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theme/theme6.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7.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9.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0.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11.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2.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3.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5.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7.xml" ContentType="application/vnd.openxmlformats-officedocument.theme+xml"/>
  <Override PartName="/ppt/theme/themeOverride1.xml" ContentType="application/vnd.openxmlformats-officedocument.themeOverrid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9.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0.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21.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22.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23.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24.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25.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6.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27.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28.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29.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0.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31.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32.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33.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34.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35.xml" ContentType="application/vnd.openxmlformats-officedocument.theme+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36.xml" ContentType="application/vnd.openxmlformats-officedocument.theme+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37.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theme/theme38.xml" ContentType="application/vnd.openxmlformats-officedocument.theme+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39.xml" ContentType="application/vnd.openxmlformats-officedocument.theme+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40.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41.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42.xml" ContentType="application/vnd.openxmlformats-officedocument.theme+xml"/>
  <Override PartName="/ppt/theme/theme43.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theme/theme44.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slideLayouts/slideLayout437.xml" ContentType="application/vnd.openxmlformats-officedocument.presentationml.slideLayout+xml"/>
  <Override PartName="/ppt/theme/theme45.xml" ContentType="application/vnd.openxmlformats-officedocument.theme+xml"/>
  <Override PartName="/ppt/slideLayouts/slideLayout438.xml" ContentType="application/vnd.openxmlformats-officedocument.presentationml.slideLayout+xml"/>
  <Override PartName="/ppt/theme/theme46.xml" ContentType="application/vnd.openxmlformats-officedocument.theme+xml"/>
  <Override PartName="/ppt/slideLayouts/slideLayout439.xml" ContentType="application/vnd.openxmlformats-officedocument.presentationml.slideLayout+xml"/>
  <Override PartName="/ppt/theme/theme47.xml" ContentType="application/vnd.openxmlformats-officedocument.theme+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theme/theme48.xml" ContentType="application/vnd.openxmlformats-officedocument.theme+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49.xml" ContentType="application/vnd.openxmlformats-officedocument.theme+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50.xml" ContentType="application/vnd.openxmlformats-officedocument.theme+xml"/>
  <Override PartName="/ppt/slideLayouts/slideLayout454.xml" ContentType="application/vnd.openxmlformats-officedocument.presentationml.slideLayout+xml"/>
  <Override PartName="/ppt/theme/theme51.xml" ContentType="application/vnd.openxmlformats-officedocument.theme+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theme/theme52.xml" ContentType="application/vnd.openxmlformats-officedocument.theme+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53.xml" ContentType="application/vnd.openxmlformats-officedocument.theme+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54.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55.xml" ContentType="application/vnd.openxmlformats-officedocument.them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56.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theme/theme57.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58.xml" ContentType="application/vnd.openxmlformats-officedocument.them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59.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theme/theme60.xml" ContentType="application/vnd.openxmlformats-officedocument.theme+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theme/theme61.xml" ContentType="application/vnd.openxmlformats-officedocument.theme+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theme/theme62.xml" ContentType="application/vnd.openxmlformats-officedocument.theme+xml"/>
  <Override PartName="/ppt/theme/theme63.xml" ContentType="application/vnd.openxmlformats-officedocument.theme+xml"/>
  <Override PartName="/ppt/theme/theme6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0" r:id="rId1"/>
    <p:sldMasterId id="2147483771" r:id="rId2"/>
    <p:sldMasterId id="2147483839" r:id="rId3"/>
    <p:sldMasterId id="2147483842" r:id="rId4"/>
    <p:sldMasterId id="2147483962" r:id="rId5"/>
    <p:sldMasterId id="2147483964" r:id="rId6"/>
    <p:sldMasterId id="2147484349" r:id="rId7"/>
    <p:sldMasterId id="2147484353" r:id="rId8"/>
    <p:sldMasterId id="2147484361" r:id="rId9"/>
    <p:sldMasterId id="2147484385" r:id="rId10"/>
    <p:sldMasterId id="2147484393" r:id="rId11"/>
    <p:sldMasterId id="2147484443" r:id="rId12"/>
    <p:sldMasterId id="2147484460" r:id="rId13"/>
    <p:sldMasterId id="2147484535" r:id="rId14"/>
    <p:sldMasterId id="2147484547" r:id="rId15"/>
    <p:sldMasterId id="2147484574" r:id="rId16"/>
    <p:sldMasterId id="2147484591" r:id="rId17"/>
    <p:sldMasterId id="2147484627" r:id="rId18"/>
    <p:sldMasterId id="2147484639" r:id="rId19"/>
    <p:sldMasterId id="2147484668" r:id="rId20"/>
    <p:sldMasterId id="2147484680" r:id="rId21"/>
    <p:sldMasterId id="2147484692" r:id="rId22"/>
    <p:sldMasterId id="2147484704" r:id="rId23"/>
    <p:sldMasterId id="2147484718" r:id="rId24"/>
    <p:sldMasterId id="2147484788" r:id="rId25"/>
    <p:sldMasterId id="2147484801" r:id="rId26"/>
    <p:sldMasterId id="2147484819" r:id="rId27"/>
    <p:sldMasterId id="2147484831" r:id="rId28"/>
    <p:sldMasterId id="2147484843" r:id="rId29"/>
    <p:sldMasterId id="2147484855" r:id="rId30"/>
    <p:sldMasterId id="2147484867" r:id="rId31"/>
    <p:sldMasterId id="2147484879" r:id="rId32"/>
    <p:sldMasterId id="2147484891" r:id="rId33"/>
    <p:sldMasterId id="2147484903" r:id="rId34"/>
    <p:sldMasterId id="2147484915" r:id="rId35"/>
    <p:sldMasterId id="2147484927" r:id="rId36"/>
    <p:sldMasterId id="2147484939" r:id="rId37"/>
    <p:sldMasterId id="2147484951" r:id="rId38"/>
    <p:sldMasterId id="2147484976" r:id="rId39"/>
    <p:sldMasterId id="2147484986" r:id="rId40"/>
    <p:sldMasterId id="2147485011" r:id="rId41"/>
    <p:sldMasterId id="2147485124" r:id="rId42"/>
    <p:sldMasterId id="2147485172" r:id="rId43"/>
    <p:sldMasterId id="2147485178" r:id="rId44"/>
    <p:sldMasterId id="2147485195" r:id="rId45"/>
    <p:sldMasterId id="2147485200" r:id="rId46"/>
    <p:sldMasterId id="2147485206" r:id="rId47"/>
    <p:sldMasterId id="2147485319" r:id="rId48"/>
    <p:sldMasterId id="2147485328" r:id="rId49"/>
    <p:sldMasterId id="2147485339" r:id="rId50"/>
    <p:sldMasterId id="2147485352" r:id="rId51"/>
    <p:sldMasterId id="2147485354" r:id="rId52"/>
    <p:sldMasterId id="2147485357" r:id="rId53"/>
    <p:sldMasterId id="2147485361" r:id="rId54"/>
    <p:sldMasterId id="2147485389" r:id="rId55"/>
    <p:sldMasterId id="2147485399" r:id="rId56"/>
    <p:sldMasterId id="2147485409" r:id="rId57"/>
    <p:sldMasterId id="2147485418" r:id="rId58"/>
    <p:sldMasterId id="2147485441" r:id="rId59"/>
    <p:sldMasterId id="2147485625" r:id="rId60"/>
    <p:sldMasterId id="2147485731" r:id="rId61"/>
    <p:sldMasterId id="2147485856" r:id="rId62"/>
  </p:sldMasterIdLst>
  <p:notesMasterIdLst>
    <p:notesMasterId r:id="rId64"/>
  </p:notesMasterIdLst>
  <p:handoutMasterIdLst>
    <p:handoutMasterId r:id="rId65"/>
  </p:handoutMasterIdLst>
  <p:sldIdLst>
    <p:sldId id="1165" r:id="rId63"/>
  </p:sldIdLst>
  <p:sldSz cx="9144000" cy="5143500" type="screen16x9"/>
  <p:notesSz cx="6858000" cy="9144000"/>
  <p:defaultTextStyle>
    <a:defPPr>
      <a:defRPr lang="en-US"/>
    </a:defPPr>
    <a:lvl1pPr algn="l" defTabSz="456269" rtl="0" fontAlgn="base">
      <a:spcBef>
        <a:spcPct val="0"/>
      </a:spcBef>
      <a:spcAft>
        <a:spcPct val="0"/>
      </a:spcAft>
      <a:defRPr sz="2400" kern="1200">
        <a:solidFill>
          <a:schemeClr val="tx1"/>
        </a:solidFill>
        <a:latin typeface="Arial" charset="0"/>
        <a:ea typeface="+mn-ea"/>
        <a:cs typeface="Arial" charset="0"/>
      </a:defRPr>
    </a:lvl1pPr>
    <a:lvl2pPr marL="456269" algn="l" defTabSz="456269" rtl="0" fontAlgn="base">
      <a:spcBef>
        <a:spcPct val="0"/>
      </a:spcBef>
      <a:spcAft>
        <a:spcPct val="0"/>
      </a:spcAft>
      <a:defRPr sz="2400" kern="1200">
        <a:solidFill>
          <a:schemeClr val="tx1"/>
        </a:solidFill>
        <a:latin typeface="Arial" charset="0"/>
        <a:ea typeface="+mn-ea"/>
        <a:cs typeface="Arial" charset="0"/>
      </a:defRPr>
    </a:lvl2pPr>
    <a:lvl3pPr marL="912644" algn="l" defTabSz="456269" rtl="0" fontAlgn="base">
      <a:spcBef>
        <a:spcPct val="0"/>
      </a:spcBef>
      <a:spcAft>
        <a:spcPct val="0"/>
      </a:spcAft>
      <a:defRPr sz="2400" kern="1200">
        <a:solidFill>
          <a:schemeClr val="tx1"/>
        </a:solidFill>
        <a:latin typeface="Arial" charset="0"/>
        <a:ea typeface="+mn-ea"/>
        <a:cs typeface="Arial" charset="0"/>
      </a:defRPr>
    </a:lvl3pPr>
    <a:lvl4pPr marL="1368948" algn="l" defTabSz="456269" rtl="0" fontAlgn="base">
      <a:spcBef>
        <a:spcPct val="0"/>
      </a:spcBef>
      <a:spcAft>
        <a:spcPct val="0"/>
      </a:spcAft>
      <a:defRPr sz="2400" kern="1200">
        <a:solidFill>
          <a:schemeClr val="tx1"/>
        </a:solidFill>
        <a:latin typeface="Arial" charset="0"/>
        <a:ea typeface="+mn-ea"/>
        <a:cs typeface="Arial" charset="0"/>
      </a:defRPr>
    </a:lvl4pPr>
    <a:lvl5pPr marL="1825286" algn="l" defTabSz="456269" rtl="0" fontAlgn="base">
      <a:spcBef>
        <a:spcPct val="0"/>
      </a:spcBef>
      <a:spcAft>
        <a:spcPct val="0"/>
      </a:spcAft>
      <a:defRPr sz="2400" kern="1200">
        <a:solidFill>
          <a:schemeClr val="tx1"/>
        </a:solidFill>
        <a:latin typeface="Arial" charset="0"/>
        <a:ea typeface="+mn-ea"/>
        <a:cs typeface="Arial" charset="0"/>
      </a:defRPr>
    </a:lvl5pPr>
    <a:lvl6pPr marL="2281554" algn="l" defTabSz="912644" rtl="0" eaLnBrk="1" latinLnBrk="0" hangingPunct="1">
      <a:defRPr sz="2400" kern="1200">
        <a:solidFill>
          <a:schemeClr val="tx1"/>
        </a:solidFill>
        <a:latin typeface="Arial" charset="0"/>
        <a:ea typeface="+mn-ea"/>
        <a:cs typeface="Arial" charset="0"/>
      </a:defRPr>
    </a:lvl6pPr>
    <a:lvl7pPr marL="2737820" algn="l" defTabSz="912644" rtl="0" eaLnBrk="1" latinLnBrk="0" hangingPunct="1">
      <a:defRPr sz="2400" kern="1200">
        <a:solidFill>
          <a:schemeClr val="tx1"/>
        </a:solidFill>
        <a:latin typeface="Arial" charset="0"/>
        <a:ea typeface="+mn-ea"/>
        <a:cs typeface="Arial" charset="0"/>
      </a:defRPr>
    </a:lvl7pPr>
    <a:lvl8pPr marL="3194165" algn="l" defTabSz="912644" rtl="0" eaLnBrk="1" latinLnBrk="0" hangingPunct="1">
      <a:defRPr sz="2400" kern="1200">
        <a:solidFill>
          <a:schemeClr val="tx1"/>
        </a:solidFill>
        <a:latin typeface="Arial" charset="0"/>
        <a:ea typeface="+mn-ea"/>
        <a:cs typeface="Arial" charset="0"/>
      </a:defRPr>
    </a:lvl8pPr>
    <a:lvl9pPr marL="3650488" algn="l" defTabSz="912644" rtl="0" eaLnBrk="1" latinLnBrk="0" hangingPunct="1">
      <a:defRPr sz="2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9" hiddenSlides="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D152"/>
    <a:srgbClr val="99CC00"/>
    <a:srgbClr val="99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81" autoAdjust="0"/>
    <p:restoredTop sz="95382" autoAdjust="0"/>
  </p:normalViewPr>
  <p:slideViewPr>
    <p:cSldViewPr snapToGrid="0" snapToObjects="1">
      <p:cViewPr varScale="1">
        <p:scale>
          <a:sx n="83" d="100"/>
          <a:sy n="83" d="100"/>
        </p:scale>
        <p:origin x="782" y="125"/>
      </p:cViewPr>
      <p:guideLst>
        <p:guide orient="horz" pos="1620"/>
        <p:guide pos="2880"/>
      </p:guideLst>
    </p:cSldViewPr>
  </p:slideViewPr>
  <p:outlineViewPr>
    <p:cViewPr>
      <p:scale>
        <a:sx n="33" d="100"/>
        <a:sy n="33" d="100"/>
      </p:scale>
      <p:origin x="0" y="15870"/>
    </p:cViewPr>
  </p:outlineViewPr>
  <p:notesTextViewPr>
    <p:cViewPr>
      <p:scale>
        <a:sx n="100" d="100"/>
        <a:sy n="100" d="100"/>
      </p:scale>
      <p:origin x="0" y="0"/>
    </p:cViewPr>
  </p:notesTextViewPr>
  <p:sorterViewPr>
    <p:cViewPr>
      <p:scale>
        <a:sx n="110" d="100"/>
        <a:sy n="110" d="100"/>
      </p:scale>
      <p:origin x="0" y="11190"/>
    </p:cViewPr>
  </p:sorterViewPr>
  <p:notesViewPr>
    <p:cSldViewPr snapToGrid="0" snapToObjects="1">
      <p:cViewPr varScale="1">
        <p:scale>
          <a:sx n="56" d="100"/>
          <a:sy n="56" d="100"/>
        </p:scale>
        <p:origin x="-288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63" Type="http://schemas.openxmlformats.org/officeDocument/2006/relationships/slide" Target="slides/slide1.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Master" Target="slideMasters/slideMaster53.xml"/><Relationship Id="rId58" Type="http://schemas.openxmlformats.org/officeDocument/2006/relationships/slideMaster" Target="slideMasters/slideMaster58.xml"/><Relationship Id="rId66"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Master" Target="slideMasters/slideMaster57.xml"/><Relationship Id="rId61" Type="http://schemas.openxmlformats.org/officeDocument/2006/relationships/slideMaster" Target="slideMasters/slideMaster6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Master" Target="slideMasters/slideMaster60.xml"/><Relationship Id="rId65"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Master" Target="slideMasters/slideMaster56.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Master" Target="slideMasters/slideMaster5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Master" Target="slideMasters/slideMaster59.xml"/><Relationship Id="rId67"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Master" Target="slideMasters/slideMaster54.xml"/><Relationship Id="rId62" Type="http://schemas.openxmlformats.org/officeDocument/2006/relationships/slideMaster" Target="slideMasters/slideMaster6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cs typeface="Arial" pitchFamily="34" charset="0"/>
              </a:defRPr>
            </a:lvl1pPr>
          </a:lstStyle>
          <a:p>
            <a:pPr>
              <a:defRPr/>
            </a:pPr>
            <a:fld id="{B6C52B8B-D401-4814-9E0B-28EFE41C565F}" type="datetime1">
              <a:rPr lang="en-US"/>
              <a:pPr>
                <a:defRPr/>
              </a:pPr>
              <a:t>5/15/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cs typeface="Arial" pitchFamily="34" charset="0"/>
              </a:defRPr>
            </a:lvl1pPr>
          </a:lstStyle>
          <a:p>
            <a:pPr>
              <a:defRPr/>
            </a:pPr>
            <a:fld id="{303B953F-91C7-41E9-B746-1F7B0FFC8187}" type="slidenum">
              <a:rPr lang="en-US"/>
              <a:pPr>
                <a:defRPr/>
              </a:pPr>
              <a:t>‹#›</a:t>
            </a:fld>
            <a:endParaRPr lang="en-US"/>
          </a:p>
        </p:txBody>
      </p:sp>
    </p:spTree>
    <p:extLst>
      <p:ext uri="{BB962C8B-B14F-4D97-AF65-F5344CB8AC3E}">
        <p14:creationId xmlns:p14="http://schemas.microsoft.com/office/powerpoint/2010/main" val="5576492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cs typeface="Arial" pitchFamily="34" charset="0"/>
              </a:defRPr>
            </a:lvl1pPr>
          </a:lstStyle>
          <a:p>
            <a:pPr>
              <a:defRPr/>
            </a:pPr>
            <a:fld id="{7A36710A-61C3-4CF1-B471-B4D3C0F05976}" type="datetime1">
              <a:rPr lang="en-US"/>
              <a:pPr>
                <a:defRPr/>
              </a:pPr>
              <a:t>5/15/20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cs typeface="Arial" pitchFamily="34" charset="0"/>
              </a:defRPr>
            </a:lvl1pPr>
          </a:lstStyle>
          <a:p>
            <a:pPr>
              <a:defRPr/>
            </a:pPr>
            <a:fld id="{19BDE448-741D-4897-81A4-63209B819908}" type="slidenum">
              <a:rPr lang="en-US"/>
              <a:pPr>
                <a:defRPr/>
              </a:pPr>
              <a:t>‹#›</a:t>
            </a:fld>
            <a:endParaRPr lang="en-US"/>
          </a:p>
        </p:txBody>
      </p:sp>
    </p:spTree>
    <p:extLst>
      <p:ext uri="{BB962C8B-B14F-4D97-AF65-F5344CB8AC3E}">
        <p14:creationId xmlns:p14="http://schemas.microsoft.com/office/powerpoint/2010/main" val="731441210"/>
      </p:ext>
    </p:extLst>
  </p:cSld>
  <p:clrMap bg1="lt1" tx1="dk1" bg2="lt2" tx2="dk2" accent1="accent1" accent2="accent2" accent3="accent3" accent4="accent4" accent5="accent5" accent6="accent6" hlink="hlink" folHlink="folHlink"/>
  <p:notesStyle>
    <a:lvl1pPr algn="l" defTabSz="456269"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6269" algn="l" defTabSz="456269"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2644" algn="l" defTabSz="456269"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68948" algn="l" defTabSz="456269"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5286" algn="l" defTabSz="456269"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1554" algn="l" defTabSz="456269" rtl="0" eaLnBrk="1" latinLnBrk="0" hangingPunct="1">
      <a:defRPr sz="1200" kern="1200">
        <a:solidFill>
          <a:schemeClr val="tx1"/>
        </a:solidFill>
        <a:latin typeface="+mn-lt"/>
        <a:ea typeface="+mn-ea"/>
        <a:cs typeface="+mn-cs"/>
      </a:defRPr>
    </a:lvl6pPr>
    <a:lvl7pPr marL="2737820" algn="l" defTabSz="456269" rtl="0" eaLnBrk="1" latinLnBrk="0" hangingPunct="1">
      <a:defRPr sz="1200" kern="1200">
        <a:solidFill>
          <a:schemeClr val="tx1"/>
        </a:solidFill>
        <a:latin typeface="+mn-lt"/>
        <a:ea typeface="+mn-ea"/>
        <a:cs typeface="+mn-cs"/>
      </a:defRPr>
    </a:lvl7pPr>
    <a:lvl8pPr marL="3194165" algn="l" defTabSz="456269" rtl="0" eaLnBrk="1" latinLnBrk="0" hangingPunct="1">
      <a:defRPr sz="1200" kern="1200">
        <a:solidFill>
          <a:schemeClr val="tx1"/>
        </a:solidFill>
        <a:latin typeface="+mn-lt"/>
        <a:ea typeface="+mn-ea"/>
        <a:cs typeface="+mn-cs"/>
      </a:defRPr>
    </a:lvl8pPr>
    <a:lvl9pPr marL="3650488" algn="l" defTabSz="456269"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Master" Target="../slideMasters/slideMaster17.xml"/><Relationship Id="rId1" Type="http://schemas.openxmlformats.org/officeDocument/2006/relationships/themeOverride" Target="../theme/themeOverride1.xml"/><Relationship Id="rId4" Type="http://schemas.openxmlformats.org/officeDocument/2006/relationships/image" Target="../media/image25.wmf"/></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30.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27.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29.jpeg"/><Relationship Id="rId4" Type="http://schemas.openxmlformats.org/officeDocument/2006/relationships/tags" Target="../tags/tag12.xml"/><Relationship Id="rId9" Type="http://schemas.openxmlformats.org/officeDocument/2006/relationships/slideMaster" Target="../slideMasters/slideMaster18.xml"/><Relationship Id="rId14" Type="http://schemas.openxmlformats.org/officeDocument/2006/relationships/image" Target="../media/image31.png"/></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31.png"/><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27.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oleObject" Target="../embeddings/oleObject3.bin"/><Relationship Id="rId5" Type="http://schemas.openxmlformats.org/officeDocument/2006/relationships/tags" Target="../tags/tag20.xml"/><Relationship Id="rId10" Type="http://schemas.openxmlformats.org/officeDocument/2006/relationships/image" Target="../media/image32.jpeg"/><Relationship Id="rId4" Type="http://schemas.openxmlformats.org/officeDocument/2006/relationships/tags" Target="../tags/tag19.xml"/><Relationship Id="rId9" Type="http://schemas.openxmlformats.org/officeDocument/2006/relationships/slideMaster" Target="../slideMasters/slideMaster18.xml"/><Relationship Id="rId14" Type="http://schemas.openxmlformats.org/officeDocument/2006/relationships/image" Target="../media/image30.emf"/></Relationships>
</file>

<file path=ppt/slideLayouts/_rels/slideLayout16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5.xml"/><Relationship Id="rId7" Type="http://schemas.openxmlformats.org/officeDocument/2006/relationships/image" Target="../media/image33.jpeg"/><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slideMaster" Target="../slideMasters/slideMaster1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7.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7.emf"/><Relationship Id="rId2" Type="http://schemas.openxmlformats.org/officeDocument/2006/relationships/tags" Target="../tags/tag2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8.xml"/><Relationship Id="rId4" Type="http://schemas.openxmlformats.org/officeDocument/2006/relationships/tags" Target="../tags/tag30.xml"/></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8.xml"/><Relationship Id="rId5" Type="http://schemas.openxmlformats.org/officeDocument/2006/relationships/tags" Target="../tags/tag34.xml"/><Relationship Id="rId4" Type="http://schemas.openxmlformats.org/officeDocument/2006/relationships/tags" Target="../tags/tag33.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8.xml"/><Relationship Id="rId5" Type="http://schemas.openxmlformats.org/officeDocument/2006/relationships/tags" Target="../tags/tag38.xml"/><Relationship Id="rId4" Type="http://schemas.openxmlformats.org/officeDocument/2006/relationships/tags" Target="../tags/tag37.xml"/></Relationships>
</file>

<file path=ppt/slideLayouts/_rels/slideLayout173.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27.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9.vml"/><Relationship Id="rId6" Type="http://schemas.openxmlformats.org/officeDocument/2006/relationships/image" Target="../media/image27.emf"/><Relationship Id="rId5" Type="http://schemas.openxmlformats.org/officeDocument/2006/relationships/oleObject" Target="../embeddings/oleObject9.bin"/><Relationship Id="rId4"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7.xml"/><Relationship Id="rId1" Type="http://schemas.openxmlformats.org/officeDocument/2006/relationships/vmlDrawing" Target="../drawings/vmlDrawing10.vml"/><Relationship Id="rId5" Type="http://schemas.openxmlformats.org/officeDocument/2006/relationships/image" Target="../media/image27.emf"/><Relationship Id="rId4" Type="http://schemas.openxmlformats.org/officeDocument/2006/relationships/oleObject" Target="../embeddings/oleObject10.bin"/></Relationships>
</file>

<file path=ppt/slideLayouts/_rels/slideLayout177.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60.xml"/><Relationship Id="rId7" Type="http://schemas.openxmlformats.org/officeDocument/2006/relationships/slideMaster" Target="../slideMasters/slideMaster19.xml"/><Relationship Id="rId2" Type="http://schemas.openxmlformats.org/officeDocument/2006/relationships/tags" Target="../tags/tag59.xml"/><Relationship Id="rId1" Type="http://schemas.openxmlformats.org/officeDocument/2006/relationships/vmlDrawing" Target="../drawings/vmlDrawing12.vml"/><Relationship Id="rId6" Type="http://schemas.openxmlformats.org/officeDocument/2006/relationships/tags" Target="../tags/tag63.xml"/><Relationship Id="rId5" Type="http://schemas.openxmlformats.org/officeDocument/2006/relationships/tags" Target="../tags/tag62.xml"/><Relationship Id="rId10" Type="http://schemas.openxmlformats.org/officeDocument/2006/relationships/image" Target="../media/image40.png"/><Relationship Id="rId4" Type="http://schemas.openxmlformats.org/officeDocument/2006/relationships/tags" Target="../tags/tag61.xml"/><Relationship Id="rId9" Type="http://schemas.openxmlformats.org/officeDocument/2006/relationships/image" Target="../media/image27.emf"/></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40.png"/><Relationship Id="rId2"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image" Target="../media/image27.emf"/><Relationship Id="rId5" Type="http://schemas.openxmlformats.org/officeDocument/2006/relationships/oleObject" Target="../embeddings/oleObject13.bin"/><Relationship Id="rId4"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6.xml"/><Relationship Id="rId1" Type="http://schemas.openxmlformats.org/officeDocument/2006/relationships/vmlDrawing" Target="../drawings/vmlDrawing14.vml"/><Relationship Id="rId5" Type="http://schemas.openxmlformats.org/officeDocument/2006/relationships/image" Target="../media/image27.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24.xml"/></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31.pn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7.emf"/><Relationship Id="rId2" Type="http://schemas.openxmlformats.org/officeDocument/2006/relationships/tags" Target="../tags/tag76.xml"/><Relationship Id="rId1" Type="http://schemas.openxmlformats.org/officeDocument/2006/relationships/vmlDrawing" Target="../drawings/vmlDrawing16.vml"/><Relationship Id="rId6" Type="http://schemas.openxmlformats.org/officeDocument/2006/relationships/tags" Target="../tags/tag80.xml"/><Relationship Id="rId11" Type="http://schemas.openxmlformats.org/officeDocument/2006/relationships/oleObject" Target="../embeddings/oleObject16.bin"/><Relationship Id="rId5" Type="http://schemas.openxmlformats.org/officeDocument/2006/relationships/tags" Target="../tags/tag79.xml"/><Relationship Id="rId10" Type="http://schemas.openxmlformats.org/officeDocument/2006/relationships/image" Target="../media/image32.jpeg"/><Relationship Id="rId4" Type="http://schemas.openxmlformats.org/officeDocument/2006/relationships/tags" Target="../tags/tag78.xml"/><Relationship Id="rId9" Type="http://schemas.openxmlformats.org/officeDocument/2006/relationships/slideMaster" Target="../slideMasters/slideMaster25.xml"/><Relationship Id="rId14" Type="http://schemas.openxmlformats.org/officeDocument/2006/relationships/image" Target="../media/image30.emf"/></Relationships>
</file>

<file path=ppt/slideLayouts/_rels/slideLayout233.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30.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27.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oleObject" Target="../embeddings/oleObject17.bin"/><Relationship Id="rId5" Type="http://schemas.openxmlformats.org/officeDocument/2006/relationships/tags" Target="../tags/tag86.xml"/><Relationship Id="rId10" Type="http://schemas.openxmlformats.org/officeDocument/2006/relationships/image" Target="../media/image29.jpeg"/><Relationship Id="rId4" Type="http://schemas.openxmlformats.org/officeDocument/2006/relationships/tags" Target="../tags/tag85.xml"/><Relationship Id="rId9" Type="http://schemas.openxmlformats.org/officeDocument/2006/relationships/slideMaster" Target="../slideMasters/slideMaster25.xml"/><Relationship Id="rId14" Type="http://schemas.openxmlformats.org/officeDocument/2006/relationships/image" Target="../media/image31.png"/></Relationships>
</file>

<file path=ppt/slideLayouts/_rels/slideLayout234.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91.xml"/><Relationship Id="rId7" Type="http://schemas.openxmlformats.org/officeDocument/2006/relationships/image" Target="../media/image33.jpeg"/><Relationship Id="rId2" Type="http://schemas.openxmlformats.org/officeDocument/2006/relationships/tags" Target="../tags/tag90.xml"/><Relationship Id="rId1" Type="http://schemas.openxmlformats.org/officeDocument/2006/relationships/vmlDrawing" Target="../drawings/vmlDrawing18.vml"/><Relationship Id="rId6" Type="http://schemas.openxmlformats.org/officeDocument/2006/relationships/slideMaster" Target="../slideMasters/slideMaster25.xml"/><Relationship Id="rId5" Type="http://schemas.openxmlformats.org/officeDocument/2006/relationships/tags" Target="../tags/tag93.xml"/><Relationship Id="rId4" Type="http://schemas.openxmlformats.org/officeDocument/2006/relationships/tags" Target="../tags/tag92.xml"/><Relationship Id="rId9"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27.emf"/><Relationship Id="rId2" Type="http://schemas.openxmlformats.org/officeDocument/2006/relationships/tags" Target="../tags/tag9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5.xml"/><Relationship Id="rId4" Type="http://schemas.openxmlformats.org/officeDocument/2006/relationships/tags" Target="../tags/tag96.xml"/></Relationships>
</file>

<file path=ppt/slideLayouts/_rels/slideLayout236.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98.xml"/><Relationship Id="rId7" Type="http://schemas.openxmlformats.org/officeDocument/2006/relationships/oleObject" Target="../embeddings/oleObject20.bin"/><Relationship Id="rId2" Type="http://schemas.openxmlformats.org/officeDocument/2006/relationships/tags" Target="../tags/tag97.xml"/><Relationship Id="rId1" Type="http://schemas.openxmlformats.org/officeDocument/2006/relationships/vmlDrawing" Target="../drawings/vmlDrawing20.vml"/><Relationship Id="rId6" Type="http://schemas.openxmlformats.org/officeDocument/2006/relationships/slideMaster" Target="../slideMasters/slideMaster25.xml"/><Relationship Id="rId5" Type="http://schemas.openxmlformats.org/officeDocument/2006/relationships/tags" Target="../tags/tag100.xml"/><Relationship Id="rId4" Type="http://schemas.openxmlformats.org/officeDocument/2006/relationships/tags" Target="../tags/tag99.xml"/></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102.xml"/><Relationship Id="rId7" Type="http://schemas.openxmlformats.org/officeDocument/2006/relationships/oleObject" Target="../embeddings/oleObject21.bin"/><Relationship Id="rId2" Type="http://schemas.openxmlformats.org/officeDocument/2006/relationships/tags" Target="../tags/tag101.xml"/><Relationship Id="rId1" Type="http://schemas.openxmlformats.org/officeDocument/2006/relationships/vmlDrawing" Target="../drawings/vmlDrawing21.vml"/><Relationship Id="rId6" Type="http://schemas.openxmlformats.org/officeDocument/2006/relationships/slideMaster" Target="../slideMasters/slideMaster25.xml"/><Relationship Id="rId5" Type="http://schemas.openxmlformats.org/officeDocument/2006/relationships/tags" Target="../tags/tag104.xml"/><Relationship Id="rId4" Type="http://schemas.openxmlformats.org/officeDocument/2006/relationships/tags" Target="../tags/tag103.xml"/></Relationships>
</file>

<file path=ppt/slideLayouts/_rels/slideLayout238.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106.xml"/><Relationship Id="rId7" Type="http://schemas.openxmlformats.org/officeDocument/2006/relationships/tags" Target="../tags/tag110.xml"/><Relationship Id="rId2" Type="http://schemas.openxmlformats.org/officeDocument/2006/relationships/tags" Target="../tags/tag105.xml"/><Relationship Id="rId1" Type="http://schemas.openxmlformats.org/officeDocument/2006/relationships/vmlDrawing" Target="../drawings/vmlDrawing22.vml"/><Relationship Id="rId6" Type="http://schemas.openxmlformats.org/officeDocument/2006/relationships/tags" Target="../tags/tag109.xml"/><Relationship Id="rId5" Type="http://schemas.openxmlformats.org/officeDocument/2006/relationships/tags" Target="../tags/tag108.xml"/><Relationship Id="rId10" Type="http://schemas.openxmlformats.org/officeDocument/2006/relationships/image" Target="../media/image27.emf"/><Relationship Id="rId4" Type="http://schemas.openxmlformats.org/officeDocument/2006/relationships/tags" Target="../tags/tag107.xml"/><Relationship Id="rId9" Type="http://schemas.openxmlformats.org/officeDocument/2006/relationships/oleObject" Target="../embeddings/oleObject22.bin"/></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23.vml"/><Relationship Id="rId6" Type="http://schemas.openxmlformats.org/officeDocument/2006/relationships/image" Target="../media/image27.emf"/><Relationship Id="rId5" Type="http://schemas.openxmlformats.org/officeDocument/2006/relationships/oleObject" Target="../embeddings/oleObject23.bin"/><Relationship Id="rId4" Type="http://schemas.openxmlformats.org/officeDocument/2006/relationships/slideMaster" Target="../slideMasters/slideMaster25.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3.xml"/><Relationship Id="rId1" Type="http://schemas.openxmlformats.org/officeDocument/2006/relationships/vmlDrawing" Target="../drawings/vmlDrawing24.vml"/><Relationship Id="rId5" Type="http://schemas.openxmlformats.org/officeDocument/2006/relationships/image" Target="../media/image27.emf"/><Relationship Id="rId4" Type="http://schemas.openxmlformats.org/officeDocument/2006/relationships/oleObject" Target="../embeddings/oleObject24.bin"/></Relationships>
</file>

<file path=ppt/slideLayouts/_rels/slideLayout242.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26.xml"/><Relationship Id="rId7" Type="http://schemas.openxmlformats.org/officeDocument/2006/relationships/slideMaster" Target="../slideMasters/slideMaster26.xml"/><Relationship Id="rId2" Type="http://schemas.openxmlformats.org/officeDocument/2006/relationships/tags" Target="../tags/tag125.xml"/><Relationship Id="rId1" Type="http://schemas.openxmlformats.org/officeDocument/2006/relationships/vmlDrawing" Target="../drawings/vmlDrawing26.v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40.png"/><Relationship Id="rId4" Type="http://schemas.openxmlformats.org/officeDocument/2006/relationships/tags" Target="../tags/tag127.xml"/><Relationship Id="rId9" Type="http://schemas.openxmlformats.org/officeDocument/2006/relationships/image" Target="../media/image27.emf"/></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40.png"/><Relationship Id="rId2" Type="http://schemas.openxmlformats.org/officeDocument/2006/relationships/tags" Target="../tags/tag130.xml"/><Relationship Id="rId1" Type="http://schemas.openxmlformats.org/officeDocument/2006/relationships/vmlDrawing" Target="../drawings/vmlDrawing27.vml"/><Relationship Id="rId6" Type="http://schemas.openxmlformats.org/officeDocument/2006/relationships/image" Target="../media/image27.emf"/><Relationship Id="rId5" Type="http://schemas.openxmlformats.org/officeDocument/2006/relationships/oleObject" Target="../embeddings/oleObject27.bin"/><Relationship Id="rId4" Type="http://schemas.openxmlformats.org/officeDocument/2006/relationships/slideMaster" Target="../slideMasters/slideMaster26.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2.xml"/><Relationship Id="rId1" Type="http://schemas.openxmlformats.org/officeDocument/2006/relationships/vmlDrawing" Target="../drawings/vmlDrawing28.vml"/><Relationship Id="rId5" Type="http://schemas.openxmlformats.org/officeDocument/2006/relationships/image" Target="../media/image27.emf"/><Relationship Id="rId4" Type="http://schemas.openxmlformats.org/officeDocument/2006/relationships/oleObject" Target="../embeddings/oleObject28.bin"/></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0.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png"/><Relationship Id="rId1" Type="http://schemas.openxmlformats.org/officeDocument/2006/relationships/slideMaster" Target="../slideMasters/slideMaster4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4.png"/><Relationship Id="rId1" Type="http://schemas.openxmlformats.org/officeDocument/2006/relationships/slideMaster" Target="../slideMasters/slideMaster42.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58.emf"/><Relationship Id="rId4" Type="http://schemas.openxmlformats.org/officeDocument/2006/relationships/image" Target="../media/image57.png"/></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image" Target="../media/image58.emf"/><Relationship Id="rId4" Type="http://schemas.openxmlformats.org/officeDocument/2006/relationships/image" Target="../media/image57.png"/></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slideMaster" Target="../slideMasters/slideMaster44.xml"/><Relationship Id="rId1" Type="http://schemas.openxmlformats.org/officeDocument/2006/relationships/tags" Target="../tags/tag137.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slideMaster" Target="../slideMasters/slideMaster44.xml"/><Relationship Id="rId1" Type="http://schemas.openxmlformats.org/officeDocument/2006/relationships/tags" Target="../tags/tag138.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slideMaster" Target="../slideMasters/slideMaster44.xml"/><Relationship Id="rId1" Type="http://schemas.openxmlformats.org/officeDocument/2006/relationships/tags" Target="../tags/tag13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slideMaster" Target="../slideMasters/slideMaster44.xml"/><Relationship Id="rId1" Type="http://schemas.openxmlformats.org/officeDocument/2006/relationships/tags" Target="../tags/tag140.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slideMaster" Target="../slideMasters/slideMaster44.xml"/><Relationship Id="rId1" Type="http://schemas.openxmlformats.org/officeDocument/2006/relationships/tags" Target="../tags/tag141.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slideMaster" Target="../slideMasters/slideMaster44.xml"/><Relationship Id="rId1" Type="http://schemas.openxmlformats.org/officeDocument/2006/relationships/tags" Target="../tags/tag142.xml"/></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58.emf"/><Relationship Id="rId4" Type="http://schemas.openxmlformats.org/officeDocument/2006/relationships/slideMaster" Target="../slideMasters/slideMaster4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slideMaster" Target="../slideMasters/slideMaster44.xml"/><Relationship Id="rId1" Type="http://schemas.openxmlformats.org/officeDocument/2006/relationships/tags" Target="../tags/tag146.xml"/></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48.xml"/><Relationship Id="rId1" Type="http://schemas.openxmlformats.org/officeDocument/2006/relationships/tags" Target="../tags/tag147.xml"/><Relationship Id="rId4" Type="http://schemas.openxmlformats.org/officeDocument/2006/relationships/image" Target="../media/image58.emf"/></Relationships>
</file>

<file path=ppt/slideLayouts/_rels/slideLayout432.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50.xml"/><Relationship Id="rId1" Type="http://schemas.openxmlformats.org/officeDocument/2006/relationships/tags" Target="../tags/tag149.xml"/><Relationship Id="rId4" Type="http://schemas.openxmlformats.org/officeDocument/2006/relationships/image" Target="../media/image58.emf"/></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58.emf"/><Relationship Id="rId4" Type="http://schemas.openxmlformats.org/officeDocument/2006/relationships/image" Target="../media/image57.png"/></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58.emf"/><Relationship Id="rId4" Type="http://schemas.openxmlformats.org/officeDocument/2006/relationships/image" Target="../media/image57.png"/></Relationships>
</file>

<file path=ppt/slideLayouts/_rels/slideLayout435.xml.rels><?xml version="1.0" encoding="UTF-8" standalone="yes"?>
<Relationships xmlns="http://schemas.openxmlformats.org/package/2006/relationships"><Relationship Id="rId2" Type="http://schemas.openxmlformats.org/officeDocument/2006/relationships/slideMaster" Target="../slideMasters/slideMaster44.xml"/><Relationship Id="rId1" Type="http://schemas.openxmlformats.org/officeDocument/2006/relationships/tags" Target="../tags/tag155.xml"/></Relationships>
</file>

<file path=ppt/slideLayouts/_rels/slideLayout436.xml.rels><?xml version="1.0" encoding="UTF-8" standalone="yes"?>
<Relationships xmlns="http://schemas.openxmlformats.org/package/2006/relationships"><Relationship Id="rId2" Type="http://schemas.openxmlformats.org/officeDocument/2006/relationships/slideMaster" Target="../slideMasters/slideMaster44.xml"/><Relationship Id="rId1" Type="http://schemas.openxmlformats.org/officeDocument/2006/relationships/tags" Target="../tags/tag15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48.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g"/><Relationship Id="rId1" Type="http://schemas.openxmlformats.org/officeDocument/2006/relationships/slideMaster" Target="../slideMasters/slideMaster49.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9.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9.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9.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9.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9.png"/><Relationship Id="rId1" Type="http://schemas.openxmlformats.org/officeDocument/2006/relationships/slideMaster" Target="../slideMasters/slideMaster4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9.png"/><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9.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jpg"/><Relationship Id="rId1" Type="http://schemas.openxmlformats.org/officeDocument/2006/relationships/slideMaster" Target="../slideMasters/slideMaster50.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jpg"/><Relationship Id="rId1" Type="http://schemas.openxmlformats.org/officeDocument/2006/relationships/slideMaster" Target="../slideMasters/slideMaster5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emf"/><Relationship Id="rId1" Type="http://schemas.openxmlformats.org/officeDocument/2006/relationships/slideMaster" Target="../slideMasters/slideMaster52.xml"/><Relationship Id="rId5" Type="http://schemas.openxmlformats.org/officeDocument/2006/relationships/image" Target="../media/image78.png"/><Relationship Id="rId4" Type="http://schemas.openxmlformats.org/officeDocument/2006/relationships/image" Target="../media/image77.png"/></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3.emf"/><Relationship Id="rId1" Type="http://schemas.openxmlformats.org/officeDocument/2006/relationships/slideMaster" Target="../slideMasters/slideMaster52.xml"/><Relationship Id="rId5" Type="http://schemas.openxmlformats.org/officeDocument/2006/relationships/image" Target="../media/image78.png"/><Relationship Id="rId4" Type="http://schemas.openxmlformats.org/officeDocument/2006/relationships/image" Target="../media/image77.png"/></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54.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Master" Target="../slideMasters/slideMaster54.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4.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Master" Target="../slideMasters/slideMaster54.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Master" Target="../slideMasters/slideMaster54.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Master" Target="../slideMasters/slideMaster54.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Master" Target="../slideMasters/slideMaster54.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Master" Target="../slideMasters/slideMaster54.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Master" Target="../slideMasters/slideMaster54.xml"/></Relationships>
</file>

<file path=ppt/slideLayouts/_rels/slideLayout469.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slideMaster" Target="../slideMasters/slideMaster55.xml"/><Relationship Id="rId7" Type="http://schemas.openxmlformats.org/officeDocument/2006/relationships/image" Target="../media/image83.jpeg"/><Relationship Id="rId2" Type="http://schemas.openxmlformats.org/officeDocument/2006/relationships/tags" Target="../tags/tag158.xml"/><Relationship Id="rId1" Type="http://schemas.openxmlformats.org/officeDocument/2006/relationships/vmlDrawing" Target="../drawings/vmlDrawing30.vml"/><Relationship Id="rId6" Type="http://schemas.openxmlformats.org/officeDocument/2006/relationships/image" Target="../media/image27.emf"/><Relationship Id="rId5" Type="http://schemas.openxmlformats.org/officeDocument/2006/relationships/oleObject" Target="../embeddings/oleObject30.bin"/><Relationship Id="rId4" Type="http://schemas.openxmlformats.org/officeDocument/2006/relationships/image" Target="../media/image82.jpeg"/><Relationship Id="rId9" Type="http://schemas.openxmlformats.org/officeDocument/2006/relationships/image" Target="../media/image84.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hyperlink" Target="http://www.citat.se/default.aspx?id=3&amp;epslanguage=EN" TargetMode="External"/><Relationship Id="rId2" Type="http://schemas.openxmlformats.org/officeDocument/2006/relationships/image" Target="../media/image4.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png"/></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59.xml"/><Relationship Id="rId1" Type="http://schemas.openxmlformats.org/officeDocument/2006/relationships/vmlDrawing" Target="../drawings/vmlDrawing31.vml"/><Relationship Id="rId5" Type="http://schemas.openxmlformats.org/officeDocument/2006/relationships/image" Target="../media/image27.emf"/><Relationship Id="rId4" Type="http://schemas.openxmlformats.org/officeDocument/2006/relationships/oleObject" Target="../embeddings/oleObject31.bin"/></Relationships>
</file>

<file path=ppt/slideLayouts/_rels/slideLayout471.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0.xml"/><Relationship Id="rId1" Type="http://schemas.openxmlformats.org/officeDocument/2006/relationships/vmlDrawing" Target="../drawings/vmlDrawing32.vml"/><Relationship Id="rId5" Type="http://schemas.openxmlformats.org/officeDocument/2006/relationships/image" Target="../media/image27.emf"/><Relationship Id="rId4" Type="http://schemas.openxmlformats.org/officeDocument/2006/relationships/oleObject" Target="../embeddings/oleObject32.bin"/></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1.xml"/><Relationship Id="rId1" Type="http://schemas.openxmlformats.org/officeDocument/2006/relationships/vmlDrawing" Target="../drawings/vmlDrawing33.vml"/><Relationship Id="rId5" Type="http://schemas.openxmlformats.org/officeDocument/2006/relationships/image" Target="../media/image27.emf"/><Relationship Id="rId4" Type="http://schemas.openxmlformats.org/officeDocument/2006/relationships/oleObject" Target="../embeddings/oleObject33.bin"/></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2.xml"/><Relationship Id="rId1" Type="http://schemas.openxmlformats.org/officeDocument/2006/relationships/vmlDrawing" Target="../drawings/vmlDrawing34.vml"/><Relationship Id="rId5" Type="http://schemas.openxmlformats.org/officeDocument/2006/relationships/image" Target="../media/image27.emf"/><Relationship Id="rId4" Type="http://schemas.openxmlformats.org/officeDocument/2006/relationships/oleObject" Target="../embeddings/oleObject34.bin"/></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3.xml"/><Relationship Id="rId1" Type="http://schemas.openxmlformats.org/officeDocument/2006/relationships/vmlDrawing" Target="../drawings/vmlDrawing35.vml"/><Relationship Id="rId5" Type="http://schemas.openxmlformats.org/officeDocument/2006/relationships/image" Target="../media/image27.emf"/><Relationship Id="rId4" Type="http://schemas.openxmlformats.org/officeDocument/2006/relationships/oleObject" Target="../embeddings/oleObject35.bin"/></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4.xml"/><Relationship Id="rId1" Type="http://schemas.openxmlformats.org/officeDocument/2006/relationships/vmlDrawing" Target="../drawings/vmlDrawing36.vml"/><Relationship Id="rId5" Type="http://schemas.openxmlformats.org/officeDocument/2006/relationships/image" Target="../media/image27.emf"/><Relationship Id="rId4" Type="http://schemas.openxmlformats.org/officeDocument/2006/relationships/oleObject" Target="../embeddings/oleObject36.bin"/></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5.xml"/><Relationship Id="rId1" Type="http://schemas.openxmlformats.org/officeDocument/2006/relationships/vmlDrawing" Target="../drawings/vmlDrawing37.vml"/><Relationship Id="rId5" Type="http://schemas.openxmlformats.org/officeDocument/2006/relationships/image" Target="../media/image27.emf"/><Relationship Id="rId4" Type="http://schemas.openxmlformats.org/officeDocument/2006/relationships/oleObject" Target="../embeddings/oleObject37.bin"/></Relationships>
</file>

<file path=ppt/slideLayouts/_rels/slideLayout478.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slideMaster" Target="../slideMasters/slideMaster56.xml"/><Relationship Id="rId7" Type="http://schemas.openxmlformats.org/officeDocument/2006/relationships/image" Target="../media/image83.jpeg"/><Relationship Id="rId2" Type="http://schemas.openxmlformats.org/officeDocument/2006/relationships/tags" Target="../tags/tag167.xml"/><Relationship Id="rId1" Type="http://schemas.openxmlformats.org/officeDocument/2006/relationships/vmlDrawing" Target="../drawings/vmlDrawing39.vml"/><Relationship Id="rId6" Type="http://schemas.openxmlformats.org/officeDocument/2006/relationships/image" Target="../media/image27.emf"/><Relationship Id="rId5" Type="http://schemas.openxmlformats.org/officeDocument/2006/relationships/oleObject" Target="../embeddings/oleObject39.bin"/><Relationship Id="rId4" Type="http://schemas.openxmlformats.org/officeDocument/2006/relationships/image" Target="../media/image85.jpeg"/><Relationship Id="rId9" Type="http://schemas.openxmlformats.org/officeDocument/2006/relationships/image" Target="../media/image84.png"/></Relationships>
</file>

<file path=ppt/slideLayouts/_rels/slideLayout479.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169.xml"/><Relationship Id="rId7" Type="http://schemas.openxmlformats.org/officeDocument/2006/relationships/oleObject" Target="../embeddings/oleObject40.bin"/><Relationship Id="rId2" Type="http://schemas.openxmlformats.org/officeDocument/2006/relationships/tags" Target="../tags/tag168.xml"/><Relationship Id="rId1" Type="http://schemas.openxmlformats.org/officeDocument/2006/relationships/vmlDrawing" Target="../drawings/vmlDrawing40.vml"/><Relationship Id="rId6" Type="http://schemas.openxmlformats.org/officeDocument/2006/relationships/slideMaster" Target="../slideMasters/slideMaster56.xml"/><Relationship Id="rId5" Type="http://schemas.openxmlformats.org/officeDocument/2006/relationships/tags" Target="../tags/tag171.xml"/><Relationship Id="rId4" Type="http://schemas.openxmlformats.org/officeDocument/2006/relationships/tags" Target="../tags/tag170.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hyperlink" Target="http://www.citat.se/default.aspx?id=3&amp;epslanguage=EN" TargetMode="External"/><Relationship Id="rId2" Type="http://schemas.openxmlformats.org/officeDocument/2006/relationships/image" Target="../media/image4.png"/><Relationship Id="rId1" Type="http://schemas.openxmlformats.org/officeDocument/2006/relationships/slideMaster" Target="../slideMasters/slideMaster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80.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27.emf"/><Relationship Id="rId2" Type="http://schemas.openxmlformats.org/officeDocument/2006/relationships/tags" Target="../tags/tag172.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slideMaster" Target="../slideMasters/slideMaster56.xml"/><Relationship Id="rId4" Type="http://schemas.openxmlformats.org/officeDocument/2006/relationships/tags" Target="../tags/tag174.xml"/></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75.xml"/><Relationship Id="rId1" Type="http://schemas.openxmlformats.org/officeDocument/2006/relationships/vmlDrawing" Target="../drawings/vmlDrawing42.vml"/><Relationship Id="rId5" Type="http://schemas.openxmlformats.org/officeDocument/2006/relationships/image" Target="../media/image27.emf"/><Relationship Id="rId4" Type="http://schemas.openxmlformats.org/officeDocument/2006/relationships/oleObject" Target="../embeddings/oleObject42.bin"/></Relationships>
</file>

<file path=ppt/slideLayouts/_rels/slideLayout482.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76.xml"/><Relationship Id="rId1" Type="http://schemas.openxmlformats.org/officeDocument/2006/relationships/vmlDrawing" Target="../drawings/vmlDrawing43.vml"/><Relationship Id="rId5" Type="http://schemas.openxmlformats.org/officeDocument/2006/relationships/image" Target="../media/image27.emf"/><Relationship Id="rId4" Type="http://schemas.openxmlformats.org/officeDocument/2006/relationships/oleObject" Target="../embeddings/oleObject43.bin"/></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77.xml"/><Relationship Id="rId1" Type="http://schemas.openxmlformats.org/officeDocument/2006/relationships/vmlDrawing" Target="../drawings/vmlDrawing44.vml"/><Relationship Id="rId5" Type="http://schemas.openxmlformats.org/officeDocument/2006/relationships/image" Target="../media/image27.emf"/><Relationship Id="rId4" Type="http://schemas.openxmlformats.org/officeDocument/2006/relationships/oleObject" Target="../embeddings/oleObject44.bin"/></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78.xml"/><Relationship Id="rId1" Type="http://schemas.openxmlformats.org/officeDocument/2006/relationships/vmlDrawing" Target="../drawings/vmlDrawing45.vml"/><Relationship Id="rId5" Type="http://schemas.openxmlformats.org/officeDocument/2006/relationships/image" Target="../media/image27.emf"/><Relationship Id="rId4" Type="http://schemas.openxmlformats.org/officeDocument/2006/relationships/oleObject" Target="../embeddings/oleObject45.bin"/></Relationships>
</file>

<file path=ppt/slideLayouts/_rels/slideLayout486.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79.xml"/><Relationship Id="rId1" Type="http://schemas.openxmlformats.org/officeDocument/2006/relationships/vmlDrawing" Target="../drawings/vmlDrawing46.vml"/><Relationship Id="rId5" Type="http://schemas.openxmlformats.org/officeDocument/2006/relationships/image" Target="../media/image27.emf"/><Relationship Id="rId4" Type="http://schemas.openxmlformats.org/officeDocument/2006/relationships/oleObject" Target="../embeddings/oleObject46.bin"/></Relationships>
</file>

<file path=ppt/slideLayouts/_rels/slideLayout487.xml.rels><?xml version="1.0" encoding="UTF-8" standalone="yes"?>
<Relationships xmlns="http://schemas.openxmlformats.org/package/2006/relationships"><Relationship Id="rId8" Type="http://schemas.openxmlformats.org/officeDocument/2006/relationships/image" Target="../media/image82.jpeg"/><Relationship Id="rId13" Type="http://schemas.openxmlformats.org/officeDocument/2006/relationships/image" Target="../media/image31.png"/><Relationship Id="rId3" Type="http://schemas.openxmlformats.org/officeDocument/2006/relationships/tags" Target="../tags/tag189.xml"/><Relationship Id="rId7" Type="http://schemas.openxmlformats.org/officeDocument/2006/relationships/slideMaster" Target="../slideMasters/slideMaster57.xml"/><Relationship Id="rId12" Type="http://schemas.openxmlformats.org/officeDocument/2006/relationships/image" Target="../media/image27.emf"/><Relationship Id="rId2" Type="http://schemas.openxmlformats.org/officeDocument/2006/relationships/tags" Target="../tags/tag188.xml"/><Relationship Id="rId1" Type="http://schemas.openxmlformats.org/officeDocument/2006/relationships/vmlDrawing" Target="../drawings/vmlDrawing48.vml"/><Relationship Id="rId6" Type="http://schemas.openxmlformats.org/officeDocument/2006/relationships/tags" Target="../tags/tag192.xml"/><Relationship Id="rId11" Type="http://schemas.openxmlformats.org/officeDocument/2006/relationships/oleObject" Target="../embeddings/oleObject48.bin"/><Relationship Id="rId5" Type="http://schemas.openxmlformats.org/officeDocument/2006/relationships/tags" Target="../tags/tag191.xml"/><Relationship Id="rId10" Type="http://schemas.openxmlformats.org/officeDocument/2006/relationships/image" Target="../media/image88.png"/><Relationship Id="rId4" Type="http://schemas.openxmlformats.org/officeDocument/2006/relationships/tags" Target="../tags/tag190.xml"/><Relationship Id="rId9" Type="http://schemas.openxmlformats.org/officeDocument/2006/relationships/image" Target="../media/image87.png"/></Relationships>
</file>

<file path=ppt/slideLayouts/_rels/slideLayout488.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194.xml"/><Relationship Id="rId7" Type="http://schemas.openxmlformats.org/officeDocument/2006/relationships/oleObject" Target="../embeddings/oleObject49.bin"/><Relationship Id="rId2" Type="http://schemas.openxmlformats.org/officeDocument/2006/relationships/tags" Target="../tags/tag193.xml"/><Relationship Id="rId1" Type="http://schemas.openxmlformats.org/officeDocument/2006/relationships/vmlDrawing" Target="../drawings/vmlDrawing49.vml"/><Relationship Id="rId6" Type="http://schemas.openxmlformats.org/officeDocument/2006/relationships/slideMaster" Target="../slideMasters/slideMaster57.xml"/><Relationship Id="rId5" Type="http://schemas.openxmlformats.org/officeDocument/2006/relationships/tags" Target="../tags/tag196.xml"/><Relationship Id="rId4" Type="http://schemas.openxmlformats.org/officeDocument/2006/relationships/tags" Target="../tags/tag195.xml"/></Relationships>
</file>

<file path=ppt/slideLayouts/_rels/slideLayout489.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27.emf"/><Relationship Id="rId2" Type="http://schemas.openxmlformats.org/officeDocument/2006/relationships/tags" Target="../tags/tag197.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slideMaster" Target="../slideMasters/slideMaster57.xml"/><Relationship Id="rId4" Type="http://schemas.openxmlformats.org/officeDocument/2006/relationships/tags" Target="../tags/tag19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00.xml"/><Relationship Id="rId1" Type="http://schemas.openxmlformats.org/officeDocument/2006/relationships/vmlDrawing" Target="../drawings/vmlDrawing51.vml"/><Relationship Id="rId5" Type="http://schemas.openxmlformats.org/officeDocument/2006/relationships/image" Target="../media/image27.emf"/><Relationship Id="rId4" Type="http://schemas.openxmlformats.org/officeDocument/2006/relationships/oleObject" Target="../embeddings/oleObject51.bin"/></Relationships>
</file>

<file path=ppt/slideLayouts/_rels/slideLayout491.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01.xml"/><Relationship Id="rId1" Type="http://schemas.openxmlformats.org/officeDocument/2006/relationships/vmlDrawing" Target="../drawings/vmlDrawing52.vml"/><Relationship Id="rId5" Type="http://schemas.openxmlformats.org/officeDocument/2006/relationships/image" Target="../media/image27.emf"/><Relationship Id="rId4" Type="http://schemas.openxmlformats.org/officeDocument/2006/relationships/oleObject" Target="../embeddings/oleObject52.bin"/></Relationships>
</file>

<file path=ppt/slideLayouts/_rels/slideLayout492.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02.xml"/><Relationship Id="rId1" Type="http://schemas.openxmlformats.org/officeDocument/2006/relationships/vmlDrawing" Target="../drawings/vmlDrawing53.vml"/><Relationship Id="rId5" Type="http://schemas.openxmlformats.org/officeDocument/2006/relationships/image" Target="../media/image27.emf"/><Relationship Id="rId4" Type="http://schemas.openxmlformats.org/officeDocument/2006/relationships/oleObject" Target="../embeddings/oleObject53.bin"/></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03.xml"/><Relationship Id="rId1" Type="http://schemas.openxmlformats.org/officeDocument/2006/relationships/vmlDrawing" Target="../drawings/vmlDrawing54.vml"/><Relationship Id="rId5" Type="http://schemas.openxmlformats.org/officeDocument/2006/relationships/image" Target="../media/image27.emf"/><Relationship Id="rId4" Type="http://schemas.openxmlformats.org/officeDocument/2006/relationships/oleObject" Target="../embeddings/oleObject54.bin"/></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04.xml"/><Relationship Id="rId1" Type="http://schemas.openxmlformats.org/officeDocument/2006/relationships/vmlDrawing" Target="../drawings/vmlDrawing55.vml"/><Relationship Id="rId5" Type="http://schemas.openxmlformats.org/officeDocument/2006/relationships/image" Target="../media/image27.emf"/><Relationship Id="rId4" Type="http://schemas.openxmlformats.org/officeDocument/2006/relationships/oleObject" Target="../embeddings/oleObject55.bin"/></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58.xml"/><Relationship Id="rId7" Type="http://schemas.openxmlformats.org/officeDocument/2006/relationships/image" Target="../media/image91.png"/><Relationship Id="rId2" Type="http://schemas.openxmlformats.org/officeDocument/2006/relationships/tags" Target="../tags/tag215.xml"/><Relationship Id="rId1" Type="http://schemas.openxmlformats.org/officeDocument/2006/relationships/vmlDrawing" Target="../drawings/vmlDrawing57.vml"/><Relationship Id="rId6" Type="http://schemas.openxmlformats.org/officeDocument/2006/relationships/image" Target="../media/image90.png"/><Relationship Id="rId5" Type="http://schemas.openxmlformats.org/officeDocument/2006/relationships/image" Target="../media/image27.emf"/><Relationship Id="rId4" Type="http://schemas.openxmlformats.org/officeDocument/2006/relationships/oleObject" Target="../embeddings/oleObject57.bin"/></Relationships>
</file>

<file path=ppt/slideLayouts/_rels/slideLayout496.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91.png"/><Relationship Id="rId2" Type="http://schemas.openxmlformats.org/officeDocument/2006/relationships/tags" Target="../tags/tag216.xml"/><Relationship Id="rId1" Type="http://schemas.openxmlformats.org/officeDocument/2006/relationships/vmlDrawing" Target="../drawings/vmlDrawing58.vml"/><Relationship Id="rId6" Type="http://schemas.openxmlformats.org/officeDocument/2006/relationships/image" Target="../media/image27.emf"/><Relationship Id="rId5" Type="http://schemas.openxmlformats.org/officeDocument/2006/relationships/oleObject" Target="../embeddings/oleObject58.bin"/><Relationship Id="rId4" Type="http://schemas.openxmlformats.org/officeDocument/2006/relationships/slideMaster" Target="../slideMasters/slideMaster5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62.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6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11" name="Picture 10" descr="Bar_06_WHITE_FLAT.png"/>
          <p:cNvPicPr>
            <a:picLocks noChangeAspect="1"/>
          </p:cNvPicPr>
          <p:nvPr userDrawn="1"/>
        </p:nvPicPr>
        <p:blipFill>
          <a:blip r:embed="rId2" cstate="print"/>
          <a:stretch>
            <a:fillRect/>
          </a:stretch>
        </p:blipFill>
        <p:spPr bwMode="invGray">
          <a:xfrm>
            <a:off x="7474745" y="2262569"/>
            <a:ext cx="1216818" cy="155322"/>
          </a:xfrm>
          <a:prstGeom prst="rect">
            <a:avLst/>
          </a:prstGeom>
        </p:spPr>
      </p:pic>
      <p:grpSp>
        <p:nvGrpSpPr>
          <p:cNvPr id="15" name="Group 14"/>
          <p:cNvGrpSpPr/>
          <p:nvPr userDrawn="1"/>
        </p:nvGrpSpPr>
        <p:grpSpPr>
          <a:xfrm>
            <a:off x="723887" y="1599012"/>
            <a:ext cx="6591321" cy="1474470"/>
            <a:chOff x="1865096" y="985741"/>
            <a:chExt cx="5446206" cy="3557683"/>
          </a:xfrm>
        </p:grpSpPr>
        <p:cxnSp>
          <p:nvCxnSpPr>
            <p:cNvPr id="23" name="Straight Connector 22"/>
            <p:cNvCxnSpPr/>
            <p:nvPr userDrawn="1"/>
          </p:nvCxnSpPr>
          <p:spPr bwMode="auto">
            <a:xfrm rot="16200000" flipH="1">
              <a:off x="86255" y="2764583"/>
              <a:ext cx="3557682" cy="0"/>
            </a:xfrm>
            <a:prstGeom prst="line">
              <a:avLst/>
            </a:prstGeom>
            <a:noFill/>
            <a:ln w="63500" cap="rnd" cmpd="sng" algn="ctr">
              <a:solidFill>
                <a:schemeClr val="tx1"/>
              </a:solidFill>
              <a:prstDash val="solid"/>
              <a:round/>
              <a:headEnd type="none" w="med" len="med"/>
              <a:tailEnd type="none" w="med" len="med"/>
            </a:ln>
            <a:effectLst/>
          </p:spPr>
        </p:cxnSp>
        <p:cxnSp>
          <p:nvCxnSpPr>
            <p:cNvPr id="24" name="Straight Connector 23"/>
            <p:cNvCxnSpPr/>
            <p:nvPr userDrawn="1"/>
          </p:nvCxnSpPr>
          <p:spPr bwMode="auto">
            <a:xfrm rot="16200000" flipH="1">
              <a:off x="5532461" y="2764582"/>
              <a:ext cx="3557682" cy="0"/>
            </a:xfrm>
            <a:prstGeom prst="line">
              <a:avLst/>
            </a:prstGeom>
            <a:noFill/>
            <a:ln w="63500" cap="rnd" cmpd="sng" algn="ctr">
              <a:solidFill>
                <a:schemeClr val="tx1"/>
              </a:solidFill>
              <a:prstDash val="solid"/>
              <a:round/>
              <a:headEnd type="none" w="med" len="med"/>
              <a:tailEnd type="none" w="med" len="med"/>
            </a:ln>
            <a:effectLst/>
          </p:spPr>
        </p:cxnSp>
      </p:grpSp>
      <p:sp>
        <p:nvSpPr>
          <p:cNvPr id="28" name="Rectangle 10"/>
          <p:cNvSpPr>
            <a:spLocks noGrp="1" noChangeArrowheads="1"/>
          </p:cNvSpPr>
          <p:nvPr>
            <p:ph type="ctrTitle"/>
          </p:nvPr>
        </p:nvSpPr>
        <p:spPr>
          <a:xfrm>
            <a:off x="891908" y="1902756"/>
            <a:ext cx="6096317" cy="492443"/>
          </a:xfrm>
        </p:spPr>
        <p:txBody>
          <a:bodyPr anchor="b" anchorCtr="0"/>
          <a:lstStyle>
            <a:lvl1pPr>
              <a:defRPr sz="3200" b="0">
                <a:solidFill>
                  <a:schemeClr val="tx1"/>
                </a:solidFill>
                <a:latin typeface="+mj-lt"/>
              </a:defRPr>
            </a:lvl1pPr>
          </a:lstStyle>
          <a:p>
            <a:r>
              <a:rPr lang="en-US"/>
              <a:t>Click to edit Master title style</a:t>
            </a:r>
            <a:endParaRPr lang="en-US" dirty="0"/>
          </a:p>
        </p:txBody>
      </p:sp>
      <p:sp>
        <p:nvSpPr>
          <p:cNvPr id="29" name="Rectangle 24"/>
          <p:cNvSpPr>
            <a:spLocks noGrp="1" noChangeArrowheads="1"/>
          </p:cNvSpPr>
          <p:nvPr>
            <p:ph type="subTitle" sz="quarter" idx="1" hasCustomPrompt="1"/>
          </p:nvPr>
        </p:nvSpPr>
        <p:spPr>
          <a:xfrm>
            <a:off x="891862" y="2472199"/>
            <a:ext cx="6088428" cy="311624"/>
          </a:xfrm>
        </p:spPr>
        <p:txBody>
          <a:bodyPr/>
          <a:lstStyle>
            <a:lvl1pPr marL="0" indent="0">
              <a:buFont typeface="Wingdings" pitchFamily="2" charset="2"/>
              <a:buNone/>
              <a:defRPr sz="2000" b="0">
                <a:solidFill>
                  <a:schemeClr val="tx1"/>
                </a:solidFill>
                <a:latin typeface="+mj-lt"/>
              </a:defRPr>
            </a:lvl1pPr>
          </a:lstStyle>
          <a:p>
            <a:r>
              <a:rPr lang="en-US" dirty="0"/>
              <a:t>Click to edit master subtitle style</a:t>
            </a:r>
          </a:p>
        </p:txBody>
      </p:sp>
      <p:sp>
        <p:nvSpPr>
          <p:cNvPr id="10" name="Text Box 9"/>
          <p:cNvSpPr txBox="1">
            <a:spLocks noChangeArrowheads="1"/>
          </p:cNvSpPr>
          <p:nvPr userDrawn="1"/>
        </p:nvSpPr>
        <p:spPr bwMode="auto">
          <a:xfrm>
            <a:off x="7471848" y="329150"/>
            <a:ext cx="1267342" cy="155812"/>
          </a:xfrm>
          <a:prstGeom prst="rect">
            <a:avLst/>
          </a:prstGeom>
          <a:noFill/>
          <a:ln w="9525">
            <a:noFill/>
            <a:miter lim="800000"/>
            <a:headEnd/>
            <a:tailEnd/>
          </a:ln>
        </p:spPr>
        <p:txBody>
          <a:bodyPr wrap="square" lIns="0" tIns="0" rIns="0" bIns="0">
            <a:spAutoFit/>
          </a:bodyPr>
          <a:lstStyle/>
          <a:p>
            <a:pPr defTabSz="912644">
              <a:spcBef>
                <a:spcPts val="0"/>
              </a:spcBef>
            </a:pPr>
            <a:r>
              <a:rPr lang="en-US" sz="1000" dirty="0">
                <a:solidFill>
                  <a:srgbClr val="FFFFFF"/>
                </a:solidFill>
                <a:latin typeface="Expert Sans Regular"/>
                <a:cs typeface="+mn-cs"/>
              </a:rPr>
              <a:t>Signposting</a:t>
            </a:r>
          </a:p>
        </p:txBody>
      </p:sp>
    </p:spTree>
    <p:extLst>
      <p:ext uri="{BB962C8B-B14F-4D97-AF65-F5344CB8AC3E}">
        <p14:creationId xmlns:p14="http://schemas.microsoft.com/office/powerpoint/2010/main" val="30492976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pSp>
        <p:nvGrpSpPr>
          <p:cNvPr id="2" name="Group 14"/>
          <p:cNvGrpSpPr/>
          <p:nvPr userDrawn="1"/>
        </p:nvGrpSpPr>
        <p:grpSpPr>
          <a:xfrm>
            <a:off x="1857376" y="1599012"/>
            <a:ext cx="5457824" cy="1474470"/>
            <a:chOff x="1865096" y="985741"/>
            <a:chExt cx="5446206" cy="3557683"/>
          </a:xfrm>
        </p:grpSpPr>
        <p:cxnSp>
          <p:nvCxnSpPr>
            <p:cNvPr id="23" name="Straight Connector 22"/>
            <p:cNvCxnSpPr/>
            <p:nvPr userDrawn="1"/>
          </p:nvCxnSpPr>
          <p:spPr bwMode="auto">
            <a:xfrm rot="16200000" flipH="1">
              <a:off x="86255" y="2764583"/>
              <a:ext cx="3557682" cy="0"/>
            </a:xfrm>
            <a:prstGeom prst="line">
              <a:avLst/>
            </a:prstGeom>
            <a:noFill/>
            <a:ln w="63500" cap="rnd" cmpd="sng" algn="ctr">
              <a:solidFill>
                <a:schemeClr val="tx1"/>
              </a:solidFill>
              <a:prstDash val="solid"/>
              <a:round/>
              <a:headEnd type="none" w="med" len="med"/>
              <a:tailEnd type="none" w="med" len="med"/>
            </a:ln>
            <a:effectLst/>
          </p:spPr>
        </p:cxnSp>
        <p:cxnSp>
          <p:nvCxnSpPr>
            <p:cNvPr id="24" name="Straight Connector 23"/>
            <p:cNvCxnSpPr/>
            <p:nvPr userDrawn="1"/>
          </p:nvCxnSpPr>
          <p:spPr bwMode="auto">
            <a:xfrm rot="16200000" flipH="1">
              <a:off x="5532461" y="2764582"/>
              <a:ext cx="3557682" cy="0"/>
            </a:xfrm>
            <a:prstGeom prst="line">
              <a:avLst/>
            </a:prstGeom>
            <a:noFill/>
            <a:ln w="63500" cap="rnd" cmpd="sng" algn="ctr">
              <a:solidFill>
                <a:schemeClr val="tx1"/>
              </a:solidFill>
              <a:prstDash val="solid"/>
              <a:round/>
              <a:headEnd type="none" w="med" len="med"/>
              <a:tailEnd type="none" w="med" len="med"/>
            </a:ln>
            <a:effectLst/>
          </p:spPr>
        </p:cxnSp>
      </p:grpSp>
      <p:sp>
        <p:nvSpPr>
          <p:cNvPr id="28" name="Rectangle 10"/>
          <p:cNvSpPr>
            <a:spLocks noGrp="1" noChangeArrowheads="1"/>
          </p:cNvSpPr>
          <p:nvPr>
            <p:ph type="ctrTitle" hasCustomPrompt="1"/>
          </p:nvPr>
        </p:nvSpPr>
        <p:spPr>
          <a:xfrm>
            <a:off x="2034385" y="1908188"/>
            <a:ext cx="4932362" cy="492443"/>
          </a:xfrm>
        </p:spPr>
        <p:txBody>
          <a:bodyPr anchor="b" anchorCtr="0"/>
          <a:lstStyle>
            <a:lvl1pPr>
              <a:defRPr sz="3200" b="0">
                <a:solidFill>
                  <a:schemeClr val="tx1"/>
                </a:solidFill>
                <a:latin typeface="+mj-lt"/>
              </a:defRPr>
            </a:lvl1pPr>
          </a:lstStyle>
          <a:p>
            <a:r>
              <a:rPr lang="en-US" dirty="0"/>
              <a:t>Click to edit </a:t>
            </a:r>
            <a:r>
              <a:rPr lang="en-US" dirty="0" err="1"/>
              <a:t>Mastetitle</a:t>
            </a:r>
            <a:r>
              <a:rPr lang="en-US" dirty="0"/>
              <a:t> style</a:t>
            </a:r>
          </a:p>
        </p:txBody>
      </p:sp>
      <p:sp>
        <p:nvSpPr>
          <p:cNvPr id="29" name="Rectangle 24"/>
          <p:cNvSpPr>
            <a:spLocks noGrp="1" noChangeArrowheads="1"/>
          </p:cNvSpPr>
          <p:nvPr>
            <p:ph type="subTitle" sz="quarter" idx="1" hasCustomPrompt="1"/>
          </p:nvPr>
        </p:nvSpPr>
        <p:spPr>
          <a:xfrm>
            <a:off x="2040029" y="2479993"/>
            <a:ext cx="4925979" cy="311624"/>
          </a:xfrm>
        </p:spPr>
        <p:txBody>
          <a:bodyPr/>
          <a:lstStyle>
            <a:lvl1pPr marL="0" indent="0">
              <a:buFont typeface="Wingdings" pitchFamily="2" charset="2"/>
              <a:buNone/>
              <a:defRPr sz="2000" b="0">
                <a:solidFill>
                  <a:schemeClr val="tx1"/>
                </a:solidFill>
                <a:latin typeface="+mj-lt"/>
              </a:defRPr>
            </a:lvl1pPr>
          </a:lstStyle>
          <a:p>
            <a:r>
              <a:rPr lang="en-US" dirty="0"/>
              <a:t>Click to edit master subtitle style</a:t>
            </a:r>
          </a:p>
        </p:txBody>
      </p:sp>
      <p:sp>
        <p:nvSpPr>
          <p:cNvPr id="9" name="Text Box 9"/>
          <p:cNvSpPr txBox="1">
            <a:spLocks noChangeArrowheads="1"/>
          </p:cNvSpPr>
          <p:nvPr userDrawn="1"/>
        </p:nvSpPr>
        <p:spPr bwMode="auto">
          <a:xfrm>
            <a:off x="7471848" y="329150"/>
            <a:ext cx="1267342" cy="155812"/>
          </a:xfrm>
          <a:prstGeom prst="rect">
            <a:avLst/>
          </a:prstGeom>
          <a:noFill/>
          <a:ln w="9525">
            <a:noFill/>
            <a:miter lim="800000"/>
            <a:headEnd/>
            <a:tailEnd/>
          </a:ln>
        </p:spPr>
        <p:txBody>
          <a:bodyPr wrap="square" lIns="0" tIns="0" rIns="0" bIns="0">
            <a:spAutoFit/>
          </a:bodyPr>
          <a:lstStyle/>
          <a:p>
            <a:pPr defTabSz="912644">
              <a:spcBef>
                <a:spcPts val="0"/>
              </a:spcBef>
            </a:pPr>
            <a:r>
              <a:rPr lang="en-US" sz="1000" dirty="0">
                <a:solidFill>
                  <a:srgbClr val="FFFFFF"/>
                </a:solidFill>
                <a:latin typeface="Expert Sans Regular"/>
                <a:cs typeface="+mn-cs"/>
              </a:rPr>
              <a:t>Signposting</a:t>
            </a:r>
          </a:p>
        </p:txBody>
      </p:sp>
      <p:pic>
        <p:nvPicPr>
          <p:cNvPr id="10" name="Picture 9" descr="Bar_06_WHITE_FLAT.png"/>
          <p:cNvPicPr>
            <a:picLocks noChangeAspect="1"/>
          </p:cNvPicPr>
          <p:nvPr userDrawn="1"/>
        </p:nvPicPr>
        <p:blipFill>
          <a:blip r:embed="rId2" cstate="print"/>
          <a:stretch>
            <a:fillRect/>
          </a:stretch>
        </p:blipFill>
        <p:spPr bwMode="invGray">
          <a:xfrm>
            <a:off x="7474745" y="2262569"/>
            <a:ext cx="1216818" cy="155322"/>
          </a:xfrm>
          <a:prstGeom prst="rect">
            <a:avLst/>
          </a:prstGeom>
        </p:spPr>
      </p:pic>
    </p:spTree>
    <p:extLst>
      <p:ext uri="{BB962C8B-B14F-4D97-AF65-F5344CB8AC3E}">
        <p14:creationId xmlns:p14="http://schemas.microsoft.com/office/powerpoint/2010/main" val="40149125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sp>
        <p:nvSpPr>
          <p:cNvPr id="28" name="Rectangle 10"/>
          <p:cNvSpPr>
            <a:spLocks noGrp="1" noChangeArrowheads="1"/>
          </p:cNvSpPr>
          <p:nvPr>
            <p:ph type="ctrTitle"/>
          </p:nvPr>
        </p:nvSpPr>
        <p:spPr>
          <a:xfrm>
            <a:off x="693785" y="1932707"/>
            <a:ext cx="6294437" cy="461665"/>
          </a:xfrm>
        </p:spPr>
        <p:txBody>
          <a:bodyPr anchor="b" anchorCtr="0"/>
          <a:lstStyle>
            <a:lvl1pPr>
              <a:defRPr sz="3000" b="0">
                <a:solidFill>
                  <a:schemeClr val="tx1"/>
                </a:solidFill>
                <a:latin typeface="+mj-lt"/>
              </a:defRPr>
            </a:lvl1pPr>
          </a:lstStyle>
          <a:p>
            <a:r>
              <a:rPr lang="en-US"/>
              <a:t>Click to edit Master title style</a:t>
            </a:r>
            <a:endParaRPr lang="en-US" dirty="0"/>
          </a:p>
        </p:txBody>
      </p:sp>
      <p:sp>
        <p:nvSpPr>
          <p:cNvPr id="29" name="Rectangle 24"/>
          <p:cNvSpPr>
            <a:spLocks noGrp="1" noChangeArrowheads="1"/>
          </p:cNvSpPr>
          <p:nvPr>
            <p:ph type="subTitle" sz="quarter" idx="1" hasCustomPrompt="1"/>
          </p:nvPr>
        </p:nvSpPr>
        <p:spPr>
          <a:xfrm>
            <a:off x="694039" y="2475772"/>
            <a:ext cx="6286291" cy="311624"/>
          </a:xfrm>
        </p:spPr>
        <p:txBody>
          <a:bodyPr/>
          <a:lstStyle>
            <a:lvl1pPr marL="0" indent="0">
              <a:buFont typeface="Wingdings" pitchFamily="2" charset="2"/>
              <a:buNone/>
              <a:defRPr sz="2000" b="0">
                <a:solidFill>
                  <a:schemeClr val="tx1"/>
                </a:solidFill>
                <a:latin typeface="+mj-lt"/>
              </a:defRPr>
            </a:lvl1pPr>
          </a:lstStyle>
          <a:p>
            <a:r>
              <a:rPr lang="en-US" dirty="0"/>
              <a:t>Click to edit master subtitle style</a:t>
            </a:r>
          </a:p>
        </p:txBody>
      </p:sp>
      <p:sp>
        <p:nvSpPr>
          <p:cNvPr id="6" name="Text Box 9"/>
          <p:cNvSpPr txBox="1">
            <a:spLocks noChangeArrowheads="1"/>
          </p:cNvSpPr>
          <p:nvPr userDrawn="1"/>
        </p:nvSpPr>
        <p:spPr bwMode="auto">
          <a:xfrm>
            <a:off x="7471848" y="329150"/>
            <a:ext cx="1267342" cy="155812"/>
          </a:xfrm>
          <a:prstGeom prst="rect">
            <a:avLst/>
          </a:prstGeom>
          <a:noFill/>
          <a:ln w="9525">
            <a:noFill/>
            <a:miter lim="800000"/>
            <a:headEnd/>
            <a:tailEnd/>
          </a:ln>
        </p:spPr>
        <p:txBody>
          <a:bodyPr wrap="square" lIns="0" tIns="0" rIns="0" bIns="0">
            <a:spAutoFit/>
          </a:bodyPr>
          <a:lstStyle/>
          <a:p>
            <a:pPr defTabSz="912644">
              <a:spcBef>
                <a:spcPts val="0"/>
              </a:spcBef>
            </a:pPr>
            <a:r>
              <a:rPr lang="en-US" sz="1000" dirty="0">
                <a:solidFill>
                  <a:srgbClr val="FFFFFF"/>
                </a:solidFill>
                <a:latin typeface="Expert Sans Regular"/>
                <a:cs typeface="+mn-cs"/>
              </a:rPr>
              <a:t>Signposting</a:t>
            </a:r>
          </a:p>
        </p:txBody>
      </p:sp>
      <p:pic>
        <p:nvPicPr>
          <p:cNvPr id="7" name="Picture 6" descr="Bar_06_WHITE_FLAT.png"/>
          <p:cNvPicPr>
            <a:picLocks noChangeAspect="1"/>
          </p:cNvPicPr>
          <p:nvPr userDrawn="1"/>
        </p:nvPicPr>
        <p:blipFill>
          <a:blip r:embed="rId2" cstate="print"/>
          <a:stretch>
            <a:fillRect/>
          </a:stretch>
        </p:blipFill>
        <p:spPr bwMode="invGray">
          <a:xfrm>
            <a:off x="7472364" y="4816728"/>
            <a:ext cx="1216818" cy="155322"/>
          </a:xfrm>
          <a:prstGeom prst="rect">
            <a:avLst/>
          </a:prstGeom>
        </p:spPr>
      </p:pic>
    </p:spTree>
    <p:extLst>
      <p:ext uri="{BB962C8B-B14F-4D97-AF65-F5344CB8AC3E}">
        <p14:creationId xmlns:p14="http://schemas.microsoft.com/office/powerpoint/2010/main" val="223285316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28" name="Rectangle 10"/>
          <p:cNvSpPr>
            <a:spLocks noGrp="1" noChangeArrowheads="1"/>
          </p:cNvSpPr>
          <p:nvPr>
            <p:ph type="ctrTitle"/>
          </p:nvPr>
        </p:nvSpPr>
        <p:spPr>
          <a:xfrm>
            <a:off x="693785" y="1932707"/>
            <a:ext cx="6294437" cy="461665"/>
          </a:xfrm>
        </p:spPr>
        <p:txBody>
          <a:bodyPr anchor="b" anchorCtr="0"/>
          <a:lstStyle>
            <a:lvl1pPr>
              <a:defRPr sz="3000" b="0">
                <a:solidFill>
                  <a:schemeClr val="tx1"/>
                </a:solidFill>
                <a:latin typeface="+mj-lt"/>
              </a:defRPr>
            </a:lvl1pPr>
          </a:lstStyle>
          <a:p>
            <a:r>
              <a:rPr lang="en-US"/>
              <a:t>Click to edit Master title style</a:t>
            </a:r>
            <a:endParaRPr lang="en-US" dirty="0"/>
          </a:p>
        </p:txBody>
      </p:sp>
      <p:sp>
        <p:nvSpPr>
          <p:cNvPr id="29" name="Rectangle 24"/>
          <p:cNvSpPr>
            <a:spLocks noGrp="1" noChangeArrowheads="1"/>
          </p:cNvSpPr>
          <p:nvPr>
            <p:ph type="subTitle" sz="quarter" idx="1" hasCustomPrompt="1"/>
          </p:nvPr>
        </p:nvSpPr>
        <p:spPr>
          <a:xfrm>
            <a:off x="694039" y="2482597"/>
            <a:ext cx="6286291" cy="311624"/>
          </a:xfrm>
        </p:spPr>
        <p:txBody>
          <a:bodyPr/>
          <a:lstStyle>
            <a:lvl1pPr marL="0" indent="0">
              <a:buFont typeface="Wingdings" pitchFamily="2" charset="2"/>
              <a:buNone/>
              <a:defRPr sz="2000" b="0">
                <a:solidFill>
                  <a:schemeClr val="tx1"/>
                </a:solidFill>
                <a:latin typeface="+mj-lt"/>
              </a:defRPr>
            </a:lvl1pPr>
          </a:lstStyle>
          <a:p>
            <a:r>
              <a:rPr lang="en-US" dirty="0"/>
              <a:t>Click to edit master subtitle style</a:t>
            </a:r>
          </a:p>
        </p:txBody>
      </p:sp>
      <p:sp>
        <p:nvSpPr>
          <p:cNvPr id="7" name="Footer Placeholder 10"/>
          <p:cNvSpPr>
            <a:spLocks noGrp="1"/>
          </p:cNvSpPr>
          <p:nvPr>
            <p:ph type="ftr" sz="quarter" idx="3"/>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a:defRPr/>
            </a:pPr>
            <a:fld id="{02F500F8-9B76-40B1-A569-C00F219B0618}" type="slidenum">
              <a:rPr sz="900" smtClean="0">
                <a:solidFill>
                  <a:srgbClr val="FFFFFF"/>
                </a:solidFill>
              </a:rPr>
              <a:pPr algn="l">
                <a:defRPr/>
              </a:pPr>
              <a:t>‹#›</a:t>
            </a:fld>
            <a:r>
              <a:rPr sz="900">
                <a:solidFill>
                  <a:srgbClr val="FFFFFF"/>
                </a:solidFill>
              </a:rPr>
              <a:t>  |  Barclays presentation title  |  30 January 2012</a:t>
            </a:r>
          </a:p>
        </p:txBody>
      </p:sp>
    </p:spTree>
    <p:extLst>
      <p:ext uri="{BB962C8B-B14F-4D97-AF65-F5344CB8AC3E}">
        <p14:creationId xmlns:p14="http://schemas.microsoft.com/office/powerpoint/2010/main" val="298437825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6915" y="230002"/>
            <a:ext cx="8062912" cy="461665"/>
          </a:xfrm>
        </p:spPr>
        <p:txBody>
          <a:bodyPr/>
          <a:lstStyle>
            <a:lvl1pPr>
              <a:defRPr sz="3000" b="0">
                <a:solidFill>
                  <a:schemeClr val="tx1"/>
                </a:solidFill>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704876" y="822061"/>
            <a:ext cx="8004175" cy="2181367"/>
          </a:xfrm>
        </p:spPr>
        <p:txBody>
          <a:bodyPr/>
          <a:lstStyle>
            <a:lvl1pPr>
              <a:defRPr sz="2000"/>
            </a:lvl1pPr>
            <a:lvl2pPr>
              <a:defRPr sz="2000"/>
            </a:lvl2pPr>
            <a:lvl3pPr marL="570408" indent="-342200">
              <a:defRPr sz="2000"/>
            </a:lvl3pPr>
            <a:lvl4pPr marL="860375" indent="-289967">
              <a:defRPr sz="2000"/>
            </a:lvl4pPr>
            <a:lvl5pPr marL="1202573" indent="-342200">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10"/>
          <p:cNvSpPr>
            <a:spLocks noGrp="1"/>
          </p:cNvSpPr>
          <p:nvPr>
            <p:ph type="ftr" sz="quarter" idx="3"/>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a:defRPr/>
            </a:pPr>
            <a:fld id="{02F500F8-9B76-40B1-A569-C00F219B0618}" type="slidenum">
              <a:rPr sz="900" smtClean="0">
                <a:solidFill>
                  <a:srgbClr val="FFFFFF"/>
                </a:solidFill>
              </a:rPr>
              <a:pPr algn="l">
                <a:defRPr/>
              </a:pPr>
              <a:t>‹#›</a:t>
            </a:fld>
            <a:r>
              <a:rPr sz="900">
                <a:solidFill>
                  <a:srgbClr val="FFFFFF"/>
                </a:solidFill>
              </a:rPr>
              <a:t>  |  Barclays presentation title  |  30 January 2012</a:t>
            </a:r>
          </a:p>
        </p:txBody>
      </p:sp>
    </p:spTree>
    <p:extLst>
      <p:ext uri="{BB962C8B-B14F-4D97-AF65-F5344CB8AC3E}">
        <p14:creationId xmlns:p14="http://schemas.microsoft.com/office/powerpoint/2010/main" val="389251832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Numbered text page">
    <p:spTree>
      <p:nvGrpSpPr>
        <p:cNvPr id="1" name=""/>
        <p:cNvGrpSpPr/>
        <p:nvPr/>
      </p:nvGrpSpPr>
      <p:grpSpPr>
        <a:xfrm>
          <a:off x="0" y="0"/>
          <a:ext cx="0" cy="0"/>
          <a:chOff x="0" y="0"/>
          <a:chExt cx="0" cy="0"/>
        </a:xfrm>
      </p:grpSpPr>
      <p:sp>
        <p:nvSpPr>
          <p:cNvPr id="2" name="Title 1"/>
          <p:cNvSpPr>
            <a:spLocks noGrp="1"/>
          </p:cNvSpPr>
          <p:nvPr>
            <p:ph type="title"/>
          </p:nvPr>
        </p:nvSpPr>
        <p:spPr>
          <a:xfrm>
            <a:off x="696915" y="287701"/>
            <a:ext cx="8062912" cy="461665"/>
          </a:xfrm>
        </p:spPr>
        <p:txBody>
          <a:bodyPr anchor="t" anchorCtr="0"/>
          <a:lstStyle>
            <a:lvl1pPr>
              <a:defRPr sz="3000" b="0">
                <a:solidFill>
                  <a:schemeClr val="tx1"/>
                </a:solidFill>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704876" y="822009"/>
            <a:ext cx="8004175" cy="2000548"/>
          </a:xfrm>
        </p:spPr>
        <p:txBody>
          <a:bodyPr/>
          <a:lstStyle>
            <a:lvl1pPr marL="340613" indent="-340613">
              <a:lnSpc>
                <a:spcPct val="100000"/>
              </a:lnSpc>
              <a:spcBef>
                <a:spcPts val="900"/>
              </a:spcBef>
              <a:buClrTx/>
              <a:buFont typeface="+mj-lt"/>
              <a:buAutoNum type="arabicPeriod"/>
              <a:defRPr sz="2000">
                <a:solidFill>
                  <a:schemeClr val="tx1"/>
                </a:solidFill>
              </a:defRPr>
            </a:lvl1pPr>
            <a:lvl2pPr marL="681299" indent="-340613">
              <a:lnSpc>
                <a:spcPct val="100000"/>
              </a:lnSpc>
              <a:spcBef>
                <a:spcPts val="900"/>
              </a:spcBef>
              <a:buFont typeface="+mj-lt"/>
              <a:buAutoNum type="alphaLcPeriod"/>
              <a:defRPr sz="2000"/>
            </a:lvl2pPr>
            <a:lvl3pPr marL="1193048" indent="-451580">
              <a:lnSpc>
                <a:spcPct val="100000"/>
              </a:lnSpc>
              <a:spcBef>
                <a:spcPts val="900"/>
              </a:spcBef>
              <a:defRPr sz="2000"/>
            </a:lvl3pPr>
            <a:lvl4pPr marL="1143952" indent="-231308">
              <a:lnSpc>
                <a:spcPct val="100000"/>
              </a:lnSpc>
              <a:spcBef>
                <a:spcPts val="900"/>
              </a:spcBef>
              <a:defRPr sz="2000"/>
            </a:lvl4pPr>
            <a:lvl5pPr marL="1424357" indent="-280442">
              <a:lnSpc>
                <a:spcPct val="100000"/>
              </a:lnSpc>
              <a:spcBef>
                <a:spcPts val="900"/>
              </a:spcBef>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10"/>
          <p:cNvSpPr>
            <a:spLocks noGrp="1"/>
          </p:cNvSpPr>
          <p:nvPr>
            <p:ph type="ftr" sz="quarter" idx="3"/>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a:defRPr/>
            </a:pPr>
            <a:fld id="{02F500F8-9B76-40B1-A569-C00F219B0618}" type="slidenum">
              <a:rPr sz="900" smtClean="0">
                <a:solidFill>
                  <a:srgbClr val="FFFFFF"/>
                </a:solidFill>
              </a:rPr>
              <a:pPr algn="l">
                <a:defRPr/>
              </a:pPr>
              <a:t>‹#›</a:t>
            </a:fld>
            <a:r>
              <a:rPr sz="900">
                <a:solidFill>
                  <a:srgbClr val="FFFFFF"/>
                </a:solidFill>
              </a:rPr>
              <a:t>  |  Barclays presentation title  |  30 January 2012</a:t>
            </a:r>
          </a:p>
        </p:txBody>
      </p:sp>
    </p:spTree>
    <p:extLst>
      <p:ext uri="{BB962C8B-B14F-4D97-AF65-F5344CB8AC3E}">
        <p14:creationId xmlns:p14="http://schemas.microsoft.com/office/powerpoint/2010/main" val="21924324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Left text_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94176" y="829593"/>
            <a:ext cx="3925888" cy="2154436"/>
          </a:xfrm>
        </p:spPr>
        <p:txBody>
          <a:bodyPr/>
          <a:lstStyle>
            <a:lvl1pPr>
              <a:lnSpc>
                <a:spcPct val="100000"/>
              </a:lnSpc>
              <a:spcBef>
                <a:spcPts val="1200"/>
              </a:spcBef>
              <a:defRPr sz="2000"/>
            </a:lvl1pPr>
            <a:lvl2pPr marL="175864" indent="-175864">
              <a:lnSpc>
                <a:spcPct val="100000"/>
              </a:lnSpc>
              <a:spcBef>
                <a:spcPts val="1200"/>
              </a:spcBef>
              <a:buClr>
                <a:schemeClr val="tx1"/>
              </a:buClr>
              <a:buFont typeface="Wingdings" pitchFamily="2" charset="2"/>
              <a:buChar char=""/>
              <a:defRPr sz="2000"/>
            </a:lvl2pPr>
            <a:lvl3pPr marL="404033" indent="-228132">
              <a:lnSpc>
                <a:spcPct val="100000"/>
              </a:lnSpc>
              <a:spcBef>
                <a:spcPts val="1200"/>
              </a:spcBef>
              <a:defRPr sz="2000"/>
            </a:lvl3pPr>
            <a:lvl4pPr marL="632240" indent="-228132">
              <a:lnSpc>
                <a:spcPct val="100000"/>
              </a:lnSpc>
              <a:spcBef>
                <a:spcPts val="1200"/>
              </a:spcBef>
              <a:defRPr sz="2000"/>
            </a:lvl4pPr>
            <a:lvl5pPr marL="860375" indent="-228132">
              <a:lnSpc>
                <a:spcPct val="100000"/>
              </a:lnSpc>
              <a:spcBef>
                <a:spcPts val="1200"/>
              </a:spcBef>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0"/>
          </p:nvPr>
        </p:nvSpPr>
        <p:spPr>
          <a:xfrm>
            <a:off x="4783219" y="859642"/>
            <a:ext cx="3908425" cy="311624"/>
          </a:xfrm>
        </p:spPr>
        <p:txBody>
          <a:bodyPr/>
          <a:lstStyle/>
          <a:p>
            <a:r>
              <a:rPr lang="en-US"/>
              <a:t>Click icon to add picture</a:t>
            </a:r>
          </a:p>
        </p:txBody>
      </p:sp>
      <p:sp>
        <p:nvSpPr>
          <p:cNvPr id="7" name="Footer Placeholder 10"/>
          <p:cNvSpPr>
            <a:spLocks noGrp="1"/>
          </p:cNvSpPr>
          <p:nvPr>
            <p:ph type="ftr" sz="quarter" idx="3"/>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a:defRPr/>
            </a:pPr>
            <a:fld id="{02F500F8-9B76-40B1-A569-C00F219B0618}" type="slidenum">
              <a:rPr sz="900" smtClean="0">
                <a:solidFill>
                  <a:srgbClr val="FFFFFF"/>
                </a:solidFill>
              </a:rPr>
              <a:pPr algn="l">
                <a:defRPr/>
              </a:pPr>
              <a:t>‹#›</a:t>
            </a:fld>
            <a:r>
              <a:rPr sz="900">
                <a:solidFill>
                  <a:srgbClr val="FFFFFF"/>
                </a:solidFill>
              </a:rPr>
              <a:t>  |  Barclays presentation title  |  30 January 2012</a:t>
            </a:r>
          </a:p>
        </p:txBody>
      </p:sp>
    </p:spTree>
    <p:extLst>
      <p:ext uri="{BB962C8B-B14F-4D97-AF65-F5344CB8AC3E}">
        <p14:creationId xmlns:p14="http://schemas.microsoft.com/office/powerpoint/2010/main" val="32636360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Left text_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94176" y="829636"/>
            <a:ext cx="3925888" cy="2181367"/>
          </a:xfrm>
        </p:spPr>
        <p:txBody>
          <a:bodyPr/>
          <a:lstStyle>
            <a:lvl1pPr>
              <a:defRPr sz="2000"/>
            </a:lvl1pPr>
            <a:lvl2pPr marL="174313" indent="-174313">
              <a:buClr>
                <a:schemeClr val="tx1"/>
              </a:buClr>
              <a:buFont typeface="Wingdings" pitchFamily="2" charset="2"/>
              <a:buChar char=""/>
              <a:defRPr sz="2000"/>
            </a:lvl2pPr>
            <a:lvl3pPr marL="399270" indent="-224957">
              <a:defRPr sz="2000"/>
            </a:lvl3pPr>
            <a:lvl4pPr marL="625892" indent="-226545">
              <a:defRPr sz="2000"/>
            </a:lvl4pPr>
            <a:lvl5pPr marL="850850" indent="-224957">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10"/>
          <p:cNvSpPr>
            <a:spLocks noGrp="1"/>
          </p:cNvSpPr>
          <p:nvPr>
            <p:ph type="ftr" sz="quarter" idx="3"/>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a:defRPr/>
            </a:pPr>
            <a:fld id="{02F500F8-9B76-40B1-A569-C00F219B0618}" type="slidenum">
              <a:rPr sz="900" smtClean="0">
                <a:solidFill>
                  <a:srgbClr val="FFFFFF"/>
                </a:solidFill>
              </a:rPr>
              <a:pPr algn="l">
                <a:defRPr/>
              </a:pPr>
              <a:t>‹#›</a:t>
            </a:fld>
            <a:r>
              <a:rPr sz="900">
                <a:solidFill>
                  <a:srgbClr val="FFFFFF"/>
                </a:solidFill>
              </a:rPr>
              <a:t>  |  Barclays presentation title  |  30 January 2012</a:t>
            </a:r>
          </a:p>
        </p:txBody>
      </p:sp>
    </p:spTree>
    <p:extLst>
      <p:ext uri="{BB962C8B-B14F-4D97-AF65-F5344CB8AC3E}">
        <p14:creationId xmlns:p14="http://schemas.microsoft.com/office/powerpoint/2010/main" val="194519157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eft text_2 Right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94176" y="829593"/>
            <a:ext cx="3925888" cy="2154436"/>
          </a:xfrm>
        </p:spPr>
        <p:txBody>
          <a:bodyPr/>
          <a:lstStyle>
            <a:lvl1pPr>
              <a:lnSpc>
                <a:spcPct val="100000"/>
              </a:lnSpc>
              <a:spcBef>
                <a:spcPts val="1200"/>
              </a:spcBef>
              <a:defRPr sz="2000"/>
            </a:lvl1pPr>
            <a:lvl2pPr marL="175864" indent="-175864">
              <a:lnSpc>
                <a:spcPct val="100000"/>
              </a:lnSpc>
              <a:spcBef>
                <a:spcPts val="1200"/>
              </a:spcBef>
              <a:buClr>
                <a:schemeClr val="tx1"/>
              </a:buClr>
              <a:buFont typeface="Wingdings" pitchFamily="2" charset="2"/>
              <a:buChar char=""/>
              <a:defRPr sz="2000"/>
            </a:lvl2pPr>
            <a:lvl3pPr marL="404033" indent="-228132">
              <a:lnSpc>
                <a:spcPct val="100000"/>
              </a:lnSpc>
              <a:spcBef>
                <a:spcPts val="1200"/>
              </a:spcBef>
              <a:defRPr sz="2000"/>
            </a:lvl3pPr>
            <a:lvl4pPr marL="625892" indent="-221786">
              <a:lnSpc>
                <a:spcPct val="100000"/>
              </a:lnSpc>
              <a:spcBef>
                <a:spcPts val="1200"/>
              </a:spcBef>
              <a:defRPr sz="2000"/>
            </a:lvl4pPr>
            <a:lvl5pPr marL="850850" indent="-224957">
              <a:lnSpc>
                <a:spcPct val="100000"/>
              </a:lnSpc>
              <a:spcBef>
                <a:spcPts val="1200"/>
              </a:spcBef>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0"/>
          </p:nvPr>
        </p:nvSpPr>
        <p:spPr>
          <a:xfrm>
            <a:off x="4783219" y="859642"/>
            <a:ext cx="3908425" cy="311624"/>
          </a:xfrm>
        </p:spPr>
        <p:txBody>
          <a:bodyPr/>
          <a:lstStyle/>
          <a:p>
            <a:r>
              <a:rPr lang="en-US"/>
              <a:t>Click icon to add picture</a:t>
            </a:r>
          </a:p>
        </p:txBody>
      </p:sp>
      <p:sp>
        <p:nvSpPr>
          <p:cNvPr id="7" name="Picture Placeholder 7"/>
          <p:cNvSpPr>
            <a:spLocks noGrp="1"/>
          </p:cNvSpPr>
          <p:nvPr>
            <p:ph type="pic" sz="quarter" idx="11"/>
          </p:nvPr>
        </p:nvSpPr>
        <p:spPr>
          <a:xfrm>
            <a:off x="4773173" y="2743702"/>
            <a:ext cx="3908425" cy="311624"/>
          </a:xfrm>
        </p:spPr>
        <p:txBody>
          <a:bodyPr/>
          <a:lstStyle/>
          <a:p>
            <a:r>
              <a:rPr lang="en-US"/>
              <a:t>Click icon to add picture</a:t>
            </a:r>
          </a:p>
        </p:txBody>
      </p:sp>
      <p:sp>
        <p:nvSpPr>
          <p:cNvPr id="10" name="Footer Placeholder 10"/>
          <p:cNvSpPr>
            <a:spLocks noGrp="1"/>
          </p:cNvSpPr>
          <p:nvPr>
            <p:ph type="ftr" sz="quarter" idx="3"/>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a:defRPr/>
            </a:pPr>
            <a:fld id="{02F500F8-9B76-40B1-A569-C00F219B0618}" type="slidenum">
              <a:rPr sz="900" smtClean="0">
                <a:solidFill>
                  <a:srgbClr val="FFFFFF"/>
                </a:solidFill>
              </a:rPr>
              <a:pPr algn="l">
                <a:defRPr/>
              </a:pPr>
              <a:t>‹#›</a:t>
            </a:fld>
            <a:r>
              <a:rPr sz="900">
                <a:solidFill>
                  <a:srgbClr val="FFFFFF"/>
                </a:solidFill>
              </a:rPr>
              <a:t>  |  Barclays presentation title  |  30 January 2012</a:t>
            </a:r>
          </a:p>
        </p:txBody>
      </p:sp>
    </p:spTree>
    <p:extLst>
      <p:ext uri="{BB962C8B-B14F-4D97-AF65-F5344CB8AC3E}">
        <p14:creationId xmlns:p14="http://schemas.microsoft.com/office/powerpoint/2010/main" val="336797554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93494" y="339658"/>
            <a:ext cx="3908425" cy="311624"/>
          </a:xfrm>
        </p:spPr>
        <p:txBody>
          <a:bodyPr/>
          <a:lstStyle/>
          <a:p>
            <a:r>
              <a:rPr lang="en-US"/>
              <a:t>Click icon to add picture</a:t>
            </a:r>
          </a:p>
        </p:txBody>
      </p:sp>
      <p:sp>
        <p:nvSpPr>
          <p:cNvPr id="7" name="Picture Placeholder 7"/>
          <p:cNvSpPr>
            <a:spLocks noGrp="1"/>
          </p:cNvSpPr>
          <p:nvPr>
            <p:ph type="pic" sz="quarter" idx="11"/>
          </p:nvPr>
        </p:nvSpPr>
        <p:spPr>
          <a:xfrm>
            <a:off x="4763124" y="339658"/>
            <a:ext cx="3908425" cy="311624"/>
          </a:xfrm>
        </p:spPr>
        <p:txBody>
          <a:bodyPr/>
          <a:lstStyle/>
          <a:p>
            <a:r>
              <a:rPr lang="en-US"/>
              <a:t>Click icon to add picture</a:t>
            </a:r>
            <a:endParaRPr lang="en-US" dirty="0"/>
          </a:p>
        </p:txBody>
      </p:sp>
      <p:sp>
        <p:nvSpPr>
          <p:cNvPr id="10" name="Picture Placeholder 7"/>
          <p:cNvSpPr>
            <a:spLocks noGrp="1"/>
          </p:cNvSpPr>
          <p:nvPr>
            <p:ph type="pic" sz="quarter" idx="12"/>
          </p:nvPr>
        </p:nvSpPr>
        <p:spPr>
          <a:xfrm>
            <a:off x="693494" y="2449813"/>
            <a:ext cx="3908425" cy="311624"/>
          </a:xfrm>
        </p:spPr>
        <p:txBody>
          <a:bodyPr/>
          <a:lstStyle/>
          <a:p>
            <a:r>
              <a:rPr lang="en-US"/>
              <a:t>Click icon to add picture</a:t>
            </a:r>
          </a:p>
        </p:txBody>
      </p:sp>
      <p:sp>
        <p:nvSpPr>
          <p:cNvPr id="11" name="Picture Placeholder 7"/>
          <p:cNvSpPr>
            <a:spLocks noGrp="1"/>
          </p:cNvSpPr>
          <p:nvPr>
            <p:ph type="pic" sz="quarter" idx="13"/>
          </p:nvPr>
        </p:nvSpPr>
        <p:spPr>
          <a:xfrm>
            <a:off x="4763124" y="2449813"/>
            <a:ext cx="3908425" cy="311624"/>
          </a:xfrm>
        </p:spPr>
        <p:txBody>
          <a:bodyPr/>
          <a:lstStyle/>
          <a:p>
            <a:r>
              <a:rPr lang="en-US"/>
              <a:t>Click icon to add picture</a:t>
            </a:r>
            <a:endParaRPr lang="en-US" dirty="0"/>
          </a:p>
        </p:txBody>
      </p:sp>
      <p:sp>
        <p:nvSpPr>
          <p:cNvPr id="14" name="Text Placeholder 13"/>
          <p:cNvSpPr>
            <a:spLocks noGrp="1"/>
          </p:cNvSpPr>
          <p:nvPr>
            <p:ph type="body" sz="quarter" idx="14"/>
          </p:nvPr>
        </p:nvSpPr>
        <p:spPr>
          <a:xfrm>
            <a:off x="682624" y="2215346"/>
            <a:ext cx="3886200" cy="219291"/>
          </a:xfrm>
        </p:spPr>
        <p:txBody>
          <a:bodyPr/>
          <a:lstStyle>
            <a:lvl1pPr>
              <a:defRPr sz="1400"/>
            </a:lvl1pPr>
          </a:lstStyle>
          <a:p>
            <a:pPr lvl="0"/>
            <a:r>
              <a:rPr lang="en-US"/>
              <a:t>Click to edit Master text styles</a:t>
            </a:r>
          </a:p>
        </p:txBody>
      </p:sp>
      <p:sp>
        <p:nvSpPr>
          <p:cNvPr id="15" name="Text Placeholder 13"/>
          <p:cNvSpPr>
            <a:spLocks noGrp="1"/>
          </p:cNvSpPr>
          <p:nvPr>
            <p:ph type="body" sz="quarter" idx="15"/>
          </p:nvPr>
        </p:nvSpPr>
        <p:spPr>
          <a:xfrm>
            <a:off x="4782351" y="2215346"/>
            <a:ext cx="3886200" cy="219291"/>
          </a:xfrm>
        </p:spPr>
        <p:txBody>
          <a:bodyPr/>
          <a:lstStyle>
            <a:lvl1pPr>
              <a:defRPr sz="1400"/>
            </a:lvl1pPr>
          </a:lstStyle>
          <a:p>
            <a:pPr lvl="0"/>
            <a:r>
              <a:rPr lang="en-US"/>
              <a:t>Click to edit Master text styles</a:t>
            </a:r>
          </a:p>
        </p:txBody>
      </p:sp>
      <p:sp>
        <p:nvSpPr>
          <p:cNvPr id="16" name="Text Placeholder 13"/>
          <p:cNvSpPr>
            <a:spLocks noGrp="1"/>
          </p:cNvSpPr>
          <p:nvPr>
            <p:ph type="body" sz="quarter" idx="16"/>
          </p:nvPr>
        </p:nvSpPr>
        <p:spPr>
          <a:xfrm>
            <a:off x="682624" y="4317965"/>
            <a:ext cx="3886200" cy="219291"/>
          </a:xfrm>
        </p:spPr>
        <p:txBody>
          <a:bodyPr/>
          <a:lstStyle>
            <a:lvl1pPr>
              <a:defRPr sz="1400"/>
            </a:lvl1pPr>
          </a:lstStyle>
          <a:p>
            <a:pPr lvl="0"/>
            <a:r>
              <a:rPr lang="en-US"/>
              <a:t>Click to edit Master text styles</a:t>
            </a:r>
          </a:p>
        </p:txBody>
      </p:sp>
      <p:sp>
        <p:nvSpPr>
          <p:cNvPr id="17" name="Text Placeholder 13"/>
          <p:cNvSpPr>
            <a:spLocks noGrp="1"/>
          </p:cNvSpPr>
          <p:nvPr>
            <p:ph type="body" sz="quarter" idx="17"/>
          </p:nvPr>
        </p:nvSpPr>
        <p:spPr>
          <a:xfrm>
            <a:off x="4782351" y="4317965"/>
            <a:ext cx="3886200" cy="219291"/>
          </a:xfrm>
        </p:spPr>
        <p:txBody>
          <a:bodyPr/>
          <a:lstStyle>
            <a:lvl1pPr>
              <a:defRPr sz="1400"/>
            </a:lvl1pPr>
          </a:lstStyle>
          <a:p>
            <a:pPr lvl="0"/>
            <a:r>
              <a:rPr lang="en-US"/>
              <a:t>Click to edit Master text styles</a:t>
            </a:r>
          </a:p>
        </p:txBody>
      </p:sp>
      <p:sp>
        <p:nvSpPr>
          <p:cNvPr id="13" name="Footer Placeholder 10"/>
          <p:cNvSpPr>
            <a:spLocks noGrp="1"/>
          </p:cNvSpPr>
          <p:nvPr>
            <p:ph type="ftr" sz="quarter" idx="3"/>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a:defRPr/>
            </a:pPr>
            <a:fld id="{02F500F8-9B76-40B1-A569-C00F219B0618}" type="slidenum">
              <a:rPr sz="900" smtClean="0">
                <a:solidFill>
                  <a:srgbClr val="FFFFFF"/>
                </a:solidFill>
              </a:rPr>
              <a:pPr algn="l">
                <a:defRPr/>
              </a:pPr>
              <a:t>‹#›</a:t>
            </a:fld>
            <a:r>
              <a:rPr sz="900">
                <a:solidFill>
                  <a:srgbClr val="FFFFFF"/>
                </a:solidFill>
              </a:rPr>
              <a:t>  |  Barclays presentation title  |  30 January 2012</a:t>
            </a:r>
          </a:p>
        </p:txBody>
      </p:sp>
    </p:spTree>
    <p:extLst>
      <p:ext uri="{BB962C8B-B14F-4D97-AF65-F5344CB8AC3E}">
        <p14:creationId xmlns:p14="http://schemas.microsoft.com/office/powerpoint/2010/main" val="31306774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67568" y="215555"/>
            <a:ext cx="1997075" cy="4182665"/>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574717" y="215555"/>
            <a:ext cx="5840413" cy="418266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noChangeArrowheads="1"/>
          </p:cNvSpPr>
          <p:nvPr>
            <p:ph type="dt" sz="half" idx="10"/>
          </p:nvPr>
        </p:nvSpPr>
        <p:spPr>
          <a:xfrm>
            <a:off x="4419600" y="4911337"/>
            <a:ext cx="2097088" cy="134540"/>
          </a:xfrm>
          <a:prstGeom prst="rect">
            <a:avLst/>
          </a:prstGeom>
        </p:spPr>
        <p:txBody>
          <a:bodyPr vert="horz" wrap="square" lIns="91284" tIns="45642" rIns="91284" bIns="45642" numCol="1" anchor="t" anchorCtr="0" compatLnSpc="1">
            <a:prstTxWarp prst="textNoShape">
              <a:avLst/>
            </a:prstTxWarp>
          </a:bodyPr>
          <a:lstStyle>
            <a:lvl1pPr>
              <a:defRPr sz="1800">
                <a:latin typeface="Arial" pitchFamily="34" charset="0"/>
                <a:cs typeface="Arial" pitchFamily="34" charset="0"/>
              </a:defRPr>
            </a:lvl1pPr>
          </a:lstStyle>
          <a:p>
            <a:pPr>
              <a:defRPr/>
            </a:pPr>
            <a:fld id="{A31F056C-28ED-4A8C-B9EA-13B2D16946D3}" type="datetime1">
              <a:rPr lang="en-GB"/>
              <a:pPr>
                <a:defRPr/>
              </a:pPr>
              <a:t>15/05/2017</a:t>
            </a:fld>
            <a:endParaRPr lang="en-GB"/>
          </a:p>
        </p:txBody>
      </p:sp>
      <p:sp>
        <p:nvSpPr>
          <p:cNvPr id="5" name="Rectangle 8"/>
          <p:cNvSpPr>
            <a:spLocks noGrp="1" noChangeArrowheads="1"/>
          </p:cNvSpPr>
          <p:nvPr>
            <p:ph type="sldNum" sz="quarter" idx="11"/>
          </p:nvPr>
        </p:nvSpPr>
        <p:spPr>
          <a:xfrm>
            <a:off x="574675" y="4911337"/>
            <a:ext cx="685800" cy="134540"/>
          </a:xfrm>
          <a:prstGeom prst="rect">
            <a:avLst/>
          </a:prstGeom>
        </p:spPr>
        <p:txBody>
          <a:bodyPr vert="horz" wrap="square" lIns="91284" tIns="45642" rIns="91284" bIns="45642" numCol="1" anchor="t" anchorCtr="0" compatLnSpc="1">
            <a:prstTxWarp prst="textNoShape">
              <a:avLst/>
            </a:prstTxWarp>
          </a:bodyPr>
          <a:lstStyle>
            <a:lvl1pPr>
              <a:defRPr sz="1800">
                <a:latin typeface="Arial" pitchFamily="34" charset="0"/>
                <a:cs typeface="Arial" pitchFamily="34" charset="0"/>
              </a:defRPr>
            </a:lvl1pPr>
          </a:lstStyle>
          <a:p>
            <a:pPr>
              <a:defRPr/>
            </a:pPr>
            <a:r>
              <a:rPr lang="en-GB"/>
              <a:t>#</a:t>
            </a:r>
            <a:fld id="{802691DE-9AE3-4312-AA97-AC7E1AFAAB3A}" type="slidenum">
              <a:rPr lang="en-GB"/>
              <a:pPr>
                <a:defRPr/>
              </a:pPr>
              <a:t>‹#›</a:t>
            </a:fld>
            <a:endParaRPr lang="en-GB"/>
          </a:p>
        </p:txBody>
      </p:sp>
      <p:sp>
        <p:nvSpPr>
          <p:cNvPr id="6" name="Rectangle 10"/>
          <p:cNvSpPr>
            <a:spLocks noGrp="1" noChangeArrowheads="1"/>
          </p:cNvSpPr>
          <p:nvPr>
            <p:ph type="ftr" sz="quarter" idx="12"/>
          </p:nvPr>
        </p:nvSpPr>
        <p:spPr>
          <a:xfrm>
            <a:off x="1501834" y="4911337"/>
            <a:ext cx="2716213" cy="134540"/>
          </a:xfrm>
          <a:prstGeom prst="rect">
            <a:avLst/>
          </a:prstGeom>
        </p:spPr>
        <p:txBody>
          <a:bodyPr lIns="91284" tIns="45642" rIns="91284" bIns="45642"/>
          <a:lstStyle>
            <a:lvl1pPr>
              <a:defRPr sz="1800">
                <a:latin typeface="Arial" charset="0"/>
                <a:ea typeface="Arial" charset="0"/>
                <a:cs typeface="Arial" charset="0"/>
              </a:defRPr>
            </a:lvl1pPr>
          </a:lstStyle>
          <a:p>
            <a:pPr>
              <a:defRPr/>
            </a:pPr>
            <a:r>
              <a:rPr lang="en-GB"/>
              <a:t>Department</a:t>
            </a: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page pictur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93467" y="339658"/>
            <a:ext cx="7978269" cy="311624"/>
          </a:xfrm>
        </p:spPr>
        <p:txBody>
          <a:bodyPr/>
          <a:lstStyle/>
          <a:p>
            <a:r>
              <a:rPr lang="en-US"/>
              <a:t>Click icon to add picture</a:t>
            </a:r>
          </a:p>
        </p:txBody>
      </p:sp>
      <p:sp>
        <p:nvSpPr>
          <p:cNvPr id="16" name="Text Placeholder 13"/>
          <p:cNvSpPr>
            <a:spLocks noGrp="1"/>
          </p:cNvSpPr>
          <p:nvPr>
            <p:ph type="body" sz="quarter" idx="16"/>
          </p:nvPr>
        </p:nvSpPr>
        <p:spPr>
          <a:xfrm>
            <a:off x="682624" y="4438541"/>
            <a:ext cx="3886200" cy="219291"/>
          </a:xfrm>
        </p:spPr>
        <p:txBody>
          <a:bodyPr/>
          <a:lstStyle>
            <a:lvl1pPr>
              <a:defRPr sz="1400"/>
            </a:lvl1pPr>
          </a:lstStyle>
          <a:p>
            <a:pPr lvl="0"/>
            <a:r>
              <a:rPr lang="en-US"/>
              <a:t>Click to edit Master text styles</a:t>
            </a:r>
          </a:p>
        </p:txBody>
      </p:sp>
      <p:sp>
        <p:nvSpPr>
          <p:cNvPr id="5" name="Footer Placeholder 10"/>
          <p:cNvSpPr>
            <a:spLocks noGrp="1"/>
          </p:cNvSpPr>
          <p:nvPr>
            <p:ph type="ftr" sz="quarter" idx="3"/>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a:defRPr/>
            </a:pPr>
            <a:fld id="{02F500F8-9B76-40B1-A569-C00F219B0618}" type="slidenum">
              <a:rPr sz="900" smtClean="0">
                <a:solidFill>
                  <a:srgbClr val="FFFFFF"/>
                </a:solidFill>
              </a:rPr>
              <a:pPr algn="l">
                <a:defRPr/>
              </a:pPr>
              <a:t>‹#›</a:t>
            </a:fld>
            <a:r>
              <a:rPr sz="900">
                <a:solidFill>
                  <a:srgbClr val="FFFFFF"/>
                </a:solidFill>
              </a:rPr>
              <a:t>  |  Barclays presentation title  |  30 January 2012</a:t>
            </a:r>
          </a:p>
        </p:txBody>
      </p:sp>
    </p:spTree>
    <p:extLst>
      <p:ext uri="{BB962C8B-B14F-4D97-AF65-F5344CB8AC3E}">
        <p14:creationId xmlns:p14="http://schemas.microsoft.com/office/powerpoint/2010/main" val="145876803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93738" y="892494"/>
            <a:ext cx="3803650" cy="738664"/>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4" name="Content Placeholder 3"/>
          <p:cNvSpPr>
            <a:spLocks noGrp="1"/>
          </p:cNvSpPr>
          <p:nvPr>
            <p:ph sz="half" idx="2"/>
          </p:nvPr>
        </p:nvSpPr>
        <p:spPr>
          <a:xfrm>
            <a:off x="693738" y="1631177"/>
            <a:ext cx="3803650" cy="2181367"/>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881660" y="892494"/>
            <a:ext cx="3805144" cy="738664"/>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881660" y="1631177"/>
            <a:ext cx="3805144" cy="2181367"/>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696915" y="230002"/>
            <a:ext cx="8062912" cy="461665"/>
          </a:xfrm>
        </p:spPr>
        <p:txBody>
          <a:bodyPr/>
          <a:lstStyle/>
          <a:p>
            <a:r>
              <a:rPr lang="en-US"/>
              <a:t>Click to edit Master title style</a:t>
            </a:r>
            <a:endParaRPr lang="en-US" dirty="0"/>
          </a:p>
        </p:txBody>
      </p:sp>
      <p:sp>
        <p:nvSpPr>
          <p:cNvPr id="10" name="Footer Placeholder 10"/>
          <p:cNvSpPr>
            <a:spLocks noGrp="1"/>
          </p:cNvSpPr>
          <p:nvPr>
            <p:ph type="ftr" sz="quarter" idx="10"/>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a:defRPr/>
            </a:pPr>
            <a:fld id="{02F500F8-9B76-40B1-A569-C00F219B0618}" type="slidenum">
              <a:rPr sz="900" smtClean="0">
                <a:solidFill>
                  <a:srgbClr val="FFFFFF"/>
                </a:solidFill>
              </a:rPr>
              <a:pPr algn="l">
                <a:defRPr/>
              </a:pPr>
              <a:t>‹#›</a:t>
            </a:fld>
            <a:r>
              <a:rPr sz="900">
                <a:solidFill>
                  <a:srgbClr val="FFFFFF"/>
                </a:solidFill>
              </a:rPr>
              <a:t>  |  Barclays presentation title  |  30 January 2012</a:t>
            </a:r>
          </a:p>
        </p:txBody>
      </p:sp>
    </p:spTree>
    <p:extLst>
      <p:ext uri="{BB962C8B-B14F-4D97-AF65-F5344CB8AC3E}">
        <p14:creationId xmlns:p14="http://schemas.microsoft.com/office/powerpoint/2010/main" val="8817705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10"/>
          <p:cNvSpPr>
            <a:spLocks noGrp="1"/>
          </p:cNvSpPr>
          <p:nvPr>
            <p:ph type="ftr" sz="quarter" idx="3"/>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a:defRPr/>
            </a:pPr>
            <a:fld id="{02F500F8-9B76-40B1-A569-C00F219B0618}" type="slidenum">
              <a:rPr sz="900" smtClean="0">
                <a:solidFill>
                  <a:srgbClr val="FFFFFF"/>
                </a:solidFill>
              </a:rPr>
              <a:pPr algn="l">
                <a:defRPr/>
              </a:pPr>
              <a:t>‹#›</a:t>
            </a:fld>
            <a:r>
              <a:rPr sz="900">
                <a:solidFill>
                  <a:srgbClr val="FFFFFF"/>
                </a:solidFill>
              </a:rPr>
              <a:t>  |  Barclays presentation title  |  30 January 2012</a:t>
            </a:r>
          </a:p>
        </p:txBody>
      </p:sp>
    </p:spTree>
    <p:extLst>
      <p:ext uri="{BB962C8B-B14F-4D97-AF65-F5344CB8AC3E}">
        <p14:creationId xmlns:p14="http://schemas.microsoft.com/office/powerpoint/2010/main" val="36727785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5" name="Picture 4" descr="Bar_06_WHITE_FLAT.png"/>
          <p:cNvPicPr>
            <a:picLocks noChangeAspect="1"/>
          </p:cNvPicPr>
          <p:nvPr userDrawn="1"/>
        </p:nvPicPr>
        <p:blipFill>
          <a:blip r:embed="rId2" cstate="print"/>
          <a:stretch>
            <a:fillRect/>
          </a:stretch>
        </p:blipFill>
        <p:spPr bwMode="invGray">
          <a:xfrm>
            <a:off x="7472364" y="4816728"/>
            <a:ext cx="1216818" cy="155322"/>
          </a:xfrm>
          <a:prstGeom prst="rect">
            <a:avLst/>
          </a:prstGeom>
        </p:spPr>
      </p:pic>
    </p:spTree>
    <p:extLst>
      <p:ext uri="{BB962C8B-B14F-4D97-AF65-F5344CB8AC3E}">
        <p14:creationId xmlns:p14="http://schemas.microsoft.com/office/powerpoint/2010/main" val="41728572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10"/>
          <p:cNvSpPr>
            <a:spLocks noGrp="1"/>
          </p:cNvSpPr>
          <p:nvPr>
            <p:ph type="ftr" sz="quarter" idx="3"/>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a:defRPr/>
            </a:pPr>
            <a:fld id="{02F500F8-9B76-40B1-A569-C00F219B0618}" type="slidenum">
              <a:rPr sz="900" smtClean="0">
                <a:solidFill>
                  <a:srgbClr val="FFFFFF"/>
                </a:solidFill>
              </a:rPr>
              <a:pPr algn="l">
                <a:defRPr/>
              </a:pPr>
              <a:t>‹#›</a:t>
            </a:fld>
            <a:r>
              <a:rPr sz="900">
                <a:solidFill>
                  <a:srgbClr val="FFFFFF"/>
                </a:solidFill>
              </a:rPr>
              <a:t>  |  Barclays presentation title  |  30 January 2012</a:t>
            </a:r>
          </a:p>
        </p:txBody>
      </p:sp>
    </p:spTree>
    <p:extLst>
      <p:ext uri="{BB962C8B-B14F-4D97-AF65-F5344CB8AC3E}">
        <p14:creationId xmlns:p14="http://schemas.microsoft.com/office/powerpoint/2010/main" val="83381339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5"/>
          <p:cNvSpPr>
            <a:spLocks noChangeArrowheads="1"/>
          </p:cNvSpPr>
          <p:nvPr userDrawn="1"/>
        </p:nvSpPr>
        <p:spPr bwMode="auto">
          <a:xfrm>
            <a:off x="0" y="29"/>
            <a:ext cx="9144000" cy="287815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34352" rIns="0" bIns="0" anchor="ctr"/>
          <a:lstStyle/>
          <a:p>
            <a:pPr algn="ctr" defTabSz="912644" eaLnBrk="0" hangingPunct="0"/>
            <a:endParaRPr lang="en-US" sz="1100" b="1">
              <a:solidFill>
                <a:srgbClr val="000000"/>
              </a:solidFill>
              <a:latin typeface="Arial" pitchFamily="34" charset="0"/>
              <a:ea typeface="ＭＳ Ｐゴシック" pitchFamily="34" charset="-128"/>
              <a:cs typeface="Arial"/>
            </a:endParaRPr>
          </a:p>
        </p:txBody>
      </p:sp>
      <p:pic>
        <p:nvPicPr>
          <p:cNvPr id="5" name="Picture 45" descr="HSBC Hexagon_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97387" y="4346040"/>
            <a:ext cx="1500669" cy="21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8858435" y="0"/>
            <a:ext cx="127389" cy="51435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266" tIns="45134" rIns="90266" bIns="45134" anchor="ctr"/>
          <a:lstStyle/>
          <a:p>
            <a:pPr algn="ctr" defTabSz="902234" eaLnBrk="0" hangingPunct="0">
              <a:spcBef>
                <a:spcPct val="50000"/>
              </a:spcBef>
            </a:pPr>
            <a:endParaRPr lang="en-US" sz="600" b="1" i="1">
              <a:solidFill>
                <a:srgbClr val="000000"/>
              </a:solidFill>
              <a:latin typeface="Arial" pitchFamily="34" charset="0"/>
              <a:ea typeface="ＭＳ Ｐゴシック" pitchFamily="34" charset="-128"/>
              <a:cs typeface="Arial"/>
            </a:endParaRPr>
          </a:p>
        </p:txBody>
      </p:sp>
      <p:sp>
        <p:nvSpPr>
          <p:cNvPr id="7" name="AutoShape 26"/>
          <p:cNvSpPr>
            <a:spLocks noChangeArrowheads="1"/>
          </p:cNvSpPr>
          <p:nvPr userDrawn="1"/>
        </p:nvSpPr>
        <p:spPr bwMode="gray">
          <a:xfrm rot="16200000">
            <a:off x="8819776" y="4350896"/>
            <a:ext cx="223043" cy="145587"/>
          </a:xfrm>
          <a:prstGeom prst="triangle">
            <a:avLst>
              <a:gd name="adj" fmla="val 50000"/>
            </a:avLst>
          </a:prstGeom>
          <a:solidFill>
            <a:schemeClr val="bg1"/>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eaVert" wrap="none" lIns="90266" tIns="45134" rIns="90266" bIns="45134" anchor="ctr"/>
          <a:lstStyle/>
          <a:p>
            <a:pPr algn="ctr" defTabSz="847564" eaLnBrk="0" hangingPunct="0">
              <a:spcBef>
                <a:spcPct val="50000"/>
              </a:spcBef>
              <a:defRPr/>
            </a:pPr>
            <a:endParaRPr lang="en-US" sz="600" i="1">
              <a:solidFill>
                <a:srgbClr val="000000"/>
              </a:solidFill>
              <a:ea typeface="ＭＳ Ｐゴシック" charset="0"/>
              <a:cs typeface="Arial"/>
            </a:endParaRPr>
          </a:p>
        </p:txBody>
      </p:sp>
      <p:sp>
        <p:nvSpPr>
          <p:cNvPr id="404526" name="Rectangle 46"/>
          <p:cNvSpPr>
            <a:spLocks noGrp="1" noChangeArrowheads="1"/>
          </p:cNvSpPr>
          <p:nvPr>
            <p:ph type="ctrTitle" sz="quarter"/>
          </p:nvPr>
        </p:nvSpPr>
        <p:spPr>
          <a:xfrm>
            <a:off x="635548" y="3083174"/>
            <a:ext cx="7772120" cy="357093"/>
          </a:xfrm>
        </p:spPr>
        <p:txBody>
          <a:bodyPr bIns="0"/>
          <a:lstStyle>
            <a:lvl1pPr>
              <a:lnSpc>
                <a:spcPct val="100000"/>
              </a:lnSpc>
              <a:defRPr sz="2700" b="1" smtClean="0">
                <a:solidFill>
                  <a:schemeClr val="tx1"/>
                </a:solidFill>
              </a:defRPr>
            </a:lvl1pPr>
          </a:lstStyle>
          <a:p>
            <a:pPr lvl="0"/>
            <a:r>
              <a:rPr lang="en-GB" noProof="0"/>
              <a:t>Click to edit Master title style</a:t>
            </a:r>
          </a:p>
        </p:txBody>
      </p:sp>
      <p:sp>
        <p:nvSpPr>
          <p:cNvPr id="404527" name="Rectangle 47"/>
          <p:cNvSpPr>
            <a:spLocks noGrp="1" noChangeArrowheads="1"/>
          </p:cNvSpPr>
          <p:nvPr>
            <p:ph type="subTitle" sz="quarter" idx="1"/>
          </p:nvPr>
        </p:nvSpPr>
        <p:spPr>
          <a:xfrm>
            <a:off x="635544" y="3440275"/>
            <a:ext cx="6400240" cy="358220"/>
          </a:xfrm>
        </p:spPr>
        <p:txBody>
          <a:bodyPr tIns="0"/>
          <a:lstStyle>
            <a:lvl1pPr marL="0" indent="0">
              <a:buClrTx/>
              <a:buFontTx/>
              <a:buNone/>
              <a:defRPr sz="2500" smtClean="0"/>
            </a:lvl1pPr>
          </a:lstStyle>
          <a:p>
            <a:pPr lvl="0"/>
            <a:r>
              <a:rPr lang="en-GB" noProof="0"/>
              <a:t>Click to edit Master subtitle style</a:t>
            </a:r>
          </a:p>
        </p:txBody>
      </p:sp>
    </p:spTree>
    <p:extLst>
      <p:ext uri="{BB962C8B-B14F-4D97-AF65-F5344CB8AC3E}">
        <p14:creationId xmlns:p14="http://schemas.microsoft.com/office/powerpoint/2010/main" val="193400664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660544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0141" y="3127114"/>
            <a:ext cx="7424950" cy="966518"/>
          </a:xfrm>
        </p:spPr>
        <p:txBody>
          <a:bodyPr/>
          <a:lstStyle>
            <a:lvl1pPr algn="l">
              <a:defRPr sz="3600" b="1" cap="all"/>
            </a:lvl1pPr>
          </a:lstStyle>
          <a:p>
            <a:r>
              <a:rPr lang="en-US"/>
              <a:t>Click to edit Master title style</a:t>
            </a:r>
            <a:endParaRPr lang="en-GB"/>
          </a:p>
        </p:txBody>
      </p:sp>
      <p:sp>
        <p:nvSpPr>
          <p:cNvPr id="3" name="Text Placeholder 2"/>
          <p:cNvSpPr>
            <a:spLocks noGrp="1"/>
          </p:cNvSpPr>
          <p:nvPr>
            <p:ph type="body" idx="1"/>
          </p:nvPr>
        </p:nvSpPr>
        <p:spPr>
          <a:xfrm>
            <a:off x="690141" y="2062582"/>
            <a:ext cx="7424950" cy="1064522"/>
          </a:xfrm>
        </p:spPr>
        <p:txBody>
          <a:bodyPr anchor="b"/>
          <a:lstStyle>
            <a:lvl1pPr marL="0" indent="0">
              <a:buNone/>
              <a:defRPr sz="1800"/>
            </a:lvl1pPr>
            <a:lvl2pPr marL="414440" indent="0">
              <a:buNone/>
              <a:defRPr sz="1600"/>
            </a:lvl2pPr>
            <a:lvl3pPr marL="828821" indent="0">
              <a:buNone/>
              <a:defRPr sz="1500"/>
            </a:lvl3pPr>
            <a:lvl4pPr marL="1243269" indent="0">
              <a:buNone/>
              <a:defRPr sz="1300"/>
            </a:lvl4pPr>
            <a:lvl5pPr marL="1657643" indent="0">
              <a:buNone/>
              <a:defRPr sz="1300"/>
            </a:lvl5pPr>
            <a:lvl6pPr marL="2072144" indent="0">
              <a:buNone/>
              <a:defRPr sz="1300"/>
            </a:lvl6pPr>
            <a:lvl7pPr marL="2486538" indent="0">
              <a:buNone/>
              <a:defRPr sz="1300"/>
            </a:lvl7pPr>
            <a:lvl8pPr marL="2900987" indent="0">
              <a:buNone/>
              <a:defRPr sz="1300"/>
            </a:lvl8pPr>
            <a:lvl9pPr marL="3315358" indent="0">
              <a:buNone/>
              <a:defRPr sz="1300"/>
            </a:lvl9pPr>
          </a:lstStyle>
          <a:p>
            <a:pPr lvl="0"/>
            <a:r>
              <a:rPr lang="en-US"/>
              <a:t>Click to edit Master text styles</a:t>
            </a:r>
          </a:p>
        </p:txBody>
      </p:sp>
    </p:spTree>
    <p:extLst>
      <p:ext uri="{BB962C8B-B14F-4D97-AF65-F5344CB8AC3E}">
        <p14:creationId xmlns:p14="http://schemas.microsoft.com/office/powerpoint/2010/main" val="59068145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2368593" y="1208718"/>
            <a:ext cx="2813754" cy="1102822"/>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316735" y="1208718"/>
            <a:ext cx="2813754" cy="1102822"/>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1075784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36768" y="194887"/>
            <a:ext cx="7861712" cy="811064"/>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36797" y="1089324"/>
            <a:ext cx="3859463" cy="453971"/>
          </a:xfrm>
        </p:spPr>
        <p:txBody>
          <a:bodyPr anchor="b"/>
          <a:lstStyle>
            <a:lvl1pPr marL="0" indent="0">
              <a:buNone/>
              <a:defRPr sz="2200" b="1"/>
            </a:lvl1pPr>
            <a:lvl2pPr marL="414440" indent="0">
              <a:buNone/>
              <a:defRPr sz="1800" b="1"/>
            </a:lvl2pPr>
            <a:lvl3pPr marL="828821" indent="0">
              <a:buNone/>
              <a:defRPr sz="1600" b="1"/>
            </a:lvl3pPr>
            <a:lvl4pPr marL="1243269" indent="0">
              <a:buNone/>
              <a:defRPr sz="1500" b="1"/>
            </a:lvl4pPr>
            <a:lvl5pPr marL="1657643" indent="0">
              <a:buNone/>
              <a:defRPr sz="1500" b="1"/>
            </a:lvl5pPr>
            <a:lvl6pPr marL="2072144" indent="0">
              <a:buNone/>
              <a:defRPr sz="1500" b="1"/>
            </a:lvl6pPr>
            <a:lvl7pPr marL="2486538" indent="0">
              <a:buNone/>
              <a:defRPr sz="1500" b="1"/>
            </a:lvl7pPr>
            <a:lvl8pPr marL="2900987" indent="0">
              <a:buNone/>
              <a:defRPr sz="1500" b="1"/>
            </a:lvl8pPr>
            <a:lvl9pPr marL="3315358" indent="0">
              <a:buNone/>
              <a:defRPr sz="1500" b="1"/>
            </a:lvl9pPr>
          </a:lstStyle>
          <a:p>
            <a:pPr lvl="0"/>
            <a:r>
              <a:rPr lang="en-US"/>
              <a:t>Click to edit Master text styles</a:t>
            </a:r>
          </a:p>
        </p:txBody>
      </p:sp>
      <p:sp>
        <p:nvSpPr>
          <p:cNvPr id="4" name="Content Placeholder 3"/>
          <p:cNvSpPr>
            <a:spLocks noGrp="1"/>
          </p:cNvSpPr>
          <p:nvPr>
            <p:ph sz="half" idx="2"/>
          </p:nvPr>
        </p:nvSpPr>
        <p:spPr>
          <a:xfrm>
            <a:off x="436797" y="1543308"/>
            <a:ext cx="3859463" cy="280380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437615" y="1089324"/>
            <a:ext cx="3860862" cy="453971"/>
          </a:xfrm>
        </p:spPr>
        <p:txBody>
          <a:bodyPr anchor="b"/>
          <a:lstStyle>
            <a:lvl1pPr marL="0" indent="0">
              <a:buNone/>
              <a:defRPr sz="2200" b="1"/>
            </a:lvl1pPr>
            <a:lvl2pPr marL="414440" indent="0">
              <a:buNone/>
              <a:defRPr sz="1800" b="1"/>
            </a:lvl2pPr>
            <a:lvl3pPr marL="828821" indent="0">
              <a:buNone/>
              <a:defRPr sz="1600" b="1"/>
            </a:lvl3pPr>
            <a:lvl4pPr marL="1243269" indent="0">
              <a:buNone/>
              <a:defRPr sz="1500" b="1"/>
            </a:lvl4pPr>
            <a:lvl5pPr marL="1657643" indent="0">
              <a:buNone/>
              <a:defRPr sz="1500" b="1"/>
            </a:lvl5pPr>
            <a:lvl6pPr marL="2072144" indent="0">
              <a:buNone/>
              <a:defRPr sz="1500" b="1"/>
            </a:lvl6pPr>
            <a:lvl7pPr marL="2486538" indent="0">
              <a:buNone/>
              <a:defRPr sz="1500" b="1"/>
            </a:lvl7pPr>
            <a:lvl8pPr marL="2900987" indent="0">
              <a:buNone/>
              <a:defRPr sz="1500" b="1"/>
            </a:lvl8pPr>
            <a:lvl9pPr marL="3315358"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437615" y="1543308"/>
            <a:ext cx="3860862" cy="280380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388235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74675" y="215549"/>
            <a:ext cx="7989888" cy="1134665"/>
          </a:xfrm>
        </p:spPr>
        <p:txBody>
          <a:bodyPr/>
          <a:lstStyle/>
          <a:p>
            <a:r>
              <a:rPr lang="en-GB"/>
              <a:t>Click to edit Master title style</a:t>
            </a:r>
            <a:endParaRPr lang="en-US"/>
          </a:p>
        </p:txBody>
      </p:sp>
      <p:sp>
        <p:nvSpPr>
          <p:cNvPr id="3" name="Chart Placeholder 2"/>
          <p:cNvSpPr>
            <a:spLocks noGrp="1"/>
          </p:cNvSpPr>
          <p:nvPr>
            <p:ph type="chart" idx="1"/>
          </p:nvPr>
        </p:nvSpPr>
        <p:spPr>
          <a:xfrm>
            <a:off x="574675" y="1564482"/>
            <a:ext cx="7989888" cy="2833688"/>
          </a:xfrm>
        </p:spPr>
        <p:txBody>
          <a:bodyPr/>
          <a:lstStyle/>
          <a:p>
            <a:pPr lvl="0"/>
            <a:endParaRPr lang="en-US" noProof="0"/>
          </a:p>
        </p:txBody>
      </p:sp>
      <p:sp>
        <p:nvSpPr>
          <p:cNvPr id="4" name="Date Placeholder 3"/>
          <p:cNvSpPr>
            <a:spLocks noGrp="1" noChangeArrowheads="1"/>
          </p:cNvSpPr>
          <p:nvPr>
            <p:ph type="dt" sz="half" idx="10"/>
          </p:nvPr>
        </p:nvSpPr>
        <p:spPr>
          <a:xfrm>
            <a:off x="4419600" y="4911337"/>
            <a:ext cx="2097088" cy="134540"/>
          </a:xfrm>
          <a:prstGeom prst="rect">
            <a:avLst/>
          </a:prstGeom>
        </p:spPr>
        <p:txBody>
          <a:bodyPr vert="horz" wrap="square" lIns="91284" tIns="45642" rIns="91284" bIns="45642" numCol="1" anchor="t" anchorCtr="0" compatLnSpc="1">
            <a:prstTxWarp prst="textNoShape">
              <a:avLst/>
            </a:prstTxWarp>
          </a:bodyPr>
          <a:lstStyle>
            <a:lvl1pPr>
              <a:defRPr sz="1800">
                <a:latin typeface="Arial" pitchFamily="34" charset="0"/>
                <a:cs typeface="Arial" pitchFamily="34" charset="0"/>
              </a:defRPr>
            </a:lvl1pPr>
          </a:lstStyle>
          <a:p>
            <a:pPr>
              <a:defRPr/>
            </a:pPr>
            <a:fld id="{5BD22C6D-3496-4883-8293-38349E2D8EF7}" type="datetime1">
              <a:rPr lang="en-GB"/>
              <a:pPr>
                <a:defRPr/>
              </a:pPr>
              <a:t>15/05/2017</a:t>
            </a:fld>
            <a:endParaRPr lang="en-GB"/>
          </a:p>
        </p:txBody>
      </p:sp>
      <p:sp>
        <p:nvSpPr>
          <p:cNvPr id="5" name="Rectangle 8"/>
          <p:cNvSpPr>
            <a:spLocks noGrp="1" noChangeArrowheads="1"/>
          </p:cNvSpPr>
          <p:nvPr>
            <p:ph type="sldNum" sz="quarter" idx="11"/>
          </p:nvPr>
        </p:nvSpPr>
        <p:spPr>
          <a:xfrm>
            <a:off x="574675" y="4911337"/>
            <a:ext cx="685800" cy="134540"/>
          </a:xfrm>
          <a:prstGeom prst="rect">
            <a:avLst/>
          </a:prstGeom>
        </p:spPr>
        <p:txBody>
          <a:bodyPr vert="horz" wrap="square" lIns="91284" tIns="45642" rIns="91284" bIns="45642" numCol="1" anchor="t" anchorCtr="0" compatLnSpc="1">
            <a:prstTxWarp prst="textNoShape">
              <a:avLst/>
            </a:prstTxWarp>
          </a:bodyPr>
          <a:lstStyle>
            <a:lvl1pPr>
              <a:defRPr sz="1800">
                <a:latin typeface="Arial" pitchFamily="34" charset="0"/>
                <a:cs typeface="Arial" pitchFamily="34" charset="0"/>
              </a:defRPr>
            </a:lvl1pPr>
          </a:lstStyle>
          <a:p>
            <a:pPr>
              <a:defRPr/>
            </a:pPr>
            <a:r>
              <a:rPr lang="en-GB"/>
              <a:t>#</a:t>
            </a:r>
            <a:fld id="{ED7E4EEB-B189-4952-88A1-D331981F9831}" type="slidenum">
              <a:rPr lang="en-GB"/>
              <a:pPr>
                <a:defRPr/>
              </a:pPr>
              <a:t>‹#›</a:t>
            </a:fld>
            <a:endParaRPr lang="en-GB"/>
          </a:p>
        </p:txBody>
      </p:sp>
      <p:sp>
        <p:nvSpPr>
          <p:cNvPr id="6" name="Rectangle 10"/>
          <p:cNvSpPr>
            <a:spLocks noGrp="1" noChangeArrowheads="1"/>
          </p:cNvSpPr>
          <p:nvPr>
            <p:ph type="ftr" sz="quarter" idx="12"/>
          </p:nvPr>
        </p:nvSpPr>
        <p:spPr>
          <a:xfrm>
            <a:off x="1501834" y="4911337"/>
            <a:ext cx="2716213" cy="134540"/>
          </a:xfrm>
          <a:prstGeom prst="rect">
            <a:avLst/>
          </a:prstGeom>
        </p:spPr>
        <p:txBody>
          <a:bodyPr lIns="91284" tIns="45642" rIns="91284" bIns="45642"/>
          <a:lstStyle>
            <a:lvl1pPr>
              <a:defRPr sz="1800">
                <a:latin typeface="Arial" charset="0"/>
                <a:ea typeface="Arial" charset="0"/>
                <a:cs typeface="Arial" charset="0"/>
              </a:defRPr>
            </a:lvl1pPr>
          </a:lstStyle>
          <a:p>
            <a:pPr>
              <a:defRPr/>
            </a:pPr>
            <a:r>
              <a:rPr lang="en-GB"/>
              <a:t>Department</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0464713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302252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6769" y="193759"/>
            <a:ext cx="2873949" cy="824582"/>
          </a:xfrm>
        </p:spPr>
        <p:txBody>
          <a:bodyPr anchor="b"/>
          <a:lstStyle>
            <a:lvl1pPr algn="l">
              <a:defRPr sz="1800" b="1"/>
            </a:lvl1pPr>
          </a:lstStyle>
          <a:p>
            <a:r>
              <a:rPr lang="en-US"/>
              <a:t>Click to edit Master title style</a:t>
            </a:r>
            <a:endParaRPr lang="en-GB"/>
          </a:p>
        </p:txBody>
      </p:sp>
      <p:sp>
        <p:nvSpPr>
          <p:cNvPr id="3" name="Content Placeholder 2"/>
          <p:cNvSpPr>
            <a:spLocks noGrp="1"/>
          </p:cNvSpPr>
          <p:nvPr>
            <p:ph idx="1"/>
          </p:nvPr>
        </p:nvSpPr>
        <p:spPr>
          <a:xfrm>
            <a:off x="3415709" y="193754"/>
            <a:ext cx="4882773" cy="4153326"/>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36769" y="1018340"/>
            <a:ext cx="2873949" cy="3328744"/>
          </a:xfrm>
        </p:spPr>
        <p:txBody>
          <a:bodyPr/>
          <a:lstStyle>
            <a:lvl1pPr marL="0" indent="0">
              <a:buNone/>
              <a:defRPr sz="1300"/>
            </a:lvl1pPr>
            <a:lvl2pPr marL="414440" indent="0">
              <a:buNone/>
              <a:defRPr sz="1100"/>
            </a:lvl2pPr>
            <a:lvl3pPr marL="828821" indent="0">
              <a:buNone/>
              <a:defRPr sz="900"/>
            </a:lvl3pPr>
            <a:lvl4pPr marL="1243269" indent="0">
              <a:buNone/>
              <a:defRPr sz="800"/>
            </a:lvl4pPr>
            <a:lvl5pPr marL="1657643" indent="0">
              <a:buNone/>
              <a:defRPr sz="800"/>
            </a:lvl5pPr>
            <a:lvl6pPr marL="2072144" indent="0">
              <a:buNone/>
              <a:defRPr sz="800"/>
            </a:lvl6pPr>
            <a:lvl7pPr marL="2486538" indent="0">
              <a:buNone/>
              <a:defRPr sz="800"/>
            </a:lvl7pPr>
            <a:lvl8pPr marL="2900987" indent="0">
              <a:buNone/>
              <a:defRPr sz="800"/>
            </a:lvl8pPr>
            <a:lvl9pPr marL="3315358" indent="0">
              <a:buNone/>
              <a:defRPr sz="800"/>
            </a:lvl9pPr>
          </a:lstStyle>
          <a:p>
            <a:pPr lvl="0"/>
            <a:r>
              <a:rPr lang="en-US"/>
              <a:t>Click to edit Master text styles</a:t>
            </a:r>
          </a:p>
        </p:txBody>
      </p:sp>
    </p:spTree>
    <p:extLst>
      <p:ext uri="{BB962C8B-B14F-4D97-AF65-F5344CB8AC3E}">
        <p14:creationId xmlns:p14="http://schemas.microsoft.com/office/powerpoint/2010/main" val="283888516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12060" y="3406475"/>
            <a:ext cx="5241141" cy="402153"/>
          </a:xfrm>
        </p:spPr>
        <p:txBody>
          <a:bodyPr anchor="b"/>
          <a:lstStyle>
            <a:lvl1pPr algn="l">
              <a:defRPr sz="1800" b="1"/>
            </a:lvl1pPr>
          </a:lstStyle>
          <a:p>
            <a:r>
              <a:rPr lang="en-US"/>
              <a:t>Click to edit Master title style</a:t>
            </a:r>
            <a:endParaRPr lang="en-GB"/>
          </a:p>
        </p:txBody>
      </p:sp>
      <p:sp>
        <p:nvSpPr>
          <p:cNvPr id="3" name="Picture Placeholder 2"/>
          <p:cNvSpPr>
            <a:spLocks noGrp="1"/>
          </p:cNvSpPr>
          <p:nvPr>
            <p:ph type="pic" idx="1"/>
          </p:nvPr>
        </p:nvSpPr>
        <p:spPr>
          <a:xfrm>
            <a:off x="1712060" y="434826"/>
            <a:ext cx="5241141" cy="2919832"/>
          </a:xfrm>
        </p:spPr>
        <p:txBody>
          <a:bodyPr tIns="0"/>
          <a:lstStyle>
            <a:lvl1pPr marL="0" indent="0">
              <a:buNone/>
              <a:defRPr sz="2900"/>
            </a:lvl1pPr>
            <a:lvl2pPr marL="414440" indent="0">
              <a:buNone/>
              <a:defRPr sz="2500"/>
            </a:lvl2pPr>
            <a:lvl3pPr marL="828821" indent="0">
              <a:buNone/>
              <a:defRPr sz="2200"/>
            </a:lvl3pPr>
            <a:lvl4pPr marL="1243269" indent="0">
              <a:buNone/>
              <a:defRPr sz="1800"/>
            </a:lvl4pPr>
            <a:lvl5pPr marL="1657643" indent="0">
              <a:buNone/>
              <a:defRPr sz="1800"/>
            </a:lvl5pPr>
            <a:lvl6pPr marL="2072144" indent="0">
              <a:buNone/>
              <a:defRPr sz="1800"/>
            </a:lvl6pPr>
            <a:lvl7pPr marL="2486538" indent="0">
              <a:buNone/>
              <a:defRPr sz="1800"/>
            </a:lvl7pPr>
            <a:lvl8pPr marL="2900987" indent="0">
              <a:buNone/>
              <a:defRPr sz="1800"/>
            </a:lvl8pPr>
            <a:lvl9pPr marL="3315358" indent="0">
              <a:buNone/>
              <a:defRPr sz="1800"/>
            </a:lvl9pPr>
          </a:lstStyle>
          <a:p>
            <a:pPr lvl="0"/>
            <a:endParaRPr lang="en-GB" noProof="0"/>
          </a:p>
        </p:txBody>
      </p:sp>
      <p:sp>
        <p:nvSpPr>
          <p:cNvPr id="4" name="Text Placeholder 3"/>
          <p:cNvSpPr>
            <a:spLocks noGrp="1"/>
          </p:cNvSpPr>
          <p:nvPr>
            <p:ph type="body" sz="half" idx="2"/>
          </p:nvPr>
        </p:nvSpPr>
        <p:spPr>
          <a:xfrm>
            <a:off x="1712060" y="3808633"/>
            <a:ext cx="5241141" cy="571124"/>
          </a:xfrm>
        </p:spPr>
        <p:txBody>
          <a:bodyPr/>
          <a:lstStyle>
            <a:lvl1pPr marL="0" indent="0">
              <a:buNone/>
              <a:defRPr sz="1300"/>
            </a:lvl1pPr>
            <a:lvl2pPr marL="414440" indent="0">
              <a:buNone/>
              <a:defRPr sz="1100"/>
            </a:lvl2pPr>
            <a:lvl3pPr marL="828821" indent="0">
              <a:buNone/>
              <a:defRPr sz="900"/>
            </a:lvl3pPr>
            <a:lvl4pPr marL="1243269" indent="0">
              <a:buNone/>
              <a:defRPr sz="800"/>
            </a:lvl4pPr>
            <a:lvl5pPr marL="1657643" indent="0">
              <a:buNone/>
              <a:defRPr sz="800"/>
            </a:lvl5pPr>
            <a:lvl6pPr marL="2072144" indent="0">
              <a:buNone/>
              <a:defRPr sz="800"/>
            </a:lvl6pPr>
            <a:lvl7pPr marL="2486538" indent="0">
              <a:buNone/>
              <a:defRPr sz="800"/>
            </a:lvl7pPr>
            <a:lvl8pPr marL="2900987" indent="0">
              <a:buNone/>
              <a:defRPr sz="800"/>
            </a:lvl8pPr>
            <a:lvl9pPr marL="3315358" indent="0">
              <a:buNone/>
              <a:defRPr sz="800"/>
            </a:lvl9pPr>
          </a:lstStyle>
          <a:p>
            <a:pPr lvl="0"/>
            <a:r>
              <a:rPr lang="en-US"/>
              <a:t>Click to edit Master text styles</a:t>
            </a:r>
          </a:p>
        </p:txBody>
      </p:sp>
    </p:spTree>
    <p:extLst>
      <p:ext uri="{BB962C8B-B14F-4D97-AF65-F5344CB8AC3E}">
        <p14:creationId xmlns:p14="http://schemas.microsoft.com/office/powerpoint/2010/main" val="15391462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936510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01512" y="456226"/>
            <a:ext cx="1931831" cy="185531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05971" y="456226"/>
            <a:ext cx="5661105" cy="185531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9672515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3" name="Group 52"/>
          <p:cNvGrpSpPr>
            <a:grpSpLocks/>
          </p:cNvGrpSpPr>
          <p:nvPr userDrawn="1"/>
        </p:nvGrpSpPr>
        <p:grpSpPr bwMode="auto">
          <a:xfrm>
            <a:off x="0" y="2571806"/>
            <a:ext cx="9144000" cy="1533137"/>
            <a:chOff x="0" y="2283"/>
            <a:chExt cx="6532" cy="1361"/>
          </a:xfrm>
        </p:grpSpPr>
        <p:sp>
          <p:nvSpPr>
            <p:cNvPr id="4" name="Rectangle 50"/>
            <p:cNvSpPr>
              <a:spLocks noChangeArrowheads="1"/>
            </p:cNvSpPr>
            <p:nvPr userDrawn="1"/>
          </p:nvSpPr>
          <p:spPr bwMode="auto">
            <a:xfrm>
              <a:off x="0" y="2283"/>
              <a:ext cx="6532" cy="1361"/>
            </a:xfrm>
            <a:prstGeom prst="rect">
              <a:avLst/>
            </a:prstGeom>
            <a:solidFill>
              <a:schemeClr val="bg2"/>
            </a:solidFill>
            <a:ln>
              <a:noFill/>
            </a:ln>
            <a:effectLst/>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37829" rIns="0" bIns="0" anchor="ctr"/>
            <a:lstStyle/>
            <a:p>
              <a:pPr algn="ctr" defTabSz="912644" eaLnBrk="0" hangingPunct="0">
                <a:defRPr/>
              </a:pPr>
              <a:endParaRPr lang="en-US" sz="1100" b="1">
                <a:solidFill>
                  <a:srgbClr val="000000"/>
                </a:solidFill>
                <a:ea typeface="ＭＳ Ｐゴシック" charset="0"/>
                <a:cs typeface="Arial"/>
              </a:endParaRPr>
            </a:p>
          </p:txBody>
        </p:sp>
        <p:sp>
          <p:nvSpPr>
            <p:cNvPr id="5" name="Text Box 51"/>
            <p:cNvSpPr txBox="1">
              <a:spLocks noChangeArrowheads="1"/>
            </p:cNvSpPr>
            <p:nvPr userDrawn="1"/>
          </p:nvSpPr>
          <p:spPr bwMode="auto">
            <a:xfrm>
              <a:off x="1263" y="2374"/>
              <a:ext cx="4938" cy="164"/>
            </a:xfrm>
            <a:prstGeom prst="rect">
              <a:avLst/>
            </a:prstGeom>
            <a:solidFill>
              <a:srgbClr val="A5A6A9"/>
            </a:solidFill>
            <a:ln>
              <a:noFill/>
            </a:ln>
            <a:effectLst/>
            <a:extLst>
              <a:ext uri="{91240B29-F687-4F45-9708-019B960494DF}">
                <a14:hiddenLine xmlns:a14="http://schemas.microsoft.com/office/drawing/2010/main" w="1270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901700">
                <a:defRPr sz="1200" b="1">
                  <a:solidFill>
                    <a:schemeClr val="tx1"/>
                  </a:solidFill>
                  <a:latin typeface="Arial" pitchFamily="34" charset="0"/>
                  <a:ea typeface="ＭＳ Ｐゴシック" pitchFamily="34" charset="-128"/>
                </a:defRPr>
              </a:lvl1pPr>
              <a:lvl2pPr marL="742950" indent="-285750" defTabSz="901700">
                <a:defRPr sz="1200" b="1">
                  <a:solidFill>
                    <a:schemeClr val="tx1"/>
                  </a:solidFill>
                  <a:latin typeface="Arial" pitchFamily="34" charset="0"/>
                  <a:ea typeface="ＭＳ Ｐゴシック" pitchFamily="34" charset="-128"/>
                </a:defRPr>
              </a:lvl2pPr>
              <a:lvl3pPr marL="1143000" indent="-228600" defTabSz="901700">
                <a:defRPr sz="1200" b="1">
                  <a:solidFill>
                    <a:schemeClr val="tx1"/>
                  </a:solidFill>
                  <a:latin typeface="Arial" pitchFamily="34" charset="0"/>
                  <a:ea typeface="ＭＳ Ｐゴシック" pitchFamily="34" charset="-128"/>
                </a:defRPr>
              </a:lvl3pPr>
              <a:lvl4pPr marL="1600200" indent="-228600" defTabSz="901700">
                <a:defRPr sz="1200" b="1">
                  <a:solidFill>
                    <a:schemeClr val="tx1"/>
                  </a:solidFill>
                  <a:latin typeface="Arial" pitchFamily="34" charset="0"/>
                  <a:ea typeface="ＭＳ Ｐゴシック" pitchFamily="34" charset="-128"/>
                </a:defRPr>
              </a:lvl4pPr>
              <a:lvl5pPr marL="2057400" indent="-228600" defTabSz="901700">
                <a:defRPr sz="1200" b="1">
                  <a:solidFill>
                    <a:schemeClr val="tx1"/>
                  </a:solidFill>
                  <a:latin typeface="Arial" pitchFamily="34" charset="0"/>
                  <a:ea typeface="ＭＳ Ｐゴシック" pitchFamily="34" charset="-128"/>
                </a:defRPr>
              </a:lvl5pPr>
              <a:lvl6pPr marL="2514600" indent="-228600" algn="ctr" defTabSz="901700" eaLnBrk="0" fontAlgn="base" hangingPunct="0">
                <a:spcBef>
                  <a:spcPct val="0"/>
                </a:spcBef>
                <a:spcAft>
                  <a:spcPct val="0"/>
                </a:spcAft>
                <a:defRPr sz="1200" b="1">
                  <a:solidFill>
                    <a:schemeClr val="tx1"/>
                  </a:solidFill>
                  <a:latin typeface="Arial" pitchFamily="34" charset="0"/>
                  <a:ea typeface="ＭＳ Ｐゴシック" pitchFamily="34" charset="-128"/>
                </a:defRPr>
              </a:lvl6pPr>
              <a:lvl7pPr marL="2971800" indent="-228600" algn="ctr" defTabSz="901700" eaLnBrk="0" fontAlgn="base" hangingPunct="0">
                <a:spcBef>
                  <a:spcPct val="0"/>
                </a:spcBef>
                <a:spcAft>
                  <a:spcPct val="0"/>
                </a:spcAft>
                <a:defRPr sz="1200" b="1">
                  <a:solidFill>
                    <a:schemeClr val="tx1"/>
                  </a:solidFill>
                  <a:latin typeface="Arial" pitchFamily="34" charset="0"/>
                  <a:ea typeface="ＭＳ Ｐゴシック" pitchFamily="34" charset="-128"/>
                </a:defRPr>
              </a:lvl7pPr>
              <a:lvl8pPr marL="3429000" indent="-228600" algn="ctr" defTabSz="901700" eaLnBrk="0" fontAlgn="base" hangingPunct="0">
                <a:spcBef>
                  <a:spcPct val="0"/>
                </a:spcBef>
                <a:spcAft>
                  <a:spcPct val="0"/>
                </a:spcAft>
                <a:defRPr sz="1200" b="1">
                  <a:solidFill>
                    <a:schemeClr val="tx1"/>
                  </a:solidFill>
                  <a:latin typeface="Arial" pitchFamily="34" charset="0"/>
                  <a:ea typeface="ＭＳ Ｐゴシック" pitchFamily="34" charset="-128"/>
                </a:defRPr>
              </a:lvl8pPr>
              <a:lvl9pPr marL="3886200" indent="-228600" algn="ctr" defTabSz="901700" eaLnBrk="0" fontAlgn="base" hangingPunct="0">
                <a:spcBef>
                  <a:spcPct val="0"/>
                </a:spcBef>
                <a:spcAft>
                  <a:spcPct val="0"/>
                </a:spcAft>
                <a:defRPr sz="1200" b="1">
                  <a:solidFill>
                    <a:schemeClr val="tx1"/>
                  </a:solidFill>
                  <a:latin typeface="Arial" pitchFamily="34" charset="0"/>
                  <a:ea typeface="ＭＳ Ｐゴシック" pitchFamily="34" charset="-128"/>
                </a:defRPr>
              </a:lvl9pPr>
            </a:lstStyle>
            <a:p>
              <a:pPr algn="ctr" eaLnBrk="0" hangingPunct="0">
                <a:spcBef>
                  <a:spcPct val="50000"/>
                </a:spcBef>
              </a:pPr>
              <a:r>
                <a:rPr lang="en-GB" sz="600" b="0" i="1">
                  <a:solidFill>
                    <a:srgbClr val="FFFFFF"/>
                  </a:solidFill>
                  <a:cs typeface="Arial"/>
                </a:rPr>
                <a:t>IMAGE AREA –IMAGERY MAY BE INSERTED HERE (must be from approved source – eg iStock, Shutterstock or approved HSBC imagery) OR GREY AREA DELETED AND LEFT BLANK WHITE</a:t>
              </a:r>
            </a:p>
          </p:txBody>
        </p:sp>
      </p:grpSp>
      <p:sp>
        <p:nvSpPr>
          <p:cNvPr id="6" name="Text Box 23"/>
          <p:cNvSpPr txBox="1">
            <a:spLocks noChangeArrowheads="1"/>
          </p:cNvSpPr>
          <p:nvPr userDrawn="1"/>
        </p:nvSpPr>
        <p:spPr bwMode="auto">
          <a:xfrm>
            <a:off x="649545" y="4843925"/>
            <a:ext cx="133850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901700">
              <a:spcBef>
                <a:spcPct val="50000"/>
              </a:spcBef>
              <a:defRPr sz="600" b="1" i="1">
                <a:solidFill>
                  <a:schemeClr val="tx1"/>
                </a:solidFill>
                <a:latin typeface="Arial" charset="0"/>
                <a:cs typeface="Arial" charset="0"/>
              </a:defRPr>
            </a:lvl1pPr>
            <a:lvl2pPr marL="481013" defTabSz="901700">
              <a:spcBef>
                <a:spcPct val="50000"/>
              </a:spcBef>
              <a:defRPr sz="600" b="1" i="1">
                <a:solidFill>
                  <a:schemeClr val="tx1"/>
                </a:solidFill>
                <a:latin typeface="Arial" charset="0"/>
                <a:cs typeface="Arial" charset="0"/>
              </a:defRPr>
            </a:lvl2pPr>
            <a:lvl3pPr marL="960438" defTabSz="901700">
              <a:spcBef>
                <a:spcPct val="50000"/>
              </a:spcBef>
              <a:defRPr sz="600" b="1" i="1">
                <a:solidFill>
                  <a:schemeClr val="tx1"/>
                </a:solidFill>
                <a:latin typeface="Arial" charset="0"/>
                <a:cs typeface="Arial" charset="0"/>
              </a:defRPr>
            </a:lvl3pPr>
            <a:lvl4pPr marL="1441450" defTabSz="901700">
              <a:spcBef>
                <a:spcPct val="50000"/>
              </a:spcBef>
              <a:defRPr sz="600" b="1" i="1">
                <a:solidFill>
                  <a:schemeClr val="tx1"/>
                </a:solidFill>
                <a:latin typeface="Arial" charset="0"/>
                <a:cs typeface="Arial" charset="0"/>
              </a:defRPr>
            </a:lvl4pPr>
            <a:lvl5pPr marL="1920875" defTabSz="901700">
              <a:spcBef>
                <a:spcPct val="50000"/>
              </a:spcBef>
              <a:defRPr sz="600" b="1" i="1">
                <a:solidFill>
                  <a:schemeClr val="tx1"/>
                </a:solidFill>
                <a:latin typeface="Arial" charset="0"/>
                <a:cs typeface="Arial" charset="0"/>
              </a:defRPr>
            </a:lvl5pPr>
            <a:lvl6pPr marL="2378075" algn="ctr" defTabSz="901700" eaLnBrk="0" fontAlgn="base" hangingPunct="0">
              <a:spcBef>
                <a:spcPct val="50000"/>
              </a:spcBef>
              <a:spcAft>
                <a:spcPct val="0"/>
              </a:spcAft>
              <a:defRPr sz="600" b="1" i="1">
                <a:solidFill>
                  <a:schemeClr val="tx1"/>
                </a:solidFill>
                <a:latin typeface="Arial" charset="0"/>
                <a:cs typeface="Arial" charset="0"/>
              </a:defRPr>
            </a:lvl6pPr>
            <a:lvl7pPr marL="2835275" algn="ctr" defTabSz="901700" eaLnBrk="0" fontAlgn="base" hangingPunct="0">
              <a:spcBef>
                <a:spcPct val="50000"/>
              </a:spcBef>
              <a:spcAft>
                <a:spcPct val="0"/>
              </a:spcAft>
              <a:defRPr sz="600" b="1" i="1">
                <a:solidFill>
                  <a:schemeClr val="tx1"/>
                </a:solidFill>
                <a:latin typeface="Arial" charset="0"/>
                <a:cs typeface="Arial" charset="0"/>
              </a:defRPr>
            </a:lvl7pPr>
            <a:lvl8pPr marL="3292475" algn="ctr" defTabSz="901700" eaLnBrk="0" fontAlgn="base" hangingPunct="0">
              <a:spcBef>
                <a:spcPct val="50000"/>
              </a:spcBef>
              <a:spcAft>
                <a:spcPct val="0"/>
              </a:spcAft>
              <a:defRPr sz="600" b="1" i="1">
                <a:solidFill>
                  <a:schemeClr val="tx1"/>
                </a:solidFill>
                <a:latin typeface="Arial" charset="0"/>
                <a:cs typeface="Arial" charset="0"/>
              </a:defRPr>
            </a:lvl8pPr>
            <a:lvl9pPr marL="3749675" algn="ctr" defTabSz="901700" eaLnBrk="0" fontAlgn="base" hangingPunct="0">
              <a:spcBef>
                <a:spcPct val="50000"/>
              </a:spcBef>
              <a:spcAft>
                <a:spcPct val="0"/>
              </a:spcAft>
              <a:defRPr sz="600" b="1" i="1">
                <a:solidFill>
                  <a:schemeClr val="tx1"/>
                </a:solidFill>
                <a:latin typeface="Arial" charset="0"/>
                <a:cs typeface="Arial" charset="0"/>
              </a:defRPr>
            </a:lvl9pPr>
          </a:lstStyle>
          <a:p>
            <a:pPr eaLnBrk="0" hangingPunct="0">
              <a:spcBef>
                <a:spcPct val="0"/>
              </a:spcBef>
              <a:defRPr/>
            </a:pPr>
            <a:r>
              <a:rPr lang="en-GB" sz="1000" i="0">
                <a:solidFill>
                  <a:srgbClr val="A5A6A9"/>
                </a:solidFill>
                <a:ea typeface="ＭＳ Ｐゴシック" pitchFamily="34" charset="-128"/>
              </a:rPr>
              <a:t>HIGHLY RESTRICTED</a:t>
            </a:r>
          </a:p>
          <a:p>
            <a:pPr eaLnBrk="0" hangingPunct="0">
              <a:spcBef>
                <a:spcPct val="0"/>
              </a:spcBef>
              <a:defRPr/>
            </a:pPr>
            <a:r>
              <a:rPr lang="en-GB" sz="800" b="0" i="0">
                <a:solidFill>
                  <a:srgbClr val="A5A6A9"/>
                </a:solidFill>
                <a:ea typeface="ＭＳ Ｐゴシック" pitchFamily="34" charset="-128"/>
              </a:rPr>
              <a:t>(amend as appropriate)</a:t>
            </a:r>
            <a:endParaRPr lang="en-GB" sz="1000" i="0">
              <a:solidFill>
                <a:srgbClr val="A5A6A9"/>
              </a:solidFill>
              <a:ea typeface="ＭＳ Ｐゴシック" pitchFamily="34" charset="-128"/>
            </a:endParaRPr>
          </a:p>
        </p:txBody>
      </p:sp>
      <p:sp>
        <p:nvSpPr>
          <p:cNvPr id="7" name="Rectangle 82"/>
          <p:cNvSpPr>
            <a:spLocks noChangeArrowheads="1"/>
          </p:cNvSpPr>
          <p:nvPr userDrawn="1"/>
        </p:nvSpPr>
        <p:spPr bwMode="auto">
          <a:xfrm>
            <a:off x="8858435" y="0"/>
            <a:ext cx="127389" cy="51435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252" tIns="45127" rIns="90252" bIns="45127" anchor="ctr"/>
          <a:lstStyle/>
          <a:p>
            <a:pPr algn="ctr" defTabSz="902087" eaLnBrk="0" hangingPunct="0">
              <a:spcBef>
                <a:spcPct val="50000"/>
              </a:spcBef>
            </a:pPr>
            <a:endParaRPr lang="en-US" sz="600" b="1" i="1">
              <a:solidFill>
                <a:srgbClr val="000000"/>
              </a:solidFill>
              <a:latin typeface="Arial" pitchFamily="34" charset="0"/>
              <a:ea typeface="ＭＳ Ｐゴシック" pitchFamily="34" charset="-128"/>
              <a:cs typeface="Arial"/>
            </a:endParaRPr>
          </a:p>
        </p:txBody>
      </p:sp>
      <p:sp>
        <p:nvSpPr>
          <p:cNvPr id="8" name="AutoShape 27"/>
          <p:cNvSpPr>
            <a:spLocks noChangeArrowheads="1"/>
          </p:cNvSpPr>
          <p:nvPr userDrawn="1"/>
        </p:nvSpPr>
        <p:spPr bwMode="gray">
          <a:xfrm rot="16200000">
            <a:off x="8819776" y="4350896"/>
            <a:ext cx="223043" cy="145587"/>
          </a:xfrm>
          <a:prstGeom prst="triangle">
            <a:avLst>
              <a:gd name="adj" fmla="val 50000"/>
            </a:avLst>
          </a:prstGeom>
          <a:solidFill>
            <a:schemeClr val="bg1"/>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eaVert" wrap="none" lIns="90252" tIns="45127" rIns="90252" bIns="45127" anchor="ctr"/>
          <a:lstStyle/>
          <a:p>
            <a:pPr algn="ctr" defTabSz="847425" eaLnBrk="0" hangingPunct="0">
              <a:spcBef>
                <a:spcPct val="50000"/>
              </a:spcBef>
              <a:defRPr/>
            </a:pPr>
            <a:endParaRPr lang="en-US" sz="600" i="1">
              <a:solidFill>
                <a:srgbClr val="000000"/>
              </a:solidFill>
              <a:ea typeface="ＭＳ Ｐゴシック" charset="0"/>
              <a:cs typeface="Arial"/>
            </a:endParaRPr>
          </a:p>
        </p:txBody>
      </p:sp>
      <p:pic>
        <p:nvPicPr>
          <p:cNvPr id="9" name="Picture 45" descr="HSBC Hexagon_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7387" y="4320132"/>
            <a:ext cx="1500669" cy="21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5551" name="Rectangle 47"/>
          <p:cNvSpPr>
            <a:spLocks noGrp="1" noChangeArrowheads="1"/>
          </p:cNvSpPr>
          <p:nvPr>
            <p:ph type="ctrTitle" sz="quarter"/>
          </p:nvPr>
        </p:nvSpPr>
        <p:spPr>
          <a:xfrm>
            <a:off x="635548" y="2060408"/>
            <a:ext cx="7772120" cy="307529"/>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bIns="0" anchor="b"/>
          <a:lstStyle>
            <a:lvl1pPr>
              <a:lnSpc>
                <a:spcPct val="100000"/>
              </a:lnSpc>
              <a:defRPr sz="2700" b="1" smtClean="0">
                <a:solidFill>
                  <a:schemeClr val="tx1"/>
                </a:solidFill>
              </a:defRPr>
            </a:lvl1pPr>
          </a:lstStyle>
          <a:p>
            <a:pPr lvl="0"/>
            <a:r>
              <a:rPr lang="en-GB" noProof="0"/>
              <a:t>Click to edit Master title style</a:t>
            </a:r>
          </a:p>
        </p:txBody>
      </p:sp>
    </p:spTree>
    <p:extLst>
      <p:ext uri="{BB962C8B-B14F-4D97-AF65-F5344CB8AC3E}">
        <p14:creationId xmlns:p14="http://schemas.microsoft.com/office/powerpoint/2010/main" val="13302521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5143" y="1511818"/>
            <a:ext cx="7424950" cy="1043119"/>
          </a:xfrm>
        </p:spPr>
        <p:txBody>
          <a:bodyPr/>
          <a:lstStyle/>
          <a:p>
            <a:r>
              <a:rPr lang="en-US"/>
              <a:t>Click to edit Master title style</a:t>
            </a:r>
            <a:endParaRPr lang="en-GB"/>
          </a:p>
        </p:txBody>
      </p:sp>
      <p:sp>
        <p:nvSpPr>
          <p:cNvPr id="3" name="Subtitle 2"/>
          <p:cNvSpPr>
            <a:spLocks noGrp="1"/>
          </p:cNvSpPr>
          <p:nvPr>
            <p:ph type="subTitle" idx="1"/>
          </p:nvPr>
        </p:nvSpPr>
        <p:spPr>
          <a:xfrm>
            <a:off x="1310336" y="2757619"/>
            <a:ext cx="6114665" cy="1243632"/>
          </a:xfrm>
        </p:spPr>
        <p:txBody>
          <a:bodyPr/>
          <a:lstStyle>
            <a:lvl1pPr marL="0" indent="0" algn="ctr">
              <a:buNone/>
              <a:defRPr/>
            </a:lvl1pPr>
            <a:lvl2pPr marL="414375" indent="0" algn="ctr">
              <a:buNone/>
              <a:defRPr/>
            </a:lvl2pPr>
            <a:lvl3pPr marL="828686" indent="0" algn="ctr">
              <a:buNone/>
              <a:defRPr/>
            </a:lvl3pPr>
            <a:lvl4pPr marL="1243067" indent="0" algn="ctr">
              <a:buNone/>
              <a:defRPr/>
            </a:lvl4pPr>
            <a:lvl5pPr marL="1657373" indent="0" algn="ctr">
              <a:buNone/>
              <a:defRPr/>
            </a:lvl5pPr>
            <a:lvl6pPr marL="2071811" indent="0" algn="ctr">
              <a:buNone/>
              <a:defRPr/>
            </a:lvl6pPr>
            <a:lvl7pPr marL="2486133" indent="0" algn="ctr">
              <a:buNone/>
              <a:defRPr/>
            </a:lvl7pPr>
            <a:lvl8pPr marL="2900513" indent="0" algn="ctr">
              <a:buNone/>
              <a:defRPr/>
            </a:lvl8pPr>
            <a:lvl9pPr marL="3314819"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124176081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522180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0141" y="3127114"/>
            <a:ext cx="7424950" cy="966518"/>
          </a:xfrm>
        </p:spPr>
        <p:txBody>
          <a:bodyPr/>
          <a:lstStyle>
            <a:lvl1pPr algn="l">
              <a:defRPr sz="3600" b="1" cap="all"/>
            </a:lvl1pPr>
          </a:lstStyle>
          <a:p>
            <a:r>
              <a:rPr lang="en-US"/>
              <a:t>Click to edit Master title style</a:t>
            </a:r>
            <a:endParaRPr lang="en-GB"/>
          </a:p>
        </p:txBody>
      </p:sp>
      <p:sp>
        <p:nvSpPr>
          <p:cNvPr id="3" name="Text Placeholder 2"/>
          <p:cNvSpPr>
            <a:spLocks noGrp="1"/>
          </p:cNvSpPr>
          <p:nvPr>
            <p:ph type="body" idx="1"/>
          </p:nvPr>
        </p:nvSpPr>
        <p:spPr>
          <a:xfrm>
            <a:off x="690141" y="2062582"/>
            <a:ext cx="7424950" cy="1064522"/>
          </a:xfrm>
        </p:spPr>
        <p:txBody>
          <a:bodyPr anchor="b"/>
          <a:lstStyle>
            <a:lvl1pPr marL="0" indent="0">
              <a:buNone/>
              <a:defRPr sz="1800"/>
            </a:lvl1pPr>
            <a:lvl2pPr marL="414375" indent="0">
              <a:buNone/>
              <a:defRPr sz="1600"/>
            </a:lvl2pPr>
            <a:lvl3pPr marL="828686" indent="0">
              <a:buNone/>
              <a:defRPr sz="1500"/>
            </a:lvl3pPr>
            <a:lvl4pPr marL="1243067" indent="0">
              <a:buNone/>
              <a:defRPr sz="1300"/>
            </a:lvl4pPr>
            <a:lvl5pPr marL="1657373" indent="0">
              <a:buNone/>
              <a:defRPr sz="1300"/>
            </a:lvl5pPr>
            <a:lvl6pPr marL="2071811" indent="0">
              <a:buNone/>
              <a:defRPr sz="1300"/>
            </a:lvl6pPr>
            <a:lvl7pPr marL="2486133" indent="0">
              <a:buNone/>
              <a:defRPr sz="1300"/>
            </a:lvl7pPr>
            <a:lvl8pPr marL="2900513" indent="0">
              <a:buNone/>
              <a:defRPr sz="1300"/>
            </a:lvl8pPr>
            <a:lvl9pPr marL="3314819" indent="0">
              <a:buNone/>
              <a:defRPr sz="1300"/>
            </a:lvl9pPr>
          </a:lstStyle>
          <a:p>
            <a:pPr lvl="0"/>
            <a:r>
              <a:rPr lang="en-US"/>
              <a:t>Click to edit Master text styles</a:t>
            </a:r>
          </a:p>
        </p:txBody>
      </p:sp>
    </p:spTree>
    <p:extLst>
      <p:ext uri="{BB962C8B-B14F-4D97-AF65-F5344CB8AC3E}">
        <p14:creationId xmlns:p14="http://schemas.microsoft.com/office/powerpoint/2010/main" val="40491074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75" y="215549"/>
            <a:ext cx="7989888" cy="1134665"/>
          </a:xfrm>
        </p:spPr>
        <p:txBody>
          <a:bodyPr/>
          <a:lstStyle/>
          <a:p>
            <a:r>
              <a:rPr lang="en-GB"/>
              <a:t>Click to edit Master title style</a:t>
            </a:r>
            <a:endParaRPr lang="en-US"/>
          </a:p>
        </p:txBody>
      </p:sp>
      <p:sp>
        <p:nvSpPr>
          <p:cNvPr id="3" name="Text Placeholder 2"/>
          <p:cNvSpPr>
            <a:spLocks noGrp="1"/>
          </p:cNvSpPr>
          <p:nvPr>
            <p:ph type="body" sz="half" idx="1"/>
          </p:nvPr>
        </p:nvSpPr>
        <p:spPr>
          <a:xfrm>
            <a:off x="574676" y="1564482"/>
            <a:ext cx="3917950" cy="28336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5026" y="1564482"/>
            <a:ext cx="3919538" cy="28336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noChangeArrowheads="1"/>
          </p:cNvSpPr>
          <p:nvPr>
            <p:ph type="dt" sz="half" idx="10"/>
          </p:nvPr>
        </p:nvSpPr>
        <p:spPr>
          <a:xfrm>
            <a:off x="4419600" y="4911337"/>
            <a:ext cx="2097088" cy="134540"/>
          </a:xfrm>
          <a:prstGeom prst="rect">
            <a:avLst/>
          </a:prstGeom>
        </p:spPr>
        <p:txBody>
          <a:bodyPr vert="horz" wrap="square" lIns="91284" tIns="45642" rIns="91284" bIns="45642" numCol="1" anchor="t" anchorCtr="0" compatLnSpc="1">
            <a:prstTxWarp prst="textNoShape">
              <a:avLst/>
            </a:prstTxWarp>
          </a:bodyPr>
          <a:lstStyle>
            <a:lvl1pPr>
              <a:defRPr sz="1800">
                <a:latin typeface="Arial" pitchFamily="34" charset="0"/>
                <a:cs typeface="Arial" pitchFamily="34" charset="0"/>
              </a:defRPr>
            </a:lvl1pPr>
          </a:lstStyle>
          <a:p>
            <a:pPr>
              <a:defRPr/>
            </a:pPr>
            <a:fld id="{E9F39634-5A67-46D1-9247-7A760E423F0E}" type="datetime1">
              <a:rPr lang="en-GB"/>
              <a:pPr>
                <a:defRPr/>
              </a:pPr>
              <a:t>15/05/2017</a:t>
            </a:fld>
            <a:endParaRPr lang="en-GB"/>
          </a:p>
        </p:txBody>
      </p:sp>
      <p:sp>
        <p:nvSpPr>
          <p:cNvPr id="6" name="Rectangle 8"/>
          <p:cNvSpPr>
            <a:spLocks noGrp="1" noChangeArrowheads="1"/>
          </p:cNvSpPr>
          <p:nvPr>
            <p:ph type="sldNum" sz="quarter" idx="11"/>
          </p:nvPr>
        </p:nvSpPr>
        <p:spPr>
          <a:xfrm>
            <a:off x="574675" y="4911337"/>
            <a:ext cx="685800" cy="134540"/>
          </a:xfrm>
          <a:prstGeom prst="rect">
            <a:avLst/>
          </a:prstGeom>
        </p:spPr>
        <p:txBody>
          <a:bodyPr vert="horz" wrap="square" lIns="91284" tIns="45642" rIns="91284" bIns="45642" numCol="1" anchor="t" anchorCtr="0" compatLnSpc="1">
            <a:prstTxWarp prst="textNoShape">
              <a:avLst/>
            </a:prstTxWarp>
          </a:bodyPr>
          <a:lstStyle>
            <a:lvl1pPr>
              <a:defRPr sz="1800">
                <a:latin typeface="Arial" pitchFamily="34" charset="0"/>
                <a:cs typeface="Arial" pitchFamily="34" charset="0"/>
              </a:defRPr>
            </a:lvl1pPr>
          </a:lstStyle>
          <a:p>
            <a:pPr>
              <a:defRPr/>
            </a:pPr>
            <a:r>
              <a:rPr lang="en-GB"/>
              <a:t>#</a:t>
            </a:r>
            <a:fld id="{7A5566DB-F9B2-4A33-B2E8-6D7E0E6E6CAF}" type="slidenum">
              <a:rPr lang="en-GB"/>
              <a:pPr>
                <a:defRPr/>
              </a:pPr>
              <a:t>‹#›</a:t>
            </a:fld>
            <a:endParaRPr lang="en-GB"/>
          </a:p>
        </p:txBody>
      </p:sp>
      <p:sp>
        <p:nvSpPr>
          <p:cNvPr id="7" name="Rectangle 10"/>
          <p:cNvSpPr>
            <a:spLocks noGrp="1" noChangeArrowheads="1"/>
          </p:cNvSpPr>
          <p:nvPr>
            <p:ph type="ftr" sz="quarter" idx="12"/>
          </p:nvPr>
        </p:nvSpPr>
        <p:spPr>
          <a:xfrm>
            <a:off x="1501834" y="4911337"/>
            <a:ext cx="2716213" cy="134540"/>
          </a:xfrm>
          <a:prstGeom prst="rect">
            <a:avLst/>
          </a:prstGeom>
        </p:spPr>
        <p:txBody>
          <a:bodyPr lIns="91284" tIns="45642" rIns="91284" bIns="45642"/>
          <a:lstStyle>
            <a:lvl1pPr>
              <a:defRPr sz="1800">
                <a:latin typeface="Arial" charset="0"/>
                <a:ea typeface="Arial" charset="0"/>
                <a:cs typeface="Arial" charset="0"/>
              </a:defRPr>
            </a:lvl1pPr>
          </a:lstStyle>
          <a:p>
            <a:pPr>
              <a:defRPr/>
            </a:pPr>
            <a:r>
              <a:rPr lang="en-GB"/>
              <a:t>Department</a:t>
            </a: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07365" y="1224492"/>
            <a:ext cx="3795068" cy="720946"/>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336821" y="1224492"/>
            <a:ext cx="3796468" cy="720946"/>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5639660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36768" y="194887"/>
            <a:ext cx="7861712" cy="811064"/>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36797" y="1089324"/>
            <a:ext cx="3859463" cy="453971"/>
          </a:xfrm>
        </p:spPr>
        <p:txBody>
          <a:bodyPr anchor="b"/>
          <a:lstStyle>
            <a:lvl1pPr marL="0" indent="0">
              <a:buNone/>
              <a:defRPr sz="2200" b="1"/>
            </a:lvl1pPr>
            <a:lvl2pPr marL="414375" indent="0">
              <a:buNone/>
              <a:defRPr sz="1800" b="1"/>
            </a:lvl2pPr>
            <a:lvl3pPr marL="828686" indent="0">
              <a:buNone/>
              <a:defRPr sz="1600" b="1"/>
            </a:lvl3pPr>
            <a:lvl4pPr marL="1243067" indent="0">
              <a:buNone/>
              <a:defRPr sz="1500" b="1"/>
            </a:lvl4pPr>
            <a:lvl5pPr marL="1657373" indent="0">
              <a:buNone/>
              <a:defRPr sz="1500" b="1"/>
            </a:lvl5pPr>
            <a:lvl6pPr marL="2071811" indent="0">
              <a:buNone/>
              <a:defRPr sz="1500" b="1"/>
            </a:lvl6pPr>
            <a:lvl7pPr marL="2486133" indent="0">
              <a:buNone/>
              <a:defRPr sz="1500" b="1"/>
            </a:lvl7pPr>
            <a:lvl8pPr marL="2900513" indent="0">
              <a:buNone/>
              <a:defRPr sz="1500" b="1"/>
            </a:lvl8pPr>
            <a:lvl9pPr marL="3314819" indent="0">
              <a:buNone/>
              <a:defRPr sz="1500" b="1"/>
            </a:lvl9pPr>
          </a:lstStyle>
          <a:p>
            <a:pPr lvl="0"/>
            <a:r>
              <a:rPr lang="en-US"/>
              <a:t>Click to edit Master text styles</a:t>
            </a:r>
          </a:p>
        </p:txBody>
      </p:sp>
      <p:sp>
        <p:nvSpPr>
          <p:cNvPr id="4" name="Content Placeholder 3"/>
          <p:cNvSpPr>
            <a:spLocks noGrp="1"/>
          </p:cNvSpPr>
          <p:nvPr>
            <p:ph sz="half" idx="2"/>
          </p:nvPr>
        </p:nvSpPr>
        <p:spPr>
          <a:xfrm>
            <a:off x="436797" y="1543308"/>
            <a:ext cx="3859463" cy="280380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437615" y="1089324"/>
            <a:ext cx="3860862" cy="453971"/>
          </a:xfrm>
        </p:spPr>
        <p:txBody>
          <a:bodyPr anchor="b"/>
          <a:lstStyle>
            <a:lvl1pPr marL="0" indent="0">
              <a:buNone/>
              <a:defRPr sz="2200" b="1"/>
            </a:lvl1pPr>
            <a:lvl2pPr marL="414375" indent="0">
              <a:buNone/>
              <a:defRPr sz="1800" b="1"/>
            </a:lvl2pPr>
            <a:lvl3pPr marL="828686" indent="0">
              <a:buNone/>
              <a:defRPr sz="1600" b="1"/>
            </a:lvl3pPr>
            <a:lvl4pPr marL="1243067" indent="0">
              <a:buNone/>
              <a:defRPr sz="1500" b="1"/>
            </a:lvl4pPr>
            <a:lvl5pPr marL="1657373" indent="0">
              <a:buNone/>
              <a:defRPr sz="1500" b="1"/>
            </a:lvl5pPr>
            <a:lvl6pPr marL="2071811" indent="0">
              <a:buNone/>
              <a:defRPr sz="1500" b="1"/>
            </a:lvl6pPr>
            <a:lvl7pPr marL="2486133" indent="0">
              <a:buNone/>
              <a:defRPr sz="1500" b="1"/>
            </a:lvl7pPr>
            <a:lvl8pPr marL="2900513" indent="0">
              <a:buNone/>
              <a:defRPr sz="1500" b="1"/>
            </a:lvl8pPr>
            <a:lvl9pPr marL="3314819"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437615" y="1543308"/>
            <a:ext cx="3860862" cy="280380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6345068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981059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6874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6772" y="193759"/>
            <a:ext cx="2873949" cy="824582"/>
          </a:xfrm>
        </p:spPr>
        <p:txBody>
          <a:bodyPr anchor="b"/>
          <a:lstStyle>
            <a:lvl1pPr algn="l">
              <a:defRPr sz="1800" b="1"/>
            </a:lvl1pPr>
          </a:lstStyle>
          <a:p>
            <a:r>
              <a:rPr lang="en-US"/>
              <a:t>Click to edit Master title style</a:t>
            </a:r>
            <a:endParaRPr lang="en-GB"/>
          </a:p>
        </p:txBody>
      </p:sp>
      <p:sp>
        <p:nvSpPr>
          <p:cNvPr id="3" name="Content Placeholder 2"/>
          <p:cNvSpPr>
            <a:spLocks noGrp="1"/>
          </p:cNvSpPr>
          <p:nvPr>
            <p:ph idx="1"/>
          </p:nvPr>
        </p:nvSpPr>
        <p:spPr>
          <a:xfrm>
            <a:off x="3415709" y="193754"/>
            <a:ext cx="4882773" cy="4153326"/>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36772" y="1018340"/>
            <a:ext cx="2873949" cy="3328744"/>
          </a:xfrm>
        </p:spPr>
        <p:txBody>
          <a:bodyPr/>
          <a:lstStyle>
            <a:lvl1pPr marL="0" indent="0">
              <a:buNone/>
              <a:defRPr sz="1300"/>
            </a:lvl1pPr>
            <a:lvl2pPr marL="414375" indent="0">
              <a:buNone/>
              <a:defRPr sz="1100"/>
            </a:lvl2pPr>
            <a:lvl3pPr marL="828686" indent="0">
              <a:buNone/>
              <a:defRPr sz="900"/>
            </a:lvl3pPr>
            <a:lvl4pPr marL="1243067" indent="0">
              <a:buNone/>
              <a:defRPr sz="800"/>
            </a:lvl4pPr>
            <a:lvl5pPr marL="1657373" indent="0">
              <a:buNone/>
              <a:defRPr sz="800"/>
            </a:lvl5pPr>
            <a:lvl6pPr marL="2071811" indent="0">
              <a:buNone/>
              <a:defRPr sz="800"/>
            </a:lvl6pPr>
            <a:lvl7pPr marL="2486133" indent="0">
              <a:buNone/>
              <a:defRPr sz="800"/>
            </a:lvl7pPr>
            <a:lvl8pPr marL="2900513" indent="0">
              <a:buNone/>
              <a:defRPr sz="800"/>
            </a:lvl8pPr>
            <a:lvl9pPr marL="3314819" indent="0">
              <a:buNone/>
              <a:defRPr sz="800"/>
            </a:lvl9pPr>
          </a:lstStyle>
          <a:p>
            <a:pPr lvl="0"/>
            <a:r>
              <a:rPr lang="en-US"/>
              <a:t>Click to edit Master text styles</a:t>
            </a:r>
          </a:p>
        </p:txBody>
      </p:sp>
    </p:spTree>
    <p:extLst>
      <p:ext uri="{BB962C8B-B14F-4D97-AF65-F5344CB8AC3E}">
        <p14:creationId xmlns:p14="http://schemas.microsoft.com/office/powerpoint/2010/main" val="9340319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12060" y="3406475"/>
            <a:ext cx="5241141" cy="402153"/>
          </a:xfrm>
        </p:spPr>
        <p:txBody>
          <a:bodyPr anchor="b"/>
          <a:lstStyle>
            <a:lvl1pPr algn="l">
              <a:defRPr sz="1800" b="1"/>
            </a:lvl1pPr>
          </a:lstStyle>
          <a:p>
            <a:r>
              <a:rPr lang="en-US"/>
              <a:t>Click to edit Master title style</a:t>
            </a:r>
            <a:endParaRPr lang="en-GB"/>
          </a:p>
        </p:txBody>
      </p:sp>
      <p:sp>
        <p:nvSpPr>
          <p:cNvPr id="3" name="Picture Placeholder 2"/>
          <p:cNvSpPr>
            <a:spLocks noGrp="1"/>
          </p:cNvSpPr>
          <p:nvPr>
            <p:ph type="pic" idx="1"/>
          </p:nvPr>
        </p:nvSpPr>
        <p:spPr>
          <a:xfrm>
            <a:off x="1712060" y="434826"/>
            <a:ext cx="5241141" cy="2919832"/>
          </a:xfrm>
        </p:spPr>
        <p:txBody>
          <a:bodyPr tIns="0"/>
          <a:lstStyle>
            <a:lvl1pPr marL="0" indent="0">
              <a:buNone/>
              <a:defRPr sz="2900"/>
            </a:lvl1pPr>
            <a:lvl2pPr marL="414375" indent="0">
              <a:buNone/>
              <a:defRPr sz="2500"/>
            </a:lvl2pPr>
            <a:lvl3pPr marL="828686" indent="0">
              <a:buNone/>
              <a:defRPr sz="2200"/>
            </a:lvl3pPr>
            <a:lvl4pPr marL="1243067" indent="0">
              <a:buNone/>
              <a:defRPr sz="1800"/>
            </a:lvl4pPr>
            <a:lvl5pPr marL="1657373" indent="0">
              <a:buNone/>
              <a:defRPr sz="1800"/>
            </a:lvl5pPr>
            <a:lvl6pPr marL="2071811" indent="0">
              <a:buNone/>
              <a:defRPr sz="1800"/>
            </a:lvl6pPr>
            <a:lvl7pPr marL="2486133" indent="0">
              <a:buNone/>
              <a:defRPr sz="1800"/>
            </a:lvl7pPr>
            <a:lvl8pPr marL="2900513" indent="0">
              <a:buNone/>
              <a:defRPr sz="1800"/>
            </a:lvl8pPr>
            <a:lvl9pPr marL="3314819" indent="0">
              <a:buNone/>
              <a:defRPr sz="1800"/>
            </a:lvl9pPr>
          </a:lstStyle>
          <a:p>
            <a:pPr lvl="0"/>
            <a:endParaRPr lang="en-GB" noProof="0"/>
          </a:p>
        </p:txBody>
      </p:sp>
      <p:sp>
        <p:nvSpPr>
          <p:cNvPr id="4" name="Text Placeholder 3"/>
          <p:cNvSpPr>
            <a:spLocks noGrp="1"/>
          </p:cNvSpPr>
          <p:nvPr>
            <p:ph type="body" sz="half" idx="2"/>
          </p:nvPr>
        </p:nvSpPr>
        <p:spPr>
          <a:xfrm>
            <a:off x="1712060" y="3808633"/>
            <a:ext cx="5241141" cy="571124"/>
          </a:xfrm>
        </p:spPr>
        <p:txBody>
          <a:bodyPr/>
          <a:lstStyle>
            <a:lvl1pPr marL="0" indent="0">
              <a:buNone/>
              <a:defRPr sz="1300"/>
            </a:lvl1pPr>
            <a:lvl2pPr marL="414375" indent="0">
              <a:buNone/>
              <a:defRPr sz="1100"/>
            </a:lvl2pPr>
            <a:lvl3pPr marL="828686" indent="0">
              <a:buNone/>
              <a:defRPr sz="900"/>
            </a:lvl3pPr>
            <a:lvl4pPr marL="1243067" indent="0">
              <a:buNone/>
              <a:defRPr sz="800"/>
            </a:lvl4pPr>
            <a:lvl5pPr marL="1657373" indent="0">
              <a:buNone/>
              <a:defRPr sz="800"/>
            </a:lvl5pPr>
            <a:lvl6pPr marL="2071811" indent="0">
              <a:buNone/>
              <a:defRPr sz="800"/>
            </a:lvl6pPr>
            <a:lvl7pPr marL="2486133" indent="0">
              <a:buNone/>
              <a:defRPr sz="800"/>
            </a:lvl7pPr>
            <a:lvl8pPr marL="2900513" indent="0">
              <a:buNone/>
              <a:defRPr sz="800"/>
            </a:lvl8pPr>
            <a:lvl9pPr marL="3314819" indent="0">
              <a:buNone/>
              <a:defRPr sz="800"/>
            </a:lvl9pPr>
          </a:lstStyle>
          <a:p>
            <a:pPr lvl="0"/>
            <a:r>
              <a:rPr lang="en-US"/>
              <a:t>Click to edit Master text styles</a:t>
            </a:r>
          </a:p>
        </p:txBody>
      </p:sp>
    </p:spTree>
    <p:extLst>
      <p:ext uri="{BB962C8B-B14F-4D97-AF65-F5344CB8AC3E}">
        <p14:creationId xmlns:p14="http://schemas.microsoft.com/office/powerpoint/2010/main" val="1977336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693031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05736" y="456272"/>
            <a:ext cx="1931831" cy="148920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05971" y="456272"/>
            <a:ext cx="5665305" cy="14892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3065351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08194" y="220847"/>
            <a:ext cx="8127689" cy="511421"/>
          </a:xfrm>
        </p:spPr>
        <p:txBody>
          <a:bodyPr/>
          <a:lstStyle/>
          <a:p>
            <a:r>
              <a:rPr lang="en-US"/>
              <a:t>Click to edit Master title style</a:t>
            </a:r>
            <a:endParaRPr lang="en-GB"/>
          </a:p>
        </p:txBody>
      </p:sp>
      <p:sp>
        <p:nvSpPr>
          <p:cNvPr id="3" name="Table Placeholder 2"/>
          <p:cNvSpPr>
            <a:spLocks noGrp="1"/>
          </p:cNvSpPr>
          <p:nvPr>
            <p:ph type="tbl" idx="1"/>
          </p:nvPr>
        </p:nvSpPr>
        <p:spPr>
          <a:xfrm>
            <a:off x="508194" y="937236"/>
            <a:ext cx="8127689" cy="3729770"/>
          </a:xfrm>
        </p:spPr>
        <p:txBody>
          <a:bodyPr/>
          <a:lstStyle/>
          <a:p>
            <a:pPr lvl="0"/>
            <a:endParaRPr lang="en-GB" noProof="0"/>
          </a:p>
        </p:txBody>
      </p:sp>
    </p:spTree>
    <p:extLst>
      <p:ext uri="{BB962C8B-B14F-4D97-AF65-F5344CB8AC3E}">
        <p14:creationId xmlns:p14="http://schemas.microsoft.com/office/powerpoint/2010/main" val="23995873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508194" y="220847"/>
            <a:ext cx="8127689" cy="511421"/>
          </a:xfrm>
        </p:spPr>
        <p:txBody>
          <a:bodyPr/>
          <a:lstStyle/>
          <a:p>
            <a:r>
              <a:rPr lang="en-US"/>
              <a:t>Click to edit Master title style</a:t>
            </a:r>
            <a:endParaRPr lang="en-GB"/>
          </a:p>
        </p:txBody>
      </p:sp>
      <p:sp>
        <p:nvSpPr>
          <p:cNvPr id="3" name="SmartArt Placeholder 2"/>
          <p:cNvSpPr>
            <a:spLocks noGrp="1"/>
          </p:cNvSpPr>
          <p:nvPr>
            <p:ph type="dgm" idx="1"/>
          </p:nvPr>
        </p:nvSpPr>
        <p:spPr>
          <a:xfrm>
            <a:off x="508194" y="937236"/>
            <a:ext cx="8127689" cy="3729770"/>
          </a:xfrm>
        </p:spPr>
        <p:txBody>
          <a:bodyPr/>
          <a:lstStyle/>
          <a:p>
            <a:pPr lvl="0"/>
            <a:endParaRPr lang="en-GB" noProof="0"/>
          </a:p>
        </p:txBody>
      </p:sp>
    </p:spTree>
    <p:extLst>
      <p:ext uri="{BB962C8B-B14F-4D97-AF65-F5344CB8AC3E}">
        <p14:creationId xmlns:p14="http://schemas.microsoft.com/office/powerpoint/2010/main" val="18181945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905"/>
            <a:ext cx="7772400" cy="1102519"/>
          </a:xfrm>
        </p:spPr>
        <p:txBody>
          <a:bodyPr/>
          <a:lstStyle/>
          <a:p>
            <a:r>
              <a:rPr lang="en-US"/>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n-US"/>
              <a:t>Click to edit Master subtitle style</a:t>
            </a:r>
            <a:endParaRPr lang="en-GB"/>
          </a:p>
        </p:txBody>
      </p:sp>
    </p:spTree>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Presentation Title">
    <p:bg>
      <p:bgPr>
        <a:solidFill>
          <a:srgbClr val="000000"/>
        </a:solidFill>
        <a:effectLst/>
      </p:bgPr>
    </p:bg>
    <p:spTree>
      <p:nvGrpSpPr>
        <p:cNvPr id="1" name=""/>
        <p:cNvGrpSpPr/>
        <p:nvPr/>
      </p:nvGrpSpPr>
      <p:grpSpPr>
        <a:xfrm>
          <a:off x="0" y="0"/>
          <a:ext cx="0" cy="0"/>
          <a:chOff x="0" y="0"/>
          <a:chExt cx="0" cy="0"/>
        </a:xfrm>
      </p:grpSpPr>
      <p:sp>
        <p:nvSpPr>
          <p:cNvPr id="89091" name="Rectangle 3"/>
          <p:cNvSpPr>
            <a:spLocks noGrp="1" noChangeArrowheads="1"/>
          </p:cNvSpPr>
          <p:nvPr>
            <p:ph type="ctrTitle"/>
          </p:nvPr>
        </p:nvSpPr>
        <p:spPr>
          <a:xfrm>
            <a:off x="560449" y="1378767"/>
            <a:ext cx="5222875" cy="307181"/>
          </a:xfrm>
        </p:spPr>
        <p:txBody>
          <a:bodyPr anchor="b"/>
          <a:lstStyle>
            <a:lvl1pPr>
              <a:lnSpc>
                <a:spcPts val="2600"/>
              </a:lnSpc>
              <a:defRPr>
                <a:solidFill>
                  <a:schemeClr val="bg1"/>
                </a:solidFill>
              </a:defRPr>
            </a:lvl1pPr>
          </a:lstStyle>
          <a:p>
            <a:r>
              <a:rPr lang="en-US"/>
              <a:t>Click to edit Master title style</a:t>
            </a:r>
            <a:endParaRPr lang="en-GB" dirty="0"/>
          </a:p>
        </p:txBody>
      </p:sp>
      <p:sp>
        <p:nvSpPr>
          <p:cNvPr id="89092" name="Rectangle 4"/>
          <p:cNvSpPr>
            <a:spLocks noGrp="1" noChangeArrowheads="1"/>
          </p:cNvSpPr>
          <p:nvPr>
            <p:ph type="subTitle" idx="1"/>
          </p:nvPr>
        </p:nvSpPr>
        <p:spPr>
          <a:xfrm>
            <a:off x="550863" y="1688392"/>
            <a:ext cx="5232400" cy="603647"/>
          </a:xfrm>
        </p:spPr>
        <p:txBody>
          <a:bodyPr/>
          <a:lstStyle>
            <a:lvl1pPr marL="0" indent="12700">
              <a:lnSpc>
                <a:spcPts val="2600"/>
              </a:lnSpc>
              <a:defRPr sz="2000">
                <a:solidFill>
                  <a:schemeClr val="bg2"/>
                </a:solidFill>
              </a:defRPr>
            </a:lvl1pPr>
          </a:lstStyle>
          <a:p>
            <a:r>
              <a:rPr lang="en-US"/>
              <a:t>Click to edit Master subtitle style</a:t>
            </a:r>
            <a:endParaRPr lang="en-GB" dirty="0"/>
          </a:p>
        </p:txBody>
      </p:sp>
      <p:sp>
        <p:nvSpPr>
          <p:cNvPr id="8" name="Rectangle 18"/>
          <p:cNvSpPr>
            <a:spLocks noGrp="1" noChangeArrowheads="1"/>
          </p:cNvSpPr>
          <p:nvPr>
            <p:ph type="dt" sz="half" idx="10"/>
          </p:nvPr>
        </p:nvSpPr>
        <p:spPr bwMode="auto">
          <a:xfrm>
            <a:off x="563613" y="4950619"/>
            <a:ext cx="1292225" cy="86916"/>
          </a:xfrm>
          <a:prstGeom prst="rect">
            <a:avLst/>
          </a:prstGeom>
          <a:ln>
            <a:miter lim="800000"/>
            <a:headEnd/>
            <a:tailEnd/>
          </a:ln>
        </p:spPr>
        <p:txBody>
          <a:bodyPr vert="horz" wrap="square" lIns="0" tIns="0" rIns="0" bIns="0" numCol="1" anchor="t" anchorCtr="0" compatLnSpc="1">
            <a:prstTxWarp prst="textNoShape">
              <a:avLst/>
            </a:prstTxWarp>
          </a:bodyPr>
          <a:lstStyle>
            <a:lvl1pPr>
              <a:defRPr sz="800" u="none">
                <a:solidFill>
                  <a:schemeClr val="bg2"/>
                </a:solidFill>
                <a:cs typeface="Arial" charset="0"/>
              </a:defRPr>
            </a:lvl1pPr>
          </a:lstStyle>
          <a:p>
            <a:pPr defTabSz="912644">
              <a:defRPr/>
            </a:pPr>
            <a:r>
              <a:rPr lang="en-US">
                <a:solidFill>
                  <a:srgbClr val="C0C0C0"/>
                </a:solidFill>
              </a:rPr>
              <a:t>Date of the presentation</a:t>
            </a:r>
            <a:endParaRPr lang="en-GB">
              <a:solidFill>
                <a:srgbClr val="C0C0C0"/>
              </a:solidFill>
            </a:endParaRPr>
          </a:p>
        </p:txBody>
      </p:sp>
      <p:pic>
        <p:nvPicPr>
          <p:cNvPr id="10" name="Picture 14" descr="Fluidity_003"/>
          <p:cNvPicPr>
            <a:picLocks noChangeAspect="1" noChangeArrowheads="1"/>
          </p:cNvPicPr>
          <p:nvPr userDrawn="1"/>
        </p:nvPicPr>
        <p:blipFill>
          <a:blip r:embed="rId2" cstate="email"/>
          <a:srcRect/>
          <a:stretch>
            <a:fillRect/>
          </a:stretch>
        </p:blipFill>
        <p:spPr bwMode="auto">
          <a:xfrm>
            <a:off x="0" y="1164438"/>
            <a:ext cx="9144000" cy="3918347"/>
          </a:xfrm>
          <a:prstGeom prst="rect">
            <a:avLst/>
          </a:prstGeom>
          <a:noFill/>
          <a:ln w="9525">
            <a:noFill/>
            <a:miter lim="800000"/>
            <a:headEnd/>
            <a:tailEnd/>
          </a:ln>
        </p:spPr>
      </p:pic>
      <p:pic>
        <p:nvPicPr>
          <p:cNvPr id="11" name="Picture 6" descr="C:\Users\Thomas\AppData\Roaming\Microsoft\Windows Photo Gallery\Desktop\KANTAR_MEDIA_logo_CMYK.jpg"/>
          <p:cNvPicPr>
            <a:picLocks noChangeAspect="1" noChangeArrowheads="1"/>
          </p:cNvPicPr>
          <p:nvPr userDrawn="1"/>
        </p:nvPicPr>
        <p:blipFill>
          <a:blip r:embed="rId3" cstate="print"/>
          <a:srcRect/>
          <a:stretch>
            <a:fillRect/>
          </a:stretch>
        </p:blipFill>
        <p:spPr bwMode="auto">
          <a:xfrm>
            <a:off x="403487" y="237803"/>
            <a:ext cx="2620137" cy="660539"/>
          </a:xfrm>
          <a:prstGeom prst="rect">
            <a:avLst/>
          </a:prstGeom>
          <a:noFill/>
        </p:spPr>
      </p:pic>
    </p:spTree>
    <p:extLst>
      <p:ext uri="{BB962C8B-B14F-4D97-AF65-F5344CB8AC3E}">
        <p14:creationId xmlns:p14="http://schemas.microsoft.com/office/powerpoint/2010/main" val="4103958752"/>
      </p:ext>
    </p:extLst>
  </p:cSld>
  <p:clrMapOvr>
    <a:masterClrMapping/>
  </p:clrMapOvr>
  <p:transition spd="slow">
    <p:fade/>
  </p:transition>
  <p:hf sldNum="0" hdr="0" ftr="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Divider Title">
    <p:bg>
      <p:bgPr>
        <a:solidFill>
          <a:srgbClr val="000000"/>
        </a:solidFill>
        <a:effectLst/>
      </p:bgPr>
    </p:bg>
    <p:spTree>
      <p:nvGrpSpPr>
        <p:cNvPr id="1" name=""/>
        <p:cNvGrpSpPr/>
        <p:nvPr/>
      </p:nvGrpSpPr>
      <p:grpSpPr>
        <a:xfrm>
          <a:off x="0" y="0"/>
          <a:ext cx="0" cy="0"/>
          <a:chOff x="0" y="0"/>
          <a:chExt cx="0" cy="0"/>
        </a:xfrm>
      </p:grpSpPr>
      <p:pic>
        <p:nvPicPr>
          <p:cNvPr id="12" name="Picture 14" descr="Fluidity_003"/>
          <p:cNvPicPr>
            <a:picLocks noChangeAspect="1" noChangeArrowheads="1"/>
          </p:cNvPicPr>
          <p:nvPr userDrawn="1"/>
        </p:nvPicPr>
        <p:blipFill>
          <a:blip r:embed="rId2" cstate="email"/>
          <a:srcRect/>
          <a:stretch>
            <a:fillRect/>
          </a:stretch>
        </p:blipFill>
        <p:spPr bwMode="auto">
          <a:xfrm>
            <a:off x="0" y="1164438"/>
            <a:ext cx="9144000" cy="3918347"/>
          </a:xfrm>
          <a:prstGeom prst="rect">
            <a:avLst/>
          </a:prstGeom>
          <a:noFill/>
          <a:ln w="9525">
            <a:noFill/>
            <a:miter lim="800000"/>
            <a:headEnd/>
            <a:tailEnd/>
          </a:ln>
        </p:spPr>
      </p:pic>
      <p:sp>
        <p:nvSpPr>
          <p:cNvPr id="9" name="Line 11"/>
          <p:cNvSpPr>
            <a:spLocks noChangeShapeType="1"/>
          </p:cNvSpPr>
          <p:nvPr userDrawn="1"/>
        </p:nvSpPr>
        <p:spPr bwMode="auto">
          <a:xfrm>
            <a:off x="561998" y="1631950"/>
            <a:ext cx="4556125" cy="0"/>
          </a:xfrm>
          <a:prstGeom prst="line">
            <a:avLst/>
          </a:prstGeom>
          <a:noFill/>
          <a:ln w="25400">
            <a:solidFill>
              <a:schemeClr val="accent1"/>
            </a:solidFill>
            <a:round/>
            <a:headEnd/>
            <a:tailEnd/>
          </a:ln>
          <a:effectLst/>
        </p:spPr>
        <p:txBody>
          <a:bodyPr lIns="91284" tIns="45642" rIns="91284" bIns="45642"/>
          <a:lstStyle/>
          <a:p>
            <a:pPr defTabSz="912644">
              <a:defRPr/>
            </a:pPr>
            <a:endParaRPr lang="fr-FR" sz="1800" u="sng">
              <a:solidFill>
                <a:srgbClr val="000000"/>
              </a:solidFill>
              <a:cs typeface="+mn-cs"/>
            </a:endParaRPr>
          </a:p>
        </p:txBody>
      </p:sp>
      <p:sp>
        <p:nvSpPr>
          <p:cNvPr id="89092" name="Rectangle 4"/>
          <p:cNvSpPr>
            <a:spLocks noGrp="1" noChangeArrowheads="1"/>
          </p:cNvSpPr>
          <p:nvPr>
            <p:ph type="subTitle" idx="1"/>
          </p:nvPr>
        </p:nvSpPr>
        <p:spPr>
          <a:xfrm>
            <a:off x="550886" y="1711591"/>
            <a:ext cx="4567237" cy="741627"/>
          </a:xfrm>
        </p:spPr>
        <p:txBody>
          <a:bodyPr/>
          <a:lstStyle>
            <a:lvl1pPr marL="0" indent="12700">
              <a:lnSpc>
                <a:spcPts val="2600"/>
              </a:lnSpc>
              <a:defRPr kumimoji="0" lang="en-GB" sz="2200" b="0" i="0" u="none" strike="noStrike" kern="0" cap="none" spc="0" normalizeH="0" baseline="0" noProof="0" dirty="0" smtClean="0">
                <a:ln>
                  <a:noFill/>
                </a:ln>
                <a:solidFill>
                  <a:schemeClr val="bg1"/>
                </a:solidFill>
                <a:effectLst/>
                <a:uLnTx/>
                <a:uFillTx/>
                <a:latin typeface="+mn-lt"/>
                <a:ea typeface="+mn-ea"/>
                <a:cs typeface="+mn-cs"/>
              </a:defRPr>
            </a:lvl1pPr>
          </a:lstStyle>
          <a:p>
            <a:pPr lvl="0"/>
            <a:r>
              <a:rPr lang="en-US"/>
              <a:t>Click to edit Master subtitle style</a:t>
            </a:r>
            <a:endParaRPr lang="en-GB" dirty="0"/>
          </a:p>
        </p:txBody>
      </p:sp>
      <p:pic>
        <p:nvPicPr>
          <p:cNvPr id="13" name="Picture 6" descr="C:\Users\Thomas\AppData\Roaming\Microsoft\Windows Photo Gallery\Desktop\KANTAR_MEDIA_logo_CMYK.jpg"/>
          <p:cNvPicPr>
            <a:picLocks noChangeAspect="1" noChangeArrowheads="1"/>
          </p:cNvPicPr>
          <p:nvPr userDrawn="1"/>
        </p:nvPicPr>
        <p:blipFill>
          <a:blip r:embed="rId3" cstate="print"/>
          <a:srcRect/>
          <a:stretch>
            <a:fillRect/>
          </a:stretch>
        </p:blipFill>
        <p:spPr bwMode="auto">
          <a:xfrm>
            <a:off x="403487" y="237803"/>
            <a:ext cx="2620137" cy="660539"/>
          </a:xfrm>
          <a:prstGeom prst="rect">
            <a:avLst/>
          </a:prstGeom>
          <a:noFill/>
        </p:spPr>
      </p:pic>
    </p:spTree>
    <p:extLst>
      <p:ext uri="{BB962C8B-B14F-4D97-AF65-F5344CB8AC3E}">
        <p14:creationId xmlns:p14="http://schemas.microsoft.com/office/powerpoint/2010/main" val="1199917817"/>
      </p:ext>
    </p:extLst>
  </p:cSld>
  <p:clrMapOvr>
    <a:masterClrMapping/>
  </p:clrMapOvr>
  <p:transition spd="slow">
    <p:fade/>
  </p:transition>
  <p:hf sldNum="0" hdr="0" ftr="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ain text slid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dirty="0"/>
          </a:p>
        </p:txBody>
      </p:sp>
      <p:sp>
        <p:nvSpPr>
          <p:cNvPr id="3" name="Espace réservé du contenu 2"/>
          <p:cNvSpPr>
            <a:spLocks noGrp="1"/>
          </p:cNvSpPr>
          <p:nvPr>
            <p:ph idx="1"/>
          </p:nvPr>
        </p:nvSpPr>
        <p:spPr/>
        <p:txBody>
          <a:bodyPr/>
          <a:lstStyle>
            <a:lvl1pPr marL="0" indent="1588">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Espace réservé du texte 6"/>
          <p:cNvSpPr>
            <a:spLocks noGrp="1"/>
          </p:cNvSpPr>
          <p:nvPr>
            <p:ph type="body" sz="quarter" idx="12"/>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5" name="Rectangle 1029"/>
          <p:cNvSpPr>
            <a:spLocks noGrp="1" noChangeArrowheads="1"/>
          </p:cNvSpPr>
          <p:nvPr>
            <p:ph type="sldNum" sz="quarter" idx="13"/>
          </p:nvPr>
        </p:nvSpPr>
        <p:spPr>
          <a:ln/>
        </p:spPr>
        <p:txBody>
          <a:bodyPr/>
          <a:lstStyle>
            <a:lvl1pPr>
              <a:defRPr/>
            </a:lvl1pPr>
          </a:lstStyle>
          <a:p>
            <a:pPr>
              <a:defRPr/>
            </a:pPr>
            <a:fld id="{2C67A3B7-0B50-4723-A998-D2662F21F5A2}" type="slidenum">
              <a:rPr lang="en-GB">
                <a:solidFill>
                  <a:srgbClr val="C0C0C0"/>
                </a:solidFill>
              </a:rPr>
              <a:pPr>
                <a:defRPr/>
              </a:pPr>
              <a:t>‹#›</a:t>
            </a:fld>
            <a:endParaRPr lang="en-GB">
              <a:solidFill>
                <a:srgbClr val="C0C0C0"/>
              </a:solidFill>
            </a:endParaRPr>
          </a:p>
        </p:txBody>
      </p:sp>
      <p:sp>
        <p:nvSpPr>
          <p:cNvPr id="6" name="Rectangle 1030"/>
          <p:cNvSpPr>
            <a:spLocks noGrp="1" noChangeArrowheads="1"/>
          </p:cNvSpPr>
          <p:nvPr>
            <p:ph type="ftr" sz="quarter" idx="14"/>
          </p:nvPr>
        </p:nvSpPr>
        <p:spPr>
          <a:xfrm>
            <a:off x="6163373" y="4943104"/>
            <a:ext cx="1961531" cy="93240"/>
          </a:xfrm>
          <a:ln/>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3646414235"/>
      </p:ext>
    </p:extLst>
  </p:cSld>
  <p:clrMapOvr>
    <a:masterClrMapping/>
  </p:clrMapOvr>
  <p:transition spd="slow">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re 1"/>
          <p:cNvSpPr>
            <a:spLocks noGrp="1"/>
          </p:cNvSpPr>
          <p:nvPr>
            <p:ph type="title"/>
          </p:nvPr>
        </p:nvSpPr>
        <p:spPr>
          <a:xfrm>
            <a:off x="542928" y="350044"/>
            <a:ext cx="8039100" cy="223838"/>
          </a:xfrm>
        </p:spPr>
        <p:txBody>
          <a:bodyPr/>
          <a:lstStyle/>
          <a:p>
            <a:r>
              <a:rPr lang="en-US"/>
              <a:t>Click to edit Master title style</a:t>
            </a:r>
            <a:endParaRPr lang="fr-FR" dirty="0"/>
          </a:p>
        </p:txBody>
      </p:sp>
      <p:sp>
        <p:nvSpPr>
          <p:cNvPr id="3" name="Espace réservé du contenu 2"/>
          <p:cNvSpPr>
            <a:spLocks noGrp="1"/>
          </p:cNvSpPr>
          <p:nvPr>
            <p:ph idx="1"/>
          </p:nvPr>
        </p:nvSpPr>
        <p:spPr>
          <a:xfrm>
            <a:off x="557214" y="1214156"/>
            <a:ext cx="2520000" cy="3194100"/>
          </a:xfrm>
        </p:spPr>
        <p:txBody>
          <a:bodyPr/>
          <a:lstStyle>
            <a:lvl1pPr marL="0" indent="1588">
              <a:lnSpc>
                <a:spcPts val="2000"/>
              </a:lnSpc>
              <a:defRPr sz="1400" b="0"/>
            </a:lvl1pPr>
            <a:lvl2pPr marL="3175" indent="-3175">
              <a:lnSpc>
                <a:spcPts val="2000"/>
              </a:lnSpc>
              <a:spcBef>
                <a:spcPts val="2000"/>
              </a:spcBef>
              <a:buNone/>
              <a:defRPr sz="1400"/>
            </a:lvl2pPr>
            <a:lvl3pPr marL="175864" indent="-175864">
              <a:lnSpc>
                <a:spcPts val="2000"/>
              </a:lnSpc>
              <a:buFont typeface="Arial" pitchFamily="34" charset="0"/>
              <a:buChar char="–"/>
              <a:defRPr/>
            </a:lvl3pPr>
            <a:lvl4pPr marL="175864" indent="0">
              <a:lnSpc>
                <a:spcPts val="1500"/>
              </a:lnSpc>
              <a:buFontTx/>
              <a:buNone/>
              <a:defRPr sz="1100" b="1"/>
            </a:lvl4pPr>
            <a:lvl5pPr marL="175864" indent="0">
              <a:lnSpc>
                <a:spcPts val="1500"/>
              </a:lnSpc>
              <a:defRPr sz="11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Espace réservé du texte 6"/>
          <p:cNvSpPr>
            <a:spLocks noGrp="1"/>
          </p:cNvSpPr>
          <p:nvPr>
            <p:ph type="body" sz="quarter" idx="12"/>
          </p:nvPr>
        </p:nvSpPr>
        <p:spPr>
          <a:xfrm>
            <a:off x="541343" y="618199"/>
            <a:ext cx="8040687" cy="270272"/>
          </a:xfrm>
        </p:spPr>
        <p:txBody>
          <a:bodyPr/>
          <a:lstStyle>
            <a:lvl1pPr>
              <a:defRPr sz="2000">
                <a:solidFill>
                  <a:schemeClr val="accent1"/>
                </a:solidFill>
              </a:defRPr>
            </a:lvl1pPr>
          </a:lstStyle>
          <a:p>
            <a:pPr lvl="0"/>
            <a:r>
              <a:rPr lang="en-US"/>
              <a:t>Click to edit Master text styles</a:t>
            </a:r>
          </a:p>
        </p:txBody>
      </p:sp>
      <p:sp>
        <p:nvSpPr>
          <p:cNvPr id="10" name="Rectangle 1029"/>
          <p:cNvSpPr>
            <a:spLocks noGrp="1" noChangeArrowheads="1"/>
          </p:cNvSpPr>
          <p:nvPr>
            <p:ph type="sldNum" sz="quarter" idx="15"/>
          </p:nvPr>
        </p:nvSpPr>
        <p:spPr>
          <a:ln/>
        </p:spPr>
        <p:txBody>
          <a:bodyPr/>
          <a:lstStyle>
            <a:lvl1pPr>
              <a:defRPr/>
            </a:lvl1pPr>
          </a:lstStyle>
          <a:p>
            <a:pPr>
              <a:defRPr/>
            </a:pPr>
            <a:fld id="{3E6D3903-C361-4AEA-9598-8E8CD2917B90}" type="slidenum">
              <a:rPr lang="en-GB">
                <a:solidFill>
                  <a:srgbClr val="C0C0C0"/>
                </a:solidFill>
              </a:rPr>
              <a:pPr>
                <a:defRPr/>
              </a:pPr>
              <a:t>‹#›</a:t>
            </a:fld>
            <a:endParaRPr lang="en-GB">
              <a:solidFill>
                <a:srgbClr val="C0C0C0"/>
              </a:solidFill>
            </a:endParaRPr>
          </a:p>
        </p:txBody>
      </p:sp>
      <p:sp>
        <p:nvSpPr>
          <p:cNvPr id="11" name="Rectangle 1030"/>
          <p:cNvSpPr>
            <a:spLocks noGrp="1" noChangeArrowheads="1"/>
          </p:cNvSpPr>
          <p:nvPr>
            <p:ph type="ftr" sz="quarter" idx="16"/>
          </p:nvPr>
        </p:nvSpPr>
        <p:spPr>
          <a:ln/>
        </p:spPr>
        <p:txBody>
          <a:bodyPr/>
          <a:lstStyle>
            <a:lvl1pPr>
              <a:defRPr/>
            </a:lvl1pPr>
          </a:lstStyle>
          <a:p>
            <a:pPr>
              <a:defRPr/>
            </a:pPr>
            <a:r>
              <a:rPr lang="en-GB">
                <a:solidFill>
                  <a:srgbClr val="C0C0C0"/>
                </a:solidFill>
              </a:rPr>
              <a:t>Title of the presentation</a:t>
            </a:r>
          </a:p>
        </p:txBody>
      </p:sp>
      <p:sp>
        <p:nvSpPr>
          <p:cNvPr id="12" name="Espace réservé du contenu 2"/>
          <p:cNvSpPr>
            <a:spLocks noGrp="1"/>
          </p:cNvSpPr>
          <p:nvPr>
            <p:ph idx="17"/>
          </p:nvPr>
        </p:nvSpPr>
        <p:spPr>
          <a:xfrm>
            <a:off x="3307387" y="1214156"/>
            <a:ext cx="2520000" cy="3194100"/>
          </a:xfrm>
        </p:spPr>
        <p:txBody>
          <a:bodyPr/>
          <a:lstStyle>
            <a:lvl1pPr marL="0" indent="1588">
              <a:lnSpc>
                <a:spcPts val="2000"/>
              </a:lnSpc>
              <a:defRPr sz="1400" b="0"/>
            </a:lvl1pPr>
            <a:lvl2pPr marL="3175" indent="-3175">
              <a:lnSpc>
                <a:spcPts val="2000"/>
              </a:lnSpc>
              <a:spcBef>
                <a:spcPts val="2000"/>
              </a:spcBef>
              <a:buNone/>
              <a:defRPr sz="1400"/>
            </a:lvl2pPr>
            <a:lvl3pPr marL="175864" indent="-175864">
              <a:lnSpc>
                <a:spcPts val="2000"/>
              </a:lnSpc>
              <a:buFont typeface="Arial" pitchFamily="34" charset="0"/>
              <a:buChar char="–"/>
              <a:defRPr/>
            </a:lvl3pPr>
            <a:lvl4pPr marL="175864" indent="0">
              <a:lnSpc>
                <a:spcPts val="1500"/>
              </a:lnSpc>
              <a:buFontTx/>
              <a:buNone/>
              <a:defRPr sz="1100" b="1"/>
            </a:lvl4pPr>
            <a:lvl5pPr marL="175864" indent="0">
              <a:lnSpc>
                <a:spcPts val="1500"/>
              </a:lnSpc>
              <a:defRPr sz="11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3" name="Espace réservé du contenu 2"/>
          <p:cNvSpPr>
            <a:spLocks noGrp="1"/>
          </p:cNvSpPr>
          <p:nvPr>
            <p:ph idx="18"/>
          </p:nvPr>
        </p:nvSpPr>
        <p:spPr>
          <a:xfrm>
            <a:off x="6049920" y="1214156"/>
            <a:ext cx="2520000" cy="3194100"/>
          </a:xfrm>
        </p:spPr>
        <p:txBody>
          <a:bodyPr/>
          <a:lstStyle>
            <a:lvl1pPr marL="0" indent="1588">
              <a:lnSpc>
                <a:spcPts val="2000"/>
              </a:lnSpc>
              <a:defRPr sz="1400" b="0"/>
            </a:lvl1pPr>
            <a:lvl2pPr marL="3175" indent="-3175">
              <a:lnSpc>
                <a:spcPts val="2000"/>
              </a:lnSpc>
              <a:spcBef>
                <a:spcPts val="2000"/>
              </a:spcBef>
              <a:buNone/>
              <a:defRPr sz="1400"/>
            </a:lvl2pPr>
            <a:lvl3pPr marL="175864" indent="-175864">
              <a:lnSpc>
                <a:spcPts val="2000"/>
              </a:lnSpc>
              <a:buFont typeface="Arial" pitchFamily="34" charset="0"/>
              <a:buChar char="–"/>
              <a:defRPr/>
            </a:lvl3pPr>
            <a:lvl4pPr marL="175864" indent="0">
              <a:lnSpc>
                <a:spcPts val="1600"/>
              </a:lnSpc>
              <a:buFontTx/>
              <a:buNone/>
              <a:defRPr sz="1100" b="1"/>
            </a:lvl4pPr>
            <a:lvl5pPr marL="175864" indent="0">
              <a:lnSpc>
                <a:spcPts val="1600"/>
              </a:lnSpc>
              <a:defRPr sz="11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486919926"/>
      </p:ext>
    </p:extLst>
  </p:cSld>
  <p:clrMapOvr>
    <a:masterClrMapping/>
  </p:clrMapOvr>
  <p:transition spd="slow">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cus text">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dirty="0"/>
          </a:p>
        </p:txBody>
      </p:sp>
      <p:sp>
        <p:nvSpPr>
          <p:cNvPr id="3" name="Espace réservé du contenu 2"/>
          <p:cNvSpPr>
            <a:spLocks noGrp="1"/>
          </p:cNvSpPr>
          <p:nvPr>
            <p:ph idx="1"/>
          </p:nvPr>
        </p:nvSpPr>
        <p:spPr>
          <a:xfrm>
            <a:off x="557272" y="1499443"/>
            <a:ext cx="8023225" cy="1412978"/>
          </a:xfrm>
        </p:spPr>
        <p:txBody>
          <a:bodyPr/>
          <a:lstStyle>
            <a:lvl1pPr marL="0" indent="1588">
              <a:lnSpc>
                <a:spcPts val="2900"/>
              </a:lnSpc>
              <a:defRPr sz="2800" b="1">
                <a:solidFill>
                  <a:schemeClr val="accent1"/>
                </a:solidFill>
              </a:defRPr>
            </a:lvl1pPr>
          </a:lstStyle>
          <a:p>
            <a:pPr lvl="0"/>
            <a:r>
              <a:rPr lang="en-US"/>
              <a:t>Click to edit Master text styles</a:t>
            </a:r>
          </a:p>
        </p:txBody>
      </p:sp>
      <p:sp>
        <p:nvSpPr>
          <p:cNvPr id="7" name="Espace réservé du texte 6"/>
          <p:cNvSpPr>
            <a:spLocks noGrp="1"/>
          </p:cNvSpPr>
          <p:nvPr>
            <p:ph type="body" sz="quarter" idx="12"/>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pic>
        <p:nvPicPr>
          <p:cNvPr id="12" name="Picture 14" descr="Fluidity_003"/>
          <p:cNvPicPr>
            <a:picLocks noChangeAspect="1" noChangeArrowheads="1"/>
          </p:cNvPicPr>
          <p:nvPr userDrawn="1"/>
        </p:nvPicPr>
        <p:blipFill>
          <a:blip r:embed="rId2" cstate="email"/>
          <a:srcRect/>
          <a:stretch>
            <a:fillRect/>
          </a:stretch>
        </p:blipFill>
        <p:spPr bwMode="auto">
          <a:xfrm>
            <a:off x="0" y="2296732"/>
            <a:ext cx="9144000" cy="2846851"/>
          </a:xfrm>
          <a:prstGeom prst="rect">
            <a:avLst/>
          </a:prstGeom>
          <a:noFill/>
          <a:ln w="9525">
            <a:noFill/>
            <a:miter lim="800000"/>
            <a:headEnd/>
            <a:tailEnd/>
          </a:ln>
        </p:spPr>
      </p:pic>
      <p:sp>
        <p:nvSpPr>
          <p:cNvPr id="10" name="Rectangle 1029"/>
          <p:cNvSpPr>
            <a:spLocks noGrp="1" noChangeArrowheads="1"/>
          </p:cNvSpPr>
          <p:nvPr>
            <p:ph type="sldNum" sz="quarter" idx="13"/>
          </p:nvPr>
        </p:nvSpPr>
        <p:spPr>
          <a:solidFill>
            <a:schemeClr val="tx1">
              <a:alpha val="67000"/>
            </a:schemeClr>
          </a:solidFill>
        </p:spPr>
        <p:txBody>
          <a:bodyPr/>
          <a:lstStyle>
            <a:lvl1pPr>
              <a:defRPr/>
            </a:lvl1pPr>
          </a:lstStyle>
          <a:p>
            <a:pPr>
              <a:defRPr/>
            </a:pPr>
            <a:fld id="{BEB804CA-36F9-498D-8CAB-16793DD9AA7D}" type="slidenum">
              <a:rPr lang="en-GB">
                <a:solidFill>
                  <a:srgbClr val="C0C0C0"/>
                </a:solidFill>
              </a:rPr>
              <a:pPr>
                <a:defRPr/>
              </a:pPr>
              <a:t>‹#›</a:t>
            </a:fld>
            <a:endParaRPr lang="en-GB">
              <a:solidFill>
                <a:srgbClr val="C0C0C0"/>
              </a:solidFill>
            </a:endParaRPr>
          </a:p>
        </p:txBody>
      </p:sp>
      <p:sp>
        <p:nvSpPr>
          <p:cNvPr id="11" name="Rectangle 1030"/>
          <p:cNvSpPr>
            <a:spLocks noGrp="1" noChangeArrowheads="1"/>
          </p:cNvSpPr>
          <p:nvPr>
            <p:ph type="ftr" sz="quarter" idx="14"/>
          </p:nvPr>
        </p:nvSpPr>
        <p:spPr>
          <a:xfrm>
            <a:off x="2001330" y="4955884"/>
            <a:ext cx="6123497" cy="80468"/>
          </a:xfrm>
          <a:solidFill>
            <a:schemeClr val="tx1">
              <a:alpha val="67000"/>
            </a:schemeClr>
          </a:solidFill>
        </p:spPr>
        <p:txBody>
          <a:bodyPr/>
          <a:lstStyle>
            <a:lvl1pPr>
              <a:defRPr/>
            </a:lvl1pPr>
          </a:lstStyle>
          <a:p>
            <a:pPr>
              <a:defRPr/>
            </a:pPr>
            <a:r>
              <a:rPr lang="en-GB" dirty="0">
                <a:solidFill>
                  <a:srgbClr val="C0C0C0"/>
                </a:solidFill>
              </a:rPr>
              <a:t>Title of the presentation</a:t>
            </a:r>
          </a:p>
        </p:txBody>
      </p:sp>
    </p:spTree>
    <p:extLst>
      <p:ext uri="{BB962C8B-B14F-4D97-AF65-F5344CB8AC3E}">
        <p14:creationId xmlns:p14="http://schemas.microsoft.com/office/powerpoint/2010/main" val="3664323355"/>
      </p:ext>
    </p:extLst>
  </p:cSld>
  <p:clrMapOvr>
    <a:masterClrMapping/>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One  large graph">
    <p:spTree>
      <p:nvGrpSpPr>
        <p:cNvPr id="1" name=""/>
        <p:cNvGrpSpPr/>
        <p:nvPr/>
      </p:nvGrpSpPr>
      <p:grpSpPr>
        <a:xfrm>
          <a:off x="0" y="0"/>
          <a:ext cx="0" cy="0"/>
          <a:chOff x="0" y="0"/>
          <a:chExt cx="0" cy="0"/>
        </a:xfrm>
      </p:grpSpPr>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graphique 2"/>
          <p:cNvSpPr>
            <a:spLocks noGrp="1"/>
          </p:cNvSpPr>
          <p:nvPr>
            <p:ph type="chart" idx="1"/>
          </p:nvPr>
        </p:nvSpPr>
        <p:spPr>
          <a:xfrm>
            <a:off x="557272" y="1214441"/>
            <a:ext cx="8023225" cy="3201591"/>
          </a:xfrm>
        </p:spPr>
        <p:txBody>
          <a:bodyPr/>
          <a:lstStyle/>
          <a:p>
            <a:pPr lvl="0"/>
            <a:r>
              <a:rPr lang="en-US" noProof="0"/>
              <a:t>Click icon to add chart</a:t>
            </a:r>
            <a:endParaRPr lang="fr-FR" noProof="0"/>
          </a:p>
        </p:txBody>
      </p:sp>
      <p:sp>
        <p:nvSpPr>
          <p:cNvPr id="6" name="Espace réservé du texte 6"/>
          <p:cNvSpPr>
            <a:spLocks noGrp="1"/>
          </p:cNvSpPr>
          <p:nvPr>
            <p:ph type="body" sz="quarter" idx="12"/>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7" name="Rectangle 1029"/>
          <p:cNvSpPr>
            <a:spLocks noGrp="1" noChangeArrowheads="1"/>
          </p:cNvSpPr>
          <p:nvPr>
            <p:ph type="sldNum" sz="quarter" idx="13"/>
          </p:nvPr>
        </p:nvSpPr>
        <p:spPr/>
        <p:txBody>
          <a:bodyPr/>
          <a:lstStyle>
            <a:lvl1pPr>
              <a:defRPr/>
            </a:lvl1pPr>
          </a:lstStyle>
          <a:p>
            <a:pPr>
              <a:defRPr/>
            </a:pPr>
            <a:fld id="{78CD9BE7-8D06-46E1-804E-61286ABEB768}" type="slidenum">
              <a:rPr lang="en-GB">
                <a:solidFill>
                  <a:srgbClr val="C0C0C0"/>
                </a:solidFill>
              </a:rPr>
              <a:pPr>
                <a:defRPr/>
              </a:pPr>
              <a:t>‹#›</a:t>
            </a:fld>
            <a:endParaRPr lang="en-GB">
              <a:solidFill>
                <a:srgbClr val="C0C0C0"/>
              </a:solidFill>
            </a:endParaRPr>
          </a:p>
        </p:txBody>
      </p:sp>
      <p:sp>
        <p:nvSpPr>
          <p:cNvPr id="8" name="Rectangle 1030"/>
          <p:cNvSpPr>
            <a:spLocks noGrp="1" noChangeArrowheads="1"/>
          </p:cNvSpPr>
          <p:nvPr>
            <p:ph type="ftr" sz="quarter" idx="14"/>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1098896013"/>
      </p:ext>
    </p:extLst>
  </p:cSld>
  <p:clrMapOvr>
    <a:masterClrMapping/>
  </p:clrMapOvr>
  <p:transition spd="slow">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graphs">
    <p:spTree>
      <p:nvGrpSpPr>
        <p:cNvPr id="1" name=""/>
        <p:cNvGrpSpPr/>
        <p:nvPr/>
      </p:nvGrpSpPr>
      <p:grpSpPr>
        <a:xfrm>
          <a:off x="0" y="0"/>
          <a:ext cx="0" cy="0"/>
          <a:chOff x="0" y="0"/>
          <a:chExt cx="0" cy="0"/>
        </a:xfrm>
      </p:grpSpPr>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8" name="Espace réservé du graphique 7"/>
          <p:cNvSpPr>
            <a:spLocks noGrp="1"/>
          </p:cNvSpPr>
          <p:nvPr>
            <p:ph type="chart" sz="quarter" idx="12"/>
          </p:nvPr>
        </p:nvSpPr>
        <p:spPr>
          <a:xfrm>
            <a:off x="4686308" y="1650208"/>
            <a:ext cx="3895725" cy="2562566"/>
          </a:xfrm>
        </p:spPr>
        <p:txBody>
          <a:bodyPr/>
          <a:lstStyle/>
          <a:p>
            <a:pPr lvl="0"/>
            <a:r>
              <a:rPr lang="en-US" noProof="0"/>
              <a:t>Click icon to add chart</a:t>
            </a:r>
            <a:endParaRPr lang="fr-FR" noProof="0"/>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11" name="Espace réservé du graphique 7"/>
          <p:cNvSpPr>
            <a:spLocks noGrp="1"/>
          </p:cNvSpPr>
          <p:nvPr>
            <p:ph type="chart" sz="quarter" idx="14"/>
          </p:nvPr>
        </p:nvSpPr>
        <p:spPr>
          <a:xfrm>
            <a:off x="526358" y="1650208"/>
            <a:ext cx="3895725" cy="2562566"/>
          </a:xfrm>
        </p:spPr>
        <p:txBody>
          <a:bodyPr/>
          <a:lstStyle/>
          <a:p>
            <a:pPr lvl="0"/>
            <a:r>
              <a:rPr lang="en-US" noProof="0"/>
              <a:t>Click icon to add chart</a:t>
            </a:r>
            <a:endParaRPr lang="fr-FR" noProof="0"/>
          </a:p>
        </p:txBody>
      </p:sp>
      <p:sp>
        <p:nvSpPr>
          <p:cNvPr id="7" name="Rectangle 1029"/>
          <p:cNvSpPr>
            <a:spLocks noGrp="1" noChangeArrowheads="1"/>
          </p:cNvSpPr>
          <p:nvPr>
            <p:ph type="sldNum" sz="quarter" idx="15"/>
          </p:nvPr>
        </p:nvSpPr>
        <p:spPr/>
        <p:txBody>
          <a:bodyPr/>
          <a:lstStyle>
            <a:lvl1pPr>
              <a:defRPr/>
            </a:lvl1pPr>
          </a:lstStyle>
          <a:p>
            <a:pPr>
              <a:defRPr/>
            </a:pPr>
            <a:fld id="{B16C3B68-31BC-4688-A6C1-E0F09ED34F38}" type="slidenum">
              <a:rPr lang="en-GB">
                <a:solidFill>
                  <a:srgbClr val="C0C0C0"/>
                </a:solidFill>
              </a:rPr>
              <a:pPr>
                <a:defRPr/>
              </a:pPr>
              <a:t>‹#›</a:t>
            </a:fld>
            <a:endParaRPr lang="en-GB">
              <a:solidFill>
                <a:srgbClr val="C0C0C0"/>
              </a:solidFill>
            </a:endParaRPr>
          </a:p>
        </p:txBody>
      </p:sp>
      <p:sp>
        <p:nvSpPr>
          <p:cNvPr id="10" name="Rectangle 1030"/>
          <p:cNvSpPr>
            <a:spLocks noGrp="1" noChangeArrowheads="1"/>
          </p:cNvSpPr>
          <p:nvPr>
            <p:ph type="ftr" sz="quarter" idx="16"/>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183076617"/>
      </p:ext>
    </p:extLst>
  </p:cSld>
  <p:clrMapOvr>
    <a:masterClrMapping/>
  </p:clrMapOvr>
  <p:transition spd="slow">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650212"/>
            <a:ext cx="3935412" cy="2765822"/>
          </a:xfrm>
        </p:spPr>
        <p:txBody>
          <a:bodyPr/>
          <a:lstStyle>
            <a:lvl1pPr marL="0" indent="1588">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8" name="Espace réservé du graphique 7"/>
          <p:cNvSpPr>
            <a:spLocks noGrp="1"/>
          </p:cNvSpPr>
          <p:nvPr>
            <p:ph type="chart" sz="quarter" idx="12"/>
          </p:nvPr>
        </p:nvSpPr>
        <p:spPr>
          <a:xfrm>
            <a:off x="4686308" y="1650208"/>
            <a:ext cx="3895725" cy="2562566"/>
          </a:xfrm>
        </p:spPr>
        <p:txBody>
          <a:bodyPr/>
          <a:lstStyle/>
          <a:p>
            <a:pPr lvl="0"/>
            <a:r>
              <a:rPr lang="en-US" noProof="0"/>
              <a:t>Click icon to add chart</a:t>
            </a:r>
            <a:endParaRPr lang="fr-FR" noProof="0"/>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7" name="Rectangle 1029"/>
          <p:cNvSpPr>
            <a:spLocks noGrp="1" noChangeArrowheads="1"/>
          </p:cNvSpPr>
          <p:nvPr>
            <p:ph type="sldNum" sz="quarter" idx="14"/>
          </p:nvPr>
        </p:nvSpPr>
        <p:spPr/>
        <p:txBody>
          <a:bodyPr/>
          <a:lstStyle>
            <a:lvl1pPr>
              <a:defRPr/>
            </a:lvl1pPr>
          </a:lstStyle>
          <a:p>
            <a:pPr>
              <a:defRPr/>
            </a:pPr>
            <a:fld id="{7CF0DC19-3256-4E21-AA54-B85BDD72283E}" type="slidenum">
              <a:rPr lang="en-GB">
                <a:solidFill>
                  <a:srgbClr val="C0C0C0"/>
                </a:solidFill>
              </a:rPr>
              <a:pPr>
                <a:defRPr/>
              </a:pPr>
              <a:t>‹#›</a:t>
            </a:fld>
            <a:endParaRPr lang="en-GB">
              <a:solidFill>
                <a:srgbClr val="C0C0C0"/>
              </a:solidFill>
            </a:endParaRPr>
          </a:p>
        </p:txBody>
      </p:sp>
      <p:sp>
        <p:nvSpPr>
          <p:cNvPr id="10" name="Rectangle 1030"/>
          <p:cNvSpPr>
            <a:spLocks noGrp="1" noChangeArrowheads="1"/>
          </p:cNvSpPr>
          <p:nvPr>
            <p:ph type="ftr" sz="quarter" idx="15"/>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817218463"/>
      </p:ext>
    </p:extLst>
  </p:cSld>
  <p:clrMapOvr>
    <a:masterClrMapping/>
  </p:clrMapOvr>
  <p:transition spd="slow">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xt with header and graph">
    <p:spTree>
      <p:nvGrpSpPr>
        <p:cNvPr id="1" name=""/>
        <p:cNvGrpSpPr/>
        <p:nvPr/>
      </p:nvGrpSpPr>
      <p:grpSpPr>
        <a:xfrm>
          <a:off x="0" y="0"/>
          <a:ext cx="0" cy="0"/>
          <a:chOff x="0" y="0"/>
          <a:chExt cx="0" cy="0"/>
        </a:xfrm>
      </p:grpSpPr>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97"/>
            <a:ext cx="3935412" cy="3194447"/>
          </a:xfrm>
        </p:spPr>
        <p:txBody>
          <a:bodyPr/>
          <a:lstStyle>
            <a:lvl1pPr marL="0" indent="1588">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8" name="Espace réservé du graphique 7"/>
          <p:cNvSpPr>
            <a:spLocks noGrp="1"/>
          </p:cNvSpPr>
          <p:nvPr>
            <p:ph type="chart" sz="quarter" idx="12"/>
          </p:nvPr>
        </p:nvSpPr>
        <p:spPr>
          <a:xfrm>
            <a:off x="4686308" y="1221594"/>
            <a:ext cx="3895725" cy="2991191"/>
          </a:xfrm>
        </p:spPr>
        <p:txBody>
          <a:bodyPr/>
          <a:lstStyle/>
          <a:p>
            <a:pPr lvl="0"/>
            <a:r>
              <a:rPr lang="en-US" noProof="0"/>
              <a:t>Click icon to add chart</a:t>
            </a:r>
            <a:endParaRPr lang="fr-FR" noProof="0"/>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7" name="Rectangle 1029"/>
          <p:cNvSpPr>
            <a:spLocks noGrp="1" noChangeArrowheads="1"/>
          </p:cNvSpPr>
          <p:nvPr>
            <p:ph type="sldNum" sz="quarter" idx="14"/>
          </p:nvPr>
        </p:nvSpPr>
        <p:spPr/>
        <p:txBody>
          <a:bodyPr/>
          <a:lstStyle>
            <a:lvl1pPr>
              <a:defRPr/>
            </a:lvl1pPr>
          </a:lstStyle>
          <a:p>
            <a:pPr>
              <a:defRPr/>
            </a:pPr>
            <a:fld id="{7CF0DC19-3256-4E21-AA54-B85BDD72283E}" type="slidenum">
              <a:rPr lang="en-GB">
                <a:solidFill>
                  <a:srgbClr val="C0C0C0"/>
                </a:solidFill>
              </a:rPr>
              <a:pPr>
                <a:defRPr/>
              </a:pPr>
              <a:t>‹#›</a:t>
            </a:fld>
            <a:endParaRPr lang="en-GB">
              <a:solidFill>
                <a:srgbClr val="C0C0C0"/>
              </a:solidFill>
            </a:endParaRPr>
          </a:p>
        </p:txBody>
      </p:sp>
      <p:sp>
        <p:nvSpPr>
          <p:cNvPr id="10" name="Rectangle 1030"/>
          <p:cNvSpPr>
            <a:spLocks noGrp="1" noChangeArrowheads="1"/>
          </p:cNvSpPr>
          <p:nvPr>
            <p:ph type="ftr" sz="quarter" idx="15"/>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3298625343"/>
      </p:ext>
    </p:extLst>
  </p:cSld>
  <p:clrMapOvr>
    <a:masterClrMapping/>
  </p:clrMapOvr>
  <p:transition spd="slow">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with header and picture">
    <p:spTree>
      <p:nvGrpSpPr>
        <p:cNvPr id="1" name=""/>
        <p:cNvGrpSpPr/>
        <p:nvPr/>
      </p:nvGrpSpPr>
      <p:grpSpPr>
        <a:xfrm>
          <a:off x="0" y="0"/>
          <a:ext cx="0" cy="0"/>
          <a:chOff x="0" y="0"/>
          <a:chExt cx="0" cy="0"/>
        </a:xfrm>
      </p:grpSpPr>
      <p:sp>
        <p:nvSpPr>
          <p:cNvPr id="3078" name="Freeform 6"/>
          <p:cNvSpPr>
            <a:spLocks noEditPoints="1"/>
          </p:cNvSpPr>
          <p:nvPr userDrawn="1"/>
        </p:nvSpPr>
        <p:spPr bwMode="auto">
          <a:xfrm>
            <a:off x="5434999" y="735296"/>
            <a:ext cx="3379787" cy="2792016"/>
          </a:xfrm>
          <a:custGeom>
            <a:avLst/>
            <a:gdLst/>
            <a:ahLst/>
            <a:cxnLst>
              <a:cxn ang="0">
                <a:pos x="8675" y="1568"/>
              </a:cxn>
              <a:cxn ang="0">
                <a:pos x="5553" y="1003"/>
              </a:cxn>
              <a:cxn ang="0">
                <a:pos x="5270" y="707"/>
              </a:cxn>
              <a:cxn ang="0">
                <a:pos x="6160" y="325"/>
              </a:cxn>
              <a:cxn ang="0">
                <a:pos x="6005" y="481"/>
              </a:cxn>
              <a:cxn ang="0">
                <a:pos x="2402" y="410"/>
              </a:cxn>
              <a:cxn ang="0">
                <a:pos x="2699" y="452"/>
              </a:cxn>
              <a:cxn ang="0">
                <a:pos x="2558" y="311"/>
              </a:cxn>
              <a:cxn ang="0">
                <a:pos x="3038" y="99"/>
              </a:cxn>
              <a:cxn ang="0">
                <a:pos x="2939" y="198"/>
              </a:cxn>
              <a:cxn ang="0">
                <a:pos x="4154" y="650"/>
              </a:cxn>
              <a:cxn ang="0">
                <a:pos x="4479" y="608"/>
              </a:cxn>
              <a:cxn ang="0">
                <a:pos x="4366" y="509"/>
              </a:cxn>
              <a:cxn ang="0">
                <a:pos x="8420" y="2641"/>
              </a:cxn>
              <a:cxn ang="0">
                <a:pos x="8548" y="2514"/>
              </a:cxn>
              <a:cxn ang="0">
                <a:pos x="1554" y="509"/>
              </a:cxn>
              <a:cxn ang="0">
                <a:pos x="1766" y="523"/>
              </a:cxn>
              <a:cxn ang="0">
                <a:pos x="1682" y="438"/>
              </a:cxn>
              <a:cxn ang="0">
                <a:pos x="8406" y="1173"/>
              </a:cxn>
              <a:cxn ang="0">
                <a:pos x="8322" y="1271"/>
              </a:cxn>
              <a:cxn ang="0">
                <a:pos x="3829" y="99"/>
              </a:cxn>
              <a:cxn ang="0">
                <a:pos x="6753" y="947"/>
              </a:cxn>
              <a:cxn ang="0">
                <a:pos x="6612" y="791"/>
              </a:cxn>
              <a:cxn ang="0">
                <a:pos x="8081" y="834"/>
              </a:cxn>
              <a:cxn ang="0">
                <a:pos x="7912" y="1003"/>
              </a:cxn>
              <a:cxn ang="0">
                <a:pos x="8110" y="551"/>
              </a:cxn>
              <a:cxn ang="0">
                <a:pos x="8562" y="1893"/>
              </a:cxn>
              <a:cxn ang="0">
                <a:pos x="8011" y="1314"/>
              </a:cxn>
              <a:cxn ang="0">
                <a:pos x="7601" y="1568"/>
              </a:cxn>
              <a:cxn ang="0">
                <a:pos x="7544" y="1469"/>
              </a:cxn>
              <a:cxn ang="0">
                <a:pos x="7248" y="1173"/>
              </a:cxn>
              <a:cxn ang="0">
                <a:pos x="6697" y="1215"/>
              </a:cxn>
              <a:cxn ang="0">
                <a:pos x="6188" y="989"/>
              </a:cxn>
              <a:cxn ang="0">
                <a:pos x="5835" y="1173"/>
              </a:cxn>
              <a:cxn ang="0">
                <a:pos x="5383" y="1187"/>
              </a:cxn>
              <a:cxn ang="0">
                <a:pos x="4776" y="848"/>
              </a:cxn>
              <a:cxn ang="0">
                <a:pos x="4507" y="1045"/>
              </a:cxn>
              <a:cxn ang="0">
                <a:pos x="3984" y="1257"/>
              </a:cxn>
              <a:cxn ang="0">
                <a:pos x="3363" y="1003"/>
              </a:cxn>
              <a:cxn ang="0">
                <a:pos x="3448" y="848"/>
              </a:cxn>
              <a:cxn ang="0">
                <a:pos x="3744" y="834"/>
              </a:cxn>
              <a:cxn ang="0">
                <a:pos x="3448" y="297"/>
              </a:cxn>
              <a:cxn ang="0">
                <a:pos x="2967" y="594"/>
              </a:cxn>
              <a:cxn ang="0">
                <a:pos x="2374" y="1017"/>
              </a:cxn>
              <a:cxn ang="0">
                <a:pos x="2063" y="678"/>
              </a:cxn>
              <a:cxn ang="0">
                <a:pos x="1922" y="1300"/>
              </a:cxn>
              <a:cxn ang="0">
                <a:pos x="1526" y="1017"/>
              </a:cxn>
              <a:cxn ang="0">
                <a:pos x="947" y="1045"/>
              </a:cxn>
              <a:cxn ang="0">
                <a:pos x="509" y="1596"/>
              </a:cxn>
              <a:cxn ang="0">
                <a:pos x="679" y="9772"/>
              </a:cxn>
              <a:cxn ang="0">
                <a:pos x="8279" y="3093"/>
              </a:cxn>
              <a:cxn ang="0">
                <a:pos x="8307" y="2599"/>
              </a:cxn>
              <a:cxn ang="0">
                <a:pos x="8420" y="2133"/>
              </a:cxn>
              <a:cxn ang="0">
                <a:pos x="8675" y="2034"/>
              </a:cxn>
              <a:cxn ang="0">
                <a:pos x="5849" y="1130"/>
              </a:cxn>
              <a:cxn ang="0">
                <a:pos x="5736" y="1017"/>
              </a:cxn>
            </a:cxnLst>
            <a:rect l="0" t="0" r="r" b="b"/>
            <a:pathLst>
              <a:path w="8872" h="9772">
                <a:moveTo>
                  <a:pt x="8675" y="1158"/>
                </a:moveTo>
                <a:cubicBezTo>
                  <a:pt x="8562" y="1158"/>
                  <a:pt x="8463" y="1243"/>
                  <a:pt x="8463" y="1356"/>
                </a:cubicBezTo>
                <a:cubicBezTo>
                  <a:pt x="8463" y="1469"/>
                  <a:pt x="8562" y="1568"/>
                  <a:pt x="8675" y="1568"/>
                </a:cubicBezTo>
                <a:cubicBezTo>
                  <a:pt x="8788" y="1568"/>
                  <a:pt x="8872" y="1469"/>
                  <a:pt x="8872" y="1356"/>
                </a:cubicBezTo>
                <a:cubicBezTo>
                  <a:pt x="8872" y="1243"/>
                  <a:pt x="8788" y="1158"/>
                  <a:pt x="8675" y="1158"/>
                </a:cubicBezTo>
                <a:close/>
                <a:moveTo>
                  <a:pt x="5553" y="1003"/>
                </a:moveTo>
                <a:cubicBezTo>
                  <a:pt x="5722" y="1003"/>
                  <a:pt x="5849" y="862"/>
                  <a:pt x="5849" y="707"/>
                </a:cubicBezTo>
                <a:cubicBezTo>
                  <a:pt x="5849" y="537"/>
                  <a:pt x="5722" y="410"/>
                  <a:pt x="5553" y="410"/>
                </a:cubicBezTo>
                <a:cubicBezTo>
                  <a:pt x="5397" y="410"/>
                  <a:pt x="5270" y="537"/>
                  <a:pt x="5270" y="707"/>
                </a:cubicBezTo>
                <a:cubicBezTo>
                  <a:pt x="5270" y="862"/>
                  <a:pt x="5397" y="1003"/>
                  <a:pt x="5553" y="1003"/>
                </a:cubicBezTo>
                <a:close/>
                <a:moveTo>
                  <a:pt x="6005" y="481"/>
                </a:moveTo>
                <a:cubicBezTo>
                  <a:pt x="6089" y="481"/>
                  <a:pt x="6160" y="410"/>
                  <a:pt x="6160" y="325"/>
                </a:cubicBezTo>
                <a:cubicBezTo>
                  <a:pt x="6160" y="241"/>
                  <a:pt x="6089" y="184"/>
                  <a:pt x="6005" y="184"/>
                </a:cubicBezTo>
                <a:cubicBezTo>
                  <a:pt x="5920" y="184"/>
                  <a:pt x="5849" y="241"/>
                  <a:pt x="5849" y="325"/>
                </a:cubicBezTo>
                <a:cubicBezTo>
                  <a:pt x="5849" y="410"/>
                  <a:pt x="5920" y="481"/>
                  <a:pt x="6005" y="481"/>
                </a:cubicBezTo>
                <a:close/>
                <a:moveTo>
                  <a:pt x="2402" y="777"/>
                </a:moveTo>
                <a:cubicBezTo>
                  <a:pt x="2501" y="777"/>
                  <a:pt x="2586" y="692"/>
                  <a:pt x="2586" y="594"/>
                </a:cubicBezTo>
                <a:cubicBezTo>
                  <a:pt x="2586" y="495"/>
                  <a:pt x="2501" y="410"/>
                  <a:pt x="2402" y="410"/>
                </a:cubicBezTo>
                <a:cubicBezTo>
                  <a:pt x="2303" y="410"/>
                  <a:pt x="2218" y="495"/>
                  <a:pt x="2218" y="594"/>
                </a:cubicBezTo>
                <a:cubicBezTo>
                  <a:pt x="2218" y="692"/>
                  <a:pt x="2303" y="777"/>
                  <a:pt x="2402" y="777"/>
                </a:cubicBezTo>
                <a:close/>
                <a:moveTo>
                  <a:pt x="2699" y="452"/>
                </a:moveTo>
                <a:cubicBezTo>
                  <a:pt x="2784" y="452"/>
                  <a:pt x="2840" y="396"/>
                  <a:pt x="2840" y="311"/>
                </a:cubicBezTo>
                <a:cubicBezTo>
                  <a:pt x="2840" y="241"/>
                  <a:pt x="2784" y="170"/>
                  <a:pt x="2699" y="170"/>
                </a:cubicBezTo>
                <a:cubicBezTo>
                  <a:pt x="2628" y="170"/>
                  <a:pt x="2558" y="241"/>
                  <a:pt x="2558" y="311"/>
                </a:cubicBezTo>
                <a:cubicBezTo>
                  <a:pt x="2558" y="396"/>
                  <a:pt x="2628" y="452"/>
                  <a:pt x="2699" y="452"/>
                </a:cubicBezTo>
                <a:close/>
                <a:moveTo>
                  <a:pt x="2939" y="198"/>
                </a:moveTo>
                <a:cubicBezTo>
                  <a:pt x="2995" y="198"/>
                  <a:pt x="3038" y="156"/>
                  <a:pt x="3038" y="99"/>
                </a:cubicBezTo>
                <a:cubicBezTo>
                  <a:pt x="3038" y="43"/>
                  <a:pt x="2995" y="0"/>
                  <a:pt x="2939" y="0"/>
                </a:cubicBezTo>
                <a:cubicBezTo>
                  <a:pt x="2882" y="0"/>
                  <a:pt x="2840" y="43"/>
                  <a:pt x="2840" y="99"/>
                </a:cubicBezTo>
                <a:cubicBezTo>
                  <a:pt x="2840" y="156"/>
                  <a:pt x="2882" y="198"/>
                  <a:pt x="2939" y="198"/>
                </a:cubicBezTo>
                <a:close/>
                <a:moveTo>
                  <a:pt x="4154" y="1031"/>
                </a:moveTo>
                <a:cubicBezTo>
                  <a:pt x="4253" y="1031"/>
                  <a:pt x="4338" y="947"/>
                  <a:pt x="4338" y="848"/>
                </a:cubicBezTo>
                <a:cubicBezTo>
                  <a:pt x="4338" y="735"/>
                  <a:pt x="4253" y="650"/>
                  <a:pt x="4154" y="650"/>
                </a:cubicBezTo>
                <a:cubicBezTo>
                  <a:pt x="4041" y="650"/>
                  <a:pt x="3956" y="735"/>
                  <a:pt x="3956" y="848"/>
                </a:cubicBezTo>
                <a:cubicBezTo>
                  <a:pt x="3956" y="947"/>
                  <a:pt x="4041" y="1031"/>
                  <a:pt x="4154" y="1031"/>
                </a:cubicBezTo>
                <a:close/>
                <a:moveTo>
                  <a:pt x="4479" y="608"/>
                </a:moveTo>
                <a:cubicBezTo>
                  <a:pt x="4535" y="608"/>
                  <a:pt x="4578" y="565"/>
                  <a:pt x="4578" y="509"/>
                </a:cubicBezTo>
                <a:cubicBezTo>
                  <a:pt x="4578" y="452"/>
                  <a:pt x="4535" y="396"/>
                  <a:pt x="4479" y="396"/>
                </a:cubicBezTo>
                <a:cubicBezTo>
                  <a:pt x="4408" y="396"/>
                  <a:pt x="4366" y="452"/>
                  <a:pt x="4366" y="509"/>
                </a:cubicBezTo>
                <a:cubicBezTo>
                  <a:pt x="4366" y="565"/>
                  <a:pt x="4408" y="608"/>
                  <a:pt x="4479" y="608"/>
                </a:cubicBezTo>
                <a:close/>
                <a:moveTo>
                  <a:pt x="8548" y="2514"/>
                </a:moveTo>
                <a:cubicBezTo>
                  <a:pt x="8477" y="2514"/>
                  <a:pt x="8420" y="2571"/>
                  <a:pt x="8420" y="2641"/>
                </a:cubicBezTo>
                <a:cubicBezTo>
                  <a:pt x="8420" y="2712"/>
                  <a:pt x="8477" y="2768"/>
                  <a:pt x="8548" y="2768"/>
                </a:cubicBezTo>
                <a:cubicBezTo>
                  <a:pt x="8618" y="2768"/>
                  <a:pt x="8675" y="2712"/>
                  <a:pt x="8675" y="2641"/>
                </a:cubicBezTo>
                <a:cubicBezTo>
                  <a:pt x="8675" y="2571"/>
                  <a:pt x="8618" y="2514"/>
                  <a:pt x="8548" y="2514"/>
                </a:cubicBezTo>
                <a:close/>
                <a:moveTo>
                  <a:pt x="1554" y="820"/>
                </a:moveTo>
                <a:cubicBezTo>
                  <a:pt x="1639" y="820"/>
                  <a:pt x="1710" y="749"/>
                  <a:pt x="1710" y="664"/>
                </a:cubicBezTo>
                <a:cubicBezTo>
                  <a:pt x="1710" y="579"/>
                  <a:pt x="1639" y="509"/>
                  <a:pt x="1554" y="509"/>
                </a:cubicBezTo>
                <a:cubicBezTo>
                  <a:pt x="1470" y="509"/>
                  <a:pt x="1399" y="579"/>
                  <a:pt x="1399" y="664"/>
                </a:cubicBezTo>
                <a:cubicBezTo>
                  <a:pt x="1399" y="749"/>
                  <a:pt x="1470" y="820"/>
                  <a:pt x="1554" y="820"/>
                </a:cubicBezTo>
                <a:close/>
                <a:moveTo>
                  <a:pt x="1766" y="523"/>
                </a:moveTo>
                <a:cubicBezTo>
                  <a:pt x="1823" y="523"/>
                  <a:pt x="1851" y="481"/>
                  <a:pt x="1851" y="438"/>
                </a:cubicBezTo>
                <a:cubicBezTo>
                  <a:pt x="1851" y="382"/>
                  <a:pt x="1823" y="339"/>
                  <a:pt x="1766" y="339"/>
                </a:cubicBezTo>
                <a:cubicBezTo>
                  <a:pt x="1724" y="339"/>
                  <a:pt x="1682" y="382"/>
                  <a:pt x="1682" y="438"/>
                </a:cubicBezTo>
                <a:cubicBezTo>
                  <a:pt x="1682" y="481"/>
                  <a:pt x="1724" y="523"/>
                  <a:pt x="1766" y="523"/>
                </a:cubicBezTo>
                <a:close/>
                <a:moveTo>
                  <a:pt x="8322" y="1271"/>
                </a:moveTo>
                <a:cubicBezTo>
                  <a:pt x="8364" y="1271"/>
                  <a:pt x="8406" y="1229"/>
                  <a:pt x="8406" y="1173"/>
                </a:cubicBezTo>
                <a:cubicBezTo>
                  <a:pt x="8406" y="1130"/>
                  <a:pt x="8364" y="1088"/>
                  <a:pt x="8322" y="1088"/>
                </a:cubicBezTo>
                <a:cubicBezTo>
                  <a:pt x="8265" y="1088"/>
                  <a:pt x="8223" y="1130"/>
                  <a:pt x="8223" y="1173"/>
                </a:cubicBezTo>
                <a:cubicBezTo>
                  <a:pt x="8223" y="1229"/>
                  <a:pt x="8265" y="1271"/>
                  <a:pt x="8322" y="1271"/>
                </a:cubicBezTo>
                <a:close/>
                <a:moveTo>
                  <a:pt x="3829" y="396"/>
                </a:moveTo>
                <a:cubicBezTo>
                  <a:pt x="3914" y="396"/>
                  <a:pt x="3984" y="325"/>
                  <a:pt x="3984" y="241"/>
                </a:cubicBezTo>
                <a:cubicBezTo>
                  <a:pt x="3984" y="156"/>
                  <a:pt x="3914" y="99"/>
                  <a:pt x="3829" y="99"/>
                </a:cubicBezTo>
                <a:cubicBezTo>
                  <a:pt x="3744" y="99"/>
                  <a:pt x="3674" y="156"/>
                  <a:pt x="3674" y="241"/>
                </a:cubicBezTo>
                <a:cubicBezTo>
                  <a:pt x="3674" y="325"/>
                  <a:pt x="3744" y="396"/>
                  <a:pt x="3829" y="396"/>
                </a:cubicBezTo>
                <a:close/>
                <a:moveTo>
                  <a:pt x="6753" y="947"/>
                </a:moveTo>
                <a:cubicBezTo>
                  <a:pt x="6838" y="947"/>
                  <a:pt x="6909" y="876"/>
                  <a:pt x="6909" y="791"/>
                </a:cubicBezTo>
                <a:cubicBezTo>
                  <a:pt x="6909" y="707"/>
                  <a:pt x="6838" y="650"/>
                  <a:pt x="6753" y="650"/>
                </a:cubicBezTo>
                <a:cubicBezTo>
                  <a:pt x="6669" y="650"/>
                  <a:pt x="6612" y="707"/>
                  <a:pt x="6612" y="791"/>
                </a:cubicBezTo>
                <a:cubicBezTo>
                  <a:pt x="6612" y="876"/>
                  <a:pt x="6669" y="947"/>
                  <a:pt x="6753" y="947"/>
                </a:cubicBezTo>
                <a:close/>
                <a:moveTo>
                  <a:pt x="7912" y="1003"/>
                </a:moveTo>
                <a:cubicBezTo>
                  <a:pt x="8011" y="1003"/>
                  <a:pt x="8081" y="932"/>
                  <a:pt x="8081" y="834"/>
                </a:cubicBezTo>
                <a:cubicBezTo>
                  <a:pt x="8081" y="749"/>
                  <a:pt x="8011" y="678"/>
                  <a:pt x="7912" y="678"/>
                </a:cubicBezTo>
                <a:cubicBezTo>
                  <a:pt x="7827" y="678"/>
                  <a:pt x="7756" y="749"/>
                  <a:pt x="7756" y="834"/>
                </a:cubicBezTo>
                <a:cubicBezTo>
                  <a:pt x="7756" y="932"/>
                  <a:pt x="7827" y="1003"/>
                  <a:pt x="7912" y="1003"/>
                </a:cubicBezTo>
                <a:close/>
                <a:moveTo>
                  <a:pt x="8110" y="721"/>
                </a:moveTo>
                <a:cubicBezTo>
                  <a:pt x="8166" y="721"/>
                  <a:pt x="8194" y="692"/>
                  <a:pt x="8194" y="636"/>
                </a:cubicBezTo>
                <a:cubicBezTo>
                  <a:pt x="8194" y="594"/>
                  <a:pt x="8166" y="551"/>
                  <a:pt x="8110" y="551"/>
                </a:cubicBezTo>
                <a:cubicBezTo>
                  <a:pt x="8067" y="551"/>
                  <a:pt x="8039" y="594"/>
                  <a:pt x="8039" y="636"/>
                </a:cubicBezTo>
                <a:cubicBezTo>
                  <a:pt x="8039" y="692"/>
                  <a:pt x="8067" y="721"/>
                  <a:pt x="8110" y="721"/>
                </a:cubicBezTo>
                <a:close/>
                <a:moveTo>
                  <a:pt x="8562" y="1893"/>
                </a:moveTo>
                <a:cubicBezTo>
                  <a:pt x="8562" y="1879"/>
                  <a:pt x="8576" y="1850"/>
                  <a:pt x="8576" y="1836"/>
                </a:cubicBezTo>
                <a:cubicBezTo>
                  <a:pt x="8576" y="1639"/>
                  <a:pt x="8420" y="1469"/>
                  <a:pt x="8223" y="1455"/>
                </a:cubicBezTo>
                <a:cubicBezTo>
                  <a:pt x="8194" y="1370"/>
                  <a:pt x="8110" y="1314"/>
                  <a:pt x="8011" y="1314"/>
                </a:cubicBezTo>
                <a:cubicBezTo>
                  <a:pt x="7884" y="1314"/>
                  <a:pt x="7771" y="1427"/>
                  <a:pt x="7771" y="1554"/>
                </a:cubicBezTo>
                <a:cubicBezTo>
                  <a:pt x="7771" y="1568"/>
                  <a:pt x="7771" y="1582"/>
                  <a:pt x="7785" y="1596"/>
                </a:cubicBezTo>
                <a:cubicBezTo>
                  <a:pt x="7714" y="1582"/>
                  <a:pt x="7658" y="1568"/>
                  <a:pt x="7601" y="1568"/>
                </a:cubicBezTo>
                <a:cubicBezTo>
                  <a:pt x="7516" y="1568"/>
                  <a:pt x="7516" y="1568"/>
                  <a:pt x="7516" y="1568"/>
                </a:cubicBezTo>
                <a:cubicBezTo>
                  <a:pt x="7516" y="1540"/>
                  <a:pt x="7502" y="1497"/>
                  <a:pt x="7488" y="1469"/>
                </a:cubicBezTo>
                <a:cubicBezTo>
                  <a:pt x="7516" y="1469"/>
                  <a:pt x="7530" y="1469"/>
                  <a:pt x="7544" y="1469"/>
                </a:cubicBezTo>
                <a:cubicBezTo>
                  <a:pt x="7714" y="1469"/>
                  <a:pt x="7841" y="1342"/>
                  <a:pt x="7841" y="1173"/>
                </a:cubicBezTo>
                <a:cubicBezTo>
                  <a:pt x="7841" y="1003"/>
                  <a:pt x="7714" y="876"/>
                  <a:pt x="7544" y="876"/>
                </a:cubicBezTo>
                <a:cubicBezTo>
                  <a:pt x="7375" y="876"/>
                  <a:pt x="7248" y="1003"/>
                  <a:pt x="7248" y="1173"/>
                </a:cubicBezTo>
                <a:cubicBezTo>
                  <a:pt x="7248" y="1173"/>
                  <a:pt x="7248" y="1173"/>
                  <a:pt x="7248" y="1173"/>
                </a:cubicBezTo>
                <a:cubicBezTo>
                  <a:pt x="7177" y="1130"/>
                  <a:pt x="7092" y="1116"/>
                  <a:pt x="6994" y="1116"/>
                </a:cubicBezTo>
                <a:cubicBezTo>
                  <a:pt x="6881" y="1116"/>
                  <a:pt x="6782" y="1144"/>
                  <a:pt x="6697" y="1215"/>
                </a:cubicBezTo>
                <a:cubicBezTo>
                  <a:pt x="6697" y="1187"/>
                  <a:pt x="6697" y="1158"/>
                  <a:pt x="6697" y="1144"/>
                </a:cubicBezTo>
                <a:cubicBezTo>
                  <a:pt x="6697" y="989"/>
                  <a:pt x="6584" y="862"/>
                  <a:pt x="6428" y="862"/>
                </a:cubicBezTo>
                <a:cubicBezTo>
                  <a:pt x="6330" y="862"/>
                  <a:pt x="6245" y="918"/>
                  <a:pt x="6188" y="989"/>
                </a:cubicBezTo>
                <a:cubicBezTo>
                  <a:pt x="6188" y="989"/>
                  <a:pt x="6188" y="989"/>
                  <a:pt x="6188" y="989"/>
                </a:cubicBezTo>
                <a:cubicBezTo>
                  <a:pt x="6061" y="989"/>
                  <a:pt x="5934" y="1074"/>
                  <a:pt x="5877" y="1173"/>
                </a:cubicBezTo>
                <a:cubicBezTo>
                  <a:pt x="5863" y="1173"/>
                  <a:pt x="5849" y="1173"/>
                  <a:pt x="5835" y="1173"/>
                </a:cubicBezTo>
                <a:cubicBezTo>
                  <a:pt x="5779" y="1173"/>
                  <a:pt x="5736" y="1201"/>
                  <a:pt x="5694" y="1257"/>
                </a:cubicBezTo>
                <a:cubicBezTo>
                  <a:pt x="5666" y="1187"/>
                  <a:pt x="5595" y="1144"/>
                  <a:pt x="5510" y="1144"/>
                </a:cubicBezTo>
                <a:cubicBezTo>
                  <a:pt x="5468" y="1144"/>
                  <a:pt x="5411" y="1158"/>
                  <a:pt x="5383" y="1187"/>
                </a:cubicBezTo>
                <a:cubicBezTo>
                  <a:pt x="5355" y="1003"/>
                  <a:pt x="5213" y="862"/>
                  <a:pt x="5044" y="820"/>
                </a:cubicBezTo>
                <a:cubicBezTo>
                  <a:pt x="5030" y="763"/>
                  <a:pt x="4973" y="707"/>
                  <a:pt x="4917" y="707"/>
                </a:cubicBezTo>
                <a:cubicBezTo>
                  <a:pt x="4832" y="707"/>
                  <a:pt x="4776" y="777"/>
                  <a:pt x="4776" y="848"/>
                </a:cubicBezTo>
                <a:cubicBezTo>
                  <a:pt x="4776" y="848"/>
                  <a:pt x="4776" y="848"/>
                  <a:pt x="4776" y="848"/>
                </a:cubicBezTo>
                <a:cubicBezTo>
                  <a:pt x="4691" y="890"/>
                  <a:pt x="4606" y="961"/>
                  <a:pt x="4564" y="1045"/>
                </a:cubicBezTo>
                <a:cubicBezTo>
                  <a:pt x="4535" y="1045"/>
                  <a:pt x="4521" y="1045"/>
                  <a:pt x="4507" y="1045"/>
                </a:cubicBezTo>
                <a:cubicBezTo>
                  <a:pt x="4380" y="1045"/>
                  <a:pt x="4281" y="1130"/>
                  <a:pt x="4253" y="1243"/>
                </a:cubicBezTo>
                <a:cubicBezTo>
                  <a:pt x="4225" y="1243"/>
                  <a:pt x="4196" y="1229"/>
                  <a:pt x="4168" y="1229"/>
                </a:cubicBezTo>
                <a:cubicBezTo>
                  <a:pt x="4112" y="1229"/>
                  <a:pt x="4041" y="1243"/>
                  <a:pt x="3984" y="1257"/>
                </a:cubicBezTo>
                <a:cubicBezTo>
                  <a:pt x="3956" y="1102"/>
                  <a:pt x="3829" y="989"/>
                  <a:pt x="3659" y="989"/>
                </a:cubicBezTo>
                <a:cubicBezTo>
                  <a:pt x="3589" y="989"/>
                  <a:pt x="3504" y="1017"/>
                  <a:pt x="3462" y="1074"/>
                </a:cubicBezTo>
                <a:cubicBezTo>
                  <a:pt x="3433" y="1031"/>
                  <a:pt x="3391" y="1017"/>
                  <a:pt x="3363" y="1003"/>
                </a:cubicBezTo>
                <a:cubicBezTo>
                  <a:pt x="3363" y="1003"/>
                  <a:pt x="3363" y="989"/>
                  <a:pt x="3363" y="989"/>
                </a:cubicBezTo>
                <a:cubicBezTo>
                  <a:pt x="3363" y="918"/>
                  <a:pt x="3349" y="862"/>
                  <a:pt x="3320" y="805"/>
                </a:cubicBezTo>
                <a:cubicBezTo>
                  <a:pt x="3349" y="834"/>
                  <a:pt x="3391" y="848"/>
                  <a:pt x="3448" y="848"/>
                </a:cubicBezTo>
                <a:cubicBezTo>
                  <a:pt x="3476" y="848"/>
                  <a:pt x="3490" y="834"/>
                  <a:pt x="3518" y="834"/>
                </a:cubicBezTo>
                <a:cubicBezTo>
                  <a:pt x="3518" y="890"/>
                  <a:pt x="3575" y="947"/>
                  <a:pt x="3631" y="947"/>
                </a:cubicBezTo>
                <a:cubicBezTo>
                  <a:pt x="3702" y="947"/>
                  <a:pt x="3744" y="890"/>
                  <a:pt x="3744" y="834"/>
                </a:cubicBezTo>
                <a:cubicBezTo>
                  <a:pt x="3744" y="777"/>
                  <a:pt x="3716" y="735"/>
                  <a:pt x="3674" y="721"/>
                </a:cubicBezTo>
                <a:cubicBezTo>
                  <a:pt x="3702" y="678"/>
                  <a:pt x="3716" y="622"/>
                  <a:pt x="3716" y="565"/>
                </a:cubicBezTo>
                <a:cubicBezTo>
                  <a:pt x="3716" y="424"/>
                  <a:pt x="3589" y="297"/>
                  <a:pt x="3448" y="297"/>
                </a:cubicBezTo>
                <a:cubicBezTo>
                  <a:pt x="3292" y="297"/>
                  <a:pt x="3179" y="424"/>
                  <a:pt x="3179" y="565"/>
                </a:cubicBezTo>
                <a:cubicBezTo>
                  <a:pt x="3179" y="608"/>
                  <a:pt x="3179" y="636"/>
                  <a:pt x="3193" y="664"/>
                </a:cubicBezTo>
                <a:cubicBezTo>
                  <a:pt x="3123" y="622"/>
                  <a:pt x="3052" y="594"/>
                  <a:pt x="2967" y="594"/>
                </a:cubicBezTo>
                <a:cubicBezTo>
                  <a:pt x="2755" y="594"/>
                  <a:pt x="2586" y="777"/>
                  <a:pt x="2586" y="989"/>
                </a:cubicBezTo>
                <a:cubicBezTo>
                  <a:pt x="2586" y="1017"/>
                  <a:pt x="2586" y="1045"/>
                  <a:pt x="2600" y="1074"/>
                </a:cubicBezTo>
                <a:cubicBezTo>
                  <a:pt x="2529" y="1045"/>
                  <a:pt x="2459" y="1017"/>
                  <a:pt x="2374" y="1017"/>
                </a:cubicBezTo>
                <a:cubicBezTo>
                  <a:pt x="2346" y="1017"/>
                  <a:pt x="2317" y="1031"/>
                  <a:pt x="2289" y="1031"/>
                </a:cubicBezTo>
                <a:cubicBezTo>
                  <a:pt x="2303" y="1003"/>
                  <a:pt x="2317" y="961"/>
                  <a:pt x="2317" y="918"/>
                </a:cubicBezTo>
                <a:cubicBezTo>
                  <a:pt x="2317" y="791"/>
                  <a:pt x="2204" y="678"/>
                  <a:pt x="2063" y="678"/>
                </a:cubicBezTo>
                <a:cubicBezTo>
                  <a:pt x="1922" y="678"/>
                  <a:pt x="1809" y="791"/>
                  <a:pt x="1809" y="918"/>
                </a:cubicBezTo>
                <a:cubicBezTo>
                  <a:pt x="1809" y="1045"/>
                  <a:pt x="1908" y="1158"/>
                  <a:pt x="2021" y="1173"/>
                </a:cubicBezTo>
                <a:cubicBezTo>
                  <a:pt x="1978" y="1215"/>
                  <a:pt x="1950" y="1257"/>
                  <a:pt x="1922" y="1300"/>
                </a:cubicBezTo>
                <a:cubicBezTo>
                  <a:pt x="1908" y="1158"/>
                  <a:pt x="1781" y="1045"/>
                  <a:pt x="1639" y="1045"/>
                </a:cubicBezTo>
                <a:cubicBezTo>
                  <a:pt x="1597" y="1045"/>
                  <a:pt x="1554" y="1045"/>
                  <a:pt x="1526" y="1060"/>
                </a:cubicBezTo>
                <a:cubicBezTo>
                  <a:pt x="1526" y="1045"/>
                  <a:pt x="1526" y="1031"/>
                  <a:pt x="1526" y="1017"/>
                </a:cubicBezTo>
                <a:cubicBezTo>
                  <a:pt x="1526" y="862"/>
                  <a:pt x="1399" y="735"/>
                  <a:pt x="1230" y="735"/>
                </a:cubicBezTo>
                <a:cubicBezTo>
                  <a:pt x="1074" y="735"/>
                  <a:pt x="947" y="862"/>
                  <a:pt x="947" y="1017"/>
                </a:cubicBezTo>
                <a:cubicBezTo>
                  <a:pt x="947" y="1031"/>
                  <a:pt x="947" y="1045"/>
                  <a:pt x="947" y="1045"/>
                </a:cubicBezTo>
                <a:cubicBezTo>
                  <a:pt x="919" y="1045"/>
                  <a:pt x="890" y="1031"/>
                  <a:pt x="848" y="1031"/>
                </a:cubicBezTo>
                <a:cubicBezTo>
                  <a:pt x="636" y="1031"/>
                  <a:pt x="467" y="1215"/>
                  <a:pt x="467" y="1427"/>
                </a:cubicBezTo>
                <a:cubicBezTo>
                  <a:pt x="467" y="1483"/>
                  <a:pt x="481" y="1540"/>
                  <a:pt x="509" y="1596"/>
                </a:cubicBezTo>
                <a:cubicBezTo>
                  <a:pt x="212" y="1667"/>
                  <a:pt x="0" y="1935"/>
                  <a:pt x="0" y="2246"/>
                </a:cubicBezTo>
                <a:cubicBezTo>
                  <a:pt x="0" y="9095"/>
                  <a:pt x="0" y="9095"/>
                  <a:pt x="0" y="9095"/>
                </a:cubicBezTo>
                <a:cubicBezTo>
                  <a:pt x="0" y="9476"/>
                  <a:pt x="311" y="9772"/>
                  <a:pt x="679" y="9772"/>
                </a:cubicBezTo>
                <a:cubicBezTo>
                  <a:pt x="7601" y="9772"/>
                  <a:pt x="7601" y="9772"/>
                  <a:pt x="7601" y="9772"/>
                </a:cubicBezTo>
                <a:cubicBezTo>
                  <a:pt x="7968" y="9772"/>
                  <a:pt x="8279" y="9476"/>
                  <a:pt x="8279" y="9095"/>
                </a:cubicBezTo>
                <a:cubicBezTo>
                  <a:pt x="8279" y="3093"/>
                  <a:pt x="8279" y="3093"/>
                  <a:pt x="8279" y="3093"/>
                </a:cubicBezTo>
                <a:cubicBezTo>
                  <a:pt x="8378" y="3065"/>
                  <a:pt x="8449" y="2980"/>
                  <a:pt x="8449" y="2881"/>
                </a:cubicBezTo>
                <a:cubicBezTo>
                  <a:pt x="8449" y="2782"/>
                  <a:pt x="8378" y="2698"/>
                  <a:pt x="8293" y="2669"/>
                </a:cubicBezTo>
                <a:cubicBezTo>
                  <a:pt x="8293" y="2655"/>
                  <a:pt x="8307" y="2627"/>
                  <a:pt x="8307" y="2599"/>
                </a:cubicBezTo>
                <a:cubicBezTo>
                  <a:pt x="8307" y="2571"/>
                  <a:pt x="8293" y="2542"/>
                  <a:pt x="8293" y="2514"/>
                </a:cubicBezTo>
                <a:cubicBezTo>
                  <a:pt x="8406" y="2514"/>
                  <a:pt x="8491" y="2415"/>
                  <a:pt x="8491" y="2302"/>
                </a:cubicBezTo>
                <a:cubicBezTo>
                  <a:pt x="8491" y="2232"/>
                  <a:pt x="8463" y="2175"/>
                  <a:pt x="8420" y="2133"/>
                </a:cubicBezTo>
                <a:cubicBezTo>
                  <a:pt x="8420" y="2133"/>
                  <a:pt x="8435" y="2119"/>
                  <a:pt x="8435" y="2119"/>
                </a:cubicBezTo>
                <a:cubicBezTo>
                  <a:pt x="8463" y="2147"/>
                  <a:pt x="8505" y="2175"/>
                  <a:pt x="8548" y="2175"/>
                </a:cubicBezTo>
                <a:cubicBezTo>
                  <a:pt x="8618" y="2175"/>
                  <a:pt x="8675" y="2105"/>
                  <a:pt x="8675" y="2034"/>
                </a:cubicBezTo>
                <a:cubicBezTo>
                  <a:pt x="8675" y="1963"/>
                  <a:pt x="8632" y="1907"/>
                  <a:pt x="8562" y="1893"/>
                </a:cubicBezTo>
                <a:close/>
                <a:moveTo>
                  <a:pt x="5736" y="1017"/>
                </a:moveTo>
                <a:cubicBezTo>
                  <a:pt x="5736" y="1088"/>
                  <a:pt x="5779" y="1130"/>
                  <a:pt x="5849" y="1130"/>
                </a:cubicBezTo>
                <a:cubicBezTo>
                  <a:pt x="5906" y="1130"/>
                  <a:pt x="5962" y="1088"/>
                  <a:pt x="5962" y="1017"/>
                </a:cubicBezTo>
                <a:cubicBezTo>
                  <a:pt x="5962" y="961"/>
                  <a:pt x="5906" y="904"/>
                  <a:pt x="5849" y="904"/>
                </a:cubicBezTo>
                <a:cubicBezTo>
                  <a:pt x="5779" y="904"/>
                  <a:pt x="5736" y="961"/>
                  <a:pt x="5736" y="1017"/>
                </a:cubicBezTo>
                <a:close/>
              </a:path>
            </a:pathLst>
          </a:custGeom>
          <a:solidFill>
            <a:srgbClr val="C0C0C0"/>
          </a:solidFill>
          <a:ln w="0">
            <a:noFill/>
            <a:prstDash val="solid"/>
            <a:round/>
            <a:headEnd/>
            <a:tailEnd/>
          </a:ln>
        </p:spPr>
        <p:txBody>
          <a:bodyPr vert="horz" wrap="square" lIns="91284" tIns="45642" rIns="91284" bIns="45642" numCol="1" anchor="t" anchorCtr="0" compatLnSpc="1">
            <a:prstTxWarp prst="textNoShape">
              <a:avLst/>
            </a:prstTxWarp>
          </a:bodyPr>
          <a:lstStyle/>
          <a:p>
            <a:pPr defTabSz="912644"/>
            <a:endParaRPr lang="fr-FR" sz="1800" u="sng">
              <a:solidFill>
                <a:srgbClr val="000000"/>
              </a:solidFill>
              <a:cs typeface="+mn-cs"/>
            </a:endParaRPr>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83"/>
            <a:ext cx="3935412" cy="3347450"/>
          </a:xfrm>
        </p:spPr>
        <p:txBody>
          <a:bodyPr/>
          <a:lstStyle>
            <a:lvl1pPr marL="0" indent="1588">
              <a:spcAft>
                <a:spcPts val="1000"/>
              </a:spcAft>
              <a:defRPr sz="1800" b="0"/>
            </a:lvl1pPr>
            <a:lvl2pPr marL="3175" indent="-3175">
              <a:buNone/>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16" name="Espace réservé pour une image  15"/>
          <p:cNvSpPr>
            <a:spLocks noGrp="1"/>
          </p:cNvSpPr>
          <p:nvPr>
            <p:ph type="pic" sz="quarter" idx="14"/>
          </p:nvPr>
        </p:nvSpPr>
        <p:spPr>
          <a:xfrm>
            <a:off x="5065945" y="1373141"/>
            <a:ext cx="3500462" cy="2950381"/>
          </a:xfrm>
          <a:prstGeom prst="roundRect">
            <a:avLst>
              <a:gd name="adj" fmla="val 6361"/>
            </a:avLst>
          </a:prstGeom>
          <a:solidFill>
            <a:schemeClr val="bg1"/>
          </a:solidFill>
          <a:ln w="76200">
            <a:solidFill>
              <a:schemeClr val="bg2"/>
            </a:solidFill>
          </a:ln>
        </p:spPr>
        <p:txBody>
          <a:bodyPr/>
          <a:lstStyle/>
          <a:p>
            <a:pPr lvl="0"/>
            <a:r>
              <a:rPr lang="en-US" noProof="0"/>
              <a:t>Click icon to add picture</a:t>
            </a:r>
            <a:endParaRPr lang="fr-FR" noProof="0"/>
          </a:p>
        </p:txBody>
      </p:sp>
      <p:sp>
        <p:nvSpPr>
          <p:cNvPr id="8" name="Rectangle 1029"/>
          <p:cNvSpPr>
            <a:spLocks noGrp="1" noChangeArrowheads="1"/>
          </p:cNvSpPr>
          <p:nvPr>
            <p:ph type="sldNum" sz="quarter" idx="15"/>
          </p:nvPr>
        </p:nvSpPr>
        <p:spPr/>
        <p:txBody>
          <a:bodyPr/>
          <a:lstStyle>
            <a:lvl1pPr>
              <a:defRPr/>
            </a:lvl1pPr>
          </a:lstStyle>
          <a:p>
            <a:pPr>
              <a:defRPr/>
            </a:pPr>
            <a:fld id="{35EF3CC6-EBF3-42B2-A9D3-A319C888AA9E}" type="slidenum">
              <a:rPr lang="en-GB">
                <a:solidFill>
                  <a:srgbClr val="C0C0C0"/>
                </a:solidFill>
              </a:rPr>
              <a:pPr>
                <a:defRPr/>
              </a:pPr>
              <a:t>‹#›</a:t>
            </a:fld>
            <a:endParaRPr lang="en-GB">
              <a:solidFill>
                <a:srgbClr val="C0C0C0"/>
              </a:solidFill>
            </a:endParaRPr>
          </a:p>
        </p:txBody>
      </p:sp>
      <p:sp>
        <p:nvSpPr>
          <p:cNvPr id="10" name="Rectangle 1030"/>
          <p:cNvSpPr>
            <a:spLocks noGrp="1" noChangeArrowheads="1"/>
          </p:cNvSpPr>
          <p:nvPr>
            <p:ph type="ftr" sz="quarter" idx="16"/>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1395964226"/>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and picture with legend">
    <p:spTree>
      <p:nvGrpSpPr>
        <p:cNvPr id="1" name=""/>
        <p:cNvGrpSpPr/>
        <p:nvPr/>
      </p:nvGrpSpPr>
      <p:grpSpPr>
        <a:xfrm>
          <a:off x="0" y="0"/>
          <a:ext cx="0" cy="0"/>
          <a:chOff x="0" y="0"/>
          <a:chExt cx="0" cy="0"/>
        </a:xfrm>
      </p:grpSpPr>
      <p:sp>
        <p:nvSpPr>
          <p:cNvPr id="12" name="Freeform 6"/>
          <p:cNvSpPr>
            <a:spLocks noEditPoints="1"/>
          </p:cNvSpPr>
          <p:nvPr userDrawn="1"/>
        </p:nvSpPr>
        <p:spPr bwMode="auto">
          <a:xfrm>
            <a:off x="5434999" y="735296"/>
            <a:ext cx="3379787" cy="2792016"/>
          </a:xfrm>
          <a:custGeom>
            <a:avLst/>
            <a:gdLst/>
            <a:ahLst/>
            <a:cxnLst>
              <a:cxn ang="0">
                <a:pos x="8675" y="1568"/>
              </a:cxn>
              <a:cxn ang="0">
                <a:pos x="5553" y="1003"/>
              </a:cxn>
              <a:cxn ang="0">
                <a:pos x="5270" y="707"/>
              </a:cxn>
              <a:cxn ang="0">
                <a:pos x="6160" y="325"/>
              </a:cxn>
              <a:cxn ang="0">
                <a:pos x="6005" y="481"/>
              </a:cxn>
              <a:cxn ang="0">
                <a:pos x="2402" y="410"/>
              </a:cxn>
              <a:cxn ang="0">
                <a:pos x="2699" y="452"/>
              </a:cxn>
              <a:cxn ang="0">
                <a:pos x="2558" y="311"/>
              </a:cxn>
              <a:cxn ang="0">
                <a:pos x="3038" y="99"/>
              </a:cxn>
              <a:cxn ang="0">
                <a:pos x="2939" y="198"/>
              </a:cxn>
              <a:cxn ang="0">
                <a:pos x="4154" y="650"/>
              </a:cxn>
              <a:cxn ang="0">
                <a:pos x="4479" y="608"/>
              </a:cxn>
              <a:cxn ang="0">
                <a:pos x="4366" y="509"/>
              </a:cxn>
              <a:cxn ang="0">
                <a:pos x="8420" y="2641"/>
              </a:cxn>
              <a:cxn ang="0">
                <a:pos x="8548" y="2514"/>
              </a:cxn>
              <a:cxn ang="0">
                <a:pos x="1554" y="509"/>
              </a:cxn>
              <a:cxn ang="0">
                <a:pos x="1766" y="523"/>
              </a:cxn>
              <a:cxn ang="0">
                <a:pos x="1682" y="438"/>
              </a:cxn>
              <a:cxn ang="0">
                <a:pos x="8406" y="1173"/>
              </a:cxn>
              <a:cxn ang="0">
                <a:pos x="8322" y="1271"/>
              </a:cxn>
              <a:cxn ang="0">
                <a:pos x="3829" y="99"/>
              </a:cxn>
              <a:cxn ang="0">
                <a:pos x="6753" y="947"/>
              </a:cxn>
              <a:cxn ang="0">
                <a:pos x="6612" y="791"/>
              </a:cxn>
              <a:cxn ang="0">
                <a:pos x="8081" y="834"/>
              </a:cxn>
              <a:cxn ang="0">
                <a:pos x="7912" y="1003"/>
              </a:cxn>
              <a:cxn ang="0">
                <a:pos x="8110" y="551"/>
              </a:cxn>
              <a:cxn ang="0">
                <a:pos x="8562" y="1893"/>
              </a:cxn>
              <a:cxn ang="0">
                <a:pos x="8011" y="1314"/>
              </a:cxn>
              <a:cxn ang="0">
                <a:pos x="7601" y="1568"/>
              </a:cxn>
              <a:cxn ang="0">
                <a:pos x="7544" y="1469"/>
              </a:cxn>
              <a:cxn ang="0">
                <a:pos x="7248" y="1173"/>
              </a:cxn>
              <a:cxn ang="0">
                <a:pos x="6697" y="1215"/>
              </a:cxn>
              <a:cxn ang="0">
                <a:pos x="6188" y="989"/>
              </a:cxn>
              <a:cxn ang="0">
                <a:pos x="5835" y="1173"/>
              </a:cxn>
              <a:cxn ang="0">
                <a:pos x="5383" y="1187"/>
              </a:cxn>
              <a:cxn ang="0">
                <a:pos x="4776" y="848"/>
              </a:cxn>
              <a:cxn ang="0">
                <a:pos x="4507" y="1045"/>
              </a:cxn>
              <a:cxn ang="0">
                <a:pos x="3984" y="1257"/>
              </a:cxn>
              <a:cxn ang="0">
                <a:pos x="3363" y="1003"/>
              </a:cxn>
              <a:cxn ang="0">
                <a:pos x="3448" y="848"/>
              </a:cxn>
              <a:cxn ang="0">
                <a:pos x="3744" y="834"/>
              </a:cxn>
              <a:cxn ang="0">
                <a:pos x="3448" y="297"/>
              </a:cxn>
              <a:cxn ang="0">
                <a:pos x="2967" y="594"/>
              </a:cxn>
              <a:cxn ang="0">
                <a:pos x="2374" y="1017"/>
              </a:cxn>
              <a:cxn ang="0">
                <a:pos x="2063" y="678"/>
              </a:cxn>
              <a:cxn ang="0">
                <a:pos x="1922" y="1300"/>
              </a:cxn>
              <a:cxn ang="0">
                <a:pos x="1526" y="1017"/>
              </a:cxn>
              <a:cxn ang="0">
                <a:pos x="947" y="1045"/>
              </a:cxn>
              <a:cxn ang="0">
                <a:pos x="509" y="1596"/>
              </a:cxn>
              <a:cxn ang="0">
                <a:pos x="679" y="9772"/>
              </a:cxn>
              <a:cxn ang="0">
                <a:pos x="8279" y="3093"/>
              </a:cxn>
              <a:cxn ang="0">
                <a:pos x="8307" y="2599"/>
              </a:cxn>
              <a:cxn ang="0">
                <a:pos x="8420" y="2133"/>
              </a:cxn>
              <a:cxn ang="0">
                <a:pos x="8675" y="2034"/>
              </a:cxn>
              <a:cxn ang="0">
                <a:pos x="5849" y="1130"/>
              </a:cxn>
              <a:cxn ang="0">
                <a:pos x="5736" y="1017"/>
              </a:cxn>
            </a:cxnLst>
            <a:rect l="0" t="0" r="r" b="b"/>
            <a:pathLst>
              <a:path w="8872" h="9772">
                <a:moveTo>
                  <a:pt x="8675" y="1158"/>
                </a:moveTo>
                <a:cubicBezTo>
                  <a:pt x="8562" y="1158"/>
                  <a:pt x="8463" y="1243"/>
                  <a:pt x="8463" y="1356"/>
                </a:cubicBezTo>
                <a:cubicBezTo>
                  <a:pt x="8463" y="1469"/>
                  <a:pt x="8562" y="1568"/>
                  <a:pt x="8675" y="1568"/>
                </a:cubicBezTo>
                <a:cubicBezTo>
                  <a:pt x="8788" y="1568"/>
                  <a:pt x="8872" y="1469"/>
                  <a:pt x="8872" y="1356"/>
                </a:cubicBezTo>
                <a:cubicBezTo>
                  <a:pt x="8872" y="1243"/>
                  <a:pt x="8788" y="1158"/>
                  <a:pt x="8675" y="1158"/>
                </a:cubicBezTo>
                <a:close/>
                <a:moveTo>
                  <a:pt x="5553" y="1003"/>
                </a:moveTo>
                <a:cubicBezTo>
                  <a:pt x="5722" y="1003"/>
                  <a:pt x="5849" y="862"/>
                  <a:pt x="5849" y="707"/>
                </a:cubicBezTo>
                <a:cubicBezTo>
                  <a:pt x="5849" y="537"/>
                  <a:pt x="5722" y="410"/>
                  <a:pt x="5553" y="410"/>
                </a:cubicBezTo>
                <a:cubicBezTo>
                  <a:pt x="5397" y="410"/>
                  <a:pt x="5270" y="537"/>
                  <a:pt x="5270" y="707"/>
                </a:cubicBezTo>
                <a:cubicBezTo>
                  <a:pt x="5270" y="862"/>
                  <a:pt x="5397" y="1003"/>
                  <a:pt x="5553" y="1003"/>
                </a:cubicBezTo>
                <a:close/>
                <a:moveTo>
                  <a:pt x="6005" y="481"/>
                </a:moveTo>
                <a:cubicBezTo>
                  <a:pt x="6089" y="481"/>
                  <a:pt x="6160" y="410"/>
                  <a:pt x="6160" y="325"/>
                </a:cubicBezTo>
                <a:cubicBezTo>
                  <a:pt x="6160" y="241"/>
                  <a:pt x="6089" y="184"/>
                  <a:pt x="6005" y="184"/>
                </a:cubicBezTo>
                <a:cubicBezTo>
                  <a:pt x="5920" y="184"/>
                  <a:pt x="5849" y="241"/>
                  <a:pt x="5849" y="325"/>
                </a:cubicBezTo>
                <a:cubicBezTo>
                  <a:pt x="5849" y="410"/>
                  <a:pt x="5920" y="481"/>
                  <a:pt x="6005" y="481"/>
                </a:cubicBezTo>
                <a:close/>
                <a:moveTo>
                  <a:pt x="2402" y="777"/>
                </a:moveTo>
                <a:cubicBezTo>
                  <a:pt x="2501" y="777"/>
                  <a:pt x="2586" y="692"/>
                  <a:pt x="2586" y="594"/>
                </a:cubicBezTo>
                <a:cubicBezTo>
                  <a:pt x="2586" y="495"/>
                  <a:pt x="2501" y="410"/>
                  <a:pt x="2402" y="410"/>
                </a:cubicBezTo>
                <a:cubicBezTo>
                  <a:pt x="2303" y="410"/>
                  <a:pt x="2218" y="495"/>
                  <a:pt x="2218" y="594"/>
                </a:cubicBezTo>
                <a:cubicBezTo>
                  <a:pt x="2218" y="692"/>
                  <a:pt x="2303" y="777"/>
                  <a:pt x="2402" y="777"/>
                </a:cubicBezTo>
                <a:close/>
                <a:moveTo>
                  <a:pt x="2699" y="452"/>
                </a:moveTo>
                <a:cubicBezTo>
                  <a:pt x="2784" y="452"/>
                  <a:pt x="2840" y="396"/>
                  <a:pt x="2840" y="311"/>
                </a:cubicBezTo>
                <a:cubicBezTo>
                  <a:pt x="2840" y="241"/>
                  <a:pt x="2784" y="170"/>
                  <a:pt x="2699" y="170"/>
                </a:cubicBezTo>
                <a:cubicBezTo>
                  <a:pt x="2628" y="170"/>
                  <a:pt x="2558" y="241"/>
                  <a:pt x="2558" y="311"/>
                </a:cubicBezTo>
                <a:cubicBezTo>
                  <a:pt x="2558" y="396"/>
                  <a:pt x="2628" y="452"/>
                  <a:pt x="2699" y="452"/>
                </a:cubicBezTo>
                <a:close/>
                <a:moveTo>
                  <a:pt x="2939" y="198"/>
                </a:moveTo>
                <a:cubicBezTo>
                  <a:pt x="2995" y="198"/>
                  <a:pt x="3038" y="156"/>
                  <a:pt x="3038" y="99"/>
                </a:cubicBezTo>
                <a:cubicBezTo>
                  <a:pt x="3038" y="43"/>
                  <a:pt x="2995" y="0"/>
                  <a:pt x="2939" y="0"/>
                </a:cubicBezTo>
                <a:cubicBezTo>
                  <a:pt x="2882" y="0"/>
                  <a:pt x="2840" y="43"/>
                  <a:pt x="2840" y="99"/>
                </a:cubicBezTo>
                <a:cubicBezTo>
                  <a:pt x="2840" y="156"/>
                  <a:pt x="2882" y="198"/>
                  <a:pt x="2939" y="198"/>
                </a:cubicBezTo>
                <a:close/>
                <a:moveTo>
                  <a:pt x="4154" y="1031"/>
                </a:moveTo>
                <a:cubicBezTo>
                  <a:pt x="4253" y="1031"/>
                  <a:pt x="4338" y="947"/>
                  <a:pt x="4338" y="848"/>
                </a:cubicBezTo>
                <a:cubicBezTo>
                  <a:pt x="4338" y="735"/>
                  <a:pt x="4253" y="650"/>
                  <a:pt x="4154" y="650"/>
                </a:cubicBezTo>
                <a:cubicBezTo>
                  <a:pt x="4041" y="650"/>
                  <a:pt x="3956" y="735"/>
                  <a:pt x="3956" y="848"/>
                </a:cubicBezTo>
                <a:cubicBezTo>
                  <a:pt x="3956" y="947"/>
                  <a:pt x="4041" y="1031"/>
                  <a:pt x="4154" y="1031"/>
                </a:cubicBezTo>
                <a:close/>
                <a:moveTo>
                  <a:pt x="4479" y="608"/>
                </a:moveTo>
                <a:cubicBezTo>
                  <a:pt x="4535" y="608"/>
                  <a:pt x="4578" y="565"/>
                  <a:pt x="4578" y="509"/>
                </a:cubicBezTo>
                <a:cubicBezTo>
                  <a:pt x="4578" y="452"/>
                  <a:pt x="4535" y="396"/>
                  <a:pt x="4479" y="396"/>
                </a:cubicBezTo>
                <a:cubicBezTo>
                  <a:pt x="4408" y="396"/>
                  <a:pt x="4366" y="452"/>
                  <a:pt x="4366" y="509"/>
                </a:cubicBezTo>
                <a:cubicBezTo>
                  <a:pt x="4366" y="565"/>
                  <a:pt x="4408" y="608"/>
                  <a:pt x="4479" y="608"/>
                </a:cubicBezTo>
                <a:close/>
                <a:moveTo>
                  <a:pt x="8548" y="2514"/>
                </a:moveTo>
                <a:cubicBezTo>
                  <a:pt x="8477" y="2514"/>
                  <a:pt x="8420" y="2571"/>
                  <a:pt x="8420" y="2641"/>
                </a:cubicBezTo>
                <a:cubicBezTo>
                  <a:pt x="8420" y="2712"/>
                  <a:pt x="8477" y="2768"/>
                  <a:pt x="8548" y="2768"/>
                </a:cubicBezTo>
                <a:cubicBezTo>
                  <a:pt x="8618" y="2768"/>
                  <a:pt x="8675" y="2712"/>
                  <a:pt x="8675" y="2641"/>
                </a:cubicBezTo>
                <a:cubicBezTo>
                  <a:pt x="8675" y="2571"/>
                  <a:pt x="8618" y="2514"/>
                  <a:pt x="8548" y="2514"/>
                </a:cubicBezTo>
                <a:close/>
                <a:moveTo>
                  <a:pt x="1554" y="820"/>
                </a:moveTo>
                <a:cubicBezTo>
                  <a:pt x="1639" y="820"/>
                  <a:pt x="1710" y="749"/>
                  <a:pt x="1710" y="664"/>
                </a:cubicBezTo>
                <a:cubicBezTo>
                  <a:pt x="1710" y="579"/>
                  <a:pt x="1639" y="509"/>
                  <a:pt x="1554" y="509"/>
                </a:cubicBezTo>
                <a:cubicBezTo>
                  <a:pt x="1470" y="509"/>
                  <a:pt x="1399" y="579"/>
                  <a:pt x="1399" y="664"/>
                </a:cubicBezTo>
                <a:cubicBezTo>
                  <a:pt x="1399" y="749"/>
                  <a:pt x="1470" y="820"/>
                  <a:pt x="1554" y="820"/>
                </a:cubicBezTo>
                <a:close/>
                <a:moveTo>
                  <a:pt x="1766" y="523"/>
                </a:moveTo>
                <a:cubicBezTo>
                  <a:pt x="1823" y="523"/>
                  <a:pt x="1851" y="481"/>
                  <a:pt x="1851" y="438"/>
                </a:cubicBezTo>
                <a:cubicBezTo>
                  <a:pt x="1851" y="382"/>
                  <a:pt x="1823" y="339"/>
                  <a:pt x="1766" y="339"/>
                </a:cubicBezTo>
                <a:cubicBezTo>
                  <a:pt x="1724" y="339"/>
                  <a:pt x="1682" y="382"/>
                  <a:pt x="1682" y="438"/>
                </a:cubicBezTo>
                <a:cubicBezTo>
                  <a:pt x="1682" y="481"/>
                  <a:pt x="1724" y="523"/>
                  <a:pt x="1766" y="523"/>
                </a:cubicBezTo>
                <a:close/>
                <a:moveTo>
                  <a:pt x="8322" y="1271"/>
                </a:moveTo>
                <a:cubicBezTo>
                  <a:pt x="8364" y="1271"/>
                  <a:pt x="8406" y="1229"/>
                  <a:pt x="8406" y="1173"/>
                </a:cubicBezTo>
                <a:cubicBezTo>
                  <a:pt x="8406" y="1130"/>
                  <a:pt x="8364" y="1088"/>
                  <a:pt x="8322" y="1088"/>
                </a:cubicBezTo>
                <a:cubicBezTo>
                  <a:pt x="8265" y="1088"/>
                  <a:pt x="8223" y="1130"/>
                  <a:pt x="8223" y="1173"/>
                </a:cubicBezTo>
                <a:cubicBezTo>
                  <a:pt x="8223" y="1229"/>
                  <a:pt x="8265" y="1271"/>
                  <a:pt x="8322" y="1271"/>
                </a:cubicBezTo>
                <a:close/>
                <a:moveTo>
                  <a:pt x="3829" y="396"/>
                </a:moveTo>
                <a:cubicBezTo>
                  <a:pt x="3914" y="396"/>
                  <a:pt x="3984" y="325"/>
                  <a:pt x="3984" y="241"/>
                </a:cubicBezTo>
                <a:cubicBezTo>
                  <a:pt x="3984" y="156"/>
                  <a:pt x="3914" y="99"/>
                  <a:pt x="3829" y="99"/>
                </a:cubicBezTo>
                <a:cubicBezTo>
                  <a:pt x="3744" y="99"/>
                  <a:pt x="3674" y="156"/>
                  <a:pt x="3674" y="241"/>
                </a:cubicBezTo>
                <a:cubicBezTo>
                  <a:pt x="3674" y="325"/>
                  <a:pt x="3744" y="396"/>
                  <a:pt x="3829" y="396"/>
                </a:cubicBezTo>
                <a:close/>
                <a:moveTo>
                  <a:pt x="6753" y="947"/>
                </a:moveTo>
                <a:cubicBezTo>
                  <a:pt x="6838" y="947"/>
                  <a:pt x="6909" y="876"/>
                  <a:pt x="6909" y="791"/>
                </a:cubicBezTo>
                <a:cubicBezTo>
                  <a:pt x="6909" y="707"/>
                  <a:pt x="6838" y="650"/>
                  <a:pt x="6753" y="650"/>
                </a:cubicBezTo>
                <a:cubicBezTo>
                  <a:pt x="6669" y="650"/>
                  <a:pt x="6612" y="707"/>
                  <a:pt x="6612" y="791"/>
                </a:cubicBezTo>
                <a:cubicBezTo>
                  <a:pt x="6612" y="876"/>
                  <a:pt x="6669" y="947"/>
                  <a:pt x="6753" y="947"/>
                </a:cubicBezTo>
                <a:close/>
                <a:moveTo>
                  <a:pt x="7912" y="1003"/>
                </a:moveTo>
                <a:cubicBezTo>
                  <a:pt x="8011" y="1003"/>
                  <a:pt x="8081" y="932"/>
                  <a:pt x="8081" y="834"/>
                </a:cubicBezTo>
                <a:cubicBezTo>
                  <a:pt x="8081" y="749"/>
                  <a:pt x="8011" y="678"/>
                  <a:pt x="7912" y="678"/>
                </a:cubicBezTo>
                <a:cubicBezTo>
                  <a:pt x="7827" y="678"/>
                  <a:pt x="7756" y="749"/>
                  <a:pt x="7756" y="834"/>
                </a:cubicBezTo>
                <a:cubicBezTo>
                  <a:pt x="7756" y="932"/>
                  <a:pt x="7827" y="1003"/>
                  <a:pt x="7912" y="1003"/>
                </a:cubicBezTo>
                <a:close/>
                <a:moveTo>
                  <a:pt x="8110" y="721"/>
                </a:moveTo>
                <a:cubicBezTo>
                  <a:pt x="8166" y="721"/>
                  <a:pt x="8194" y="692"/>
                  <a:pt x="8194" y="636"/>
                </a:cubicBezTo>
                <a:cubicBezTo>
                  <a:pt x="8194" y="594"/>
                  <a:pt x="8166" y="551"/>
                  <a:pt x="8110" y="551"/>
                </a:cubicBezTo>
                <a:cubicBezTo>
                  <a:pt x="8067" y="551"/>
                  <a:pt x="8039" y="594"/>
                  <a:pt x="8039" y="636"/>
                </a:cubicBezTo>
                <a:cubicBezTo>
                  <a:pt x="8039" y="692"/>
                  <a:pt x="8067" y="721"/>
                  <a:pt x="8110" y="721"/>
                </a:cubicBezTo>
                <a:close/>
                <a:moveTo>
                  <a:pt x="8562" y="1893"/>
                </a:moveTo>
                <a:cubicBezTo>
                  <a:pt x="8562" y="1879"/>
                  <a:pt x="8576" y="1850"/>
                  <a:pt x="8576" y="1836"/>
                </a:cubicBezTo>
                <a:cubicBezTo>
                  <a:pt x="8576" y="1639"/>
                  <a:pt x="8420" y="1469"/>
                  <a:pt x="8223" y="1455"/>
                </a:cubicBezTo>
                <a:cubicBezTo>
                  <a:pt x="8194" y="1370"/>
                  <a:pt x="8110" y="1314"/>
                  <a:pt x="8011" y="1314"/>
                </a:cubicBezTo>
                <a:cubicBezTo>
                  <a:pt x="7884" y="1314"/>
                  <a:pt x="7771" y="1427"/>
                  <a:pt x="7771" y="1554"/>
                </a:cubicBezTo>
                <a:cubicBezTo>
                  <a:pt x="7771" y="1568"/>
                  <a:pt x="7771" y="1582"/>
                  <a:pt x="7785" y="1596"/>
                </a:cubicBezTo>
                <a:cubicBezTo>
                  <a:pt x="7714" y="1582"/>
                  <a:pt x="7658" y="1568"/>
                  <a:pt x="7601" y="1568"/>
                </a:cubicBezTo>
                <a:cubicBezTo>
                  <a:pt x="7516" y="1568"/>
                  <a:pt x="7516" y="1568"/>
                  <a:pt x="7516" y="1568"/>
                </a:cubicBezTo>
                <a:cubicBezTo>
                  <a:pt x="7516" y="1540"/>
                  <a:pt x="7502" y="1497"/>
                  <a:pt x="7488" y="1469"/>
                </a:cubicBezTo>
                <a:cubicBezTo>
                  <a:pt x="7516" y="1469"/>
                  <a:pt x="7530" y="1469"/>
                  <a:pt x="7544" y="1469"/>
                </a:cubicBezTo>
                <a:cubicBezTo>
                  <a:pt x="7714" y="1469"/>
                  <a:pt x="7841" y="1342"/>
                  <a:pt x="7841" y="1173"/>
                </a:cubicBezTo>
                <a:cubicBezTo>
                  <a:pt x="7841" y="1003"/>
                  <a:pt x="7714" y="876"/>
                  <a:pt x="7544" y="876"/>
                </a:cubicBezTo>
                <a:cubicBezTo>
                  <a:pt x="7375" y="876"/>
                  <a:pt x="7248" y="1003"/>
                  <a:pt x="7248" y="1173"/>
                </a:cubicBezTo>
                <a:cubicBezTo>
                  <a:pt x="7248" y="1173"/>
                  <a:pt x="7248" y="1173"/>
                  <a:pt x="7248" y="1173"/>
                </a:cubicBezTo>
                <a:cubicBezTo>
                  <a:pt x="7177" y="1130"/>
                  <a:pt x="7092" y="1116"/>
                  <a:pt x="6994" y="1116"/>
                </a:cubicBezTo>
                <a:cubicBezTo>
                  <a:pt x="6881" y="1116"/>
                  <a:pt x="6782" y="1144"/>
                  <a:pt x="6697" y="1215"/>
                </a:cubicBezTo>
                <a:cubicBezTo>
                  <a:pt x="6697" y="1187"/>
                  <a:pt x="6697" y="1158"/>
                  <a:pt x="6697" y="1144"/>
                </a:cubicBezTo>
                <a:cubicBezTo>
                  <a:pt x="6697" y="989"/>
                  <a:pt x="6584" y="862"/>
                  <a:pt x="6428" y="862"/>
                </a:cubicBezTo>
                <a:cubicBezTo>
                  <a:pt x="6330" y="862"/>
                  <a:pt x="6245" y="918"/>
                  <a:pt x="6188" y="989"/>
                </a:cubicBezTo>
                <a:cubicBezTo>
                  <a:pt x="6188" y="989"/>
                  <a:pt x="6188" y="989"/>
                  <a:pt x="6188" y="989"/>
                </a:cubicBezTo>
                <a:cubicBezTo>
                  <a:pt x="6061" y="989"/>
                  <a:pt x="5934" y="1074"/>
                  <a:pt x="5877" y="1173"/>
                </a:cubicBezTo>
                <a:cubicBezTo>
                  <a:pt x="5863" y="1173"/>
                  <a:pt x="5849" y="1173"/>
                  <a:pt x="5835" y="1173"/>
                </a:cubicBezTo>
                <a:cubicBezTo>
                  <a:pt x="5779" y="1173"/>
                  <a:pt x="5736" y="1201"/>
                  <a:pt x="5694" y="1257"/>
                </a:cubicBezTo>
                <a:cubicBezTo>
                  <a:pt x="5666" y="1187"/>
                  <a:pt x="5595" y="1144"/>
                  <a:pt x="5510" y="1144"/>
                </a:cubicBezTo>
                <a:cubicBezTo>
                  <a:pt x="5468" y="1144"/>
                  <a:pt x="5411" y="1158"/>
                  <a:pt x="5383" y="1187"/>
                </a:cubicBezTo>
                <a:cubicBezTo>
                  <a:pt x="5355" y="1003"/>
                  <a:pt x="5213" y="862"/>
                  <a:pt x="5044" y="820"/>
                </a:cubicBezTo>
                <a:cubicBezTo>
                  <a:pt x="5030" y="763"/>
                  <a:pt x="4973" y="707"/>
                  <a:pt x="4917" y="707"/>
                </a:cubicBezTo>
                <a:cubicBezTo>
                  <a:pt x="4832" y="707"/>
                  <a:pt x="4776" y="777"/>
                  <a:pt x="4776" y="848"/>
                </a:cubicBezTo>
                <a:cubicBezTo>
                  <a:pt x="4776" y="848"/>
                  <a:pt x="4776" y="848"/>
                  <a:pt x="4776" y="848"/>
                </a:cubicBezTo>
                <a:cubicBezTo>
                  <a:pt x="4691" y="890"/>
                  <a:pt x="4606" y="961"/>
                  <a:pt x="4564" y="1045"/>
                </a:cubicBezTo>
                <a:cubicBezTo>
                  <a:pt x="4535" y="1045"/>
                  <a:pt x="4521" y="1045"/>
                  <a:pt x="4507" y="1045"/>
                </a:cubicBezTo>
                <a:cubicBezTo>
                  <a:pt x="4380" y="1045"/>
                  <a:pt x="4281" y="1130"/>
                  <a:pt x="4253" y="1243"/>
                </a:cubicBezTo>
                <a:cubicBezTo>
                  <a:pt x="4225" y="1243"/>
                  <a:pt x="4196" y="1229"/>
                  <a:pt x="4168" y="1229"/>
                </a:cubicBezTo>
                <a:cubicBezTo>
                  <a:pt x="4112" y="1229"/>
                  <a:pt x="4041" y="1243"/>
                  <a:pt x="3984" y="1257"/>
                </a:cubicBezTo>
                <a:cubicBezTo>
                  <a:pt x="3956" y="1102"/>
                  <a:pt x="3829" y="989"/>
                  <a:pt x="3659" y="989"/>
                </a:cubicBezTo>
                <a:cubicBezTo>
                  <a:pt x="3589" y="989"/>
                  <a:pt x="3504" y="1017"/>
                  <a:pt x="3462" y="1074"/>
                </a:cubicBezTo>
                <a:cubicBezTo>
                  <a:pt x="3433" y="1031"/>
                  <a:pt x="3391" y="1017"/>
                  <a:pt x="3363" y="1003"/>
                </a:cubicBezTo>
                <a:cubicBezTo>
                  <a:pt x="3363" y="1003"/>
                  <a:pt x="3363" y="989"/>
                  <a:pt x="3363" y="989"/>
                </a:cubicBezTo>
                <a:cubicBezTo>
                  <a:pt x="3363" y="918"/>
                  <a:pt x="3349" y="862"/>
                  <a:pt x="3320" y="805"/>
                </a:cubicBezTo>
                <a:cubicBezTo>
                  <a:pt x="3349" y="834"/>
                  <a:pt x="3391" y="848"/>
                  <a:pt x="3448" y="848"/>
                </a:cubicBezTo>
                <a:cubicBezTo>
                  <a:pt x="3476" y="848"/>
                  <a:pt x="3490" y="834"/>
                  <a:pt x="3518" y="834"/>
                </a:cubicBezTo>
                <a:cubicBezTo>
                  <a:pt x="3518" y="890"/>
                  <a:pt x="3575" y="947"/>
                  <a:pt x="3631" y="947"/>
                </a:cubicBezTo>
                <a:cubicBezTo>
                  <a:pt x="3702" y="947"/>
                  <a:pt x="3744" y="890"/>
                  <a:pt x="3744" y="834"/>
                </a:cubicBezTo>
                <a:cubicBezTo>
                  <a:pt x="3744" y="777"/>
                  <a:pt x="3716" y="735"/>
                  <a:pt x="3674" y="721"/>
                </a:cubicBezTo>
                <a:cubicBezTo>
                  <a:pt x="3702" y="678"/>
                  <a:pt x="3716" y="622"/>
                  <a:pt x="3716" y="565"/>
                </a:cubicBezTo>
                <a:cubicBezTo>
                  <a:pt x="3716" y="424"/>
                  <a:pt x="3589" y="297"/>
                  <a:pt x="3448" y="297"/>
                </a:cubicBezTo>
                <a:cubicBezTo>
                  <a:pt x="3292" y="297"/>
                  <a:pt x="3179" y="424"/>
                  <a:pt x="3179" y="565"/>
                </a:cubicBezTo>
                <a:cubicBezTo>
                  <a:pt x="3179" y="608"/>
                  <a:pt x="3179" y="636"/>
                  <a:pt x="3193" y="664"/>
                </a:cubicBezTo>
                <a:cubicBezTo>
                  <a:pt x="3123" y="622"/>
                  <a:pt x="3052" y="594"/>
                  <a:pt x="2967" y="594"/>
                </a:cubicBezTo>
                <a:cubicBezTo>
                  <a:pt x="2755" y="594"/>
                  <a:pt x="2586" y="777"/>
                  <a:pt x="2586" y="989"/>
                </a:cubicBezTo>
                <a:cubicBezTo>
                  <a:pt x="2586" y="1017"/>
                  <a:pt x="2586" y="1045"/>
                  <a:pt x="2600" y="1074"/>
                </a:cubicBezTo>
                <a:cubicBezTo>
                  <a:pt x="2529" y="1045"/>
                  <a:pt x="2459" y="1017"/>
                  <a:pt x="2374" y="1017"/>
                </a:cubicBezTo>
                <a:cubicBezTo>
                  <a:pt x="2346" y="1017"/>
                  <a:pt x="2317" y="1031"/>
                  <a:pt x="2289" y="1031"/>
                </a:cubicBezTo>
                <a:cubicBezTo>
                  <a:pt x="2303" y="1003"/>
                  <a:pt x="2317" y="961"/>
                  <a:pt x="2317" y="918"/>
                </a:cubicBezTo>
                <a:cubicBezTo>
                  <a:pt x="2317" y="791"/>
                  <a:pt x="2204" y="678"/>
                  <a:pt x="2063" y="678"/>
                </a:cubicBezTo>
                <a:cubicBezTo>
                  <a:pt x="1922" y="678"/>
                  <a:pt x="1809" y="791"/>
                  <a:pt x="1809" y="918"/>
                </a:cubicBezTo>
                <a:cubicBezTo>
                  <a:pt x="1809" y="1045"/>
                  <a:pt x="1908" y="1158"/>
                  <a:pt x="2021" y="1173"/>
                </a:cubicBezTo>
                <a:cubicBezTo>
                  <a:pt x="1978" y="1215"/>
                  <a:pt x="1950" y="1257"/>
                  <a:pt x="1922" y="1300"/>
                </a:cubicBezTo>
                <a:cubicBezTo>
                  <a:pt x="1908" y="1158"/>
                  <a:pt x="1781" y="1045"/>
                  <a:pt x="1639" y="1045"/>
                </a:cubicBezTo>
                <a:cubicBezTo>
                  <a:pt x="1597" y="1045"/>
                  <a:pt x="1554" y="1045"/>
                  <a:pt x="1526" y="1060"/>
                </a:cubicBezTo>
                <a:cubicBezTo>
                  <a:pt x="1526" y="1045"/>
                  <a:pt x="1526" y="1031"/>
                  <a:pt x="1526" y="1017"/>
                </a:cubicBezTo>
                <a:cubicBezTo>
                  <a:pt x="1526" y="862"/>
                  <a:pt x="1399" y="735"/>
                  <a:pt x="1230" y="735"/>
                </a:cubicBezTo>
                <a:cubicBezTo>
                  <a:pt x="1074" y="735"/>
                  <a:pt x="947" y="862"/>
                  <a:pt x="947" y="1017"/>
                </a:cubicBezTo>
                <a:cubicBezTo>
                  <a:pt x="947" y="1031"/>
                  <a:pt x="947" y="1045"/>
                  <a:pt x="947" y="1045"/>
                </a:cubicBezTo>
                <a:cubicBezTo>
                  <a:pt x="919" y="1045"/>
                  <a:pt x="890" y="1031"/>
                  <a:pt x="848" y="1031"/>
                </a:cubicBezTo>
                <a:cubicBezTo>
                  <a:pt x="636" y="1031"/>
                  <a:pt x="467" y="1215"/>
                  <a:pt x="467" y="1427"/>
                </a:cubicBezTo>
                <a:cubicBezTo>
                  <a:pt x="467" y="1483"/>
                  <a:pt x="481" y="1540"/>
                  <a:pt x="509" y="1596"/>
                </a:cubicBezTo>
                <a:cubicBezTo>
                  <a:pt x="212" y="1667"/>
                  <a:pt x="0" y="1935"/>
                  <a:pt x="0" y="2246"/>
                </a:cubicBezTo>
                <a:cubicBezTo>
                  <a:pt x="0" y="9095"/>
                  <a:pt x="0" y="9095"/>
                  <a:pt x="0" y="9095"/>
                </a:cubicBezTo>
                <a:cubicBezTo>
                  <a:pt x="0" y="9476"/>
                  <a:pt x="311" y="9772"/>
                  <a:pt x="679" y="9772"/>
                </a:cubicBezTo>
                <a:cubicBezTo>
                  <a:pt x="7601" y="9772"/>
                  <a:pt x="7601" y="9772"/>
                  <a:pt x="7601" y="9772"/>
                </a:cubicBezTo>
                <a:cubicBezTo>
                  <a:pt x="7968" y="9772"/>
                  <a:pt x="8279" y="9476"/>
                  <a:pt x="8279" y="9095"/>
                </a:cubicBezTo>
                <a:cubicBezTo>
                  <a:pt x="8279" y="3093"/>
                  <a:pt x="8279" y="3093"/>
                  <a:pt x="8279" y="3093"/>
                </a:cubicBezTo>
                <a:cubicBezTo>
                  <a:pt x="8378" y="3065"/>
                  <a:pt x="8449" y="2980"/>
                  <a:pt x="8449" y="2881"/>
                </a:cubicBezTo>
                <a:cubicBezTo>
                  <a:pt x="8449" y="2782"/>
                  <a:pt x="8378" y="2698"/>
                  <a:pt x="8293" y="2669"/>
                </a:cubicBezTo>
                <a:cubicBezTo>
                  <a:pt x="8293" y="2655"/>
                  <a:pt x="8307" y="2627"/>
                  <a:pt x="8307" y="2599"/>
                </a:cubicBezTo>
                <a:cubicBezTo>
                  <a:pt x="8307" y="2571"/>
                  <a:pt x="8293" y="2542"/>
                  <a:pt x="8293" y="2514"/>
                </a:cubicBezTo>
                <a:cubicBezTo>
                  <a:pt x="8406" y="2514"/>
                  <a:pt x="8491" y="2415"/>
                  <a:pt x="8491" y="2302"/>
                </a:cubicBezTo>
                <a:cubicBezTo>
                  <a:pt x="8491" y="2232"/>
                  <a:pt x="8463" y="2175"/>
                  <a:pt x="8420" y="2133"/>
                </a:cubicBezTo>
                <a:cubicBezTo>
                  <a:pt x="8420" y="2133"/>
                  <a:pt x="8435" y="2119"/>
                  <a:pt x="8435" y="2119"/>
                </a:cubicBezTo>
                <a:cubicBezTo>
                  <a:pt x="8463" y="2147"/>
                  <a:pt x="8505" y="2175"/>
                  <a:pt x="8548" y="2175"/>
                </a:cubicBezTo>
                <a:cubicBezTo>
                  <a:pt x="8618" y="2175"/>
                  <a:pt x="8675" y="2105"/>
                  <a:pt x="8675" y="2034"/>
                </a:cubicBezTo>
                <a:cubicBezTo>
                  <a:pt x="8675" y="1963"/>
                  <a:pt x="8632" y="1907"/>
                  <a:pt x="8562" y="1893"/>
                </a:cubicBezTo>
                <a:close/>
                <a:moveTo>
                  <a:pt x="5736" y="1017"/>
                </a:moveTo>
                <a:cubicBezTo>
                  <a:pt x="5736" y="1088"/>
                  <a:pt x="5779" y="1130"/>
                  <a:pt x="5849" y="1130"/>
                </a:cubicBezTo>
                <a:cubicBezTo>
                  <a:pt x="5906" y="1130"/>
                  <a:pt x="5962" y="1088"/>
                  <a:pt x="5962" y="1017"/>
                </a:cubicBezTo>
                <a:cubicBezTo>
                  <a:pt x="5962" y="961"/>
                  <a:pt x="5906" y="904"/>
                  <a:pt x="5849" y="904"/>
                </a:cubicBezTo>
                <a:cubicBezTo>
                  <a:pt x="5779" y="904"/>
                  <a:pt x="5736" y="961"/>
                  <a:pt x="5736" y="1017"/>
                </a:cubicBezTo>
                <a:close/>
              </a:path>
            </a:pathLst>
          </a:custGeom>
          <a:solidFill>
            <a:srgbClr val="C0C0C0"/>
          </a:solidFill>
          <a:ln w="0">
            <a:noFill/>
            <a:prstDash val="solid"/>
            <a:round/>
            <a:headEnd/>
            <a:tailEnd/>
          </a:ln>
        </p:spPr>
        <p:txBody>
          <a:bodyPr vert="horz" wrap="square" lIns="91284" tIns="45642" rIns="91284" bIns="45642" numCol="1" anchor="t" anchorCtr="0" compatLnSpc="1">
            <a:prstTxWarp prst="textNoShape">
              <a:avLst/>
            </a:prstTxWarp>
          </a:bodyPr>
          <a:lstStyle/>
          <a:p>
            <a:pPr defTabSz="912644"/>
            <a:endParaRPr lang="fr-FR" sz="1800" u="sng">
              <a:solidFill>
                <a:srgbClr val="000000"/>
              </a:solidFill>
              <a:cs typeface="+mn-cs"/>
            </a:endParaRPr>
          </a:p>
        </p:txBody>
      </p:sp>
      <p:sp>
        <p:nvSpPr>
          <p:cNvPr id="7" name="AutoShape 6"/>
          <p:cNvSpPr>
            <a:spLocks noChangeArrowheads="1"/>
          </p:cNvSpPr>
          <p:nvPr userDrawn="1"/>
        </p:nvSpPr>
        <p:spPr bwMode="auto">
          <a:xfrm>
            <a:off x="4935545" y="1366838"/>
            <a:ext cx="3648075" cy="3055144"/>
          </a:xfrm>
          <a:prstGeom prst="roundRect">
            <a:avLst>
              <a:gd name="adj" fmla="val 6125"/>
            </a:avLst>
          </a:prstGeom>
          <a:solidFill>
            <a:schemeClr val="bg2"/>
          </a:solidFill>
          <a:ln w="76200">
            <a:noFill/>
            <a:round/>
            <a:headEnd/>
            <a:tailEnd/>
          </a:ln>
        </p:spPr>
        <p:txBody>
          <a:bodyPr wrap="none" lIns="91284" tIns="45642" rIns="91284" bIns="45642" anchor="ctr"/>
          <a:lstStyle/>
          <a:p>
            <a:pPr defTabSz="912644">
              <a:defRPr/>
            </a:pPr>
            <a:endParaRPr lang="fr-FR" sz="1800" u="sng">
              <a:solidFill>
                <a:srgbClr val="000000"/>
              </a:solidFill>
              <a:cs typeface="+mn-cs"/>
            </a:endParaRPr>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83"/>
            <a:ext cx="3935412" cy="3391982"/>
          </a:xfrm>
        </p:spPr>
        <p:txBody>
          <a:bodyPr/>
          <a:lstStyle>
            <a:lvl1pPr marL="0" indent="1588">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13" name="Espace réservé pour une image  15"/>
          <p:cNvSpPr>
            <a:spLocks noGrp="1"/>
          </p:cNvSpPr>
          <p:nvPr>
            <p:ph type="pic" sz="quarter" idx="16"/>
          </p:nvPr>
        </p:nvSpPr>
        <p:spPr>
          <a:xfrm>
            <a:off x="5000629" y="1422118"/>
            <a:ext cx="3500462" cy="2468174"/>
          </a:xfrm>
          <a:prstGeom prst="roundRect">
            <a:avLst>
              <a:gd name="adj" fmla="val 6361"/>
            </a:avLst>
          </a:prstGeom>
          <a:solidFill>
            <a:schemeClr val="bg1"/>
          </a:solidFill>
        </p:spPr>
        <p:txBody>
          <a:bodyPr/>
          <a:lstStyle/>
          <a:p>
            <a:pPr lvl="0"/>
            <a:r>
              <a:rPr lang="en-US" noProof="0"/>
              <a:t>Click icon to add picture</a:t>
            </a:r>
            <a:endParaRPr lang="fr-FR" noProof="0"/>
          </a:p>
        </p:txBody>
      </p:sp>
      <p:sp>
        <p:nvSpPr>
          <p:cNvPr id="15" name="Espace réservé du texte 14"/>
          <p:cNvSpPr>
            <a:spLocks noGrp="1"/>
          </p:cNvSpPr>
          <p:nvPr>
            <p:ph type="body" sz="quarter" idx="17"/>
          </p:nvPr>
        </p:nvSpPr>
        <p:spPr>
          <a:xfrm>
            <a:off x="5154613" y="3943352"/>
            <a:ext cx="3276600" cy="450069"/>
          </a:xfrm>
        </p:spPr>
        <p:txBody>
          <a:bodyPr/>
          <a:lstStyle>
            <a:lvl1pPr marL="0" indent="0">
              <a:lnSpc>
                <a:spcPts val="1200"/>
              </a:lnSpc>
              <a:spcBef>
                <a:spcPts val="1400"/>
              </a:spcBef>
              <a:defRPr sz="1100">
                <a:solidFill>
                  <a:schemeClr val="bg1"/>
                </a:solidFill>
              </a:defRPr>
            </a:lvl1pPr>
          </a:lstStyle>
          <a:p>
            <a:pPr lvl="0"/>
            <a:r>
              <a:rPr lang="en-US"/>
              <a:t>Click to edit Master text styles</a:t>
            </a:r>
          </a:p>
        </p:txBody>
      </p:sp>
      <p:sp>
        <p:nvSpPr>
          <p:cNvPr id="10" name="Rectangle 1029"/>
          <p:cNvSpPr>
            <a:spLocks noGrp="1" noChangeArrowheads="1"/>
          </p:cNvSpPr>
          <p:nvPr>
            <p:ph type="sldNum" sz="quarter" idx="18"/>
          </p:nvPr>
        </p:nvSpPr>
        <p:spPr/>
        <p:txBody>
          <a:bodyPr/>
          <a:lstStyle>
            <a:lvl1pPr>
              <a:defRPr/>
            </a:lvl1pPr>
          </a:lstStyle>
          <a:p>
            <a:pPr>
              <a:defRPr/>
            </a:pPr>
            <a:fld id="{E0362FA9-9908-4318-B162-5007B8E1BD64}" type="slidenum">
              <a:rPr lang="en-GB">
                <a:solidFill>
                  <a:srgbClr val="C0C0C0"/>
                </a:solidFill>
              </a:rPr>
              <a:pPr>
                <a:defRPr/>
              </a:pPr>
              <a:t>‹#›</a:t>
            </a:fld>
            <a:endParaRPr lang="en-GB">
              <a:solidFill>
                <a:srgbClr val="C0C0C0"/>
              </a:solidFill>
            </a:endParaRPr>
          </a:p>
        </p:txBody>
      </p:sp>
      <p:sp>
        <p:nvSpPr>
          <p:cNvPr id="11" name="Rectangle 1030"/>
          <p:cNvSpPr>
            <a:spLocks noGrp="1" noChangeArrowheads="1"/>
          </p:cNvSpPr>
          <p:nvPr>
            <p:ph type="ftr" sz="quarter" idx="19"/>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2607809621"/>
      </p:ext>
    </p:extLst>
  </p:cSld>
  <p:clrMapOvr>
    <a:masterClrMapping/>
  </p:clrMapOvr>
  <p:transition spd="slow">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 and large picture">
    <p:spTree>
      <p:nvGrpSpPr>
        <p:cNvPr id="1" name=""/>
        <p:cNvGrpSpPr/>
        <p:nvPr/>
      </p:nvGrpSpPr>
      <p:grpSpPr>
        <a:xfrm>
          <a:off x="0" y="0"/>
          <a:ext cx="0" cy="0"/>
          <a:chOff x="0" y="0"/>
          <a:chExt cx="0" cy="0"/>
        </a:xfrm>
      </p:grpSpPr>
      <p:sp>
        <p:nvSpPr>
          <p:cNvPr id="11" name="Freeform 6"/>
          <p:cNvSpPr>
            <a:spLocks noEditPoints="1"/>
          </p:cNvSpPr>
          <p:nvPr userDrawn="1"/>
        </p:nvSpPr>
        <p:spPr bwMode="auto">
          <a:xfrm>
            <a:off x="5369687" y="1404760"/>
            <a:ext cx="3379787" cy="2792016"/>
          </a:xfrm>
          <a:custGeom>
            <a:avLst/>
            <a:gdLst/>
            <a:ahLst/>
            <a:cxnLst>
              <a:cxn ang="0">
                <a:pos x="8675" y="1568"/>
              </a:cxn>
              <a:cxn ang="0">
                <a:pos x="5553" y="1003"/>
              </a:cxn>
              <a:cxn ang="0">
                <a:pos x="5270" y="707"/>
              </a:cxn>
              <a:cxn ang="0">
                <a:pos x="6160" y="325"/>
              </a:cxn>
              <a:cxn ang="0">
                <a:pos x="6005" y="481"/>
              </a:cxn>
              <a:cxn ang="0">
                <a:pos x="2402" y="410"/>
              </a:cxn>
              <a:cxn ang="0">
                <a:pos x="2699" y="452"/>
              </a:cxn>
              <a:cxn ang="0">
                <a:pos x="2558" y="311"/>
              </a:cxn>
              <a:cxn ang="0">
                <a:pos x="3038" y="99"/>
              </a:cxn>
              <a:cxn ang="0">
                <a:pos x="2939" y="198"/>
              </a:cxn>
              <a:cxn ang="0">
                <a:pos x="4154" y="650"/>
              </a:cxn>
              <a:cxn ang="0">
                <a:pos x="4479" y="608"/>
              </a:cxn>
              <a:cxn ang="0">
                <a:pos x="4366" y="509"/>
              </a:cxn>
              <a:cxn ang="0">
                <a:pos x="8420" y="2641"/>
              </a:cxn>
              <a:cxn ang="0">
                <a:pos x="8548" y="2514"/>
              </a:cxn>
              <a:cxn ang="0">
                <a:pos x="1554" y="509"/>
              </a:cxn>
              <a:cxn ang="0">
                <a:pos x="1766" y="523"/>
              </a:cxn>
              <a:cxn ang="0">
                <a:pos x="1682" y="438"/>
              </a:cxn>
              <a:cxn ang="0">
                <a:pos x="8406" y="1173"/>
              </a:cxn>
              <a:cxn ang="0">
                <a:pos x="8322" y="1271"/>
              </a:cxn>
              <a:cxn ang="0">
                <a:pos x="3829" y="99"/>
              </a:cxn>
              <a:cxn ang="0">
                <a:pos x="6753" y="947"/>
              </a:cxn>
              <a:cxn ang="0">
                <a:pos x="6612" y="791"/>
              </a:cxn>
              <a:cxn ang="0">
                <a:pos x="8081" y="834"/>
              </a:cxn>
              <a:cxn ang="0">
                <a:pos x="7912" y="1003"/>
              </a:cxn>
              <a:cxn ang="0">
                <a:pos x="8110" y="551"/>
              </a:cxn>
              <a:cxn ang="0">
                <a:pos x="8562" y="1893"/>
              </a:cxn>
              <a:cxn ang="0">
                <a:pos x="8011" y="1314"/>
              </a:cxn>
              <a:cxn ang="0">
                <a:pos x="7601" y="1568"/>
              </a:cxn>
              <a:cxn ang="0">
                <a:pos x="7544" y="1469"/>
              </a:cxn>
              <a:cxn ang="0">
                <a:pos x="7248" y="1173"/>
              </a:cxn>
              <a:cxn ang="0">
                <a:pos x="6697" y="1215"/>
              </a:cxn>
              <a:cxn ang="0">
                <a:pos x="6188" y="989"/>
              </a:cxn>
              <a:cxn ang="0">
                <a:pos x="5835" y="1173"/>
              </a:cxn>
              <a:cxn ang="0">
                <a:pos x="5383" y="1187"/>
              </a:cxn>
              <a:cxn ang="0">
                <a:pos x="4776" y="848"/>
              </a:cxn>
              <a:cxn ang="0">
                <a:pos x="4507" y="1045"/>
              </a:cxn>
              <a:cxn ang="0">
                <a:pos x="3984" y="1257"/>
              </a:cxn>
              <a:cxn ang="0">
                <a:pos x="3363" y="1003"/>
              </a:cxn>
              <a:cxn ang="0">
                <a:pos x="3448" y="848"/>
              </a:cxn>
              <a:cxn ang="0">
                <a:pos x="3744" y="834"/>
              </a:cxn>
              <a:cxn ang="0">
                <a:pos x="3448" y="297"/>
              </a:cxn>
              <a:cxn ang="0">
                <a:pos x="2967" y="594"/>
              </a:cxn>
              <a:cxn ang="0">
                <a:pos x="2374" y="1017"/>
              </a:cxn>
              <a:cxn ang="0">
                <a:pos x="2063" y="678"/>
              </a:cxn>
              <a:cxn ang="0">
                <a:pos x="1922" y="1300"/>
              </a:cxn>
              <a:cxn ang="0">
                <a:pos x="1526" y="1017"/>
              </a:cxn>
              <a:cxn ang="0">
                <a:pos x="947" y="1045"/>
              </a:cxn>
              <a:cxn ang="0">
                <a:pos x="509" y="1596"/>
              </a:cxn>
              <a:cxn ang="0">
                <a:pos x="679" y="9772"/>
              </a:cxn>
              <a:cxn ang="0">
                <a:pos x="8279" y="3093"/>
              </a:cxn>
              <a:cxn ang="0">
                <a:pos x="8307" y="2599"/>
              </a:cxn>
              <a:cxn ang="0">
                <a:pos x="8420" y="2133"/>
              </a:cxn>
              <a:cxn ang="0">
                <a:pos x="8675" y="2034"/>
              </a:cxn>
              <a:cxn ang="0">
                <a:pos x="5849" y="1130"/>
              </a:cxn>
              <a:cxn ang="0">
                <a:pos x="5736" y="1017"/>
              </a:cxn>
            </a:cxnLst>
            <a:rect l="0" t="0" r="r" b="b"/>
            <a:pathLst>
              <a:path w="8872" h="9772">
                <a:moveTo>
                  <a:pt x="8675" y="1158"/>
                </a:moveTo>
                <a:cubicBezTo>
                  <a:pt x="8562" y="1158"/>
                  <a:pt x="8463" y="1243"/>
                  <a:pt x="8463" y="1356"/>
                </a:cubicBezTo>
                <a:cubicBezTo>
                  <a:pt x="8463" y="1469"/>
                  <a:pt x="8562" y="1568"/>
                  <a:pt x="8675" y="1568"/>
                </a:cubicBezTo>
                <a:cubicBezTo>
                  <a:pt x="8788" y="1568"/>
                  <a:pt x="8872" y="1469"/>
                  <a:pt x="8872" y="1356"/>
                </a:cubicBezTo>
                <a:cubicBezTo>
                  <a:pt x="8872" y="1243"/>
                  <a:pt x="8788" y="1158"/>
                  <a:pt x="8675" y="1158"/>
                </a:cubicBezTo>
                <a:close/>
                <a:moveTo>
                  <a:pt x="5553" y="1003"/>
                </a:moveTo>
                <a:cubicBezTo>
                  <a:pt x="5722" y="1003"/>
                  <a:pt x="5849" y="862"/>
                  <a:pt x="5849" y="707"/>
                </a:cubicBezTo>
                <a:cubicBezTo>
                  <a:pt x="5849" y="537"/>
                  <a:pt x="5722" y="410"/>
                  <a:pt x="5553" y="410"/>
                </a:cubicBezTo>
                <a:cubicBezTo>
                  <a:pt x="5397" y="410"/>
                  <a:pt x="5270" y="537"/>
                  <a:pt x="5270" y="707"/>
                </a:cubicBezTo>
                <a:cubicBezTo>
                  <a:pt x="5270" y="862"/>
                  <a:pt x="5397" y="1003"/>
                  <a:pt x="5553" y="1003"/>
                </a:cubicBezTo>
                <a:close/>
                <a:moveTo>
                  <a:pt x="6005" y="481"/>
                </a:moveTo>
                <a:cubicBezTo>
                  <a:pt x="6089" y="481"/>
                  <a:pt x="6160" y="410"/>
                  <a:pt x="6160" y="325"/>
                </a:cubicBezTo>
                <a:cubicBezTo>
                  <a:pt x="6160" y="241"/>
                  <a:pt x="6089" y="184"/>
                  <a:pt x="6005" y="184"/>
                </a:cubicBezTo>
                <a:cubicBezTo>
                  <a:pt x="5920" y="184"/>
                  <a:pt x="5849" y="241"/>
                  <a:pt x="5849" y="325"/>
                </a:cubicBezTo>
                <a:cubicBezTo>
                  <a:pt x="5849" y="410"/>
                  <a:pt x="5920" y="481"/>
                  <a:pt x="6005" y="481"/>
                </a:cubicBezTo>
                <a:close/>
                <a:moveTo>
                  <a:pt x="2402" y="777"/>
                </a:moveTo>
                <a:cubicBezTo>
                  <a:pt x="2501" y="777"/>
                  <a:pt x="2586" y="692"/>
                  <a:pt x="2586" y="594"/>
                </a:cubicBezTo>
                <a:cubicBezTo>
                  <a:pt x="2586" y="495"/>
                  <a:pt x="2501" y="410"/>
                  <a:pt x="2402" y="410"/>
                </a:cubicBezTo>
                <a:cubicBezTo>
                  <a:pt x="2303" y="410"/>
                  <a:pt x="2218" y="495"/>
                  <a:pt x="2218" y="594"/>
                </a:cubicBezTo>
                <a:cubicBezTo>
                  <a:pt x="2218" y="692"/>
                  <a:pt x="2303" y="777"/>
                  <a:pt x="2402" y="777"/>
                </a:cubicBezTo>
                <a:close/>
                <a:moveTo>
                  <a:pt x="2699" y="452"/>
                </a:moveTo>
                <a:cubicBezTo>
                  <a:pt x="2784" y="452"/>
                  <a:pt x="2840" y="396"/>
                  <a:pt x="2840" y="311"/>
                </a:cubicBezTo>
                <a:cubicBezTo>
                  <a:pt x="2840" y="241"/>
                  <a:pt x="2784" y="170"/>
                  <a:pt x="2699" y="170"/>
                </a:cubicBezTo>
                <a:cubicBezTo>
                  <a:pt x="2628" y="170"/>
                  <a:pt x="2558" y="241"/>
                  <a:pt x="2558" y="311"/>
                </a:cubicBezTo>
                <a:cubicBezTo>
                  <a:pt x="2558" y="396"/>
                  <a:pt x="2628" y="452"/>
                  <a:pt x="2699" y="452"/>
                </a:cubicBezTo>
                <a:close/>
                <a:moveTo>
                  <a:pt x="2939" y="198"/>
                </a:moveTo>
                <a:cubicBezTo>
                  <a:pt x="2995" y="198"/>
                  <a:pt x="3038" y="156"/>
                  <a:pt x="3038" y="99"/>
                </a:cubicBezTo>
                <a:cubicBezTo>
                  <a:pt x="3038" y="43"/>
                  <a:pt x="2995" y="0"/>
                  <a:pt x="2939" y="0"/>
                </a:cubicBezTo>
                <a:cubicBezTo>
                  <a:pt x="2882" y="0"/>
                  <a:pt x="2840" y="43"/>
                  <a:pt x="2840" y="99"/>
                </a:cubicBezTo>
                <a:cubicBezTo>
                  <a:pt x="2840" y="156"/>
                  <a:pt x="2882" y="198"/>
                  <a:pt x="2939" y="198"/>
                </a:cubicBezTo>
                <a:close/>
                <a:moveTo>
                  <a:pt x="4154" y="1031"/>
                </a:moveTo>
                <a:cubicBezTo>
                  <a:pt x="4253" y="1031"/>
                  <a:pt x="4338" y="947"/>
                  <a:pt x="4338" y="848"/>
                </a:cubicBezTo>
                <a:cubicBezTo>
                  <a:pt x="4338" y="735"/>
                  <a:pt x="4253" y="650"/>
                  <a:pt x="4154" y="650"/>
                </a:cubicBezTo>
                <a:cubicBezTo>
                  <a:pt x="4041" y="650"/>
                  <a:pt x="3956" y="735"/>
                  <a:pt x="3956" y="848"/>
                </a:cubicBezTo>
                <a:cubicBezTo>
                  <a:pt x="3956" y="947"/>
                  <a:pt x="4041" y="1031"/>
                  <a:pt x="4154" y="1031"/>
                </a:cubicBezTo>
                <a:close/>
                <a:moveTo>
                  <a:pt x="4479" y="608"/>
                </a:moveTo>
                <a:cubicBezTo>
                  <a:pt x="4535" y="608"/>
                  <a:pt x="4578" y="565"/>
                  <a:pt x="4578" y="509"/>
                </a:cubicBezTo>
                <a:cubicBezTo>
                  <a:pt x="4578" y="452"/>
                  <a:pt x="4535" y="396"/>
                  <a:pt x="4479" y="396"/>
                </a:cubicBezTo>
                <a:cubicBezTo>
                  <a:pt x="4408" y="396"/>
                  <a:pt x="4366" y="452"/>
                  <a:pt x="4366" y="509"/>
                </a:cubicBezTo>
                <a:cubicBezTo>
                  <a:pt x="4366" y="565"/>
                  <a:pt x="4408" y="608"/>
                  <a:pt x="4479" y="608"/>
                </a:cubicBezTo>
                <a:close/>
                <a:moveTo>
                  <a:pt x="8548" y="2514"/>
                </a:moveTo>
                <a:cubicBezTo>
                  <a:pt x="8477" y="2514"/>
                  <a:pt x="8420" y="2571"/>
                  <a:pt x="8420" y="2641"/>
                </a:cubicBezTo>
                <a:cubicBezTo>
                  <a:pt x="8420" y="2712"/>
                  <a:pt x="8477" y="2768"/>
                  <a:pt x="8548" y="2768"/>
                </a:cubicBezTo>
                <a:cubicBezTo>
                  <a:pt x="8618" y="2768"/>
                  <a:pt x="8675" y="2712"/>
                  <a:pt x="8675" y="2641"/>
                </a:cubicBezTo>
                <a:cubicBezTo>
                  <a:pt x="8675" y="2571"/>
                  <a:pt x="8618" y="2514"/>
                  <a:pt x="8548" y="2514"/>
                </a:cubicBezTo>
                <a:close/>
                <a:moveTo>
                  <a:pt x="1554" y="820"/>
                </a:moveTo>
                <a:cubicBezTo>
                  <a:pt x="1639" y="820"/>
                  <a:pt x="1710" y="749"/>
                  <a:pt x="1710" y="664"/>
                </a:cubicBezTo>
                <a:cubicBezTo>
                  <a:pt x="1710" y="579"/>
                  <a:pt x="1639" y="509"/>
                  <a:pt x="1554" y="509"/>
                </a:cubicBezTo>
                <a:cubicBezTo>
                  <a:pt x="1470" y="509"/>
                  <a:pt x="1399" y="579"/>
                  <a:pt x="1399" y="664"/>
                </a:cubicBezTo>
                <a:cubicBezTo>
                  <a:pt x="1399" y="749"/>
                  <a:pt x="1470" y="820"/>
                  <a:pt x="1554" y="820"/>
                </a:cubicBezTo>
                <a:close/>
                <a:moveTo>
                  <a:pt x="1766" y="523"/>
                </a:moveTo>
                <a:cubicBezTo>
                  <a:pt x="1823" y="523"/>
                  <a:pt x="1851" y="481"/>
                  <a:pt x="1851" y="438"/>
                </a:cubicBezTo>
                <a:cubicBezTo>
                  <a:pt x="1851" y="382"/>
                  <a:pt x="1823" y="339"/>
                  <a:pt x="1766" y="339"/>
                </a:cubicBezTo>
                <a:cubicBezTo>
                  <a:pt x="1724" y="339"/>
                  <a:pt x="1682" y="382"/>
                  <a:pt x="1682" y="438"/>
                </a:cubicBezTo>
                <a:cubicBezTo>
                  <a:pt x="1682" y="481"/>
                  <a:pt x="1724" y="523"/>
                  <a:pt x="1766" y="523"/>
                </a:cubicBezTo>
                <a:close/>
                <a:moveTo>
                  <a:pt x="8322" y="1271"/>
                </a:moveTo>
                <a:cubicBezTo>
                  <a:pt x="8364" y="1271"/>
                  <a:pt x="8406" y="1229"/>
                  <a:pt x="8406" y="1173"/>
                </a:cubicBezTo>
                <a:cubicBezTo>
                  <a:pt x="8406" y="1130"/>
                  <a:pt x="8364" y="1088"/>
                  <a:pt x="8322" y="1088"/>
                </a:cubicBezTo>
                <a:cubicBezTo>
                  <a:pt x="8265" y="1088"/>
                  <a:pt x="8223" y="1130"/>
                  <a:pt x="8223" y="1173"/>
                </a:cubicBezTo>
                <a:cubicBezTo>
                  <a:pt x="8223" y="1229"/>
                  <a:pt x="8265" y="1271"/>
                  <a:pt x="8322" y="1271"/>
                </a:cubicBezTo>
                <a:close/>
                <a:moveTo>
                  <a:pt x="3829" y="396"/>
                </a:moveTo>
                <a:cubicBezTo>
                  <a:pt x="3914" y="396"/>
                  <a:pt x="3984" y="325"/>
                  <a:pt x="3984" y="241"/>
                </a:cubicBezTo>
                <a:cubicBezTo>
                  <a:pt x="3984" y="156"/>
                  <a:pt x="3914" y="99"/>
                  <a:pt x="3829" y="99"/>
                </a:cubicBezTo>
                <a:cubicBezTo>
                  <a:pt x="3744" y="99"/>
                  <a:pt x="3674" y="156"/>
                  <a:pt x="3674" y="241"/>
                </a:cubicBezTo>
                <a:cubicBezTo>
                  <a:pt x="3674" y="325"/>
                  <a:pt x="3744" y="396"/>
                  <a:pt x="3829" y="396"/>
                </a:cubicBezTo>
                <a:close/>
                <a:moveTo>
                  <a:pt x="6753" y="947"/>
                </a:moveTo>
                <a:cubicBezTo>
                  <a:pt x="6838" y="947"/>
                  <a:pt x="6909" y="876"/>
                  <a:pt x="6909" y="791"/>
                </a:cubicBezTo>
                <a:cubicBezTo>
                  <a:pt x="6909" y="707"/>
                  <a:pt x="6838" y="650"/>
                  <a:pt x="6753" y="650"/>
                </a:cubicBezTo>
                <a:cubicBezTo>
                  <a:pt x="6669" y="650"/>
                  <a:pt x="6612" y="707"/>
                  <a:pt x="6612" y="791"/>
                </a:cubicBezTo>
                <a:cubicBezTo>
                  <a:pt x="6612" y="876"/>
                  <a:pt x="6669" y="947"/>
                  <a:pt x="6753" y="947"/>
                </a:cubicBezTo>
                <a:close/>
                <a:moveTo>
                  <a:pt x="7912" y="1003"/>
                </a:moveTo>
                <a:cubicBezTo>
                  <a:pt x="8011" y="1003"/>
                  <a:pt x="8081" y="932"/>
                  <a:pt x="8081" y="834"/>
                </a:cubicBezTo>
                <a:cubicBezTo>
                  <a:pt x="8081" y="749"/>
                  <a:pt x="8011" y="678"/>
                  <a:pt x="7912" y="678"/>
                </a:cubicBezTo>
                <a:cubicBezTo>
                  <a:pt x="7827" y="678"/>
                  <a:pt x="7756" y="749"/>
                  <a:pt x="7756" y="834"/>
                </a:cubicBezTo>
                <a:cubicBezTo>
                  <a:pt x="7756" y="932"/>
                  <a:pt x="7827" y="1003"/>
                  <a:pt x="7912" y="1003"/>
                </a:cubicBezTo>
                <a:close/>
                <a:moveTo>
                  <a:pt x="8110" y="721"/>
                </a:moveTo>
                <a:cubicBezTo>
                  <a:pt x="8166" y="721"/>
                  <a:pt x="8194" y="692"/>
                  <a:pt x="8194" y="636"/>
                </a:cubicBezTo>
                <a:cubicBezTo>
                  <a:pt x="8194" y="594"/>
                  <a:pt x="8166" y="551"/>
                  <a:pt x="8110" y="551"/>
                </a:cubicBezTo>
                <a:cubicBezTo>
                  <a:pt x="8067" y="551"/>
                  <a:pt x="8039" y="594"/>
                  <a:pt x="8039" y="636"/>
                </a:cubicBezTo>
                <a:cubicBezTo>
                  <a:pt x="8039" y="692"/>
                  <a:pt x="8067" y="721"/>
                  <a:pt x="8110" y="721"/>
                </a:cubicBezTo>
                <a:close/>
                <a:moveTo>
                  <a:pt x="8562" y="1893"/>
                </a:moveTo>
                <a:cubicBezTo>
                  <a:pt x="8562" y="1879"/>
                  <a:pt x="8576" y="1850"/>
                  <a:pt x="8576" y="1836"/>
                </a:cubicBezTo>
                <a:cubicBezTo>
                  <a:pt x="8576" y="1639"/>
                  <a:pt x="8420" y="1469"/>
                  <a:pt x="8223" y="1455"/>
                </a:cubicBezTo>
                <a:cubicBezTo>
                  <a:pt x="8194" y="1370"/>
                  <a:pt x="8110" y="1314"/>
                  <a:pt x="8011" y="1314"/>
                </a:cubicBezTo>
                <a:cubicBezTo>
                  <a:pt x="7884" y="1314"/>
                  <a:pt x="7771" y="1427"/>
                  <a:pt x="7771" y="1554"/>
                </a:cubicBezTo>
                <a:cubicBezTo>
                  <a:pt x="7771" y="1568"/>
                  <a:pt x="7771" y="1582"/>
                  <a:pt x="7785" y="1596"/>
                </a:cubicBezTo>
                <a:cubicBezTo>
                  <a:pt x="7714" y="1582"/>
                  <a:pt x="7658" y="1568"/>
                  <a:pt x="7601" y="1568"/>
                </a:cubicBezTo>
                <a:cubicBezTo>
                  <a:pt x="7516" y="1568"/>
                  <a:pt x="7516" y="1568"/>
                  <a:pt x="7516" y="1568"/>
                </a:cubicBezTo>
                <a:cubicBezTo>
                  <a:pt x="7516" y="1540"/>
                  <a:pt x="7502" y="1497"/>
                  <a:pt x="7488" y="1469"/>
                </a:cubicBezTo>
                <a:cubicBezTo>
                  <a:pt x="7516" y="1469"/>
                  <a:pt x="7530" y="1469"/>
                  <a:pt x="7544" y="1469"/>
                </a:cubicBezTo>
                <a:cubicBezTo>
                  <a:pt x="7714" y="1469"/>
                  <a:pt x="7841" y="1342"/>
                  <a:pt x="7841" y="1173"/>
                </a:cubicBezTo>
                <a:cubicBezTo>
                  <a:pt x="7841" y="1003"/>
                  <a:pt x="7714" y="876"/>
                  <a:pt x="7544" y="876"/>
                </a:cubicBezTo>
                <a:cubicBezTo>
                  <a:pt x="7375" y="876"/>
                  <a:pt x="7248" y="1003"/>
                  <a:pt x="7248" y="1173"/>
                </a:cubicBezTo>
                <a:cubicBezTo>
                  <a:pt x="7248" y="1173"/>
                  <a:pt x="7248" y="1173"/>
                  <a:pt x="7248" y="1173"/>
                </a:cubicBezTo>
                <a:cubicBezTo>
                  <a:pt x="7177" y="1130"/>
                  <a:pt x="7092" y="1116"/>
                  <a:pt x="6994" y="1116"/>
                </a:cubicBezTo>
                <a:cubicBezTo>
                  <a:pt x="6881" y="1116"/>
                  <a:pt x="6782" y="1144"/>
                  <a:pt x="6697" y="1215"/>
                </a:cubicBezTo>
                <a:cubicBezTo>
                  <a:pt x="6697" y="1187"/>
                  <a:pt x="6697" y="1158"/>
                  <a:pt x="6697" y="1144"/>
                </a:cubicBezTo>
                <a:cubicBezTo>
                  <a:pt x="6697" y="989"/>
                  <a:pt x="6584" y="862"/>
                  <a:pt x="6428" y="862"/>
                </a:cubicBezTo>
                <a:cubicBezTo>
                  <a:pt x="6330" y="862"/>
                  <a:pt x="6245" y="918"/>
                  <a:pt x="6188" y="989"/>
                </a:cubicBezTo>
                <a:cubicBezTo>
                  <a:pt x="6188" y="989"/>
                  <a:pt x="6188" y="989"/>
                  <a:pt x="6188" y="989"/>
                </a:cubicBezTo>
                <a:cubicBezTo>
                  <a:pt x="6061" y="989"/>
                  <a:pt x="5934" y="1074"/>
                  <a:pt x="5877" y="1173"/>
                </a:cubicBezTo>
                <a:cubicBezTo>
                  <a:pt x="5863" y="1173"/>
                  <a:pt x="5849" y="1173"/>
                  <a:pt x="5835" y="1173"/>
                </a:cubicBezTo>
                <a:cubicBezTo>
                  <a:pt x="5779" y="1173"/>
                  <a:pt x="5736" y="1201"/>
                  <a:pt x="5694" y="1257"/>
                </a:cubicBezTo>
                <a:cubicBezTo>
                  <a:pt x="5666" y="1187"/>
                  <a:pt x="5595" y="1144"/>
                  <a:pt x="5510" y="1144"/>
                </a:cubicBezTo>
                <a:cubicBezTo>
                  <a:pt x="5468" y="1144"/>
                  <a:pt x="5411" y="1158"/>
                  <a:pt x="5383" y="1187"/>
                </a:cubicBezTo>
                <a:cubicBezTo>
                  <a:pt x="5355" y="1003"/>
                  <a:pt x="5213" y="862"/>
                  <a:pt x="5044" y="820"/>
                </a:cubicBezTo>
                <a:cubicBezTo>
                  <a:pt x="5030" y="763"/>
                  <a:pt x="4973" y="707"/>
                  <a:pt x="4917" y="707"/>
                </a:cubicBezTo>
                <a:cubicBezTo>
                  <a:pt x="4832" y="707"/>
                  <a:pt x="4776" y="777"/>
                  <a:pt x="4776" y="848"/>
                </a:cubicBezTo>
                <a:cubicBezTo>
                  <a:pt x="4776" y="848"/>
                  <a:pt x="4776" y="848"/>
                  <a:pt x="4776" y="848"/>
                </a:cubicBezTo>
                <a:cubicBezTo>
                  <a:pt x="4691" y="890"/>
                  <a:pt x="4606" y="961"/>
                  <a:pt x="4564" y="1045"/>
                </a:cubicBezTo>
                <a:cubicBezTo>
                  <a:pt x="4535" y="1045"/>
                  <a:pt x="4521" y="1045"/>
                  <a:pt x="4507" y="1045"/>
                </a:cubicBezTo>
                <a:cubicBezTo>
                  <a:pt x="4380" y="1045"/>
                  <a:pt x="4281" y="1130"/>
                  <a:pt x="4253" y="1243"/>
                </a:cubicBezTo>
                <a:cubicBezTo>
                  <a:pt x="4225" y="1243"/>
                  <a:pt x="4196" y="1229"/>
                  <a:pt x="4168" y="1229"/>
                </a:cubicBezTo>
                <a:cubicBezTo>
                  <a:pt x="4112" y="1229"/>
                  <a:pt x="4041" y="1243"/>
                  <a:pt x="3984" y="1257"/>
                </a:cubicBezTo>
                <a:cubicBezTo>
                  <a:pt x="3956" y="1102"/>
                  <a:pt x="3829" y="989"/>
                  <a:pt x="3659" y="989"/>
                </a:cubicBezTo>
                <a:cubicBezTo>
                  <a:pt x="3589" y="989"/>
                  <a:pt x="3504" y="1017"/>
                  <a:pt x="3462" y="1074"/>
                </a:cubicBezTo>
                <a:cubicBezTo>
                  <a:pt x="3433" y="1031"/>
                  <a:pt x="3391" y="1017"/>
                  <a:pt x="3363" y="1003"/>
                </a:cubicBezTo>
                <a:cubicBezTo>
                  <a:pt x="3363" y="1003"/>
                  <a:pt x="3363" y="989"/>
                  <a:pt x="3363" y="989"/>
                </a:cubicBezTo>
                <a:cubicBezTo>
                  <a:pt x="3363" y="918"/>
                  <a:pt x="3349" y="862"/>
                  <a:pt x="3320" y="805"/>
                </a:cubicBezTo>
                <a:cubicBezTo>
                  <a:pt x="3349" y="834"/>
                  <a:pt x="3391" y="848"/>
                  <a:pt x="3448" y="848"/>
                </a:cubicBezTo>
                <a:cubicBezTo>
                  <a:pt x="3476" y="848"/>
                  <a:pt x="3490" y="834"/>
                  <a:pt x="3518" y="834"/>
                </a:cubicBezTo>
                <a:cubicBezTo>
                  <a:pt x="3518" y="890"/>
                  <a:pt x="3575" y="947"/>
                  <a:pt x="3631" y="947"/>
                </a:cubicBezTo>
                <a:cubicBezTo>
                  <a:pt x="3702" y="947"/>
                  <a:pt x="3744" y="890"/>
                  <a:pt x="3744" y="834"/>
                </a:cubicBezTo>
                <a:cubicBezTo>
                  <a:pt x="3744" y="777"/>
                  <a:pt x="3716" y="735"/>
                  <a:pt x="3674" y="721"/>
                </a:cubicBezTo>
                <a:cubicBezTo>
                  <a:pt x="3702" y="678"/>
                  <a:pt x="3716" y="622"/>
                  <a:pt x="3716" y="565"/>
                </a:cubicBezTo>
                <a:cubicBezTo>
                  <a:pt x="3716" y="424"/>
                  <a:pt x="3589" y="297"/>
                  <a:pt x="3448" y="297"/>
                </a:cubicBezTo>
                <a:cubicBezTo>
                  <a:pt x="3292" y="297"/>
                  <a:pt x="3179" y="424"/>
                  <a:pt x="3179" y="565"/>
                </a:cubicBezTo>
                <a:cubicBezTo>
                  <a:pt x="3179" y="608"/>
                  <a:pt x="3179" y="636"/>
                  <a:pt x="3193" y="664"/>
                </a:cubicBezTo>
                <a:cubicBezTo>
                  <a:pt x="3123" y="622"/>
                  <a:pt x="3052" y="594"/>
                  <a:pt x="2967" y="594"/>
                </a:cubicBezTo>
                <a:cubicBezTo>
                  <a:pt x="2755" y="594"/>
                  <a:pt x="2586" y="777"/>
                  <a:pt x="2586" y="989"/>
                </a:cubicBezTo>
                <a:cubicBezTo>
                  <a:pt x="2586" y="1017"/>
                  <a:pt x="2586" y="1045"/>
                  <a:pt x="2600" y="1074"/>
                </a:cubicBezTo>
                <a:cubicBezTo>
                  <a:pt x="2529" y="1045"/>
                  <a:pt x="2459" y="1017"/>
                  <a:pt x="2374" y="1017"/>
                </a:cubicBezTo>
                <a:cubicBezTo>
                  <a:pt x="2346" y="1017"/>
                  <a:pt x="2317" y="1031"/>
                  <a:pt x="2289" y="1031"/>
                </a:cubicBezTo>
                <a:cubicBezTo>
                  <a:pt x="2303" y="1003"/>
                  <a:pt x="2317" y="961"/>
                  <a:pt x="2317" y="918"/>
                </a:cubicBezTo>
                <a:cubicBezTo>
                  <a:pt x="2317" y="791"/>
                  <a:pt x="2204" y="678"/>
                  <a:pt x="2063" y="678"/>
                </a:cubicBezTo>
                <a:cubicBezTo>
                  <a:pt x="1922" y="678"/>
                  <a:pt x="1809" y="791"/>
                  <a:pt x="1809" y="918"/>
                </a:cubicBezTo>
                <a:cubicBezTo>
                  <a:pt x="1809" y="1045"/>
                  <a:pt x="1908" y="1158"/>
                  <a:pt x="2021" y="1173"/>
                </a:cubicBezTo>
                <a:cubicBezTo>
                  <a:pt x="1978" y="1215"/>
                  <a:pt x="1950" y="1257"/>
                  <a:pt x="1922" y="1300"/>
                </a:cubicBezTo>
                <a:cubicBezTo>
                  <a:pt x="1908" y="1158"/>
                  <a:pt x="1781" y="1045"/>
                  <a:pt x="1639" y="1045"/>
                </a:cubicBezTo>
                <a:cubicBezTo>
                  <a:pt x="1597" y="1045"/>
                  <a:pt x="1554" y="1045"/>
                  <a:pt x="1526" y="1060"/>
                </a:cubicBezTo>
                <a:cubicBezTo>
                  <a:pt x="1526" y="1045"/>
                  <a:pt x="1526" y="1031"/>
                  <a:pt x="1526" y="1017"/>
                </a:cubicBezTo>
                <a:cubicBezTo>
                  <a:pt x="1526" y="862"/>
                  <a:pt x="1399" y="735"/>
                  <a:pt x="1230" y="735"/>
                </a:cubicBezTo>
                <a:cubicBezTo>
                  <a:pt x="1074" y="735"/>
                  <a:pt x="947" y="862"/>
                  <a:pt x="947" y="1017"/>
                </a:cubicBezTo>
                <a:cubicBezTo>
                  <a:pt x="947" y="1031"/>
                  <a:pt x="947" y="1045"/>
                  <a:pt x="947" y="1045"/>
                </a:cubicBezTo>
                <a:cubicBezTo>
                  <a:pt x="919" y="1045"/>
                  <a:pt x="890" y="1031"/>
                  <a:pt x="848" y="1031"/>
                </a:cubicBezTo>
                <a:cubicBezTo>
                  <a:pt x="636" y="1031"/>
                  <a:pt x="467" y="1215"/>
                  <a:pt x="467" y="1427"/>
                </a:cubicBezTo>
                <a:cubicBezTo>
                  <a:pt x="467" y="1483"/>
                  <a:pt x="481" y="1540"/>
                  <a:pt x="509" y="1596"/>
                </a:cubicBezTo>
                <a:cubicBezTo>
                  <a:pt x="212" y="1667"/>
                  <a:pt x="0" y="1935"/>
                  <a:pt x="0" y="2246"/>
                </a:cubicBezTo>
                <a:cubicBezTo>
                  <a:pt x="0" y="9095"/>
                  <a:pt x="0" y="9095"/>
                  <a:pt x="0" y="9095"/>
                </a:cubicBezTo>
                <a:cubicBezTo>
                  <a:pt x="0" y="9476"/>
                  <a:pt x="311" y="9772"/>
                  <a:pt x="679" y="9772"/>
                </a:cubicBezTo>
                <a:cubicBezTo>
                  <a:pt x="7601" y="9772"/>
                  <a:pt x="7601" y="9772"/>
                  <a:pt x="7601" y="9772"/>
                </a:cubicBezTo>
                <a:cubicBezTo>
                  <a:pt x="7968" y="9772"/>
                  <a:pt x="8279" y="9476"/>
                  <a:pt x="8279" y="9095"/>
                </a:cubicBezTo>
                <a:cubicBezTo>
                  <a:pt x="8279" y="3093"/>
                  <a:pt x="8279" y="3093"/>
                  <a:pt x="8279" y="3093"/>
                </a:cubicBezTo>
                <a:cubicBezTo>
                  <a:pt x="8378" y="3065"/>
                  <a:pt x="8449" y="2980"/>
                  <a:pt x="8449" y="2881"/>
                </a:cubicBezTo>
                <a:cubicBezTo>
                  <a:pt x="8449" y="2782"/>
                  <a:pt x="8378" y="2698"/>
                  <a:pt x="8293" y="2669"/>
                </a:cubicBezTo>
                <a:cubicBezTo>
                  <a:pt x="8293" y="2655"/>
                  <a:pt x="8307" y="2627"/>
                  <a:pt x="8307" y="2599"/>
                </a:cubicBezTo>
                <a:cubicBezTo>
                  <a:pt x="8307" y="2571"/>
                  <a:pt x="8293" y="2542"/>
                  <a:pt x="8293" y="2514"/>
                </a:cubicBezTo>
                <a:cubicBezTo>
                  <a:pt x="8406" y="2514"/>
                  <a:pt x="8491" y="2415"/>
                  <a:pt x="8491" y="2302"/>
                </a:cubicBezTo>
                <a:cubicBezTo>
                  <a:pt x="8491" y="2232"/>
                  <a:pt x="8463" y="2175"/>
                  <a:pt x="8420" y="2133"/>
                </a:cubicBezTo>
                <a:cubicBezTo>
                  <a:pt x="8420" y="2133"/>
                  <a:pt x="8435" y="2119"/>
                  <a:pt x="8435" y="2119"/>
                </a:cubicBezTo>
                <a:cubicBezTo>
                  <a:pt x="8463" y="2147"/>
                  <a:pt x="8505" y="2175"/>
                  <a:pt x="8548" y="2175"/>
                </a:cubicBezTo>
                <a:cubicBezTo>
                  <a:pt x="8618" y="2175"/>
                  <a:pt x="8675" y="2105"/>
                  <a:pt x="8675" y="2034"/>
                </a:cubicBezTo>
                <a:cubicBezTo>
                  <a:pt x="8675" y="1963"/>
                  <a:pt x="8632" y="1907"/>
                  <a:pt x="8562" y="1893"/>
                </a:cubicBezTo>
                <a:close/>
                <a:moveTo>
                  <a:pt x="5736" y="1017"/>
                </a:moveTo>
                <a:cubicBezTo>
                  <a:pt x="5736" y="1088"/>
                  <a:pt x="5779" y="1130"/>
                  <a:pt x="5849" y="1130"/>
                </a:cubicBezTo>
                <a:cubicBezTo>
                  <a:pt x="5906" y="1130"/>
                  <a:pt x="5962" y="1088"/>
                  <a:pt x="5962" y="1017"/>
                </a:cubicBezTo>
                <a:cubicBezTo>
                  <a:pt x="5962" y="961"/>
                  <a:pt x="5906" y="904"/>
                  <a:pt x="5849" y="904"/>
                </a:cubicBezTo>
                <a:cubicBezTo>
                  <a:pt x="5779" y="904"/>
                  <a:pt x="5736" y="961"/>
                  <a:pt x="5736" y="1017"/>
                </a:cubicBezTo>
                <a:close/>
              </a:path>
            </a:pathLst>
          </a:custGeom>
          <a:solidFill>
            <a:srgbClr val="C0C0C0"/>
          </a:solidFill>
          <a:ln w="0">
            <a:noFill/>
            <a:prstDash val="solid"/>
            <a:round/>
            <a:headEnd/>
            <a:tailEnd/>
          </a:ln>
        </p:spPr>
        <p:txBody>
          <a:bodyPr vert="horz" wrap="square" lIns="91284" tIns="45642" rIns="91284" bIns="45642" numCol="1" anchor="t" anchorCtr="0" compatLnSpc="1">
            <a:prstTxWarp prst="textNoShape">
              <a:avLst/>
            </a:prstTxWarp>
          </a:bodyPr>
          <a:lstStyle/>
          <a:p>
            <a:pPr defTabSz="912644"/>
            <a:endParaRPr lang="fr-FR" sz="1800" u="sng">
              <a:solidFill>
                <a:srgbClr val="000000"/>
              </a:solidFill>
              <a:cs typeface="+mn-cs"/>
            </a:endParaRPr>
          </a:p>
        </p:txBody>
      </p:sp>
      <p:sp>
        <p:nvSpPr>
          <p:cNvPr id="12" name="Espace réservé pour une image  15"/>
          <p:cNvSpPr>
            <a:spLocks noGrp="1"/>
          </p:cNvSpPr>
          <p:nvPr>
            <p:ph type="pic" sz="quarter" idx="14"/>
          </p:nvPr>
        </p:nvSpPr>
        <p:spPr>
          <a:xfrm>
            <a:off x="551548" y="1970315"/>
            <a:ext cx="7935032" cy="2418510"/>
          </a:xfrm>
          <a:prstGeom prst="roundRect">
            <a:avLst>
              <a:gd name="adj" fmla="val 6361"/>
            </a:avLst>
          </a:prstGeom>
          <a:solidFill>
            <a:schemeClr val="bg1"/>
          </a:solidFill>
          <a:ln w="76200">
            <a:solidFill>
              <a:schemeClr val="bg2"/>
            </a:solidFill>
          </a:ln>
        </p:spPr>
        <p:txBody>
          <a:bodyPr/>
          <a:lstStyle/>
          <a:p>
            <a:pPr lvl="0"/>
            <a:r>
              <a:rPr lang="en-US" noProof="0"/>
              <a:t>Click icon to add picture</a:t>
            </a:r>
            <a:endParaRPr lang="fr-FR" noProof="0"/>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82"/>
            <a:ext cx="3935412" cy="684408"/>
          </a:xfrm>
        </p:spPr>
        <p:txBody>
          <a:bodyPr/>
          <a:lstStyle>
            <a:lvl1pPr marL="0" indent="1588">
              <a:defRPr/>
            </a:lvl1pPr>
          </a:lstStyle>
          <a:p>
            <a:pPr lvl="0"/>
            <a:r>
              <a:rPr lang="en-US"/>
              <a:t>Click to edit Master text styles</a:t>
            </a:r>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8" name="Rectangle 1029"/>
          <p:cNvSpPr>
            <a:spLocks noGrp="1" noChangeArrowheads="1"/>
          </p:cNvSpPr>
          <p:nvPr>
            <p:ph type="sldNum" sz="quarter" idx="17"/>
          </p:nvPr>
        </p:nvSpPr>
        <p:spPr/>
        <p:txBody>
          <a:bodyPr/>
          <a:lstStyle>
            <a:lvl1pPr>
              <a:defRPr/>
            </a:lvl1pPr>
          </a:lstStyle>
          <a:p>
            <a:pPr>
              <a:defRPr/>
            </a:pPr>
            <a:fld id="{0D2F39D7-6ECE-4DF4-8B05-C313C1685402}" type="slidenum">
              <a:rPr lang="en-GB">
                <a:solidFill>
                  <a:srgbClr val="C0C0C0"/>
                </a:solidFill>
              </a:rPr>
              <a:pPr>
                <a:defRPr/>
              </a:pPr>
              <a:t>‹#›</a:t>
            </a:fld>
            <a:endParaRPr lang="en-GB">
              <a:solidFill>
                <a:srgbClr val="C0C0C0"/>
              </a:solidFill>
            </a:endParaRPr>
          </a:p>
        </p:txBody>
      </p:sp>
      <p:sp>
        <p:nvSpPr>
          <p:cNvPr id="10" name="Rectangle 1030"/>
          <p:cNvSpPr>
            <a:spLocks noGrp="1" noChangeArrowheads="1"/>
          </p:cNvSpPr>
          <p:nvPr>
            <p:ph type="ftr" sz="quarter" idx="18"/>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2809414332"/>
      </p:ext>
    </p:extLst>
  </p:cSld>
  <p:clrMapOvr>
    <a:masterClrMapping/>
  </p:clrMapOvr>
  <p:transition spd="slow">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and 3 pictures">
    <p:spTree>
      <p:nvGrpSpPr>
        <p:cNvPr id="1" name=""/>
        <p:cNvGrpSpPr/>
        <p:nvPr/>
      </p:nvGrpSpPr>
      <p:grpSpPr>
        <a:xfrm>
          <a:off x="0" y="0"/>
          <a:ext cx="0" cy="0"/>
          <a:chOff x="0" y="0"/>
          <a:chExt cx="0" cy="0"/>
        </a:xfrm>
      </p:grpSpPr>
      <p:sp>
        <p:nvSpPr>
          <p:cNvPr id="16" name="Freeform 6"/>
          <p:cNvSpPr>
            <a:spLocks noEditPoints="1"/>
          </p:cNvSpPr>
          <p:nvPr userDrawn="1"/>
        </p:nvSpPr>
        <p:spPr bwMode="auto">
          <a:xfrm>
            <a:off x="5413217" y="1404767"/>
            <a:ext cx="3379787" cy="2792016"/>
          </a:xfrm>
          <a:custGeom>
            <a:avLst/>
            <a:gdLst/>
            <a:ahLst/>
            <a:cxnLst>
              <a:cxn ang="0">
                <a:pos x="8675" y="1568"/>
              </a:cxn>
              <a:cxn ang="0">
                <a:pos x="5553" y="1003"/>
              </a:cxn>
              <a:cxn ang="0">
                <a:pos x="5270" y="707"/>
              </a:cxn>
              <a:cxn ang="0">
                <a:pos x="6160" y="325"/>
              </a:cxn>
              <a:cxn ang="0">
                <a:pos x="6005" y="481"/>
              </a:cxn>
              <a:cxn ang="0">
                <a:pos x="2402" y="410"/>
              </a:cxn>
              <a:cxn ang="0">
                <a:pos x="2699" y="452"/>
              </a:cxn>
              <a:cxn ang="0">
                <a:pos x="2558" y="311"/>
              </a:cxn>
              <a:cxn ang="0">
                <a:pos x="3038" y="99"/>
              </a:cxn>
              <a:cxn ang="0">
                <a:pos x="2939" y="198"/>
              </a:cxn>
              <a:cxn ang="0">
                <a:pos x="4154" y="650"/>
              </a:cxn>
              <a:cxn ang="0">
                <a:pos x="4479" y="608"/>
              </a:cxn>
              <a:cxn ang="0">
                <a:pos x="4366" y="509"/>
              </a:cxn>
              <a:cxn ang="0">
                <a:pos x="8420" y="2641"/>
              </a:cxn>
              <a:cxn ang="0">
                <a:pos x="8548" y="2514"/>
              </a:cxn>
              <a:cxn ang="0">
                <a:pos x="1554" y="509"/>
              </a:cxn>
              <a:cxn ang="0">
                <a:pos x="1766" y="523"/>
              </a:cxn>
              <a:cxn ang="0">
                <a:pos x="1682" y="438"/>
              </a:cxn>
              <a:cxn ang="0">
                <a:pos x="8406" y="1173"/>
              </a:cxn>
              <a:cxn ang="0">
                <a:pos x="8322" y="1271"/>
              </a:cxn>
              <a:cxn ang="0">
                <a:pos x="3829" y="99"/>
              </a:cxn>
              <a:cxn ang="0">
                <a:pos x="6753" y="947"/>
              </a:cxn>
              <a:cxn ang="0">
                <a:pos x="6612" y="791"/>
              </a:cxn>
              <a:cxn ang="0">
                <a:pos x="8081" y="834"/>
              </a:cxn>
              <a:cxn ang="0">
                <a:pos x="7912" y="1003"/>
              </a:cxn>
              <a:cxn ang="0">
                <a:pos x="8110" y="551"/>
              </a:cxn>
              <a:cxn ang="0">
                <a:pos x="8562" y="1893"/>
              </a:cxn>
              <a:cxn ang="0">
                <a:pos x="8011" y="1314"/>
              </a:cxn>
              <a:cxn ang="0">
                <a:pos x="7601" y="1568"/>
              </a:cxn>
              <a:cxn ang="0">
                <a:pos x="7544" y="1469"/>
              </a:cxn>
              <a:cxn ang="0">
                <a:pos x="7248" y="1173"/>
              </a:cxn>
              <a:cxn ang="0">
                <a:pos x="6697" y="1215"/>
              </a:cxn>
              <a:cxn ang="0">
                <a:pos x="6188" y="989"/>
              </a:cxn>
              <a:cxn ang="0">
                <a:pos x="5835" y="1173"/>
              </a:cxn>
              <a:cxn ang="0">
                <a:pos x="5383" y="1187"/>
              </a:cxn>
              <a:cxn ang="0">
                <a:pos x="4776" y="848"/>
              </a:cxn>
              <a:cxn ang="0">
                <a:pos x="4507" y="1045"/>
              </a:cxn>
              <a:cxn ang="0">
                <a:pos x="3984" y="1257"/>
              </a:cxn>
              <a:cxn ang="0">
                <a:pos x="3363" y="1003"/>
              </a:cxn>
              <a:cxn ang="0">
                <a:pos x="3448" y="848"/>
              </a:cxn>
              <a:cxn ang="0">
                <a:pos x="3744" y="834"/>
              </a:cxn>
              <a:cxn ang="0">
                <a:pos x="3448" y="297"/>
              </a:cxn>
              <a:cxn ang="0">
                <a:pos x="2967" y="594"/>
              </a:cxn>
              <a:cxn ang="0">
                <a:pos x="2374" y="1017"/>
              </a:cxn>
              <a:cxn ang="0">
                <a:pos x="2063" y="678"/>
              </a:cxn>
              <a:cxn ang="0">
                <a:pos x="1922" y="1300"/>
              </a:cxn>
              <a:cxn ang="0">
                <a:pos x="1526" y="1017"/>
              </a:cxn>
              <a:cxn ang="0">
                <a:pos x="947" y="1045"/>
              </a:cxn>
              <a:cxn ang="0">
                <a:pos x="509" y="1596"/>
              </a:cxn>
              <a:cxn ang="0">
                <a:pos x="679" y="9772"/>
              </a:cxn>
              <a:cxn ang="0">
                <a:pos x="8279" y="3093"/>
              </a:cxn>
              <a:cxn ang="0">
                <a:pos x="8307" y="2599"/>
              </a:cxn>
              <a:cxn ang="0">
                <a:pos x="8420" y="2133"/>
              </a:cxn>
              <a:cxn ang="0">
                <a:pos x="8675" y="2034"/>
              </a:cxn>
              <a:cxn ang="0">
                <a:pos x="5849" y="1130"/>
              </a:cxn>
              <a:cxn ang="0">
                <a:pos x="5736" y="1017"/>
              </a:cxn>
            </a:cxnLst>
            <a:rect l="0" t="0" r="r" b="b"/>
            <a:pathLst>
              <a:path w="8872" h="9772">
                <a:moveTo>
                  <a:pt x="8675" y="1158"/>
                </a:moveTo>
                <a:cubicBezTo>
                  <a:pt x="8562" y="1158"/>
                  <a:pt x="8463" y="1243"/>
                  <a:pt x="8463" y="1356"/>
                </a:cubicBezTo>
                <a:cubicBezTo>
                  <a:pt x="8463" y="1469"/>
                  <a:pt x="8562" y="1568"/>
                  <a:pt x="8675" y="1568"/>
                </a:cubicBezTo>
                <a:cubicBezTo>
                  <a:pt x="8788" y="1568"/>
                  <a:pt x="8872" y="1469"/>
                  <a:pt x="8872" y="1356"/>
                </a:cubicBezTo>
                <a:cubicBezTo>
                  <a:pt x="8872" y="1243"/>
                  <a:pt x="8788" y="1158"/>
                  <a:pt x="8675" y="1158"/>
                </a:cubicBezTo>
                <a:close/>
                <a:moveTo>
                  <a:pt x="5553" y="1003"/>
                </a:moveTo>
                <a:cubicBezTo>
                  <a:pt x="5722" y="1003"/>
                  <a:pt x="5849" y="862"/>
                  <a:pt x="5849" y="707"/>
                </a:cubicBezTo>
                <a:cubicBezTo>
                  <a:pt x="5849" y="537"/>
                  <a:pt x="5722" y="410"/>
                  <a:pt x="5553" y="410"/>
                </a:cubicBezTo>
                <a:cubicBezTo>
                  <a:pt x="5397" y="410"/>
                  <a:pt x="5270" y="537"/>
                  <a:pt x="5270" y="707"/>
                </a:cubicBezTo>
                <a:cubicBezTo>
                  <a:pt x="5270" y="862"/>
                  <a:pt x="5397" y="1003"/>
                  <a:pt x="5553" y="1003"/>
                </a:cubicBezTo>
                <a:close/>
                <a:moveTo>
                  <a:pt x="6005" y="481"/>
                </a:moveTo>
                <a:cubicBezTo>
                  <a:pt x="6089" y="481"/>
                  <a:pt x="6160" y="410"/>
                  <a:pt x="6160" y="325"/>
                </a:cubicBezTo>
                <a:cubicBezTo>
                  <a:pt x="6160" y="241"/>
                  <a:pt x="6089" y="184"/>
                  <a:pt x="6005" y="184"/>
                </a:cubicBezTo>
                <a:cubicBezTo>
                  <a:pt x="5920" y="184"/>
                  <a:pt x="5849" y="241"/>
                  <a:pt x="5849" y="325"/>
                </a:cubicBezTo>
                <a:cubicBezTo>
                  <a:pt x="5849" y="410"/>
                  <a:pt x="5920" y="481"/>
                  <a:pt x="6005" y="481"/>
                </a:cubicBezTo>
                <a:close/>
                <a:moveTo>
                  <a:pt x="2402" y="777"/>
                </a:moveTo>
                <a:cubicBezTo>
                  <a:pt x="2501" y="777"/>
                  <a:pt x="2586" y="692"/>
                  <a:pt x="2586" y="594"/>
                </a:cubicBezTo>
                <a:cubicBezTo>
                  <a:pt x="2586" y="495"/>
                  <a:pt x="2501" y="410"/>
                  <a:pt x="2402" y="410"/>
                </a:cubicBezTo>
                <a:cubicBezTo>
                  <a:pt x="2303" y="410"/>
                  <a:pt x="2218" y="495"/>
                  <a:pt x="2218" y="594"/>
                </a:cubicBezTo>
                <a:cubicBezTo>
                  <a:pt x="2218" y="692"/>
                  <a:pt x="2303" y="777"/>
                  <a:pt x="2402" y="777"/>
                </a:cubicBezTo>
                <a:close/>
                <a:moveTo>
                  <a:pt x="2699" y="452"/>
                </a:moveTo>
                <a:cubicBezTo>
                  <a:pt x="2784" y="452"/>
                  <a:pt x="2840" y="396"/>
                  <a:pt x="2840" y="311"/>
                </a:cubicBezTo>
                <a:cubicBezTo>
                  <a:pt x="2840" y="241"/>
                  <a:pt x="2784" y="170"/>
                  <a:pt x="2699" y="170"/>
                </a:cubicBezTo>
                <a:cubicBezTo>
                  <a:pt x="2628" y="170"/>
                  <a:pt x="2558" y="241"/>
                  <a:pt x="2558" y="311"/>
                </a:cubicBezTo>
                <a:cubicBezTo>
                  <a:pt x="2558" y="396"/>
                  <a:pt x="2628" y="452"/>
                  <a:pt x="2699" y="452"/>
                </a:cubicBezTo>
                <a:close/>
                <a:moveTo>
                  <a:pt x="2939" y="198"/>
                </a:moveTo>
                <a:cubicBezTo>
                  <a:pt x="2995" y="198"/>
                  <a:pt x="3038" y="156"/>
                  <a:pt x="3038" y="99"/>
                </a:cubicBezTo>
                <a:cubicBezTo>
                  <a:pt x="3038" y="43"/>
                  <a:pt x="2995" y="0"/>
                  <a:pt x="2939" y="0"/>
                </a:cubicBezTo>
                <a:cubicBezTo>
                  <a:pt x="2882" y="0"/>
                  <a:pt x="2840" y="43"/>
                  <a:pt x="2840" y="99"/>
                </a:cubicBezTo>
                <a:cubicBezTo>
                  <a:pt x="2840" y="156"/>
                  <a:pt x="2882" y="198"/>
                  <a:pt x="2939" y="198"/>
                </a:cubicBezTo>
                <a:close/>
                <a:moveTo>
                  <a:pt x="4154" y="1031"/>
                </a:moveTo>
                <a:cubicBezTo>
                  <a:pt x="4253" y="1031"/>
                  <a:pt x="4338" y="947"/>
                  <a:pt x="4338" y="848"/>
                </a:cubicBezTo>
                <a:cubicBezTo>
                  <a:pt x="4338" y="735"/>
                  <a:pt x="4253" y="650"/>
                  <a:pt x="4154" y="650"/>
                </a:cubicBezTo>
                <a:cubicBezTo>
                  <a:pt x="4041" y="650"/>
                  <a:pt x="3956" y="735"/>
                  <a:pt x="3956" y="848"/>
                </a:cubicBezTo>
                <a:cubicBezTo>
                  <a:pt x="3956" y="947"/>
                  <a:pt x="4041" y="1031"/>
                  <a:pt x="4154" y="1031"/>
                </a:cubicBezTo>
                <a:close/>
                <a:moveTo>
                  <a:pt x="4479" y="608"/>
                </a:moveTo>
                <a:cubicBezTo>
                  <a:pt x="4535" y="608"/>
                  <a:pt x="4578" y="565"/>
                  <a:pt x="4578" y="509"/>
                </a:cubicBezTo>
                <a:cubicBezTo>
                  <a:pt x="4578" y="452"/>
                  <a:pt x="4535" y="396"/>
                  <a:pt x="4479" y="396"/>
                </a:cubicBezTo>
                <a:cubicBezTo>
                  <a:pt x="4408" y="396"/>
                  <a:pt x="4366" y="452"/>
                  <a:pt x="4366" y="509"/>
                </a:cubicBezTo>
                <a:cubicBezTo>
                  <a:pt x="4366" y="565"/>
                  <a:pt x="4408" y="608"/>
                  <a:pt x="4479" y="608"/>
                </a:cubicBezTo>
                <a:close/>
                <a:moveTo>
                  <a:pt x="8548" y="2514"/>
                </a:moveTo>
                <a:cubicBezTo>
                  <a:pt x="8477" y="2514"/>
                  <a:pt x="8420" y="2571"/>
                  <a:pt x="8420" y="2641"/>
                </a:cubicBezTo>
                <a:cubicBezTo>
                  <a:pt x="8420" y="2712"/>
                  <a:pt x="8477" y="2768"/>
                  <a:pt x="8548" y="2768"/>
                </a:cubicBezTo>
                <a:cubicBezTo>
                  <a:pt x="8618" y="2768"/>
                  <a:pt x="8675" y="2712"/>
                  <a:pt x="8675" y="2641"/>
                </a:cubicBezTo>
                <a:cubicBezTo>
                  <a:pt x="8675" y="2571"/>
                  <a:pt x="8618" y="2514"/>
                  <a:pt x="8548" y="2514"/>
                </a:cubicBezTo>
                <a:close/>
                <a:moveTo>
                  <a:pt x="1554" y="820"/>
                </a:moveTo>
                <a:cubicBezTo>
                  <a:pt x="1639" y="820"/>
                  <a:pt x="1710" y="749"/>
                  <a:pt x="1710" y="664"/>
                </a:cubicBezTo>
                <a:cubicBezTo>
                  <a:pt x="1710" y="579"/>
                  <a:pt x="1639" y="509"/>
                  <a:pt x="1554" y="509"/>
                </a:cubicBezTo>
                <a:cubicBezTo>
                  <a:pt x="1470" y="509"/>
                  <a:pt x="1399" y="579"/>
                  <a:pt x="1399" y="664"/>
                </a:cubicBezTo>
                <a:cubicBezTo>
                  <a:pt x="1399" y="749"/>
                  <a:pt x="1470" y="820"/>
                  <a:pt x="1554" y="820"/>
                </a:cubicBezTo>
                <a:close/>
                <a:moveTo>
                  <a:pt x="1766" y="523"/>
                </a:moveTo>
                <a:cubicBezTo>
                  <a:pt x="1823" y="523"/>
                  <a:pt x="1851" y="481"/>
                  <a:pt x="1851" y="438"/>
                </a:cubicBezTo>
                <a:cubicBezTo>
                  <a:pt x="1851" y="382"/>
                  <a:pt x="1823" y="339"/>
                  <a:pt x="1766" y="339"/>
                </a:cubicBezTo>
                <a:cubicBezTo>
                  <a:pt x="1724" y="339"/>
                  <a:pt x="1682" y="382"/>
                  <a:pt x="1682" y="438"/>
                </a:cubicBezTo>
                <a:cubicBezTo>
                  <a:pt x="1682" y="481"/>
                  <a:pt x="1724" y="523"/>
                  <a:pt x="1766" y="523"/>
                </a:cubicBezTo>
                <a:close/>
                <a:moveTo>
                  <a:pt x="8322" y="1271"/>
                </a:moveTo>
                <a:cubicBezTo>
                  <a:pt x="8364" y="1271"/>
                  <a:pt x="8406" y="1229"/>
                  <a:pt x="8406" y="1173"/>
                </a:cubicBezTo>
                <a:cubicBezTo>
                  <a:pt x="8406" y="1130"/>
                  <a:pt x="8364" y="1088"/>
                  <a:pt x="8322" y="1088"/>
                </a:cubicBezTo>
                <a:cubicBezTo>
                  <a:pt x="8265" y="1088"/>
                  <a:pt x="8223" y="1130"/>
                  <a:pt x="8223" y="1173"/>
                </a:cubicBezTo>
                <a:cubicBezTo>
                  <a:pt x="8223" y="1229"/>
                  <a:pt x="8265" y="1271"/>
                  <a:pt x="8322" y="1271"/>
                </a:cubicBezTo>
                <a:close/>
                <a:moveTo>
                  <a:pt x="3829" y="396"/>
                </a:moveTo>
                <a:cubicBezTo>
                  <a:pt x="3914" y="396"/>
                  <a:pt x="3984" y="325"/>
                  <a:pt x="3984" y="241"/>
                </a:cubicBezTo>
                <a:cubicBezTo>
                  <a:pt x="3984" y="156"/>
                  <a:pt x="3914" y="99"/>
                  <a:pt x="3829" y="99"/>
                </a:cubicBezTo>
                <a:cubicBezTo>
                  <a:pt x="3744" y="99"/>
                  <a:pt x="3674" y="156"/>
                  <a:pt x="3674" y="241"/>
                </a:cubicBezTo>
                <a:cubicBezTo>
                  <a:pt x="3674" y="325"/>
                  <a:pt x="3744" y="396"/>
                  <a:pt x="3829" y="396"/>
                </a:cubicBezTo>
                <a:close/>
                <a:moveTo>
                  <a:pt x="6753" y="947"/>
                </a:moveTo>
                <a:cubicBezTo>
                  <a:pt x="6838" y="947"/>
                  <a:pt x="6909" y="876"/>
                  <a:pt x="6909" y="791"/>
                </a:cubicBezTo>
                <a:cubicBezTo>
                  <a:pt x="6909" y="707"/>
                  <a:pt x="6838" y="650"/>
                  <a:pt x="6753" y="650"/>
                </a:cubicBezTo>
                <a:cubicBezTo>
                  <a:pt x="6669" y="650"/>
                  <a:pt x="6612" y="707"/>
                  <a:pt x="6612" y="791"/>
                </a:cubicBezTo>
                <a:cubicBezTo>
                  <a:pt x="6612" y="876"/>
                  <a:pt x="6669" y="947"/>
                  <a:pt x="6753" y="947"/>
                </a:cubicBezTo>
                <a:close/>
                <a:moveTo>
                  <a:pt x="7912" y="1003"/>
                </a:moveTo>
                <a:cubicBezTo>
                  <a:pt x="8011" y="1003"/>
                  <a:pt x="8081" y="932"/>
                  <a:pt x="8081" y="834"/>
                </a:cubicBezTo>
                <a:cubicBezTo>
                  <a:pt x="8081" y="749"/>
                  <a:pt x="8011" y="678"/>
                  <a:pt x="7912" y="678"/>
                </a:cubicBezTo>
                <a:cubicBezTo>
                  <a:pt x="7827" y="678"/>
                  <a:pt x="7756" y="749"/>
                  <a:pt x="7756" y="834"/>
                </a:cubicBezTo>
                <a:cubicBezTo>
                  <a:pt x="7756" y="932"/>
                  <a:pt x="7827" y="1003"/>
                  <a:pt x="7912" y="1003"/>
                </a:cubicBezTo>
                <a:close/>
                <a:moveTo>
                  <a:pt x="8110" y="721"/>
                </a:moveTo>
                <a:cubicBezTo>
                  <a:pt x="8166" y="721"/>
                  <a:pt x="8194" y="692"/>
                  <a:pt x="8194" y="636"/>
                </a:cubicBezTo>
                <a:cubicBezTo>
                  <a:pt x="8194" y="594"/>
                  <a:pt x="8166" y="551"/>
                  <a:pt x="8110" y="551"/>
                </a:cubicBezTo>
                <a:cubicBezTo>
                  <a:pt x="8067" y="551"/>
                  <a:pt x="8039" y="594"/>
                  <a:pt x="8039" y="636"/>
                </a:cubicBezTo>
                <a:cubicBezTo>
                  <a:pt x="8039" y="692"/>
                  <a:pt x="8067" y="721"/>
                  <a:pt x="8110" y="721"/>
                </a:cubicBezTo>
                <a:close/>
                <a:moveTo>
                  <a:pt x="8562" y="1893"/>
                </a:moveTo>
                <a:cubicBezTo>
                  <a:pt x="8562" y="1879"/>
                  <a:pt x="8576" y="1850"/>
                  <a:pt x="8576" y="1836"/>
                </a:cubicBezTo>
                <a:cubicBezTo>
                  <a:pt x="8576" y="1639"/>
                  <a:pt x="8420" y="1469"/>
                  <a:pt x="8223" y="1455"/>
                </a:cubicBezTo>
                <a:cubicBezTo>
                  <a:pt x="8194" y="1370"/>
                  <a:pt x="8110" y="1314"/>
                  <a:pt x="8011" y="1314"/>
                </a:cubicBezTo>
                <a:cubicBezTo>
                  <a:pt x="7884" y="1314"/>
                  <a:pt x="7771" y="1427"/>
                  <a:pt x="7771" y="1554"/>
                </a:cubicBezTo>
                <a:cubicBezTo>
                  <a:pt x="7771" y="1568"/>
                  <a:pt x="7771" y="1582"/>
                  <a:pt x="7785" y="1596"/>
                </a:cubicBezTo>
                <a:cubicBezTo>
                  <a:pt x="7714" y="1582"/>
                  <a:pt x="7658" y="1568"/>
                  <a:pt x="7601" y="1568"/>
                </a:cubicBezTo>
                <a:cubicBezTo>
                  <a:pt x="7516" y="1568"/>
                  <a:pt x="7516" y="1568"/>
                  <a:pt x="7516" y="1568"/>
                </a:cubicBezTo>
                <a:cubicBezTo>
                  <a:pt x="7516" y="1540"/>
                  <a:pt x="7502" y="1497"/>
                  <a:pt x="7488" y="1469"/>
                </a:cubicBezTo>
                <a:cubicBezTo>
                  <a:pt x="7516" y="1469"/>
                  <a:pt x="7530" y="1469"/>
                  <a:pt x="7544" y="1469"/>
                </a:cubicBezTo>
                <a:cubicBezTo>
                  <a:pt x="7714" y="1469"/>
                  <a:pt x="7841" y="1342"/>
                  <a:pt x="7841" y="1173"/>
                </a:cubicBezTo>
                <a:cubicBezTo>
                  <a:pt x="7841" y="1003"/>
                  <a:pt x="7714" y="876"/>
                  <a:pt x="7544" y="876"/>
                </a:cubicBezTo>
                <a:cubicBezTo>
                  <a:pt x="7375" y="876"/>
                  <a:pt x="7248" y="1003"/>
                  <a:pt x="7248" y="1173"/>
                </a:cubicBezTo>
                <a:cubicBezTo>
                  <a:pt x="7248" y="1173"/>
                  <a:pt x="7248" y="1173"/>
                  <a:pt x="7248" y="1173"/>
                </a:cubicBezTo>
                <a:cubicBezTo>
                  <a:pt x="7177" y="1130"/>
                  <a:pt x="7092" y="1116"/>
                  <a:pt x="6994" y="1116"/>
                </a:cubicBezTo>
                <a:cubicBezTo>
                  <a:pt x="6881" y="1116"/>
                  <a:pt x="6782" y="1144"/>
                  <a:pt x="6697" y="1215"/>
                </a:cubicBezTo>
                <a:cubicBezTo>
                  <a:pt x="6697" y="1187"/>
                  <a:pt x="6697" y="1158"/>
                  <a:pt x="6697" y="1144"/>
                </a:cubicBezTo>
                <a:cubicBezTo>
                  <a:pt x="6697" y="989"/>
                  <a:pt x="6584" y="862"/>
                  <a:pt x="6428" y="862"/>
                </a:cubicBezTo>
                <a:cubicBezTo>
                  <a:pt x="6330" y="862"/>
                  <a:pt x="6245" y="918"/>
                  <a:pt x="6188" y="989"/>
                </a:cubicBezTo>
                <a:cubicBezTo>
                  <a:pt x="6188" y="989"/>
                  <a:pt x="6188" y="989"/>
                  <a:pt x="6188" y="989"/>
                </a:cubicBezTo>
                <a:cubicBezTo>
                  <a:pt x="6061" y="989"/>
                  <a:pt x="5934" y="1074"/>
                  <a:pt x="5877" y="1173"/>
                </a:cubicBezTo>
                <a:cubicBezTo>
                  <a:pt x="5863" y="1173"/>
                  <a:pt x="5849" y="1173"/>
                  <a:pt x="5835" y="1173"/>
                </a:cubicBezTo>
                <a:cubicBezTo>
                  <a:pt x="5779" y="1173"/>
                  <a:pt x="5736" y="1201"/>
                  <a:pt x="5694" y="1257"/>
                </a:cubicBezTo>
                <a:cubicBezTo>
                  <a:pt x="5666" y="1187"/>
                  <a:pt x="5595" y="1144"/>
                  <a:pt x="5510" y="1144"/>
                </a:cubicBezTo>
                <a:cubicBezTo>
                  <a:pt x="5468" y="1144"/>
                  <a:pt x="5411" y="1158"/>
                  <a:pt x="5383" y="1187"/>
                </a:cubicBezTo>
                <a:cubicBezTo>
                  <a:pt x="5355" y="1003"/>
                  <a:pt x="5213" y="862"/>
                  <a:pt x="5044" y="820"/>
                </a:cubicBezTo>
                <a:cubicBezTo>
                  <a:pt x="5030" y="763"/>
                  <a:pt x="4973" y="707"/>
                  <a:pt x="4917" y="707"/>
                </a:cubicBezTo>
                <a:cubicBezTo>
                  <a:pt x="4832" y="707"/>
                  <a:pt x="4776" y="777"/>
                  <a:pt x="4776" y="848"/>
                </a:cubicBezTo>
                <a:cubicBezTo>
                  <a:pt x="4776" y="848"/>
                  <a:pt x="4776" y="848"/>
                  <a:pt x="4776" y="848"/>
                </a:cubicBezTo>
                <a:cubicBezTo>
                  <a:pt x="4691" y="890"/>
                  <a:pt x="4606" y="961"/>
                  <a:pt x="4564" y="1045"/>
                </a:cubicBezTo>
                <a:cubicBezTo>
                  <a:pt x="4535" y="1045"/>
                  <a:pt x="4521" y="1045"/>
                  <a:pt x="4507" y="1045"/>
                </a:cubicBezTo>
                <a:cubicBezTo>
                  <a:pt x="4380" y="1045"/>
                  <a:pt x="4281" y="1130"/>
                  <a:pt x="4253" y="1243"/>
                </a:cubicBezTo>
                <a:cubicBezTo>
                  <a:pt x="4225" y="1243"/>
                  <a:pt x="4196" y="1229"/>
                  <a:pt x="4168" y="1229"/>
                </a:cubicBezTo>
                <a:cubicBezTo>
                  <a:pt x="4112" y="1229"/>
                  <a:pt x="4041" y="1243"/>
                  <a:pt x="3984" y="1257"/>
                </a:cubicBezTo>
                <a:cubicBezTo>
                  <a:pt x="3956" y="1102"/>
                  <a:pt x="3829" y="989"/>
                  <a:pt x="3659" y="989"/>
                </a:cubicBezTo>
                <a:cubicBezTo>
                  <a:pt x="3589" y="989"/>
                  <a:pt x="3504" y="1017"/>
                  <a:pt x="3462" y="1074"/>
                </a:cubicBezTo>
                <a:cubicBezTo>
                  <a:pt x="3433" y="1031"/>
                  <a:pt x="3391" y="1017"/>
                  <a:pt x="3363" y="1003"/>
                </a:cubicBezTo>
                <a:cubicBezTo>
                  <a:pt x="3363" y="1003"/>
                  <a:pt x="3363" y="989"/>
                  <a:pt x="3363" y="989"/>
                </a:cubicBezTo>
                <a:cubicBezTo>
                  <a:pt x="3363" y="918"/>
                  <a:pt x="3349" y="862"/>
                  <a:pt x="3320" y="805"/>
                </a:cubicBezTo>
                <a:cubicBezTo>
                  <a:pt x="3349" y="834"/>
                  <a:pt x="3391" y="848"/>
                  <a:pt x="3448" y="848"/>
                </a:cubicBezTo>
                <a:cubicBezTo>
                  <a:pt x="3476" y="848"/>
                  <a:pt x="3490" y="834"/>
                  <a:pt x="3518" y="834"/>
                </a:cubicBezTo>
                <a:cubicBezTo>
                  <a:pt x="3518" y="890"/>
                  <a:pt x="3575" y="947"/>
                  <a:pt x="3631" y="947"/>
                </a:cubicBezTo>
                <a:cubicBezTo>
                  <a:pt x="3702" y="947"/>
                  <a:pt x="3744" y="890"/>
                  <a:pt x="3744" y="834"/>
                </a:cubicBezTo>
                <a:cubicBezTo>
                  <a:pt x="3744" y="777"/>
                  <a:pt x="3716" y="735"/>
                  <a:pt x="3674" y="721"/>
                </a:cubicBezTo>
                <a:cubicBezTo>
                  <a:pt x="3702" y="678"/>
                  <a:pt x="3716" y="622"/>
                  <a:pt x="3716" y="565"/>
                </a:cubicBezTo>
                <a:cubicBezTo>
                  <a:pt x="3716" y="424"/>
                  <a:pt x="3589" y="297"/>
                  <a:pt x="3448" y="297"/>
                </a:cubicBezTo>
                <a:cubicBezTo>
                  <a:pt x="3292" y="297"/>
                  <a:pt x="3179" y="424"/>
                  <a:pt x="3179" y="565"/>
                </a:cubicBezTo>
                <a:cubicBezTo>
                  <a:pt x="3179" y="608"/>
                  <a:pt x="3179" y="636"/>
                  <a:pt x="3193" y="664"/>
                </a:cubicBezTo>
                <a:cubicBezTo>
                  <a:pt x="3123" y="622"/>
                  <a:pt x="3052" y="594"/>
                  <a:pt x="2967" y="594"/>
                </a:cubicBezTo>
                <a:cubicBezTo>
                  <a:pt x="2755" y="594"/>
                  <a:pt x="2586" y="777"/>
                  <a:pt x="2586" y="989"/>
                </a:cubicBezTo>
                <a:cubicBezTo>
                  <a:pt x="2586" y="1017"/>
                  <a:pt x="2586" y="1045"/>
                  <a:pt x="2600" y="1074"/>
                </a:cubicBezTo>
                <a:cubicBezTo>
                  <a:pt x="2529" y="1045"/>
                  <a:pt x="2459" y="1017"/>
                  <a:pt x="2374" y="1017"/>
                </a:cubicBezTo>
                <a:cubicBezTo>
                  <a:pt x="2346" y="1017"/>
                  <a:pt x="2317" y="1031"/>
                  <a:pt x="2289" y="1031"/>
                </a:cubicBezTo>
                <a:cubicBezTo>
                  <a:pt x="2303" y="1003"/>
                  <a:pt x="2317" y="961"/>
                  <a:pt x="2317" y="918"/>
                </a:cubicBezTo>
                <a:cubicBezTo>
                  <a:pt x="2317" y="791"/>
                  <a:pt x="2204" y="678"/>
                  <a:pt x="2063" y="678"/>
                </a:cubicBezTo>
                <a:cubicBezTo>
                  <a:pt x="1922" y="678"/>
                  <a:pt x="1809" y="791"/>
                  <a:pt x="1809" y="918"/>
                </a:cubicBezTo>
                <a:cubicBezTo>
                  <a:pt x="1809" y="1045"/>
                  <a:pt x="1908" y="1158"/>
                  <a:pt x="2021" y="1173"/>
                </a:cubicBezTo>
                <a:cubicBezTo>
                  <a:pt x="1978" y="1215"/>
                  <a:pt x="1950" y="1257"/>
                  <a:pt x="1922" y="1300"/>
                </a:cubicBezTo>
                <a:cubicBezTo>
                  <a:pt x="1908" y="1158"/>
                  <a:pt x="1781" y="1045"/>
                  <a:pt x="1639" y="1045"/>
                </a:cubicBezTo>
                <a:cubicBezTo>
                  <a:pt x="1597" y="1045"/>
                  <a:pt x="1554" y="1045"/>
                  <a:pt x="1526" y="1060"/>
                </a:cubicBezTo>
                <a:cubicBezTo>
                  <a:pt x="1526" y="1045"/>
                  <a:pt x="1526" y="1031"/>
                  <a:pt x="1526" y="1017"/>
                </a:cubicBezTo>
                <a:cubicBezTo>
                  <a:pt x="1526" y="862"/>
                  <a:pt x="1399" y="735"/>
                  <a:pt x="1230" y="735"/>
                </a:cubicBezTo>
                <a:cubicBezTo>
                  <a:pt x="1074" y="735"/>
                  <a:pt x="947" y="862"/>
                  <a:pt x="947" y="1017"/>
                </a:cubicBezTo>
                <a:cubicBezTo>
                  <a:pt x="947" y="1031"/>
                  <a:pt x="947" y="1045"/>
                  <a:pt x="947" y="1045"/>
                </a:cubicBezTo>
                <a:cubicBezTo>
                  <a:pt x="919" y="1045"/>
                  <a:pt x="890" y="1031"/>
                  <a:pt x="848" y="1031"/>
                </a:cubicBezTo>
                <a:cubicBezTo>
                  <a:pt x="636" y="1031"/>
                  <a:pt x="467" y="1215"/>
                  <a:pt x="467" y="1427"/>
                </a:cubicBezTo>
                <a:cubicBezTo>
                  <a:pt x="467" y="1483"/>
                  <a:pt x="481" y="1540"/>
                  <a:pt x="509" y="1596"/>
                </a:cubicBezTo>
                <a:cubicBezTo>
                  <a:pt x="212" y="1667"/>
                  <a:pt x="0" y="1935"/>
                  <a:pt x="0" y="2246"/>
                </a:cubicBezTo>
                <a:cubicBezTo>
                  <a:pt x="0" y="9095"/>
                  <a:pt x="0" y="9095"/>
                  <a:pt x="0" y="9095"/>
                </a:cubicBezTo>
                <a:cubicBezTo>
                  <a:pt x="0" y="9476"/>
                  <a:pt x="311" y="9772"/>
                  <a:pt x="679" y="9772"/>
                </a:cubicBezTo>
                <a:cubicBezTo>
                  <a:pt x="7601" y="9772"/>
                  <a:pt x="7601" y="9772"/>
                  <a:pt x="7601" y="9772"/>
                </a:cubicBezTo>
                <a:cubicBezTo>
                  <a:pt x="7968" y="9772"/>
                  <a:pt x="8279" y="9476"/>
                  <a:pt x="8279" y="9095"/>
                </a:cubicBezTo>
                <a:cubicBezTo>
                  <a:pt x="8279" y="3093"/>
                  <a:pt x="8279" y="3093"/>
                  <a:pt x="8279" y="3093"/>
                </a:cubicBezTo>
                <a:cubicBezTo>
                  <a:pt x="8378" y="3065"/>
                  <a:pt x="8449" y="2980"/>
                  <a:pt x="8449" y="2881"/>
                </a:cubicBezTo>
                <a:cubicBezTo>
                  <a:pt x="8449" y="2782"/>
                  <a:pt x="8378" y="2698"/>
                  <a:pt x="8293" y="2669"/>
                </a:cubicBezTo>
                <a:cubicBezTo>
                  <a:pt x="8293" y="2655"/>
                  <a:pt x="8307" y="2627"/>
                  <a:pt x="8307" y="2599"/>
                </a:cubicBezTo>
                <a:cubicBezTo>
                  <a:pt x="8307" y="2571"/>
                  <a:pt x="8293" y="2542"/>
                  <a:pt x="8293" y="2514"/>
                </a:cubicBezTo>
                <a:cubicBezTo>
                  <a:pt x="8406" y="2514"/>
                  <a:pt x="8491" y="2415"/>
                  <a:pt x="8491" y="2302"/>
                </a:cubicBezTo>
                <a:cubicBezTo>
                  <a:pt x="8491" y="2232"/>
                  <a:pt x="8463" y="2175"/>
                  <a:pt x="8420" y="2133"/>
                </a:cubicBezTo>
                <a:cubicBezTo>
                  <a:pt x="8420" y="2133"/>
                  <a:pt x="8435" y="2119"/>
                  <a:pt x="8435" y="2119"/>
                </a:cubicBezTo>
                <a:cubicBezTo>
                  <a:pt x="8463" y="2147"/>
                  <a:pt x="8505" y="2175"/>
                  <a:pt x="8548" y="2175"/>
                </a:cubicBezTo>
                <a:cubicBezTo>
                  <a:pt x="8618" y="2175"/>
                  <a:pt x="8675" y="2105"/>
                  <a:pt x="8675" y="2034"/>
                </a:cubicBezTo>
                <a:cubicBezTo>
                  <a:pt x="8675" y="1963"/>
                  <a:pt x="8632" y="1907"/>
                  <a:pt x="8562" y="1893"/>
                </a:cubicBezTo>
                <a:close/>
                <a:moveTo>
                  <a:pt x="5736" y="1017"/>
                </a:moveTo>
                <a:cubicBezTo>
                  <a:pt x="5736" y="1088"/>
                  <a:pt x="5779" y="1130"/>
                  <a:pt x="5849" y="1130"/>
                </a:cubicBezTo>
                <a:cubicBezTo>
                  <a:pt x="5906" y="1130"/>
                  <a:pt x="5962" y="1088"/>
                  <a:pt x="5962" y="1017"/>
                </a:cubicBezTo>
                <a:cubicBezTo>
                  <a:pt x="5962" y="961"/>
                  <a:pt x="5906" y="904"/>
                  <a:pt x="5849" y="904"/>
                </a:cubicBezTo>
                <a:cubicBezTo>
                  <a:pt x="5779" y="904"/>
                  <a:pt x="5736" y="961"/>
                  <a:pt x="5736" y="1017"/>
                </a:cubicBezTo>
                <a:close/>
              </a:path>
            </a:pathLst>
          </a:custGeom>
          <a:solidFill>
            <a:srgbClr val="C0C0C0"/>
          </a:solidFill>
          <a:ln w="0">
            <a:noFill/>
            <a:prstDash val="solid"/>
            <a:round/>
            <a:headEnd/>
            <a:tailEnd/>
          </a:ln>
        </p:spPr>
        <p:txBody>
          <a:bodyPr vert="horz" wrap="square" lIns="91284" tIns="45642" rIns="91284" bIns="45642" numCol="1" anchor="t" anchorCtr="0" compatLnSpc="1">
            <a:prstTxWarp prst="textNoShape">
              <a:avLst/>
            </a:prstTxWarp>
          </a:bodyPr>
          <a:lstStyle/>
          <a:p>
            <a:pPr defTabSz="912644"/>
            <a:endParaRPr lang="fr-FR" sz="1800" u="sng">
              <a:solidFill>
                <a:srgbClr val="000000"/>
              </a:solidFill>
              <a:cs typeface="+mn-cs"/>
            </a:endParaRPr>
          </a:p>
        </p:txBody>
      </p:sp>
      <p:sp>
        <p:nvSpPr>
          <p:cNvPr id="8" name="AutoShape 2"/>
          <p:cNvSpPr>
            <a:spLocks noChangeArrowheads="1"/>
          </p:cNvSpPr>
          <p:nvPr userDrawn="1"/>
        </p:nvSpPr>
        <p:spPr bwMode="auto">
          <a:xfrm>
            <a:off x="561975" y="1950244"/>
            <a:ext cx="8020050" cy="2471738"/>
          </a:xfrm>
          <a:prstGeom prst="roundRect">
            <a:avLst>
              <a:gd name="adj" fmla="val 6125"/>
            </a:avLst>
          </a:prstGeom>
          <a:solidFill>
            <a:schemeClr val="bg2"/>
          </a:solidFill>
          <a:ln w="76200">
            <a:noFill/>
            <a:round/>
            <a:headEnd/>
            <a:tailEnd/>
          </a:ln>
        </p:spPr>
        <p:txBody>
          <a:bodyPr wrap="none" lIns="91284" tIns="45642" rIns="91284" bIns="45642" anchor="ctr"/>
          <a:lstStyle/>
          <a:p>
            <a:pPr defTabSz="912644">
              <a:defRPr/>
            </a:pPr>
            <a:endParaRPr lang="fr-FR" sz="1800" u="sng">
              <a:solidFill>
                <a:srgbClr val="000000"/>
              </a:solidFill>
              <a:cs typeface="+mn-cs"/>
            </a:endParaRPr>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82"/>
            <a:ext cx="3935412" cy="684408"/>
          </a:xfrm>
        </p:spPr>
        <p:txBody>
          <a:bodyPr/>
          <a:lstStyle>
            <a:lvl1pPr marL="0" indent="1588">
              <a:defRPr/>
            </a:lvl1pPr>
          </a:lstStyle>
          <a:p>
            <a:pPr lvl="0"/>
            <a:r>
              <a:rPr lang="en-US"/>
              <a:t>Click to edit Master text styles</a:t>
            </a:r>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13" name="Espace réservé pour une image  15"/>
          <p:cNvSpPr>
            <a:spLocks noGrp="1"/>
          </p:cNvSpPr>
          <p:nvPr>
            <p:ph type="pic" sz="quarter" idx="16"/>
          </p:nvPr>
        </p:nvSpPr>
        <p:spPr>
          <a:xfrm>
            <a:off x="609480" y="1982386"/>
            <a:ext cx="2608738" cy="2395064"/>
          </a:xfrm>
          <a:prstGeom prst="roundRect">
            <a:avLst>
              <a:gd name="adj" fmla="val 5451"/>
            </a:avLst>
          </a:prstGeom>
          <a:solidFill>
            <a:schemeClr val="bg1"/>
          </a:solidFill>
        </p:spPr>
        <p:txBody>
          <a:bodyPr/>
          <a:lstStyle/>
          <a:p>
            <a:pPr lvl="0"/>
            <a:r>
              <a:rPr lang="en-US" noProof="0"/>
              <a:t>Click icon to add picture</a:t>
            </a:r>
            <a:endParaRPr lang="fr-FR" noProof="0" dirty="0"/>
          </a:p>
        </p:txBody>
      </p:sp>
      <p:sp>
        <p:nvSpPr>
          <p:cNvPr id="12" name="Espace réservé pour une image  15"/>
          <p:cNvSpPr>
            <a:spLocks noGrp="1"/>
          </p:cNvSpPr>
          <p:nvPr>
            <p:ph type="pic" sz="quarter" idx="17"/>
          </p:nvPr>
        </p:nvSpPr>
        <p:spPr>
          <a:xfrm>
            <a:off x="3261699" y="1982386"/>
            <a:ext cx="2608738" cy="2395064"/>
          </a:xfrm>
          <a:prstGeom prst="roundRect">
            <a:avLst>
              <a:gd name="adj" fmla="val 5451"/>
            </a:avLst>
          </a:prstGeom>
          <a:solidFill>
            <a:schemeClr val="bg1"/>
          </a:solidFill>
        </p:spPr>
        <p:txBody>
          <a:bodyPr/>
          <a:lstStyle/>
          <a:p>
            <a:pPr lvl="0"/>
            <a:r>
              <a:rPr lang="en-US" noProof="0"/>
              <a:t>Click icon to add picture</a:t>
            </a:r>
            <a:endParaRPr lang="fr-FR" noProof="0" dirty="0"/>
          </a:p>
        </p:txBody>
      </p:sp>
      <p:sp>
        <p:nvSpPr>
          <p:cNvPr id="15" name="Espace réservé pour une image  15"/>
          <p:cNvSpPr>
            <a:spLocks noGrp="1"/>
          </p:cNvSpPr>
          <p:nvPr>
            <p:ph type="pic" sz="quarter" idx="18"/>
          </p:nvPr>
        </p:nvSpPr>
        <p:spPr>
          <a:xfrm>
            <a:off x="5913915" y="1982386"/>
            <a:ext cx="2608738" cy="2395064"/>
          </a:xfrm>
          <a:prstGeom prst="roundRect">
            <a:avLst>
              <a:gd name="adj" fmla="val 5451"/>
            </a:avLst>
          </a:prstGeom>
          <a:solidFill>
            <a:schemeClr val="bg1"/>
          </a:solidFill>
        </p:spPr>
        <p:txBody>
          <a:bodyPr/>
          <a:lstStyle/>
          <a:p>
            <a:pPr lvl="0"/>
            <a:r>
              <a:rPr lang="en-US" noProof="0"/>
              <a:t>Click icon to add picture</a:t>
            </a:r>
            <a:endParaRPr lang="fr-FR" noProof="0" dirty="0"/>
          </a:p>
        </p:txBody>
      </p:sp>
      <p:sp>
        <p:nvSpPr>
          <p:cNvPr id="11" name="Rectangle 1029"/>
          <p:cNvSpPr>
            <a:spLocks noGrp="1" noChangeArrowheads="1"/>
          </p:cNvSpPr>
          <p:nvPr>
            <p:ph type="sldNum" sz="quarter" idx="19"/>
          </p:nvPr>
        </p:nvSpPr>
        <p:spPr/>
        <p:txBody>
          <a:bodyPr/>
          <a:lstStyle>
            <a:lvl1pPr>
              <a:defRPr/>
            </a:lvl1pPr>
          </a:lstStyle>
          <a:p>
            <a:pPr>
              <a:defRPr/>
            </a:pPr>
            <a:fld id="{6486DF53-0323-493C-B82C-BC7C6A42923A}" type="slidenum">
              <a:rPr lang="en-GB">
                <a:solidFill>
                  <a:srgbClr val="C0C0C0"/>
                </a:solidFill>
              </a:rPr>
              <a:pPr>
                <a:defRPr/>
              </a:pPr>
              <a:t>‹#›</a:t>
            </a:fld>
            <a:endParaRPr lang="en-GB">
              <a:solidFill>
                <a:srgbClr val="C0C0C0"/>
              </a:solidFill>
            </a:endParaRPr>
          </a:p>
        </p:txBody>
      </p:sp>
      <p:sp>
        <p:nvSpPr>
          <p:cNvPr id="14" name="Rectangle 1030"/>
          <p:cNvSpPr>
            <a:spLocks noGrp="1" noChangeArrowheads="1"/>
          </p:cNvSpPr>
          <p:nvPr>
            <p:ph type="ftr" sz="quarter" idx="20"/>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2623977814"/>
      </p:ext>
    </p:extLst>
  </p:cSld>
  <p:clrMapOvr>
    <a:masterClrMapping/>
  </p:clrMapOvr>
  <p:transition spd="slow">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 and large picture with legend">
    <p:spTree>
      <p:nvGrpSpPr>
        <p:cNvPr id="1" name=""/>
        <p:cNvGrpSpPr/>
        <p:nvPr/>
      </p:nvGrpSpPr>
      <p:grpSpPr>
        <a:xfrm>
          <a:off x="0" y="0"/>
          <a:ext cx="0" cy="0"/>
          <a:chOff x="0" y="0"/>
          <a:chExt cx="0" cy="0"/>
        </a:xfrm>
      </p:grpSpPr>
      <p:sp>
        <p:nvSpPr>
          <p:cNvPr id="15" name="Freeform 6"/>
          <p:cNvSpPr>
            <a:spLocks noEditPoints="1"/>
          </p:cNvSpPr>
          <p:nvPr userDrawn="1"/>
        </p:nvSpPr>
        <p:spPr bwMode="auto">
          <a:xfrm>
            <a:off x="5413217" y="1404767"/>
            <a:ext cx="3379787" cy="2792016"/>
          </a:xfrm>
          <a:custGeom>
            <a:avLst/>
            <a:gdLst/>
            <a:ahLst/>
            <a:cxnLst>
              <a:cxn ang="0">
                <a:pos x="8675" y="1568"/>
              </a:cxn>
              <a:cxn ang="0">
                <a:pos x="5553" y="1003"/>
              </a:cxn>
              <a:cxn ang="0">
                <a:pos x="5270" y="707"/>
              </a:cxn>
              <a:cxn ang="0">
                <a:pos x="6160" y="325"/>
              </a:cxn>
              <a:cxn ang="0">
                <a:pos x="6005" y="481"/>
              </a:cxn>
              <a:cxn ang="0">
                <a:pos x="2402" y="410"/>
              </a:cxn>
              <a:cxn ang="0">
                <a:pos x="2699" y="452"/>
              </a:cxn>
              <a:cxn ang="0">
                <a:pos x="2558" y="311"/>
              </a:cxn>
              <a:cxn ang="0">
                <a:pos x="3038" y="99"/>
              </a:cxn>
              <a:cxn ang="0">
                <a:pos x="2939" y="198"/>
              </a:cxn>
              <a:cxn ang="0">
                <a:pos x="4154" y="650"/>
              </a:cxn>
              <a:cxn ang="0">
                <a:pos x="4479" y="608"/>
              </a:cxn>
              <a:cxn ang="0">
                <a:pos x="4366" y="509"/>
              </a:cxn>
              <a:cxn ang="0">
                <a:pos x="8420" y="2641"/>
              </a:cxn>
              <a:cxn ang="0">
                <a:pos x="8548" y="2514"/>
              </a:cxn>
              <a:cxn ang="0">
                <a:pos x="1554" y="509"/>
              </a:cxn>
              <a:cxn ang="0">
                <a:pos x="1766" y="523"/>
              </a:cxn>
              <a:cxn ang="0">
                <a:pos x="1682" y="438"/>
              </a:cxn>
              <a:cxn ang="0">
                <a:pos x="8406" y="1173"/>
              </a:cxn>
              <a:cxn ang="0">
                <a:pos x="8322" y="1271"/>
              </a:cxn>
              <a:cxn ang="0">
                <a:pos x="3829" y="99"/>
              </a:cxn>
              <a:cxn ang="0">
                <a:pos x="6753" y="947"/>
              </a:cxn>
              <a:cxn ang="0">
                <a:pos x="6612" y="791"/>
              </a:cxn>
              <a:cxn ang="0">
                <a:pos x="8081" y="834"/>
              </a:cxn>
              <a:cxn ang="0">
                <a:pos x="7912" y="1003"/>
              </a:cxn>
              <a:cxn ang="0">
                <a:pos x="8110" y="551"/>
              </a:cxn>
              <a:cxn ang="0">
                <a:pos x="8562" y="1893"/>
              </a:cxn>
              <a:cxn ang="0">
                <a:pos x="8011" y="1314"/>
              </a:cxn>
              <a:cxn ang="0">
                <a:pos x="7601" y="1568"/>
              </a:cxn>
              <a:cxn ang="0">
                <a:pos x="7544" y="1469"/>
              </a:cxn>
              <a:cxn ang="0">
                <a:pos x="7248" y="1173"/>
              </a:cxn>
              <a:cxn ang="0">
                <a:pos x="6697" y="1215"/>
              </a:cxn>
              <a:cxn ang="0">
                <a:pos x="6188" y="989"/>
              </a:cxn>
              <a:cxn ang="0">
                <a:pos x="5835" y="1173"/>
              </a:cxn>
              <a:cxn ang="0">
                <a:pos x="5383" y="1187"/>
              </a:cxn>
              <a:cxn ang="0">
                <a:pos x="4776" y="848"/>
              </a:cxn>
              <a:cxn ang="0">
                <a:pos x="4507" y="1045"/>
              </a:cxn>
              <a:cxn ang="0">
                <a:pos x="3984" y="1257"/>
              </a:cxn>
              <a:cxn ang="0">
                <a:pos x="3363" y="1003"/>
              </a:cxn>
              <a:cxn ang="0">
                <a:pos x="3448" y="848"/>
              </a:cxn>
              <a:cxn ang="0">
                <a:pos x="3744" y="834"/>
              </a:cxn>
              <a:cxn ang="0">
                <a:pos x="3448" y="297"/>
              </a:cxn>
              <a:cxn ang="0">
                <a:pos x="2967" y="594"/>
              </a:cxn>
              <a:cxn ang="0">
                <a:pos x="2374" y="1017"/>
              </a:cxn>
              <a:cxn ang="0">
                <a:pos x="2063" y="678"/>
              </a:cxn>
              <a:cxn ang="0">
                <a:pos x="1922" y="1300"/>
              </a:cxn>
              <a:cxn ang="0">
                <a:pos x="1526" y="1017"/>
              </a:cxn>
              <a:cxn ang="0">
                <a:pos x="947" y="1045"/>
              </a:cxn>
              <a:cxn ang="0">
                <a:pos x="509" y="1596"/>
              </a:cxn>
              <a:cxn ang="0">
                <a:pos x="679" y="9772"/>
              </a:cxn>
              <a:cxn ang="0">
                <a:pos x="8279" y="3093"/>
              </a:cxn>
              <a:cxn ang="0">
                <a:pos x="8307" y="2599"/>
              </a:cxn>
              <a:cxn ang="0">
                <a:pos x="8420" y="2133"/>
              </a:cxn>
              <a:cxn ang="0">
                <a:pos x="8675" y="2034"/>
              </a:cxn>
              <a:cxn ang="0">
                <a:pos x="5849" y="1130"/>
              </a:cxn>
              <a:cxn ang="0">
                <a:pos x="5736" y="1017"/>
              </a:cxn>
            </a:cxnLst>
            <a:rect l="0" t="0" r="r" b="b"/>
            <a:pathLst>
              <a:path w="8872" h="9772">
                <a:moveTo>
                  <a:pt x="8675" y="1158"/>
                </a:moveTo>
                <a:cubicBezTo>
                  <a:pt x="8562" y="1158"/>
                  <a:pt x="8463" y="1243"/>
                  <a:pt x="8463" y="1356"/>
                </a:cubicBezTo>
                <a:cubicBezTo>
                  <a:pt x="8463" y="1469"/>
                  <a:pt x="8562" y="1568"/>
                  <a:pt x="8675" y="1568"/>
                </a:cubicBezTo>
                <a:cubicBezTo>
                  <a:pt x="8788" y="1568"/>
                  <a:pt x="8872" y="1469"/>
                  <a:pt x="8872" y="1356"/>
                </a:cubicBezTo>
                <a:cubicBezTo>
                  <a:pt x="8872" y="1243"/>
                  <a:pt x="8788" y="1158"/>
                  <a:pt x="8675" y="1158"/>
                </a:cubicBezTo>
                <a:close/>
                <a:moveTo>
                  <a:pt x="5553" y="1003"/>
                </a:moveTo>
                <a:cubicBezTo>
                  <a:pt x="5722" y="1003"/>
                  <a:pt x="5849" y="862"/>
                  <a:pt x="5849" y="707"/>
                </a:cubicBezTo>
                <a:cubicBezTo>
                  <a:pt x="5849" y="537"/>
                  <a:pt x="5722" y="410"/>
                  <a:pt x="5553" y="410"/>
                </a:cubicBezTo>
                <a:cubicBezTo>
                  <a:pt x="5397" y="410"/>
                  <a:pt x="5270" y="537"/>
                  <a:pt x="5270" y="707"/>
                </a:cubicBezTo>
                <a:cubicBezTo>
                  <a:pt x="5270" y="862"/>
                  <a:pt x="5397" y="1003"/>
                  <a:pt x="5553" y="1003"/>
                </a:cubicBezTo>
                <a:close/>
                <a:moveTo>
                  <a:pt x="6005" y="481"/>
                </a:moveTo>
                <a:cubicBezTo>
                  <a:pt x="6089" y="481"/>
                  <a:pt x="6160" y="410"/>
                  <a:pt x="6160" y="325"/>
                </a:cubicBezTo>
                <a:cubicBezTo>
                  <a:pt x="6160" y="241"/>
                  <a:pt x="6089" y="184"/>
                  <a:pt x="6005" y="184"/>
                </a:cubicBezTo>
                <a:cubicBezTo>
                  <a:pt x="5920" y="184"/>
                  <a:pt x="5849" y="241"/>
                  <a:pt x="5849" y="325"/>
                </a:cubicBezTo>
                <a:cubicBezTo>
                  <a:pt x="5849" y="410"/>
                  <a:pt x="5920" y="481"/>
                  <a:pt x="6005" y="481"/>
                </a:cubicBezTo>
                <a:close/>
                <a:moveTo>
                  <a:pt x="2402" y="777"/>
                </a:moveTo>
                <a:cubicBezTo>
                  <a:pt x="2501" y="777"/>
                  <a:pt x="2586" y="692"/>
                  <a:pt x="2586" y="594"/>
                </a:cubicBezTo>
                <a:cubicBezTo>
                  <a:pt x="2586" y="495"/>
                  <a:pt x="2501" y="410"/>
                  <a:pt x="2402" y="410"/>
                </a:cubicBezTo>
                <a:cubicBezTo>
                  <a:pt x="2303" y="410"/>
                  <a:pt x="2218" y="495"/>
                  <a:pt x="2218" y="594"/>
                </a:cubicBezTo>
                <a:cubicBezTo>
                  <a:pt x="2218" y="692"/>
                  <a:pt x="2303" y="777"/>
                  <a:pt x="2402" y="777"/>
                </a:cubicBezTo>
                <a:close/>
                <a:moveTo>
                  <a:pt x="2699" y="452"/>
                </a:moveTo>
                <a:cubicBezTo>
                  <a:pt x="2784" y="452"/>
                  <a:pt x="2840" y="396"/>
                  <a:pt x="2840" y="311"/>
                </a:cubicBezTo>
                <a:cubicBezTo>
                  <a:pt x="2840" y="241"/>
                  <a:pt x="2784" y="170"/>
                  <a:pt x="2699" y="170"/>
                </a:cubicBezTo>
                <a:cubicBezTo>
                  <a:pt x="2628" y="170"/>
                  <a:pt x="2558" y="241"/>
                  <a:pt x="2558" y="311"/>
                </a:cubicBezTo>
                <a:cubicBezTo>
                  <a:pt x="2558" y="396"/>
                  <a:pt x="2628" y="452"/>
                  <a:pt x="2699" y="452"/>
                </a:cubicBezTo>
                <a:close/>
                <a:moveTo>
                  <a:pt x="2939" y="198"/>
                </a:moveTo>
                <a:cubicBezTo>
                  <a:pt x="2995" y="198"/>
                  <a:pt x="3038" y="156"/>
                  <a:pt x="3038" y="99"/>
                </a:cubicBezTo>
                <a:cubicBezTo>
                  <a:pt x="3038" y="43"/>
                  <a:pt x="2995" y="0"/>
                  <a:pt x="2939" y="0"/>
                </a:cubicBezTo>
                <a:cubicBezTo>
                  <a:pt x="2882" y="0"/>
                  <a:pt x="2840" y="43"/>
                  <a:pt x="2840" y="99"/>
                </a:cubicBezTo>
                <a:cubicBezTo>
                  <a:pt x="2840" y="156"/>
                  <a:pt x="2882" y="198"/>
                  <a:pt x="2939" y="198"/>
                </a:cubicBezTo>
                <a:close/>
                <a:moveTo>
                  <a:pt x="4154" y="1031"/>
                </a:moveTo>
                <a:cubicBezTo>
                  <a:pt x="4253" y="1031"/>
                  <a:pt x="4338" y="947"/>
                  <a:pt x="4338" y="848"/>
                </a:cubicBezTo>
                <a:cubicBezTo>
                  <a:pt x="4338" y="735"/>
                  <a:pt x="4253" y="650"/>
                  <a:pt x="4154" y="650"/>
                </a:cubicBezTo>
                <a:cubicBezTo>
                  <a:pt x="4041" y="650"/>
                  <a:pt x="3956" y="735"/>
                  <a:pt x="3956" y="848"/>
                </a:cubicBezTo>
                <a:cubicBezTo>
                  <a:pt x="3956" y="947"/>
                  <a:pt x="4041" y="1031"/>
                  <a:pt x="4154" y="1031"/>
                </a:cubicBezTo>
                <a:close/>
                <a:moveTo>
                  <a:pt x="4479" y="608"/>
                </a:moveTo>
                <a:cubicBezTo>
                  <a:pt x="4535" y="608"/>
                  <a:pt x="4578" y="565"/>
                  <a:pt x="4578" y="509"/>
                </a:cubicBezTo>
                <a:cubicBezTo>
                  <a:pt x="4578" y="452"/>
                  <a:pt x="4535" y="396"/>
                  <a:pt x="4479" y="396"/>
                </a:cubicBezTo>
                <a:cubicBezTo>
                  <a:pt x="4408" y="396"/>
                  <a:pt x="4366" y="452"/>
                  <a:pt x="4366" y="509"/>
                </a:cubicBezTo>
                <a:cubicBezTo>
                  <a:pt x="4366" y="565"/>
                  <a:pt x="4408" y="608"/>
                  <a:pt x="4479" y="608"/>
                </a:cubicBezTo>
                <a:close/>
                <a:moveTo>
                  <a:pt x="8548" y="2514"/>
                </a:moveTo>
                <a:cubicBezTo>
                  <a:pt x="8477" y="2514"/>
                  <a:pt x="8420" y="2571"/>
                  <a:pt x="8420" y="2641"/>
                </a:cubicBezTo>
                <a:cubicBezTo>
                  <a:pt x="8420" y="2712"/>
                  <a:pt x="8477" y="2768"/>
                  <a:pt x="8548" y="2768"/>
                </a:cubicBezTo>
                <a:cubicBezTo>
                  <a:pt x="8618" y="2768"/>
                  <a:pt x="8675" y="2712"/>
                  <a:pt x="8675" y="2641"/>
                </a:cubicBezTo>
                <a:cubicBezTo>
                  <a:pt x="8675" y="2571"/>
                  <a:pt x="8618" y="2514"/>
                  <a:pt x="8548" y="2514"/>
                </a:cubicBezTo>
                <a:close/>
                <a:moveTo>
                  <a:pt x="1554" y="820"/>
                </a:moveTo>
                <a:cubicBezTo>
                  <a:pt x="1639" y="820"/>
                  <a:pt x="1710" y="749"/>
                  <a:pt x="1710" y="664"/>
                </a:cubicBezTo>
                <a:cubicBezTo>
                  <a:pt x="1710" y="579"/>
                  <a:pt x="1639" y="509"/>
                  <a:pt x="1554" y="509"/>
                </a:cubicBezTo>
                <a:cubicBezTo>
                  <a:pt x="1470" y="509"/>
                  <a:pt x="1399" y="579"/>
                  <a:pt x="1399" y="664"/>
                </a:cubicBezTo>
                <a:cubicBezTo>
                  <a:pt x="1399" y="749"/>
                  <a:pt x="1470" y="820"/>
                  <a:pt x="1554" y="820"/>
                </a:cubicBezTo>
                <a:close/>
                <a:moveTo>
                  <a:pt x="1766" y="523"/>
                </a:moveTo>
                <a:cubicBezTo>
                  <a:pt x="1823" y="523"/>
                  <a:pt x="1851" y="481"/>
                  <a:pt x="1851" y="438"/>
                </a:cubicBezTo>
                <a:cubicBezTo>
                  <a:pt x="1851" y="382"/>
                  <a:pt x="1823" y="339"/>
                  <a:pt x="1766" y="339"/>
                </a:cubicBezTo>
                <a:cubicBezTo>
                  <a:pt x="1724" y="339"/>
                  <a:pt x="1682" y="382"/>
                  <a:pt x="1682" y="438"/>
                </a:cubicBezTo>
                <a:cubicBezTo>
                  <a:pt x="1682" y="481"/>
                  <a:pt x="1724" y="523"/>
                  <a:pt x="1766" y="523"/>
                </a:cubicBezTo>
                <a:close/>
                <a:moveTo>
                  <a:pt x="8322" y="1271"/>
                </a:moveTo>
                <a:cubicBezTo>
                  <a:pt x="8364" y="1271"/>
                  <a:pt x="8406" y="1229"/>
                  <a:pt x="8406" y="1173"/>
                </a:cubicBezTo>
                <a:cubicBezTo>
                  <a:pt x="8406" y="1130"/>
                  <a:pt x="8364" y="1088"/>
                  <a:pt x="8322" y="1088"/>
                </a:cubicBezTo>
                <a:cubicBezTo>
                  <a:pt x="8265" y="1088"/>
                  <a:pt x="8223" y="1130"/>
                  <a:pt x="8223" y="1173"/>
                </a:cubicBezTo>
                <a:cubicBezTo>
                  <a:pt x="8223" y="1229"/>
                  <a:pt x="8265" y="1271"/>
                  <a:pt x="8322" y="1271"/>
                </a:cubicBezTo>
                <a:close/>
                <a:moveTo>
                  <a:pt x="3829" y="396"/>
                </a:moveTo>
                <a:cubicBezTo>
                  <a:pt x="3914" y="396"/>
                  <a:pt x="3984" y="325"/>
                  <a:pt x="3984" y="241"/>
                </a:cubicBezTo>
                <a:cubicBezTo>
                  <a:pt x="3984" y="156"/>
                  <a:pt x="3914" y="99"/>
                  <a:pt x="3829" y="99"/>
                </a:cubicBezTo>
                <a:cubicBezTo>
                  <a:pt x="3744" y="99"/>
                  <a:pt x="3674" y="156"/>
                  <a:pt x="3674" y="241"/>
                </a:cubicBezTo>
                <a:cubicBezTo>
                  <a:pt x="3674" y="325"/>
                  <a:pt x="3744" y="396"/>
                  <a:pt x="3829" y="396"/>
                </a:cubicBezTo>
                <a:close/>
                <a:moveTo>
                  <a:pt x="6753" y="947"/>
                </a:moveTo>
                <a:cubicBezTo>
                  <a:pt x="6838" y="947"/>
                  <a:pt x="6909" y="876"/>
                  <a:pt x="6909" y="791"/>
                </a:cubicBezTo>
                <a:cubicBezTo>
                  <a:pt x="6909" y="707"/>
                  <a:pt x="6838" y="650"/>
                  <a:pt x="6753" y="650"/>
                </a:cubicBezTo>
                <a:cubicBezTo>
                  <a:pt x="6669" y="650"/>
                  <a:pt x="6612" y="707"/>
                  <a:pt x="6612" y="791"/>
                </a:cubicBezTo>
                <a:cubicBezTo>
                  <a:pt x="6612" y="876"/>
                  <a:pt x="6669" y="947"/>
                  <a:pt x="6753" y="947"/>
                </a:cubicBezTo>
                <a:close/>
                <a:moveTo>
                  <a:pt x="7912" y="1003"/>
                </a:moveTo>
                <a:cubicBezTo>
                  <a:pt x="8011" y="1003"/>
                  <a:pt x="8081" y="932"/>
                  <a:pt x="8081" y="834"/>
                </a:cubicBezTo>
                <a:cubicBezTo>
                  <a:pt x="8081" y="749"/>
                  <a:pt x="8011" y="678"/>
                  <a:pt x="7912" y="678"/>
                </a:cubicBezTo>
                <a:cubicBezTo>
                  <a:pt x="7827" y="678"/>
                  <a:pt x="7756" y="749"/>
                  <a:pt x="7756" y="834"/>
                </a:cubicBezTo>
                <a:cubicBezTo>
                  <a:pt x="7756" y="932"/>
                  <a:pt x="7827" y="1003"/>
                  <a:pt x="7912" y="1003"/>
                </a:cubicBezTo>
                <a:close/>
                <a:moveTo>
                  <a:pt x="8110" y="721"/>
                </a:moveTo>
                <a:cubicBezTo>
                  <a:pt x="8166" y="721"/>
                  <a:pt x="8194" y="692"/>
                  <a:pt x="8194" y="636"/>
                </a:cubicBezTo>
                <a:cubicBezTo>
                  <a:pt x="8194" y="594"/>
                  <a:pt x="8166" y="551"/>
                  <a:pt x="8110" y="551"/>
                </a:cubicBezTo>
                <a:cubicBezTo>
                  <a:pt x="8067" y="551"/>
                  <a:pt x="8039" y="594"/>
                  <a:pt x="8039" y="636"/>
                </a:cubicBezTo>
                <a:cubicBezTo>
                  <a:pt x="8039" y="692"/>
                  <a:pt x="8067" y="721"/>
                  <a:pt x="8110" y="721"/>
                </a:cubicBezTo>
                <a:close/>
                <a:moveTo>
                  <a:pt x="8562" y="1893"/>
                </a:moveTo>
                <a:cubicBezTo>
                  <a:pt x="8562" y="1879"/>
                  <a:pt x="8576" y="1850"/>
                  <a:pt x="8576" y="1836"/>
                </a:cubicBezTo>
                <a:cubicBezTo>
                  <a:pt x="8576" y="1639"/>
                  <a:pt x="8420" y="1469"/>
                  <a:pt x="8223" y="1455"/>
                </a:cubicBezTo>
                <a:cubicBezTo>
                  <a:pt x="8194" y="1370"/>
                  <a:pt x="8110" y="1314"/>
                  <a:pt x="8011" y="1314"/>
                </a:cubicBezTo>
                <a:cubicBezTo>
                  <a:pt x="7884" y="1314"/>
                  <a:pt x="7771" y="1427"/>
                  <a:pt x="7771" y="1554"/>
                </a:cubicBezTo>
                <a:cubicBezTo>
                  <a:pt x="7771" y="1568"/>
                  <a:pt x="7771" y="1582"/>
                  <a:pt x="7785" y="1596"/>
                </a:cubicBezTo>
                <a:cubicBezTo>
                  <a:pt x="7714" y="1582"/>
                  <a:pt x="7658" y="1568"/>
                  <a:pt x="7601" y="1568"/>
                </a:cubicBezTo>
                <a:cubicBezTo>
                  <a:pt x="7516" y="1568"/>
                  <a:pt x="7516" y="1568"/>
                  <a:pt x="7516" y="1568"/>
                </a:cubicBezTo>
                <a:cubicBezTo>
                  <a:pt x="7516" y="1540"/>
                  <a:pt x="7502" y="1497"/>
                  <a:pt x="7488" y="1469"/>
                </a:cubicBezTo>
                <a:cubicBezTo>
                  <a:pt x="7516" y="1469"/>
                  <a:pt x="7530" y="1469"/>
                  <a:pt x="7544" y="1469"/>
                </a:cubicBezTo>
                <a:cubicBezTo>
                  <a:pt x="7714" y="1469"/>
                  <a:pt x="7841" y="1342"/>
                  <a:pt x="7841" y="1173"/>
                </a:cubicBezTo>
                <a:cubicBezTo>
                  <a:pt x="7841" y="1003"/>
                  <a:pt x="7714" y="876"/>
                  <a:pt x="7544" y="876"/>
                </a:cubicBezTo>
                <a:cubicBezTo>
                  <a:pt x="7375" y="876"/>
                  <a:pt x="7248" y="1003"/>
                  <a:pt x="7248" y="1173"/>
                </a:cubicBezTo>
                <a:cubicBezTo>
                  <a:pt x="7248" y="1173"/>
                  <a:pt x="7248" y="1173"/>
                  <a:pt x="7248" y="1173"/>
                </a:cubicBezTo>
                <a:cubicBezTo>
                  <a:pt x="7177" y="1130"/>
                  <a:pt x="7092" y="1116"/>
                  <a:pt x="6994" y="1116"/>
                </a:cubicBezTo>
                <a:cubicBezTo>
                  <a:pt x="6881" y="1116"/>
                  <a:pt x="6782" y="1144"/>
                  <a:pt x="6697" y="1215"/>
                </a:cubicBezTo>
                <a:cubicBezTo>
                  <a:pt x="6697" y="1187"/>
                  <a:pt x="6697" y="1158"/>
                  <a:pt x="6697" y="1144"/>
                </a:cubicBezTo>
                <a:cubicBezTo>
                  <a:pt x="6697" y="989"/>
                  <a:pt x="6584" y="862"/>
                  <a:pt x="6428" y="862"/>
                </a:cubicBezTo>
                <a:cubicBezTo>
                  <a:pt x="6330" y="862"/>
                  <a:pt x="6245" y="918"/>
                  <a:pt x="6188" y="989"/>
                </a:cubicBezTo>
                <a:cubicBezTo>
                  <a:pt x="6188" y="989"/>
                  <a:pt x="6188" y="989"/>
                  <a:pt x="6188" y="989"/>
                </a:cubicBezTo>
                <a:cubicBezTo>
                  <a:pt x="6061" y="989"/>
                  <a:pt x="5934" y="1074"/>
                  <a:pt x="5877" y="1173"/>
                </a:cubicBezTo>
                <a:cubicBezTo>
                  <a:pt x="5863" y="1173"/>
                  <a:pt x="5849" y="1173"/>
                  <a:pt x="5835" y="1173"/>
                </a:cubicBezTo>
                <a:cubicBezTo>
                  <a:pt x="5779" y="1173"/>
                  <a:pt x="5736" y="1201"/>
                  <a:pt x="5694" y="1257"/>
                </a:cubicBezTo>
                <a:cubicBezTo>
                  <a:pt x="5666" y="1187"/>
                  <a:pt x="5595" y="1144"/>
                  <a:pt x="5510" y="1144"/>
                </a:cubicBezTo>
                <a:cubicBezTo>
                  <a:pt x="5468" y="1144"/>
                  <a:pt x="5411" y="1158"/>
                  <a:pt x="5383" y="1187"/>
                </a:cubicBezTo>
                <a:cubicBezTo>
                  <a:pt x="5355" y="1003"/>
                  <a:pt x="5213" y="862"/>
                  <a:pt x="5044" y="820"/>
                </a:cubicBezTo>
                <a:cubicBezTo>
                  <a:pt x="5030" y="763"/>
                  <a:pt x="4973" y="707"/>
                  <a:pt x="4917" y="707"/>
                </a:cubicBezTo>
                <a:cubicBezTo>
                  <a:pt x="4832" y="707"/>
                  <a:pt x="4776" y="777"/>
                  <a:pt x="4776" y="848"/>
                </a:cubicBezTo>
                <a:cubicBezTo>
                  <a:pt x="4776" y="848"/>
                  <a:pt x="4776" y="848"/>
                  <a:pt x="4776" y="848"/>
                </a:cubicBezTo>
                <a:cubicBezTo>
                  <a:pt x="4691" y="890"/>
                  <a:pt x="4606" y="961"/>
                  <a:pt x="4564" y="1045"/>
                </a:cubicBezTo>
                <a:cubicBezTo>
                  <a:pt x="4535" y="1045"/>
                  <a:pt x="4521" y="1045"/>
                  <a:pt x="4507" y="1045"/>
                </a:cubicBezTo>
                <a:cubicBezTo>
                  <a:pt x="4380" y="1045"/>
                  <a:pt x="4281" y="1130"/>
                  <a:pt x="4253" y="1243"/>
                </a:cubicBezTo>
                <a:cubicBezTo>
                  <a:pt x="4225" y="1243"/>
                  <a:pt x="4196" y="1229"/>
                  <a:pt x="4168" y="1229"/>
                </a:cubicBezTo>
                <a:cubicBezTo>
                  <a:pt x="4112" y="1229"/>
                  <a:pt x="4041" y="1243"/>
                  <a:pt x="3984" y="1257"/>
                </a:cubicBezTo>
                <a:cubicBezTo>
                  <a:pt x="3956" y="1102"/>
                  <a:pt x="3829" y="989"/>
                  <a:pt x="3659" y="989"/>
                </a:cubicBezTo>
                <a:cubicBezTo>
                  <a:pt x="3589" y="989"/>
                  <a:pt x="3504" y="1017"/>
                  <a:pt x="3462" y="1074"/>
                </a:cubicBezTo>
                <a:cubicBezTo>
                  <a:pt x="3433" y="1031"/>
                  <a:pt x="3391" y="1017"/>
                  <a:pt x="3363" y="1003"/>
                </a:cubicBezTo>
                <a:cubicBezTo>
                  <a:pt x="3363" y="1003"/>
                  <a:pt x="3363" y="989"/>
                  <a:pt x="3363" y="989"/>
                </a:cubicBezTo>
                <a:cubicBezTo>
                  <a:pt x="3363" y="918"/>
                  <a:pt x="3349" y="862"/>
                  <a:pt x="3320" y="805"/>
                </a:cubicBezTo>
                <a:cubicBezTo>
                  <a:pt x="3349" y="834"/>
                  <a:pt x="3391" y="848"/>
                  <a:pt x="3448" y="848"/>
                </a:cubicBezTo>
                <a:cubicBezTo>
                  <a:pt x="3476" y="848"/>
                  <a:pt x="3490" y="834"/>
                  <a:pt x="3518" y="834"/>
                </a:cubicBezTo>
                <a:cubicBezTo>
                  <a:pt x="3518" y="890"/>
                  <a:pt x="3575" y="947"/>
                  <a:pt x="3631" y="947"/>
                </a:cubicBezTo>
                <a:cubicBezTo>
                  <a:pt x="3702" y="947"/>
                  <a:pt x="3744" y="890"/>
                  <a:pt x="3744" y="834"/>
                </a:cubicBezTo>
                <a:cubicBezTo>
                  <a:pt x="3744" y="777"/>
                  <a:pt x="3716" y="735"/>
                  <a:pt x="3674" y="721"/>
                </a:cubicBezTo>
                <a:cubicBezTo>
                  <a:pt x="3702" y="678"/>
                  <a:pt x="3716" y="622"/>
                  <a:pt x="3716" y="565"/>
                </a:cubicBezTo>
                <a:cubicBezTo>
                  <a:pt x="3716" y="424"/>
                  <a:pt x="3589" y="297"/>
                  <a:pt x="3448" y="297"/>
                </a:cubicBezTo>
                <a:cubicBezTo>
                  <a:pt x="3292" y="297"/>
                  <a:pt x="3179" y="424"/>
                  <a:pt x="3179" y="565"/>
                </a:cubicBezTo>
                <a:cubicBezTo>
                  <a:pt x="3179" y="608"/>
                  <a:pt x="3179" y="636"/>
                  <a:pt x="3193" y="664"/>
                </a:cubicBezTo>
                <a:cubicBezTo>
                  <a:pt x="3123" y="622"/>
                  <a:pt x="3052" y="594"/>
                  <a:pt x="2967" y="594"/>
                </a:cubicBezTo>
                <a:cubicBezTo>
                  <a:pt x="2755" y="594"/>
                  <a:pt x="2586" y="777"/>
                  <a:pt x="2586" y="989"/>
                </a:cubicBezTo>
                <a:cubicBezTo>
                  <a:pt x="2586" y="1017"/>
                  <a:pt x="2586" y="1045"/>
                  <a:pt x="2600" y="1074"/>
                </a:cubicBezTo>
                <a:cubicBezTo>
                  <a:pt x="2529" y="1045"/>
                  <a:pt x="2459" y="1017"/>
                  <a:pt x="2374" y="1017"/>
                </a:cubicBezTo>
                <a:cubicBezTo>
                  <a:pt x="2346" y="1017"/>
                  <a:pt x="2317" y="1031"/>
                  <a:pt x="2289" y="1031"/>
                </a:cubicBezTo>
                <a:cubicBezTo>
                  <a:pt x="2303" y="1003"/>
                  <a:pt x="2317" y="961"/>
                  <a:pt x="2317" y="918"/>
                </a:cubicBezTo>
                <a:cubicBezTo>
                  <a:pt x="2317" y="791"/>
                  <a:pt x="2204" y="678"/>
                  <a:pt x="2063" y="678"/>
                </a:cubicBezTo>
                <a:cubicBezTo>
                  <a:pt x="1922" y="678"/>
                  <a:pt x="1809" y="791"/>
                  <a:pt x="1809" y="918"/>
                </a:cubicBezTo>
                <a:cubicBezTo>
                  <a:pt x="1809" y="1045"/>
                  <a:pt x="1908" y="1158"/>
                  <a:pt x="2021" y="1173"/>
                </a:cubicBezTo>
                <a:cubicBezTo>
                  <a:pt x="1978" y="1215"/>
                  <a:pt x="1950" y="1257"/>
                  <a:pt x="1922" y="1300"/>
                </a:cubicBezTo>
                <a:cubicBezTo>
                  <a:pt x="1908" y="1158"/>
                  <a:pt x="1781" y="1045"/>
                  <a:pt x="1639" y="1045"/>
                </a:cubicBezTo>
                <a:cubicBezTo>
                  <a:pt x="1597" y="1045"/>
                  <a:pt x="1554" y="1045"/>
                  <a:pt x="1526" y="1060"/>
                </a:cubicBezTo>
                <a:cubicBezTo>
                  <a:pt x="1526" y="1045"/>
                  <a:pt x="1526" y="1031"/>
                  <a:pt x="1526" y="1017"/>
                </a:cubicBezTo>
                <a:cubicBezTo>
                  <a:pt x="1526" y="862"/>
                  <a:pt x="1399" y="735"/>
                  <a:pt x="1230" y="735"/>
                </a:cubicBezTo>
                <a:cubicBezTo>
                  <a:pt x="1074" y="735"/>
                  <a:pt x="947" y="862"/>
                  <a:pt x="947" y="1017"/>
                </a:cubicBezTo>
                <a:cubicBezTo>
                  <a:pt x="947" y="1031"/>
                  <a:pt x="947" y="1045"/>
                  <a:pt x="947" y="1045"/>
                </a:cubicBezTo>
                <a:cubicBezTo>
                  <a:pt x="919" y="1045"/>
                  <a:pt x="890" y="1031"/>
                  <a:pt x="848" y="1031"/>
                </a:cubicBezTo>
                <a:cubicBezTo>
                  <a:pt x="636" y="1031"/>
                  <a:pt x="467" y="1215"/>
                  <a:pt x="467" y="1427"/>
                </a:cubicBezTo>
                <a:cubicBezTo>
                  <a:pt x="467" y="1483"/>
                  <a:pt x="481" y="1540"/>
                  <a:pt x="509" y="1596"/>
                </a:cubicBezTo>
                <a:cubicBezTo>
                  <a:pt x="212" y="1667"/>
                  <a:pt x="0" y="1935"/>
                  <a:pt x="0" y="2246"/>
                </a:cubicBezTo>
                <a:cubicBezTo>
                  <a:pt x="0" y="9095"/>
                  <a:pt x="0" y="9095"/>
                  <a:pt x="0" y="9095"/>
                </a:cubicBezTo>
                <a:cubicBezTo>
                  <a:pt x="0" y="9476"/>
                  <a:pt x="311" y="9772"/>
                  <a:pt x="679" y="9772"/>
                </a:cubicBezTo>
                <a:cubicBezTo>
                  <a:pt x="7601" y="9772"/>
                  <a:pt x="7601" y="9772"/>
                  <a:pt x="7601" y="9772"/>
                </a:cubicBezTo>
                <a:cubicBezTo>
                  <a:pt x="7968" y="9772"/>
                  <a:pt x="8279" y="9476"/>
                  <a:pt x="8279" y="9095"/>
                </a:cubicBezTo>
                <a:cubicBezTo>
                  <a:pt x="8279" y="3093"/>
                  <a:pt x="8279" y="3093"/>
                  <a:pt x="8279" y="3093"/>
                </a:cubicBezTo>
                <a:cubicBezTo>
                  <a:pt x="8378" y="3065"/>
                  <a:pt x="8449" y="2980"/>
                  <a:pt x="8449" y="2881"/>
                </a:cubicBezTo>
                <a:cubicBezTo>
                  <a:pt x="8449" y="2782"/>
                  <a:pt x="8378" y="2698"/>
                  <a:pt x="8293" y="2669"/>
                </a:cubicBezTo>
                <a:cubicBezTo>
                  <a:pt x="8293" y="2655"/>
                  <a:pt x="8307" y="2627"/>
                  <a:pt x="8307" y="2599"/>
                </a:cubicBezTo>
                <a:cubicBezTo>
                  <a:pt x="8307" y="2571"/>
                  <a:pt x="8293" y="2542"/>
                  <a:pt x="8293" y="2514"/>
                </a:cubicBezTo>
                <a:cubicBezTo>
                  <a:pt x="8406" y="2514"/>
                  <a:pt x="8491" y="2415"/>
                  <a:pt x="8491" y="2302"/>
                </a:cubicBezTo>
                <a:cubicBezTo>
                  <a:pt x="8491" y="2232"/>
                  <a:pt x="8463" y="2175"/>
                  <a:pt x="8420" y="2133"/>
                </a:cubicBezTo>
                <a:cubicBezTo>
                  <a:pt x="8420" y="2133"/>
                  <a:pt x="8435" y="2119"/>
                  <a:pt x="8435" y="2119"/>
                </a:cubicBezTo>
                <a:cubicBezTo>
                  <a:pt x="8463" y="2147"/>
                  <a:pt x="8505" y="2175"/>
                  <a:pt x="8548" y="2175"/>
                </a:cubicBezTo>
                <a:cubicBezTo>
                  <a:pt x="8618" y="2175"/>
                  <a:pt x="8675" y="2105"/>
                  <a:pt x="8675" y="2034"/>
                </a:cubicBezTo>
                <a:cubicBezTo>
                  <a:pt x="8675" y="1963"/>
                  <a:pt x="8632" y="1907"/>
                  <a:pt x="8562" y="1893"/>
                </a:cubicBezTo>
                <a:close/>
                <a:moveTo>
                  <a:pt x="5736" y="1017"/>
                </a:moveTo>
                <a:cubicBezTo>
                  <a:pt x="5736" y="1088"/>
                  <a:pt x="5779" y="1130"/>
                  <a:pt x="5849" y="1130"/>
                </a:cubicBezTo>
                <a:cubicBezTo>
                  <a:pt x="5906" y="1130"/>
                  <a:pt x="5962" y="1088"/>
                  <a:pt x="5962" y="1017"/>
                </a:cubicBezTo>
                <a:cubicBezTo>
                  <a:pt x="5962" y="961"/>
                  <a:pt x="5906" y="904"/>
                  <a:pt x="5849" y="904"/>
                </a:cubicBezTo>
                <a:cubicBezTo>
                  <a:pt x="5779" y="904"/>
                  <a:pt x="5736" y="961"/>
                  <a:pt x="5736" y="1017"/>
                </a:cubicBezTo>
                <a:close/>
              </a:path>
            </a:pathLst>
          </a:custGeom>
          <a:solidFill>
            <a:srgbClr val="C0C0C0"/>
          </a:solidFill>
          <a:ln w="0">
            <a:noFill/>
            <a:prstDash val="solid"/>
            <a:round/>
            <a:headEnd/>
            <a:tailEnd/>
          </a:ln>
        </p:spPr>
        <p:txBody>
          <a:bodyPr vert="horz" wrap="square" lIns="91284" tIns="45642" rIns="91284" bIns="45642" numCol="1" anchor="t" anchorCtr="0" compatLnSpc="1">
            <a:prstTxWarp prst="textNoShape">
              <a:avLst/>
            </a:prstTxWarp>
          </a:bodyPr>
          <a:lstStyle/>
          <a:p>
            <a:pPr defTabSz="912644"/>
            <a:endParaRPr lang="fr-FR" sz="1800" u="sng">
              <a:solidFill>
                <a:srgbClr val="000000"/>
              </a:solidFill>
              <a:cs typeface="+mn-cs"/>
            </a:endParaRPr>
          </a:p>
        </p:txBody>
      </p:sp>
      <p:sp>
        <p:nvSpPr>
          <p:cNvPr id="7" name="AutoShape 2"/>
          <p:cNvSpPr>
            <a:spLocks noChangeArrowheads="1"/>
          </p:cNvSpPr>
          <p:nvPr userDrawn="1"/>
        </p:nvSpPr>
        <p:spPr bwMode="auto">
          <a:xfrm>
            <a:off x="561975" y="1950244"/>
            <a:ext cx="8020050" cy="2471738"/>
          </a:xfrm>
          <a:prstGeom prst="roundRect">
            <a:avLst>
              <a:gd name="adj" fmla="val 6125"/>
            </a:avLst>
          </a:prstGeom>
          <a:solidFill>
            <a:schemeClr val="bg2"/>
          </a:solidFill>
          <a:ln w="76200">
            <a:noFill/>
            <a:round/>
            <a:headEnd/>
            <a:tailEnd/>
          </a:ln>
        </p:spPr>
        <p:txBody>
          <a:bodyPr wrap="none" lIns="91284" tIns="45642" rIns="91284" bIns="45642" anchor="ctr"/>
          <a:lstStyle/>
          <a:p>
            <a:pPr defTabSz="912644">
              <a:defRPr/>
            </a:pPr>
            <a:endParaRPr lang="fr-FR" sz="1800" u="sng">
              <a:solidFill>
                <a:srgbClr val="000000"/>
              </a:solidFill>
              <a:cs typeface="+mn-cs"/>
            </a:endParaRPr>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82"/>
            <a:ext cx="3935412" cy="684408"/>
          </a:xfrm>
        </p:spPr>
        <p:txBody>
          <a:bodyPr/>
          <a:lstStyle>
            <a:lvl1pPr marL="0" indent="1588">
              <a:defRPr/>
            </a:lvl1pPr>
          </a:lstStyle>
          <a:p>
            <a:pPr lvl="0"/>
            <a:r>
              <a:rPr lang="en-US"/>
              <a:t>Click to edit Master text styles</a:t>
            </a:r>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13" name="Espace réservé pour une image  15"/>
          <p:cNvSpPr>
            <a:spLocks noGrp="1"/>
          </p:cNvSpPr>
          <p:nvPr>
            <p:ph type="pic" sz="quarter" idx="16"/>
          </p:nvPr>
        </p:nvSpPr>
        <p:spPr>
          <a:xfrm>
            <a:off x="2992584" y="1982386"/>
            <a:ext cx="5520382" cy="2395064"/>
          </a:xfrm>
          <a:prstGeom prst="roundRect">
            <a:avLst>
              <a:gd name="adj" fmla="val 6361"/>
            </a:avLst>
          </a:prstGeom>
          <a:solidFill>
            <a:schemeClr val="bg1"/>
          </a:solidFill>
        </p:spPr>
        <p:txBody>
          <a:bodyPr/>
          <a:lstStyle/>
          <a:p>
            <a:pPr lvl="0"/>
            <a:r>
              <a:rPr lang="en-US" noProof="0"/>
              <a:t>Click icon to add picture</a:t>
            </a:r>
            <a:endParaRPr lang="fr-FR" noProof="0" dirty="0"/>
          </a:p>
        </p:txBody>
      </p:sp>
      <p:sp>
        <p:nvSpPr>
          <p:cNvPr id="11" name="Espace réservé du texte 14"/>
          <p:cNvSpPr>
            <a:spLocks noGrp="1"/>
          </p:cNvSpPr>
          <p:nvPr>
            <p:ph type="body" sz="quarter" idx="17"/>
          </p:nvPr>
        </p:nvSpPr>
        <p:spPr>
          <a:xfrm>
            <a:off x="642916" y="1948295"/>
            <a:ext cx="2147792" cy="2473686"/>
          </a:xfrm>
        </p:spPr>
        <p:txBody>
          <a:bodyPr anchor="ctr"/>
          <a:lstStyle>
            <a:lvl1pPr marL="0" indent="0">
              <a:lnSpc>
                <a:spcPts val="1200"/>
              </a:lnSpc>
              <a:spcBef>
                <a:spcPts val="1400"/>
              </a:spcBef>
              <a:defRPr sz="1100">
                <a:solidFill>
                  <a:schemeClr val="bg1"/>
                </a:solidFill>
              </a:defRPr>
            </a:lvl1pPr>
          </a:lstStyle>
          <a:p>
            <a:pPr lvl="0"/>
            <a:r>
              <a:rPr lang="en-US"/>
              <a:t>Click to edit Master text styles</a:t>
            </a:r>
          </a:p>
        </p:txBody>
      </p:sp>
      <p:sp>
        <p:nvSpPr>
          <p:cNvPr id="10" name="Rectangle 1029"/>
          <p:cNvSpPr>
            <a:spLocks noGrp="1" noChangeArrowheads="1"/>
          </p:cNvSpPr>
          <p:nvPr>
            <p:ph type="sldNum" sz="quarter" idx="18"/>
          </p:nvPr>
        </p:nvSpPr>
        <p:spPr/>
        <p:txBody>
          <a:bodyPr/>
          <a:lstStyle>
            <a:lvl1pPr>
              <a:defRPr/>
            </a:lvl1pPr>
          </a:lstStyle>
          <a:p>
            <a:pPr>
              <a:defRPr/>
            </a:pPr>
            <a:fld id="{72349D14-5FE4-4B7C-B9FC-2906859A4334}" type="slidenum">
              <a:rPr lang="en-GB">
                <a:solidFill>
                  <a:srgbClr val="C0C0C0"/>
                </a:solidFill>
              </a:rPr>
              <a:pPr>
                <a:defRPr/>
              </a:pPr>
              <a:t>‹#›</a:t>
            </a:fld>
            <a:endParaRPr lang="en-GB">
              <a:solidFill>
                <a:srgbClr val="C0C0C0"/>
              </a:solidFill>
            </a:endParaRPr>
          </a:p>
        </p:txBody>
      </p:sp>
      <p:sp>
        <p:nvSpPr>
          <p:cNvPr id="12" name="Rectangle 1030"/>
          <p:cNvSpPr>
            <a:spLocks noGrp="1" noChangeArrowheads="1"/>
          </p:cNvSpPr>
          <p:nvPr>
            <p:ph type="ftr" sz="quarter" idx="19"/>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21910278"/>
      </p:ext>
    </p:extLst>
  </p:cSld>
  <p:clrMapOvr>
    <a:masterClrMapping/>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6" name="Espace réservé du texte 6"/>
          <p:cNvSpPr>
            <a:spLocks noGrp="1"/>
          </p:cNvSpPr>
          <p:nvPr>
            <p:ph type="body" sz="quarter" idx="12"/>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5" name="Rectangle 1029"/>
          <p:cNvSpPr>
            <a:spLocks noGrp="1" noChangeArrowheads="1"/>
          </p:cNvSpPr>
          <p:nvPr>
            <p:ph type="sldNum" sz="quarter" idx="13"/>
          </p:nvPr>
        </p:nvSpPr>
        <p:spPr/>
        <p:txBody>
          <a:bodyPr/>
          <a:lstStyle>
            <a:lvl1pPr>
              <a:defRPr/>
            </a:lvl1pPr>
          </a:lstStyle>
          <a:p>
            <a:pPr>
              <a:defRPr/>
            </a:pPr>
            <a:fld id="{D451D75E-F122-4D4C-8EF8-D3864C5AA899}" type="slidenum">
              <a:rPr lang="en-GB">
                <a:solidFill>
                  <a:srgbClr val="C0C0C0"/>
                </a:solidFill>
              </a:rPr>
              <a:pPr>
                <a:defRPr/>
              </a:pPr>
              <a:t>‹#›</a:t>
            </a:fld>
            <a:endParaRPr lang="en-GB">
              <a:solidFill>
                <a:srgbClr val="C0C0C0"/>
              </a:solidFill>
            </a:endParaRPr>
          </a:p>
        </p:txBody>
      </p:sp>
      <p:sp>
        <p:nvSpPr>
          <p:cNvPr id="7" name="Rectangle 1030"/>
          <p:cNvSpPr>
            <a:spLocks noGrp="1" noChangeArrowheads="1"/>
          </p:cNvSpPr>
          <p:nvPr>
            <p:ph type="ftr" sz="quarter" idx="14"/>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1203594413"/>
      </p:ext>
    </p:extLst>
  </p:cSld>
  <p:clrMapOvr>
    <a:masterClrMapping/>
  </p:clrMapOvr>
  <p:transition spd="slow">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header">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6" name="Espace réservé du texte 6"/>
          <p:cNvSpPr>
            <a:spLocks noGrp="1"/>
          </p:cNvSpPr>
          <p:nvPr>
            <p:ph type="body" sz="quarter" idx="12"/>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8" name="Espace réservé du texte 7"/>
          <p:cNvSpPr>
            <a:spLocks noGrp="1"/>
          </p:cNvSpPr>
          <p:nvPr>
            <p:ph type="body" sz="quarter" idx="13"/>
          </p:nvPr>
        </p:nvSpPr>
        <p:spPr>
          <a:xfrm>
            <a:off x="561975" y="1221584"/>
            <a:ext cx="8020050" cy="1379115"/>
          </a:xfrm>
        </p:spPr>
        <p:txBody>
          <a:bodyPr/>
          <a:lstStyle>
            <a:lvl1pPr marL="0" indent="1588">
              <a:defRPr/>
            </a:lvl1pPr>
          </a:lstStyle>
          <a:p>
            <a:pPr lvl="0"/>
            <a:r>
              <a:rPr lang="en-US"/>
              <a:t>Click to edit Master text styles</a:t>
            </a:r>
          </a:p>
        </p:txBody>
      </p:sp>
      <p:sp>
        <p:nvSpPr>
          <p:cNvPr id="5" name="Rectangle 1029"/>
          <p:cNvSpPr>
            <a:spLocks noGrp="1" noChangeArrowheads="1"/>
          </p:cNvSpPr>
          <p:nvPr>
            <p:ph type="sldNum" sz="quarter" idx="14"/>
          </p:nvPr>
        </p:nvSpPr>
        <p:spPr>
          <a:ln/>
        </p:spPr>
        <p:txBody>
          <a:bodyPr/>
          <a:lstStyle>
            <a:lvl1pPr>
              <a:defRPr/>
            </a:lvl1pPr>
          </a:lstStyle>
          <a:p>
            <a:pPr>
              <a:defRPr/>
            </a:pPr>
            <a:fld id="{6C983603-D8D6-4C9E-8CA7-20392A6F7A91}" type="slidenum">
              <a:rPr lang="en-GB">
                <a:solidFill>
                  <a:srgbClr val="C0C0C0"/>
                </a:solidFill>
              </a:rPr>
              <a:pPr>
                <a:defRPr/>
              </a:pPr>
              <a:t>‹#›</a:t>
            </a:fld>
            <a:endParaRPr lang="en-GB">
              <a:solidFill>
                <a:srgbClr val="C0C0C0"/>
              </a:solidFill>
            </a:endParaRPr>
          </a:p>
        </p:txBody>
      </p:sp>
      <p:sp>
        <p:nvSpPr>
          <p:cNvPr id="7" name="Rectangle 1030"/>
          <p:cNvSpPr>
            <a:spLocks noGrp="1" noChangeArrowheads="1"/>
          </p:cNvSpPr>
          <p:nvPr>
            <p:ph type="ftr" sz="quarter" idx="15"/>
          </p:nvPr>
        </p:nvSpPr>
        <p:spPr>
          <a:ln/>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3998751708"/>
      </p:ext>
    </p:extLst>
  </p:cSld>
  <p:clrMapOvr>
    <a:masterClrMapping/>
  </p:clrMapOvr>
  <p:transition spd="slow">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Freeform 11" descr="Line 1_compr"/>
          <p:cNvSpPr>
            <a:spLocks/>
          </p:cNvSpPr>
          <p:nvPr/>
        </p:nvSpPr>
        <p:spPr bwMode="auto">
          <a:xfrm>
            <a:off x="142876" y="835819"/>
            <a:ext cx="8853488" cy="3886200"/>
          </a:xfrm>
          <a:custGeom>
            <a:avLst/>
            <a:gdLst/>
            <a:ahLst/>
            <a:cxnLst>
              <a:cxn ang="0">
                <a:pos x="13467" y="9795"/>
              </a:cxn>
              <a:cxn ang="0">
                <a:pos x="13467" y="9249"/>
              </a:cxn>
              <a:cxn ang="0">
                <a:pos x="16731" y="9249"/>
              </a:cxn>
              <a:cxn ang="0">
                <a:pos x="16731" y="0"/>
              </a:cxn>
              <a:cxn ang="0">
                <a:pos x="0" y="0"/>
              </a:cxn>
              <a:cxn ang="0">
                <a:pos x="0" y="9800"/>
              </a:cxn>
              <a:cxn ang="0">
                <a:pos x="13467" y="9795"/>
              </a:cxn>
            </a:cxnLst>
            <a:rect l="0" t="0" r="r" b="b"/>
            <a:pathLst>
              <a:path w="16731" h="9800">
                <a:moveTo>
                  <a:pt x="13467" y="9795"/>
                </a:moveTo>
                <a:lnTo>
                  <a:pt x="13467" y="9249"/>
                </a:lnTo>
                <a:lnTo>
                  <a:pt x="16731" y="9249"/>
                </a:lnTo>
                <a:lnTo>
                  <a:pt x="16731" y="0"/>
                </a:lnTo>
                <a:lnTo>
                  <a:pt x="0" y="0"/>
                </a:lnTo>
                <a:lnTo>
                  <a:pt x="0" y="9800"/>
                </a:lnTo>
                <a:lnTo>
                  <a:pt x="13467" y="9795"/>
                </a:lnTo>
                <a:close/>
              </a:path>
            </a:pathLst>
          </a:custGeom>
          <a:blipFill dpi="0" rotWithShape="1">
            <a:blip r:embed="rId3" cstate="print"/>
            <a:srcRect/>
            <a:stretch>
              <a:fillRect/>
            </a:stretch>
          </a:blipFill>
          <a:ln w="9525">
            <a:noFill/>
            <a:round/>
            <a:headEnd/>
            <a:tailEnd/>
          </a:ln>
        </p:spPr>
        <p:txBody>
          <a:bodyPr lIns="91284" tIns="45642" rIns="91284" bIns="45642"/>
          <a:lstStyle/>
          <a:p>
            <a:pPr defTabSz="912644">
              <a:lnSpc>
                <a:spcPct val="107000"/>
              </a:lnSpc>
              <a:defRPr/>
            </a:pPr>
            <a:endParaRPr lang="en-US" sz="1400">
              <a:solidFill>
                <a:srgbClr val="000000"/>
              </a:solidFill>
              <a:latin typeface="Verdana" pitchFamily="34" charset="0"/>
              <a:cs typeface="+mn-cs"/>
            </a:endParaRPr>
          </a:p>
        </p:txBody>
      </p:sp>
      <p:sp>
        <p:nvSpPr>
          <p:cNvPr id="5" name="Rectangle 4"/>
          <p:cNvSpPr>
            <a:spLocks noChangeArrowheads="1"/>
          </p:cNvSpPr>
          <p:nvPr/>
        </p:nvSpPr>
        <p:spPr bwMode="auto">
          <a:xfrm>
            <a:off x="144508" y="107201"/>
            <a:ext cx="8853487" cy="110729"/>
          </a:xfrm>
          <a:prstGeom prst="rect">
            <a:avLst/>
          </a:prstGeom>
          <a:solidFill>
            <a:srgbClr val="69B8D6"/>
          </a:solidFill>
          <a:ln w="127">
            <a:noFill/>
            <a:miter lim="800000"/>
            <a:headEnd/>
            <a:tailEnd/>
          </a:ln>
          <a:effectLst/>
        </p:spPr>
        <p:txBody>
          <a:bodyPr wrap="none" lIns="91284" tIns="45642" rIns="91284" bIns="45642" anchor="ctr"/>
          <a:lstStyle/>
          <a:p>
            <a:pPr defTabSz="912644">
              <a:lnSpc>
                <a:spcPct val="107000"/>
              </a:lnSpc>
              <a:defRPr/>
            </a:pPr>
            <a:endParaRPr lang="en-US" sz="1400">
              <a:solidFill>
                <a:srgbClr val="000000"/>
              </a:solidFill>
              <a:latin typeface="Verdana" pitchFamily="34" charset="0"/>
              <a:cs typeface="+mn-cs"/>
            </a:endParaRPr>
          </a:p>
        </p:txBody>
      </p:sp>
      <p:pic>
        <p:nvPicPr>
          <p:cNvPr id="6" name="Picture 10" descr="Maersk_Line_Hvid baggrund"/>
          <p:cNvPicPr>
            <a:picLocks noChangeAspect="1" noChangeArrowheads="1"/>
          </p:cNvPicPr>
          <p:nvPr/>
        </p:nvPicPr>
        <p:blipFill>
          <a:blip r:embed="rId4"/>
          <a:srcRect/>
          <a:stretch>
            <a:fillRect/>
          </a:stretch>
        </p:blipFill>
        <p:spPr bwMode="auto">
          <a:xfrm>
            <a:off x="7274009" y="4510165"/>
            <a:ext cx="1870075" cy="633413"/>
          </a:xfrm>
          <a:prstGeom prst="rect">
            <a:avLst/>
          </a:prstGeom>
          <a:noFill/>
          <a:ln w="9525">
            <a:noFill/>
            <a:miter lim="800000"/>
            <a:headEnd/>
            <a:tailEnd/>
          </a:ln>
        </p:spPr>
      </p:pic>
      <p:sp>
        <p:nvSpPr>
          <p:cNvPr id="30723" name="Rectangle 3"/>
          <p:cNvSpPr>
            <a:spLocks noGrp="1" noChangeArrowheads="1"/>
          </p:cNvSpPr>
          <p:nvPr>
            <p:ph type="ctrTitle"/>
          </p:nvPr>
        </p:nvSpPr>
        <p:spPr>
          <a:xfrm>
            <a:off x="144508" y="835876"/>
            <a:ext cx="8853487" cy="1559719"/>
          </a:xfrm>
          <a:solidFill>
            <a:schemeClr val="bg2">
              <a:alpha val="75000"/>
            </a:schemeClr>
          </a:solidFill>
        </p:spPr>
        <p:txBody>
          <a:bodyPr lIns="431180" tIns="143765" rIns="431180" bIns="143765"/>
          <a:lstStyle>
            <a:lvl1pPr>
              <a:lnSpc>
                <a:spcPct val="92000"/>
              </a:lnSpc>
              <a:defRPr sz="3200">
                <a:solidFill>
                  <a:schemeClr val="bg1"/>
                </a:solidFill>
              </a:defRPr>
            </a:lvl1pPr>
          </a:lstStyle>
          <a:p>
            <a:r>
              <a:rPr lang="en-GB"/>
              <a:t>Text</a:t>
            </a:r>
          </a:p>
        </p:txBody>
      </p:sp>
      <p:sp>
        <p:nvSpPr>
          <p:cNvPr id="30725" name="Rectangle 5"/>
          <p:cNvSpPr>
            <a:spLocks noGrp="1" noChangeArrowheads="1"/>
          </p:cNvSpPr>
          <p:nvPr>
            <p:ph type="subTitle" idx="1"/>
          </p:nvPr>
        </p:nvSpPr>
        <p:spPr>
          <a:xfrm>
            <a:off x="142876" y="215561"/>
            <a:ext cx="8853488" cy="620315"/>
          </a:xfrm>
          <a:solidFill>
            <a:schemeClr val="bg1"/>
          </a:solidFill>
        </p:spPr>
        <p:txBody>
          <a:bodyPr lIns="431180" tIns="143765" rIns="431180" bIns="143765"/>
          <a:lstStyle>
            <a:lvl1pPr marL="0" indent="0">
              <a:spcBef>
                <a:spcPct val="0"/>
              </a:spcBef>
              <a:buFontTx/>
              <a:buNone/>
              <a:defRPr sz="1000"/>
            </a:lvl1pPr>
          </a:lstStyle>
          <a:p>
            <a:r>
              <a:rPr lang="en-GB"/>
              <a:t>Text</a:t>
            </a:r>
          </a:p>
        </p:txBody>
      </p:sp>
    </p:spTree>
    <p:extLst>
      <p:ext uri="{BB962C8B-B14F-4D97-AF65-F5344CB8AC3E}">
        <p14:creationId xmlns:p14="http://schemas.microsoft.com/office/powerpoint/2010/main" val="3457619997"/>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a:ln/>
        </p:spPr>
        <p:txBody>
          <a:bodyPr/>
          <a:lstStyle>
            <a:lvl1pPr>
              <a:defRPr/>
            </a:lvl1pPr>
          </a:lstStyle>
          <a:p>
            <a:pPr>
              <a:defRPr/>
            </a:pPr>
            <a:fld id="{0C6A14F3-97A4-4FAE-BDE2-1304C2DC6D76}" type="datetime1">
              <a:rPr lang="en-GB">
                <a:solidFill>
                  <a:srgbClr val="000000"/>
                </a:solidFill>
              </a:rPr>
              <a:pPr>
                <a:defRPr/>
              </a:pPr>
              <a:t>15/05/2017</a:t>
            </a:fld>
            <a:endParaRPr lang="en-GB">
              <a:solidFill>
                <a:srgbClr val="000000"/>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r>
              <a:rPr lang="en-GB">
                <a:solidFill>
                  <a:srgbClr val="000000"/>
                </a:solidFill>
              </a:rPr>
              <a:t>Slide no. </a:t>
            </a:r>
            <a:fld id="{374A008E-91C6-40D3-8503-A3613C7D07B2}" type="slidenum">
              <a:rPr lang="en-GB">
                <a:solidFill>
                  <a:srgbClr val="000000"/>
                </a:solidFill>
              </a:rPr>
              <a:pPr>
                <a:defRPr/>
              </a:pPr>
              <a:t>‹#›</a:t>
            </a:fld>
            <a:endParaRPr lang="en-GB">
              <a:solidFill>
                <a:srgbClr val="000000"/>
              </a:solidFill>
            </a:endParaRPr>
          </a:p>
        </p:txBody>
      </p:sp>
      <p:sp>
        <p:nvSpPr>
          <p:cNvPr id="6" name="Rectangle 10"/>
          <p:cNvSpPr>
            <a:spLocks noGrp="1" noChangeArrowheads="1"/>
          </p:cNvSpPr>
          <p:nvPr>
            <p:ph type="ftr" sz="quarter" idx="12"/>
          </p:nvPr>
        </p:nvSpPr>
        <p:spPr>
          <a:ln/>
        </p:spPr>
        <p:txBody>
          <a:bodyPr/>
          <a:lstStyle>
            <a:lvl1pPr>
              <a:defRPr/>
            </a:lvl1pPr>
          </a:lstStyle>
          <a:p>
            <a:pPr>
              <a:defRPr/>
            </a:pPr>
            <a:r>
              <a:rPr lang="en-GB">
                <a:solidFill>
                  <a:srgbClr val="000000"/>
                </a:solidFill>
              </a:rPr>
              <a:t>Department</a:t>
            </a:r>
          </a:p>
        </p:txBody>
      </p:sp>
    </p:spTree>
    <p:extLst>
      <p:ext uri="{BB962C8B-B14F-4D97-AF65-F5344CB8AC3E}">
        <p14:creationId xmlns:p14="http://schemas.microsoft.com/office/powerpoint/2010/main" val="140298732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5"/>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n-US"/>
              <a:t>Click to edit Master text styles</a:t>
            </a:r>
          </a:p>
        </p:txBody>
      </p:sp>
      <p:sp>
        <p:nvSpPr>
          <p:cNvPr id="4" name="Rectangle 6"/>
          <p:cNvSpPr>
            <a:spLocks noGrp="1" noChangeArrowheads="1"/>
          </p:cNvSpPr>
          <p:nvPr>
            <p:ph type="dt" sz="half" idx="10"/>
          </p:nvPr>
        </p:nvSpPr>
        <p:spPr>
          <a:ln/>
        </p:spPr>
        <p:txBody>
          <a:bodyPr/>
          <a:lstStyle>
            <a:lvl1pPr>
              <a:defRPr/>
            </a:lvl1pPr>
          </a:lstStyle>
          <a:p>
            <a:pPr>
              <a:defRPr/>
            </a:pPr>
            <a:fld id="{8AF9BDEB-F760-4BB5-BC1B-3DD05420A4E8}" type="datetime1">
              <a:rPr lang="en-GB">
                <a:solidFill>
                  <a:srgbClr val="000000"/>
                </a:solidFill>
              </a:rPr>
              <a:pPr>
                <a:defRPr/>
              </a:pPr>
              <a:t>15/05/2017</a:t>
            </a:fld>
            <a:endParaRPr lang="en-GB">
              <a:solidFill>
                <a:srgbClr val="000000"/>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r>
              <a:rPr lang="en-GB">
                <a:solidFill>
                  <a:srgbClr val="000000"/>
                </a:solidFill>
              </a:rPr>
              <a:t>Slide no. </a:t>
            </a:r>
            <a:fld id="{E74704B6-2C78-4201-8F6A-158D255D0D6D}" type="slidenum">
              <a:rPr lang="en-GB">
                <a:solidFill>
                  <a:srgbClr val="000000"/>
                </a:solidFill>
              </a:rPr>
              <a:pPr>
                <a:defRPr/>
              </a:pPr>
              <a:t>‹#›</a:t>
            </a:fld>
            <a:endParaRPr lang="en-GB">
              <a:solidFill>
                <a:srgbClr val="000000"/>
              </a:solidFill>
            </a:endParaRPr>
          </a:p>
        </p:txBody>
      </p:sp>
      <p:sp>
        <p:nvSpPr>
          <p:cNvPr id="6" name="Rectangle 10"/>
          <p:cNvSpPr>
            <a:spLocks noGrp="1" noChangeArrowheads="1"/>
          </p:cNvSpPr>
          <p:nvPr>
            <p:ph type="ftr" sz="quarter" idx="12"/>
          </p:nvPr>
        </p:nvSpPr>
        <p:spPr>
          <a:ln/>
        </p:spPr>
        <p:txBody>
          <a:bodyPr/>
          <a:lstStyle>
            <a:lvl1pPr>
              <a:defRPr/>
            </a:lvl1pPr>
          </a:lstStyle>
          <a:p>
            <a:pPr>
              <a:defRPr/>
            </a:pPr>
            <a:r>
              <a:rPr lang="en-GB">
                <a:solidFill>
                  <a:srgbClr val="000000"/>
                </a:solidFill>
              </a:rPr>
              <a:t>Department</a:t>
            </a:r>
          </a:p>
        </p:txBody>
      </p:sp>
    </p:spTree>
    <p:extLst>
      <p:ext uri="{BB962C8B-B14F-4D97-AF65-F5344CB8AC3E}">
        <p14:creationId xmlns:p14="http://schemas.microsoft.com/office/powerpoint/2010/main" val="174081548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74676" y="1564482"/>
            <a:ext cx="3917950" cy="2833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5026" y="1564482"/>
            <a:ext cx="3919538" cy="2833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dt" sz="half" idx="10"/>
          </p:nvPr>
        </p:nvSpPr>
        <p:spPr>
          <a:ln/>
        </p:spPr>
        <p:txBody>
          <a:bodyPr/>
          <a:lstStyle>
            <a:lvl1pPr>
              <a:defRPr/>
            </a:lvl1pPr>
          </a:lstStyle>
          <a:p>
            <a:pPr>
              <a:defRPr/>
            </a:pPr>
            <a:fld id="{74D5F173-89B5-4153-8303-EAAAD3329995}" type="datetime1">
              <a:rPr lang="en-GB">
                <a:solidFill>
                  <a:srgbClr val="000000"/>
                </a:solidFill>
              </a:rPr>
              <a:pPr>
                <a:defRPr/>
              </a:pPr>
              <a:t>15/05/2017</a:t>
            </a:fld>
            <a:endParaRPr lang="en-GB">
              <a:solidFill>
                <a:srgbClr val="000000"/>
              </a:solidFill>
            </a:endParaRPr>
          </a:p>
        </p:txBody>
      </p:sp>
      <p:sp>
        <p:nvSpPr>
          <p:cNvPr id="6" name="Rectangle 8"/>
          <p:cNvSpPr>
            <a:spLocks noGrp="1" noChangeArrowheads="1"/>
          </p:cNvSpPr>
          <p:nvPr>
            <p:ph type="sldNum" sz="quarter" idx="11"/>
          </p:nvPr>
        </p:nvSpPr>
        <p:spPr>
          <a:ln/>
        </p:spPr>
        <p:txBody>
          <a:bodyPr/>
          <a:lstStyle>
            <a:lvl1pPr>
              <a:defRPr/>
            </a:lvl1pPr>
          </a:lstStyle>
          <a:p>
            <a:pPr>
              <a:defRPr/>
            </a:pPr>
            <a:r>
              <a:rPr lang="en-GB">
                <a:solidFill>
                  <a:srgbClr val="000000"/>
                </a:solidFill>
              </a:rPr>
              <a:t>Slide no. </a:t>
            </a:r>
            <a:fld id="{9F833EEA-66CD-4577-9712-705FBD57DE9A}" type="slidenum">
              <a:rPr lang="en-GB">
                <a:solidFill>
                  <a:srgbClr val="000000"/>
                </a:solidFill>
              </a:rPr>
              <a:pPr>
                <a:defRPr/>
              </a:pPr>
              <a:t>‹#›</a:t>
            </a:fld>
            <a:endParaRPr lang="en-GB">
              <a:solidFill>
                <a:srgbClr val="000000"/>
              </a:solidFill>
            </a:endParaRPr>
          </a:p>
        </p:txBody>
      </p:sp>
      <p:sp>
        <p:nvSpPr>
          <p:cNvPr id="7" name="Rectangle 10"/>
          <p:cNvSpPr>
            <a:spLocks noGrp="1" noChangeArrowheads="1"/>
          </p:cNvSpPr>
          <p:nvPr>
            <p:ph type="ftr" sz="quarter" idx="12"/>
          </p:nvPr>
        </p:nvSpPr>
        <p:spPr>
          <a:ln/>
        </p:spPr>
        <p:txBody>
          <a:bodyPr/>
          <a:lstStyle>
            <a:lvl1pPr>
              <a:defRPr/>
            </a:lvl1pPr>
          </a:lstStyle>
          <a:p>
            <a:pPr>
              <a:defRPr/>
            </a:pPr>
            <a:r>
              <a:rPr lang="en-GB">
                <a:solidFill>
                  <a:srgbClr val="000000"/>
                </a:solidFill>
              </a:rPr>
              <a:t>Department</a:t>
            </a:r>
          </a:p>
        </p:txBody>
      </p:sp>
    </p:spTree>
    <p:extLst>
      <p:ext uri="{BB962C8B-B14F-4D97-AF65-F5344CB8AC3E}">
        <p14:creationId xmlns:p14="http://schemas.microsoft.com/office/powerpoint/2010/main" val="23981759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5"/>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n-US"/>
              <a:t>Click to edit Master text styles</a:t>
            </a:r>
          </a:p>
        </p:txBody>
      </p:sp>
    </p:spTree>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109"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10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dt" sz="half" idx="10"/>
          </p:nvPr>
        </p:nvSpPr>
        <p:spPr>
          <a:ln/>
        </p:spPr>
        <p:txBody>
          <a:bodyPr/>
          <a:lstStyle>
            <a:lvl1pPr>
              <a:defRPr/>
            </a:lvl1pPr>
          </a:lstStyle>
          <a:p>
            <a:pPr>
              <a:defRPr/>
            </a:pPr>
            <a:fld id="{D860D5EB-0CDF-4075-84F8-A0B9ACB57AE7}" type="datetime1">
              <a:rPr lang="en-GB">
                <a:solidFill>
                  <a:srgbClr val="000000"/>
                </a:solidFill>
              </a:rPr>
              <a:pPr>
                <a:defRPr/>
              </a:pPr>
              <a:t>15/05/2017</a:t>
            </a:fld>
            <a:endParaRPr lang="en-GB">
              <a:solidFill>
                <a:srgbClr val="000000"/>
              </a:solidFill>
            </a:endParaRPr>
          </a:p>
        </p:txBody>
      </p:sp>
      <p:sp>
        <p:nvSpPr>
          <p:cNvPr id="8" name="Rectangle 8"/>
          <p:cNvSpPr>
            <a:spLocks noGrp="1" noChangeArrowheads="1"/>
          </p:cNvSpPr>
          <p:nvPr>
            <p:ph type="sldNum" sz="quarter" idx="11"/>
          </p:nvPr>
        </p:nvSpPr>
        <p:spPr>
          <a:ln/>
        </p:spPr>
        <p:txBody>
          <a:bodyPr/>
          <a:lstStyle>
            <a:lvl1pPr>
              <a:defRPr/>
            </a:lvl1pPr>
          </a:lstStyle>
          <a:p>
            <a:pPr>
              <a:defRPr/>
            </a:pPr>
            <a:r>
              <a:rPr lang="en-GB">
                <a:solidFill>
                  <a:srgbClr val="000000"/>
                </a:solidFill>
              </a:rPr>
              <a:t>Slide no. </a:t>
            </a:r>
            <a:fld id="{F2915E5D-7732-44B0-A8B5-078A87D7E173}" type="slidenum">
              <a:rPr lang="en-GB">
                <a:solidFill>
                  <a:srgbClr val="000000"/>
                </a:solidFill>
              </a:rPr>
              <a:pPr>
                <a:defRPr/>
              </a:pPr>
              <a:t>‹#›</a:t>
            </a:fld>
            <a:endParaRPr lang="en-GB">
              <a:solidFill>
                <a:srgbClr val="000000"/>
              </a:solidFill>
            </a:endParaRPr>
          </a:p>
        </p:txBody>
      </p:sp>
      <p:sp>
        <p:nvSpPr>
          <p:cNvPr id="9" name="Rectangle 10"/>
          <p:cNvSpPr>
            <a:spLocks noGrp="1" noChangeArrowheads="1"/>
          </p:cNvSpPr>
          <p:nvPr>
            <p:ph type="ftr" sz="quarter" idx="12"/>
          </p:nvPr>
        </p:nvSpPr>
        <p:spPr>
          <a:ln/>
        </p:spPr>
        <p:txBody>
          <a:bodyPr/>
          <a:lstStyle>
            <a:lvl1pPr>
              <a:defRPr/>
            </a:lvl1pPr>
          </a:lstStyle>
          <a:p>
            <a:pPr>
              <a:defRPr/>
            </a:pPr>
            <a:r>
              <a:rPr lang="en-GB">
                <a:solidFill>
                  <a:srgbClr val="000000"/>
                </a:solidFill>
              </a:rPr>
              <a:t>Department</a:t>
            </a:r>
          </a:p>
        </p:txBody>
      </p:sp>
    </p:spTree>
    <p:extLst>
      <p:ext uri="{BB962C8B-B14F-4D97-AF65-F5344CB8AC3E}">
        <p14:creationId xmlns:p14="http://schemas.microsoft.com/office/powerpoint/2010/main" val="410959335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dt" sz="half" idx="10"/>
          </p:nvPr>
        </p:nvSpPr>
        <p:spPr>
          <a:ln/>
        </p:spPr>
        <p:txBody>
          <a:bodyPr/>
          <a:lstStyle>
            <a:lvl1pPr>
              <a:defRPr/>
            </a:lvl1pPr>
          </a:lstStyle>
          <a:p>
            <a:pPr>
              <a:defRPr/>
            </a:pPr>
            <a:fld id="{228D2AAA-3146-42DB-BEE0-BAAC59E4F1F0}" type="datetime1">
              <a:rPr lang="en-GB">
                <a:solidFill>
                  <a:srgbClr val="000000"/>
                </a:solidFill>
              </a:rPr>
              <a:pPr>
                <a:defRPr/>
              </a:pPr>
              <a:t>15/05/2017</a:t>
            </a:fld>
            <a:endParaRPr lang="en-GB">
              <a:solidFill>
                <a:srgbClr val="000000"/>
              </a:solidFill>
            </a:endParaRPr>
          </a:p>
        </p:txBody>
      </p:sp>
      <p:sp>
        <p:nvSpPr>
          <p:cNvPr id="4" name="Rectangle 8"/>
          <p:cNvSpPr>
            <a:spLocks noGrp="1" noChangeArrowheads="1"/>
          </p:cNvSpPr>
          <p:nvPr>
            <p:ph type="sldNum" sz="quarter" idx="11"/>
          </p:nvPr>
        </p:nvSpPr>
        <p:spPr>
          <a:ln/>
        </p:spPr>
        <p:txBody>
          <a:bodyPr/>
          <a:lstStyle>
            <a:lvl1pPr>
              <a:defRPr/>
            </a:lvl1pPr>
          </a:lstStyle>
          <a:p>
            <a:pPr>
              <a:defRPr/>
            </a:pPr>
            <a:r>
              <a:rPr lang="en-GB">
                <a:solidFill>
                  <a:srgbClr val="000000"/>
                </a:solidFill>
              </a:rPr>
              <a:t>Slide no. </a:t>
            </a:r>
            <a:fld id="{A3305C4D-AB73-4FDB-981C-5C64F65633BA}" type="slidenum">
              <a:rPr lang="en-GB">
                <a:solidFill>
                  <a:srgbClr val="000000"/>
                </a:solidFill>
              </a:rPr>
              <a:pPr>
                <a:defRPr/>
              </a:pPr>
              <a:t>‹#›</a:t>
            </a:fld>
            <a:endParaRPr lang="en-GB">
              <a:solidFill>
                <a:srgbClr val="000000"/>
              </a:solidFill>
            </a:endParaRPr>
          </a:p>
        </p:txBody>
      </p:sp>
      <p:sp>
        <p:nvSpPr>
          <p:cNvPr id="5" name="Rectangle 10"/>
          <p:cNvSpPr>
            <a:spLocks noGrp="1" noChangeArrowheads="1"/>
          </p:cNvSpPr>
          <p:nvPr>
            <p:ph type="ftr" sz="quarter" idx="12"/>
          </p:nvPr>
        </p:nvSpPr>
        <p:spPr>
          <a:ln/>
        </p:spPr>
        <p:txBody>
          <a:bodyPr/>
          <a:lstStyle>
            <a:lvl1pPr>
              <a:defRPr/>
            </a:lvl1pPr>
          </a:lstStyle>
          <a:p>
            <a:pPr>
              <a:defRPr/>
            </a:pPr>
            <a:r>
              <a:rPr lang="en-GB">
                <a:solidFill>
                  <a:srgbClr val="000000"/>
                </a:solidFill>
              </a:rPr>
              <a:t>Department</a:t>
            </a:r>
          </a:p>
        </p:txBody>
      </p:sp>
    </p:spTree>
    <p:extLst>
      <p:ext uri="{BB962C8B-B14F-4D97-AF65-F5344CB8AC3E}">
        <p14:creationId xmlns:p14="http://schemas.microsoft.com/office/powerpoint/2010/main" val="389520962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fld id="{F5E1BDE1-3501-4C82-A379-8F9A75A0784A}" type="datetime1">
              <a:rPr lang="en-GB">
                <a:solidFill>
                  <a:srgbClr val="000000"/>
                </a:solidFill>
              </a:rPr>
              <a:pPr>
                <a:defRPr/>
              </a:pPr>
              <a:t>15/05/2017</a:t>
            </a:fld>
            <a:endParaRPr lang="en-GB">
              <a:solidFill>
                <a:srgbClr val="000000"/>
              </a:solidFill>
            </a:endParaRPr>
          </a:p>
        </p:txBody>
      </p:sp>
      <p:sp>
        <p:nvSpPr>
          <p:cNvPr id="3" name="Rectangle 8"/>
          <p:cNvSpPr>
            <a:spLocks noGrp="1" noChangeArrowheads="1"/>
          </p:cNvSpPr>
          <p:nvPr>
            <p:ph type="sldNum" sz="quarter" idx="11"/>
          </p:nvPr>
        </p:nvSpPr>
        <p:spPr>
          <a:ln/>
        </p:spPr>
        <p:txBody>
          <a:bodyPr/>
          <a:lstStyle>
            <a:lvl1pPr>
              <a:defRPr/>
            </a:lvl1pPr>
          </a:lstStyle>
          <a:p>
            <a:pPr>
              <a:defRPr/>
            </a:pPr>
            <a:r>
              <a:rPr lang="en-GB">
                <a:solidFill>
                  <a:srgbClr val="000000"/>
                </a:solidFill>
              </a:rPr>
              <a:t>Slide no. </a:t>
            </a:r>
            <a:fld id="{616D2CA1-C0A4-46D0-8AE8-3EAF9462D008}" type="slidenum">
              <a:rPr lang="en-GB">
                <a:solidFill>
                  <a:srgbClr val="000000"/>
                </a:solidFill>
              </a:rPr>
              <a:pPr>
                <a:defRPr/>
              </a:pPr>
              <a:t>‹#›</a:t>
            </a:fld>
            <a:endParaRPr lang="en-GB">
              <a:solidFill>
                <a:srgbClr val="000000"/>
              </a:solidFill>
            </a:endParaRPr>
          </a:p>
        </p:txBody>
      </p:sp>
      <p:sp>
        <p:nvSpPr>
          <p:cNvPr id="4" name="Rectangle 10"/>
          <p:cNvSpPr>
            <a:spLocks noGrp="1" noChangeArrowheads="1"/>
          </p:cNvSpPr>
          <p:nvPr>
            <p:ph type="ftr" sz="quarter" idx="12"/>
          </p:nvPr>
        </p:nvSpPr>
        <p:spPr>
          <a:ln/>
        </p:spPr>
        <p:txBody>
          <a:bodyPr/>
          <a:lstStyle>
            <a:lvl1pPr>
              <a:defRPr/>
            </a:lvl1pPr>
          </a:lstStyle>
          <a:p>
            <a:pPr>
              <a:defRPr/>
            </a:pPr>
            <a:r>
              <a:rPr lang="en-GB">
                <a:solidFill>
                  <a:srgbClr val="000000"/>
                </a:solidFill>
              </a:rPr>
              <a:t>Department</a:t>
            </a:r>
          </a:p>
        </p:txBody>
      </p:sp>
    </p:spTree>
    <p:extLst>
      <p:ext uri="{BB962C8B-B14F-4D97-AF65-F5344CB8AC3E}">
        <p14:creationId xmlns:p14="http://schemas.microsoft.com/office/powerpoint/2010/main" val="132201987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3"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fld id="{4036A3F9-442F-4908-8B6B-00CD012103B5}" type="datetime1">
              <a:rPr lang="en-GB">
                <a:solidFill>
                  <a:srgbClr val="000000"/>
                </a:solidFill>
              </a:rPr>
              <a:pPr>
                <a:defRPr/>
              </a:pPr>
              <a:t>15/05/2017</a:t>
            </a:fld>
            <a:endParaRPr lang="en-GB">
              <a:solidFill>
                <a:srgbClr val="000000"/>
              </a:solidFill>
            </a:endParaRPr>
          </a:p>
        </p:txBody>
      </p:sp>
      <p:sp>
        <p:nvSpPr>
          <p:cNvPr id="6" name="Rectangle 8"/>
          <p:cNvSpPr>
            <a:spLocks noGrp="1" noChangeArrowheads="1"/>
          </p:cNvSpPr>
          <p:nvPr>
            <p:ph type="sldNum" sz="quarter" idx="11"/>
          </p:nvPr>
        </p:nvSpPr>
        <p:spPr>
          <a:ln/>
        </p:spPr>
        <p:txBody>
          <a:bodyPr/>
          <a:lstStyle>
            <a:lvl1pPr>
              <a:defRPr/>
            </a:lvl1pPr>
          </a:lstStyle>
          <a:p>
            <a:pPr>
              <a:defRPr/>
            </a:pPr>
            <a:r>
              <a:rPr lang="en-GB">
                <a:solidFill>
                  <a:srgbClr val="000000"/>
                </a:solidFill>
              </a:rPr>
              <a:t>Slide no. </a:t>
            </a:r>
            <a:fld id="{1DC5FFF7-2F9B-471C-9382-420605AD6772}" type="slidenum">
              <a:rPr lang="en-GB">
                <a:solidFill>
                  <a:srgbClr val="000000"/>
                </a:solidFill>
              </a:rPr>
              <a:pPr>
                <a:defRPr/>
              </a:pPr>
              <a:t>‹#›</a:t>
            </a:fld>
            <a:endParaRPr lang="en-GB">
              <a:solidFill>
                <a:srgbClr val="000000"/>
              </a:solidFill>
            </a:endParaRPr>
          </a:p>
        </p:txBody>
      </p:sp>
      <p:sp>
        <p:nvSpPr>
          <p:cNvPr id="7" name="Rectangle 10"/>
          <p:cNvSpPr>
            <a:spLocks noGrp="1" noChangeArrowheads="1"/>
          </p:cNvSpPr>
          <p:nvPr>
            <p:ph type="ftr" sz="quarter" idx="12"/>
          </p:nvPr>
        </p:nvSpPr>
        <p:spPr>
          <a:ln/>
        </p:spPr>
        <p:txBody>
          <a:bodyPr/>
          <a:lstStyle>
            <a:lvl1pPr>
              <a:defRPr/>
            </a:lvl1pPr>
          </a:lstStyle>
          <a:p>
            <a:pPr>
              <a:defRPr/>
            </a:pPr>
            <a:r>
              <a:rPr lang="en-GB">
                <a:solidFill>
                  <a:srgbClr val="000000"/>
                </a:solidFill>
              </a:rPr>
              <a:t>Department</a:t>
            </a:r>
          </a:p>
        </p:txBody>
      </p:sp>
    </p:spTree>
    <p:extLst>
      <p:ext uri="{BB962C8B-B14F-4D97-AF65-F5344CB8AC3E}">
        <p14:creationId xmlns:p14="http://schemas.microsoft.com/office/powerpoint/2010/main" val="106734164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n-US" noProof="0"/>
          </a:p>
        </p:txBody>
      </p:sp>
      <p:sp>
        <p:nvSpPr>
          <p:cNvPr id="4" name="Text Placeholder 3"/>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fld id="{0A723154-495D-44DE-8FAD-964638CC4E80}" type="datetime1">
              <a:rPr lang="en-GB">
                <a:solidFill>
                  <a:srgbClr val="000000"/>
                </a:solidFill>
              </a:rPr>
              <a:pPr>
                <a:defRPr/>
              </a:pPr>
              <a:t>15/05/2017</a:t>
            </a:fld>
            <a:endParaRPr lang="en-GB">
              <a:solidFill>
                <a:srgbClr val="000000"/>
              </a:solidFill>
            </a:endParaRPr>
          </a:p>
        </p:txBody>
      </p:sp>
      <p:sp>
        <p:nvSpPr>
          <p:cNvPr id="6" name="Rectangle 8"/>
          <p:cNvSpPr>
            <a:spLocks noGrp="1" noChangeArrowheads="1"/>
          </p:cNvSpPr>
          <p:nvPr>
            <p:ph type="sldNum" sz="quarter" idx="11"/>
          </p:nvPr>
        </p:nvSpPr>
        <p:spPr>
          <a:ln/>
        </p:spPr>
        <p:txBody>
          <a:bodyPr/>
          <a:lstStyle>
            <a:lvl1pPr>
              <a:defRPr/>
            </a:lvl1pPr>
          </a:lstStyle>
          <a:p>
            <a:pPr>
              <a:defRPr/>
            </a:pPr>
            <a:r>
              <a:rPr lang="en-GB">
                <a:solidFill>
                  <a:srgbClr val="000000"/>
                </a:solidFill>
              </a:rPr>
              <a:t>Slide no. </a:t>
            </a:r>
            <a:fld id="{07F61B52-E4EA-4420-A5B3-2822A9BCAEE1}" type="slidenum">
              <a:rPr lang="en-GB">
                <a:solidFill>
                  <a:srgbClr val="000000"/>
                </a:solidFill>
              </a:rPr>
              <a:pPr>
                <a:defRPr/>
              </a:pPr>
              <a:t>‹#›</a:t>
            </a:fld>
            <a:endParaRPr lang="en-GB">
              <a:solidFill>
                <a:srgbClr val="000000"/>
              </a:solidFill>
            </a:endParaRPr>
          </a:p>
        </p:txBody>
      </p:sp>
      <p:sp>
        <p:nvSpPr>
          <p:cNvPr id="7" name="Rectangle 10"/>
          <p:cNvSpPr>
            <a:spLocks noGrp="1" noChangeArrowheads="1"/>
          </p:cNvSpPr>
          <p:nvPr>
            <p:ph type="ftr" sz="quarter" idx="12"/>
          </p:nvPr>
        </p:nvSpPr>
        <p:spPr>
          <a:ln/>
        </p:spPr>
        <p:txBody>
          <a:bodyPr/>
          <a:lstStyle>
            <a:lvl1pPr>
              <a:defRPr/>
            </a:lvl1pPr>
          </a:lstStyle>
          <a:p>
            <a:pPr>
              <a:defRPr/>
            </a:pPr>
            <a:r>
              <a:rPr lang="en-GB">
                <a:solidFill>
                  <a:srgbClr val="000000"/>
                </a:solidFill>
              </a:rPr>
              <a:t>Department</a:t>
            </a:r>
          </a:p>
        </p:txBody>
      </p:sp>
    </p:spTree>
    <p:extLst>
      <p:ext uri="{BB962C8B-B14F-4D97-AF65-F5344CB8AC3E}">
        <p14:creationId xmlns:p14="http://schemas.microsoft.com/office/powerpoint/2010/main" val="221865031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a:ln/>
        </p:spPr>
        <p:txBody>
          <a:bodyPr/>
          <a:lstStyle>
            <a:lvl1pPr>
              <a:defRPr/>
            </a:lvl1pPr>
          </a:lstStyle>
          <a:p>
            <a:pPr>
              <a:defRPr/>
            </a:pPr>
            <a:fld id="{F96138C5-559E-4B13-BA22-1ECF6FB2E33C}" type="datetime1">
              <a:rPr lang="en-GB">
                <a:solidFill>
                  <a:srgbClr val="000000"/>
                </a:solidFill>
              </a:rPr>
              <a:pPr>
                <a:defRPr/>
              </a:pPr>
              <a:t>15/05/2017</a:t>
            </a:fld>
            <a:endParaRPr lang="en-GB">
              <a:solidFill>
                <a:srgbClr val="000000"/>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r>
              <a:rPr lang="en-GB">
                <a:solidFill>
                  <a:srgbClr val="000000"/>
                </a:solidFill>
              </a:rPr>
              <a:t>Slide no. </a:t>
            </a:r>
            <a:fld id="{4525E641-5C26-4F08-A007-CA10E640DDF7}" type="slidenum">
              <a:rPr lang="en-GB">
                <a:solidFill>
                  <a:srgbClr val="000000"/>
                </a:solidFill>
              </a:rPr>
              <a:pPr>
                <a:defRPr/>
              </a:pPr>
              <a:t>‹#›</a:t>
            </a:fld>
            <a:endParaRPr lang="en-GB">
              <a:solidFill>
                <a:srgbClr val="000000"/>
              </a:solidFill>
            </a:endParaRPr>
          </a:p>
        </p:txBody>
      </p:sp>
      <p:sp>
        <p:nvSpPr>
          <p:cNvPr id="6" name="Rectangle 10"/>
          <p:cNvSpPr>
            <a:spLocks noGrp="1" noChangeArrowheads="1"/>
          </p:cNvSpPr>
          <p:nvPr>
            <p:ph type="ftr" sz="quarter" idx="12"/>
          </p:nvPr>
        </p:nvSpPr>
        <p:spPr>
          <a:ln/>
        </p:spPr>
        <p:txBody>
          <a:bodyPr/>
          <a:lstStyle>
            <a:lvl1pPr>
              <a:defRPr/>
            </a:lvl1pPr>
          </a:lstStyle>
          <a:p>
            <a:pPr>
              <a:defRPr/>
            </a:pPr>
            <a:r>
              <a:rPr lang="en-GB">
                <a:solidFill>
                  <a:srgbClr val="000000"/>
                </a:solidFill>
              </a:rPr>
              <a:t>Department</a:t>
            </a:r>
          </a:p>
        </p:txBody>
      </p:sp>
    </p:spTree>
    <p:extLst>
      <p:ext uri="{BB962C8B-B14F-4D97-AF65-F5344CB8AC3E}">
        <p14:creationId xmlns:p14="http://schemas.microsoft.com/office/powerpoint/2010/main" val="357860694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67568" y="215555"/>
            <a:ext cx="1997075" cy="418266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4717" y="215555"/>
            <a:ext cx="5840413" cy="41826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a:ln/>
        </p:spPr>
        <p:txBody>
          <a:bodyPr/>
          <a:lstStyle>
            <a:lvl1pPr>
              <a:defRPr/>
            </a:lvl1pPr>
          </a:lstStyle>
          <a:p>
            <a:pPr>
              <a:defRPr/>
            </a:pPr>
            <a:fld id="{24E30E7A-CAB8-42EB-BEBE-D523B6192466}" type="datetime1">
              <a:rPr lang="en-GB">
                <a:solidFill>
                  <a:srgbClr val="000000"/>
                </a:solidFill>
              </a:rPr>
              <a:pPr>
                <a:defRPr/>
              </a:pPr>
              <a:t>15/05/2017</a:t>
            </a:fld>
            <a:endParaRPr lang="en-GB">
              <a:solidFill>
                <a:srgbClr val="000000"/>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r>
              <a:rPr lang="en-GB">
                <a:solidFill>
                  <a:srgbClr val="000000"/>
                </a:solidFill>
              </a:rPr>
              <a:t>Slide no. </a:t>
            </a:r>
            <a:fld id="{F78C9D76-6848-4A63-AE82-54CA599E8FB9}" type="slidenum">
              <a:rPr lang="en-GB">
                <a:solidFill>
                  <a:srgbClr val="000000"/>
                </a:solidFill>
              </a:rPr>
              <a:pPr>
                <a:defRPr/>
              </a:pPr>
              <a:t>‹#›</a:t>
            </a:fld>
            <a:endParaRPr lang="en-GB">
              <a:solidFill>
                <a:srgbClr val="000000"/>
              </a:solidFill>
            </a:endParaRPr>
          </a:p>
        </p:txBody>
      </p:sp>
      <p:sp>
        <p:nvSpPr>
          <p:cNvPr id="6" name="Rectangle 10"/>
          <p:cNvSpPr>
            <a:spLocks noGrp="1" noChangeArrowheads="1"/>
          </p:cNvSpPr>
          <p:nvPr>
            <p:ph type="ftr" sz="quarter" idx="12"/>
          </p:nvPr>
        </p:nvSpPr>
        <p:spPr>
          <a:ln/>
        </p:spPr>
        <p:txBody>
          <a:bodyPr/>
          <a:lstStyle>
            <a:lvl1pPr>
              <a:defRPr/>
            </a:lvl1pPr>
          </a:lstStyle>
          <a:p>
            <a:pPr>
              <a:defRPr/>
            </a:pPr>
            <a:r>
              <a:rPr lang="en-GB">
                <a:solidFill>
                  <a:srgbClr val="000000"/>
                </a:solidFill>
              </a:rPr>
              <a:t>Department</a:t>
            </a:r>
          </a:p>
        </p:txBody>
      </p:sp>
    </p:spTree>
    <p:extLst>
      <p:ext uri="{BB962C8B-B14F-4D97-AF65-F5344CB8AC3E}">
        <p14:creationId xmlns:p14="http://schemas.microsoft.com/office/powerpoint/2010/main" val="20458287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993074"/>
            <a:ext cx="9144000" cy="4150426"/>
          </a:xfrm>
          <a:prstGeom prst="rect">
            <a:avLst/>
          </a:prstGeom>
        </p:spPr>
      </p:pic>
      <p:sp>
        <p:nvSpPr>
          <p:cNvPr id="18" name="Rectangle 17"/>
          <p:cNvSpPr/>
          <p:nvPr userDrawn="1">
            <p:custDataLst>
              <p:tags r:id="rId2"/>
            </p:custDataLst>
          </p:nvPr>
        </p:nvSpPr>
        <p:spPr>
          <a:xfrm>
            <a:off x="0" y="4800659"/>
            <a:ext cx="9144000" cy="342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813" tIns="41907" rIns="83813" bIns="41907" rtlCol="0" anchor="ctr"/>
          <a:lstStyle/>
          <a:p>
            <a:pPr algn="ctr" defTabSz="955884" fontAlgn="auto">
              <a:spcBef>
                <a:spcPts val="0"/>
              </a:spcBef>
              <a:spcAft>
                <a:spcPts val="0"/>
              </a:spcAft>
            </a:pPr>
            <a:endParaRPr lang="en-US" sz="1300" dirty="0">
              <a:solidFill>
                <a:prstClr val="white"/>
              </a:solidFill>
            </a:endParaRPr>
          </a:p>
        </p:txBody>
      </p:sp>
      <p:sp>
        <p:nvSpPr>
          <p:cNvPr id="17" name="Rectangle 7"/>
          <p:cNvSpPr/>
          <p:nvPr userDrawn="1">
            <p:custDataLst>
              <p:tags r:id="rId3"/>
            </p:custDataLst>
          </p:nvPr>
        </p:nvSpPr>
        <p:spPr bwMode="auto">
          <a:xfrm>
            <a:off x="-1890" y="46"/>
            <a:ext cx="9145895" cy="20122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6" tIns="42898" rIns="33056" bIns="42898" rtlCol="0" anchor="ctr"/>
          <a:lstStyle/>
          <a:p>
            <a:pPr algn="ctr" defTabSz="955884" fontAlgn="auto">
              <a:spcBef>
                <a:spcPts val="0"/>
              </a:spcBef>
              <a:spcAft>
                <a:spcPts val="0"/>
              </a:spcAft>
            </a:pPr>
            <a:endParaRPr lang="en-US" sz="1000" dirty="0">
              <a:solidFill>
                <a:prstClr val="white"/>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62"/>
          <a:ext cx="146538" cy="119063"/>
        </p:xfrm>
        <a:graphic>
          <a:graphicData uri="http://schemas.openxmlformats.org/presentationml/2006/ole">
            <mc:AlternateContent xmlns:mc="http://schemas.openxmlformats.org/markup-compatibility/2006">
              <mc:Choice xmlns:v="urn:schemas-microsoft-com:vml" Requires="v">
                <p:oleObj spid="_x0000_s234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4890531"/>
            <a:ext cx="2770546" cy="179266"/>
          </a:xfrm>
          <a:prstGeom prst="rect">
            <a:avLst/>
          </a:prstGeom>
          <a:noFill/>
        </p:spPr>
      </p:pic>
      <p:sp>
        <p:nvSpPr>
          <p:cNvPr id="2" name="Title 1"/>
          <p:cNvSpPr>
            <a:spLocks noGrp="1"/>
          </p:cNvSpPr>
          <p:nvPr>
            <p:ph type="ctrTitle" hasCustomPrompt="1"/>
            <p:custDataLst>
              <p:tags r:id="rId6"/>
            </p:custDataLst>
          </p:nvPr>
        </p:nvSpPr>
        <p:spPr>
          <a:xfrm>
            <a:off x="0" y="1692460"/>
            <a:ext cx="4191400" cy="1696224"/>
          </a:xfrm>
        </p:spPr>
        <p:txBody>
          <a:bodyPr lIns="230945" tIns="33056" rIns="33056" bIns="33056"/>
          <a:lstStyle>
            <a:lvl1pPr algn="l">
              <a:defRPr sz="3300" b="0">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7" y="3413926"/>
            <a:ext cx="4191905" cy="710813"/>
          </a:xfrm>
        </p:spPr>
        <p:txBody>
          <a:bodyPr lIns="230945" tIns="33056" rIns="33056" bIns="33056"/>
          <a:lstStyle>
            <a:lvl1pPr marL="0" indent="0" algn="l">
              <a:buNone/>
              <a:defRPr sz="2200" b="0">
                <a:solidFill>
                  <a:schemeClr val="tx1"/>
                </a:solidFill>
              </a:defRPr>
            </a:lvl1pPr>
            <a:lvl2pPr marL="456239" indent="0" algn="ctr">
              <a:buNone/>
              <a:defRPr>
                <a:solidFill>
                  <a:schemeClr val="tx1">
                    <a:tint val="75000"/>
                  </a:schemeClr>
                </a:solidFill>
              </a:defRPr>
            </a:lvl2pPr>
            <a:lvl3pPr marL="912585" indent="0" algn="ctr">
              <a:buNone/>
              <a:defRPr>
                <a:solidFill>
                  <a:schemeClr val="tx1">
                    <a:tint val="75000"/>
                  </a:schemeClr>
                </a:solidFill>
              </a:defRPr>
            </a:lvl3pPr>
            <a:lvl4pPr marL="1368861" indent="0" algn="ctr">
              <a:buNone/>
              <a:defRPr>
                <a:solidFill>
                  <a:schemeClr val="tx1">
                    <a:tint val="75000"/>
                  </a:schemeClr>
                </a:solidFill>
              </a:defRPr>
            </a:lvl4pPr>
            <a:lvl5pPr marL="1825169" indent="0" algn="ctr">
              <a:buNone/>
              <a:defRPr>
                <a:solidFill>
                  <a:schemeClr val="tx1">
                    <a:tint val="75000"/>
                  </a:schemeClr>
                </a:solidFill>
              </a:defRPr>
            </a:lvl5pPr>
            <a:lvl6pPr marL="2281409" indent="0" algn="ctr">
              <a:buNone/>
              <a:defRPr>
                <a:solidFill>
                  <a:schemeClr val="tx1">
                    <a:tint val="75000"/>
                  </a:schemeClr>
                </a:solidFill>
              </a:defRPr>
            </a:lvl6pPr>
            <a:lvl7pPr marL="2737646" indent="0" algn="ctr">
              <a:buNone/>
              <a:defRPr>
                <a:solidFill>
                  <a:schemeClr val="tx1">
                    <a:tint val="75000"/>
                  </a:schemeClr>
                </a:solidFill>
              </a:defRPr>
            </a:lvl7pPr>
            <a:lvl8pPr marL="3193964" indent="0" algn="ctr">
              <a:buNone/>
              <a:defRPr>
                <a:solidFill>
                  <a:schemeClr val="tx1">
                    <a:tint val="75000"/>
                  </a:schemeClr>
                </a:solidFill>
              </a:defRPr>
            </a:lvl8pPr>
            <a:lvl9pPr marL="3650260"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42" y="489775"/>
            <a:ext cx="2770161" cy="521018"/>
          </a:xfrm>
          <a:prstGeom prst="rect">
            <a:avLst/>
          </a:prstGeom>
          <a:noFill/>
        </p:spPr>
      </p:pic>
    </p:spTree>
    <p:extLst>
      <p:ext uri="{BB962C8B-B14F-4D97-AF65-F5344CB8AC3E}">
        <p14:creationId xmlns:p14="http://schemas.microsoft.com/office/powerpoint/2010/main" val="337639677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787966"/>
            <a:ext cx="9144000" cy="4355534"/>
          </a:xfrm>
          <a:prstGeom prst="rect">
            <a:avLst/>
          </a:prstGeom>
        </p:spPr>
      </p:pic>
      <p:graphicFrame>
        <p:nvGraphicFramePr>
          <p:cNvPr id="4" name="Object 3" hidden="1"/>
          <p:cNvGraphicFramePr>
            <a:graphicFrameLocks noChangeAspect="1"/>
          </p:cNvGraphicFramePr>
          <p:nvPr>
            <p:custDataLst>
              <p:tags r:id="rId2"/>
            </p:custDataLst>
          </p:nvPr>
        </p:nvGraphicFramePr>
        <p:xfrm>
          <a:off x="1" y="62"/>
          <a:ext cx="146538" cy="119063"/>
        </p:xfrm>
        <a:graphic>
          <a:graphicData uri="http://schemas.openxmlformats.org/presentationml/2006/ole">
            <mc:AlternateContent xmlns:mc="http://schemas.openxmlformats.org/markup-compatibility/2006">
              <mc:Choice xmlns:v="urn:schemas-microsoft-com:vml" Requires="v">
                <p:oleObj spid="_x0000_s336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476619"/>
            <a:ext cx="4998690" cy="1811186"/>
          </a:xfrm>
        </p:spPr>
        <p:txBody>
          <a:bodyPr vert="horz" lIns="35922" tIns="35922" rIns="359298" bIns="35922" rtlCol="0" anchor="ctr">
            <a:noAutofit/>
          </a:bodyPr>
          <a:lstStyle>
            <a:lvl1pPr algn="r" defTabSz="993788"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4926421" y="3457485"/>
            <a:ext cx="4217582" cy="1354727"/>
          </a:xfrm>
        </p:spPr>
        <p:txBody>
          <a:bodyPr vert="horz" lIns="35922" tIns="35922" rIns="359298" bIns="35922" rtlCol="0">
            <a:noAutofit/>
          </a:bodyPr>
          <a:lstStyle>
            <a:lvl1pPr marL="0" indent="0" algn="r" defTabSz="993788"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1890" y="46"/>
            <a:ext cx="9145895" cy="20122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6" tIns="42898" rIns="33056" bIns="42898" rtlCol="0" anchor="ctr"/>
          <a:lstStyle/>
          <a:p>
            <a:pPr algn="ctr" defTabSz="955884" fontAlgn="auto">
              <a:spcBef>
                <a:spcPts val="0"/>
              </a:spcBef>
              <a:spcAft>
                <a:spcPts val="0"/>
              </a:spcAft>
            </a:pPr>
            <a:endParaRPr lang="en-US" sz="1000" dirty="0">
              <a:solidFill>
                <a:prstClr val="white"/>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42" y="489775"/>
            <a:ext cx="2770161" cy="521018"/>
          </a:xfrm>
          <a:prstGeom prst="rect">
            <a:avLst/>
          </a:prstGeom>
          <a:noFill/>
        </p:spPr>
      </p:pic>
      <p:sp>
        <p:nvSpPr>
          <p:cNvPr id="23" name="Rectangle 22"/>
          <p:cNvSpPr/>
          <p:nvPr userDrawn="1">
            <p:custDataLst>
              <p:tags r:id="rId7"/>
            </p:custDataLst>
          </p:nvPr>
        </p:nvSpPr>
        <p:spPr>
          <a:xfrm>
            <a:off x="0" y="4800659"/>
            <a:ext cx="9144000" cy="342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813" tIns="41907" rIns="83813" bIns="41907" rtlCol="0" anchor="ctr"/>
          <a:lstStyle/>
          <a:p>
            <a:pPr algn="ctr" defTabSz="955884" fontAlgn="auto">
              <a:spcBef>
                <a:spcPts val="0"/>
              </a:spcBef>
              <a:spcAft>
                <a:spcPts val="0"/>
              </a:spcAft>
            </a:pPr>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9" y="4890531"/>
            <a:ext cx="2770546" cy="179266"/>
          </a:xfrm>
          <a:prstGeom prst="rect">
            <a:avLst/>
          </a:prstGeom>
          <a:noFill/>
        </p:spPr>
      </p:pic>
    </p:spTree>
    <p:extLst>
      <p:ext uri="{BB962C8B-B14F-4D97-AF65-F5344CB8AC3E}">
        <p14:creationId xmlns:p14="http://schemas.microsoft.com/office/powerpoint/2010/main" val="77063002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1"/>
            <a:ext cx="9144000" cy="4764974"/>
          </a:xfrm>
          <a:prstGeom prst="rect">
            <a:avLst/>
          </a:prstGeom>
        </p:spPr>
      </p:pic>
      <p:graphicFrame>
        <p:nvGraphicFramePr>
          <p:cNvPr id="7" name="Object 6" hidden="1"/>
          <p:cNvGraphicFramePr>
            <a:graphicFrameLocks noChangeAspect="1"/>
          </p:cNvGraphicFramePr>
          <p:nvPr>
            <p:custDataLst>
              <p:tags r:id="rId2"/>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4390"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39"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332" tIns="49704" rIns="99332" bIns="49704" numCol="1" anchor="t" anchorCtr="0" compatLnSpc="1">
            <a:prstTxWarp prst="textNoShape">
              <a:avLst/>
            </a:prstTxWarp>
          </a:bodyPr>
          <a:lstStyle/>
          <a:p>
            <a:pPr defTabSz="955884" fontAlgn="auto">
              <a:spcBef>
                <a:spcPts val="0"/>
              </a:spcBef>
              <a:spcAft>
                <a:spcPts val="0"/>
              </a:spcAft>
            </a:pPr>
            <a:endParaRPr lang="fr-FR" sz="1900" dirty="0">
              <a:solidFill>
                <a:srgbClr val="263147"/>
              </a:solidFill>
              <a:latin typeface="Arial"/>
              <a:cs typeface="+mn-cs"/>
            </a:endParaRPr>
          </a:p>
        </p:txBody>
      </p:sp>
      <p:sp>
        <p:nvSpPr>
          <p:cNvPr id="6" name="Espace réservé du contenu 5"/>
          <p:cNvSpPr>
            <a:spLocks noGrp="1"/>
          </p:cNvSpPr>
          <p:nvPr>
            <p:ph sz="quarter" idx="10" hasCustomPrompt="1"/>
            <p:custDataLst>
              <p:tags r:id="rId5"/>
            </p:custDataLst>
          </p:nvPr>
        </p:nvSpPr>
        <p:spPr>
          <a:xfrm>
            <a:off x="298604" y="1126492"/>
            <a:ext cx="6283986" cy="2212688"/>
          </a:xfrm>
        </p:spPr>
        <p:txBody>
          <a:bodyPr/>
          <a:lstStyle/>
          <a:p>
            <a:pPr lvl="0"/>
            <a:r>
              <a:rPr lang="en-US" noProof="0" dirty="0"/>
              <a:t>Click to edit Master text style</a:t>
            </a:r>
          </a:p>
        </p:txBody>
      </p:sp>
    </p:spTree>
    <p:extLst>
      <p:ext uri="{BB962C8B-B14F-4D97-AF65-F5344CB8AC3E}">
        <p14:creationId xmlns:p14="http://schemas.microsoft.com/office/powerpoint/2010/main" val="10829911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98475" y="1163242"/>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89477" y="1163242"/>
            <a:ext cx="4040188"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7" y="43"/>
          <a:ext cx="135749" cy="107989"/>
        </p:xfrm>
        <a:graphic>
          <a:graphicData uri="http://schemas.openxmlformats.org/presentationml/2006/ole">
            <mc:AlternateContent xmlns:mc="http://schemas.openxmlformats.org/markup-compatibility/2006">
              <mc:Choice xmlns:v="urn:schemas-microsoft-com:vml" Requires="v">
                <p:oleObj spid="_x0000_s541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 y="4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121079"/>
            <a:ext cx="884548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7794733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7" y="43"/>
          <a:ext cx="135749" cy="107989"/>
        </p:xfrm>
        <a:graphic>
          <a:graphicData uri="http://schemas.openxmlformats.org/presentationml/2006/ole">
            <mc:AlternateContent xmlns:mc="http://schemas.openxmlformats.org/markup-compatibility/2006">
              <mc:Choice xmlns:v="urn:schemas-microsoft-com:vml" Requires="v">
                <p:oleObj spid="_x0000_s643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 y="4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583967"/>
            <a:ext cx="8845484" cy="301992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9" y="1121588"/>
            <a:ext cx="8860286" cy="482709"/>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40808805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746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2" y="1150079"/>
            <a:ext cx="4155820" cy="3536628"/>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7" y="1150080"/>
            <a:ext cx="4155820" cy="3544188"/>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8566648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848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2" y="1655267"/>
            <a:ext cx="4155820" cy="3031493"/>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7" y="1656344"/>
            <a:ext cx="4155820" cy="3037973"/>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2" y="1156987"/>
            <a:ext cx="4155820" cy="489776"/>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150081"/>
            <a:ext cx="4155820" cy="489776"/>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24153277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19261" y="1077688"/>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19261" y="1426962"/>
            <a:ext cx="4288536" cy="1396402"/>
          </a:xfrm>
          <a:ln>
            <a:solidFill>
              <a:schemeClr val="tx1"/>
            </a:solidFill>
          </a:ln>
        </p:spPr>
        <p:style>
          <a:lnRef idx="2">
            <a:schemeClr val="accent1"/>
          </a:lnRef>
          <a:fillRef idx="1">
            <a:schemeClr val="lt1"/>
          </a:fillRef>
          <a:effectRef idx="0">
            <a:schemeClr val="accent1"/>
          </a:effectRef>
          <a:fontRef idx="none"/>
        </p:style>
        <p:txBody>
          <a:bodyPr lIns="91284"/>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662790" y="1077688"/>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284" tIns="45642" rIns="91284" bIns="45642"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662790" y="1426962"/>
            <a:ext cx="4288536" cy="1396402"/>
          </a:xfrm>
          <a:ln>
            <a:solidFill>
              <a:schemeClr val="tx1"/>
            </a:solidFill>
          </a:ln>
        </p:spPr>
        <p:style>
          <a:lnRef idx="2">
            <a:schemeClr val="accent1"/>
          </a:lnRef>
          <a:fillRef idx="1">
            <a:schemeClr val="lt1"/>
          </a:fillRef>
          <a:effectRef idx="0">
            <a:schemeClr val="accent1"/>
          </a:effectRef>
          <a:fontRef idx="none"/>
        </p:style>
        <p:txBody>
          <a:bodyPr lIns="91284"/>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19261" y="2865667"/>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19261" y="3214938"/>
            <a:ext cx="4288536" cy="1508760"/>
          </a:xfrm>
          <a:ln>
            <a:solidFill>
              <a:schemeClr val="tx1"/>
            </a:solidFill>
          </a:ln>
        </p:spPr>
        <p:style>
          <a:lnRef idx="2">
            <a:schemeClr val="accent1"/>
          </a:lnRef>
          <a:fillRef idx="1">
            <a:schemeClr val="lt1"/>
          </a:fillRef>
          <a:effectRef idx="0">
            <a:schemeClr val="accent1"/>
          </a:effectRef>
          <a:fontRef idx="none"/>
        </p:style>
        <p:txBody>
          <a:bodyPr lIns="91284"/>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662790" y="2865667"/>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284" tIns="45642" rIns="91284" bIns="45642"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662790" y="3214938"/>
            <a:ext cx="4288536" cy="1508760"/>
          </a:xfrm>
          <a:ln>
            <a:solidFill>
              <a:schemeClr val="tx1"/>
            </a:solidFill>
          </a:ln>
        </p:spPr>
        <p:style>
          <a:lnRef idx="2">
            <a:schemeClr val="accent1"/>
          </a:lnRef>
          <a:fillRef idx="1">
            <a:schemeClr val="lt1"/>
          </a:fillRef>
          <a:effectRef idx="0">
            <a:schemeClr val="accent1"/>
          </a:effectRef>
          <a:fontRef idx="none"/>
        </p:style>
        <p:txBody>
          <a:bodyPr lIns="91284"/>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7831458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951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84591504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47" y="43"/>
          <a:ext cx="135749" cy="107989"/>
        </p:xfrm>
        <a:graphic>
          <a:graphicData uri="http://schemas.openxmlformats.org/presentationml/2006/ole">
            <mc:AlternateContent xmlns:mc="http://schemas.openxmlformats.org/markup-compatibility/2006">
              <mc:Choice xmlns:v="urn:schemas-microsoft-com:vml" Requires="v">
                <p:oleObj spid="_x0000_s1053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 y="4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8991126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59" y="46"/>
          <a:ext cx="135749" cy="107989"/>
        </p:xfrm>
        <a:graphic>
          <a:graphicData uri="http://schemas.openxmlformats.org/presentationml/2006/ole">
            <mc:AlternateContent xmlns:mc="http://schemas.openxmlformats.org/markup-compatibility/2006">
              <mc:Choice xmlns:v="urn:schemas-microsoft-com:vml" Requires="v">
                <p:oleObj spid="_x0000_s12582"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 y="46"/>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337168" y="2443909"/>
            <a:ext cx="3416820" cy="158889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grpSp>
      </p:grpSp>
      <p:sp>
        <p:nvSpPr>
          <p:cNvPr id="335" name="Rectangle 9"/>
          <p:cNvSpPr>
            <a:spLocks noChangeArrowheads="1"/>
          </p:cNvSpPr>
          <p:nvPr userDrawn="1">
            <p:custDataLst>
              <p:tags r:id="rId4"/>
            </p:custDataLst>
          </p:nvPr>
        </p:nvSpPr>
        <p:spPr bwMode="gray">
          <a:xfrm>
            <a:off x="1031966" y="2712874"/>
            <a:ext cx="3932160" cy="178250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59298" tIns="50873" rIns="215537" bIns="143765" rtlCol="0" anchor="b"/>
          <a:lstStyle/>
          <a:p>
            <a:pPr algn="just" defTabSz="1040938" fontAlgn="auto">
              <a:spcBef>
                <a:spcPts val="0"/>
              </a:spcBef>
              <a:spcAft>
                <a:spcPts val="0"/>
              </a:spcAft>
              <a:defRPr/>
            </a:pPr>
            <a:r>
              <a:rPr lang="en-US" sz="1800" b="1" dirty="0">
                <a:solidFill>
                  <a:prstClr val="white"/>
                </a:solidFill>
                <a:latin typeface="Arial"/>
                <a:cs typeface="Arial"/>
              </a:rPr>
              <a:t>About Capgemini</a:t>
            </a:r>
            <a:endParaRPr lang="en-US" sz="1000" dirty="0">
              <a:solidFill>
                <a:prstClr val="white"/>
              </a:solidFill>
              <a:latin typeface="Arial" pitchFamily="34" charset="0"/>
              <a:cs typeface="Arial" pitchFamily="34" charset="0"/>
            </a:endParaRPr>
          </a:p>
          <a:p>
            <a:pPr algn="just" defTabSz="955884" fontAlgn="auto">
              <a:spcBef>
                <a:spcPts val="0"/>
              </a:spcBef>
              <a:spcAft>
                <a:spcPts val="0"/>
              </a:spcAft>
            </a:pPr>
            <a:endParaRPr lang="en-US" sz="1000" dirty="0">
              <a:solidFill>
                <a:prstClr val="white"/>
              </a:solidFill>
              <a:latin typeface="Arial" pitchFamily="34" charset="0"/>
              <a:cs typeface="Arial" pitchFamily="34" charset="0"/>
            </a:endParaRPr>
          </a:p>
          <a:p>
            <a:pPr algn="just" defTabSz="955884" fontAlgn="auto">
              <a:spcBef>
                <a:spcPts val="0"/>
              </a:spcBef>
              <a:spcAft>
                <a:spcPts val="0"/>
              </a:spcAft>
            </a:pPr>
            <a:r>
              <a:rPr lang="en-US" sz="1000" dirty="0">
                <a:solidFill>
                  <a:prstClr val="white"/>
                </a:solidFill>
                <a:latin typeface="Arial" pitchFamily="34" charset="0"/>
                <a:cs typeface="Arial" pitchFamily="34" charset="0"/>
              </a:rPr>
              <a:t>With more than 120,000 people in 40 countries, Capgemini is one of the world's foremost providers of consulting, technology and outsourcing services. The Group reported 2011 global revenues of EUR 9.7 billion.</a:t>
            </a:r>
          </a:p>
          <a:p>
            <a:pPr algn="just" defTabSz="955884" fontAlgn="auto">
              <a:spcBef>
                <a:spcPts val="0"/>
              </a:spcBef>
              <a:spcAft>
                <a:spcPts val="0"/>
              </a:spcAft>
            </a:pPr>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prstClr val="white"/>
                </a:solidFill>
                <a:latin typeface="Arial" pitchFamily="34" charset="0"/>
                <a:cs typeface="Arial" pitchFamily="34" charset="0"/>
              </a:rPr>
              <a:t>Experience</a:t>
            </a:r>
            <a:r>
              <a:rPr lang="en-US" sz="1000" baseline="30000" dirty="0" err="1">
                <a:solidFill>
                  <a:prstClr val="white"/>
                </a:solidFill>
                <a:latin typeface="Arial" pitchFamily="34" charset="0"/>
                <a:cs typeface="Arial" pitchFamily="34" charset="0"/>
              </a:rPr>
              <a:t>TM</a:t>
            </a:r>
            <a:r>
              <a:rPr lang="en-US" sz="1000" dirty="0">
                <a:solidFill>
                  <a:prstClr val="white"/>
                </a:solidFill>
                <a:latin typeface="Arial" pitchFamily="34" charset="0"/>
                <a:cs typeface="Arial" pitchFamily="34" charset="0"/>
              </a:rPr>
              <a:t>, and draws on </a:t>
            </a:r>
            <a:r>
              <a:rPr lang="en-US" sz="1000" dirty="0" err="1">
                <a:solidFill>
                  <a:prstClr val="white"/>
                </a:solidFill>
                <a:latin typeface="Arial" pitchFamily="34" charset="0"/>
                <a:cs typeface="Arial" pitchFamily="34" charset="0"/>
              </a:rPr>
              <a:t>Rightshore</a:t>
            </a:r>
            <a:r>
              <a:rPr lang="en-US" sz="1000" b="1" baseline="30000" dirty="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 its worldwide delivery model.</a:t>
            </a:r>
          </a:p>
          <a:p>
            <a:pPr algn="just" defTabSz="955884" fontAlgn="auto">
              <a:spcBef>
                <a:spcPts val="0"/>
              </a:spcBef>
              <a:spcAft>
                <a:spcPts val="0"/>
              </a:spcAft>
            </a:pPr>
            <a:endParaRPr lang="en-US" sz="1100" dirty="0">
              <a:solidFill>
                <a:prstClr val="white"/>
              </a:solidFill>
              <a:latin typeface="Arial" pitchFamily="34" charset="0"/>
              <a:cs typeface="Arial" pitchFamily="34" charset="0"/>
            </a:endParaRPr>
          </a:p>
          <a:p>
            <a:pPr algn="just" defTabSz="955884" fontAlgn="auto">
              <a:spcBef>
                <a:spcPts val="0"/>
              </a:spcBef>
              <a:spcAft>
                <a:spcPts val="0"/>
              </a:spcAft>
            </a:pPr>
            <a:r>
              <a:rPr lang="en-US" sz="900" i="1" dirty="0" err="1">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01062" y="2601224"/>
            <a:ext cx="479605" cy="391881"/>
          </a:xfrm>
          <a:prstGeom prst="rect">
            <a:avLst/>
          </a:prstGeom>
        </p:spPr>
      </p:pic>
    </p:spTree>
    <p:extLst>
      <p:ext uri="{BB962C8B-B14F-4D97-AF65-F5344CB8AC3E}">
        <p14:creationId xmlns:p14="http://schemas.microsoft.com/office/powerpoint/2010/main" val="177520561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59" y="46"/>
          <a:ext cx="135749" cy="107989"/>
        </p:xfrm>
        <a:graphic>
          <a:graphicData uri="http://schemas.openxmlformats.org/presentationml/2006/ole">
            <mc:AlternateContent xmlns:mc="http://schemas.openxmlformats.org/markup-compatibility/2006">
              <mc:Choice xmlns:v="urn:schemas-microsoft-com:vml" Requires="v">
                <p:oleObj spid="_x0000_s1360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 y="46"/>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205197"/>
            <a:ext cx="3932160" cy="178250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59298" tIns="50873" rIns="215537" bIns="143765" rtlCol="0" anchor="b"/>
          <a:lstStyle/>
          <a:p>
            <a:pPr algn="just" defTabSz="1040938" fontAlgn="auto">
              <a:spcBef>
                <a:spcPts val="0"/>
              </a:spcBef>
              <a:spcAft>
                <a:spcPts val="0"/>
              </a:spcAft>
              <a:defRPr/>
            </a:pPr>
            <a:r>
              <a:rPr lang="en-US" sz="1800" b="1" dirty="0">
                <a:solidFill>
                  <a:prstClr val="white"/>
                </a:solidFill>
                <a:latin typeface="Arial"/>
                <a:cs typeface="Arial"/>
              </a:rPr>
              <a:t>About Capgemini</a:t>
            </a:r>
            <a:endParaRPr lang="en-US" sz="1000" dirty="0">
              <a:solidFill>
                <a:prstClr val="white"/>
              </a:solidFill>
              <a:latin typeface="Arial" pitchFamily="34" charset="0"/>
              <a:cs typeface="Arial" pitchFamily="34" charset="0"/>
            </a:endParaRPr>
          </a:p>
          <a:p>
            <a:pPr algn="just" defTabSz="955884" fontAlgn="auto">
              <a:spcBef>
                <a:spcPts val="0"/>
              </a:spcBef>
              <a:spcAft>
                <a:spcPts val="0"/>
              </a:spcAft>
            </a:pPr>
            <a:endParaRPr lang="en-US" sz="1000" dirty="0">
              <a:solidFill>
                <a:prstClr val="white"/>
              </a:solidFill>
              <a:latin typeface="Arial" pitchFamily="34" charset="0"/>
              <a:cs typeface="Arial" pitchFamily="34" charset="0"/>
            </a:endParaRPr>
          </a:p>
          <a:p>
            <a:pPr algn="just" defTabSz="955884" fontAlgn="auto">
              <a:spcBef>
                <a:spcPts val="0"/>
              </a:spcBef>
              <a:spcAft>
                <a:spcPts val="0"/>
              </a:spcAft>
            </a:pPr>
            <a:r>
              <a:rPr lang="en-US" sz="1000" dirty="0">
                <a:solidFill>
                  <a:prstClr val="white"/>
                </a:solidFill>
                <a:latin typeface="Arial" pitchFamily="34" charset="0"/>
                <a:cs typeface="Arial" pitchFamily="34" charset="0"/>
              </a:rPr>
              <a:t>With more than 120,000 people in 40 countries, Capgemini is one of the world's foremost providers of consulting, technology and outsourcing services. The Group reported 2011 global revenues of EUR 9.7 billion.</a:t>
            </a:r>
          </a:p>
          <a:p>
            <a:pPr algn="just" defTabSz="955884" fontAlgn="auto">
              <a:spcBef>
                <a:spcPts val="0"/>
              </a:spcBef>
              <a:spcAft>
                <a:spcPts val="0"/>
              </a:spcAft>
            </a:pPr>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prstClr val="white"/>
                </a:solidFill>
                <a:latin typeface="Arial" pitchFamily="34" charset="0"/>
                <a:cs typeface="Arial" pitchFamily="34" charset="0"/>
              </a:rPr>
              <a:t>Experience</a:t>
            </a:r>
            <a:r>
              <a:rPr lang="en-US" sz="1000" baseline="30000" dirty="0" err="1">
                <a:solidFill>
                  <a:prstClr val="white"/>
                </a:solidFill>
                <a:latin typeface="Arial" pitchFamily="34" charset="0"/>
                <a:cs typeface="Arial" pitchFamily="34" charset="0"/>
              </a:rPr>
              <a:t>TM</a:t>
            </a:r>
            <a:r>
              <a:rPr lang="en-US" sz="1000" dirty="0">
                <a:solidFill>
                  <a:prstClr val="white"/>
                </a:solidFill>
                <a:latin typeface="Arial" pitchFamily="34" charset="0"/>
                <a:cs typeface="Arial" pitchFamily="34" charset="0"/>
              </a:rPr>
              <a:t>, and draws on </a:t>
            </a:r>
            <a:r>
              <a:rPr lang="en-US" sz="1000" dirty="0" err="1">
                <a:solidFill>
                  <a:prstClr val="white"/>
                </a:solidFill>
                <a:latin typeface="Arial" pitchFamily="34" charset="0"/>
                <a:cs typeface="Arial" pitchFamily="34" charset="0"/>
              </a:rPr>
              <a:t>Rightshore</a:t>
            </a:r>
            <a:r>
              <a:rPr lang="en-US" sz="1000" b="1" baseline="30000" dirty="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 its worldwide delivery model.</a:t>
            </a:r>
          </a:p>
          <a:p>
            <a:pPr algn="just" defTabSz="955884" fontAlgn="auto">
              <a:spcBef>
                <a:spcPts val="0"/>
              </a:spcBef>
              <a:spcAft>
                <a:spcPts val="0"/>
              </a:spcAft>
            </a:pPr>
            <a:endParaRPr lang="en-US" sz="1100" dirty="0">
              <a:solidFill>
                <a:prstClr val="white"/>
              </a:solidFill>
              <a:latin typeface="Arial" pitchFamily="34" charset="0"/>
              <a:cs typeface="Arial" pitchFamily="34" charset="0"/>
            </a:endParaRPr>
          </a:p>
          <a:p>
            <a:pPr algn="just" defTabSz="955884" fontAlgn="auto">
              <a:spcBef>
                <a:spcPts val="0"/>
              </a:spcBef>
              <a:spcAft>
                <a:spcPts val="0"/>
              </a:spcAft>
            </a:pPr>
            <a:r>
              <a:rPr lang="en-US" sz="900" i="1" dirty="0" err="1">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4648613" y="2093552"/>
            <a:ext cx="479605" cy="391881"/>
          </a:xfrm>
          <a:prstGeom prst="rect">
            <a:avLst/>
          </a:prstGeom>
        </p:spPr>
      </p:pic>
    </p:spTree>
    <p:extLst>
      <p:ext uri="{BB962C8B-B14F-4D97-AF65-F5344CB8AC3E}">
        <p14:creationId xmlns:p14="http://schemas.microsoft.com/office/powerpoint/2010/main" val="253803881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1463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053230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109"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10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08849"/>
            <a:ext cx="7772400" cy="1680460"/>
          </a:xfrm>
        </p:spPr>
        <p:txBody>
          <a:bodyPr/>
          <a:lstStyle/>
          <a:p>
            <a:r>
              <a:rPr lang="en-US"/>
              <a:t>Click to edit Master title style</a:t>
            </a:r>
            <a:endParaRPr lang="en-GB"/>
          </a:p>
        </p:txBody>
      </p:sp>
      <p:sp>
        <p:nvSpPr>
          <p:cNvPr id="3" name="Subtitle 2"/>
          <p:cNvSpPr>
            <a:spLocks noGrp="1"/>
          </p:cNvSpPr>
          <p:nvPr>
            <p:ph type="subTitle" idx="1"/>
          </p:nvPr>
        </p:nvSpPr>
        <p:spPr>
          <a:xfrm>
            <a:off x="1371600" y="3017878"/>
            <a:ext cx="6400800" cy="1107996"/>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309414364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184152" y="2925385"/>
            <a:ext cx="6146800" cy="19574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3134931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8"/>
            <a:ext cx="7772400" cy="1292662"/>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93562"/>
            <a:ext cx="7772400" cy="311624"/>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n-US"/>
              <a:t>Click to edit Master text styles</a:t>
            </a:r>
          </a:p>
        </p:txBody>
      </p:sp>
    </p:spTree>
    <p:extLst>
      <p:ext uri="{BB962C8B-B14F-4D97-AF65-F5344CB8AC3E}">
        <p14:creationId xmlns:p14="http://schemas.microsoft.com/office/powerpoint/2010/main" val="309703970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84156" y="2596064"/>
            <a:ext cx="2997200" cy="261610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333751" y="2596064"/>
            <a:ext cx="2997200" cy="261610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8049429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626"/>
            <a:ext cx="8229600" cy="168046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892494"/>
            <a:ext cx="4040188" cy="738664"/>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281893"/>
            <a:ext cx="404018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109" y="892494"/>
            <a:ext cx="4041775" cy="738664"/>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109" y="2281893"/>
            <a:ext cx="4041775"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0534468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677170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035353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421927"/>
            <a:ext cx="3008313" cy="65441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3" y="1057804"/>
            <a:ext cx="5111750" cy="26838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5" y="2725831"/>
            <a:ext cx="3008313" cy="219291"/>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Tree>
    <p:extLst>
      <p:ext uri="{BB962C8B-B14F-4D97-AF65-F5344CB8AC3E}">
        <p14:creationId xmlns:p14="http://schemas.microsoft.com/office/powerpoint/2010/main" val="129425430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98384"/>
            <a:ext cx="5486400" cy="327205"/>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1756496"/>
            <a:ext cx="5486400" cy="492443"/>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endParaRPr lang="en-GB"/>
          </a:p>
        </p:txBody>
      </p:sp>
      <p:sp>
        <p:nvSpPr>
          <p:cNvPr id="4" name="Text Placeholder 3"/>
          <p:cNvSpPr>
            <a:spLocks noGrp="1"/>
          </p:cNvSpPr>
          <p:nvPr>
            <p:ph type="body" sz="half" idx="2"/>
          </p:nvPr>
        </p:nvSpPr>
        <p:spPr>
          <a:xfrm>
            <a:off x="1792288" y="4217684"/>
            <a:ext cx="5486400" cy="219291"/>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Tree>
    <p:extLst>
      <p:ext uri="{BB962C8B-B14F-4D97-AF65-F5344CB8AC3E}">
        <p14:creationId xmlns:p14="http://schemas.microsoft.com/office/powerpoint/2010/main" val="208350549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8585688" y="3698089"/>
            <a:ext cx="23686484" cy="41195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7106950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462024" y="2226550"/>
            <a:ext cx="4201150" cy="188356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2597601" y="2226550"/>
            <a:ext cx="10021205" cy="188356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9854671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905"/>
            <a:ext cx="7772400" cy="1102519"/>
          </a:xfrm>
        </p:spPr>
        <p:txBody>
          <a:bodyPr/>
          <a:lstStyle/>
          <a:p>
            <a:r>
              <a:rPr lang="en-US"/>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n-US"/>
              <a:t>Click to edit Master subtitle style</a:t>
            </a:r>
            <a:endParaRPr lang="en-GB"/>
          </a:p>
        </p:txBody>
      </p:sp>
      <p:sp>
        <p:nvSpPr>
          <p:cNvPr id="4" name="Slide Number Placeholder 3"/>
          <p:cNvSpPr>
            <a:spLocks noGrp="1"/>
          </p:cNvSpPr>
          <p:nvPr>
            <p:ph type="sldNum" sz="quarter" idx="10"/>
          </p:nvPr>
        </p:nvSpPr>
        <p:spPr>
          <a:xfrm>
            <a:off x="184150" y="4642103"/>
            <a:ext cx="2133600" cy="442035"/>
          </a:xfrm>
        </p:spPr>
        <p:txBody>
          <a:bodyPr/>
          <a:lstStyle>
            <a:lvl1pPr>
              <a:defRPr/>
            </a:lvl1pPr>
          </a:lstStyle>
          <a:p>
            <a:fld id="{F6F58D77-BCF6-4FD9-98D8-8D593CEFE7F4}"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21560549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p:cNvSpPr>
            <a:spLocks noGrp="1"/>
          </p:cNvSpPr>
          <p:nvPr>
            <p:ph type="sldNum" sz="quarter" idx="10"/>
          </p:nvPr>
        </p:nvSpPr>
        <p:spPr>
          <a:xfrm>
            <a:off x="184150" y="4642103"/>
            <a:ext cx="2133600" cy="442035"/>
          </a:xfrm>
        </p:spPr>
        <p:txBody>
          <a:bodyPr/>
          <a:lstStyle>
            <a:lvl1pPr>
              <a:defRPr/>
            </a:lvl1pPr>
          </a:lstStyle>
          <a:p>
            <a:fld id="{B1F17ED7-9FB0-4F75-8E34-41BB1A5694C7}"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5296101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5"/>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a:xfrm>
            <a:off x="184150" y="4642103"/>
            <a:ext cx="2133600" cy="442035"/>
          </a:xfrm>
        </p:spPr>
        <p:txBody>
          <a:bodyPr/>
          <a:lstStyle>
            <a:lvl1pPr>
              <a:defRPr/>
            </a:lvl1pPr>
          </a:lstStyle>
          <a:p>
            <a:fld id="{16785FE6-9FB1-4EF0-A336-E778CBBB6AC9}"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55799201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84198" y="951324"/>
            <a:ext cx="4202113" cy="361116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538664" y="951324"/>
            <a:ext cx="4203700" cy="361116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p:cNvSpPr>
            <a:spLocks noGrp="1"/>
          </p:cNvSpPr>
          <p:nvPr>
            <p:ph type="sldNum" sz="quarter" idx="10"/>
          </p:nvPr>
        </p:nvSpPr>
        <p:spPr>
          <a:xfrm>
            <a:off x="184150" y="4642103"/>
            <a:ext cx="2133600" cy="442035"/>
          </a:xfrm>
        </p:spPr>
        <p:txBody>
          <a:bodyPr/>
          <a:lstStyle>
            <a:lvl1pPr>
              <a:defRPr/>
            </a:lvl1pPr>
          </a:lstStyle>
          <a:p>
            <a:fld id="{EB91B613-EC72-4B67-8A8E-CD17F6313176}"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88299698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109"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10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0"/>
          </p:nvPr>
        </p:nvSpPr>
        <p:spPr>
          <a:xfrm>
            <a:off x="184150" y="4642103"/>
            <a:ext cx="2133600" cy="442035"/>
          </a:xfrm>
        </p:spPr>
        <p:txBody>
          <a:bodyPr/>
          <a:lstStyle>
            <a:lvl1pPr>
              <a:defRPr/>
            </a:lvl1pPr>
          </a:lstStyle>
          <a:p>
            <a:fld id="{66841D6A-2494-4EB2-B130-3DCEDCB62BDE}"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90954054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184150" y="4642103"/>
            <a:ext cx="2133600" cy="442035"/>
          </a:xfrm>
        </p:spPr>
        <p:txBody>
          <a:bodyPr/>
          <a:lstStyle>
            <a:lvl1pPr>
              <a:defRPr/>
            </a:lvl1pPr>
          </a:lstStyle>
          <a:p>
            <a:fld id="{86DD12FF-2E9D-4C92-A201-8DC46720851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80574151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84150" y="4642103"/>
            <a:ext cx="2133600" cy="442035"/>
          </a:xfrm>
        </p:spPr>
        <p:txBody>
          <a:bodyPr/>
          <a:lstStyle>
            <a:lvl1pPr>
              <a:defRPr/>
            </a:lvl1pPr>
          </a:lstStyle>
          <a:p>
            <a:fld id="{1EA53699-7B3A-47D5-8809-B91510FB63EF}"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27969487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3"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184150" y="4642103"/>
            <a:ext cx="2133600" cy="442035"/>
          </a:xfrm>
        </p:spPr>
        <p:txBody>
          <a:bodyPr/>
          <a:lstStyle>
            <a:lvl1pPr>
              <a:defRPr/>
            </a:lvl1pPr>
          </a:lstStyle>
          <a:p>
            <a:fld id="{ECCB1A6B-1CDE-48D8-9E54-2E83320DFAE8}"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63049319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endParaRPr lang="en-GB"/>
          </a:p>
        </p:txBody>
      </p:sp>
      <p:sp>
        <p:nvSpPr>
          <p:cNvPr id="4" name="Text Placeholder 3"/>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184150" y="4642103"/>
            <a:ext cx="2133600" cy="442035"/>
          </a:xfrm>
        </p:spPr>
        <p:txBody>
          <a:bodyPr/>
          <a:lstStyle>
            <a:lvl1pPr>
              <a:defRPr/>
            </a:lvl1pPr>
          </a:lstStyle>
          <a:p>
            <a:fld id="{1E1CD165-04A2-4473-B79B-2B58630EC73C}"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7824520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p:cNvSpPr>
            <a:spLocks noGrp="1"/>
          </p:cNvSpPr>
          <p:nvPr>
            <p:ph type="sldNum" sz="quarter" idx="10"/>
          </p:nvPr>
        </p:nvSpPr>
        <p:spPr>
          <a:xfrm>
            <a:off x="184150" y="4642103"/>
            <a:ext cx="2133600" cy="442035"/>
          </a:xfrm>
        </p:spPr>
        <p:txBody>
          <a:bodyPr/>
          <a:lstStyle>
            <a:lvl1pPr>
              <a:defRPr/>
            </a:lvl1pPr>
          </a:lstStyle>
          <a:p>
            <a:fld id="{F3D4EC45-B449-48D1-A1C4-2C6D4EA28307}"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52860030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04083" y="338137"/>
            <a:ext cx="2138363" cy="42243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84150" y="338137"/>
            <a:ext cx="6267450" cy="42243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p:cNvSpPr>
            <a:spLocks noGrp="1"/>
          </p:cNvSpPr>
          <p:nvPr>
            <p:ph type="sldNum" sz="quarter" idx="10"/>
          </p:nvPr>
        </p:nvSpPr>
        <p:spPr>
          <a:xfrm>
            <a:off x="184150" y="4642103"/>
            <a:ext cx="2133600" cy="442035"/>
          </a:xfrm>
        </p:spPr>
        <p:txBody>
          <a:bodyPr/>
          <a:lstStyle>
            <a:lvl1pPr>
              <a:defRPr/>
            </a:lvl1pPr>
          </a:lstStyle>
          <a:p>
            <a:fld id="{0BAC88AB-0EA7-4F1B-9E45-6A50FFC142C9}"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83596236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6"/>
          <p:cNvGrpSpPr>
            <a:grpSpLocks/>
          </p:cNvGrpSpPr>
          <p:nvPr userDrawn="1"/>
        </p:nvGrpSpPr>
        <p:grpSpPr bwMode="auto">
          <a:xfrm>
            <a:off x="722313" y="1597905"/>
            <a:ext cx="6583362" cy="1488281"/>
            <a:chOff x="1273" y="621"/>
            <a:chExt cx="3716" cy="2241"/>
          </a:xfrm>
        </p:grpSpPr>
        <p:cxnSp>
          <p:nvCxnSpPr>
            <p:cNvPr id="5" name="Straight Connector 11"/>
            <p:cNvCxnSpPr>
              <a:cxnSpLocks noChangeShapeType="1"/>
            </p:cNvCxnSpPr>
            <p:nvPr userDrawn="1"/>
          </p:nvCxnSpPr>
          <p:spPr bwMode="auto">
            <a:xfrm rot="16200000" flipH="1">
              <a:off x="152" y="1742"/>
              <a:ext cx="2241" cy="0"/>
            </a:xfrm>
            <a:prstGeom prst="line">
              <a:avLst/>
            </a:prstGeom>
            <a:noFill/>
            <a:ln w="63500" cap="rnd" algn="ctr">
              <a:solidFill>
                <a:schemeClr val="tx1"/>
              </a:solidFill>
              <a:round/>
              <a:headEnd/>
              <a:tailEnd/>
            </a:ln>
            <a:extLst>
              <a:ext uri="{909E8E84-426E-40DD-AFC4-6F175D3DCCD1}">
                <a14:hiddenFill xmlns:a14="http://schemas.microsoft.com/office/drawing/2010/main">
                  <a:noFill/>
                </a14:hiddenFill>
              </a:ext>
            </a:extLst>
          </p:spPr>
        </p:cxnSp>
        <p:cxnSp>
          <p:nvCxnSpPr>
            <p:cNvPr id="6" name="Straight Connector 12"/>
            <p:cNvCxnSpPr>
              <a:cxnSpLocks noChangeShapeType="1"/>
            </p:cNvCxnSpPr>
            <p:nvPr userDrawn="1"/>
          </p:nvCxnSpPr>
          <p:spPr bwMode="auto">
            <a:xfrm rot="16200000" flipH="1">
              <a:off x="3868" y="1742"/>
              <a:ext cx="2241" cy="0"/>
            </a:xfrm>
            <a:prstGeom prst="line">
              <a:avLst/>
            </a:prstGeom>
            <a:noFill/>
            <a:ln w="63500" cap="rnd" algn="ctr">
              <a:solidFill>
                <a:schemeClr val="tx1"/>
              </a:solidFill>
              <a:round/>
              <a:headEnd/>
              <a:tailEnd/>
            </a:ln>
            <a:extLst>
              <a:ext uri="{909E8E84-426E-40DD-AFC4-6F175D3DCCD1}">
                <a14:hiddenFill xmlns:a14="http://schemas.microsoft.com/office/drawing/2010/main">
                  <a:noFill/>
                </a14:hiddenFill>
              </a:ext>
            </a:extLst>
          </p:spPr>
        </p:cxnSp>
      </p:grpSp>
      <p:pic>
        <p:nvPicPr>
          <p:cNvPr id="7" name="Picture 14" descr="Bar_06_WHITE_FLA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72372" y="2261075"/>
            <a:ext cx="12287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859" name="Rectangle 2"/>
          <p:cNvSpPr>
            <a:spLocks noGrp="1" noChangeArrowheads="1"/>
          </p:cNvSpPr>
          <p:nvPr>
            <p:ph type="ctrTitle"/>
          </p:nvPr>
        </p:nvSpPr>
        <p:spPr>
          <a:xfrm>
            <a:off x="877888" y="1970214"/>
            <a:ext cx="5276850" cy="492443"/>
          </a:xfrm>
        </p:spPr>
        <p:txBody>
          <a:bodyPr/>
          <a:lstStyle>
            <a:lvl1pPr>
              <a:defRPr sz="3200"/>
            </a:lvl1pPr>
          </a:lstStyle>
          <a:p>
            <a:r>
              <a:rPr lang="en-US"/>
              <a:t>Click to edit Master title style</a:t>
            </a:r>
          </a:p>
        </p:txBody>
      </p:sp>
      <p:sp>
        <p:nvSpPr>
          <p:cNvPr id="121860" name="Rectangle 3"/>
          <p:cNvSpPr>
            <a:spLocks noGrp="1" noChangeArrowheads="1"/>
          </p:cNvSpPr>
          <p:nvPr>
            <p:ph type="subTitle" idx="1"/>
          </p:nvPr>
        </p:nvSpPr>
        <p:spPr>
          <a:xfrm>
            <a:off x="877937" y="2470549"/>
            <a:ext cx="5265737" cy="311624"/>
          </a:xfrm>
        </p:spPr>
        <p:txBody>
          <a:bodyPr/>
          <a:lstStyle>
            <a:lvl1pPr>
              <a:defRPr/>
            </a:lvl1pPr>
          </a:lstStyle>
          <a:p>
            <a:r>
              <a:rPr lang="en-US"/>
              <a:t>Click to edit Master subtitle style</a:t>
            </a:r>
          </a:p>
        </p:txBody>
      </p:sp>
    </p:spTree>
    <p:extLst>
      <p:ext uri="{BB962C8B-B14F-4D97-AF65-F5344CB8AC3E}">
        <p14:creationId xmlns:p14="http://schemas.microsoft.com/office/powerpoint/2010/main" val="1577088585"/>
      </p:ext>
    </p:extLst>
  </p:cSld>
  <p:clrMapOvr>
    <a:masterClrMapping/>
  </p:clrMapOvr>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1980470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23110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93562"/>
            <a:ext cx="7772400" cy="311624"/>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n-US"/>
              <a:t>Click to edit Master text styles</a:t>
            </a:r>
          </a:p>
        </p:txBody>
      </p:sp>
    </p:spTree>
    <p:extLst>
      <p:ext uri="{BB962C8B-B14F-4D97-AF65-F5344CB8AC3E}">
        <p14:creationId xmlns:p14="http://schemas.microsoft.com/office/powerpoint/2010/main" val="316081028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04856" y="821532"/>
            <a:ext cx="3925888" cy="270843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783145" y="821532"/>
            <a:ext cx="3925887" cy="270843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6803876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403856"/>
            <a:ext cx="8229600" cy="461665"/>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892494"/>
            <a:ext cx="4040188" cy="738664"/>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99"/>
            <a:ext cx="4040188" cy="198515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109" y="892494"/>
            <a:ext cx="4041775" cy="738664"/>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109" y="1631199"/>
            <a:ext cx="4041775" cy="198515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5999198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4012484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8025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453090"/>
            <a:ext cx="3008313" cy="62324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3" y="204797"/>
            <a:ext cx="5111750" cy="310854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5" y="1076327"/>
            <a:ext cx="3008313" cy="219291"/>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Tree>
    <p:extLst>
      <p:ext uri="{BB962C8B-B14F-4D97-AF65-F5344CB8AC3E}">
        <p14:creationId xmlns:p14="http://schemas.microsoft.com/office/powerpoint/2010/main" val="33713318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3"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Tree>
  </p:cSld>
  <p:clrMapOvr>
    <a:masterClrMapping/>
  </p:clrMapOv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713893"/>
            <a:ext cx="5486400" cy="31162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94"/>
            <a:ext cx="5486400" cy="492443"/>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n-GB" noProof="0"/>
          </a:p>
        </p:txBody>
      </p:sp>
      <p:sp>
        <p:nvSpPr>
          <p:cNvPr id="4" name="Text Placeholder 3"/>
          <p:cNvSpPr>
            <a:spLocks noGrp="1"/>
          </p:cNvSpPr>
          <p:nvPr>
            <p:ph type="body" sz="half" idx="2"/>
          </p:nvPr>
        </p:nvSpPr>
        <p:spPr>
          <a:xfrm>
            <a:off x="1792288" y="4025504"/>
            <a:ext cx="5486400" cy="219291"/>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Tree>
    <p:extLst>
      <p:ext uri="{BB962C8B-B14F-4D97-AF65-F5344CB8AC3E}">
        <p14:creationId xmlns:p14="http://schemas.microsoft.com/office/powerpoint/2010/main" val="234565040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4092379" y="821531"/>
            <a:ext cx="4616648" cy="160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5596066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60137" y="288131"/>
            <a:ext cx="1384995" cy="21336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3207357" y="288131"/>
            <a:ext cx="3385542" cy="2133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9730851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4" descr="Bar_06_WHITE_FLA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72372" y="2261075"/>
            <a:ext cx="12287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0"/>
          <p:cNvGrpSpPr>
            <a:grpSpLocks/>
          </p:cNvGrpSpPr>
          <p:nvPr userDrawn="1"/>
        </p:nvGrpSpPr>
        <p:grpSpPr bwMode="auto">
          <a:xfrm>
            <a:off x="1860588" y="1597905"/>
            <a:ext cx="5445125" cy="1488281"/>
            <a:chOff x="1273" y="621"/>
            <a:chExt cx="3716" cy="2241"/>
          </a:xfrm>
        </p:grpSpPr>
        <p:cxnSp>
          <p:nvCxnSpPr>
            <p:cNvPr id="6" name="Straight Connector 11"/>
            <p:cNvCxnSpPr>
              <a:cxnSpLocks noChangeShapeType="1"/>
            </p:cNvCxnSpPr>
            <p:nvPr userDrawn="1"/>
          </p:nvCxnSpPr>
          <p:spPr bwMode="auto">
            <a:xfrm rot="16200000" flipH="1">
              <a:off x="152" y="1742"/>
              <a:ext cx="2241" cy="0"/>
            </a:xfrm>
            <a:prstGeom prst="line">
              <a:avLst/>
            </a:prstGeom>
            <a:noFill/>
            <a:ln w="63500" cap="rnd" algn="ctr">
              <a:solidFill>
                <a:schemeClr val="tx1"/>
              </a:solidFill>
              <a:round/>
              <a:headEnd/>
              <a:tailEnd/>
            </a:ln>
            <a:extLst>
              <a:ext uri="{909E8E84-426E-40DD-AFC4-6F175D3DCCD1}">
                <a14:hiddenFill xmlns:a14="http://schemas.microsoft.com/office/drawing/2010/main">
                  <a:noFill/>
                </a14:hiddenFill>
              </a:ext>
            </a:extLst>
          </p:spPr>
        </p:cxnSp>
        <p:cxnSp>
          <p:nvCxnSpPr>
            <p:cNvPr id="7" name="Straight Connector 12"/>
            <p:cNvCxnSpPr>
              <a:cxnSpLocks noChangeShapeType="1"/>
            </p:cNvCxnSpPr>
            <p:nvPr userDrawn="1"/>
          </p:nvCxnSpPr>
          <p:spPr bwMode="auto">
            <a:xfrm rot="16200000" flipH="1">
              <a:off x="3868" y="1742"/>
              <a:ext cx="2241" cy="0"/>
            </a:xfrm>
            <a:prstGeom prst="line">
              <a:avLst/>
            </a:prstGeom>
            <a:noFill/>
            <a:ln w="63500" cap="rnd" algn="ctr">
              <a:solidFill>
                <a:schemeClr val="tx1"/>
              </a:solidFill>
              <a:round/>
              <a:headEnd/>
              <a:tailEnd/>
            </a:ln>
            <a:extLst>
              <a:ext uri="{909E8E84-426E-40DD-AFC4-6F175D3DCCD1}">
                <a14:hiddenFill xmlns:a14="http://schemas.microsoft.com/office/drawing/2010/main">
                  <a:noFill/>
                </a14:hiddenFill>
              </a:ext>
            </a:extLst>
          </p:spPr>
        </p:cxnSp>
      </p:grpSp>
      <p:sp>
        <p:nvSpPr>
          <p:cNvPr id="71683" name="Rectangle 2"/>
          <p:cNvSpPr>
            <a:spLocks noGrp="1" noChangeArrowheads="1"/>
          </p:cNvSpPr>
          <p:nvPr>
            <p:ph type="ctrTitle"/>
          </p:nvPr>
        </p:nvSpPr>
        <p:spPr>
          <a:xfrm>
            <a:off x="2027238" y="1723919"/>
            <a:ext cx="5276850" cy="984885"/>
          </a:xfrm>
        </p:spPr>
        <p:txBody>
          <a:bodyPr/>
          <a:lstStyle>
            <a:lvl1pPr>
              <a:defRPr sz="3200" b="1" smtClean="0"/>
            </a:lvl1pPr>
          </a:lstStyle>
          <a:p>
            <a:r>
              <a:rPr lang="en-US"/>
              <a:t>Click to edit Master title style</a:t>
            </a:r>
          </a:p>
        </p:txBody>
      </p:sp>
      <p:sp>
        <p:nvSpPr>
          <p:cNvPr id="71684" name="Rectangle 3"/>
          <p:cNvSpPr>
            <a:spLocks noGrp="1" noChangeArrowheads="1"/>
          </p:cNvSpPr>
          <p:nvPr>
            <p:ph type="subTitle" idx="1"/>
          </p:nvPr>
        </p:nvSpPr>
        <p:spPr>
          <a:xfrm>
            <a:off x="2027259" y="2489602"/>
            <a:ext cx="5265737" cy="311624"/>
          </a:xfrm>
        </p:spPr>
        <p:txBody>
          <a:bodyPr/>
          <a:lstStyle>
            <a:lvl1pPr>
              <a:defRPr smtClean="0"/>
            </a:lvl1pPr>
          </a:lstStyle>
          <a:p>
            <a:r>
              <a:rPr lang="en-US"/>
              <a:t>Click to edit Master subtitle style</a:t>
            </a:r>
          </a:p>
        </p:txBody>
      </p:sp>
    </p:spTree>
    <p:extLst>
      <p:ext uri="{BB962C8B-B14F-4D97-AF65-F5344CB8AC3E}">
        <p14:creationId xmlns:p14="http://schemas.microsoft.com/office/powerpoint/2010/main" val="4125196892"/>
      </p:ext>
    </p:extLst>
  </p:cSld>
  <p:clrMapOvr>
    <a:masterClrMapping/>
  </p:clrMapOvr>
  <p:hf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4997" y="230002"/>
            <a:ext cx="8734821" cy="461665"/>
          </a:xfrm>
        </p:spPr>
        <p:txBody>
          <a:bodyPr/>
          <a:lstStyle>
            <a:lvl1pPr>
              <a:defRPr sz="3000" b="0">
                <a:solidFill>
                  <a:schemeClr val="bg2"/>
                </a:solidFill>
                <a:latin typeface="+mj-lt"/>
              </a:defRPr>
            </a:lvl1pPr>
          </a:lstStyle>
          <a:p>
            <a:r>
              <a:rPr lang="en-US" dirty="0"/>
              <a:t>Click to edit Master title style</a:t>
            </a:r>
          </a:p>
        </p:txBody>
      </p:sp>
      <p:sp>
        <p:nvSpPr>
          <p:cNvPr id="3" name="Content Placeholder 2"/>
          <p:cNvSpPr>
            <a:spLocks noGrp="1"/>
          </p:cNvSpPr>
          <p:nvPr>
            <p:ph idx="1"/>
          </p:nvPr>
        </p:nvSpPr>
        <p:spPr>
          <a:xfrm>
            <a:off x="763591" y="822061"/>
            <a:ext cx="8671190" cy="2181367"/>
          </a:xfrm>
        </p:spPr>
        <p:txBody>
          <a:bodyPr/>
          <a:lstStyle>
            <a:lvl1pPr>
              <a:defRPr sz="2000">
                <a:latin typeface="+mn-lt"/>
              </a:defRPr>
            </a:lvl1pPr>
            <a:lvl2pPr>
              <a:defRPr sz="2000">
                <a:latin typeface="+mn-lt"/>
              </a:defRPr>
            </a:lvl2pPr>
            <a:lvl3pPr marL="570408" indent="-342200">
              <a:defRPr sz="2000">
                <a:latin typeface="+mn-lt"/>
              </a:defRPr>
            </a:lvl3pPr>
            <a:lvl4pPr marL="860375" indent="-289967">
              <a:defRPr sz="2000">
                <a:latin typeface="+mn-lt"/>
              </a:defRPr>
            </a:lvl4pPr>
            <a:lvl5pPr marL="1202573" indent="-342200">
              <a:defRPr sz="20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7678057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Numbered text page">
    <p:spTree>
      <p:nvGrpSpPr>
        <p:cNvPr id="1" name=""/>
        <p:cNvGrpSpPr/>
        <p:nvPr/>
      </p:nvGrpSpPr>
      <p:grpSpPr>
        <a:xfrm>
          <a:off x="0" y="0"/>
          <a:ext cx="0" cy="0"/>
          <a:chOff x="0" y="0"/>
          <a:chExt cx="0" cy="0"/>
        </a:xfrm>
      </p:grpSpPr>
      <p:sp>
        <p:nvSpPr>
          <p:cNvPr id="2" name="Title 1"/>
          <p:cNvSpPr>
            <a:spLocks noGrp="1"/>
          </p:cNvSpPr>
          <p:nvPr>
            <p:ph type="title"/>
          </p:nvPr>
        </p:nvSpPr>
        <p:spPr>
          <a:xfrm>
            <a:off x="754997" y="287701"/>
            <a:ext cx="8734821" cy="461665"/>
          </a:xfrm>
        </p:spPr>
        <p:txBody>
          <a:bodyPr anchor="t"/>
          <a:lstStyle>
            <a:lvl1pPr>
              <a:defRPr sz="3000" b="0">
                <a:solidFill>
                  <a:schemeClr val="bg2"/>
                </a:solidFill>
                <a:latin typeface="+mj-lt"/>
              </a:defRPr>
            </a:lvl1pPr>
          </a:lstStyle>
          <a:p>
            <a:r>
              <a:rPr lang="en-US" dirty="0"/>
              <a:t>Click to edit Master title style</a:t>
            </a:r>
          </a:p>
        </p:txBody>
      </p:sp>
      <p:sp>
        <p:nvSpPr>
          <p:cNvPr id="3" name="Content Placeholder 2"/>
          <p:cNvSpPr>
            <a:spLocks noGrp="1"/>
          </p:cNvSpPr>
          <p:nvPr>
            <p:ph idx="1"/>
          </p:nvPr>
        </p:nvSpPr>
        <p:spPr>
          <a:xfrm>
            <a:off x="763591" y="822007"/>
            <a:ext cx="8671190" cy="1938992"/>
          </a:xfrm>
        </p:spPr>
        <p:txBody>
          <a:bodyPr/>
          <a:lstStyle>
            <a:lvl1pPr marL="340613" indent="-340613">
              <a:lnSpc>
                <a:spcPct val="100000"/>
              </a:lnSpc>
              <a:spcBef>
                <a:spcPts val="900"/>
              </a:spcBef>
              <a:buClrTx/>
              <a:buFont typeface="+mj-lt"/>
              <a:buAutoNum type="arabicPeriod"/>
              <a:defRPr sz="2000">
                <a:solidFill>
                  <a:schemeClr val="tx1"/>
                </a:solidFill>
                <a:latin typeface="+mn-lt"/>
              </a:defRPr>
            </a:lvl1pPr>
            <a:lvl2pPr marL="681299" indent="-340613">
              <a:lnSpc>
                <a:spcPct val="100000"/>
              </a:lnSpc>
              <a:spcBef>
                <a:spcPts val="900"/>
              </a:spcBef>
              <a:buFont typeface="+mj-lt"/>
              <a:buAutoNum type="alphaLcPeriod"/>
              <a:defRPr sz="2000">
                <a:latin typeface="+mn-lt"/>
              </a:defRPr>
            </a:lvl2pPr>
            <a:lvl3pPr marL="1023536" indent="-332751">
              <a:lnSpc>
                <a:spcPct val="100000"/>
              </a:lnSpc>
              <a:spcBef>
                <a:spcPts val="900"/>
              </a:spcBef>
              <a:defRPr sz="2000">
                <a:latin typeface="+mn-lt"/>
              </a:defRPr>
            </a:lvl3pPr>
            <a:lvl4pPr marL="1143952" indent="-231308">
              <a:lnSpc>
                <a:spcPct val="100000"/>
              </a:lnSpc>
              <a:spcBef>
                <a:spcPts val="900"/>
              </a:spcBef>
              <a:defRPr sz="1800">
                <a:latin typeface="+mn-lt"/>
              </a:defRPr>
            </a:lvl4pPr>
            <a:lvl5pPr marL="1424357" indent="-280442">
              <a:lnSpc>
                <a:spcPct val="100000"/>
              </a:lnSpc>
              <a:spcBef>
                <a:spcPts val="900"/>
              </a:spcBef>
              <a:defRPr sz="1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215669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Left text_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2043" y="829598"/>
            <a:ext cx="4253045" cy="1558119"/>
          </a:xfrm>
        </p:spPr>
        <p:txBody>
          <a:bodyPr/>
          <a:lstStyle>
            <a:lvl1pPr>
              <a:lnSpc>
                <a:spcPct val="100000"/>
              </a:lnSpc>
              <a:spcBef>
                <a:spcPts val="900"/>
              </a:spcBef>
              <a:defRPr sz="1400"/>
            </a:lvl1pPr>
            <a:lvl2pPr marL="175864" indent="-175864">
              <a:lnSpc>
                <a:spcPct val="100000"/>
              </a:lnSpc>
              <a:spcBef>
                <a:spcPts val="900"/>
              </a:spcBef>
              <a:buClr>
                <a:schemeClr val="tx1"/>
              </a:buClr>
              <a:buFont typeface="Wingdings" pitchFamily="2" charset="2"/>
              <a:buChar char=""/>
              <a:defRPr sz="1400"/>
            </a:lvl2pPr>
            <a:lvl3pPr marL="404033" indent="-228132">
              <a:lnSpc>
                <a:spcPct val="100000"/>
              </a:lnSpc>
              <a:spcBef>
                <a:spcPts val="900"/>
              </a:spcBef>
              <a:defRPr sz="1400"/>
            </a:lvl3pPr>
            <a:lvl4pPr marL="632240" indent="-228132">
              <a:lnSpc>
                <a:spcPct val="100000"/>
              </a:lnSpc>
              <a:spcBef>
                <a:spcPts val="900"/>
              </a:spcBef>
              <a:defRPr sz="1400"/>
            </a:lvl4pPr>
            <a:lvl5pPr marL="860375" indent="-228132">
              <a:lnSpc>
                <a:spcPct val="100000"/>
              </a:lnSpc>
              <a:spcBef>
                <a:spcPts val="900"/>
              </a:spcBef>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p:cNvSpPr>
            <a:spLocks noGrp="1"/>
          </p:cNvSpPr>
          <p:nvPr>
            <p:ph type="pic" sz="quarter" idx="10"/>
          </p:nvPr>
        </p:nvSpPr>
        <p:spPr>
          <a:xfrm>
            <a:off x="5181819" y="859635"/>
            <a:ext cx="4234127" cy="3594497"/>
          </a:xfrm>
        </p:spPr>
        <p:txBody>
          <a:bodyPr>
            <a:noAutofit/>
          </a:bodyPr>
          <a:lstStyle/>
          <a:p>
            <a:pPr lvl="0"/>
            <a:endParaRPr lang="en-US" noProof="0" dirty="0"/>
          </a:p>
        </p:txBody>
      </p:sp>
    </p:spTree>
    <p:extLst>
      <p:ext uri="{BB962C8B-B14F-4D97-AF65-F5344CB8AC3E}">
        <p14:creationId xmlns:p14="http://schemas.microsoft.com/office/powerpoint/2010/main" val="227951727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Left text_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2043" y="829598"/>
            <a:ext cx="4253045" cy="1558119"/>
          </a:xfrm>
          <a:noFill/>
          <a:ln w="9525" algn="ctr">
            <a:noFill/>
            <a:miter lim="800000"/>
            <a:headEnd/>
            <a:tailEnd/>
          </a:ln>
        </p:spPr>
        <p:txBody>
          <a:bodyPr/>
          <a:lstStyle>
            <a:lvl1pPr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1pPr>
            <a:lvl2pPr marL="175864" indent="-175864" algn="l" rtl="0" eaLnBrk="1" fontAlgn="base" hangingPunct="1">
              <a:lnSpc>
                <a:spcPct val="100000"/>
              </a:lnSpc>
              <a:spcBef>
                <a:spcPts val="900"/>
              </a:spcBef>
              <a:spcAft>
                <a:spcPct val="0"/>
              </a:spcAft>
              <a:buClr>
                <a:schemeClr val="tx1"/>
              </a:buClr>
              <a:buFont typeface="Wingdings" pitchFamily="2" charset="2"/>
              <a:buChar char=""/>
              <a:defRPr lang="en-US" sz="1400" dirty="0" smtClean="0">
                <a:solidFill>
                  <a:schemeClr val="tx1"/>
                </a:solidFill>
                <a:latin typeface="+mn-lt"/>
                <a:ea typeface="+mn-ea"/>
                <a:cs typeface="+mn-cs"/>
              </a:defRPr>
            </a:lvl2pPr>
            <a:lvl3pPr marL="404033" indent="-228132"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3pPr>
            <a:lvl4pPr marL="570408" indent="-166376"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4pPr>
            <a:lvl5pPr marL="746306" indent="-175864" algn="l" rtl="0" eaLnBrk="1" fontAlgn="base" hangingPunct="1">
              <a:lnSpc>
                <a:spcPct val="100000"/>
              </a:lnSpc>
              <a:spcBef>
                <a:spcPts val="900"/>
              </a:spcBef>
              <a:spcAft>
                <a:spcPct val="0"/>
              </a:spcAft>
              <a:defRPr lang="en-US" sz="14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32897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eft text_2 Right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2043" y="829598"/>
            <a:ext cx="4253045" cy="1558119"/>
          </a:xfrm>
        </p:spPr>
        <p:txBody>
          <a:bodyPr/>
          <a:lstStyle>
            <a:lvl1pPr>
              <a:lnSpc>
                <a:spcPct val="100000"/>
              </a:lnSpc>
              <a:spcBef>
                <a:spcPts val="900"/>
              </a:spcBef>
              <a:defRPr sz="1400"/>
            </a:lvl1pPr>
            <a:lvl2pPr marL="175864" indent="-175864">
              <a:lnSpc>
                <a:spcPct val="100000"/>
              </a:lnSpc>
              <a:spcBef>
                <a:spcPts val="900"/>
              </a:spcBef>
              <a:buClr>
                <a:schemeClr val="tx1"/>
              </a:buClr>
              <a:buFont typeface="Wingdings" pitchFamily="2" charset="2"/>
              <a:buChar char=""/>
              <a:defRPr sz="1400"/>
            </a:lvl2pPr>
            <a:lvl3pPr marL="404033" indent="-228132">
              <a:lnSpc>
                <a:spcPct val="100000"/>
              </a:lnSpc>
              <a:spcBef>
                <a:spcPts val="900"/>
              </a:spcBef>
              <a:defRPr sz="1400"/>
            </a:lvl3pPr>
            <a:lvl4pPr marL="570408" indent="-166376">
              <a:lnSpc>
                <a:spcPct val="100000"/>
              </a:lnSpc>
              <a:spcBef>
                <a:spcPts val="900"/>
              </a:spcBef>
              <a:defRPr sz="1400"/>
            </a:lvl4pPr>
            <a:lvl5pPr marL="746306" indent="-175864">
              <a:lnSpc>
                <a:spcPct val="100000"/>
              </a:lnSpc>
              <a:spcBef>
                <a:spcPts val="900"/>
              </a:spcBef>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p:cNvSpPr>
            <a:spLocks noGrp="1"/>
          </p:cNvSpPr>
          <p:nvPr>
            <p:ph type="pic" sz="quarter" idx="10"/>
          </p:nvPr>
        </p:nvSpPr>
        <p:spPr>
          <a:xfrm>
            <a:off x="5181819" y="859684"/>
            <a:ext cx="4234127" cy="1717771"/>
          </a:xfrm>
        </p:spPr>
        <p:txBody>
          <a:bodyPr>
            <a:noAutofit/>
          </a:bodyPr>
          <a:lstStyle/>
          <a:p>
            <a:pPr lvl="0"/>
            <a:endParaRPr lang="en-US" noProof="0" dirty="0"/>
          </a:p>
        </p:txBody>
      </p:sp>
      <p:sp>
        <p:nvSpPr>
          <p:cNvPr id="7" name="Picture Placeholder 7"/>
          <p:cNvSpPr>
            <a:spLocks noGrp="1"/>
          </p:cNvSpPr>
          <p:nvPr>
            <p:ph type="pic" sz="quarter" idx="11"/>
          </p:nvPr>
        </p:nvSpPr>
        <p:spPr>
          <a:xfrm>
            <a:off x="5170931" y="2743759"/>
            <a:ext cx="4234127" cy="1717771"/>
          </a:xfrm>
        </p:spPr>
        <p:txBody>
          <a:bodyPr>
            <a:noAutofit/>
          </a:bodyPr>
          <a:lstStyle/>
          <a:p>
            <a:pPr lvl="0"/>
            <a:endParaRPr lang="en-US" noProof="0" dirty="0"/>
          </a:p>
        </p:txBody>
      </p:sp>
    </p:spTree>
    <p:extLst>
      <p:ext uri="{BB962C8B-B14F-4D97-AF65-F5344CB8AC3E}">
        <p14:creationId xmlns:p14="http://schemas.microsoft.com/office/powerpoint/2010/main" val="119514184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Top pictures_Text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2022" y="2954813"/>
            <a:ext cx="4246006" cy="1558119"/>
          </a:xfrm>
          <a:noFill/>
          <a:ln w="9525" algn="ctr">
            <a:noFill/>
            <a:miter lim="800000"/>
            <a:headEnd/>
            <a:tailEnd/>
          </a:ln>
        </p:spPr>
        <p:txBody>
          <a:bodyPr/>
          <a:lstStyle>
            <a:lvl1pPr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1pPr>
            <a:lvl2pPr marL="175864" indent="-175864" algn="l" rtl="0" eaLnBrk="1" fontAlgn="base" hangingPunct="1">
              <a:lnSpc>
                <a:spcPct val="100000"/>
              </a:lnSpc>
              <a:spcBef>
                <a:spcPts val="900"/>
              </a:spcBef>
              <a:spcAft>
                <a:spcPct val="0"/>
              </a:spcAft>
              <a:buClr>
                <a:schemeClr val="tx1"/>
              </a:buClr>
              <a:buFont typeface="Wingdings" pitchFamily="2" charset="2"/>
              <a:buChar char=""/>
              <a:defRPr lang="en-US" sz="1400" dirty="0" smtClean="0">
                <a:solidFill>
                  <a:schemeClr val="tx1"/>
                </a:solidFill>
                <a:latin typeface="+mn-lt"/>
                <a:ea typeface="+mn-ea"/>
                <a:cs typeface="+mn-cs"/>
              </a:defRPr>
            </a:lvl2pPr>
            <a:lvl3pPr marL="342200" indent="-166376"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3pPr>
            <a:lvl4pPr marL="518099" indent="-175864"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4pPr>
            <a:lvl5pPr marL="684474" indent="-166376" algn="l" rtl="0" eaLnBrk="1" fontAlgn="base" hangingPunct="1">
              <a:lnSpc>
                <a:spcPct val="100000"/>
              </a:lnSpc>
              <a:spcBef>
                <a:spcPts val="900"/>
              </a:spcBef>
              <a:spcAft>
                <a:spcPct val="0"/>
              </a:spcAft>
              <a:defRPr lang="en-US" sz="14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p:cNvSpPr>
            <a:spLocks noGrp="1"/>
          </p:cNvSpPr>
          <p:nvPr>
            <p:ph type="pic" sz="quarter" idx="10"/>
          </p:nvPr>
        </p:nvSpPr>
        <p:spPr>
          <a:xfrm>
            <a:off x="762182" y="859639"/>
            <a:ext cx="4234127" cy="1936322"/>
          </a:xfrm>
        </p:spPr>
        <p:txBody>
          <a:bodyPr>
            <a:noAutofit/>
          </a:bodyPr>
          <a:lstStyle/>
          <a:p>
            <a:pPr lvl="0"/>
            <a:endParaRPr lang="en-US" noProof="0" dirty="0"/>
          </a:p>
        </p:txBody>
      </p:sp>
      <p:sp>
        <p:nvSpPr>
          <p:cNvPr id="7" name="Picture Placeholder 7"/>
          <p:cNvSpPr>
            <a:spLocks noGrp="1"/>
          </p:cNvSpPr>
          <p:nvPr>
            <p:ph type="pic" sz="quarter" idx="11"/>
          </p:nvPr>
        </p:nvSpPr>
        <p:spPr>
          <a:xfrm>
            <a:off x="5170931" y="859639"/>
            <a:ext cx="4234127" cy="1936322"/>
          </a:xfrm>
        </p:spPr>
        <p:txBody>
          <a:bodyPr>
            <a:noAutofit/>
          </a:bodyPr>
          <a:lstStyle/>
          <a:p>
            <a:pPr lvl="0"/>
            <a:endParaRPr lang="en-US" noProof="0" dirty="0"/>
          </a:p>
        </p:txBody>
      </p:sp>
      <p:sp>
        <p:nvSpPr>
          <p:cNvPr id="11" name="Content Placeholder 2"/>
          <p:cNvSpPr>
            <a:spLocks noGrp="1"/>
          </p:cNvSpPr>
          <p:nvPr>
            <p:ph sz="half" idx="12"/>
          </p:nvPr>
        </p:nvSpPr>
        <p:spPr>
          <a:xfrm>
            <a:off x="5170848" y="2954813"/>
            <a:ext cx="4246006" cy="1558119"/>
          </a:xfrm>
          <a:noFill/>
          <a:ln w="9525" algn="ctr">
            <a:noFill/>
            <a:miter lim="800000"/>
            <a:headEnd/>
            <a:tailEnd/>
          </a:ln>
        </p:spPr>
        <p:txBody>
          <a:bodyPr/>
          <a:lstStyle>
            <a:lvl1pPr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1pPr>
            <a:lvl2pPr marL="175864" indent="-175864" algn="l" rtl="0" eaLnBrk="1" fontAlgn="base" hangingPunct="1">
              <a:lnSpc>
                <a:spcPct val="100000"/>
              </a:lnSpc>
              <a:spcBef>
                <a:spcPts val="900"/>
              </a:spcBef>
              <a:spcAft>
                <a:spcPct val="0"/>
              </a:spcAft>
              <a:buClr>
                <a:schemeClr val="tx1"/>
              </a:buClr>
              <a:buFont typeface="Wingdings" pitchFamily="2" charset="2"/>
              <a:buChar char=""/>
              <a:defRPr lang="en-US" sz="1400" dirty="0" smtClean="0">
                <a:solidFill>
                  <a:schemeClr val="tx1"/>
                </a:solidFill>
                <a:latin typeface="+mn-lt"/>
                <a:ea typeface="+mn-ea"/>
                <a:cs typeface="+mn-cs"/>
              </a:defRPr>
            </a:lvl2pPr>
            <a:lvl3pPr marL="342200" indent="-166376"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3pPr>
            <a:lvl4pPr marL="518099" indent="-175864"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4pPr>
            <a:lvl5pPr marL="684474" indent="-166376" algn="l" rtl="0" eaLnBrk="1" fontAlgn="base" hangingPunct="1">
              <a:lnSpc>
                <a:spcPct val="100000"/>
              </a:lnSpc>
              <a:spcBef>
                <a:spcPts val="900"/>
              </a:spcBef>
              <a:spcAft>
                <a:spcPct val="0"/>
              </a:spcAft>
              <a:defRPr lang="en-US" sz="14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9658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n-GB" noProof="0"/>
          </a:p>
        </p:txBody>
      </p:sp>
      <p:sp>
        <p:nvSpPr>
          <p:cNvPr id="4" name="Text Placeholder 3"/>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Tree>
  </p:cSld>
  <p:clrMapOvr>
    <a:masterClrMapping/>
  </p:clrMapOv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751269" y="339701"/>
            <a:ext cx="4234127" cy="1838333"/>
          </a:xfrm>
        </p:spPr>
        <p:txBody>
          <a:bodyPr>
            <a:noAutofit/>
          </a:bodyPr>
          <a:lstStyle/>
          <a:p>
            <a:pPr lvl="0"/>
            <a:endParaRPr lang="en-US" noProof="0" dirty="0"/>
          </a:p>
        </p:txBody>
      </p:sp>
      <p:sp>
        <p:nvSpPr>
          <p:cNvPr id="7" name="Picture Placeholder 7"/>
          <p:cNvSpPr>
            <a:spLocks noGrp="1"/>
          </p:cNvSpPr>
          <p:nvPr>
            <p:ph type="pic" sz="quarter" idx="11"/>
          </p:nvPr>
        </p:nvSpPr>
        <p:spPr>
          <a:xfrm>
            <a:off x="5160046" y="339701"/>
            <a:ext cx="4234127" cy="1838333"/>
          </a:xfrm>
        </p:spPr>
        <p:txBody>
          <a:bodyPr>
            <a:noAutofit/>
          </a:bodyPr>
          <a:lstStyle/>
          <a:p>
            <a:pPr lvl="0"/>
            <a:endParaRPr lang="en-US" noProof="0" dirty="0"/>
          </a:p>
        </p:txBody>
      </p:sp>
      <p:sp>
        <p:nvSpPr>
          <p:cNvPr id="10" name="Picture Placeholder 7"/>
          <p:cNvSpPr>
            <a:spLocks noGrp="1"/>
          </p:cNvSpPr>
          <p:nvPr>
            <p:ph type="pic" sz="quarter" idx="12"/>
          </p:nvPr>
        </p:nvSpPr>
        <p:spPr>
          <a:xfrm>
            <a:off x="751269" y="2449884"/>
            <a:ext cx="4234127" cy="1838333"/>
          </a:xfrm>
        </p:spPr>
        <p:txBody>
          <a:bodyPr>
            <a:noAutofit/>
          </a:bodyPr>
          <a:lstStyle/>
          <a:p>
            <a:pPr lvl="0"/>
            <a:endParaRPr lang="en-US" noProof="0" dirty="0"/>
          </a:p>
        </p:txBody>
      </p:sp>
      <p:sp>
        <p:nvSpPr>
          <p:cNvPr id="11" name="Picture Placeholder 7"/>
          <p:cNvSpPr>
            <a:spLocks noGrp="1"/>
          </p:cNvSpPr>
          <p:nvPr>
            <p:ph type="pic" sz="quarter" idx="13"/>
          </p:nvPr>
        </p:nvSpPr>
        <p:spPr>
          <a:xfrm>
            <a:off x="5160046" y="2449884"/>
            <a:ext cx="4234127" cy="1838333"/>
          </a:xfrm>
        </p:spPr>
        <p:txBody>
          <a:bodyPr>
            <a:noAutofit/>
          </a:bodyPr>
          <a:lstStyle/>
          <a:p>
            <a:pPr lvl="0"/>
            <a:endParaRPr lang="en-US" noProof="0" dirty="0"/>
          </a:p>
        </p:txBody>
      </p:sp>
      <p:sp>
        <p:nvSpPr>
          <p:cNvPr id="14" name="Text Placeholder 13"/>
          <p:cNvSpPr>
            <a:spLocks noGrp="1"/>
          </p:cNvSpPr>
          <p:nvPr>
            <p:ph type="body" sz="quarter" idx="14"/>
          </p:nvPr>
        </p:nvSpPr>
        <p:spPr>
          <a:xfrm>
            <a:off x="739509" y="2215361"/>
            <a:ext cx="4210050" cy="173124"/>
          </a:xfrm>
        </p:spPr>
        <p:txBody>
          <a:bodyPr/>
          <a:lstStyle>
            <a:lvl1pPr>
              <a:defRPr sz="1100"/>
            </a:lvl1pPr>
          </a:lstStyle>
          <a:p>
            <a:pPr lvl="0"/>
            <a:r>
              <a:rPr lang="en-US" dirty="0"/>
              <a:t>Click to edit Master text styles</a:t>
            </a:r>
          </a:p>
        </p:txBody>
      </p:sp>
      <p:sp>
        <p:nvSpPr>
          <p:cNvPr id="15" name="Text Placeholder 13"/>
          <p:cNvSpPr>
            <a:spLocks noGrp="1"/>
          </p:cNvSpPr>
          <p:nvPr>
            <p:ph type="body" sz="quarter" idx="15"/>
          </p:nvPr>
        </p:nvSpPr>
        <p:spPr>
          <a:xfrm>
            <a:off x="5180880" y="2215361"/>
            <a:ext cx="4210050" cy="173124"/>
          </a:xfrm>
        </p:spPr>
        <p:txBody>
          <a:bodyPr/>
          <a:lstStyle>
            <a:lvl1pPr>
              <a:defRPr sz="1100"/>
            </a:lvl1pPr>
          </a:lstStyle>
          <a:p>
            <a:pPr lvl="0"/>
            <a:r>
              <a:rPr lang="en-US" dirty="0"/>
              <a:t>Click to edit Master text styles</a:t>
            </a:r>
          </a:p>
        </p:txBody>
      </p:sp>
      <p:sp>
        <p:nvSpPr>
          <p:cNvPr id="16" name="Text Placeholder 13"/>
          <p:cNvSpPr>
            <a:spLocks noGrp="1"/>
          </p:cNvSpPr>
          <p:nvPr>
            <p:ph type="body" sz="quarter" idx="16"/>
          </p:nvPr>
        </p:nvSpPr>
        <p:spPr>
          <a:xfrm>
            <a:off x="739509" y="4317980"/>
            <a:ext cx="4210050" cy="173124"/>
          </a:xfrm>
        </p:spPr>
        <p:txBody>
          <a:bodyPr/>
          <a:lstStyle>
            <a:lvl1pPr>
              <a:defRPr sz="1100"/>
            </a:lvl1pPr>
          </a:lstStyle>
          <a:p>
            <a:pPr lvl="0"/>
            <a:r>
              <a:rPr lang="en-US" dirty="0"/>
              <a:t>Click to edit Master text styles</a:t>
            </a:r>
          </a:p>
        </p:txBody>
      </p:sp>
      <p:sp>
        <p:nvSpPr>
          <p:cNvPr id="17" name="Text Placeholder 13"/>
          <p:cNvSpPr>
            <a:spLocks noGrp="1"/>
          </p:cNvSpPr>
          <p:nvPr>
            <p:ph type="body" sz="quarter" idx="17"/>
          </p:nvPr>
        </p:nvSpPr>
        <p:spPr>
          <a:xfrm>
            <a:off x="5180880" y="4317980"/>
            <a:ext cx="4210050" cy="173124"/>
          </a:xfrm>
        </p:spPr>
        <p:txBody>
          <a:bodyPr/>
          <a:lstStyle>
            <a:lvl1pPr>
              <a:defRPr sz="1100"/>
            </a:lvl1pPr>
          </a:lstStyle>
          <a:p>
            <a:pPr lvl="0"/>
            <a:r>
              <a:rPr lang="en-US" dirty="0"/>
              <a:t>Click to edit Master text styles</a:t>
            </a:r>
          </a:p>
        </p:txBody>
      </p:sp>
    </p:spTree>
    <p:extLst>
      <p:ext uri="{BB962C8B-B14F-4D97-AF65-F5344CB8AC3E}">
        <p14:creationId xmlns:p14="http://schemas.microsoft.com/office/powerpoint/2010/main" val="168487544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Full page pictur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751257" y="339706"/>
            <a:ext cx="8643125" cy="3948487"/>
          </a:xfrm>
        </p:spPr>
        <p:txBody>
          <a:bodyPr>
            <a:noAutofit/>
          </a:bodyPr>
          <a:lstStyle/>
          <a:p>
            <a:pPr lvl="0"/>
            <a:endParaRPr lang="en-US" noProof="0" dirty="0"/>
          </a:p>
        </p:txBody>
      </p:sp>
      <p:sp>
        <p:nvSpPr>
          <p:cNvPr id="16" name="Text Placeholder 13"/>
          <p:cNvSpPr>
            <a:spLocks noGrp="1"/>
          </p:cNvSpPr>
          <p:nvPr>
            <p:ph type="body" sz="quarter" idx="16"/>
          </p:nvPr>
        </p:nvSpPr>
        <p:spPr>
          <a:xfrm>
            <a:off x="739509" y="4438556"/>
            <a:ext cx="4210050" cy="173124"/>
          </a:xfrm>
        </p:spPr>
        <p:txBody>
          <a:bodyPr/>
          <a:lstStyle>
            <a:lvl1pPr>
              <a:defRPr sz="1100"/>
            </a:lvl1pPr>
          </a:lstStyle>
          <a:p>
            <a:pPr lvl="0"/>
            <a:r>
              <a:rPr lang="en-US" dirty="0"/>
              <a:t>Click to edit Master text styles</a:t>
            </a:r>
          </a:p>
        </p:txBody>
      </p:sp>
    </p:spTree>
    <p:extLst>
      <p:ext uri="{BB962C8B-B14F-4D97-AF65-F5344CB8AC3E}">
        <p14:creationId xmlns:p14="http://schemas.microsoft.com/office/powerpoint/2010/main" val="368939892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751549" y="828385"/>
            <a:ext cx="4079346" cy="2181367"/>
          </a:xfrm>
        </p:spPr>
        <p:txBody>
          <a:bodyPr/>
          <a:lstStyle>
            <a:lvl1pPr>
              <a:buFont typeface="Arial" pitchFamily="34" charset="0"/>
              <a:buNone/>
              <a:defRPr sz="2000"/>
            </a:lvl1pPr>
            <a:lvl2pPr marL="0" indent="0">
              <a:buNone/>
              <a:defRPr sz="2000"/>
            </a:lvl2pPr>
            <a:lvl3pPr marL="234482" indent="0">
              <a:buNone/>
              <a:defRPr sz="2000"/>
            </a:lvl3pPr>
            <a:lvl4pPr marL="567233" indent="0">
              <a:buNone/>
              <a:defRPr sz="2000"/>
            </a:lvl4pPr>
            <a:lvl5pPr marL="857198" indent="0">
              <a:buNone/>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169780" y="828385"/>
            <a:ext cx="4079345" cy="2181367"/>
          </a:xfrm>
        </p:spPr>
        <p:txBody>
          <a:bodyPr/>
          <a:lstStyle>
            <a:lvl1pPr>
              <a:buFont typeface="Arial" pitchFamily="34" charset="0"/>
              <a:buNone/>
              <a:defRPr sz="2000"/>
            </a:lvl1pPr>
            <a:lvl2pPr marL="0" indent="0">
              <a:buNone/>
              <a:defRPr sz="2000"/>
            </a:lvl2pPr>
            <a:lvl3pPr marL="234482" indent="0">
              <a:buNone/>
              <a:defRPr sz="2000"/>
            </a:lvl3pPr>
            <a:lvl4pPr marL="567233" indent="0">
              <a:buNone/>
              <a:defRPr sz="2000"/>
            </a:lvl4pPr>
            <a:lvl5pPr marL="857198" indent="0">
              <a:buNone/>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615460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45134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96915" y="230002"/>
            <a:ext cx="8062912" cy="461665"/>
          </a:xfrm>
        </p:spPr>
        <p:txBody>
          <a:bodyPr/>
          <a:lstStyle/>
          <a:p>
            <a:r>
              <a:rPr lang="en-US"/>
              <a:t>Click to edit Master title style</a:t>
            </a:r>
            <a:endParaRPr lang="en-GB"/>
          </a:p>
        </p:txBody>
      </p:sp>
    </p:spTree>
    <p:extLst>
      <p:ext uri="{BB962C8B-B14F-4D97-AF65-F5344CB8AC3E}">
        <p14:creationId xmlns:p14="http://schemas.microsoft.com/office/powerpoint/2010/main" val="219475920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96915" y="230002"/>
            <a:ext cx="8062912" cy="461665"/>
          </a:xfrm>
        </p:spPr>
        <p:txBody>
          <a:bodyPr/>
          <a:lstStyle/>
          <a:p>
            <a:r>
              <a:rPr lang="en-US"/>
              <a:t>Click to edit Master title style</a:t>
            </a:r>
            <a:endParaRPr lang="en-GB"/>
          </a:p>
        </p:txBody>
      </p:sp>
      <p:sp>
        <p:nvSpPr>
          <p:cNvPr id="3" name="Chart Placeholder 2"/>
          <p:cNvSpPr>
            <a:spLocks noGrp="1"/>
          </p:cNvSpPr>
          <p:nvPr>
            <p:ph type="chart" idx="1"/>
          </p:nvPr>
        </p:nvSpPr>
        <p:spPr>
          <a:xfrm>
            <a:off x="704876" y="821542"/>
            <a:ext cx="8004175" cy="311624"/>
          </a:xfrm>
        </p:spPr>
        <p:txBody>
          <a:bodyPr/>
          <a:lstStyle/>
          <a:p>
            <a:pPr lvl="0"/>
            <a:endParaRPr lang="en-GB" noProof="0"/>
          </a:p>
        </p:txBody>
      </p:sp>
    </p:spTree>
    <p:extLst>
      <p:ext uri="{BB962C8B-B14F-4D97-AF65-F5344CB8AC3E}">
        <p14:creationId xmlns:p14="http://schemas.microsoft.com/office/powerpoint/2010/main" val="148688898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00000"/>
        </a:solidFill>
        <a:effectLst/>
      </p:bgPr>
    </p:bg>
    <p:spTree>
      <p:nvGrpSpPr>
        <p:cNvPr id="1" name=""/>
        <p:cNvGrpSpPr/>
        <p:nvPr/>
      </p:nvGrpSpPr>
      <p:grpSpPr>
        <a:xfrm>
          <a:off x="0" y="0"/>
          <a:ext cx="0" cy="0"/>
          <a:chOff x="0" y="0"/>
          <a:chExt cx="0" cy="0"/>
        </a:xfrm>
      </p:grpSpPr>
      <p:pic>
        <p:nvPicPr>
          <p:cNvPr id="10" name="Picture 9" descr="Eval full cover.jpg"/>
          <p:cNvPicPr>
            <a:picLocks noChangeAspect="1"/>
          </p:cNvPicPr>
          <p:nvPr/>
        </p:nvPicPr>
        <p:blipFill>
          <a:blip r:embed="rId2" cstate="print"/>
          <a:srcRect r="7676"/>
          <a:stretch>
            <a:fillRect/>
          </a:stretch>
        </p:blipFill>
        <p:spPr>
          <a:xfrm>
            <a:off x="0" y="0"/>
            <a:ext cx="9144000" cy="5143500"/>
          </a:xfrm>
          <a:prstGeom prst="rect">
            <a:avLst/>
          </a:prstGeom>
        </p:spPr>
      </p:pic>
      <p:sp>
        <p:nvSpPr>
          <p:cNvPr id="89116" name="Rectangle 28"/>
          <p:cNvSpPr>
            <a:spLocks noGrp="1" noChangeArrowheads="1"/>
          </p:cNvSpPr>
          <p:nvPr>
            <p:ph type="ctrTitle" sz="quarter"/>
          </p:nvPr>
        </p:nvSpPr>
        <p:spPr>
          <a:xfrm>
            <a:off x="427896" y="1085880"/>
            <a:ext cx="5905500" cy="641747"/>
          </a:xfrm>
        </p:spPr>
        <p:txBody>
          <a:bodyPr anchor="b"/>
          <a:lstStyle>
            <a:lvl1pPr>
              <a:defRPr>
                <a:solidFill>
                  <a:schemeClr val="bg1"/>
                </a:solidFill>
              </a:defRPr>
            </a:lvl1pPr>
          </a:lstStyle>
          <a:p>
            <a:r>
              <a:rPr lang="en-US"/>
              <a:t>Click to edit Master title style</a:t>
            </a:r>
            <a:endParaRPr lang="en-GB"/>
          </a:p>
        </p:txBody>
      </p:sp>
      <p:sp>
        <p:nvSpPr>
          <p:cNvPr id="89117" name="Rectangle 29"/>
          <p:cNvSpPr>
            <a:spLocks noGrp="1" noChangeArrowheads="1"/>
          </p:cNvSpPr>
          <p:nvPr>
            <p:ph type="subTitle" sz="quarter" idx="1"/>
          </p:nvPr>
        </p:nvSpPr>
        <p:spPr>
          <a:xfrm>
            <a:off x="429368" y="1728788"/>
            <a:ext cx="5908431" cy="1314450"/>
          </a:xfrm>
        </p:spPr>
        <p:txBody>
          <a:bodyPr/>
          <a:lstStyle>
            <a:lvl1pPr>
              <a:spcBef>
                <a:spcPct val="30000"/>
              </a:spcBef>
              <a:defRPr sz="2000">
                <a:solidFill>
                  <a:schemeClr val="bg2"/>
                </a:solidFill>
              </a:defRPr>
            </a:lvl1pPr>
          </a:lstStyle>
          <a:p>
            <a:r>
              <a:rPr lang="en-US"/>
              <a:t>Click to edit Master subtitle style</a:t>
            </a:r>
            <a:endParaRPr lang="en-GB"/>
          </a:p>
        </p:txBody>
      </p:sp>
      <p:sp>
        <p:nvSpPr>
          <p:cNvPr id="5" name="Rectangle 4"/>
          <p:cNvSpPr/>
          <p:nvPr userDrawn="1"/>
        </p:nvSpPr>
        <p:spPr bwMode="auto">
          <a:xfrm>
            <a:off x="2987824" y="573528"/>
            <a:ext cx="936104" cy="324036"/>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284" tIns="45642" rIns="91284" bIns="45642" numCol="1" rtlCol="0" anchor="t" anchorCtr="0" compatLnSpc="1">
            <a:prstTxWarp prst="textNoShape">
              <a:avLst/>
            </a:prstTxWarp>
          </a:bodyPr>
          <a:lstStyle/>
          <a:p>
            <a:pPr defTabSz="912644"/>
            <a:endParaRPr lang="en-GB" sz="1800" u="sng">
              <a:solidFill>
                <a:srgbClr val="000000"/>
              </a:solidFill>
              <a:cs typeface="+mn-cs"/>
            </a:endParaRPr>
          </a:p>
        </p:txBody>
      </p:sp>
    </p:spTree>
    <p:extLst>
      <p:ext uri="{BB962C8B-B14F-4D97-AF65-F5344CB8AC3E}">
        <p14:creationId xmlns:p14="http://schemas.microsoft.com/office/powerpoint/2010/main" val="4165023125"/>
      </p:ext>
    </p:extLst>
  </p:cSld>
  <p:clrMapOvr>
    <a:masterClrMapping/>
  </p:clrMapOvr>
  <p:transition spd="slow">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61783610"/>
      </p:ext>
    </p:extLst>
  </p:cSld>
  <p:clrMapOvr>
    <a:masterClrMapping/>
  </p:clrMapOvr>
  <p:transition spd="slow">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422066" y="1200155"/>
            <a:ext cx="3727939"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90662" y="1200155"/>
            <a:ext cx="3727939"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1701489"/>
      </p:ext>
    </p:extLst>
  </p:cSld>
  <p:clrMapOvr>
    <a:masterClrMapping/>
  </p:clrMapOvr>
  <p:transition spd="slow">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22032" y="205979"/>
            <a:ext cx="7596554" cy="857250"/>
          </a:xfrm>
        </p:spPr>
        <p:txBody>
          <a:bodyPr/>
          <a:lstStyle/>
          <a:p>
            <a:r>
              <a:rPr lang="en-US"/>
              <a:t>Click to edit Master title style</a:t>
            </a:r>
            <a:endParaRPr lang="en-GB"/>
          </a:p>
        </p:txBody>
      </p:sp>
      <p:sp>
        <p:nvSpPr>
          <p:cNvPr id="3" name="Chart Placeholder 2"/>
          <p:cNvSpPr>
            <a:spLocks noGrp="1"/>
          </p:cNvSpPr>
          <p:nvPr>
            <p:ph type="chart" idx="1"/>
          </p:nvPr>
        </p:nvSpPr>
        <p:spPr>
          <a:xfrm>
            <a:off x="422032" y="1200155"/>
            <a:ext cx="7596554" cy="3394472"/>
          </a:xfrm>
        </p:spPr>
        <p:txBody>
          <a:bodyPr lIns="91284" tIns="45642" rIns="91284" bIns="45642"/>
          <a:lstStyle/>
          <a:p>
            <a:pPr lvl="0"/>
            <a:r>
              <a:rPr lang="en-US" noProof="0"/>
              <a:t>Click icon to add chart</a:t>
            </a:r>
            <a:endParaRPr lang="en-GB" noProof="0"/>
          </a:p>
        </p:txBody>
      </p:sp>
    </p:spTree>
    <p:extLst>
      <p:ext uri="{BB962C8B-B14F-4D97-AF65-F5344CB8AC3E}">
        <p14:creationId xmlns:p14="http://schemas.microsoft.com/office/powerpoint/2010/main" val="3506734072"/>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22032" y="205979"/>
            <a:ext cx="7596554" cy="857250"/>
          </a:xfrm>
        </p:spPr>
        <p:txBody>
          <a:bodyPr/>
          <a:lstStyle/>
          <a:p>
            <a:r>
              <a:rPr lang="en-US"/>
              <a:t>Click to edit Master title style</a:t>
            </a:r>
            <a:endParaRPr lang="en-GB"/>
          </a:p>
        </p:txBody>
      </p:sp>
      <p:sp>
        <p:nvSpPr>
          <p:cNvPr id="3" name="Text Placeholder 2"/>
          <p:cNvSpPr>
            <a:spLocks noGrp="1"/>
          </p:cNvSpPr>
          <p:nvPr>
            <p:ph type="body" sz="half" idx="1"/>
          </p:nvPr>
        </p:nvSpPr>
        <p:spPr>
          <a:xfrm>
            <a:off x="422066" y="1200155"/>
            <a:ext cx="3727939"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hart Placeholder 3"/>
          <p:cNvSpPr>
            <a:spLocks noGrp="1"/>
          </p:cNvSpPr>
          <p:nvPr>
            <p:ph type="chart" sz="half" idx="2"/>
          </p:nvPr>
        </p:nvSpPr>
        <p:spPr>
          <a:xfrm>
            <a:off x="4290662" y="1200155"/>
            <a:ext cx="3727939" cy="3394472"/>
          </a:xfrm>
        </p:spPr>
        <p:txBody>
          <a:bodyPr lIns="91284" tIns="45642" rIns="91284" bIns="45642"/>
          <a:lstStyle/>
          <a:p>
            <a:pPr lvl="0"/>
            <a:r>
              <a:rPr lang="en-US" noProof="0"/>
              <a:t>Click icon to add chart</a:t>
            </a:r>
            <a:endParaRPr lang="en-GB" noProof="0"/>
          </a:p>
        </p:txBody>
      </p:sp>
    </p:spTree>
    <p:extLst>
      <p:ext uri="{BB962C8B-B14F-4D97-AF65-F5344CB8AC3E}">
        <p14:creationId xmlns:p14="http://schemas.microsoft.com/office/powerpoint/2010/main" val="403883627"/>
      </p:ext>
    </p:extLst>
  </p:cSld>
  <p:clrMapOvr>
    <a:masterClrMapping/>
  </p:clrMapOvr>
  <p:transition spd="slow">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1_Title Slide">
    <p:bg>
      <p:bgPr>
        <a:solidFill>
          <a:srgbClr val="000000"/>
        </a:solidFill>
        <a:effectLst/>
      </p:bgPr>
    </p:bg>
    <p:spTree>
      <p:nvGrpSpPr>
        <p:cNvPr id="1" name=""/>
        <p:cNvGrpSpPr/>
        <p:nvPr/>
      </p:nvGrpSpPr>
      <p:grpSpPr>
        <a:xfrm>
          <a:off x="0" y="0"/>
          <a:ext cx="0" cy="0"/>
          <a:chOff x="0" y="0"/>
          <a:chExt cx="0" cy="0"/>
        </a:xfrm>
      </p:grpSpPr>
      <p:pic>
        <p:nvPicPr>
          <p:cNvPr id="10" name="Picture 9" descr="Eval full cover.jpg"/>
          <p:cNvPicPr>
            <a:picLocks noChangeAspect="1"/>
          </p:cNvPicPr>
          <p:nvPr/>
        </p:nvPicPr>
        <p:blipFill>
          <a:blip r:embed="rId2" cstate="print"/>
          <a:srcRect r="7676"/>
          <a:stretch>
            <a:fillRect/>
          </a:stretch>
        </p:blipFill>
        <p:spPr>
          <a:xfrm>
            <a:off x="0" y="0"/>
            <a:ext cx="9144000" cy="5143500"/>
          </a:xfrm>
          <a:prstGeom prst="rect">
            <a:avLst/>
          </a:prstGeom>
        </p:spPr>
      </p:pic>
      <p:sp>
        <p:nvSpPr>
          <p:cNvPr id="89116" name="Rectangle 28"/>
          <p:cNvSpPr>
            <a:spLocks noGrp="1" noChangeArrowheads="1"/>
          </p:cNvSpPr>
          <p:nvPr>
            <p:ph type="ctrTitle" sz="quarter"/>
          </p:nvPr>
        </p:nvSpPr>
        <p:spPr>
          <a:xfrm>
            <a:off x="427896" y="2205400"/>
            <a:ext cx="5905500" cy="641747"/>
          </a:xfrm>
          <a:solidFill>
            <a:schemeClr val="accent4">
              <a:alpha val="0"/>
            </a:schemeClr>
          </a:solidFill>
        </p:spPr>
        <p:txBody>
          <a:bodyPr anchor="t" anchorCtr="0"/>
          <a:lstStyle>
            <a:lvl1pPr>
              <a:defRPr sz="800" b="0">
                <a:solidFill>
                  <a:schemeClr val="bg1"/>
                </a:solidFill>
              </a:defRPr>
            </a:lvl1pPr>
          </a:lstStyle>
          <a:p>
            <a:r>
              <a:rPr lang="en-US"/>
              <a:t>Click to edit Master title style</a:t>
            </a:r>
            <a:endParaRPr lang="en-GB" dirty="0"/>
          </a:p>
        </p:txBody>
      </p:sp>
      <p:pic>
        <p:nvPicPr>
          <p:cNvPr id="11" name="Picture 2" descr="Media Evaluation"/>
          <p:cNvPicPr>
            <a:picLocks noChangeAspect="1" noChangeArrowheads="1"/>
          </p:cNvPicPr>
          <p:nvPr/>
        </p:nvPicPr>
        <p:blipFill>
          <a:blip r:embed="rId3" cstate="print"/>
          <a:srcRect/>
          <a:stretch>
            <a:fillRect/>
          </a:stretch>
        </p:blipFill>
        <p:spPr bwMode="auto">
          <a:xfrm>
            <a:off x="542897" y="1167997"/>
            <a:ext cx="4191000" cy="928688"/>
          </a:xfrm>
          <a:prstGeom prst="roundRect">
            <a:avLst>
              <a:gd name="adj" fmla="val 28975"/>
            </a:avLst>
          </a:prstGeom>
          <a:noFill/>
          <a:ln cap="rnd">
            <a:solidFill>
              <a:schemeClr val="tx1"/>
            </a:solidFill>
            <a:bevel/>
          </a:ln>
        </p:spPr>
      </p:pic>
    </p:spTree>
    <p:extLst>
      <p:ext uri="{BB962C8B-B14F-4D97-AF65-F5344CB8AC3E}">
        <p14:creationId xmlns:p14="http://schemas.microsoft.com/office/powerpoint/2010/main" val="1459497558"/>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787966"/>
            <a:ext cx="9144000" cy="4355534"/>
          </a:xfrm>
          <a:prstGeom prst="rect">
            <a:avLst/>
          </a:prstGeom>
        </p:spPr>
      </p:pic>
      <p:graphicFrame>
        <p:nvGraphicFramePr>
          <p:cNvPr id="4" name="Object 3" hidden="1"/>
          <p:cNvGraphicFramePr>
            <a:graphicFrameLocks noChangeAspect="1"/>
          </p:cNvGraphicFramePr>
          <p:nvPr>
            <p:custDataLst>
              <p:tags r:id="rId2"/>
            </p:custDataLst>
          </p:nvPr>
        </p:nvGraphicFramePr>
        <p:xfrm>
          <a:off x="1" y="62"/>
          <a:ext cx="146538" cy="119063"/>
        </p:xfrm>
        <a:graphic>
          <a:graphicData uri="http://schemas.openxmlformats.org/presentationml/2006/ole">
            <mc:AlternateContent xmlns:mc="http://schemas.openxmlformats.org/markup-compatibility/2006">
              <mc:Choice xmlns:v="urn:schemas-microsoft-com:vml" Requires="v">
                <p:oleObj spid="_x0000_s1662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3288604" y="1476616"/>
            <a:ext cx="5855449" cy="1811186"/>
          </a:xfrm>
        </p:spPr>
        <p:txBody>
          <a:bodyPr vert="horz" lIns="35922" tIns="35922" rIns="359298" bIns="35922" rtlCol="0" anchor="ctr">
            <a:noAutofit/>
          </a:bodyPr>
          <a:lstStyle>
            <a:lvl1pPr algn="r" defTabSz="993788" rtl="0" eaLnBrk="1" latinLnBrk="0" hangingPunct="1">
              <a:spcBef>
                <a:spcPct val="0"/>
              </a:spcBef>
              <a:buNone/>
              <a:defRPr lang="en-US" sz="3600" b="0" kern="1200" baseline="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err="1"/>
              <a:t>Using</a:t>
            </a:r>
            <a:r>
              <a:rPr lang="fr-FR" dirty="0"/>
              <a:t> content to </a:t>
            </a:r>
            <a:r>
              <a:rPr lang="fr-FR" dirty="0" err="1"/>
              <a:t>populate</a:t>
            </a:r>
            <a:r>
              <a:rPr lang="fr-FR" dirty="0"/>
              <a:t> new business pipelines</a:t>
            </a:r>
            <a:endParaRPr lang="en-US" dirty="0"/>
          </a:p>
        </p:txBody>
      </p:sp>
      <p:sp>
        <p:nvSpPr>
          <p:cNvPr id="17" name="Text Placeholder 8"/>
          <p:cNvSpPr>
            <a:spLocks noGrp="1"/>
          </p:cNvSpPr>
          <p:nvPr>
            <p:ph type="body" sz="quarter" idx="10" hasCustomPrompt="1"/>
            <p:custDataLst>
              <p:tags r:id="rId4"/>
            </p:custDataLst>
          </p:nvPr>
        </p:nvSpPr>
        <p:spPr>
          <a:xfrm>
            <a:off x="3770923" y="3457485"/>
            <a:ext cx="5373127" cy="1354727"/>
          </a:xfrm>
        </p:spPr>
        <p:txBody>
          <a:bodyPr vert="horz" lIns="35922" tIns="35922" rIns="359298" bIns="35922" rtlCol="0">
            <a:noAutofit/>
          </a:bodyPr>
          <a:lstStyle>
            <a:lvl1pPr marL="0" indent="0" algn="r" defTabSz="993788"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Tom Barton</a:t>
            </a:r>
          </a:p>
          <a:p>
            <a:pPr lvl="0"/>
            <a:r>
              <a:rPr lang="fr-FR" dirty="0"/>
              <a:t>The </a:t>
            </a:r>
            <a:r>
              <a:rPr lang="fr-FR" dirty="0" err="1"/>
              <a:t>Role</a:t>
            </a:r>
            <a:r>
              <a:rPr lang="fr-FR" dirty="0"/>
              <a:t> of PR as a Content Provider</a:t>
            </a:r>
          </a:p>
          <a:p>
            <a:pPr lvl="0"/>
            <a:r>
              <a:rPr lang="fr-FR" dirty="0"/>
              <a:t>19 </a:t>
            </a:r>
            <a:r>
              <a:rPr lang="fr-FR" dirty="0" err="1"/>
              <a:t>September</a:t>
            </a:r>
            <a:r>
              <a:rPr lang="fr-FR" dirty="0"/>
              <a:t> 2013</a:t>
            </a:r>
          </a:p>
        </p:txBody>
      </p:sp>
      <p:sp>
        <p:nvSpPr>
          <p:cNvPr id="21" name="Rectangle 7"/>
          <p:cNvSpPr/>
          <p:nvPr userDrawn="1">
            <p:custDataLst>
              <p:tags r:id="rId5"/>
            </p:custDataLst>
          </p:nvPr>
        </p:nvSpPr>
        <p:spPr bwMode="auto">
          <a:xfrm>
            <a:off x="-1890" y="46"/>
            <a:ext cx="9145895" cy="20122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6" tIns="42898" rIns="33056" bIns="42898" rtlCol="0" anchor="ctr"/>
          <a:lstStyle/>
          <a:p>
            <a:pPr algn="ctr" defTabSz="955884" fontAlgn="auto">
              <a:spcBef>
                <a:spcPts val="0"/>
              </a:spcBef>
              <a:spcAft>
                <a:spcPts val="0"/>
              </a:spcAft>
            </a:pPr>
            <a:endParaRPr lang="en-US" sz="1000" dirty="0">
              <a:solidFill>
                <a:prstClr val="white"/>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42" y="489775"/>
            <a:ext cx="2770161" cy="521018"/>
          </a:xfrm>
          <a:prstGeom prst="rect">
            <a:avLst/>
          </a:prstGeom>
          <a:noFill/>
        </p:spPr>
      </p:pic>
      <p:sp>
        <p:nvSpPr>
          <p:cNvPr id="23" name="Rectangle 22"/>
          <p:cNvSpPr/>
          <p:nvPr userDrawn="1">
            <p:custDataLst>
              <p:tags r:id="rId7"/>
            </p:custDataLst>
          </p:nvPr>
        </p:nvSpPr>
        <p:spPr>
          <a:xfrm>
            <a:off x="0" y="4800659"/>
            <a:ext cx="9144000" cy="342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813" tIns="41907" rIns="83813" bIns="41907" rtlCol="0" anchor="ctr"/>
          <a:lstStyle/>
          <a:p>
            <a:pPr algn="ctr" defTabSz="955884" fontAlgn="auto">
              <a:spcBef>
                <a:spcPts val="0"/>
              </a:spcBef>
              <a:spcAft>
                <a:spcPts val="0"/>
              </a:spcAft>
            </a:pPr>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9" y="4890525"/>
            <a:ext cx="2770546" cy="179266"/>
          </a:xfrm>
          <a:prstGeom prst="rect">
            <a:avLst/>
          </a:prstGeom>
          <a:noFill/>
        </p:spPr>
      </p:pic>
    </p:spTree>
    <p:extLst>
      <p:ext uri="{BB962C8B-B14F-4D97-AF65-F5344CB8AC3E}">
        <p14:creationId xmlns:p14="http://schemas.microsoft.com/office/powerpoint/2010/main" val="167850528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993074"/>
            <a:ext cx="9144000" cy="4150426"/>
          </a:xfrm>
          <a:prstGeom prst="rect">
            <a:avLst/>
          </a:prstGeom>
        </p:spPr>
      </p:pic>
      <p:sp>
        <p:nvSpPr>
          <p:cNvPr id="18" name="Rectangle 17"/>
          <p:cNvSpPr/>
          <p:nvPr userDrawn="1">
            <p:custDataLst>
              <p:tags r:id="rId2"/>
            </p:custDataLst>
          </p:nvPr>
        </p:nvSpPr>
        <p:spPr>
          <a:xfrm>
            <a:off x="0" y="4800659"/>
            <a:ext cx="9144000" cy="342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813" tIns="41907" rIns="83813" bIns="41907" rtlCol="0" anchor="ctr"/>
          <a:lstStyle/>
          <a:p>
            <a:pPr algn="ctr" defTabSz="955884" fontAlgn="auto">
              <a:spcBef>
                <a:spcPts val="0"/>
              </a:spcBef>
              <a:spcAft>
                <a:spcPts val="0"/>
              </a:spcAft>
            </a:pPr>
            <a:endParaRPr lang="en-US" sz="1300" dirty="0">
              <a:solidFill>
                <a:prstClr val="white"/>
              </a:solidFill>
            </a:endParaRPr>
          </a:p>
        </p:txBody>
      </p:sp>
      <p:sp>
        <p:nvSpPr>
          <p:cNvPr id="17" name="Rectangle 7"/>
          <p:cNvSpPr/>
          <p:nvPr userDrawn="1">
            <p:custDataLst>
              <p:tags r:id="rId3"/>
            </p:custDataLst>
          </p:nvPr>
        </p:nvSpPr>
        <p:spPr bwMode="auto">
          <a:xfrm>
            <a:off x="-1890" y="46"/>
            <a:ext cx="9145895" cy="20122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6" tIns="42898" rIns="33056" bIns="42898" rtlCol="0" anchor="ctr"/>
          <a:lstStyle/>
          <a:p>
            <a:pPr algn="ctr" defTabSz="955884" fontAlgn="auto">
              <a:spcBef>
                <a:spcPts val="0"/>
              </a:spcBef>
              <a:spcAft>
                <a:spcPts val="0"/>
              </a:spcAft>
            </a:pPr>
            <a:endParaRPr lang="en-US" sz="1000" dirty="0">
              <a:solidFill>
                <a:prstClr val="white"/>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62"/>
          <a:ext cx="146538" cy="119063"/>
        </p:xfrm>
        <a:graphic>
          <a:graphicData uri="http://schemas.openxmlformats.org/presentationml/2006/ole">
            <mc:AlternateContent xmlns:mc="http://schemas.openxmlformats.org/markup-compatibility/2006">
              <mc:Choice xmlns:v="urn:schemas-microsoft-com:vml" Requires="v">
                <p:oleObj spid="_x0000_s1764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4890525"/>
            <a:ext cx="2770546" cy="179266"/>
          </a:xfrm>
          <a:prstGeom prst="rect">
            <a:avLst/>
          </a:prstGeom>
          <a:noFill/>
        </p:spPr>
      </p:pic>
      <p:sp>
        <p:nvSpPr>
          <p:cNvPr id="2" name="Title 1"/>
          <p:cNvSpPr>
            <a:spLocks noGrp="1"/>
          </p:cNvSpPr>
          <p:nvPr>
            <p:ph type="ctrTitle" hasCustomPrompt="1"/>
            <p:custDataLst>
              <p:tags r:id="rId6"/>
            </p:custDataLst>
          </p:nvPr>
        </p:nvSpPr>
        <p:spPr>
          <a:xfrm>
            <a:off x="0" y="1692460"/>
            <a:ext cx="4191400" cy="1696224"/>
          </a:xfrm>
        </p:spPr>
        <p:txBody>
          <a:bodyPr lIns="230945" tIns="33056" rIns="33056" bIns="33056"/>
          <a:lstStyle>
            <a:lvl1pPr algn="l">
              <a:defRPr sz="3300" b="0">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7" y="3413926"/>
            <a:ext cx="4191905" cy="710813"/>
          </a:xfrm>
        </p:spPr>
        <p:txBody>
          <a:bodyPr lIns="230945" tIns="33056" rIns="33056" bIns="33056"/>
          <a:lstStyle>
            <a:lvl1pPr marL="0" indent="0" algn="l">
              <a:buNone/>
              <a:defRPr sz="2200" b="0">
                <a:solidFill>
                  <a:schemeClr val="tx1"/>
                </a:solidFill>
              </a:defRPr>
            </a:lvl1pPr>
            <a:lvl2pPr marL="456239" indent="0" algn="ctr">
              <a:buNone/>
              <a:defRPr>
                <a:solidFill>
                  <a:schemeClr val="tx1">
                    <a:tint val="75000"/>
                  </a:schemeClr>
                </a:solidFill>
              </a:defRPr>
            </a:lvl2pPr>
            <a:lvl3pPr marL="912585" indent="0" algn="ctr">
              <a:buNone/>
              <a:defRPr>
                <a:solidFill>
                  <a:schemeClr val="tx1">
                    <a:tint val="75000"/>
                  </a:schemeClr>
                </a:solidFill>
              </a:defRPr>
            </a:lvl3pPr>
            <a:lvl4pPr marL="1368861" indent="0" algn="ctr">
              <a:buNone/>
              <a:defRPr>
                <a:solidFill>
                  <a:schemeClr val="tx1">
                    <a:tint val="75000"/>
                  </a:schemeClr>
                </a:solidFill>
              </a:defRPr>
            </a:lvl4pPr>
            <a:lvl5pPr marL="1825169" indent="0" algn="ctr">
              <a:buNone/>
              <a:defRPr>
                <a:solidFill>
                  <a:schemeClr val="tx1">
                    <a:tint val="75000"/>
                  </a:schemeClr>
                </a:solidFill>
              </a:defRPr>
            </a:lvl5pPr>
            <a:lvl6pPr marL="2281409" indent="0" algn="ctr">
              <a:buNone/>
              <a:defRPr>
                <a:solidFill>
                  <a:schemeClr val="tx1">
                    <a:tint val="75000"/>
                  </a:schemeClr>
                </a:solidFill>
              </a:defRPr>
            </a:lvl6pPr>
            <a:lvl7pPr marL="2737646" indent="0" algn="ctr">
              <a:buNone/>
              <a:defRPr>
                <a:solidFill>
                  <a:schemeClr val="tx1">
                    <a:tint val="75000"/>
                  </a:schemeClr>
                </a:solidFill>
              </a:defRPr>
            </a:lvl7pPr>
            <a:lvl8pPr marL="3193964" indent="0" algn="ctr">
              <a:buNone/>
              <a:defRPr>
                <a:solidFill>
                  <a:schemeClr val="tx1">
                    <a:tint val="75000"/>
                  </a:schemeClr>
                </a:solidFill>
              </a:defRPr>
            </a:lvl8pPr>
            <a:lvl9pPr marL="3650260"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42" y="489775"/>
            <a:ext cx="2770161" cy="521018"/>
          </a:xfrm>
          <a:prstGeom prst="rect">
            <a:avLst/>
          </a:prstGeom>
          <a:noFill/>
        </p:spPr>
      </p:pic>
    </p:spTree>
    <p:extLst>
      <p:ext uri="{BB962C8B-B14F-4D97-AF65-F5344CB8AC3E}">
        <p14:creationId xmlns:p14="http://schemas.microsoft.com/office/powerpoint/2010/main" val="301356985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1"/>
            <a:ext cx="9144000" cy="4764974"/>
          </a:xfrm>
          <a:prstGeom prst="rect">
            <a:avLst/>
          </a:prstGeom>
        </p:spPr>
      </p:pic>
      <p:graphicFrame>
        <p:nvGraphicFramePr>
          <p:cNvPr id="7" name="Object 6" hidden="1"/>
          <p:cNvGraphicFramePr>
            <a:graphicFrameLocks noChangeAspect="1"/>
          </p:cNvGraphicFramePr>
          <p:nvPr>
            <p:custDataLst>
              <p:tags r:id="rId2"/>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18668"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39"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332" tIns="49704" rIns="99332" bIns="49704" numCol="1" anchor="t" anchorCtr="0" compatLnSpc="1">
            <a:prstTxWarp prst="textNoShape">
              <a:avLst/>
            </a:prstTxWarp>
          </a:bodyPr>
          <a:lstStyle/>
          <a:p>
            <a:pPr defTabSz="955884" fontAlgn="auto">
              <a:spcBef>
                <a:spcPts val="0"/>
              </a:spcBef>
              <a:spcAft>
                <a:spcPts val="0"/>
              </a:spcAft>
            </a:pPr>
            <a:endParaRPr lang="fr-FR" sz="1900" dirty="0">
              <a:solidFill>
                <a:srgbClr val="263147"/>
              </a:solidFill>
              <a:latin typeface="Arial"/>
              <a:cs typeface="+mn-cs"/>
            </a:endParaRPr>
          </a:p>
        </p:txBody>
      </p:sp>
      <p:sp>
        <p:nvSpPr>
          <p:cNvPr id="6" name="Espace réservé du contenu 5"/>
          <p:cNvSpPr>
            <a:spLocks noGrp="1"/>
          </p:cNvSpPr>
          <p:nvPr>
            <p:ph sz="quarter" idx="10" hasCustomPrompt="1"/>
            <p:custDataLst>
              <p:tags r:id="rId5"/>
            </p:custDataLst>
          </p:nvPr>
        </p:nvSpPr>
        <p:spPr>
          <a:xfrm>
            <a:off x="298604" y="1126486"/>
            <a:ext cx="6283986" cy="2212688"/>
          </a:xfrm>
        </p:spPr>
        <p:txBody>
          <a:bodyPr/>
          <a:lstStyle/>
          <a:p>
            <a:pPr lvl="0"/>
            <a:r>
              <a:rPr lang="en-US" noProof="0" dirty="0"/>
              <a:t>Click to edit Master text style</a:t>
            </a:r>
          </a:p>
        </p:txBody>
      </p:sp>
    </p:spTree>
    <p:extLst>
      <p:ext uri="{BB962C8B-B14F-4D97-AF65-F5344CB8AC3E}">
        <p14:creationId xmlns:p14="http://schemas.microsoft.com/office/powerpoint/2010/main" val="248868974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7" y="43"/>
          <a:ext cx="135749" cy="107989"/>
        </p:xfrm>
        <a:graphic>
          <a:graphicData uri="http://schemas.openxmlformats.org/presentationml/2006/ole">
            <mc:AlternateContent xmlns:mc="http://schemas.openxmlformats.org/markup-compatibility/2006">
              <mc:Choice xmlns:v="urn:schemas-microsoft-com:vml" Requires="v">
                <p:oleObj spid="_x0000_s1969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 y="4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121079"/>
            <a:ext cx="884548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4779184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7" y="43"/>
          <a:ext cx="135749" cy="107989"/>
        </p:xfrm>
        <a:graphic>
          <a:graphicData uri="http://schemas.openxmlformats.org/presentationml/2006/ole">
            <mc:AlternateContent xmlns:mc="http://schemas.openxmlformats.org/markup-compatibility/2006">
              <mc:Choice xmlns:v="urn:schemas-microsoft-com:vml" Requires="v">
                <p:oleObj spid="_x0000_s2071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 y="4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583967"/>
            <a:ext cx="8845484" cy="301992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6" y="1121588"/>
            <a:ext cx="8860286" cy="482709"/>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2308307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2174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2" y="1150079"/>
            <a:ext cx="4155820" cy="3536628"/>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7" y="1150080"/>
            <a:ext cx="4155820" cy="3544188"/>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3392818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2276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2" y="1655267"/>
            <a:ext cx="4155820" cy="3031493"/>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7" y="1656344"/>
            <a:ext cx="4155820" cy="3037973"/>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2" y="1156987"/>
            <a:ext cx="4155820" cy="489776"/>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150081"/>
            <a:ext cx="4155820" cy="489776"/>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18591808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19261" y="1077688"/>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19261" y="1426962"/>
            <a:ext cx="4288536" cy="1396402"/>
          </a:xfrm>
          <a:ln>
            <a:solidFill>
              <a:schemeClr val="tx1"/>
            </a:solidFill>
          </a:ln>
        </p:spPr>
        <p:style>
          <a:lnRef idx="2">
            <a:schemeClr val="accent1"/>
          </a:lnRef>
          <a:fillRef idx="1">
            <a:schemeClr val="lt1"/>
          </a:fillRef>
          <a:effectRef idx="0">
            <a:schemeClr val="accent1"/>
          </a:effectRef>
          <a:fontRef idx="none"/>
        </p:style>
        <p:txBody>
          <a:bodyPr lIns="91284"/>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662790" y="1077688"/>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284" tIns="45642" rIns="91284" bIns="45642"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662790" y="1426962"/>
            <a:ext cx="4288536" cy="1396402"/>
          </a:xfrm>
          <a:ln>
            <a:solidFill>
              <a:schemeClr val="tx1"/>
            </a:solidFill>
          </a:ln>
        </p:spPr>
        <p:style>
          <a:lnRef idx="2">
            <a:schemeClr val="accent1"/>
          </a:lnRef>
          <a:fillRef idx="1">
            <a:schemeClr val="lt1"/>
          </a:fillRef>
          <a:effectRef idx="0">
            <a:schemeClr val="accent1"/>
          </a:effectRef>
          <a:fontRef idx="none"/>
        </p:style>
        <p:txBody>
          <a:bodyPr lIns="91284"/>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19261" y="2865667"/>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19261" y="3214938"/>
            <a:ext cx="4288536" cy="1508760"/>
          </a:xfrm>
          <a:ln>
            <a:solidFill>
              <a:schemeClr val="tx1"/>
            </a:solidFill>
          </a:ln>
        </p:spPr>
        <p:style>
          <a:lnRef idx="2">
            <a:schemeClr val="accent1"/>
          </a:lnRef>
          <a:fillRef idx="1">
            <a:schemeClr val="lt1"/>
          </a:fillRef>
          <a:effectRef idx="0">
            <a:schemeClr val="accent1"/>
          </a:effectRef>
          <a:fontRef idx="none"/>
        </p:style>
        <p:txBody>
          <a:bodyPr lIns="91284"/>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662790" y="2865667"/>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284" tIns="45642" rIns="91284" bIns="45642"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662790" y="3214938"/>
            <a:ext cx="4288536" cy="1508760"/>
          </a:xfrm>
          <a:ln>
            <a:solidFill>
              <a:schemeClr val="tx1"/>
            </a:solidFill>
          </a:ln>
        </p:spPr>
        <p:style>
          <a:lnRef idx="2">
            <a:schemeClr val="accent1"/>
          </a:lnRef>
          <a:fillRef idx="1">
            <a:schemeClr val="lt1"/>
          </a:fillRef>
          <a:effectRef idx="0">
            <a:schemeClr val="accent1"/>
          </a:effectRef>
          <a:fontRef idx="none"/>
        </p:style>
        <p:txBody>
          <a:bodyPr lIns="91284"/>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875629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2263" y="367907"/>
            <a:ext cx="2057400" cy="418980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98477" y="367907"/>
            <a:ext cx="6021388" cy="418980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2378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84335544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47" y="43"/>
          <a:ext cx="135749" cy="107989"/>
        </p:xfrm>
        <a:graphic>
          <a:graphicData uri="http://schemas.openxmlformats.org/presentationml/2006/ole">
            <mc:AlternateContent xmlns:mc="http://schemas.openxmlformats.org/markup-compatibility/2006">
              <mc:Choice xmlns:v="urn:schemas-microsoft-com:vml" Requires="v">
                <p:oleObj spid="_x0000_s2481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 y="4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9866048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7" y="43"/>
          <a:ext cx="135749" cy="107989"/>
        </p:xfrm>
        <a:graphic>
          <a:graphicData uri="http://schemas.openxmlformats.org/presentationml/2006/ole">
            <mc:AlternateContent xmlns:mc="http://schemas.openxmlformats.org/markup-compatibility/2006">
              <mc:Choice xmlns:v="urn:schemas-microsoft-com:vml" Requires="v">
                <p:oleObj spid="_x0000_s27884"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 y="4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337166" y="2443909"/>
            <a:ext cx="3416820" cy="158889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5884" fontAlgn="auto">
                  <a:spcBef>
                    <a:spcPts val="0"/>
                  </a:spcBef>
                  <a:spcAft>
                    <a:spcPts val="0"/>
                  </a:spcAft>
                </a:pPr>
                <a:endParaRPr lang="en-US" sz="1900">
                  <a:solidFill>
                    <a:srgbClr val="263147"/>
                  </a:solidFill>
                  <a:latin typeface="Calibri"/>
                  <a:cs typeface="+mn-cs"/>
                </a:endParaRPr>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5884" fontAlgn="auto">
                  <a:spcBef>
                    <a:spcPts val="0"/>
                  </a:spcBef>
                  <a:spcAft>
                    <a:spcPts val="0"/>
                  </a:spcAft>
                </a:pPr>
                <a:endParaRPr lang="en-US" sz="1300" dirty="0">
                  <a:solidFill>
                    <a:prstClr val="white"/>
                  </a:solidFill>
                </a:endParaRPr>
              </a:p>
            </p:txBody>
          </p:sp>
        </p:grpSp>
      </p:grpSp>
      <p:sp>
        <p:nvSpPr>
          <p:cNvPr id="335" name="Rectangle 9"/>
          <p:cNvSpPr>
            <a:spLocks noChangeArrowheads="1"/>
          </p:cNvSpPr>
          <p:nvPr userDrawn="1">
            <p:custDataLst>
              <p:tags r:id="rId4"/>
            </p:custDataLst>
          </p:nvPr>
        </p:nvSpPr>
        <p:spPr bwMode="gray">
          <a:xfrm>
            <a:off x="1031966" y="2712868"/>
            <a:ext cx="3932160" cy="178250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59298" tIns="50873" rIns="215537" bIns="143765" rtlCol="0" anchor="b"/>
          <a:lstStyle/>
          <a:p>
            <a:pPr algn="just" defTabSz="1040938" fontAlgn="auto">
              <a:spcBef>
                <a:spcPts val="0"/>
              </a:spcBef>
              <a:spcAft>
                <a:spcPts val="0"/>
              </a:spcAft>
              <a:defRPr/>
            </a:pPr>
            <a:r>
              <a:rPr lang="en-US" sz="1800" b="1" dirty="0">
                <a:solidFill>
                  <a:prstClr val="white"/>
                </a:solidFill>
                <a:latin typeface="Arial"/>
                <a:cs typeface="Arial"/>
              </a:rPr>
              <a:t>About Capgemini</a:t>
            </a:r>
            <a:endParaRPr lang="en-US" sz="1000" dirty="0">
              <a:solidFill>
                <a:prstClr val="white"/>
              </a:solidFill>
              <a:latin typeface="Arial" pitchFamily="34" charset="0"/>
              <a:cs typeface="Arial" pitchFamily="34" charset="0"/>
            </a:endParaRPr>
          </a:p>
          <a:p>
            <a:pPr algn="just" defTabSz="955884" fontAlgn="auto">
              <a:spcBef>
                <a:spcPts val="0"/>
              </a:spcBef>
              <a:spcAft>
                <a:spcPts val="0"/>
              </a:spcAft>
            </a:pPr>
            <a:endParaRPr lang="en-US" sz="1000" dirty="0">
              <a:solidFill>
                <a:prstClr val="white"/>
              </a:solidFill>
              <a:latin typeface="Arial" pitchFamily="34" charset="0"/>
              <a:cs typeface="Arial" pitchFamily="34" charset="0"/>
            </a:endParaRPr>
          </a:p>
          <a:p>
            <a:pPr algn="just" defTabSz="955884" fontAlgn="auto">
              <a:spcBef>
                <a:spcPts val="0"/>
              </a:spcBef>
              <a:spcAft>
                <a:spcPts val="0"/>
              </a:spcAft>
            </a:pPr>
            <a:r>
              <a:rPr lang="en-US" sz="1000" dirty="0">
                <a:solidFill>
                  <a:prstClr val="white"/>
                </a:solidFill>
                <a:latin typeface="Arial" pitchFamily="34" charset="0"/>
                <a:cs typeface="Arial" pitchFamily="34" charset="0"/>
              </a:rPr>
              <a:t>With more than 120,000 people in 40 countries, Capgemini is one of the world's foremost providers of consulting, technology and outsourcing services. The Group reported 2011 global revenues of EUR 9.7 billion.</a:t>
            </a:r>
          </a:p>
          <a:p>
            <a:pPr algn="just" defTabSz="955884" fontAlgn="auto">
              <a:spcBef>
                <a:spcPts val="0"/>
              </a:spcBef>
              <a:spcAft>
                <a:spcPts val="0"/>
              </a:spcAft>
            </a:pPr>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prstClr val="white"/>
                </a:solidFill>
                <a:latin typeface="Arial" pitchFamily="34" charset="0"/>
                <a:cs typeface="Arial" pitchFamily="34" charset="0"/>
              </a:rPr>
              <a:t>Experience</a:t>
            </a:r>
            <a:r>
              <a:rPr lang="en-US" sz="1000" baseline="30000" dirty="0" err="1">
                <a:solidFill>
                  <a:prstClr val="white"/>
                </a:solidFill>
                <a:latin typeface="Arial" pitchFamily="34" charset="0"/>
                <a:cs typeface="Arial" pitchFamily="34" charset="0"/>
              </a:rPr>
              <a:t>TM</a:t>
            </a:r>
            <a:r>
              <a:rPr lang="en-US" sz="1000" dirty="0">
                <a:solidFill>
                  <a:prstClr val="white"/>
                </a:solidFill>
                <a:latin typeface="Arial" pitchFamily="34" charset="0"/>
                <a:cs typeface="Arial" pitchFamily="34" charset="0"/>
              </a:rPr>
              <a:t>, and draws on </a:t>
            </a:r>
            <a:r>
              <a:rPr lang="en-US" sz="1000" dirty="0" err="1">
                <a:solidFill>
                  <a:prstClr val="white"/>
                </a:solidFill>
                <a:latin typeface="Arial" pitchFamily="34" charset="0"/>
                <a:cs typeface="Arial" pitchFamily="34" charset="0"/>
              </a:rPr>
              <a:t>Rightshore</a:t>
            </a:r>
            <a:r>
              <a:rPr lang="en-US" sz="1000" b="1" baseline="30000" dirty="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 its worldwide delivery model.</a:t>
            </a:r>
          </a:p>
          <a:p>
            <a:pPr algn="just" defTabSz="955884" fontAlgn="auto">
              <a:spcBef>
                <a:spcPts val="0"/>
              </a:spcBef>
              <a:spcAft>
                <a:spcPts val="0"/>
              </a:spcAft>
            </a:pPr>
            <a:endParaRPr lang="en-US" sz="1100" dirty="0">
              <a:solidFill>
                <a:prstClr val="white"/>
              </a:solidFill>
              <a:latin typeface="Arial" pitchFamily="34" charset="0"/>
              <a:cs typeface="Arial" pitchFamily="34" charset="0"/>
            </a:endParaRPr>
          </a:p>
          <a:p>
            <a:pPr algn="just" defTabSz="955884" fontAlgn="auto">
              <a:spcBef>
                <a:spcPts val="0"/>
              </a:spcBef>
              <a:spcAft>
                <a:spcPts val="0"/>
              </a:spcAft>
            </a:pPr>
            <a:r>
              <a:rPr lang="en-US" sz="900" i="1" dirty="0" err="1">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01058" y="2601224"/>
            <a:ext cx="479605" cy="391881"/>
          </a:xfrm>
          <a:prstGeom prst="rect">
            <a:avLst/>
          </a:prstGeom>
        </p:spPr>
      </p:pic>
    </p:spTree>
    <p:extLst>
      <p:ext uri="{BB962C8B-B14F-4D97-AF65-F5344CB8AC3E}">
        <p14:creationId xmlns:p14="http://schemas.microsoft.com/office/powerpoint/2010/main" val="30059735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7" y="43"/>
          <a:ext cx="135749" cy="107989"/>
        </p:xfrm>
        <a:graphic>
          <a:graphicData uri="http://schemas.openxmlformats.org/presentationml/2006/ole">
            <mc:AlternateContent xmlns:mc="http://schemas.openxmlformats.org/markup-compatibility/2006">
              <mc:Choice xmlns:v="urn:schemas-microsoft-com:vml" Requires="v">
                <p:oleObj spid="_x0000_s2890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 y="4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205196"/>
            <a:ext cx="3932160" cy="178250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59298" tIns="50873" rIns="215537" bIns="143765" rtlCol="0" anchor="b"/>
          <a:lstStyle/>
          <a:p>
            <a:pPr algn="just" defTabSz="1040938" fontAlgn="auto">
              <a:spcBef>
                <a:spcPts val="0"/>
              </a:spcBef>
              <a:spcAft>
                <a:spcPts val="0"/>
              </a:spcAft>
              <a:defRPr/>
            </a:pPr>
            <a:r>
              <a:rPr lang="en-US" sz="1800" b="1" dirty="0">
                <a:solidFill>
                  <a:prstClr val="white"/>
                </a:solidFill>
                <a:latin typeface="Arial"/>
                <a:cs typeface="Arial"/>
              </a:rPr>
              <a:t>About Capgemini</a:t>
            </a:r>
            <a:endParaRPr lang="en-US" sz="1000" dirty="0">
              <a:solidFill>
                <a:prstClr val="white"/>
              </a:solidFill>
              <a:latin typeface="Arial" pitchFamily="34" charset="0"/>
              <a:cs typeface="Arial" pitchFamily="34" charset="0"/>
            </a:endParaRPr>
          </a:p>
          <a:p>
            <a:pPr algn="just" defTabSz="955884" fontAlgn="auto">
              <a:spcBef>
                <a:spcPts val="0"/>
              </a:spcBef>
              <a:spcAft>
                <a:spcPts val="0"/>
              </a:spcAft>
            </a:pPr>
            <a:endParaRPr lang="en-US" sz="1000" dirty="0">
              <a:solidFill>
                <a:prstClr val="white"/>
              </a:solidFill>
              <a:latin typeface="Arial" pitchFamily="34" charset="0"/>
              <a:cs typeface="Arial" pitchFamily="34" charset="0"/>
            </a:endParaRPr>
          </a:p>
          <a:p>
            <a:pPr algn="just" defTabSz="955884" fontAlgn="auto">
              <a:spcBef>
                <a:spcPts val="0"/>
              </a:spcBef>
              <a:spcAft>
                <a:spcPts val="0"/>
              </a:spcAft>
            </a:pPr>
            <a:r>
              <a:rPr lang="en-US" sz="1000" dirty="0">
                <a:solidFill>
                  <a:prstClr val="white"/>
                </a:solidFill>
                <a:latin typeface="Arial" pitchFamily="34" charset="0"/>
                <a:cs typeface="Arial" pitchFamily="34" charset="0"/>
              </a:rPr>
              <a:t>With more than 120,000 people in 40 countries, Capgemini is one of the world's foremost providers of consulting, technology and outsourcing services. The Group reported 2011 global revenues of EUR 9.7 billion.</a:t>
            </a:r>
          </a:p>
          <a:p>
            <a:pPr algn="just" defTabSz="955884" fontAlgn="auto">
              <a:spcBef>
                <a:spcPts val="0"/>
              </a:spcBef>
              <a:spcAft>
                <a:spcPts val="0"/>
              </a:spcAft>
            </a:pPr>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prstClr val="white"/>
                </a:solidFill>
                <a:latin typeface="Arial" pitchFamily="34" charset="0"/>
                <a:cs typeface="Arial" pitchFamily="34" charset="0"/>
              </a:rPr>
              <a:t>Experience</a:t>
            </a:r>
            <a:r>
              <a:rPr lang="en-US" sz="1000" baseline="30000" dirty="0" err="1">
                <a:solidFill>
                  <a:prstClr val="white"/>
                </a:solidFill>
                <a:latin typeface="Arial" pitchFamily="34" charset="0"/>
                <a:cs typeface="Arial" pitchFamily="34" charset="0"/>
              </a:rPr>
              <a:t>TM</a:t>
            </a:r>
            <a:r>
              <a:rPr lang="en-US" sz="1000" dirty="0">
                <a:solidFill>
                  <a:prstClr val="white"/>
                </a:solidFill>
                <a:latin typeface="Arial" pitchFamily="34" charset="0"/>
                <a:cs typeface="Arial" pitchFamily="34" charset="0"/>
              </a:rPr>
              <a:t>, and draws on </a:t>
            </a:r>
            <a:r>
              <a:rPr lang="en-US" sz="1000" dirty="0" err="1">
                <a:solidFill>
                  <a:prstClr val="white"/>
                </a:solidFill>
                <a:latin typeface="Arial" pitchFamily="34" charset="0"/>
                <a:cs typeface="Arial" pitchFamily="34" charset="0"/>
              </a:rPr>
              <a:t>Rightshore</a:t>
            </a:r>
            <a:r>
              <a:rPr lang="en-US" sz="1000" b="1" baseline="30000" dirty="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 its worldwide delivery model.</a:t>
            </a:r>
          </a:p>
          <a:p>
            <a:pPr algn="just" defTabSz="955884" fontAlgn="auto">
              <a:spcBef>
                <a:spcPts val="0"/>
              </a:spcBef>
              <a:spcAft>
                <a:spcPts val="0"/>
              </a:spcAft>
            </a:pPr>
            <a:endParaRPr lang="en-US" sz="1100" dirty="0">
              <a:solidFill>
                <a:prstClr val="white"/>
              </a:solidFill>
              <a:latin typeface="Arial" pitchFamily="34" charset="0"/>
              <a:cs typeface="Arial" pitchFamily="34" charset="0"/>
            </a:endParaRPr>
          </a:p>
          <a:p>
            <a:pPr algn="just" defTabSz="955884" fontAlgn="auto">
              <a:spcBef>
                <a:spcPts val="0"/>
              </a:spcBef>
              <a:spcAft>
                <a:spcPts val="0"/>
              </a:spcAft>
            </a:pPr>
            <a:r>
              <a:rPr lang="en-US" sz="900" i="1" dirty="0" err="1">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4648613" y="2093552"/>
            <a:ext cx="479605" cy="391881"/>
          </a:xfrm>
          <a:prstGeom prst="rect">
            <a:avLst/>
          </a:prstGeom>
        </p:spPr>
      </p:pic>
    </p:spTree>
    <p:extLst>
      <p:ext uri="{BB962C8B-B14F-4D97-AF65-F5344CB8AC3E}">
        <p14:creationId xmlns:p14="http://schemas.microsoft.com/office/powerpoint/2010/main" val="317003235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2993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129916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336397502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56296805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19427265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95289920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6816144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Freeform 2"/>
          <p:cNvSpPr>
            <a:spLocks/>
          </p:cNvSpPr>
          <p:nvPr/>
        </p:nvSpPr>
        <p:spPr bwMode="auto">
          <a:xfrm>
            <a:off x="0" y="0"/>
            <a:ext cx="9144000" cy="5143500"/>
          </a:xfrm>
          <a:custGeom>
            <a:avLst/>
            <a:gdLst>
              <a:gd name="T0" fmla="*/ 0 w 3404"/>
              <a:gd name="T1" fmla="*/ 0 h 2552"/>
              <a:gd name="T2" fmla="*/ 9144000 w 3404"/>
              <a:gd name="T3" fmla="*/ 0 h 2552"/>
              <a:gd name="T4" fmla="*/ 9144000 w 3404"/>
              <a:gd name="T5" fmla="*/ 6858000 h 2552"/>
              <a:gd name="T6" fmla="*/ 0 w 3404"/>
              <a:gd name="T7" fmla="*/ 6858000 h 2552"/>
              <a:gd name="T8" fmla="*/ 0 w 3404"/>
              <a:gd name="T9" fmla="*/ 139740 h 2552"/>
              <a:gd name="T10" fmla="*/ 147744 w 3404"/>
              <a:gd name="T11" fmla="*/ 139740 h 2552"/>
              <a:gd name="T12" fmla="*/ 147744 w 3404"/>
              <a:gd name="T13" fmla="*/ 6282917 h 2552"/>
              <a:gd name="T14" fmla="*/ 7268996 w 3404"/>
              <a:gd name="T15" fmla="*/ 6282917 h 2552"/>
              <a:gd name="T16" fmla="*/ 7268996 w 3404"/>
              <a:gd name="T17" fmla="*/ 5995375 h 2552"/>
              <a:gd name="T18" fmla="*/ 8996256 w 3404"/>
              <a:gd name="T19" fmla="*/ 5995375 h 2552"/>
              <a:gd name="T20" fmla="*/ 8996256 w 3404"/>
              <a:gd name="T21" fmla="*/ 1136730 h 2552"/>
              <a:gd name="T22" fmla="*/ 147744 w 3404"/>
              <a:gd name="T23" fmla="*/ 1136730 h 2552"/>
              <a:gd name="T24" fmla="*/ 147744 w 3404"/>
              <a:gd name="T25" fmla="*/ 139740 h 2552"/>
              <a:gd name="T26" fmla="*/ 0 w 3404"/>
              <a:gd name="T27" fmla="*/ 139740 h 2552"/>
              <a:gd name="T28" fmla="*/ 0 w 3404"/>
              <a:gd name="T29" fmla="*/ 0 h 25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04" h="2552">
                <a:moveTo>
                  <a:pt x="0" y="0"/>
                </a:moveTo>
                <a:lnTo>
                  <a:pt x="3404" y="0"/>
                </a:lnTo>
                <a:lnTo>
                  <a:pt x="3404" y="2552"/>
                </a:lnTo>
                <a:lnTo>
                  <a:pt x="0" y="2552"/>
                </a:lnTo>
                <a:lnTo>
                  <a:pt x="0" y="52"/>
                </a:lnTo>
                <a:lnTo>
                  <a:pt x="55" y="52"/>
                </a:lnTo>
                <a:lnTo>
                  <a:pt x="55" y="2338"/>
                </a:lnTo>
                <a:lnTo>
                  <a:pt x="2706" y="2338"/>
                </a:lnTo>
                <a:lnTo>
                  <a:pt x="2706" y="2231"/>
                </a:lnTo>
                <a:lnTo>
                  <a:pt x="3349" y="2231"/>
                </a:lnTo>
                <a:lnTo>
                  <a:pt x="3349" y="423"/>
                </a:lnTo>
                <a:lnTo>
                  <a:pt x="55" y="423"/>
                </a:lnTo>
                <a:lnTo>
                  <a:pt x="55" y="52"/>
                </a:lnTo>
                <a:lnTo>
                  <a:pt x="0" y="52"/>
                </a:lnTo>
                <a:lnTo>
                  <a:pt x="0" y="0"/>
                </a:lnTo>
                <a:close/>
              </a:path>
            </a:pathLst>
          </a:custGeom>
          <a:solidFill>
            <a:srgbClr val="FFFFFF"/>
          </a:solidFill>
          <a:ln w="9525">
            <a:noFill/>
            <a:round/>
            <a:headEnd/>
            <a:tailEnd/>
          </a:ln>
        </p:spPr>
        <p:txBody>
          <a:bodyPr lIns="91284" tIns="45642" rIns="91284" bIns="45642"/>
          <a:lstStyle/>
          <a:p>
            <a:pPr>
              <a:defRPr/>
            </a:pPr>
            <a:endParaRPr lang="en-GB"/>
          </a:p>
        </p:txBody>
      </p:sp>
      <p:pic>
        <p:nvPicPr>
          <p:cNvPr id="5" name="Picture 3" descr="Maersk_Oil_Logo_RGB"/>
          <p:cNvPicPr>
            <a:picLocks noChangeAspect="1" noChangeArrowheads="1"/>
          </p:cNvPicPr>
          <p:nvPr/>
        </p:nvPicPr>
        <p:blipFill>
          <a:blip r:embed="rId2"/>
          <a:srcRect/>
          <a:stretch>
            <a:fillRect/>
          </a:stretch>
        </p:blipFill>
        <p:spPr bwMode="auto">
          <a:xfrm>
            <a:off x="7272422" y="4505403"/>
            <a:ext cx="1870075" cy="633413"/>
          </a:xfrm>
          <a:prstGeom prst="rect">
            <a:avLst/>
          </a:prstGeom>
          <a:noFill/>
          <a:ln w="9525">
            <a:noFill/>
            <a:miter lim="800000"/>
            <a:headEnd/>
            <a:tailEnd/>
          </a:ln>
        </p:spPr>
      </p:pic>
      <p:sp>
        <p:nvSpPr>
          <p:cNvPr id="6" name="Rectangle 6"/>
          <p:cNvSpPr>
            <a:spLocks noChangeArrowheads="1"/>
          </p:cNvSpPr>
          <p:nvPr/>
        </p:nvSpPr>
        <p:spPr bwMode="auto">
          <a:xfrm>
            <a:off x="144508" y="107201"/>
            <a:ext cx="8853487" cy="110729"/>
          </a:xfrm>
          <a:prstGeom prst="rect">
            <a:avLst/>
          </a:prstGeom>
          <a:solidFill>
            <a:srgbClr val="69B8D6"/>
          </a:solidFill>
          <a:ln w="127">
            <a:noFill/>
            <a:miter lim="800000"/>
            <a:headEnd/>
            <a:tailEnd/>
          </a:ln>
          <a:effectLst/>
        </p:spPr>
        <p:txBody>
          <a:bodyPr wrap="none" lIns="91284" tIns="45642" rIns="91284" bIns="45642" anchor="ctr"/>
          <a:lstStyle/>
          <a:p>
            <a:pPr>
              <a:defRPr/>
            </a:pPr>
            <a:endParaRPr lang="en-GB"/>
          </a:p>
        </p:txBody>
      </p:sp>
      <p:sp>
        <p:nvSpPr>
          <p:cNvPr id="259076" name="Rectangle 4"/>
          <p:cNvSpPr>
            <a:spLocks noGrp="1" noChangeArrowheads="1"/>
          </p:cNvSpPr>
          <p:nvPr>
            <p:ph type="ctrTitle"/>
          </p:nvPr>
        </p:nvSpPr>
        <p:spPr>
          <a:xfrm>
            <a:off x="147683" y="850159"/>
            <a:ext cx="8847137" cy="1559719"/>
          </a:xfrm>
          <a:solidFill>
            <a:schemeClr val="bg2">
              <a:alpha val="75000"/>
            </a:schemeClr>
          </a:solidFill>
        </p:spPr>
        <p:txBody>
          <a:bodyPr lIns="431180" tIns="143765" rIns="431180" bIns="143765"/>
          <a:lstStyle>
            <a:lvl1pPr>
              <a:lnSpc>
                <a:spcPct val="92000"/>
              </a:lnSpc>
              <a:defRPr sz="4000">
                <a:solidFill>
                  <a:schemeClr val="bg1"/>
                </a:solidFill>
              </a:defRPr>
            </a:lvl1pPr>
          </a:lstStyle>
          <a:p>
            <a:pPr lvl="0"/>
            <a:r>
              <a:rPr lang="en-GB" noProof="0"/>
              <a:t>Text</a:t>
            </a:r>
          </a:p>
        </p:txBody>
      </p:sp>
      <p:sp>
        <p:nvSpPr>
          <p:cNvPr id="259077" name="Rectangle 5"/>
          <p:cNvSpPr>
            <a:spLocks noGrp="1" noChangeArrowheads="1"/>
          </p:cNvSpPr>
          <p:nvPr>
            <p:ph type="subTitle" idx="1"/>
          </p:nvPr>
        </p:nvSpPr>
        <p:spPr>
          <a:xfrm>
            <a:off x="149230" y="217885"/>
            <a:ext cx="8845550" cy="636984"/>
          </a:xfrm>
          <a:solidFill>
            <a:schemeClr val="bg1"/>
          </a:solidFill>
        </p:spPr>
        <p:txBody>
          <a:bodyPr lIns="431180" tIns="143765" rIns="431180" bIns="143765"/>
          <a:lstStyle>
            <a:lvl1pPr marL="0" indent="0">
              <a:spcBef>
                <a:spcPct val="0"/>
              </a:spcBef>
              <a:buFontTx/>
              <a:buNone/>
              <a:defRPr sz="1200"/>
            </a:lvl1pPr>
          </a:lstStyle>
          <a:p>
            <a:pPr lvl="0"/>
            <a:r>
              <a:rPr lang="en-GB" noProof="0"/>
              <a:t>Text</a:t>
            </a:r>
          </a:p>
        </p:txBody>
      </p:sp>
      <p:sp>
        <p:nvSpPr>
          <p:cNvPr id="7" name="Rectangle 7"/>
          <p:cNvSpPr>
            <a:spLocks noGrp="1" noChangeArrowheads="1"/>
          </p:cNvSpPr>
          <p:nvPr>
            <p:ph type="dt" sz="quarter" idx="10"/>
          </p:nvPr>
        </p:nvSpPr>
        <p:spPr>
          <a:xfrm>
            <a:off x="4419600" y="4911336"/>
            <a:ext cx="2097088" cy="129778"/>
          </a:xfrm>
        </p:spPr>
        <p:txBody>
          <a:bodyPr/>
          <a:lstStyle>
            <a:lvl1pPr>
              <a:lnSpc>
                <a:spcPct val="100000"/>
              </a:lnSpc>
              <a:defRPr/>
            </a:lvl1pPr>
          </a:lstStyle>
          <a:p>
            <a:pPr>
              <a:defRPr/>
            </a:pPr>
            <a:fld id="{9A613D70-21C2-437F-81D4-031ADD4FC26D}" type="datetime1">
              <a:rPr lang="en-GB"/>
              <a:pPr>
                <a:defRPr/>
              </a:pPr>
              <a:t>15/05/2017</a:t>
            </a:fld>
            <a:endParaRPr lang="en-GB"/>
          </a:p>
        </p:txBody>
      </p:sp>
      <p:sp>
        <p:nvSpPr>
          <p:cNvPr id="8" name="Rectangle 8"/>
          <p:cNvSpPr>
            <a:spLocks noGrp="1" noChangeArrowheads="1"/>
          </p:cNvSpPr>
          <p:nvPr>
            <p:ph type="ftr" sz="quarter" idx="11"/>
          </p:nvPr>
        </p:nvSpPr>
        <p:spPr>
          <a:xfrm>
            <a:off x="1501834" y="4911336"/>
            <a:ext cx="2716213" cy="129778"/>
          </a:xfrm>
        </p:spPr>
        <p:txBody>
          <a:bodyPr/>
          <a:lstStyle>
            <a:lvl1pPr>
              <a:lnSpc>
                <a:spcPct val="100000"/>
              </a:lnSpc>
              <a:defRPr/>
            </a:lvl1pPr>
          </a:lstStyle>
          <a:p>
            <a:pPr>
              <a:defRPr/>
            </a:pPr>
            <a:endParaRPr lang="en-GB"/>
          </a:p>
        </p:txBody>
      </p:sp>
      <p:sp>
        <p:nvSpPr>
          <p:cNvPr id="9" name="Rectangle 9"/>
          <p:cNvSpPr>
            <a:spLocks noGrp="1" noChangeArrowheads="1"/>
          </p:cNvSpPr>
          <p:nvPr>
            <p:ph type="sldNum" sz="quarter" idx="12"/>
          </p:nvPr>
        </p:nvSpPr>
        <p:spPr>
          <a:xfrm>
            <a:off x="574675" y="4911336"/>
            <a:ext cx="685800" cy="129778"/>
          </a:xfrm>
        </p:spPr>
        <p:txBody>
          <a:bodyPr/>
          <a:lstStyle>
            <a:lvl1pPr>
              <a:lnSpc>
                <a:spcPct val="100000"/>
              </a:lnSpc>
              <a:defRPr/>
            </a:lvl1pPr>
          </a:lstStyle>
          <a:p>
            <a:pPr>
              <a:defRPr/>
            </a:pPr>
            <a:r>
              <a:rPr lang="en-GB"/>
              <a:t>#</a:t>
            </a:r>
            <a:fld id="{74C98DCA-26C7-4F6A-BE04-62F6956FB410}" type="slidenum">
              <a:rPr lang="en-GB"/>
              <a:pPr>
                <a:defRPr/>
              </a:pPr>
              <a:t>‹#›</a:t>
            </a:fld>
            <a:endParaRPr lang="en-GB"/>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156287370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564416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395757157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271907534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98950879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402018054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254896478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43163318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24732901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5540457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5"/>
          <p:cNvSpPr>
            <a:spLocks noGrp="1" noChangeArrowheads="1"/>
          </p:cNvSpPr>
          <p:nvPr>
            <p:ph type="dt" sz="half" idx="10"/>
          </p:nvPr>
        </p:nvSpPr>
        <p:spPr>
          <a:ln/>
        </p:spPr>
        <p:txBody>
          <a:bodyPr/>
          <a:lstStyle>
            <a:lvl1pPr>
              <a:defRPr/>
            </a:lvl1pPr>
          </a:lstStyle>
          <a:p>
            <a:pPr>
              <a:defRPr/>
            </a:pPr>
            <a:fld id="{06745BD8-CCDE-4927-80A3-166638CC9560}" type="datetime1">
              <a:rPr lang="en-GB"/>
              <a:pPr>
                <a:defRPr/>
              </a:pPr>
              <a:t>15/05/2017</a:t>
            </a:fld>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r>
              <a:rPr lang="en-GB"/>
              <a:t>#</a:t>
            </a:r>
            <a:fld id="{DFE633E5-186D-498D-8650-A4C0F76F89A3}" type="slidenum">
              <a:rPr lang="en-GB"/>
              <a:pPr>
                <a:defRPr/>
              </a:pPr>
              <a:t>‹#›</a:t>
            </a:fld>
            <a:endParaRPr lang="en-GB"/>
          </a:p>
        </p:txBody>
      </p:sp>
      <p:sp>
        <p:nvSpPr>
          <p:cNvPr id="6" name="Rectangle 7"/>
          <p:cNvSpPr>
            <a:spLocks noGrp="1" noChangeArrowheads="1"/>
          </p:cNvSpPr>
          <p:nvPr>
            <p:ph type="ftr" sz="quarter" idx="12"/>
          </p:nvPr>
        </p:nvSpPr>
        <p:spPr>
          <a:ln/>
        </p:spPr>
        <p:txBody>
          <a:bodyPr/>
          <a:lstStyle>
            <a:lvl1pPr>
              <a:defRPr/>
            </a:lvl1pPr>
          </a:lstStyle>
          <a:p>
            <a:pPr>
              <a:defRPr/>
            </a:pPr>
            <a:endParaRPr lang="en-GB"/>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42409111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137803332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393744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206626088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357666183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9265172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51172665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186703946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41399357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2749946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5"/>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n-US"/>
              <a:t>Click to edit Master text styles</a:t>
            </a:r>
          </a:p>
        </p:txBody>
      </p:sp>
      <p:sp>
        <p:nvSpPr>
          <p:cNvPr id="4" name="Rectangle 5"/>
          <p:cNvSpPr>
            <a:spLocks noGrp="1" noChangeArrowheads="1"/>
          </p:cNvSpPr>
          <p:nvPr>
            <p:ph type="dt" sz="half" idx="10"/>
          </p:nvPr>
        </p:nvSpPr>
        <p:spPr>
          <a:ln/>
        </p:spPr>
        <p:txBody>
          <a:bodyPr/>
          <a:lstStyle>
            <a:lvl1pPr>
              <a:defRPr/>
            </a:lvl1pPr>
          </a:lstStyle>
          <a:p>
            <a:pPr>
              <a:defRPr/>
            </a:pPr>
            <a:fld id="{1EB15F34-387F-4C38-954B-3E427016661C}" type="datetime1">
              <a:rPr lang="en-GB"/>
              <a:pPr>
                <a:defRPr/>
              </a:pPr>
              <a:t>15/05/2017</a:t>
            </a:fld>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r>
              <a:rPr lang="en-GB"/>
              <a:t>#</a:t>
            </a:r>
            <a:fld id="{DED286B1-4068-460C-AA7E-F59A95AD97EB}" type="slidenum">
              <a:rPr lang="en-GB"/>
              <a:pPr>
                <a:defRPr/>
              </a:pPr>
              <a:t>‹#›</a:t>
            </a:fld>
            <a:endParaRPr lang="en-GB"/>
          </a:p>
        </p:txBody>
      </p:sp>
      <p:sp>
        <p:nvSpPr>
          <p:cNvPr id="6" name="Rectangle 7"/>
          <p:cNvSpPr>
            <a:spLocks noGrp="1" noChangeArrowheads="1"/>
          </p:cNvSpPr>
          <p:nvPr>
            <p:ph type="ftr" sz="quarter" idx="12"/>
          </p:nvPr>
        </p:nvSpPr>
        <p:spPr>
          <a:ln/>
        </p:spPr>
        <p:txBody>
          <a:bodyPr/>
          <a:lstStyle>
            <a:lvl1pPr>
              <a:defRPr/>
            </a:lvl1pPr>
          </a:lstStyle>
          <a:p>
            <a:pPr>
              <a:defRPr/>
            </a:pPr>
            <a:endParaRPr lang="en-GB"/>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64223802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6862451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223897505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559439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61454352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16799063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25613500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94038837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145605479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0952947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74676" y="1564482"/>
            <a:ext cx="3917950" cy="2833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5026" y="1564482"/>
            <a:ext cx="3919538" cy="2833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5"/>
          <p:cNvSpPr>
            <a:spLocks noGrp="1" noChangeArrowheads="1"/>
          </p:cNvSpPr>
          <p:nvPr>
            <p:ph type="dt" sz="half" idx="10"/>
          </p:nvPr>
        </p:nvSpPr>
        <p:spPr>
          <a:ln/>
        </p:spPr>
        <p:txBody>
          <a:bodyPr/>
          <a:lstStyle>
            <a:lvl1pPr>
              <a:defRPr/>
            </a:lvl1pPr>
          </a:lstStyle>
          <a:p>
            <a:pPr>
              <a:defRPr/>
            </a:pPr>
            <a:fld id="{9A751A8F-7500-4E6A-A942-583CF3A6F812}" type="datetime1">
              <a:rPr lang="en-GB"/>
              <a:pPr>
                <a:defRPr/>
              </a:pPr>
              <a:t>15/05/2017</a:t>
            </a:fld>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r>
              <a:rPr lang="en-GB"/>
              <a:t>#</a:t>
            </a:r>
            <a:fld id="{8A245BB3-CDDF-4B64-842B-BF84CE68BA57}" type="slidenum">
              <a:rPr lang="en-GB"/>
              <a:pPr>
                <a:defRPr/>
              </a:pPr>
              <a:t>‹#›</a:t>
            </a:fld>
            <a:endParaRPr lang="en-GB"/>
          </a:p>
        </p:txBody>
      </p:sp>
      <p:sp>
        <p:nvSpPr>
          <p:cNvPr id="7" name="Rectangle 7"/>
          <p:cNvSpPr>
            <a:spLocks noGrp="1" noChangeArrowheads="1"/>
          </p:cNvSpPr>
          <p:nvPr>
            <p:ph type="ftr" sz="quarter" idx="12"/>
          </p:nvPr>
        </p:nvSpPr>
        <p:spPr>
          <a:ln/>
        </p:spPr>
        <p:txBody>
          <a:bodyPr/>
          <a:lstStyle>
            <a:lvl1pPr>
              <a:defRPr/>
            </a:lvl1pPr>
          </a:lstStyle>
          <a:p>
            <a:pPr>
              <a:defRPr/>
            </a:pPr>
            <a:endParaRPr lang="en-GB"/>
          </a:p>
        </p:txBody>
      </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317582059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421779607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7278897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310758622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41808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414151315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380581895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03509474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83390080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3239193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109"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10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5"/>
          <p:cNvSpPr>
            <a:spLocks noGrp="1" noChangeArrowheads="1"/>
          </p:cNvSpPr>
          <p:nvPr>
            <p:ph type="dt" sz="half" idx="10"/>
          </p:nvPr>
        </p:nvSpPr>
        <p:spPr>
          <a:ln/>
        </p:spPr>
        <p:txBody>
          <a:bodyPr/>
          <a:lstStyle>
            <a:lvl1pPr>
              <a:defRPr/>
            </a:lvl1pPr>
          </a:lstStyle>
          <a:p>
            <a:pPr>
              <a:defRPr/>
            </a:pPr>
            <a:fld id="{6555CE20-5693-449B-B030-BC99120503DE}" type="datetime1">
              <a:rPr lang="en-GB"/>
              <a:pPr>
                <a:defRPr/>
              </a:pPr>
              <a:t>15/05/2017</a:t>
            </a:fld>
            <a:endParaRPr lang="en-GB"/>
          </a:p>
        </p:txBody>
      </p:sp>
      <p:sp>
        <p:nvSpPr>
          <p:cNvPr id="8" name="Rectangle 6"/>
          <p:cNvSpPr>
            <a:spLocks noGrp="1" noChangeArrowheads="1"/>
          </p:cNvSpPr>
          <p:nvPr>
            <p:ph type="sldNum" sz="quarter" idx="11"/>
          </p:nvPr>
        </p:nvSpPr>
        <p:spPr>
          <a:ln/>
        </p:spPr>
        <p:txBody>
          <a:bodyPr/>
          <a:lstStyle>
            <a:lvl1pPr>
              <a:defRPr/>
            </a:lvl1pPr>
          </a:lstStyle>
          <a:p>
            <a:pPr>
              <a:defRPr/>
            </a:pPr>
            <a:r>
              <a:rPr lang="en-GB"/>
              <a:t>#</a:t>
            </a:r>
            <a:fld id="{89C42448-3909-4680-933E-10DC0FC03EF8}" type="slidenum">
              <a:rPr lang="en-GB"/>
              <a:pPr>
                <a:defRPr/>
              </a:pPr>
              <a:t>‹#›</a:t>
            </a:fld>
            <a:endParaRPr lang="en-GB"/>
          </a:p>
        </p:txBody>
      </p:sp>
      <p:sp>
        <p:nvSpPr>
          <p:cNvPr id="9" name="Rectangle 7"/>
          <p:cNvSpPr>
            <a:spLocks noGrp="1" noChangeArrowheads="1"/>
          </p:cNvSpPr>
          <p:nvPr>
            <p:ph type="ftr" sz="quarter" idx="12"/>
          </p:nvPr>
        </p:nvSpPr>
        <p:spPr>
          <a:ln/>
        </p:spPr>
        <p:txBody>
          <a:bodyPr/>
          <a:lstStyle>
            <a:lvl1pPr>
              <a:defRPr/>
            </a:lvl1pPr>
          </a:lstStyle>
          <a:p>
            <a:pPr>
              <a:defRPr/>
            </a:pPr>
            <a:endParaRPr lang="en-GB"/>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51676243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295366854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93919645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420864433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134679552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56779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407077440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339828332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9972437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076864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5"/>
            <a:ext cx="7772400" cy="1021556"/>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n-GB"/>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5"/>
          <p:cNvSpPr>
            <a:spLocks noGrp="1" noChangeArrowheads="1"/>
          </p:cNvSpPr>
          <p:nvPr>
            <p:ph type="dt" sz="half" idx="10"/>
          </p:nvPr>
        </p:nvSpPr>
        <p:spPr>
          <a:ln/>
        </p:spPr>
        <p:txBody>
          <a:bodyPr/>
          <a:lstStyle>
            <a:lvl1pPr>
              <a:defRPr/>
            </a:lvl1pPr>
          </a:lstStyle>
          <a:p>
            <a:pPr>
              <a:defRPr/>
            </a:pPr>
            <a:fld id="{B35902E2-44E8-4600-84A1-802E04323050}" type="datetime1">
              <a:rPr lang="en-GB"/>
              <a:pPr>
                <a:defRPr/>
              </a:pPr>
              <a:t>15/05/2017</a:t>
            </a:fld>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r>
              <a:rPr lang="en-GB"/>
              <a:t>#</a:t>
            </a:r>
            <a:fld id="{942E5C2D-4305-4647-AD3E-953508C80CD4}" type="slidenum">
              <a:rPr lang="en-GB"/>
              <a:pPr>
                <a:defRPr/>
              </a:pPr>
              <a:t>‹#›</a:t>
            </a:fld>
            <a:endParaRPr lang="en-GB"/>
          </a:p>
        </p:txBody>
      </p:sp>
      <p:sp>
        <p:nvSpPr>
          <p:cNvPr id="5" name="Rectangle 7"/>
          <p:cNvSpPr>
            <a:spLocks noGrp="1" noChangeArrowheads="1"/>
          </p:cNvSpPr>
          <p:nvPr>
            <p:ph type="ftr" sz="quarter" idx="12"/>
          </p:nvPr>
        </p:nvSpPr>
        <p:spPr>
          <a:ln/>
        </p:spPr>
        <p:txBody>
          <a:bodyPr/>
          <a:lstStyle>
            <a:lvl1pPr>
              <a:defRPr/>
            </a:lvl1pPr>
          </a:lstStyle>
          <a:p>
            <a:pPr>
              <a:defRPr/>
            </a:pPr>
            <a:endParaRPr lang="en-GB"/>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249353152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3245556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158252876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60297274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12734443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100032318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41785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303548600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19535558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8203545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fld id="{2E38A3F9-9CD1-43D4-A960-F97CD2DE22C9}" type="datetime1">
              <a:rPr lang="en-GB"/>
              <a:pPr>
                <a:defRPr/>
              </a:pPr>
              <a:t>15/05/2017</a:t>
            </a:fld>
            <a:endParaRPr lang="en-GB"/>
          </a:p>
        </p:txBody>
      </p:sp>
      <p:sp>
        <p:nvSpPr>
          <p:cNvPr id="3" name="Rectangle 6"/>
          <p:cNvSpPr>
            <a:spLocks noGrp="1" noChangeArrowheads="1"/>
          </p:cNvSpPr>
          <p:nvPr>
            <p:ph type="sldNum" sz="quarter" idx="11"/>
          </p:nvPr>
        </p:nvSpPr>
        <p:spPr>
          <a:ln/>
        </p:spPr>
        <p:txBody>
          <a:bodyPr/>
          <a:lstStyle>
            <a:lvl1pPr>
              <a:defRPr/>
            </a:lvl1pPr>
          </a:lstStyle>
          <a:p>
            <a:pPr>
              <a:defRPr/>
            </a:pPr>
            <a:r>
              <a:rPr lang="en-GB"/>
              <a:t>#</a:t>
            </a:r>
            <a:fld id="{66021A53-35C8-4E16-8115-1F46006887F7}" type="slidenum">
              <a:rPr lang="en-GB"/>
              <a:pPr>
                <a:defRPr/>
              </a:pPr>
              <a:t>‹#›</a:t>
            </a:fld>
            <a:endParaRPr lang="en-GB"/>
          </a:p>
        </p:txBody>
      </p:sp>
      <p:sp>
        <p:nvSpPr>
          <p:cNvPr id="4" name="Rectangle 7"/>
          <p:cNvSpPr>
            <a:spLocks noGrp="1" noChangeArrowheads="1"/>
          </p:cNvSpPr>
          <p:nvPr>
            <p:ph type="ftr" sz="quarter" idx="12"/>
          </p:nvPr>
        </p:nvSpPr>
        <p:spPr>
          <a:ln/>
        </p:spPr>
        <p:txBody>
          <a:bodyPr/>
          <a:lstStyle>
            <a:lvl1pPr>
              <a:defRPr/>
            </a:lvl1pPr>
          </a:lstStyle>
          <a:p>
            <a:pPr>
              <a:defRPr/>
            </a:pPr>
            <a:endParaRPr lang="en-GB"/>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51496370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144830329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679031811"/>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261402861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416639391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419285754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139011946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492187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9616546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21002291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3"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fld id="{B1264FEE-5401-408E-9886-4A91831CF430}" type="datetime1">
              <a:rPr lang="en-GB"/>
              <a:pPr>
                <a:defRPr/>
              </a:pPr>
              <a:t>15/05/2017</a:t>
            </a:fld>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r>
              <a:rPr lang="en-GB"/>
              <a:t>#</a:t>
            </a:r>
            <a:fld id="{0D005B6E-2078-4627-9781-71DF3E8AAF3E}" type="slidenum">
              <a:rPr lang="en-GB"/>
              <a:pPr>
                <a:defRPr/>
              </a:pPr>
              <a:t>‹#›</a:t>
            </a:fld>
            <a:endParaRPr lang="en-GB"/>
          </a:p>
        </p:txBody>
      </p:sp>
      <p:sp>
        <p:nvSpPr>
          <p:cNvPr id="7" name="Rectangle 7"/>
          <p:cNvSpPr>
            <a:spLocks noGrp="1" noChangeArrowheads="1"/>
          </p:cNvSpPr>
          <p:nvPr>
            <p:ph type="ftr" sz="quarter" idx="12"/>
          </p:nvPr>
        </p:nvSpPr>
        <p:spPr>
          <a:ln/>
        </p:spPr>
        <p:txBody>
          <a:bodyPr/>
          <a:lstStyle>
            <a:lvl1pPr>
              <a:defRPr/>
            </a:lvl1pPr>
          </a:lstStyle>
          <a:p>
            <a:pPr>
              <a:defRPr/>
            </a:pPr>
            <a:endParaRPr lang="en-GB"/>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17640739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53834055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172403579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67985270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315116013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7311818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89620110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304553970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80579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34181093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n-GB" noProof="0"/>
          </a:p>
        </p:txBody>
      </p:sp>
      <p:sp>
        <p:nvSpPr>
          <p:cNvPr id="4" name="Text Placeholder 3"/>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fld id="{C6D2918F-41A4-4B09-8968-F8FFF670B629}" type="datetime1">
              <a:rPr lang="en-GB"/>
              <a:pPr>
                <a:defRPr/>
              </a:pPr>
              <a:t>15/05/2017</a:t>
            </a:fld>
            <a:endParaRPr lang="en-GB"/>
          </a:p>
        </p:txBody>
      </p:sp>
      <p:sp>
        <p:nvSpPr>
          <p:cNvPr id="6" name="Rectangle 6"/>
          <p:cNvSpPr>
            <a:spLocks noGrp="1" noChangeArrowheads="1"/>
          </p:cNvSpPr>
          <p:nvPr>
            <p:ph type="sldNum" sz="quarter" idx="11"/>
          </p:nvPr>
        </p:nvSpPr>
        <p:spPr>
          <a:ln/>
        </p:spPr>
        <p:txBody>
          <a:bodyPr/>
          <a:lstStyle>
            <a:lvl1pPr>
              <a:defRPr/>
            </a:lvl1pPr>
          </a:lstStyle>
          <a:p>
            <a:pPr>
              <a:defRPr/>
            </a:pPr>
            <a:r>
              <a:rPr lang="en-GB"/>
              <a:t>#</a:t>
            </a:r>
            <a:fld id="{D3979907-FA87-4B3F-AF41-007FC7214A2C}" type="slidenum">
              <a:rPr lang="en-GB"/>
              <a:pPr>
                <a:defRPr/>
              </a:pPr>
              <a:t>‹#›</a:t>
            </a:fld>
            <a:endParaRPr lang="en-GB"/>
          </a:p>
        </p:txBody>
      </p:sp>
      <p:sp>
        <p:nvSpPr>
          <p:cNvPr id="7" name="Rectangle 7"/>
          <p:cNvSpPr>
            <a:spLocks noGrp="1" noChangeArrowheads="1"/>
          </p:cNvSpPr>
          <p:nvPr>
            <p:ph type="ftr" sz="quarter" idx="12"/>
          </p:nvPr>
        </p:nvSpPr>
        <p:spPr>
          <a:ln/>
        </p:spPr>
        <p:txBody>
          <a:bodyPr/>
          <a:lstStyle>
            <a:lvl1pPr>
              <a:defRPr/>
            </a:lvl1pPr>
          </a:lstStyle>
          <a:p>
            <a:pPr>
              <a:defRPr/>
            </a:pPr>
            <a:endParaRPr lang="en-GB"/>
          </a:p>
        </p:txBody>
      </p:sp>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192355162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26326132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03320095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105001042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063336550"/>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403434181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23665350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82222606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65255290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49615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5"/>
          <p:cNvSpPr>
            <a:spLocks noGrp="1" noChangeArrowheads="1"/>
          </p:cNvSpPr>
          <p:nvPr>
            <p:ph type="dt" sz="half" idx="10"/>
          </p:nvPr>
        </p:nvSpPr>
        <p:spPr>
          <a:ln/>
        </p:spPr>
        <p:txBody>
          <a:bodyPr/>
          <a:lstStyle>
            <a:lvl1pPr>
              <a:defRPr/>
            </a:lvl1pPr>
          </a:lstStyle>
          <a:p>
            <a:pPr>
              <a:defRPr/>
            </a:pPr>
            <a:fld id="{9C6169A6-9A77-433B-A628-C50D05732C51}" type="datetime1">
              <a:rPr lang="en-GB"/>
              <a:pPr>
                <a:defRPr/>
              </a:pPr>
              <a:t>15/05/2017</a:t>
            </a:fld>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r>
              <a:rPr lang="en-GB"/>
              <a:t>#</a:t>
            </a:r>
            <a:fld id="{AE713178-96E9-45DA-9632-7C6A58F4CD69}" type="slidenum">
              <a:rPr lang="en-GB"/>
              <a:pPr>
                <a:defRPr/>
              </a:pPr>
              <a:t>‹#›</a:t>
            </a:fld>
            <a:endParaRPr lang="en-GB"/>
          </a:p>
        </p:txBody>
      </p:sp>
      <p:sp>
        <p:nvSpPr>
          <p:cNvPr id="6" name="Rectangle 7"/>
          <p:cNvSpPr>
            <a:spLocks noGrp="1" noChangeArrowheads="1"/>
          </p:cNvSpPr>
          <p:nvPr>
            <p:ph type="ftr" sz="quarter" idx="12"/>
          </p:nvPr>
        </p:nvSpPr>
        <p:spPr>
          <a:ln/>
        </p:spPr>
        <p:txBody>
          <a:bodyPr/>
          <a:lstStyle>
            <a:lvl1pPr>
              <a:defRPr/>
            </a:lvl1pPr>
          </a:lstStyle>
          <a:p>
            <a:pPr>
              <a:defRPr/>
            </a:pPr>
            <a:endParaRPr lang="en-GB"/>
          </a:p>
        </p:txBody>
      </p:sp>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237985095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46926416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74224054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68823319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512293578"/>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8743060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352934147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87579788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9597600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31533246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67568" y="215555"/>
            <a:ext cx="1997075" cy="418266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74717" y="215555"/>
            <a:ext cx="5840413" cy="41826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5"/>
          <p:cNvSpPr>
            <a:spLocks noGrp="1" noChangeArrowheads="1"/>
          </p:cNvSpPr>
          <p:nvPr>
            <p:ph type="dt" sz="half" idx="10"/>
          </p:nvPr>
        </p:nvSpPr>
        <p:spPr>
          <a:ln/>
        </p:spPr>
        <p:txBody>
          <a:bodyPr/>
          <a:lstStyle>
            <a:lvl1pPr>
              <a:defRPr/>
            </a:lvl1pPr>
          </a:lstStyle>
          <a:p>
            <a:pPr>
              <a:defRPr/>
            </a:pPr>
            <a:fld id="{C202CC7C-2957-4EB0-A90E-786322BF28A1}" type="datetime1">
              <a:rPr lang="en-GB"/>
              <a:pPr>
                <a:defRPr/>
              </a:pPr>
              <a:t>15/05/2017</a:t>
            </a:fld>
            <a:endParaRPr lang="en-GB"/>
          </a:p>
        </p:txBody>
      </p:sp>
      <p:sp>
        <p:nvSpPr>
          <p:cNvPr id="5" name="Rectangle 6"/>
          <p:cNvSpPr>
            <a:spLocks noGrp="1" noChangeArrowheads="1"/>
          </p:cNvSpPr>
          <p:nvPr>
            <p:ph type="sldNum" sz="quarter" idx="11"/>
          </p:nvPr>
        </p:nvSpPr>
        <p:spPr>
          <a:ln/>
        </p:spPr>
        <p:txBody>
          <a:bodyPr/>
          <a:lstStyle>
            <a:lvl1pPr>
              <a:defRPr/>
            </a:lvl1pPr>
          </a:lstStyle>
          <a:p>
            <a:pPr>
              <a:defRPr/>
            </a:pPr>
            <a:r>
              <a:rPr lang="en-GB"/>
              <a:t>#</a:t>
            </a:r>
            <a:fld id="{D3FB63ED-33EF-4C52-B8B9-A6FB05E3FEF6}" type="slidenum">
              <a:rPr lang="en-GB"/>
              <a:pPr>
                <a:defRPr/>
              </a:pPr>
              <a:t>‹#›</a:t>
            </a:fld>
            <a:endParaRPr lang="en-GB"/>
          </a:p>
        </p:txBody>
      </p:sp>
      <p:sp>
        <p:nvSpPr>
          <p:cNvPr id="6" name="Rectangle 7"/>
          <p:cNvSpPr>
            <a:spLocks noGrp="1" noChangeArrowheads="1"/>
          </p:cNvSpPr>
          <p:nvPr>
            <p:ph type="ftr" sz="quarter" idx="12"/>
          </p:nvPr>
        </p:nvSpPr>
        <p:spPr>
          <a:ln/>
        </p:spPr>
        <p:txBody>
          <a:bodyPr/>
          <a:lstStyle>
            <a:lvl1pPr>
              <a:defRPr/>
            </a:lvl1pPr>
          </a:lstStyle>
          <a:p>
            <a:pPr>
              <a:defRPr/>
            </a:pPr>
            <a:endParaRPr lang="en-GB"/>
          </a:p>
        </p:txBody>
      </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349884"/>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35126043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107205743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67764990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79521305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258067011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69557044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292455004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715954163"/>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7857737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905"/>
            <a:ext cx="7772400" cy="1102519"/>
          </a:xfrm>
        </p:spPr>
        <p:txBody>
          <a:bodyPr/>
          <a:lstStyle/>
          <a:p>
            <a:r>
              <a:rPr lang="en-US"/>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n-US"/>
              <a:t>Click to edit Master subtitle style</a:t>
            </a:r>
            <a:endParaRPr lang="en-GB"/>
          </a:p>
        </p:txBody>
      </p:sp>
    </p:spTree>
  </p:cSld>
  <p:clrMapOvr>
    <a:masterClrMapping/>
  </p:clrMapOvr>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118700142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7796874"/>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107520290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198707116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99714728"/>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2767320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99"/>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s-ES"/>
              <a:t>Haga clic para modificar el estilo de subtítulo del patrón</a:t>
            </a:r>
          </a:p>
        </p:txBody>
      </p:sp>
    </p:spTree>
    <p:extLst>
      <p:ext uri="{BB962C8B-B14F-4D97-AF65-F5344CB8AC3E}">
        <p14:creationId xmlns:p14="http://schemas.microsoft.com/office/powerpoint/2010/main" val="127772138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01188507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9"/>
            <a:ext cx="7772400" cy="1021556"/>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s-ES"/>
              <a:t>Haga clic para modificar el estilo de texto del patrón</a:t>
            </a:r>
          </a:p>
        </p:txBody>
      </p:sp>
    </p:spTree>
    <p:extLst>
      <p:ext uri="{BB962C8B-B14F-4D97-AF65-F5344CB8AC3E}">
        <p14:creationId xmlns:p14="http://schemas.microsoft.com/office/powerpoint/2010/main" val="318765273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1279562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5979"/>
            <a:ext cx="8229600" cy="85725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105"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87545629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2970833686"/>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575229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373457357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s-ES" noProof="0"/>
          </a:p>
        </p:txBody>
      </p:sp>
      <p:sp>
        <p:nvSpPr>
          <p:cNvPr id="4" name="3 Marcador de texto"/>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1711547224"/>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92143411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141685"/>
            <a:ext cx="2057400" cy="4452938"/>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141685"/>
            <a:ext cx="6019800" cy="44529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59493873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7472" y="342906"/>
            <a:ext cx="8453628" cy="428650"/>
          </a:xfrm>
          <a:prstGeom prst="rect">
            <a:avLst/>
          </a:prstGeom>
        </p:spPr>
        <p:txBody>
          <a:bodyPr lIns="91284" tIns="45642" rIns="91284" bIns="45642"/>
          <a:lstStyle/>
          <a:p>
            <a:r>
              <a:rPr lang="en-US" dirty="0"/>
              <a:t>CLICK TO EDIT MASTER TITLE STYLE</a:t>
            </a:r>
          </a:p>
        </p:txBody>
      </p:sp>
      <p:sp>
        <p:nvSpPr>
          <p:cNvPr id="3" name="Content Placeholder 2"/>
          <p:cNvSpPr>
            <a:spLocks noGrp="1"/>
          </p:cNvSpPr>
          <p:nvPr>
            <p:ph idx="1"/>
          </p:nvPr>
        </p:nvSpPr>
        <p:spPr>
          <a:xfrm>
            <a:off x="347472" y="1038231"/>
            <a:ext cx="8453628" cy="3556397"/>
          </a:xfrm>
          <a:prstGeom prst="rect">
            <a:avLst/>
          </a:prstGeom>
        </p:spPr>
        <p:txBody>
          <a:bodyPr lIns="91284" tIns="45642" rIns="91284" bIns="45642"/>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028655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347472" y="814389"/>
            <a:ext cx="6123178" cy="1071563"/>
          </a:xfrm>
          <a:prstGeom prst="rect">
            <a:avLst/>
          </a:prstGeom>
        </p:spPr>
        <p:txBody>
          <a:bodyPr lIns="91284" tIns="45642" rIns="91284" bIns="45642" anchor="t">
            <a:normAutofit/>
          </a:bodyPr>
          <a:lstStyle>
            <a:lvl1pPr algn="l">
              <a:lnSpc>
                <a:spcPts val="4400"/>
              </a:lnSpc>
              <a:defRPr sz="4400" b="0" cap="all"/>
            </a:lvl1pPr>
          </a:lstStyle>
          <a:p>
            <a:r>
              <a:rPr lang="de-DE"/>
              <a:t>Titelmasterformat durch Klicken bearbeiten</a:t>
            </a:r>
            <a:endParaRPr lang="en-US" dirty="0"/>
          </a:p>
        </p:txBody>
      </p:sp>
      <p:sp>
        <p:nvSpPr>
          <p:cNvPr id="3" name="Text Placeholder 2"/>
          <p:cNvSpPr>
            <a:spLocks noGrp="1"/>
          </p:cNvSpPr>
          <p:nvPr>
            <p:ph type="body" idx="1"/>
          </p:nvPr>
        </p:nvSpPr>
        <p:spPr>
          <a:xfrm>
            <a:off x="347472" y="1886040"/>
            <a:ext cx="6123178" cy="947737"/>
          </a:xfrm>
          <a:prstGeom prst="rect">
            <a:avLst/>
          </a:prstGeom>
        </p:spPr>
        <p:txBody>
          <a:bodyPr lIns="91284" tIns="45642" rIns="91284" bIns="45642" anchor="t" anchorCtr="0">
            <a:normAutofit/>
          </a:bodyPr>
          <a:lstStyle>
            <a:lvl1pPr marL="0" indent="0">
              <a:buNone/>
              <a:defRPr sz="1400">
                <a:solidFill>
                  <a:srgbClr val="796E65"/>
                </a:solidFill>
              </a:defRPr>
            </a:lvl1pPr>
            <a:lvl2pPr marL="456269" indent="0">
              <a:buNone/>
              <a:defRPr sz="1800">
                <a:solidFill>
                  <a:schemeClr val="tx1">
                    <a:tint val="75000"/>
                  </a:schemeClr>
                </a:solidFill>
              </a:defRPr>
            </a:lvl2pPr>
            <a:lvl3pPr marL="912644" indent="0">
              <a:buNone/>
              <a:defRPr sz="1600">
                <a:solidFill>
                  <a:schemeClr val="tx1">
                    <a:tint val="75000"/>
                  </a:schemeClr>
                </a:solidFill>
              </a:defRPr>
            </a:lvl3pPr>
            <a:lvl4pPr marL="1368948" indent="0">
              <a:buNone/>
              <a:defRPr sz="1400">
                <a:solidFill>
                  <a:schemeClr val="tx1">
                    <a:tint val="75000"/>
                  </a:schemeClr>
                </a:solidFill>
              </a:defRPr>
            </a:lvl4pPr>
            <a:lvl5pPr marL="1825286" indent="0">
              <a:buNone/>
              <a:defRPr sz="1400">
                <a:solidFill>
                  <a:schemeClr val="tx1">
                    <a:tint val="75000"/>
                  </a:schemeClr>
                </a:solidFill>
              </a:defRPr>
            </a:lvl5pPr>
            <a:lvl6pPr marL="2281554" indent="0">
              <a:buNone/>
              <a:defRPr sz="1400">
                <a:solidFill>
                  <a:schemeClr val="tx1">
                    <a:tint val="75000"/>
                  </a:schemeClr>
                </a:solidFill>
              </a:defRPr>
            </a:lvl6pPr>
            <a:lvl7pPr marL="2737820" indent="0">
              <a:buNone/>
              <a:defRPr sz="1400">
                <a:solidFill>
                  <a:schemeClr val="tx1">
                    <a:tint val="75000"/>
                  </a:schemeClr>
                </a:solidFill>
              </a:defRPr>
            </a:lvl7pPr>
            <a:lvl8pPr marL="3194165" indent="0">
              <a:buNone/>
              <a:defRPr sz="1400">
                <a:solidFill>
                  <a:schemeClr val="tx1">
                    <a:tint val="75000"/>
                  </a:schemeClr>
                </a:solidFill>
              </a:defRPr>
            </a:lvl8pPr>
            <a:lvl9pPr marL="3650488" indent="0">
              <a:buNone/>
              <a:defRPr sz="1400">
                <a:solidFill>
                  <a:schemeClr val="tx1">
                    <a:tint val="75000"/>
                  </a:schemeClr>
                </a:solidFill>
              </a:defRPr>
            </a:lvl9pPr>
          </a:lstStyle>
          <a:p>
            <a:pPr lvl="0"/>
            <a:r>
              <a:rPr lang="de-DE"/>
              <a:t>Textmasterformat bearbeiten</a:t>
            </a:r>
          </a:p>
        </p:txBody>
      </p:sp>
    </p:spTree>
    <p:extLst>
      <p:ext uri="{BB962C8B-B14F-4D97-AF65-F5344CB8AC3E}">
        <p14:creationId xmlns:p14="http://schemas.microsoft.com/office/powerpoint/2010/main" val="1829644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1474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85"/>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6269" indent="0">
              <a:buNone/>
              <a:defRPr sz="1800"/>
            </a:lvl2pPr>
            <a:lvl3pPr marL="912644" indent="0">
              <a:buNone/>
              <a:defRPr sz="1600"/>
            </a:lvl3pPr>
            <a:lvl4pPr marL="1368948" indent="0">
              <a:buNone/>
              <a:defRPr sz="1400"/>
            </a:lvl4pPr>
            <a:lvl5pPr marL="1825286" indent="0">
              <a:buNone/>
              <a:defRPr sz="1400"/>
            </a:lvl5pPr>
            <a:lvl6pPr marL="2281554" indent="0">
              <a:buNone/>
              <a:defRPr sz="1400"/>
            </a:lvl6pPr>
            <a:lvl7pPr marL="2737820" indent="0">
              <a:buNone/>
              <a:defRPr sz="1400"/>
            </a:lvl7pPr>
            <a:lvl8pPr marL="3194165" indent="0">
              <a:buNone/>
              <a:defRPr sz="1400"/>
            </a:lvl8pPr>
            <a:lvl9pPr marL="3650488" indent="0">
              <a:buNone/>
              <a:defRPr sz="1400"/>
            </a:lvl9pPr>
          </a:lstStyle>
          <a:p>
            <a:pPr lvl="0"/>
            <a:r>
              <a:rPr lang="en-US"/>
              <a:t>Click to edit Master text styles</a:t>
            </a:r>
          </a:p>
        </p:txBody>
      </p:sp>
    </p:spTree>
  </p:cSld>
  <p:clrMapOvr>
    <a:masterClrMapping/>
  </p:clrMapOvr>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7472" y="968697"/>
            <a:ext cx="5486400" cy="1108504"/>
          </a:xfrm>
          <a:prstGeom prst="rect">
            <a:avLst/>
          </a:prstGeom>
        </p:spPr>
        <p:txBody>
          <a:bodyPr lIns="91284" tIns="45642" rIns="91284" bIns="45642">
            <a:normAutofit/>
          </a:bodyPr>
          <a:lstStyle>
            <a:lvl1pPr>
              <a:lnSpc>
                <a:spcPts val="3900"/>
              </a:lnSpc>
              <a:defRPr sz="3900"/>
            </a:lvl1pPr>
          </a:lstStyle>
          <a:p>
            <a:r>
              <a:rPr lang="en-US" dirty="0"/>
              <a:t>CLICK TO EDIT MASTER TITLE </a:t>
            </a:r>
            <a:br>
              <a:rPr lang="en-US" dirty="0"/>
            </a:br>
            <a:r>
              <a:rPr lang="en-US" dirty="0"/>
              <a:t>STYLE</a:t>
            </a:r>
          </a:p>
        </p:txBody>
      </p:sp>
      <p:sp>
        <p:nvSpPr>
          <p:cNvPr id="4" name="Date Placeholder 3"/>
          <p:cNvSpPr>
            <a:spLocks noGrp="1"/>
          </p:cNvSpPr>
          <p:nvPr>
            <p:ph type="dt" sz="half" idx="10"/>
          </p:nvPr>
        </p:nvSpPr>
        <p:spPr>
          <a:xfrm>
            <a:off x="347472" y="2518476"/>
            <a:ext cx="2133600" cy="273844"/>
          </a:xfrm>
          <a:prstGeom prst="rect">
            <a:avLst/>
          </a:prstGeom>
        </p:spPr>
        <p:txBody>
          <a:bodyPr lIns="0" tIns="0" rIns="0" bIns="0"/>
          <a:lstStyle>
            <a:lvl1pPr>
              <a:defRPr sz="1300">
                <a:solidFill>
                  <a:srgbClr val="796E65"/>
                </a:solidFill>
                <a:latin typeface="Arial"/>
                <a:cs typeface="Arial"/>
              </a:defRPr>
            </a:lvl1pPr>
          </a:lstStyle>
          <a:p>
            <a:pPr fontAlgn="auto">
              <a:spcBef>
                <a:spcPts val="0"/>
              </a:spcBef>
              <a:spcAft>
                <a:spcPts val="0"/>
              </a:spcAft>
            </a:pPr>
            <a:endParaRPr lang="en-US" dirty="0"/>
          </a:p>
        </p:txBody>
      </p:sp>
      <p:pic>
        <p:nvPicPr>
          <p:cNvPr id="7" name="Picture 6" descr="ebay_logo_onl.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4768" y="1303097"/>
            <a:ext cx="2441448" cy="680939"/>
          </a:xfrm>
          <a:prstGeom prst="rect">
            <a:avLst/>
          </a:prstGeom>
        </p:spPr>
      </p:pic>
      <p:sp>
        <p:nvSpPr>
          <p:cNvPr id="9" name="Picture Placeholder 8"/>
          <p:cNvSpPr>
            <a:spLocks noGrp="1"/>
          </p:cNvSpPr>
          <p:nvPr>
            <p:ph type="pic" sz="quarter" idx="11"/>
          </p:nvPr>
        </p:nvSpPr>
        <p:spPr>
          <a:xfrm>
            <a:off x="347472" y="3120390"/>
            <a:ext cx="5486400" cy="1714500"/>
          </a:xfrm>
          <a:prstGeom prst="rect">
            <a:avLst/>
          </a:prstGeom>
        </p:spPr>
        <p:txBody>
          <a:bodyPr lIns="91284" tIns="45642" rIns="91284" bIns="45642"/>
          <a:lstStyle>
            <a:lvl1pPr marL="0" indent="0">
              <a:buNone/>
              <a:defRPr/>
            </a:lvl1pPr>
          </a:lstStyle>
          <a:p>
            <a:endParaRPr lang="en-US" dirty="0"/>
          </a:p>
        </p:txBody>
      </p:sp>
      <p:sp>
        <p:nvSpPr>
          <p:cNvPr id="11" name="Picture Placeholder 10"/>
          <p:cNvSpPr>
            <a:spLocks noGrp="1"/>
          </p:cNvSpPr>
          <p:nvPr>
            <p:ph type="pic" sz="quarter" idx="12"/>
          </p:nvPr>
        </p:nvSpPr>
        <p:spPr>
          <a:xfrm>
            <a:off x="6151118" y="3120390"/>
            <a:ext cx="2651760" cy="1714500"/>
          </a:xfrm>
          <a:prstGeom prst="rect">
            <a:avLst/>
          </a:prstGeom>
        </p:spPr>
        <p:txBody>
          <a:bodyPr lIns="91284" tIns="45642" rIns="91284" bIns="45642"/>
          <a:lstStyle>
            <a:lvl1pPr marL="0" indent="0">
              <a:buNone/>
              <a:defRPr/>
            </a:lvl1pPr>
          </a:lstStyle>
          <a:p>
            <a:endParaRPr lang="en-US" dirty="0"/>
          </a:p>
        </p:txBody>
      </p:sp>
      <p:sp>
        <p:nvSpPr>
          <p:cNvPr id="5" name="Text Placeholder 4"/>
          <p:cNvSpPr>
            <a:spLocks noGrp="1"/>
          </p:cNvSpPr>
          <p:nvPr>
            <p:ph type="body" sz="quarter" idx="13" hasCustomPrompt="1"/>
          </p:nvPr>
        </p:nvSpPr>
        <p:spPr>
          <a:xfrm>
            <a:off x="344263" y="2234571"/>
            <a:ext cx="5492976" cy="223787"/>
          </a:xfrm>
          <a:prstGeom prst="rect">
            <a:avLst/>
          </a:prstGeom>
        </p:spPr>
        <p:txBody>
          <a:bodyPr lIns="91284" tIns="45642" rIns="91284" bIns="45642">
            <a:noAutofit/>
          </a:bodyPr>
          <a:lstStyle>
            <a:lvl1pPr marL="0" indent="0">
              <a:buNone/>
              <a:defRPr sz="2000"/>
            </a:lvl1pPr>
            <a:lvl2pPr marL="171138" indent="0">
              <a:buNone/>
              <a:defRPr/>
            </a:lvl2pPr>
            <a:lvl3pPr marL="342200" indent="0">
              <a:buNone/>
              <a:defRPr/>
            </a:lvl3pPr>
            <a:lvl4pPr marL="513410" indent="0">
              <a:buNone/>
              <a:defRPr/>
            </a:lvl4pPr>
            <a:lvl5pPr marL="684474" indent="0">
              <a:buNone/>
              <a:defRPr/>
            </a:lvl5pPr>
          </a:lstStyle>
          <a:p>
            <a:pPr lvl="0"/>
            <a:r>
              <a:rPr lang="en-US" dirty="0"/>
              <a:t>Click to edit subhead</a:t>
            </a:r>
          </a:p>
        </p:txBody>
      </p:sp>
    </p:spTree>
    <p:extLst>
      <p:ext uri="{BB962C8B-B14F-4D97-AF65-F5344CB8AC3E}">
        <p14:creationId xmlns:p14="http://schemas.microsoft.com/office/powerpoint/2010/main" val="407542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7" name="Picture 6" descr="ebay_logo_onl.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4768" y="764432"/>
            <a:ext cx="2441448" cy="680939"/>
          </a:xfrm>
          <a:prstGeom prst="rect">
            <a:avLst/>
          </a:prstGeom>
        </p:spPr>
      </p:pic>
      <p:sp>
        <p:nvSpPr>
          <p:cNvPr id="8" name="Title 1"/>
          <p:cNvSpPr>
            <a:spLocks noGrp="1"/>
          </p:cNvSpPr>
          <p:nvPr>
            <p:ph type="ctrTitle" hasCustomPrompt="1"/>
          </p:nvPr>
        </p:nvSpPr>
        <p:spPr>
          <a:xfrm>
            <a:off x="347472" y="2262775"/>
            <a:ext cx="5486400" cy="1108504"/>
          </a:xfrm>
          <a:prstGeom prst="rect">
            <a:avLst/>
          </a:prstGeom>
        </p:spPr>
        <p:txBody>
          <a:bodyPr lIns="91284" tIns="45642" rIns="91284" bIns="45642">
            <a:normAutofit/>
          </a:bodyPr>
          <a:lstStyle>
            <a:lvl1pPr>
              <a:lnSpc>
                <a:spcPts val="3900"/>
              </a:lnSpc>
              <a:defRPr sz="3900"/>
            </a:lvl1pPr>
          </a:lstStyle>
          <a:p>
            <a:r>
              <a:rPr lang="en-US" dirty="0"/>
              <a:t>CLICK TO EDIT MASTER TITLE </a:t>
            </a:r>
            <a:br>
              <a:rPr lang="en-US" dirty="0"/>
            </a:br>
            <a:r>
              <a:rPr lang="en-US" dirty="0"/>
              <a:t>STYLE</a:t>
            </a:r>
          </a:p>
        </p:txBody>
      </p:sp>
      <p:sp>
        <p:nvSpPr>
          <p:cNvPr id="13" name="Date Placeholder 3"/>
          <p:cNvSpPr>
            <a:spLocks noGrp="1"/>
          </p:cNvSpPr>
          <p:nvPr>
            <p:ph type="dt" sz="half" idx="10"/>
          </p:nvPr>
        </p:nvSpPr>
        <p:spPr>
          <a:xfrm>
            <a:off x="347472" y="3812556"/>
            <a:ext cx="2133600" cy="273844"/>
          </a:xfrm>
          <a:prstGeom prst="rect">
            <a:avLst/>
          </a:prstGeom>
        </p:spPr>
        <p:txBody>
          <a:bodyPr lIns="0" tIns="0" rIns="0" bIns="0"/>
          <a:lstStyle>
            <a:lvl1pPr>
              <a:defRPr sz="1300">
                <a:solidFill>
                  <a:srgbClr val="796E65"/>
                </a:solidFill>
                <a:latin typeface="Arial"/>
                <a:cs typeface="Arial"/>
              </a:defRPr>
            </a:lvl1pPr>
          </a:lstStyle>
          <a:p>
            <a:pPr fontAlgn="auto">
              <a:spcBef>
                <a:spcPts val="0"/>
              </a:spcBef>
              <a:spcAft>
                <a:spcPts val="0"/>
              </a:spcAft>
            </a:pPr>
            <a:endParaRPr lang="en-US" dirty="0"/>
          </a:p>
        </p:txBody>
      </p:sp>
      <p:sp>
        <p:nvSpPr>
          <p:cNvPr id="14" name="Text Placeholder 4"/>
          <p:cNvSpPr>
            <a:spLocks noGrp="1"/>
          </p:cNvSpPr>
          <p:nvPr>
            <p:ph type="body" sz="quarter" idx="13" hasCustomPrompt="1"/>
          </p:nvPr>
        </p:nvSpPr>
        <p:spPr>
          <a:xfrm>
            <a:off x="344263" y="3528651"/>
            <a:ext cx="5492976" cy="223787"/>
          </a:xfrm>
          <a:prstGeom prst="rect">
            <a:avLst/>
          </a:prstGeom>
        </p:spPr>
        <p:txBody>
          <a:bodyPr lIns="91284" tIns="45642" rIns="91284" bIns="45642">
            <a:noAutofit/>
          </a:bodyPr>
          <a:lstStyle>
            <a:lvl1pPr marL="0" indent="0">
              <a:buNone/>
              <a:defRPr sz="2000"/>
            </a:lvl1pPr>
            <a:lvl2pPr marL="171138" indent="0">
              <a:buNone/>
              <a:defRPr/>
            </a:lvl2pPr>
            <a:lvl3pPr marL="342200" indent="0">
              <a:buNone/>
              <a:defRPr/>
            </a:lvl3pPr>
            <a:lvl4pPr marL="513410" indent="0">
              <a:buNone/>
              <a:defRPr/>
            </a:lvl4pPr>
            <a:lvl5pPr marL="684474" indent="0">
              <a:buNone/>
              <a:defRPr/>
            </a:lvl5pPr>
          </a:lstStyle>
          <a:p>
            <a:pPr lvl="0"/>
            <a:r>
              <a:rPr lang="en-US" dirty="0"/>
              <a:t>Click to edit subhead</a:t>
            </a:r>
          </a:p>
        </p:txBody>
      </p:sp>
    </p:spTree>
    <p:extLst>
      <p:ext uri="{BB962C8B-B14F-4D97-AF65-F5344CB8AC3E}">
        <p14:creationId xmlns:p14="http://schemas.microsoft.com/office/powerpoint/2010/main" val="174271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7472" y="342905"/>
            <a:ext cx="8453628" cy="695325"/>
          </a:xfrm>
          <a:prstGeom prst="rect">
            <a:avLst/>
          </a:prstGeom>
        </p:spPr>
        <p:txBody>
          <a:bodyPr lIns="91284" tIns="45642" rIns="91284" bIns="45642"/>
          <a:lstStyle/>
          <a:p>
            <a:r>
              <a:rPr lang="en-US" dirty="0"/>
              <a:t>CLICK TO EDIT MASTER TITLE STYLE</a:t>
            </a:r>
          </a:p>
        </p:txBody>
      </p:sp>
      <p:sp>
        <p:nvSpPr>
          <p:cNvPr id="3" name="Content Placeholder 2"/>
          <p:cNvSpPr>
            <a:spLocks noGrp="1"/>
          </p:cNvSpPr>
          <p:nvPr>
            <p:ph idx="1"/>
          </p:nvPr>
        </p:nvSpPr>
        <p:spPr>
          <a:xfrm>
            <a:off x="347472" y="1222421"/>
            <a:ext cx="8453628" cy="3556397"/>
          </a:xfrm>
          <a:prstGeom prst="rect">
            <a:avLst/>
          </a:prstGeom>
        </p:spPr>
        <p:txBody>
          <a:bodyPr lIns="91284" tIns="45642" rIns="91284" bIns="45642"/>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051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7472" y="342905"/>
            <a:ext cx="8453628" cy="695325"/>
          </a:xfrm>
          <a:prstGeom prst="rect">
            <a:avLst/>
          </a:prstGeom>
        </p:spPr>
        <p:txBody>
          <a:bodyPr lIns="91284" tIns="45642" rIns="91284" bIns="45642"/>
          <a:lstStyle/>
          <a:p>
            <a:r>
              <a:rPr lang="en-US" dirty="0"/>
              <a:t>CLICK TO EDIT MASTER TITLE STYLE</a:t>
            </a:r>
          </a:p>
        </p:txBody>
      </p:sp>
      <p:sp>
        <p:nvSpPr>
          <p:cNvPr id="3" name="Content Placeholder 2"/>
          <p:cNvSpPr>
            <a:spLocks noGrp="1"/>
          </p:cNvSpPr>
          <p:nvPr>
            <p:ph sz="half" idx="1"/>
          </p:nvPr>
        </p:nvSpPr>
        <p:spPr>
          <a:xfrm>
            <a:off x="347472" y="1038231"/>
            <a:ext cx="4148328" cy="3556397"/>
          </a:xfrm>
          <a:prstGeom prst="rect">
            <a:avLst/>
          </a:prstGeom>
        </p:spPr>
        <p:txBody>
          <a:bodyPr lIns="91284" tIns="45642" rIns="91284" bIns="45642">
            <a:norm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5"/>
          <p:cNvSpPr>
            <a:spLocks noGrp="1" noChangeAspect="1"/>
          </p:cNvSpPr>
          <p:nvPr>
            <p:ph type="pic" sz="quarter" idx="13"/>
          </p:nvPr>
        </p:nvSpPr>
        <p:spPr>
          <a:xfrm>
            <a:off x="4649545" y="1038230"/>
            <a:ext cx="2029352" cy="1520301"/>
          </a:xfrm>
          <a:prstGeom prst="rect">
            <a:avLst/>
          </a:prstGeom>
        </p:spPr>
        <p:txBody>
          <a:bodyPr lIns="91284" tIns="45642" rIns="91284" bIns="45642"/>
          <a:lstStyle>
            <a:lvl1pPr marL="0" indent="0">
              <a:buFont typeface="Arial"/>
              <a:buNone/>
              <a:defRPr/>
            </a:lvl1pPr>
          </a:lstStyle>
          <a:p>
            <a:endParaRPr lang="en-US" dirty="0"/>
          </a:p>
        </p:txBody>
      </p:sp>
      <p:sp>
        <p:nvSpPr>
          <p:cNvPr id="11" name="Picture Placeholder 5"/>
          <p:cNvSpPr>
            <a:spLocks noGrp="1" noChangeAspect="1"/>
          </p:cNvSpPr>
          <p:nvPr>
            <p:ph type="pic" sz="quarter" idx="14"/>
          </p:nvPr>
        </p:nvSpPr>
        <p:spPr>
          <a:xfrm>
            <a:off x="6771748" y="1038230"/>
            <a:ext cx="2029352" cy="1520301"/>
          </a:xfrm>
          <a:prstGeom prst="rect">
            <a:avLst/>
          </a:prstGeom>
        </p:spPr>
        <p:txBody>
          <a:bodyPr lIns="91284" tIns="45642" rIns="91284" bIns="45642"/>
          <a:lstStyle>
            <a:lvl1pPr marL="0" indent="0">
              <a:buFont typeface="Arial"/>
              <a:buNone/>
              <a:defRPr/>
            </a:lvl1pPr>
          </a:lstStyle>
          <a:p>
            <a:endParaRPr lang="en-US" dirty="0"/>
          </a:p>
        </p:txBody>
      </p:sp>
      <p:sp>
        <p:nvSpPr>
          <p:cNvPr id="12" name="Picture Placeholder 5"/>
          <p:cNvSpPr>
            <a:spLocks noGrp="1" noChangeAspect="1"/>
          </p:cNvSpPr>
          <p:nvPr>
            <p:ph type="pic" sz="quarter" idx="15"/>
          </p:nvPr>
        </p:nvSpPr>
        <p:spPr>
          <a:xfrm>
            <a:off x="4649545" y="2631458"/>
            <a:ext cx="2029352" cy="1520301"/>
          </a:xfrm>
          <a:prstGeom prst="rect">
            <a:avLst/>
          </a:prstGeom>
        </p:spPr>
        <p:txBody>
          <a:bodyPr lIns="91284" tIns="45642" rIns="91284" bIns="45642"/>
          <a:lstStyle>
            <a:lvl1pPr marL="0" indent="0">
              <a:buFont typeface="Arial"/>
              <a:buNone/>
              <a:defRPr/>
            </a:lvl1pPr>
          </a:lstStyle>
          <a:p>
            <a:endParaRPr lang="en-US" dirty="0"/>
          </a:p>
        </p:txBody>
      </p:sp>
      <p:sp>
        <p:nvSpPr>
          <p:cNvPr id="13" name="Picture Placeholder 5"/>
          <p:cNvSpPr>
            <a:spLocks noGrp="1" noChangeAspect="1"/>
          </p:cNvSpPr>
          <p:nvPr>
            <p:ph type="pic" sz="quarter" idx="16"/>
          </p:nvPr>
        </p:nvSpPr>
        <p:spPr>
          <a:xfrm>
            <a:off x="6771748" y="2631458"/>
            <a:ext cx="2029352" cy="1520301"/>
          </a:xfrm>
          <a:prstGeom prst="rect">
            <a:avLst/>
          </a:prstGeom>
        </p:spPr>
        <p:txBody>
          <a:bodyPr lIns="91284" tIns="45642" rIns="91284" bIns="45642"/>
          <a:lstStyle>
            <a:lvl1pPr marL="0" indent="0">
              <a:buFont typeface="Arial"/>
              <a:buNone/>
              <a:defRPr/>
            </a:lvl1pPr>
          </a:lstStyle>
          <a:p>
            <a:endParaRPr lang="en-US" dirty="0"/>
          </a:p>
        </p:txBody>
      </p:sp>
    </p:spTree>
    <p:extLst>
      <p:ext uri="{BB962C8B-B14F-4D97-AF65-F5344CB8AC3E}">
        <p14:creationId xmlns:p14="http://schemas.microsoft.com/office/powerpoint/2010/main" val="88429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25" descr="retail plan logo"/>
          <p:cNvPicPr>
            <a:picLocks noChangeAspect="1" noChangeArrowheads="1"/>
          </p:cNvPicPr>
          <p:nvPr userDrawn="1"/>
        </p:nvPicPr>
        <p:blipFill>
          <a:blip r:embed="rId2" cstate="print">
            <a:lum bright="-6000"/>
            <a:extLst>
              <a:ext uri="{28A0092B-C50C-407E-A947-70E740481C1C}">
                <a14:useLocalDpi xmlns:a14="http://schemas.microsoft.com/office/drawing/2010/main" val="0"/>
              </a:ext>
            </a:extLst>
          </a:blip>
          <a:srcRect/>
          <a:stretch>
            <a:fillRect/>
          </a:stretch>
        </p:blipFill>
        <p:spPr bwMode="auto">
          <a:xfrm>
            <a:off x="6240467" y="0"/>
            <a:ext cx="2790825"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7"/>
          <p:cNvSpPr>
            <a:spLocks/>
          </p:cNvSpPr>
          <p:nvPr userDrawn="1"/>
        </p:nvSpPr>
        <p:spPr bwMode="auto">
          <a:xfrm>
            <a:off x="1" y="1768477"/>
            <a:ext cx="9150350" cy="1462088"/>
          </a:xfrm>
          <a:custGeom>
            <a:avLst/>
            <a:gdLst>
              <a:gd name="T0" fmla="*/ 0 w 8183"/>
              <a:gd name="T1" fmla="*/ 0 h 1170"/>
              <a:gd name="T2" fmla="*/ 2147483647 w 8183"/>
              <a:gd name="T3" fmla="*/ 2147483647 h 1170"/>
              <a:gd name="T4" fmla="*/ 2147483647 w 8183"/>
              <a:gd name="T5" fmla="*/ 2147483647 h 1170"/>
              <a:gd name="T6" fmla="*/ 0 w 8183"/>
              <a:gd name="T7" fmla="*/ 2147483647 h 1170"/>
              <a:gd name="T8" fmla="*/ 0 w 8183"/>
              <a:gd name="T9" fmla="*/ 0 h 11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83" h="1170">
                <a:moveTo>
                  <a:pt x="0" y="0"/>
                </a:moveTo>
                <a:cubicBezTo>
                  <a:pt x="2103" y="823"/>
                  <a:pt x="6025" y="1143"/>
                  <a:pt x="8183" y="603"/>
                </a:cubicBezTo>
                <a:cubicBezTo>
                  <a:pt x="8183" y="886"/>
                  <a:pt x="8183" y="1170"/>
                  <a:pt x="8183" y="1170"/>
                </a:cubicBezTo>
                <a:lnTo>
                  <a:pt x="0" y="1170"/>
                </a:lnTo>
                <a:cubicBezTo>
                  <a:pt x="0" y="1170"/>
                  <a:pt x="0" y="585"/>
                  <a:pt x="0" y="0"/>
                </a:cubicBezTo>
                <a:close/>
              </a:path>
            </a:pathLst>
          </a:custGeom>
          <a:solidFill>
            <a:srgbClr val="C1D82F"/>
          </a:solidFill>
          <a:ln>
            <a:noFill/>
          </a:ln>
          <a:extLst>
            <a:ext uri="{91240B29-F687-4F45-9708-019B960494DF}">
              <a14:hiddenLine xmlns:a14="http://schemas.microsoft.com/office/drawing/2010/main" w="9525">
                <a:solidFill>
                  <a:srgbClr val="000000"/>
                </a:solidFill>
                <a:round/>
                <a:headEnd/>
                <a:tailEnd/>
              </a14:hiddenLine>
            </a:ext>
          </a:extLst>
        </p:spPr>
        <p:txBody>
          <a:bodyPr lIns="91279" tIns="45640" rIns="91279" bIns="45640"/>
          <a:lstStyle/>
          <a:p>
            <a:pPr defTabSz="912644"/>
            <a:endParaRPr lang="en-GB" sz="1800">
              <a:solidFill>
                <a:prstClr val="black"/>
              </a:solidFill>
              <a:latin typeface="Arial"/>
              <a:cs typeface="Arial" pitchFamily="34" charset="0"/>
            </a:endParaRPr>
          </a:p>
        </p:txBody>
      </p:sp>
      <p:sp>
        <p:nvSpPr>
          <p:cNvPr id="3" name="Subtitle 2"/>
          <p:cNvSpPr>
            <a:spLocks noGrp="1"/>
          </p:cNvSpPr>
          <p:nvPr>
            <p:ph type="subTitle" idx="1"/>
          </p:nvPr>
        </p:nvSpPr>
        <p:spPr>
          <a:xfrm>
            <a:off x="207968" y="3829194"/>
            <a:ext cx="7564437" cy="441860"/>
          </a:xfrm>
        </p:spPr>
        <p:txBody>
          <a:bodyPr>
            <a:normAutofit/>
          </a:bodyPr>
          <a:lstStyle>
            <a:lvl1pPr marL="0" indent="0" algn="l">
              <a:buNone/>
              <a:defRPr sz="2000" b="1">
                <a:solidFill>
                  <a:schemeClr val="bg1">
                    <a:lumMod val="50000"/>
                  </a:schemeClr>
                </a:solidFill>
              </a:defRPr>
            </a:lvl1pPr>
            <a:lvl2pPr marL="456269" indent="0" algn="ctr">
              <a:buNone/>
              <a:defRPr>
                <a:solidFill>
                  <a:schemeClr val="tx1">
                    <a:tint val="75000"/>
                  </a:schemeClr>
                </a:solidFill>
              </a:defRPr>
            </a:lvl2pPr>
            <a:lvl3pPr marL="912644" indent="0" algn="ctr">
              <a:buNone/>
              <a:defRPr>
                <a:solidFill>
                  <a:schemeClr val="tx1">
                    <a:tint val="75000"/>
                  </a:schemeClr>
                </a:solidFill>
              </a:defRPr>
            </a:lvl3pPr>
            <a:lvl4pPr marL="1368948" indent="0" algn="ctr">
              <a:buNone/>
              <a:defRPr>
                <a:solidFill>
                  <a:schemeClr val="tx1">
                    <a:tint val="75000"/>
                  </a:schemeClr>
                </a:solidFill>
              </a:defRPr>
            </a:lvl4pPr>
            <a:lvl5pPr marL="1825286" indent="0" algn="ctr">
              <a:buNone/>
              <a:defRPr>
                <a:solidFill>
                  <a:schemeClr val="tx1">
                    <a:tint val="75000"/>
                  </a:schemeClr>
                </a:solidFill>
              </a:defRPr>
            </a:lvl5pPr>
            <a:lvl6pPr marL="2281554" indent="0" algn="ctr">
              <a:buNone/>
              <a:defRPr>
                <a:solidFill>
                  <a:schemeClr val="tx1">
                    <a:tint val="75000"/>
                  </a:schemeClr>
                </a:solidFill>
              </a:defRPr>
            </a:lvl6pPr>
            <a:lvl7pPr marL="2737820" indent="0" algn="ctr">
              <a:buNone/>
              <a:defRPr>
                <a:solidFill>
                  <a:schemeClr val="tx1">
                    <a:tint val="75000"/>
                  </a:schemeClr>
                </a:solidFill>
              </a:defRPr>
            </a:lvl7pPr>
            <a:lvl8pPr marL="3194165" indent="0" algn="ctr">
              <a:buNone/>
              <a:defRPr>
                <a:solidFill>
                  <a:schemeClr val="tx1">
                    <a:tint val="75000"/>
                  </a:schemeClr>
                </a:solidFill>
              </a:defRPr>
            </a:lvl8pPr>
            <a:lvl9pPr marL="3650488" indent="0" algn="ctr">
              <a:buNone/>
              <a:defRPr>
                <a:solidFill>
                  <a:schemeClr val="tx1">
                    <a:tint val="75000"/>
                  </a:schemeClr>
                </a:solidFill>
              </a:defRPr>
            </a:lvl9pPr>
          </a:lstStyle>
          <a:p>
            <a:r>
              <a:rPr lang="en-US" dirty="0"/>
              <a:t>Click to edit Master subtitle style</a:t>
            </a:r>
            <a:endParaRPr lang="en-GB" dirty="0"/>
          </a:p>
        </p:txBody>
      </p:sp>
      <p:sp>
        <p:nvSpPr>
          <p:cNvPr id="2" name="Title 1"/>
          <p:cNvSpPr>
            <a:spLocks noGrp="1"/>
          </p:cNvSpPr>
          <p:nvPr>
            <p:ph type="ctrTitle"/>
          </p:nvPr>
        </p:nvSpPr>
        <p:spPr>
          <a:xfrm>
            <a:off x="207971" y="1253525"/>
            <a:ext cx="8250237" cy="1955921"/>
          </a:xfrm>
        </p:spPr>
        <p:txBody>
          <a:bodyPr anchor="b"/>
          <a:lstStyle>
            <a:lvl1pPr>
              <a:defRPr sz="2400">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207963" y="4166741"/>
            <a:ext cx="7639050" cy="257175"/>
          </a:xfrm>
        </p:spPr>
        <p:txBody>
          <a:bodyPr>
            <a:noAutofit/>
          </a:bodyPr>
          <a:lstStyle>
            <a:lvl1pPr marL="0" indent="0">
              <a:buFont typeface="Arial" pitchFamily="34" charset="0"/>
              <a:buNone/>
              <a:defRPr sz="1800">
                <a:solidFill>
                  <a:schemeClr val="bg1">
                    <a:lumMod val="50000"/>
                  </a:schemeClr>
                </a:solidFill>
              </a:defRPr>
            </a:lvl1pPr>
            <a:lvl2pPr marL="270992" indent="0">
              <a:buNone/>
              <a:defRPr/>
            </a:lvl2pPr>
            <a:lvl3pPr marL="448405" indent="0">
              <a:buNone/>
              <a:defRPr/>
            </a:lvl3pPr>
            <a:lvl4pPr marL="625892" indent="0">
              <a:buNone/>
              <a:defRPr/>
            </a:lvl4pPr>
            <a:lvl5pPr marL="803303" indent="0">
              <a:buNone/>
              <a:defRPr/>
            </a:lvl5pPr>
          </a:lstStyle>
          <a:p>
            <a:pPr lvl="0"/>
            <a:r>
              <a:rPr lang="en-US" dirty="0"/>
              <a:t>Click to edit Master text styles</a:t>
            </a:r>
          </a:p>
        </p:txBody>
      </p:sp>
    </p:spTree>
    <p:extLst>
      <p:ext uri="{BB962C8B-B14F-4D97-AF65-F5344CB8AC3E}">
        <p14:creationId xmlns:p14="http://schemas.microsoft.com/office/powerpoint/2010/main" val="265856780"/>
      </p:ext>
    </p:extLst>
  </p:cSld>
  <p:clrMapOvr>
    <a:masterClrMapping/>
  </p:clrMapOvr>
  <p:transition spd="med">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Freeform 3"/>
          <p:cNvSpPr>
            <a:spLocks/>
          </p:cNvSpPr>
          <p:nvPr userDrawn="1"/>
        </p:nvSpPr>
        <p:spPr bwMode="auto">
          <a:xfrm>
            <a:off x="3946525" y="-12700"/>
            <a:ext cx="2179638" cy="5156200"/>
          </a:xfrm>
          <a:custGeom>
            <a:avLst/>
            <a:gdLst>
              <a:gd name="T0" fmla="*/ 0 w 1960"/>
              <a:gd name="T1" fmla="*/ 2147483647 h 4616"/>
              <a:gd name="T2" fmla="*/ 2147483647 w 1960"/>
              <a:gd name="T3" fmla="*/ 2147483647 h 4616"/>
              <a:gd name="T4" fmla="*/ 2147483647 w 1960"/>
              <a:gd name="T5" fmla="*/ 0 h 4616"/>
              <a:gd name="T6" fmla="*/ 2147483647 w 1960"/>
              <a:gd name="T7" fmla="*/ 0 h 4616"/>
              <a:gd name="T8" fmla="*/ 0 w 1960"/>
              <a:gd name="T9" fmla="*/ 2147483647 h 46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0" h="4616">
                <a:moveTo>
                  <a:pt x="0" y="4616"/>
                </a:moveTo>
                <a:cubicBezTo>
                  <a:pt x="0" y="4616"/>
                  <a:pt x="272" y="4616"/>
                  <a:pt x="544" y="4616"/>
                </a:cubicBezTo>
                <a:cubicBezTo>
                  <a:pt x="1888" y="2920"/>
                  <a:pt x="1960" y="1192"/>
                  <a:pt x="1528" y="0"/>
                </a:cubicBezTo>
                <a:cubicBezTo>
                  <a:pt x="1404" y="0"/>
                  <a:pt x="1280" y="0"/>
                  <a:pt x="1280" y="0"/>
                </a:cubicBezTo>
                <a:cubicBezTo>
                  <a:pt x="1896" y="1448"/>
                  <a:pt x="1368" y="3144"/>
                  <a:pt x="0" y="4616"/>
                </a:cubicBezTo>
                <a:close/>
              </a:path>
            </a:pathLst>
          </a:custGeom>
          <a:solidFill>
            <a:srgbClr val="C1D82F"/>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lIns="91279" tIns="45640" rIns="91279" bIns="45640"/>
          <a:lstStyle/>
          <a:p>
            <a:pPr defTabSz="912644"/>
            <a:endParaRPr lang="en-GB" sz="1800">
              <a:solidFill>
                <a:prstClr val="black"/>
              </a:solidFill>
              <a:latin typeface="Arial"/>
              <a:cs typeface="Arial" pitchFamily="34" charset="0"/>
            </a:endParaRPr>
          </a:p>
        </p:txBody>
      </p:sp>
      <p:pic>
        <p:nvPicPr>
          <p:cNvPr id="3" name="Picture 26" descr="retail plan logo"/>
          <p:cNvPicPr>
            <a:picLocks noChangeAspect="1" noChangeArrowheads="1"/>
          </p:cNvPicPr>
          <p:nvPr userDrawn="1"/>
        </p:nvPicPr>
        <p:blipFill>
          <a:blip r:embed="rId2" cstate="print">
            <a:lum bright="-6000"/>
            <a:extLst>
              <a:ext uri="{28A0092B-C50C-407E-A947-70E740481C1C}">
                <a14:useLocalDpi xmlns:a14="http://schemas.microsoft.com/office/drawing/2010/main" val="0"/>
              </a:ext>
            </a:extLst>
          </a:blip>
          <a:srcRect/>
          <a:stretch>
            <a:fillRect/>
          </a:stretch>
        </p:blipFill>
        <p:spPr bwMode="auto">
          <a:xfrm>
            <a:off x="176214" y="46038"/>
            <a:ext cx="4508500" cy="3281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5" descr="Retail Conference Logo-2012.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259579" y="4210050"/>
            <a:ext cx="2757487"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89537904"/>
      </p:ext>
    </p:extLst>
  </p:cSld>
  <p:clrMapOvr>
    <a:masterClrMapping/>
  </p:clrMapOvr>
  <p:transition spd="med">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208015" y="1220787"/>
            <a:ext cx="8804275" cy="3798888"/>
          </a:xfrm>
        </p:spPr>
        <p:txBody>
          <a:bodyPr>
            <a:normAutofit/>
          </a:bodyPr>
          <a:lstStyle>
            <a:lvl1pPr marL="270992" indent="-270992">
              <a:buFontTx/>
              <a:buBlip>
                <a:blip r:embed="rId2"/>
              </a:buBlip>
              <a:defRPr sz="2000"/>
            </a:lvl1pPr>
            <a:lvl2pPr marL="448405" indent="-177449" algn="l" defTabSz="912644" rtl="0" eaLnBrk="1" latinLnBrk="0" hangingPunct="1">
              <a:spcBef>
                <a:spcPct val="20000"/>
              </a:spcBef>
              <a:buClr>
                <a:schemeClr val="bg1">
                  <a:lumMod val="50000"/>
                </a:schemeClr>
              </a:buClr>
              <a:buFont typeface="Arial" pitchFamily="34" charset="0"/>
              <a:buChar char="•"/>
              <a:defRPr lang="en-US" sz="1800" kern="1200" dirty="0" smtClean="0">
                <a:solidFill>
                  <a:schemeClr val="bg1">
                    <a:lumMod val="50000"/>
                  </a:schemeClr>
                </a:solidFill>
                <a:latin typeface="+mn-lt"/>
                <a:ea typeface="+mn-ea"/>
                <a:cs typeface="+mn-cs"/>
              </a:defRPr>
            </a:lvl2pPr>
            <a:lvl3pPr marL="625892" indent="-177449" algn="l" defTabSz="912644" rtl="0" eaLnBrk="1" latinLnBrk="0" hangingPunct="1">
              <a:spcBef>
                <a:spcPct val="20000"/>
              </a:spcBef>
              <a:buClr>
                <a:schemeClr val="bg1">
                  <a:lumMod val="50000"/>
                </a:schemeClr>
              </a:buClr>
              <a:buFont typeface="Arial" pitchFamily="34" charset="0"/>
              <a:buChar char="•"/>
              <a:defRPr lang="en-US" sz="1400" kern="1200" dirty="0" smtClean="0">
                <a:solidFill>
                  <a:schemeClr val="bg1">
                    <a:lumMod val="50000"/>
                  </a:schemeClr>
                </a:solidFill>
                <a:latin typeface="+mn-lt"/>
                <a:ea typeface="+mn-ea"/>
                <a:cs typeface="+mn-cs"/>
              </a:defRPr>
            </a:lvl3pPr>
            <a:lvl4pPr marL="803303" indent="-177449" algn="l" defTabSz="912644" rtl="0" eaLnBrk="1" latinLnBrk="0" hangingPunct="1">
              <a:spcBef>
                <a:spcPct val="20000"/>
              </a:spcBef>
              <a:buClr>
                <a:schemeClr val="bg1">
                  <a:lumMod val="50000"/>
                </a:schemeClr>
              </a:buClr>
              <a:buFont typeface="Arial" pitchFamily="34" charset="0"/>
              <a:buChar char="•"/>
              <a:defRPr lang="en-US" sz="1400" kern="1200" dirty="0" smtClean="0">
                <a:solidFill>
                  <a:schemeClr val="bg1">
                    <a:lumMod val="50000"/>
                  </a:schemeClr>
                </a:solidFill>
                <a:latin typeface="+mn-lt"/>
                <a:ea typeface="+mn-ea"/>
                <a:cs typeface="+mn-cs"/>
              </a:defRPr>
            </a:lvl4pPr>
            <a:lvl5pPr marL="980789" indent="-177449" algn="l" defTabSz="912644" rtl="0" eaLnBrk="1" latinLnBrk="0" hangingPunct="1">
              <a:spcBef>
                <a:spcPct val="20000"/>
              </a:spcBef>
              <a:buClr>
                <a:schemeClr val="bg1">
                  <a:lumMod val="50000"/>
                </a:schemeClr>
              </a:buClr>
              <a:buFont typeface="Arial" pitchFamily="34" charset="0"/>
              <a:buChar char="•"/>
              <a:defRPr lang="en-GB" sz="1400" kern="1200" dirty="0" smtClean="0">
                <a:solidFill>
                  <a:schemeClr val="bg1">
                    <a:lumMod val="50000"/>
                  </a:schemeClr>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05642499"/>
      </p:ext>
    </p:extLst>
  </p:cSld>
  <p:clrMapOvr>
    <a:masterClrMapping/>
  </p:clrMapOvr>
  <p:transition spd="med">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1 line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208015" y="753534"/>
            <a:ext cx="8804275" cy="4266142"/>
          </a:xfrm>
        </p:spPr>
        <p:txBody>
          <a:bodyPr>
            <a:normAutofit/>
          </a:bodyPr>
          <a:lstStyle>
            <a:lvl1pPr marL="270992" indent="-270992">
              <a:buFontTx/>
              <a:buBlip>
                <a:blip r:embed="rId2"/>
              </a:buBlip>
              <a:defRPr sz="2000"/>
            </a:lvl1pPr>
            <a:lvl2pPr marL="448405" indent="-177449" algn="l" defTabSz="912644" rtl="0" eaLnBrk="1" latinLnBrk="0" hangingPunct="1">
              <a:spcBef>
                <a:spcPct val="20000"/>
              </a:spcBef>
              <a:buClr>
                <a:schemeClr val="bg1">
                  <a:lumMod val="50000"/>
                </a:schemeClr>
              </a:buClr>
              <a:buFont typeface="Arial" pitchFamily="34" charset="0"/>
              <a:buChar char="•"/>
              <a:defRPr lang="en-US" sz="1800" kern="1200" dirty="0" smtClean="0">
                <a:solidFill>
                  <a:schemeClr val="bg1">
                    <a:lumMod val="50000"/>
                  </a:schemeClr>
                </a:solidFill>
                <a:latin typeface="+mn-lt"/>
                <a:ea typeface="+mn-ea"/>
                <a:cs typeface="+mn-cs"/>
              </a:defRPr>
            </a:lvl2pPr>
            <a:lvl3pPr marL="625892" indent="-177449" algn="l" defTabSz="912644" rtl="0" eaLnBrk="1" latinLnBrk="0" hangingPunct="1">
              <a:spcBef>
                <a:spcPct val="20000"/>
              </a:spcBef>
              <a:buClr>
                <a:schemeClr val="bg1">
                  <a:lumMod val="50000"/>
                </a:schemeClr>
              </a:buClr>
              <a:buFont typeface="Arial" pitchFamily="34" charset="0"/>
              <a:buChar char="•"/>
              <a:defRPr lang="en-US" sz="1400" kern="1200" dirty="0" smtClean="0">
                <a:solidFill>
                  <a:schemeClr val="bg1">
                    <a:lumMod val="50000"/>
                  </a:schemeClr>
                </a:solidFill>
                <a:latin typeface="+mn-lt"/>
                <a:ea typeface="+mn-ea"/>
                <a:cs typeface="+mn-cs"/>
              </a:defRPr>
            </a:lvl3pPr>
            <a:lvl4pPr marL="803303" indent="-177449" algn="l" defTabSz="912644" rtl="0" eaLnBrk="1" latinLnBrk="0" hangingPunct="1">
              <a:spcBef>
                <a:spcPct val="20000"/>
              </a:spcBef>
              <a:buClr>
                <a:schemeClr val="bg1">
                  <a:lumMod val="50000"/>
                </a:schemeClr>
              </a:buClr>
              <a:buFont typeface="Arial" pitchFamily="34" charset="0"/>
              <a:buChar char="•"/>
              <a:defRPr lang="en-US" sz="1400" kern="1200" dirty="0" smtClean="0">
                <a:solidFill>
                  <a:schemeClr val="bg1">
                    <a:lumMod val="50000"/>
                  </a:schemeClr>
                </a:solidFill>
                <a:latin typeface="+mn-lt"/>
                <a:ea typeface="+mn-ea"/>
                <a:cs typeface="+mn-cs"/>
              </a:defRPr>
            </a:lvl4pPr>
            <a:lvl5pPr marL="980789" indent="-177449" algn="l" defTabSz="912644" rtl="0" eaLnBrk="1" latinLnBrk="0" hangingPunct="1">
              <a:spcBef>
                <a:spcPct val="20000"/>
              </a:spcBef>
              <a:buClr>
                <a:schemeClr val="bg1">
                  <a:lumMod val="50000"/>
                </a:schemeClr>
              </a:buClr>
              <a:buFont typeface="Arial" pitchFamily="34" charset="0"/>
              <a:buChar char="•"/>
              <a:defRPr lang="en-GB" sz="1400" kern="1200" dirty="0" smtClean="0">
                <a:solidFill>
                  <a:schemeClr val="bg1">
                    <a:lumMod val="50000"/>
                  </a:schemeClr>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64248995"/>
      </p:ext>
    </p:extLst>
  </p:cSld>
  <p:clrMapOvr>
    <a:masterClrMapping/>
  </p:clrMapOvr>
  <p:transition spd="med">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208015" y="1220787"/>
            <a:ext cx="8804275" cy="3798888"/>
          </a:xfrm>
        </p:spPr>
        <p:txBody>
          <a:bodyPr>
            <a:normAutofit/>
          </a:bodyPr>
          <a:lstStyle>
            <a:lvl1pPr marL="270992" indent="-270992">
              <a:buFontTx/>
              <a:buBlip>
                <a:blip r:embed="rId2"/>
              </a:buBlip>
              <a:defRPr sz="2000"/>
            </a:lvl1pPr>
            <a:lvl2pPr marL="448405" indent="-177449" algn="l" defTabSz="912644" rtl="0" eaLnBrk="1" latinLnBrk="0" hangingPunct="1">
              <a:spcBef>
                <a:spcPct val="20000"/>
              </a:spcBef>
              <a:buClr>
                <a:schemeClr val="bg1">
                  <a:lumMod val="50000"/>
                </a:schemeClr>
              </a:buClr>
              <a:buFont typeface="Arial" pitchFamily="34" charset="0"/>
              <a:buChar char="•"/>
              <a:defRPr lang="en-US" sz="1800" kern="1200" dirty="0" smtClean="0">
                <a:solidFill>
                  <a:schemeClr val="bg1">
                    <a:lumMod val="50000"/>
                  </a:schemeClr>
                </a:solidFill>
                <a:latin typeface="+mn-lt"/>
                <a:ea typeface="+mn-ea"/>
                <a:cs typeface="+mn-cs"/>
              </a:defRPr>
            </a:lvl2pPr>
            <a:lvl3pPr marL="625892" indent="-177449" algn="l" defTabSz="912644" rtl="0" eaLnBrk="1" latinLnBrk="0" hangingPunct="1">
              <a:spcBef>
                <a:spcPct val="20000"/>
              </a:spcBef>
              <a:buClr>
                <a:schemeClr val="bg1">
                  <a:lumMod val="50000"/>
                </a:schemeClr>
              </a:buClr>
              <a:buFont typeface="Arial" pitchFamily="34" charset="0"/>
              <a:buChar char="•"/>
              <a:defRPr lang="en-US" sz="1400" kern="1200" dirty="0" smtClean="0">
                <a:solidFill>
                  <a:schemeClr val="bg1">
                    <a:lumMod val="50000"/>
                  </a:schemeClr>
                </a:solidFill>
                <a:latin typeface="+mn-lt"/>
                <a:ea typeface="+mn-ea"/>
                <a:cs typeface="+mn-cs"/>
              </a:defRPr>
            </a:lvl3pPr>
            <a:lvl4pPr marL="803303" indent="-177449" algn="l" defTabSz="912644" rtl="0" eaLnBrk="1" latinLnBrk="0" hangingPunct="1">
              <a:spcBef>
                <a:spcPct val="20000"/>
              </a:spcBef>
              <a:buClr>
                <a:schemeClr val="bg1">
                  <a:lumMod val="50000"/>
                </a:schemeClr>
              </a:buClr>
              <a:buFont typeface="Arial" pitchFamily="34" charset="0"/>
              <a:buChar char="•"/>
              <a:defRPr lang="en-US" sz="1400" kern="1200" dirty="0" smtClean="0">
                <a:solidFill>
                  <a:schemeClr val="bg1">
                    <a:lumMod val="50000"/>
                  </a:schemeClr>
                </a:solidFill>
                <a:latin typeface="+mn-lt"/>
                <a:ea typeface="+mn-ea"/>
                <a:cs typeface="+mn-cs"/>
              </a:defRPr>
            </a:lvl4pPr>
            <a:lvl5pPr marL="980789" indent="-177449" algn="l" defTabSz="912644" rtl="0" eaLnBrk="1" latinLnBrk="0" hangingPunct="1">
              <a:spcBef>
                <a:spcPct val="20000"/>
              </a:spcBef>
              <a:buClr>
                <a:schemeClr val="bg1">
                  <a:lumMod val="50000"/>
                </a:schemeClr>
              </a:buClr>
              <a:buFont typeface="Arial" pitchFamily="34" charset="0"/>
              <a:buChar char="•"/>
              <a:defRPr lang="en-GB" sz="1400" kern="1200" dirty="0" smtClean="0">
                <a:solidFill>
                  <a:schemeClr val="bg1">
                    <a:lumMod val="50000"/>
                  </a:schemeClr>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13"/>
          </p:nvPr>
        </p:nvSpPr>
        <p:spPr>
          <a:xfrm>
            <a:off x="208015" y="582761"/>
            <a:ext cx="8804275" cy="492125"/>
          </a:xfrm>
        </p:spPr>
        <p:txBody>
          <a:bodyPr/>
          <a:lstStyle>
            <a:lvl1pPr marL="0" indent="0">
              <a:buFontTx/>
              <a:buNone/>
              <a:defRPr>
                <a:solidFill>
                  <a:schemeClr val="bg1">
                    <a:lumMod val="50000"/>
                  </a:schemeClr>
                </a:solidFill>
              </a:defRPr>
            </a:lvl1pPr>
            <a:lvl2pPr marL="270992" indent="0">
              <a:buFontTx/>
              <a:buNone/>
              <a:defRPr>
                <a:solidFill>
                  <a:schemeClr val="bg1">
                    <a:lumMod val="50000"/>
                  </a:schemeClr>
                </a:solidFill>
              </a:defRPr>
            </a:lvl2pPr>
            <a:lvl3pPr marL="448405" indent="0">
              <a:buFontTx/>
              <a:buNone/>
              <a:defRPr>
                <a:solidFill>
                  <a:schemeClr val="bg1">
                    <a:lumMod val="50000"/>
                  </a:schemeClr>
                </a:solidFill>
              </a:defRPr>
            </a:lvl3pPr>
            <a:lvl4pPr marL="625892" indent="0">
              <a:buFontTx/>
              <a:buNone/>
              <a:defRPr>
                <a:solidFill>
                  <a:schemeClr val="bg1">
                    <a:lumMod val="50000"/>
                  </a:schemeClr>
                </a:solidFill>
              </a:defRPr>
            </a:lvl4pPr>
            <a:lvl5pPr marL="803303" indent="0">
              <a:buFontTx/>
              <a:buNone/>
              <a:defRPr>
                <a:solidFill>
                  <a:schemeClr val="bg1">
                    <a:lumMod val="50000"/>
                  </a:schemeClr>
                </a:solidFill>
              </a:defRPr>
            </a:lvl5pPr>
          </a:lstStyle>
          <a:p>
            <a:pPr lvl="0"/>
            <a:r>
              <a:rPr lang="en-US" dirty="0"/>
              <a:t>Click to edit Master text styles</a:t>
            </a:r>
          </a:p>
        </p:txBody>
      </p:sp>
    </p:spTree>
    <p:extLst>
      <p:ext uri="{BB962C8B-B14F-4D97-AF65-F5344CB8AC3E}">
        <p14:creationId xmlns:p14="http://schemas.microsoft.com/office/powerpoint/2010/main" val="2021303569"/>
      </p:ext>
    </p:extLst>
  </p:cSld>
  <p:clrMapOvr>
    <a:masterClrMapping/>
  </p:clrMapOvr>
  <p:transition spd="med">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4"/>
          <p:cNvSpPr>
            <a:spLocks noGrp="1"/>
          </p:cNvSpPr>
          <p:nvPr>
            <p:ph type="body" sz="quarter" idx="13"/>
          </p:nvPr>
        </p:nvSpPr>
        <p:spPr>
          <a:xfrm>
            <a:off x="208015" y="582761"/>
            <a:ext cx="8804275" cy="492125"/>
          </a:xfrm>
        </p:spPr>
        <p:txBody>
          <a:bodyPr/>
          <a:lstStyle>
            <a:lvl1pPr marL="0" indent="0">
              <a:buFontTx/>
              <a:buNone/>
              <a:defRPr>
                <a:solidFill>
                  <a:schemeClr val="bg1">
                    <a:lumMod val="50000"/>
                  </a:schemeClr>
                </a:solidFill>
              </a:defRPr>
            </a:lvl1pPr>
            <a:lvl2pPr marL="270992" indent="0">
              <a:buFontTx/>
              <a:buNone/>
              <a:defRPr>
                <a:solidFill>
                  <a:schemeClr val="bg1">
                    <a:lumMod val="50000"/>
                  </a:schemeClr>
                </a:solidFill>
              </a:defRPr>
            </a:lvl2pPr>
            <a:lvl3pPr marL="448405" indent="0">
              <a:buFontTx/>
              <a:buNone/>
              <a:defRPr>
                <a:solidFill>
                  <a:schemeClr val="bg1">
                    <a:lumMod val="50000"/>
                  </a:schemeClr>
                </a:solidFill>
              </a:defRPr>
            </a:lvl3pPr>
            <a:lvl4pPr marL="625892" indent="0">
              <a:buFontTx/>
              <a:buNone/>
              <a:defRPr>
                <a:solidFill>
                  <a:schemeClr val="bg1">
                    <a:lumMod val="50000"/>
                  </a:schemeClr>
                </a:solidFill>
              </a:defRPr>
            </a:lvl4pPr>
            <a:lvl5pPr marL="803303" indent="0">
              <a:buFontTx/>
              <a:buNone/>
              <a:defRPr>
                <a:solidFill>
                  <a:schemeClr val="bg1">
                    <a:lumMod val="50000"/>
                  </a:schemeClr>
                </a:solidFill>
              </a:defRPr>
            </a:lvl5pPr>
          </a:lstStyle>
          <a:p>
            <a:pPr lvl="0"/>
            <a:r>
              <a:rPr lang="en-US" dirty="0"/>
              <a:t>Click to edit Master text styles</a:t>
            </a:r>
          </a:p>
        </p:txBody>
      </p:sp>
    </p:spTree>
    <p:extLst>
      <p:ext uri="{BB962C8B-B14F-4D97-AF65-F5344CB8AC3E}">
        <p14:creationId xmlns:p14="http://schemas.microsoft.com/office/powerpoint/2010/main" val="656087034"/>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98475" y="1163242"/>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89477" y="1163242"/>
            <a:ext cx="4040188"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5800" y="2059811"/>
            <a:ext cx="7772400" cy="617447"/>
          </a:xfrm>
        </p:spPr>
        <p:txBody>
          <a:bodyPr/>
          <a:lstStyle>
            <a:lvl1pPr algn="ctr">
              <a:defRPr sz="4000" b="1" cap="none"/>
            </a:lvl1pPr>
          </a:lstStyle>
          <a:p>
            <a:r>
              <a:rPr lang="en-US"/>
              <a:t>Click to edit Master title style</a:t>
            </a:r>
            <a:endParaRPr lang="en-GB" dirty="0"/>
          </a:p>
        </p:txBody>
      </p:sp>
      <p:sp>
        <p:nvSpPr>
          <p:cNvPr id="3" name="Text Placeholder 2"/>
          <p:cNvSpPr>
            <a:spLocks noGrp="1"/>
          </p:cNvSpPr>
          <p:nvPr>
            <p:ph type="body" idx="1"/>
          </p:nvPr>
        </p:nvSpPr>
        <p:spPr>
          <a:xfrm>
            <a:off x="722313" y="2569606"/>
            <a:ext cx="7772400" cy="733425"/>
          </a:xfrm>
        </p:spPr>
        <p:txBody>
          <a:bodyPr anchor="b">
            <a:normAutofit/>
          </a:bodyPr>
          <a:lstStyle>
            <a:lvl1pPr marL="0" indent="0" algn="ctr">
              <a:buNone/>
              <a:defRPr sz="3200">
                <a:solidFill>
                  <a:schemeClr val="tx1">
                    <a:tint val="75000"/>
                  </a:schemeClr>
                </a:solidFill>
              </a:defRPr>
            </a:lvl1pPr>
            <a:lvl2pPr marL="456269" indent="0">
              <a:buNone/>
              <a:defRPr sz="1800">
                <a:solidFill>
                  <a:schemeClr val="tx1">
                    <a:tint val="75000"/>
                  </a:schemeClr>
                </a:solidFill>
              </a:defRPr>
            </a:lvl2pPr>
            <a:lvl3pPr marL="912644" indent="0">
              <a:buNone/>
              <a:defRPr sz="1600">
                <a:solidFill>
                  <a:schemeClr val="tx1">
                    <a:tint val="75000"/>
                  </a:schemeClr>
                </a:solidFill>
              </a:defRPr>
            </a:lvl3pPr>
            <a:lvl4pPr marL="1368948" indent="0">
              <a:buNone/>
              <a:defRPr sz="1400">
                <a:solidFill>
                  <a:schemeClr val="tx1">
                    <a:tint val="75000"/>
                  </a:schemeClr>
                </a:solidFill>
              </a:defRPr>
            </a:lvl4pPr>
            <a:lvl5pPr marL="1825286" indent="0">
              <a:buNone/>
              <a:defRPr sz="1400">
                <a:solidFill>
                  <a:schemeClr val="tx1">
                    <a:tint val="75000"/>
                  </a:schemeClr>
                </a:solidFill>
              </a:defRPr>
            </a:lvl5pPr>
            <a:lvl6pPr marL="2281554" indent="0">
              <a:buNone/>
              <a:defRPr sz="1400">
                <a:solidFill>
                  <a:schemeClr val="tx1">
                    <a:tint val="75000"/>
                  </a:schemeClr>
                </a:solidFill>
              </a:defRPr>
            </a:lvl6pPr>
            <a:lvl7pPr marL="2737820" indent="0">
              <a:buNone/>
              <a:defRPr sz="1400">
                <a:solidFill>
                  <a:schemeClr val="tx1">
                    <a:tint val="75000"/>
                  </a:schemeClr>
                </a:solidFill>
              </a:defRPr>
            </a:lvl7pPr>
            <a:lvl8pPr marL="3194165" indent="0">
              <a:buNone/>
              <a:defRPr sz="1400">
                <a:solidFill>
                  <a:schemeClr val="tx1">
                    <a:tint val="75000"/>
                  </a:schemeClr>
                </a:solidFill>
              </a:defRPr>
            </a:lvl8pPr>
            <a:lvl9pPr marL="3650488"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02821800"/>
      </p:ext>
    </p:extLst>
  </p:cSld>
  <p:clrMapOvr>
    <a:masterClrMapping/>
  </p:clrMapOvr>
  <p:transition spd="med">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19174207"/>
      </p:ext>
    </p:extLst>
  </p:cSld>
  <p:clrMapOvr>
    <a:masterClrMapping/>
  </p:clrMapOvr>
  <p:transition spd="med">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4139689"/>
      </p:ext>
    </p:extLst>
  </p:cSld>
  <p:clrMapOvr>
    <a:masterClrMapping/>
  </p:clrMapOvr>
  <p:transition spd="med">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a:xfrm>
            <a:off x="7589520" y="0"/>
            <a:ext cx="155448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en-US" sz="1800" dirty="0">
              <a:solidFill>
                <a:srgbClr val="FFFFFF"/>
              </a:solidFill>
            </a:endParaRPr>
          </a:p>
        </p:txBody>
      </p:sp>
      <p:sp>
        <p:nvSpPr>
          <p:cNvPr id="2" name="Title 1"/>
          <p:cNvSpPr>
            <a:spLocks noGrp="1"/>
          </p:cNvSpPr>
          <p:nvPr>
            <p:ph type="ctrTitle" hasCustomPrompt="1"/>
          </p:nvPr>
        </p:nvSpPr>
        <p:spPr>
          <a:xfrm>
            <a:off x="1358716" y="1359732"/>
            <a:ext cx="4870904" cy="1102519"/>
          </a:xfrm>
        </p:spPr>
        <p:txBody>
          <a:bodyPr/>
          <a:lstStyle>
            <a:lvl1pPr algn="ctr">
              <a:defRPr sz="2800" b="0" cap="all" baseline="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358716" y="2676485"/>
            <a:ext cx="4870904" cy="1314450"/>
          </a:xfrm>
        </p:spPr>
        <p:txBody>
          <a:bodyPr/>
          <a:lstStyle>
            <a:lvl1pPr marL="0" indent="0" algn="ctr">
              <a:buNone/>
              <a:defRPr b="0" i="0">
                <a:solidFill>
                  <a:schemeClr val="bg1"/>
                </a:solidFill>
              </a:defRPr>
            </a:lvl1pPr>
            <a:lvl2pPr marL="456269" indent="0" algn="ctr">
              <a:buNone/>
              <a:defRPr>
                <a:solidFill>
                  <a:schemeClr val="tx1">
                    <a:tint val="75000"/>
                  </a:schemeClr>
                </a:solidFill>
              </a:defRPr>
            </a:lvl2pPr>
            <a:lvl3pPr marL="912644" indent="0" algn="ctr">
              <a:buNone/>
              <a:defRPr>
                <a:solidFill>
                  <a:schemeClr val="tx1">
                    <a:tint val="75000"/>
                  </a:schemeClr>
                </a:solidFill>
              </a:defRPr>
            </a:lvl3pPr>
            <a:lvl4pPr marL="1368948" indent="0" algn="ctr">
              <a:buNone/>
              <a:defRPr>
                <a:solidFill>
                  <a:schemeClr val="tx1">
                    <a:tint val="75000"/>
                  </a:schemeClr>
                </a:solidFill>
              </a:defRPr>
            </a:lvl4pPr>
            <a:lvl5pPr marL="1825286" indent="0" algn="ctr">
              <a:buNone/>
              <a:defRPr>
                <a:solidFill>
                  <a:schemeClr val="tx1">
                    <a:tint val="75000"/>
                  </a:schemeClr>
                </a:solidFill>
              </a:defRPr>
            </a:lvl5pPr>
            <a:lvl6pPr marL="2281554" indent="0" algn="ctr">
              <a:buNone/>
              <a:defRPr>
                <a:solidFill>
                  <a:schemeClr val="tx1">
                    <a:tint val="75000"/>
                  </a:schemeClr>
                </a:solidFill>
              </a:defRPr>
            </a:lvl6pPr>
            <a:lvl7pPr marL="2737820" indent="0" algn="ctr">
              <a:buNone/>
              <a:defRPr>
                <a:solidFill>
                  <a:schemeClr val="tx1">
                    <a:tint val="75000"/>
                  </a:schemeClr>
                </a:solidFill>
              </a:defRPr>
            </a:lvl7pPr>
            <a:lvl8pPr marL="3194165" indent="0" algn="ctr">
              <a:buNone/>
              <a:defRPr>
                <a:solidFill>
                  <a:schemeClr val="tx1">
                    <a:tint val="75000"/>
                  </a:schemeClr>
                </a:solidFill>
              </a:defRPr>
            </a:lvl8pPr>
            <a:lvl9pPr marL="3650488" indent="0" algn="ctr">
              <a:buNone/>
              <a:defRPr>
                <a:solidFill>
                  <a:schemeClr val="tx1">
                    <a:tint val="75000"/>
                  </a:schemeClr>
                </a:solidFill>
              </a:defRPr>
            </a:lvl9pPr>
          </a:lstStyle>
          <a:p>
            <a:r>
              <a:rPr lang="en-US" dirty="0"/>
              <a:t>Click to edit Master subtitle style</a:t>
            </a:r>
          </a:p>
        </p:txBody>
      </p:sp>
      <p:sp>
        <p:nvSpPr>
          <p:cNvPr id="6" name="Rectangle 5"/>
          <p:cNvSpPr/>
          <p:nvPr userDrawn="1"/>
        </p:nvSpPr>
        <p:spPr>
          <a:xfrm>
            <a:off x="11612880" y="133350"/>
            <a:ext cx="1524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en-US" sz="1800">
              <a:solidFill>
                <a:srgbClr val="FFFFFF"/>
              </a:solidFill>
            </a:endParaRP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050" y="4652405"/>
            <a:ext cx="2196390" cy="341289"/>
          </a:xfrm>
          <a:prstGeom prst="rect">
            <a:avLst/>
          </a:prstGeom>
          <a:effectLst/>
        </p:spPr>
      </p:pic>
    </p:spTree>
    <p:extLst>
      <p:ext uri="{BB962C8B-B14F-4D97-AF65-F5344CB8AC3E}">
        <p14:creationId xmlns:p14="http://schemas.microsoft.com/office/powerpoint/2010/main" val="353120104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alpha val="80000"/>
          </a:schemeClr>
        </a:solidFill>
        <a:effectLst/>
      </p:bgPr>
    </p:bg>
    <p:spTree>
      <p:nvGrpSpPr>
        <p:cNvPr id="1" name=""/>
        <p:cNvGrpSpPr/>
        <p:nvPr/>
      </p:nvGrpSpPr>
      <p:grpSpPr>
        <a:xfrm>
          <a:off x="0" y="0"/>
          <a:ext cx="0" cy="0"/>
          <a:chOff x="0" y="0"/>
          <a:chExt cx="0" cy="0"/>
        </a:xfrm>
      </p:grpSpPr>
      <p:sp>
        <p:nvSpPr>
          <p:cNvPr id="6" name="Rectangle 5"/>
          <p:cNvSpPr/>
          <p:nvPr userDrawn="1"/>
        </p:nvSpPr>
        <p:spPr>
          <a:xfrm>
            <a:off x="0" y="1"/>
            <a:ext cx="9144000" cy="4787900"/>
          </a:xfrm>
          <a:prstGeom prst="rect">
            <a:avLst/>
          </a:prstGeom>
        </p:spPr>
        <p:style>
          <a:lnRef idx="0">
            <a:schemeClr val="accent1"/>
          </a:lnRef>
          <a:fillRef idx="3">
            <a:schemeClr val="accent1"/>
          </a:fillRef>
          <a:effectRef idx="3">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en-US" sz="1800" dirty="0">
              <a:solidFill>
                <a:srgbClr val="FFFFFF"/>
              </a:solidFill>
              <a:latin typeface="Arial"/>
              <a:cs typeface="Arial"/>
            </a:endParaRPr>
          </a:p>
        </p:txBody>
      </p:sp>
      <p:sp>
        <p:nvSpPr>
          <p:cNvPr id="2" name="Title 1"/>
          <p:cNvSpPr>
            <a:spLocks noGrp="1"/>
          </p:cNvSpPr>
          <p:nvPr>
            <p:ph type="title" hasCustomPrompt="1"/>
          </p:nvPr>
        </p:nvSpPr>
        <p:spPr>
          <a:xfrm>
            <a:off x="1371600" y="1502554"/>
            <a:ext cx="6400800" cy="1021556"/>
          </a:xfrm>
        </p:spPr>
        <p:txBody>
          <a:bodyPr anchor="b"/>
          <a:lstStyle>
            <a:lvl1pPr algn="ctr">
              <a:defRPr sz="2800" b="0" cap="all" baseline="0">
                <a:solidFill>
                  <a:schemeClr val="bg1"/>
                </a:solidFill>
                <a:latin typeface="Arial"/>
                <a:ea typeface="Segoe UI Symbol" pitchFamily="34" charset="0"/>
                <a:cs typeface="Arial"/>
              </a:defRPr>
            </a:lvl1pPr>
          </a:lstStyle>
          <a:p>
            <a:r>
              <a:rPr lang="en-US" dirty="0"/>
              <a:t>CLICK TO EDIT MASTER TITLE STYLE</a:t>
            </a:r>
          </a:p>
        </p:txBody>
      </p:sp>
      <p:sp>
        <p:nvSpPr>
          <p:cNvPr id="3" name="Text Placeholder 2"/>
          <p:cNvSpPr>
            <a:spLocks noGrp="1"/>
          </p:cNvSpPr>
          <p:nvPr>
            <p:ph type="body" idx="1"/>
          </p:nvPr>
        </p:nvSpPr>
        <p:spPr>
          <a:xfrm>
            <a:off x="1371600" y="2609449"/>
            <a:ext cx="6400800" cy="1125140"/>
          </a:xfrm>
        </p:spPr>
        <p:txBody>
          <a:bodyPr anchor="t"/>
          <a:lstStyle>
            <a:lvl1pPr marL="0" indent="0" algn="ctr">
              <a:buNone/>
              <a:defRPr sz="2000">
                <a:solidFill>
                  <a:schemeClr val="bg1"/>
                </a:solidFill>
                <a:latin typeface="Arial"/>
                <a:cs typeface="Arial"/>
              </a:defRPr>
            </a:lvl1pPr>
            <a:lvl2pPr marL="456269" indent="0">
              <a:buNone/>
              <a:defRPr sz="1800">
                <a:solidFill>
                  <a:schemeClr val="tx1">
                    <a:tint val="75000"/>
                  </a:schemeClr>
                </a:solidFill>
              </a:defRPr>
            </a:lvl2pPr>
            <a:lvl3pPr marL="912644" indent="0">
              <a:buNone/>
              <a:defRPr sz="1600">
                <a:solidFill>
                  <a:schemeClr val="tx1">
                    <a:tint val="75000"/>
                  </a:schemeClr>
                </a:solidFill>
              </a:defRPr>
            </a:lvl3pPr>
            <a:lvl4pPr marL="1368948" indent="0">
              <a:buNone/>
              <a:defRPr sz="1400">
                <a:solidFill>
                  <a:schemeClr val="tx1">
                    <a:tint val="75000"/>
                  </a:schemeClr>
                </a:solidFill>
              </a:defRPr>
            </a:lvl4pPr>
            <a:lvl5pPr marL="1825286" indent="0">
              <a:buNone/>
              <a:defRPr sz="1400">
                <a:solidFill>
                  <a:schemeClr val="tx1">
                    <a:tint val="75000"/>
                  </a:schemeClr>
                </a:solidFill>
              </a:defRPr>
            </a:lvl5pPr>
            <a:lvl6pPr marL="2281554" indent="0">
              <a:buNone/>
              <a:defRPr sz="1400">
                <a:solidFill>
                  <a:schemeClr val="tx1">
                    <a:tint val="75000"/>
                  </a:schemeClr>
                </a:solidFill>
              </a:defRPr>
            </a:lvl6pPr>
            <a:lvl7pPr marL="2737820" indent="0">
              <a:buNone/>
              <a:defRPr sz="1400">
                <a:solidFill>
                  <a:schemeClr val="tx1">
                    <a:tint val="75000"/>
                  </a:schemeClr>
                </a:solidFill>
              </a:defRPr>
            </a:lvl7pPr>
            <a:lvl8pPr marL="3194165" indent="0">
              <a:buNone/>
              <a:defRPr sz="1400">
                <a:solidFill>
                  <a:schemeClr val="tx1">
                    <a:tint val="75000"/>
                  </a:schemeClr>
                </a:solidFill>
              </a:defRPr>
            </a:lvl8pPr>
            <a:lvl9pPr marL="3650488" indent="0">
              <a:buNone/>
              <a:defRPr sz="1400">
                <a:solidFill>
                  <a:schemeClr val="tx1">
                    <a:tint val="75000"/>
                  </a:schemeClr>
                </a:solidFill>
              </a:defRPr>
            </a:lvl9pPr>
          </a:lstStyle>
          <a:p>
            <a:pPr lvl="0"/>
            <a:r>
              <a:rPr lang="en-US" dirty="0"/>
              <a:t>Click to edit Master text styles</a:t>
            </a:r>
          </a:p>
        </p:txBody>
      </p:sp>
      <p:sp>
        <p:nvSpPr>
          <p:cNvPr id="4" name="TextBox 3"/>
          <p:cNvSpPr txBox="1"/>
          <p:nvPr userDrawn="1"/>
        </p:nvSpPr>
        <p:spPr>
          <a:xfrm>
            <a:off x="1803402" y="889000"/>
            <a:ext cx="184666" cy="369332"/>
          </a:xfrm>
          <a:prstGeom prst="rect">
            <a:avLst/>
          </a:prstGeom>
          <a:noFill/>
        </p:spPr>
        <p:txBody>
          <a:bodyPr wrap="none" lIns="91284" tIns="45642" rIns="91284" bIns="45642" rtlCol="0">
            <a:spAutoFit/>
          </a:bodyPr>
          <a:lstStyle/>
          <a:p>
            <a:pPr defTabSz="912644" fontAlgn="auto">
              <a:spcBef>
                <a:spcPts val="0"/>
              </a:spcBef>
              <a:spcAft>
                <a:spcPts val="0"/>
              </a:spcAft>
            </a:pPr>
            <a:endParaRPr lang="en-US" sz="1800" dirty="0">
              <a:solidFill>
                <a:srgbClr val="3F3F41"/>
              </a:solidFill>
              <a:latin typeface="Segoe UI Light"/>
              <a:cs typeface="+mn-cs"/>
            </a:endParaRPr>
          </a:p>
        </p:txBody>
      </p:sp>
    </p:spTree>
    <p:extLst>
      <p:ext uri="{BB962C8B-B14F-4D97-AF65-F5344CB8AC3E}">
        <p14:creationId xmlns:p14="http://schemas.microsoft.com/office/powerpoint/2010/main" val="262185516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ext and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Slide Number Placeholder 6"/>
          <p:cNvSpPr>
            <a:spLocks noGrp="1"/>
          </p:cNvSpPr>
          <p:nvPr>
            <p:ph type="sldNum" sz="quarter" idx="10"/>
          </p:nvPr>
        </p:nvSpPr>
        <p:spPr/>
        <p:txBody>
          <a:bodyPr/>
          <a:lstStyle/>
          <a:p>
            <a:fld id="{E1B70DA0-BFD5-411C-A11E-155B57496FC3}" type="slidenum">
              <a:rPr lang="en-US" smtClean="0">
                <a:solidFill>
                  <a:srgbClr val="7E7E81"/>
                </a:solidFill>
              </a:rPr>
              <a:pPr/>
              <a:t>‹#›</a:t>
            </a:fld>
            <a:endParaRPr lang="en-US" dirty="0">
              <a:solidFill>
                <a:srgbClr val="7E7E81"/>
              </a:solidFill>
            </a:endParaRPr>
          </a:p>
        </p:txBody>
      </p:sp>
      <p:sp>
        <p:nvSpPr>
          <p:cNvPr id="5" name="Text Placeholder 4"/>
          <p:cNvSpPr>
            <a:spLocks noGrp="1"/>
          </p:cNvSpPr>
          <p:nvPr>
            <p:ph type="body" sz="quarter" idx="11"/>
          </p:nvPr>
        </p:nvSpPr>
        <p:spPr>
          <a:xfrm>
            <a:off x="273089" y="1005840"/>
            <a:ext cx="8596313" cy="3200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13561187"/>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Small Text and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6"/>
          <p:cNvSpPr>
            <a:spLocks noGrp="1"/>
          </p:cNvSpPr>
          <p:nvPr>
            <p:ph type="sldNum" sz="quarter" idx="10"/>
          </p:nvPr>
        </p:nvSpPr>
        <p:spPr/>
        <p:txBody>
          <a:bodyPr/>
          <a:lstStyle/>
          <a:p>
            <a:fld id="{E1B70DA0-BFD5-411C-A11E-155B57496FC3}" type="slidenum">
              <a:rPr lang="en-US" smtClean="0">
                <a:solidFill>
                  <a:srgbClr val="7E7E81"/>
                </a:solidFill>
              </a:rPr>
              <a:pPr/>
              <a:t>‹#›</a:t>
            </a:fld>
            <a:endParaRPr lang="en-US" dirty="0">
              <a:solidFill>
                <a:srgbClr val="7E7E81"/>
              </a:solidFill>
            </a:endParaRPr>
          </a:p>
        </p:txBody>
      </p:sp>
      <p:sp>
        <p:nvSpPr>
          <p:cNvPr id="5" name="Text Placeholder 4"/>
          <p:cNvSpPr>
            <a:spLocks noGrp="1"/>
          </p:cNvSpPr>
          <p:nvPr>
            <p:ph type="body" sz="quarter" idx="11"/>
          </p:nvPr>
        </p:nvSpPr>
        <p:spPr>
          <a:xfrm>
            <a:off x="273089" y="1010678"/>
            <a:ext cx="8596313" cy="3200400"/>
          </a:xfrm>
        </p:spPr>
        <p:txBody>
          <a:bodyPr/>
          <a:lstStyle>
            <a:lvl1pPr marL="91284" indent="-91284">
              <a:spcBef>
                <a:spcPts val="1200"/>
              </a:spcBef>
              <a:defRPr sz="1200"/>
            </a:lvl1pPr>
            <a:lvl2pPr marL="273848" indent="-91284">
              <a:spcBef>
                <a:spcPts val="200"/>
              </a:spcBef>
              <a:defRPr sz="1100"/>
            </a:lvl2pPr>
            <a:lvl3pPr marL="501983" indent="-73034">
              <a:spcBef>
                <a:spcPts val="200"/>
              </a:spcBef>
              <a:defRPr sz="1000"/>
            </a:lvl3pPr>
            <a:lvl4pPr marL="730116" indent="-91284">
              <a:spcBef>
                <a:spcPts val="200"/>
              </a:spcBef>
              <a:defRPr sz="9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23809725"/>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No First Level Bullet Text and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Slide Number Placeholder 6"/>
          <p:cNvSpPr>
            <a:spLocks noGrp="1"/>
          </p:cNvSpPr>
          <p:nvPr>
            <p:ph type="sldNum" sz="quarter" idx="10"/>
          </p:nvPr>
        </p:nvSpPr>
        <p:spPr/>
        <p:txBody>
          <a:bodyPr/>
          <a:lstStyle/>
          <a:p>
            <a:fld id="{E1B70DA0-BFD5-411C-A11E-155B57496FC3}" type="slidenum">
              <a:rPr lang="en-US" smtClean="0">
                <a:solidFill>
                  <a:srgbClr val="7E7E81"/>
                </a:solidFill>
              </a:rPr>
              <a:pPr/>
              <a:t>‹#›</a:t>
            </a:fld>
            <a:endParaRPr lang="en-US" dirty="0">
              <a:solidFill>
                <a:srgbClr val="7E7E81"/>
              </a:solidFill>
            </a:endParaRPr>
          </a:p>
        </p:txBody>
      </p:sp>
      <p:sp>
        <p:nvSpPr>
          <p:cNvPr id="5" name="Text Placeholder 4"/>
          <p:cNvSpPr>
            <a:spLocks noGrp="1"/>
          </p:cNvSpPr>
          <p:nvPr>
            <p:ph type="body" sz="quarter" idx="11"/>
          </p:nvPr>
        </p:nvSpPr>
        <p:spPr>
          <a:xfrm>
            <a:off x="273089" y="1005840"/>
            <a:ext cx="8596313" cy="3200400"/>
          </a:xfrm>
        </p:spPr>
        <p:txBody>
          <a:bodyPr/>
          <a:lstStyle>
            <a:lvl1pPr marL="0" indent="0">
              <a:spcBef>
                <a:spcPts val="2400"/>
              </a:spcBef>
              <a:buNone/>
              <a:tabLst>
                <a:tab pos="342200" algn="l"/>
              </a:tabLst>
              <a:defRPr>
                <a:solidFill>
                  <a:schemeClr val="accent1"/>
                </a:solidFill>
                <a:latin typeface="Segoe UI" pitchFamily="34" charset="0"/>
                <a:ea typeface="Segoe UI" pitchFamily="34" charset="0"/>
                <a:cs typeface="Segoe UI" pitchFamily="34" charset="0"/>
              </a:defRPr>
            </a:lvl1pPr>
            <a:lvl2pPr marL="118638" indent="-118638">
              <a:buFont typeface="Wingdings" pitchFamily="2" charset="2"/>
              <a:buChar char=""/>
              <a:tabLst>
                <a:tab pos="342200" algn="l"/>
              </a:tabLst>
              <a:defRPr/>
            </a:lvl2pPr>
            <a:lvl3pPr marL="365058" indent="-136925">
              <a:buFont typeface="Arial Unicode MS" pitchFamily="34" charset="-128"/>
              <a:buChar char="−"/>
              <a:tabLst>
                <a:tab pos="342200" algn="l"/>
              </a:tabLst>
              <a:defRPr/>
            </a:lvl3pPr>
            <a:lvl4pPr marL="638832" indent="-91284">
              <a:buFont typeface="Wingdings" pitchFamily="2" charset="2"/>
              <a:buChar char=""/>
              <a:tabLst>
                <a:tab pos="342200" algn="l"/>
              </a:tabLs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531956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mall No First Level Bullet Text and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Slide Number Placeholder 6"/>
          <p:cNvSpPr>
            <a:spLocks noGrp="1"/>
          </p:cNvSpPr>
          <p:nvPr>
            <p:ph type="sldNum" sz="quarter" idx="10"/>
          </p:nvPr>
        </p:nvSpPr>
        <p:spPr/>
        <p:txBody>
          <a:bodyPr/>
          <a:lstStyle/>
          <a:p>
            <a:fld id="{E1B70DA0-BFD5-411C-A11E-155B57496FC3}" type="slidenum">
              <a:rPr lang="en-US" smtClean="0">
                <a:solidFill>
                  <a:srgbClr val="7E7E81"/>
                </a:solidFill>
              </a:rPr>
              <a:pPr/>
              <a:t>‹#›</a:t>
            </a:fld>
            <a:endParaRPr lang="en-US" dirty="0">
              <a:solidFill>
                <a:srgbClr val="7E7E81"/>
              </a:solidFill>
            </a:endParaRPr>
          </a:p>
        </p:txBody>
      </p:sp>
      <p:sp>
        <p:nvSpPr>
          <p:cNvPr id="5" name="Text Placeholder 4"/>
          <p:cNvSpPr>
            <a:spLocks noGrp="1"/>
          </p:cNvSpPr>
          <p:nvPr>
            <p:ph type="body" sz="quarter" idx="11"/>
          </p:nvPr>
        </p:nvSpPr>
        <p:spPr>
          <a:xfrm>
            <a:off x="273089" y="1010678"/>
            <a:ext cx="8596313" cy="3200400"/>
          </a:xfrm>
        </p:spPr>
        <p:txBody>
          <a:bodyPr/>
          <a:lstStyle>
            <a:lvl1pPr marL="0" indent="0">
              <a:spcBef>
                <a:spcPts val="1800"/>
              </a:spcBef>
              <a:buNone/>
              <a:defRPr sz="1200">
                <a:solidFill>
                  <a:schemeClr val="accent1"/>
                </a:solidFill>
                <a:latin typeface="Segoe UI" pitchFamily="34" charset="0"/>
                <a:ea typeface="Segoe UI" pitchFamily="34" charset="0"/>
                <a:cs typeface="Segoe UI" pitchFamily="34" charset="0"/>
              </a:defRPr>
            </a:lvl1pPr>
            <a:lvl2pPr marL="91284" indent="-91284">
              <a:spcBef>
                <a:spcPts val="300"/>
              </a:spcBef>
              <a:buFont typeface="Wingdings" pitchFamily="2" charset="2"/>
              <a:buChar char=""/>
              <a:defRPr sz="1100"/>
            </a:lvl2pPr>
            <a:lvl3pPr marL="273848" indent="-91284">
              <a:spcBef>
                <a:spcPts val="200"/>
              </a:spcBef>
              <a:buFont typeface="Arial Unicode MS" pitchFamily="34" charset="-128"/>
              <a:buChar char="−"/>
              <a:defRPr sz="1100"/>
            </a:lvl3pPr>
            <a:lvl4pPr marL="501983" indent="-73034">
              <a:spcBef>
                <a:spcPts val="200"/>
              </a:spcBef>
              <a:buFont typeface="Wingdings" pitchFamily="2" charset="2"/>
              <a:buChar char=""/>
              <a:defRPr sz="9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79335903"/>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Left Text and Right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6"/>
          <p:cNvSpPr>
            <a:spLocks noGrp="1"/>
          </p:cNvSpPr>
          <p:nvPr>
            <p:ph type="sldNum" sz="quarter" idx="10"/>
          </p:nvPr>
        </p:nvSpPr>
        <p:spPr/>
        <p:txBody>
          <a:bodyPr/>
          <a:lstStyle/>
          <a:p>
            <a:fld id="{E1B70DA0-BFD5-411C-A11E-155B57496FC3}" type="slidenum">
              <a:rPr lang="en-US" smtClean="0">
                <a:solidFill>
                  <a:srgbClr val="7E7E81"/>
                </a:solidFill>
              </a:rPr>
              <a:pPr/>
              <a:t>‹#›</a:t>
            </a:fld>
            <a:endParaRPr lang="en-US" dirty="0">
              <a:solidFill>
                <a:srgbClr val="7E7E81"/>
              </a:solidFill>
            </a:endParaRPr>
          </a:p>
        </p:txBody>
      </p:sp>
      <p:sp>
        <p:nvSpPr>
          <p:cNvPr id="5" name="Text Placeholder 4"/>
          <p:cNvSpPr>
            <a:spLocks noGrp="1"/>
          </p:cNvSpPr>
          <p:nvPr>
            <p:ph type="body" sz="quarter" idx="11"/>
          </p:nvPr>
        </p:nvSpPr>
        <p:spPr>
          <a:xfrm>
            <a:off x="273050" y="1005840"/>
            <a:ext cx="5760720" cy="3200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Picture Placeholder 3"/>
          <p:cNvSpPr>
            <a:spLocks noGrp="1" noChangeAspect="1"/>
          </p:cNvSpPr>
          <p:nvPr>
            <p:ph type="pic" sz="quarter" idx="12"/>
          </p:nvPr>
        </p:nvSpPr>
        <p:spPr>
          <a:xfrm>
            <a:off x="6583363" y="1023938"/>
            <a:ext cx="2286000" cy="3200400"/>
          </a:xfrm>
          <a:solidFill>
            <a:schemeClr val="bg2">
              <a:lumMod val="20000"/>
              <a:lumOff val="80000"/>
            </a:schemeClr>
          </a:solidFill>
          <a:ln w="12700">
            <a:solidFill>
              <a:schemeClr val="bg2"/>
            </a:solidFill>
            <a:miter lim="800000"/>
          </a:ln>
        </p:spPr>
        <p:txBody>
          <a:bodyPr bIns="456269" anchor="ctr"/>
          <a:lstStyle>
            <a:lvl1pPr marL="0" indent="0" algn="ctr">
              <a:buNone/>
              <a:defRPr sz="1600"/>
            </a:lvl1pPr>
          </a:lstStyle>
          <a:p>
            <a:endParaRPr lang="en-US" dirty="0"/>
          </a:p>
        </p:txBody>
      </p:sp>
    </p:spTree>
    <p:extLst>
      <p:ext uri="{BB962C8B-B14F-4D97-AF65-F5344CB8AC3E}">
        <p14:creationId xmlns:p14="http://schemas.microsoft.com/office/powerpoint/2010/main" val="35060857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574676" y="1564482"/>
            <a:ext cx="3917950" cy="2833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5026" y="1564482"/>
            <a:ext cx="3919538" cy="2833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109"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10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Right Text and Left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6"/>
          <p:cNvSpPr>
            <a:spLocks noGrp="1"/>
          </p:cNvSpPr>
          <p:nvPr>
            <p:ph type="sldNum" sz="quarter" idx="10"/>
          </p:nvPr>
        </p:nvSpPr>
        <p:spPr/>
        <p:txBody>
          <a:bodyPr/>
          <a:lstStyle/>
          <a:p>
            <a:fld id="{E1B70DA0-BFD5-411C-A11E-155B57496FC3}" type="slidenum">
              <a:rPr lang="en-US" smtClean="0">
                <a:solidFill>
                  <a:srgbClr val="7E7E81"/>
                </a:solidFill>
              </a:rPr>
              <a:pPr/>
              <a:t>‹#›</a:t>
            </a:fld>
            <a:endParaRPr lang="en-US" dirty="0">
              <a:solidFill>
                <a:srgbClr val="7E7E81"/>
              </a:solidFill>
            </a:endParaRPr>
          </a:p>
        </p:txBody>
      </p:sp>
      <p:sp>
        <p:nvSpPr>
          <p:cNvPr id="5" name="Text Placeholder 4"/>
          <p:cNvSpPr>
            <a:spLocks noGrp="1"/>
          </p:cNvSpPr>
          <p:nvPr>
            <p:ph type="body" sz="quarter" idx="11"/>
          </p:nvPr>
        </p:nvSpPr>
        <p:spPr>
          <a:xfrm>
            <a:off x="2834323" y="1005840"/>
            <a:ext cx="6035040" cy="3200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Picture Placeholder 3"/>
          <p:cNvSpPr>
            <a:spLocks noGrp="1" noChangeAspect="1"/>
          </p:cNvSpPr>
          <p:nvPr>
            <p:ph type="pic" sz="quarter" idx="12"/>
          </p:nvPr>
        </p:nvSpPr>
        <p:spPr>
          <a:xfrm>
            <a:off x="273050" y="1023938"/>
            <a:ext cx="2286000" cy="3200400"/>
          </a:xfrm>
          <a:solidFill>
            <a:schemeClr val="bg2">
              <a:lumMod val="20000"/>
              <a:lumOff val="80000"/>
            </a:schemeClr>
          </a:solidFill>
          <a:ln w="12700">
            <a:solidFill>
              <a:schemeClr val="bg2"/>
            </a:solidFill>
            <a:miter lim="800000"/>
          </a:ln>
        </p:spPr>
        <p:txBody>
          <a:bodyPr bIns="456269" anchor="ctr"/>
          <a:lstStyle>
            <a:lvl1pPr marL="0" indent="0" algn="ctr">
              <a:buNone/>
              <a:defRPr sz="1600"/>
            </a:lvl1pPr>
          </a:lstStyle>
          <a:p>
            <a:endParaRPr lang="en-US" dirty="0"/>
          </a:p>
        </p:txBody>
      </p:sp>
    </p:spTree>
    <p:extLst>
      <p:ext uri="{BB962C8B-B14F-4D97-AF65-F5344CB8AC3E}">
        <p14:creationId xmlns:p14="http://schemas.microsoft.com/office/powerpoint/2010/main" val="223920214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E1B70DA0-BFD5-411C-A11E-155B57496FC3}" type="slidenum">
              <a:rPr lang="en-US" smtClean="0">
                <a:solidFill>
                  <a:srgbClr val="7E7E81"/>
                </a:solidFill>
              </a:rPr>
              <a:pPr/>
              <a:t>‹#›</a:t>
            </a:fld>
            <a:endParaRPr lang="en-US" dirty="0">
              <a:solidFill>
                <a:srgbClr val="7E7E81"/>
              </a:solidFill>
            </a:endParaRPr>
          </a:p>
        </p:txBody>
      </p:sp>
    </p:spTree>
    <p:extLst>
      <p:ext uri="{BB962C8B-B14F-4D97-AF65-F5344CB8AC3E}">
        <p14:creationId xmlns:p14="http://schemas.microsoft.com/office/powerpoint/2010/main" val="2952001314"/>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E1B70DA0-BFD5-411C-A11E-155B57496FC3}" type="slidenum">
              <a:rPr lang="en-US" smtClean="0">
                <a:solidFill>
                  <a:srgbClr val="7E7E81"/>
                </a:solidFill>
              </a:rPr>
              <a:pPr/>
              <a:t>‹#›</a:t>
            </a:fld>
            <a:endParaRPr lang="en-US" dirty="0">
              <a:solidFill>
                <a:srgbClr val="7E7E81"/>
              </a:solidFill>
            </a:endParaRPr>
          </a:p>
        </p:txBody>
      </p:sp>
    </p:spTree>
    <p:extLst>
      <p:ext uri="{BB962C8B-B14F-4D97-AF65-F5344CB8AC3E}">
        <p14:creationId xmlns:p14="http://schemas.microsoft.com/office/powerpoint/2010/main" val="3635233228"/>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Top Image and Bottom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6"/>
          <p:cNvSpPr>
            <a:spLocks noGrp="1"/>
          </p:cNvSpPr>
          <p:nvPr>
            <p:ph type="sldNum" sz="quarter" idx="10"/>
          </p:nvPr>
        </p:nvSpPr>
        <p:spPr/>
        <p:txBody>
          <a:bodyPr/>
          <a:lstStyle/>
          <a:p>
            <a:fld id="{E1B70DA0-BFD5-411C-A11E-155B57496FC3}" type="slidenum">
              <a:rPr lang="en-US" smtClean="0">
                <a:solidFill>
                  <a:srgbClr val="7E7E81"/>
                </a:solidFill>
              </a:rPr>
              <a:pPr/>
              <a:t>‹#›</a:t>
            </a:fld>
            <a:endParaRPr lang="en-US" dirty="0">
              <a:solidFill>
                <a:srgbClr val="7E7E81"/>
              </a:solidFill>
            </a:endParaRPr>
          </a:p>
        </p:txBody>
      </p:sp>
      <p:sp>
        <p:nvSpPr>
          <p:cNvPr id="5" name="Text Placeholder 4"/>
          <p:cNvSpPr>
            <a:spLocks noGrp="1"/>
          </p:cNvSpPr>
          <p:nvPr>
            <p:ph type="body" sz="quarter" idx="11"/>
          </p:nvPr>
        </p:nvSpPr>
        <p:spPr>
          <a:xfrm>
            <a:off x="1371600" y="4321801"/>
            <a:ext cx="6400800" cy="186398"/>
          </a:xfrm>
        </p:spPr>
        <p:txBody>
          <a:bodyPr>
            <a:spAutoFit/>
          </a:bodyPr>
          <a:lstStyle>
            <a:lvl1pPr marL="0" indent="0" algn="ctr">
              <a:buNone/>
              <a:defRPr sz="1400">
                <a:latin typeface="Segoe UI" pitchFamily="34" charset="0"/>
                <a:ea typeface="Segoe UI" pitchFamily="34" charset="0"/>
                <a:cs typeface="Segoe UI" pitchFamily="34" charset="0"/>
              </a:defRPr>
            </a:lvl1pPr>
          </a:lstStyle>
          <a:p>
            <a:pPr lvl="0"/>
            <a:r>
              <a:rPr lang="en-US" dirty="0"/>
              <a:t>Click to edit Master text styles</a:t>
            </a:r>
          </a:p>
        </p:txBody>
      </p:sp>
      <p:sp>
        <p:nvSpPr>
          <p:cNvPr id="4" name="Picture Placeholder 3"/>
          <p:cNvSpPr>
            <a:spLocks noGrp="1"/>
          </p:cNvSpPr>
          <p:nvPr>
            <p:ph type="pic" sz="quarter" idx="12"/>
          </p:nvPr>
        </p:nvSpPr>
        <p:spPr>
          <a:xfrm>
            <a:off x="1371600" y="1023938"/>
            <a:ext cx="6400800" cy="3200400"/>
          </a:xfrm>
          <a:solidFill>
            <a:schemeClr val="bg2">
              <a:lumMod val="20000"/>
              <a:lumOff val="80000"/>
            </a:schemeClr>
          </a:solidFill>
          <a:ln w="12700">
            <a:solidFill>
              <a:schemeClr val="bg2"/>
            </a:solidFill>
            <a:miter lim="800000"/>
          </a:ln>
        </p:spPr>
        <p:txBody>
          <a:bodyPr bIns="456269" anchor="ctr"/>
          <a:lstStyle>
            <a:lvl1pPr marL="0" indent="0" algn="ctr">
              <a:buNone/>
              <a:defRPr sz="1600"/>
            </a:lvl1pPr>
          </a:lstStyle>
          <a:p>
            <a:endParaRPr lang="en-US" dirty="0"/>
          </a:p>
        </p:txBody>
      </p:sp>
    </p:spTree>
    <p:extLst>
      <p:ext uri="{BB962C8B-B14F-4D97-AF65-F5344CB8AC3E}">
        <p14:creationId xmlns:p14="http://schemas.microsoft.com/office/powerpoint/2010/main" val="254333391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Picture Placeholder 20"/>
          <p:cNvSpPr>
            <a:spLocks noGrp="1"/>
          </p:cNvSpPr>
          <p:nvPr>
            <p:ph type="pic" sz="quarter" idx="13"/>
          </p:nvPr>
        </p:nvSpPr>
        <p:spPr>
          <a:xfrm>
            <a:off x="40" y="4"/>
            <a:ext cx="8725903" cy="3166040"/>
          </a:xfrm>
          <a:custGeom>
            <a:avLst/>
            <a:gdLst>
              <a:gd name="connsiteX0" fmla="*/ 0 w 8725903"/>
              <a:gd name="connsiteY0" fmla="*/ 0 h 4221387"/>
              <a:gd name="connsiteX1" fmla="*/ 8725903 w 8725903"/>
              <a:gd name="connsiteY1" fmla="*/ 0 h 4221387"/>
              <a:gd name="connsiteX2" fmla="*/ 8725903 w 8725903"/>
              <a:gd name="connsiteY2" fmla="*/ 3870013 h 4221387"/>
              <a:gd name="connsiteX3" fmla="*/ 8515156 w 8725903"/>
              <a:gd name="connsiteY3" fmla="*/ 3924194 h 4221387"/>
              <a:gd name="connsiteX4" fmla="*/ 6005000 w 8725903"/>
              <a:gd name="connsiteY4" fmla="*/ 4221387 h 4221387"/>
              <a:gd name="connsiteX5" fmla="*/ 169271 w 8725903"/>
              <a:gd name="connsiteY5" fmla="*/ 2540536 h 4221387"/>
              <a:gd name="connsiteX6" fmla="*/ 0 w 8725903"/>
              <a:gd name="connsiteY6" fmla="*/ 2434485 h 42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5903" h="4221387">
                <a:moveTo>
                  <a:pt x="0" y="0"/>
                </a:moveTo>
                <a:lnTo>
                  <a:pt x="8725903" y="0"/>
                </a:lnTo>
                <a:lnTo>
                  <a:pt x="8725903" y="3870013"/>
                </a:lnTo>
                <a:lnTo>
                  <a:pt x="8515156" y="3924194"/>
                </a:lnTo>
                <a:cubicBezTo>
                  <a:pt x="7700420" y="4119476"/>
                  <a:pt x="6861580" y="4221387"/>
                  <a:pt x="6005000" y="4221387"/>
                </a:cubicBezTo>
                <a:cubicBezTo>
                  <a:pt x="3924735" y="4221387"/>
                  <a:pt x="1949094" y="3620314"/>
                  <a:pt x="169271" y="2540536"/>
                </a:cubicBezTo>
                <a:lnTo>
                  <a:pt x="0" y="2434485"/>
                </a:lnTo>
                <a:close/>
              </a:path>
            </a:pathLst>
          </a:custGeom>
        </p:spPr>
        <p:txBody>
          <a:bodyPr wrap="square">
            <a:noAutofit/>
          </a:bodyPr>
          <a:lstStyle>
            <a:lvl1pPr>
              <a:defRPr>
                <a:solidFill>
                  <a:schemeClr val="bg1"/>
                </a:solidFill>
              </a:defRPr>
            </a:lvl1pPr>
          </a:lstStyle>
          <a:p>
            <a:endParaRPr lang="en-GB" dirty="0"/>
          </a:p>
        </p:txBody>
      </p:sp>
      <p:sp>
        <p:nvSpPr>
          <p:cNvPr id="3" name="Subtitle 2"/>
          <p:cNvSpPr>
            <a:spLocks noGrp="1"/>
          </p:cNvSpPr>
          <p:nvPr>
            <p:ph type="subTitle" idx="1"/>
          </p:nvPr>
        </p:nvSpPr>
        <p:spPr>
          <a:xfrm>
            <a:off x="323891" y="4005258"/>
            <a:ext cx="6643007" cy="629500"/>
          </a:xfrm>
        </p:spPr>
        <p:txBody>
          <a:bodyPr>
            <a:normAutofit/>
          </a:bodyPr>
          <a:lstStyle>
            <a:lvl1pPr marL="0" indent="0" algn="l">
              <a:spcBef>
                <a:spcPts val="0"/>
              </a:spcBef>
              <a:buNone/>
              <a:defRPr lang="en-US" sz="1600" kern="1200" dirty="0">
                <a:solidFill>
                  <a:schemeClr val="bg2"/>
                </a:solidFill>
                <a:latin typeface="Tahoma" panose="020B0604030504040204" pitchFamily="34" charset="0"/>
                <a:ea typeface="Tahoma" panose="020B0604030504040204" pitchFamily="34" charset="0"/>
                <a:cs typeface="Tahoma" panose="020B0604030504040204" pitchFamily="34" charset="0"/>
              </a:defRPr>
            </a:lvl1pPr>
            <a:lvl2pPr marL="456269" indent="0" algn="ctr">
              <a:buNone/>
              <a:defRPr sz="2000"/>
            </a:lvl2pPr>
            <a:lvl3pPr marL="912644" indent="0" algn="ctr">
              <a:buNone/>
              <a:defRPr sz="1800"/>
            </a:lvl3pPr>
            <a:lvl4pPr marL="1368948" indent="0" algn="ctr">
              <a:buNone/>
              <a:defRPr sz="1600"/>
            </a:lvl4pPr>
            <a:lvl5pPr marL="1825286" indent="0" algn="ctr">
              <a:buNone/>
              <a:defRPr sz="1600"/>
            </a:lvl5pPr>
            <a:lvl6pPr marL="2281554" indent="0" algn="ctr">
              <a:buNone/>
              <a:defRPr sz="1600"/>
            </a:lvl6pPr>
            <a:lvl7pPr marL="2737820" indent="0" algn="ctr">
              <a:buNone/>
              <a:defRPr sz="1600"/>
            </a:lvl7pPr>
            <a:lvl8pPr marL="3194165" indent="0" algn="ctr">
              <a:buNone/>
              <a:defRPr sz="1600"/>
            </a:lvl8pPr>
            <a:lvl9pPr marL="3650488" indent="0" algn="ctr">
              <a:buNone/>
              <a:defRPr sz="1600"/>
            </a:lvl9pPr>
          </a:lstStyle>
          <a:p>
            <a:r>
              <a:rPr lang="en-US" dirty="0"/>
              <a:t>Click to edit Master subtitle style</a:t>
            </a:r>
          </a:p>
        </p:txBody>
      </p:sp>
      <p:sp>
        <p:nvSpPr>
          <p:cNvPr id="7" name="Title 6"/>
          <p:cNvSpPr>
            <a:spLocks noGrp="1"/>
          </p:cNvSpPr>
          <p:nvPr>
            <p:ph type="title"/>
          </p:nvPr>
        </p:nvSpPr>
        <p:spPr>
          <a:xfrm>
            <a:off x="323891" y="3293161"/>
            <a:ext cx="6643007" cy="673213"/>
          </a:xfrm>
        </p:spPr>
        <p:txBody>
          <a:bodyPr/>
          <a:lstStyle/>
          <a:p>
            <a:r>
              <a:rPr lang="en-US" dirty="0"/>
              <a:t>Click to edit Master title style</a:t>
            </a:r>
            <a:endParaRPr lang="en-GB" dirty="0"/>
          </a:p>
        </p:txBody>
      </p:sp>
      <p:sp>
        <p:nvSpPr>
          <p:cNvPr id="12" name="Freeform 11"/>
          <p:cNvSpPr/>
          <p:nvPr userDrawn="1"/>
        </p:nvSpPr>
        <p:spPr>
          <a:xfrm>
            <a:off x="8725907" y="-3742"/>
            <a:ext cx="418095" cy="2905627"/>
          </a:xfrm>
          <a:custGeom>
            <a:avLst/>
            <a:gdLst>
              <a:gd name="connsiteX0" fmla="*/ 0 w 557460"/>
              <a:gd name="connsiteY0" fmla="*/ 0 h 3870013"/>
              <a:gd name="connsiteX1" fmla="*/ 557460 w 557460"/>
              <a:gd name="connsiteY1" fmla="*/ 0 h 3870013"/>
              <a:gd name="connsiteX2" fmla="*/ 557460 w 557460"/>
              <a:gd name="connsiteY2" fmla="*/ 3747733 h 3870013"/>
              <a:gd name="connsiteX3" fmla="*/ 182573 w 557460"/>
              <a:gd name="connsiteY3" fmla="*/ 3834810 h 3870013"/>
              <a:gd name="connsiteX4" fmla="*/ 0 w 557460"/>
              <a:gd name="connsiteY4" fmla="*/ 3870013 h 3870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460" h="3870013">
                <a:moveTo>
                  <a:pt x="0" y="0"/>
                </a:moveTo>
                <a:lnTo>
                  <a:pt x="557460" y="0"/>
                </a:lnTo>
                <a:lnTo>
                  <a:pt x="557460" y="3747733"/>
                </a:lnTo>
                <a:lnTo>
                  <a:pt x="182573" y="3834810"/>
                </a:lnTo>
                <a:lnTo>
                  <a:pt x="0" y="38700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68462" tIns="134766" rIns="68462" bIns="34286" numCol="1" spcCol="0" rtlCol="0" fromWordArt="0" anchor="ctr" anchorCtr="0" forceAA="0" compatLnSpc="1">
            <a:prstTxWarp prst="textNoShape">
              <a:avLst/>
            </a:prstTxWarp>
            <a:noAutofit/>
          </a:bodyPr>
          <a:lstStyle/>
          <a:p>
            <a:pPr defTabSz="912644" fontAlgn="auto">
              <a:spcBef>
                <a:spcPts val="0"/>
              </a:spcBef>
              <a:spcAft>
                <a:spcPts val="0"/>
              </a:spcAft>
            </a:pPr>
            <a:endParaRPr lang="en-GB" sz="11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Footer Placeholder 14"/>
          <p:cNvSpPr>
            <a:spLocks noGrp="1"/>
          </p:cNvSpPr>
          <p:nvPr>
            <p:ph type="ftr" sz="quarter" idx="14"/>
          </p:nvPr>
        </p:nvSpPr>
        <p:spPr/>
        <p:txBody>
          <a:bodyPr/>
          <a:lstStyle/>
          <a:p>
            <a:r>
              <a:rPr>
                <a:solidFill>
                  <a:prstClr val="black"/>
                </a:solidFill>
              </a:rPr>
              <a:t>© Copyright Inmarsat Global Limited 2014</a:t>
            </a:r>
            <a:endParaRPr dirty="0">
              <a:solidFill>
                <a:prstClr val="black"/>
              </a:solidFill>
            </a:endParaRPr>
          </a:p>
        </p:txBody>
      </p:sp>
      <p:sp>
        <p:nvSpPr>
          <p:cNvPr id="19" name="Text Placeholder 8"/>
          <p:cNvSpPr>
            <a:spLocks noGrp="1"/>
          </p:cNvSpPr>
          <p:nvPr>
            <p:ph type="body" sz="quarter" idx="15"/>
          </p:nvPr>
        </p:nvSpPr>
        <p:spPr>
          <a:xfrm rot="5400000">
            <a:off x="7471417" y="1299507"/>
            <a:ext cx="2826080" cy="317104"/>
          </a:xfrm>
        </p:spPr>
        <p:txBody>
          <a:bodyPr>
            <a:normAutofit/>
          </a:bodyPr>
          <a:lstStyle>
            <a:lvl1pPr marL="0" indent="0">
              <a:spcBef>
                <a:spcPts val="0"/>
              </a:spcBef>
              <a:buNone/>
              <a:defRPr sz="1100">
                <a:solidFill>
                  <a:schemeClr val="bg1"/>
                </a:solidFill>
              </a:defRPr>
            </a:lvl1pPr>
          </a:lstStyle>
          <a:p>
            <a:pPr lvl="0"/>
            <a:r>
              <a:rPr lang="en-US" dirty="0"/>
              <a:t>Click to edit Master text styles</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89565" y="4090395"/>
            <a:ext cx="1752424" cy="992752"/>
          </a:xfrm>
          <a:prstGeom prst="rect">
            <a:avLst/>
          </a:prstGeom>
        </p:spPr>
      </p:pic>
    </p:spTree>
    <p:extLst>
      <p:ext uri="{BB962C8B-B14F-4D97-AF65-F5344CB8AC3E}">
        <p14:creationId xmlns:p14="http://schemas.microsoft.com/office/powerpoint/2010/main" val="174121435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Content Placeholder 12"/>
          <p:cNvSpPr>
            <a:spLocks noGrp="1"/>
          </p:cNvSpPr>
          <p:nvPr>
            <p:ph sz="quarter" idx="15"/>
          </p:nvPr>
        </p:nvSpPr>
        <p:spPr>
          <a:xfrm>
            <a:off x="323850" y="1626333"/>
            <a:ext cx="8496300" cy="298027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p:txBody>
          <a:bodyPr/>
          <a:lstStyle/>
          <a:p>
            <a:r>
              <a:rPr>
                <a:solidFill>
                  <a:prstClr val="black"/>
                </a:solidFill>
              </a:rPr>
              <a:t>© Copyright Inmarsat Global Limited 2014</a:t>
            </a:r>
          </a:p>
        </p:txBody>
      </p:sp>
      <p:sp>
        <p:nvSpPr>
          <p:cNvPr id="6" name="Slide Number Placeholder 5"/>
          <p:cNvSpPr>
            <a:spLocks noGrp="1"/>
          </p:cNvSpPr>
          <p:nvPr>
            <p:ph type="sldNum" sz="quarter" idx="12"/>
          </p:nvPr>
        </p:nvSpPr>
        <p:spPr/>
        <p:txBody>
          <a:bodyPr/>
          <a:lstStyle/>
          <a:p>
            <a:fld id="{7379F6AC-1C90-4500-8A18-29BB743821D7}" type="slidenum">
              <a:rPr>
                <a:solidFill>
                  <a:prstClr val="black"/>
                </a:solidFill>
              </a:rPr>
              <a:pPr/>
              <a:t>‹#›</a:t>
            </a:fld>
            <a:endParaRPr>
              <a:solidFill>
                <a:prstClr val="black"/>
              </a:solidFill>
            </a:endParaRPr>
          </a:p>
        </p:txBody>
      </p:sp>
      <p:sp>
        <p:nvSpPr>
          <p:cNvPr id="9" name="Text Placeholder 8"/>
          <p:cNvSpPr>
            <a:spLocks noGrp="1"/>
          </p:cNvSpPr>
          <p:nvPr>
            <p:ph type="body" sz="quarter" idx="13"/>
          </p:nvPr>
        </p:nvSpPr>
        <p:spPr>
          <a:xfrm>
            <a:off x="323666" y="1032690"/>
            <a:ext cx="8496299" cy="552923"/>
          </a:xfrm>
        </p:spPr>
        <p:txBody>
          <a:bodyPr>
            <a:normAutofit/>
          </a:bodyPr>
          <a:lstStyle>
            <a:lvl1pPr marL="0" indent="0">
              <a:spcBef>
                <a:spcPts val="0"/>
              </a:spcBef>
              <a:buNone/>
              <a:defRPr sz="1600">
                <a:solidFill>
                  <a:schemeClr val="bg2"/>
                </a:solidFill>
              </a:defRPr>
            </a:lvl1pPr>
          </a:lstStyle>
          <a:p>
            <a:pPr lvl="0"/>
            <a:r>
              <a:rPr lang="en-US" dirty="0"/>
              <a:t>Click to edit Master text styles</a:t>
            </a:r>
          </a:p>
        </p:txBody>
      </p:sp>
      <p:sp>
        <p:nvSpPr>
          <p:cNvPr id="3" name="Title 2"/>
          <p:cNvSpPr>
            <a:spLocks noGrp="1"/>
          </p:cNvSpPr>
          <p:nvPr>
            <p:ph type="title"/>
          </p:nvPr>
        </p:nvSpPr>
        <p:spPr>
          <a:xfrm>
            <a:off x="323850" y="339722"/>
            <a:ext cx="8496300" cy="673213"/>
          </a:xfrm>
        </p:spPr>
        <p:txBody>
          <a:bodyPr/>
          <a:lstStyle/>
          <a:p>
            <a:r>
              <a:rPr lang="en-US"/>
              <a:t>Click to edit Master title style</a:t>
            </a:r>
            <a:endParaRPr lang="en-GB"/>
          </a:p>
        </p:txBody>
      </p:sp>
    </p:spTree>
    <p:extLst>
      <p:ext uri="{BB962C8B-B14F-4D97-AF65-F5344CB8AC3E}">
        <p14:creationId xmlns:p14="http://schemas.microsoft.com/office/powerpoint/2010/main" val="22959551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ock and content">
    <p:spTree>
      <p:nvGrpSpPr>
        <p:cNvPr id="1" name=""/>
        <p:cNvGrpSpPr/>
        <p:nvPr/>
      </p:nvGrpSpPr>
      <p:grpSpPr>
        <a:xfrm>
          <a:off x="0" y="0"/>
          <a:ext cx="0" cy="0"/>
          <a:chOff x="0" y="0"/>
          <a:chExt cx="0" cy="0"/>
        </a:xfrm>
      </p:grpSpPr>
      <p:sp>
        <p:nvSpPr>
          <p:cNvPr id="13" name="Content Placeholder 12"/>
          <p:cNvSpPr>
            <a:spLocks noGrp="1"/>
          </p:cNvSpPr>
          <p:nvPr>
            <p:ph sz="quarter" idx="15"/>
          </p:nvPr>
        </p:nvSpPr>
        <p:spPr>
          <a:xfrm>
            <a:off x="3517661" y="1626326"/>
            <a:ext cx="5302535" cy="3105219"/>
          </a:xfrm>
        </p:spPr>
        <p:txBody>
          <a:bodyPr/>
          <a:lstStyle>
            <a:lvl1pPr>
              <a:defRPr>
                <a:solidFill>
                  <a:schemeClr val="bg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p:txBody>
          <a:bodyPr/>
          <a:lstStyle/>
          <a:p>
            <a:r>
              <a:rPr>
                <a:solidFill>
                  <a:prstClr val="black"/>
                </a:solidFill>
              </a:rPr>
              <a:t>© Copyright Inmarsat Global Limited 2014</a:t>
            </a:r>
          </a:p>
        </p:txBody>
      </p:sp>
      <p:sp>
        <p:nvSpPr>
          <p:cNvPr id="6" name="Slide Number Placeholder 5"/>
          <p:cNvSpPr>
            <a:spLocks noGrp="1"/>
          </p:cNvSpPr>
          <p:nvPr>
            <p:ph type="sldNum" sz="quarter" idx="12"/>
          </p:nvPr>
        </p:nvSpPr>
        <p:spPr/>
        <p:txBody>
          <a:bodyPr/>
          <a:lstStyle/>
          <a:p>
            <a:fld id="{7379F6AC-1C90-4500-8A18-29BB743821D7}" type="slidenum">
              <a:rPr>
                <a:solidFill>
                  <a:prstClr val="black"/>
                </a:solidFill>
              </a:rPr>
              <a:pPr/>
              <a:t>‹#›</a:t>
            </a:fld>
            <a:endParaRPr>
              <a:solidFill>
                <a:prstClr val="black"/>
              </a:solidFill>
            </a:endParaRPr>
          </a:p>
        </p:txBody>
      </p:sp>
      <p:sp>
        <p:nvSpPr>
          <p:cNvPr id="3" name="Title 2"/>
          <p:cNvSpPr>
            <a:spLocks noGrp="1"/>
          </p:cNvSpPr>
          <p:nvPr>
            <p:ph type="title"/>
          </p:nvPr>
        </p:nvSpPr>
        <p:spPr/>
        <p:txBody>
          <a:bodyPr/>
          <a:lstStyle/>
          <a:p>
            <a:r>
              <a:rPr lang="en-US"/>
              <a:t>Click to edit Master title style</a:t>
            </a:r>
            <a:endParaRPr lang="en-GB"/>
          </a:p>
        </p:txBody>
      </p:sp>
      <p:sp>
        <p:nvSpPr>
          <p:cNvPr id="11" name="Content Placeholder 12"/>
          <p:cNvSpPr>
            <a:spLocks noGrp="1"/>
          </p:cNvSpPr>
          <p:nvPr>
            <p:ph sz="quarter" idx="17"/>
          </p:nvPr>
        </p:nvSpPr>
        <p:spPr>
          <a:xfrm>
            <a:off x="431845" y="1584144"/>
            <a:ext cx="2999377" cy="3147400"/>
          </a:xfrm>
          <a:solidFill>
            <a:schemeClr val="accent1"/>
          </a:solidFill>
        </p:spPr>
        <p:txBody>
          <a:bodyPr lIns="194048" tIns="136565" rIns="194048" bIns="136565"/>
          <a:lstStyle>
            <a:lvl1pPr>
              <a:defRPr>
                <a:solidFill>
                  <a:schemeClr val="bg1"/>
                </a:solidFill>
              </a:defRPr>
            </a:lvl1pPr>
            <a:lvl2pPr>
              <a:defRPr>
                <a:solidFill>
                  <a:schemeClr val="bg1"/>
                </a:solidFill>
              </a:defRPr>
            </a:lvl2pPr>
            <a:lvl3pPr>
              <a:buClrTx/>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8"/>
          <p:cNvSpPr>
            <a:spLocks noGrp="1"/>
          </p:cNvSpPr>
          <p:nvPr>
            <p:ph type="body" sz="quarter" idx="13"/>
          </p:nvPr>
        </p:nvSpPr>
        <p:spPr>
          <a:xfrm>
            <a:off x="323666" y="1032690"/>
            <a:ext cx="8496299" cy="552923"/>
          </a:xfrm>
        </p:spPr>
        <p:txBody>
          <a:bodyPr>
            <a:normAutofit/>
          </a:bodyPr>
          <a:lstStyle>
            <a:lvl1pPr marL="0" indent="0">
              <a:spcBef>
                <a:spcPts val="0"/>
              </a:spcBef>
              <a:buNone/>
              <a:defRPr sz="16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425530256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3x content and images">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413150" y="3212434"/>
            <a:ext cx="2486019" cy="1573881"/>
          </a:xfrm>
        </p:spPr>
        <p:txBody>
          <a:bodyPr/>
          <a:lstStyle>
            <a:lvl1pPr>
              <a:defRPr>
                <a:solidFill>
                  <a:schemeClr val="bg1"/>
                </a:solidFill>
              </a:defRPr>
            </a:lvl1pPr>
          </a:lstStyle>
          <a:p>
            <a:endParaRPr lang="en-GB" dirty="0"/>
          </a:p>
        </p:txBody>
      </p:sp>
      <p:sp>
        <p:nvSpPr>
          <p:cNvPr id="12" name="Picture Placeholder 3"/>
          <p:cNvSpPr>
            <a:spLocks noGrp="1"/>
          </p:cNvSpPr>
          <p:nvPr>
            <p:ph type="pic" sz="quarter" idx="15"/>
          </p:nvPr>
        </p:nvSpPr>
        <p:spPr>
          <a:xfrm>
            <a:off x="6226184" y="3212434"/>
            <a:ext cx="2486019" cy="1573881"/>
          </a:xfrm>
        </p:spPr>
        <p:txBody>
          <a:bodyPr/>
          <a:lstStyle>
            <a:lvl1pPr>
              <a:defRPr>
                <a:solidFill>
                  <a:schemeClr val="bg1"/>
                </a:solidFill>
              </a:defRPr>
            </a:lvl1pPr>
          </a:lstStyle>
          <a:p>
            <a:endParaRPr lang="en-GB" dirty="0"/>
          </a:p>
        </p:txBody>
      </p:sp>
      <p:sp>
        <p:nvSpPr>
          <p:cNvPr id="14" name="Picture Placeholder 3"/>
          <p:cNvSpPr>
            <a:spLocks noGrp="1"/>
          </p:cNvSpPr>
          <p:nvPr>
            <p:ph type="pic" sz="quarter" idx="16"/>
          </p:nvPr>
        </p:nvSpPr>
        <p:spPr>
          <a:xfrm>
            <a:off x="3336665" y="3212434"/>
            <a:ext cx="2486019" cy="1573881"/>
          </a:xfrm>
        </p:spPr>
        <p:txBody>
          <a:bodyPr/>
          <a:lstStyle>
            <a:lvl1pPr>
              <a:defRPr>
                <a:solidFill>
                  <a:schemeClr val="bg1"/>
                </a:solidFill>
              </a:defRPr>
            </a:lvl1pPr>
          </a:lstStyle>
          <a:p>
            <a:endParaRPr lang="en-GB" dirty="0"/>
          </a:p>
        </p:txBody>
      </p:sp>
      <p:sp>
        <p:nvSpPr>
          <p:cNvPr id="5" name="Footer Placeholder 4"/>
          <p:cNvSpPr>
            <a:spLocks noGrp="1"/>
          </p:cNvSpPr>
          <p:nvPr>
            <p:ph type="ftr" sz="quarter" idx="11"/>
          </p:nvPr>
        </p:nvSpPr>
        <p:spPr/>
        <p:txBody>
          <a:bodyPr/>
          <a:lstStyle/>
          <a:p>
            <a:r>
              <a:rPr>
                <a:solidFill>
                  <a:prstClr val="black"/>
                </a:solidFill>
              </a:rPr>
              <a:t>© Copyright Inmarsat Global Limited 2014</a:t>
            </a:r>
          </a:p>
        </p:txBody>
      </p:sp>
      <p:sp>
        <p:nvSpPr>
          <p:cNvPr id="6" name="Slide Number Placeholder 5"/>
          <p:cNvSpPr>
            <a:spLocks noGrp="1"/>
          </p:cNvSpPr>
          <p:nvPr>
            <p:ph type="sldNum" sz="quarter" idx="12"/>
          </p:nvPr>
        </p:nvSpPr>
        <p:spPr/>
        <p:txBody>
          <a:bodyPr/>
          <a:lstStyle/>
          <a:p>
            <a:fld id="{7379F6AC-1C90-4500-8A18-29BB743821D7}" type="slidenum">
              <a:rPr>
                <a:solidFill>
                  <a:prstClr val="black"/>
                </a:solidFill>
              </a:rPr>
              <a:pPr/>
              <a:t>‹#›</a:t>
            </a:fld>
            <a:endParaRPr>
              <a:solidFill>
                <a:prstClr val="black"/>
              </a:solidFill>
            </a:endParaRPr>
          </a:p>
        </p:txBody>
      </p:sp>
      <p:sp>
        <p:nvSpPr>
          <p:cNvPr id="15" name="Text Placeholder 14"/>
          <p:cNvSpPr>
            <a:spLocks noGrp="1"/>
          </p:cNvSpPr>
          <p:nvPr>
            <p:ph type="body" sz="quarter" idx="17"/>
          </p:nvPr>
        </p:nvSpPr>
        <p:spPr>
          <a:xfrm>
            <a:off x="3249016" y="1626403"/>
            <a:ext cx="2575325" cy="1485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4"/>
          <p:cNvSpPr>
            <a:spLocks noGrp="1"/>
          </p:cNvSpPr>
          <p:nvPr>
            <p:ph type="body" sz="quarter" idx="18"/>
          </p:nvPr>
        </p:nvSpPr>
        <p:spPr>
          <a:xfrm>
            <a:off x="6138244" y="1626403"/>
            <a:ext cx="2681684" cy="1485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4"/>
          <p:cNvSpPr>
            <a:spLocks noGrp="1"/>
          </p:cNvSpPr>
          <p:nvPr>
            <p:ph type="body" sz="quarter" idx="19"/>
          </p:nvPr>
        </p:nvSpPr>
        <p:spPr>
          <a:xfrm>
            <a:off x="323629" y="1626403"/>
            <a:ext cx="2681684" cy="148531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
        <p:nvSpPr>
          <p:cNvPr id="21" name="Text Placeholder 8"/>
          <p:cNvSpPr>
            <a:spLocks noGrp="1"/>
          </p:cNvSpPr>
          <p:nvPr>
            <p:ph type="body" sz="quarter" idx="13"/>
          </p:nvPr>
        </p:nvSpPr>
        <p:spPr>
          <a:xfrm>
            <a:off x="323666" y="1032690"/>
            <a:ext cx="8496299" cy="552923"/>
          </a:xfrm>
        </p:spPr>
        <p:txBody>
          <a:bodyPr>
            <a:normAutofit/>
          </a:bodyPr>
          <a:lstStyle>
            <a:lvl1pPr marL="0" indent="0">
              <a:spcBef>
                <a:spcPts val="0"/>
              </a:spcBef>
              <a:buNone/>
              <a:defRPr sz="16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317501474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ntent and slim image">
    <p:spTree>
      <p:nvGrpSpPr>
        <p:cNvPr id="1" name=""/>
        <p:cNvGrpSpPr/>
        <p:nvPr/>
      </p:nvGrpSpPr>
      <p:grpSpPr>
        <a:xfrm>
          <a:off x="0" y="0"/>
          <a:ext cx="0" cy="0"/>
          <a:chOff x="0" y="0"/>
          <a:chExt cx="0" cy="0"/>
        </a:xfrm>
      </p:grpSpPr>
      <p:sp>
        <p:nvSpPr>
          <p:cNvPr id="4" name="Picture Placeholder 3"/>
          <p:cNvSpPr>
            <a:spLocks noGrp="1"/>
          </p:cNvSpPr>
          <p:nvPr>
            <p:ph type="pic" sz="quarter" idx="16"/>
          </p:nvPr>
        </p:nvSpPr>
        <p:spPr>
          <a:xfrm>
            <a:off x="5684919" y="-6594"/>
            <a:ext cx="3459082" cy="5150094"/>
          </a:xfrm>
        </p:spPr>
        <p:txBody>
          <a:bodyPr/>
          <a:lstStyle>
            <a:lvl1pPr>
              <a:defRPr>
                <a:solidFill>
                  <a:schemeClr val="bg1"/>
                </a:solidFill>
              </a:defRPr>
            </a:lvl1pPr>
          </a:lstStyle>
          <a:p>
            <a:endParaRPr lang="en-GB" dirty="0"/>
          </a:p>
        </p:txBody>
      </p:sp>
      <p:sp>
        <p:nvSpPr>
          <p:cNvPr id="13" name="Content Placeholder 12"/>
          <p:cNvSpPr>
            <a:spLocks noGrp="1"/>
          </p:cNvSpPr>
          <p:nvPr>
            <p:ph sz="quarter" idx="15"/>
          </p:nvPr>
        </p:nvSpPr>
        <p:spPr>
          <a:xfrm>
            <a:off x="323852" y="1626333"/>
            <a:ext cx="5092881" cy="298027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a:xfrm>
            <a:off x="323851" y="339722"/>
            <a:ext cx="5092880" cy="673213"/>
          </a:xfrm>
        </p:spPr>
        <p:txBody>
          <a:bodyPr/>
          <a:lstStyle/>
          <a:p>
            <a:r>
              <a:rPr lang="en-US" dirty="0"/>
              <a:t>Click to edit Master title style</a:t>
            </a:r>
          </a:p>
        </p:txBody>
      </p:sp>
      <p:sp>
        <p:nvSpPr>
          <p:cNvPr id="5" name="Footer Placeholder 4"/>
          <p:cNvSpPr>
            <a:spLocks noGrp="1"/>
          </p:cNvSpPr>
          <p:nvPr>
            <p:ph type="ftr" sz="quarter" idx="11"/>
          </p:nvPr>
        </p:nvSpPr>
        <p:spPr/>
        <p:txBody>
          <a:bodyPr/>
          <a:lstStyle/>
          <a:p>
            <a:r>
              <a:rPr>
                <a:solidFill>
                  <a:prstClr val="black"/>
                </a:solidFill>
              </a:rPr>
              <a:t>© Copyright Inmarsat Global Limited 2014</a:t>
            </a:r>
          </a:p>
        </p:txBody>
      </p:sp>
      <p:sp>
        <p:nvSpPr>
          <p:cNvPr id="10" name="Text Placeholder 8"/>
          <p:cNvSpPr>
            <a:spLocks noGrp="1"/>
          </p:cNvSpPr>
          <p:nvPr>
            <p:ph type="body" sz="quarter" idx="13"/>
          </p:nvPr>
        </p:nvSpPr>
        <p:spPr>
          <a:xfrm>
            <a:off x="323629" y="1032690"/>
            <a:ext cx="5094678" cy="552923"/>
          </a:xfrm>
        </p:spPr>
        <p:txBody>
          <a:bodyPr>
            <a:normAutofit/>
          </a:bodyPr>
          <a:lstStyle>
            <a:lvl1pPr marL="0" indent="0">
              <a:spcBef>
                <a:spcPts val="0"/>
              </a:spcBef>
              <a:buNone/>
              <a:defRPr sz="16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52258680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Large image and content">
    <p:spTree>
      <p:nvGrpSpPr>
        <p:cNvPr id="1" name=""/>
        <p:cNvGrpSpPr/>
        <p:nvPr/>
      </p:nvGrpSpPr>
      <p:grpSpPr>
        <a:xfrm>
          <a:off x="0" y="0"/>
          <a:ext cx="0" cy="0"/>
          <a:chOff x="0" y="0"/>
          <a:chExt cx="0" cy="0"/>
        </a:xfrm>
      </p:grpSpPr>
      <p:sp>
        <p:nvSpPr>
          <p:cNvPr id="4" name="Picture Placeholder 3"/>
          <p:cNvSpPr>
            <a:spLocks noGrp="1"/>
          </p:cNvSpPr>
          <p:nvPr>
            <p:ph type="pic" sz="quarter" idx="16"/>
          </p:nvPr>
        </p:nvSpPr>
        <p:spPr>
          <a:xfrm>
            <a:off x="1" y="-14283"/>
            <a:ext cx="5684918" cy="5163803"/>
          </a:xfrm>
        </p:spPr>
        <p:txBody>
          <a:bodyPr/>
          <a:lstStyle>
            <a:lvl1pPr>
              <a:defRPr>
                <a:solidFill>
                  <a:schemeClr val="bg1"/>
                </a:solidFill>
              </a:defRPr>
            </a:lvl1pPr>
          </a:lstStyle>
          <a:p>
            <a:endParaRPr lang="en-GB" dirty="0"/>
          </a:p>
        </p:txBody>
      </p:sp>
      <p:sp>
        <p:nvSpPr>
          <p:cNvPr id="13" name="Content Placeholder 12"/>
          <p:cNvSpPr>
            <a:spLocks noGrp="1"/>
          </p:cNvSpPr>
          <p:nvPr>
            <p:ph sz="quarter" idx="15"/>
          </p:nvPr>
        </p:nvSpPr>
        <p:spPr>
          <a:xfrm>
            <a:off x="5932028" y="578644"/>
            <a:ext cx="2888201" cy="41529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Slide Number Placeholder 5"/>
          <p:cNvSpPr>
            <a:spLocks noGrp="1"/>
          </p:cNvSpPr>
          <p:nvPr>
            <p:ph type="sldNum" sz="quarter" idx="12"/>
          </p:nvPr>
        </p:nvSpPr>
        <p:spPr>
          <a:xfrm>
            <a:off x="6858544" y="4767264"/>
            <a:ext cx="2057400" cy="273844"/>
          </a:xfrm>
        </p:spPr>
        <p:txBody>
          <a:bodyPr/>
          <a:lstStyle/>
          <a:p>
            <a:fld id="{7379F6AC-1C90-4500-8A18-29BB743821D7}" type="slidenum">
              <a:rPr>
                <a:solidFill>
                  <a:prstClr val="black"/>
                </a:solidFill>
              </a:rPr>
              <a:pPr/>
              <a:t>‹#›</a:t>
            </a:fld>
            <a:endParaRPr>
              <a:solidFill>
                <a:prstClr val="black"/>
              </a:solidFill>
            </a:endParaRPr>
          </a:p>
        </p:txBody>
      </p:sp>
      <p:sp>
        <p:nvSpPr>
          <p:cNvPr id="2" name="Title 1"/>
          <p:cNvSpPr>
            <a:spLocks noGrp="1"/>
          </p:cNvSpPr>
          <p:nvPr>
            <p:ph type="title"/>
          </p:nvPr>
        </p:nvSpPr>
        <p:spPr>
          <a:xfrm>
            <a:off x="323851" y="339722"/>
            <a:ext cx="5284470" cy="673213"/>
          </a:xfrm>
        </p:spPr>
        <p:txBody>
          <a:bodyPr/>
          <a:lstStyle>
            <a:lvl1pPr>
              <a:defRPr>
                <a:solidFill>
                  <a:schemeClr val="bg1"/>
                </a:solidFill>
              </a:defRPr>
            </a:lvl1pPr>
          </a:lstStyle>
          <a:p>
            <a:r>
              <a:rPr lang="en-US" dirty="0"/>
              <a:t>Click to edit Master title style</a:t>
            </a:r>
          </a:p>
        </p:txBody>
      </p:sp>
      <p:sp>
        <p:nvSpPr>
          <p:cNvPr id="11" name="Text Placeholder 8"/>
          <p:cNvSpPr>
            <a:spLocks noGrp="1"/>
          </p:cNvSpPr>
          <p:nvPr>
            <p:ph type="body" sz="quarter" idx="13"/>
          </p:nvPr>
        </p:nvSpPr>
        <p:spPr>
          <a:xfrm>
            <a:off x="323631" y="1032690"/>
            <a:ext cx="5288578" cy="552923"/>
          </a:xfrm>
        </p:spPr>
        <p:txBody>
          <a:bodyPr>
            <a:normAutofit/>
          </a:bodyPr>
          <a:lstStyle>
            <a:lvl1pPr marL="0" indent="0">
              <a:spcBef>
                <a:spcPts val="0"/>
              </a:spcBef>
              <a:buNone/>
              <a:defRPr sz="16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86096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urved half image and content">
    <p:spTree>
      <p:nvGrpSpPr>
        <p:cNvPr id="1" name=""/>
        <p:cNvGrpSpPr/>
        <p:nvPr/>
      </p:nvGrpSpPr>
      <p:grpSpPr>
        <a:xfrm>
          <a:off x="0" y="0"/>
          <a:ext cx="0" cy="0"/>
          <a:chOff x="0" y="0"/>
          <a:chExt cx="0" cy="0"/>
        </a:xfrm>
      </p:grpSpPr>
      <p:sp>
        <p:nvSpPr>
          <p:cNvPr id="7" name="Picture Placeholder 19"/>
          <p:cNvSpPr>
            <a:spLocks noGrp="1"/>
          </p:cNvSpPr>
          <p:nvPr>
            <p:ph type="pic" sz="quarter" idx="10"/>
          </p:nvPr>
        </p:nvSpPr>
        <p:spPr>
          <a:xfrm>
            <a:off x="39" y="0"/>
            <a:ext cx="9143999" cy="2514600"/>
          </a:xfrm>
          <a:custGeom>
            <a:avLst/>
            <a:gdLst>
              <a:gd name="connsiteX0" fmla="*/ 0 w 9143999"/>
              <a:gd name="connsiteY0" fmla="*/ 0 h 3352800"/>
              <a:gd name="connsiteX1" fmla="*/ 9143999 w 9143999"/>
              <a:gd name="connsiteY1" fmla="*/ 0 h 3352800"/>
              <a:gd name="connsiteX2" fmla="*/ 9143999 w 9143999"/>
              <a:gd name="connsiteY2" fmla="*/ 1567960 h 3352800"/>
              <a:gd name="connsiteX3" fmla="*/ 8841733 w 9143999"/>
              <a:gd name="connsiteY3" fmla="*/ 1731564 h 3352800"/>
              <a:gd name="connsiteX4" fmla="*/ 2184402 w 9143999"/>
              <a:gd name="connsiteY4" fmla="*/ 3352800 h 3352800"/>
              <a:gd name="connsiteX5" fmla="*/ 524847 w 9143999"/>
              <a:gd name="connsiteY5" fmla="*/ 3258554 h 3352800"/>
              <a:gd name="connsiteX6" fmla="*/ 0 w 9143999"/>
              <a:gd name="connsiteY6" fmla="*/ 3188488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3999" h="3352800">
                <a:moveTo>
                  <a:pt x="0" y="0"/>
                </a:moveTo>
                <a:lnTo>
                  <a:pt x="9143999" y="0"/>
                </a:lnTo>
                <a:lnTo>
                  <a:pt x="9143999" y="1567960"/>
                </a:lnTo>
                <a:lnTo>
                  <a:pt x="8841733" y="1731564"/>
                </a:lnTo>
                <a:cubicBezTo>
                  <a:pt x="6849317" y="2767404"/>
                  <a:pt x="4585221" y="3352800"/>
                  <a:pt x="2184402" y="3352800"/>
                </a:cubicBezTo>
                <a:cubicBezTo>
                  <a:pt x="1623170" y="3352800"/>
                  <a:pt x="1069412" y="3320810"/>
                  <a:pt x="524847" y="3258554"/>
                </a:cubicBezTo>
                <a:lnTo>
                  <a:pt x="0" y="3188488"/>
                </a:lnTo>
                <a:close/>
              </a:path>
            </a:pathLst>
          </a:custGeom>
        </p:spPr>
        <p:txBody>
          <a:bodyPr wrap="square">
            <a:noAutofit/>
          </a:bodyPr>
          <a:lstStyle>
            <a:lvl1pPr>
              <a:defRPr>
                <a:solidFill>
                  <a:schemeClr val="bg1"/>
                </a:solidFill>
              </a:defRPr>
            </a:lvl1pPr>
          </a:lstStyle>
          <a:p>
            <a:endParaRPr lang="en-GB" dirty="0"/>
          </a:p>
        </p:txBody>
      </p:sp>
      <p:sp>
        <p:nvSpPr>
          <p:cNvPr id="13" name="Content Placeholder 12"/>
          <p:cNvSpPr>
            <a:spLocks noGrp="1"/>
          </p:cNvSpPr>
          <p:nvPr>
            <p:ph sz="quarter" idx="15"/>
          </p:nvPr>
        </p:nvSpPr>
        <p:spPr>
          <a:xfrm>
            <a:off x="323850" y="3531425"/>
            <a:ext cx="8496300" cy="1247969"/>
          </a:xfrm>
        </p:spPr>
        <p:txBody>
          <a:body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23889" y="2464754"/>
            <a:ext cx="8496299" cy="673213"/>
          </a:xfrm>
        </p:spPr>
        <p:txBody>
          <a:bodyPr/>
          <a:lstStyle/>
          <a:p>
            <a:r>
              <a:rPr lang="en-US" dirty="0"/>
              <a:t>Click to edit Master title style</a:t>
            </a:r>
          </a:p>
        </p:txBody>
      </p:sp>
      <p:sp>
        <p:nvSpPr>
          <p:cNvPr id="5" name="Footer Placeholder 4"/>
          <p:cNvSpPr>
            <a:spLocks noGrp="1"/>
          </p:cNvSpPr>
          <p:nvPr>
            <p:ph type="ftr" sz="quarter" idx="11"/>
          </p:nvPr>
        </p:nvSpPr>
        <p:spPr/>
        <p:txBody>
          <a:bodyPr/>
          <a:lstStyle/>
          <a:p>
            <a:r>
              <a:rPr>
                <a:solidFill>
                  <a:prstClr val="black"/>
                </a:solidFill>
              </a:rPr>
              <a:t>© Copyright Inmarsat Global Limited 2014</a:t>
            </a:r>
          </a:p>
        </p:txBody>
      </p:sp>
      <p:sp>
        <p:nvSpPr>
          <p:cNvPr id="6" name="Slide Number Placeholder 5"/>
          <p:cNvSpPr>
            <a:spLocks noGrp="1"/>
          </p:cNvSpPr>
          <p:nvPr>
            <p:ph type="sldNum" sz="quarter" idx="12"/>
          </p:nvPr>
        </p:nvSpPr>
        <p:spPr/>
        <p:txBody>
          <a:bodyPr/>
          <a:lstStyle/>
          <a:p>
            <a:fld id="{7379F6AC-1C90-4500-8A18-29BB743821D7}" type="slidenum">
              <a:rPr>
                <a:solidFill>
                  <a:prstClr val="black"/>
                </a:solidFill>
              </a:rPr>
              <a:pPr/>
              <a:t>‹#›</a:t>
            </a:fld>
            <a:endParaRPr>
              <a:solidFill>
                <a:prstClr val="black"/>
              </a:solidFill>
            </a:endParaRPr>
          </a:p>
        </p:txBody>
      </p:sp>
      <p:sp>
        <p:nvSpPr>
          <p:cNvPr id="9" name="Text Placeholder 8"/>
          <p:cNvSpPr>
            <a:spLocks noGrp="1"/>
          </p:cNvSpPr>
          <p:nvPr>
            <p:ph type="body" sz="quarter" idx="13"/>
          </p:nvPr>
        </p:nvSpPr>
        <p:spPr>
          <a:xfrm>
            <a:off x="323666" y="3157709"/>
            <a:ext cx="8496299" cy="476250"/>
          </a:xfrm>
        </p:spPr>
        <p:txBody>
          <a:bodyPr>
            <a:normAutofit/>
          </a:bodyPr>
          <a:lstStyle>
            <a:lvl1pPr marL="0" indent="0">
              <a:spcBef>
                <a:spcPts val="0"/>
              </a:spcBef>
              <a:buNone/>
              <a:defRPr sz="16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213713559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Half image and content">
    <p:spTree>
      <p:nvGrpSpPr>
        <p:cNvPr id="1" name=""/>
        <p:cNvGrpSpPr/>
        <p:nvPr/>
      </p:nvGrpSpPr>
      <p:grpSpPr>
        <a:xfrm>
          <a:off x="0" y="0"/>
          <a:ext cx="0" cy="0"/>
          <a:chOff x="0" y="0"/>
          <a:chExt cx="0" cy="0"/>
        </a:xfrm>
      </p:grpSpPr>
      <p:sp>
        <p:nvSpPr>
          <p:cNvPr id="10" name="Picture Placeholder 2"/>
          <p:cNvSpPr>
            <a:spLocks noGrp="1"/>
          </p:cNvSpPr>
          <p:nvPr>
            <p:ph type="pic" sz="quarter" idx="16"/>
          </p:nvPr>
        </p:nvSpPr>
        <p:spPr>
          <a:xfrm>
            <a:off x="0" y="0"/>
            <a:ext cx="9144000" cy="2559306"/>
          </a:xfrm>
        </p:spPr>
        <p:txBody>
          <a:bodyPr/>
          <a:lstStyle>
            <a:lvl1pPr>
              <a:defRPr>
                <a:solidFill>
                  <a:schemeClr val="bg1"/>
                </a:solidFill>
              </a:defRPr>
            </a:lvl1pPr>
          </a:lstStyle>
          <a:p>
            <a:endParaRPr lang="en-GB" dirty="0"/>
          </a:p>
        </p:txBody>
      </p:sp>
      <p:sp>
        <p:nvSpPr>
          <p:cNvPr id="13" name="Content Placeholder 12"/>
          <p:cNvSpPr>
            <a:spLocks noGrp="1"/>
          </p:cNvSpPr>
          <p:nvPr>
            <p:ph sz="quarter" idx="15"/>
          </p:nvPr>
        </p:nvSpPr>
        <p:spPr>
          <a:xfrm>
            <a:off x="323850" y="3531348"/>
            <a:ext cx="8496300" cy="1247968"/>
          </a:xfrm>
        </p:spPr>
        <p:txBody>
          <a:body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23889" y="2464754"/>
            <a:ext cx="8496299" cy="673213"/>
          </a:xfrm>
        </p:spPr>
        <p:txBody>
          <a:bodyPr/>
          <a:lstStyle/>
          <a:p>
            <a:r>
              <a:rPr lang="en-US" dirty="0"/>
              <a:t>Click to edit Master title style</a:t>
            </a:r>
          </a:p>
        </p:txBody>
      </p:sp>
      <p:sp>
        <p:nvSpPr>
          <p:cNvPr id="5" name="Footer Placeholder 4"/>
          <p:cNvSpPr>
            <a:spLocks noGrp="1"/>
          </p:cNvSpPr>
          <p:nvPr>
            <p:ph type="ftr" sz="quarter" idx="11"/>
          </p:nvPr>
        </p:nvSpPr>
        <p:spPr/>
        <p:txBody>
          <a:bodyPr/>
          <a:lstStyle/>
          <a:p>
            <a:r>
              <a:rPr>
                <a:solidFill>
                  <a:prstClr val="black"/>
                </a:solidFill>
              </a:rPr>
              <a:t>© Copyright Inmarsat Global Limited 2014</a:t>
            </a:r>
          </a:p>
        </p:txBody>
      </p:sp>
      <p:sp>
        <p:nvSpPr>
          <p:cNvPr id="6" name="Slide Number Placeholder 5"/>
          <p:cNvSpPr>
            <a:spLocks noGrp="1"/>
          </p:cNvSpPr>
          <p:nvPr>
            <p:ph type="sldNum" sz="quarter" idx="12"/>
          </p:nvPr>
        </p:nvSpPr>
        <p:spPr/>
        <p:txBody>
          <a:bodyPr/>
          <a:lstStyle/>
          <a:p>
            <a:fld id="{7379F6AC-1C90-4500-8A18-29BB743821D7}" type="slidenum">
              <a:rPr>
                <a:solidFill>
                  <a:prstClr val="black"/>
                </a:solidFill>
              </a:rPr>
              <a:pPr/>
              <a:t>‹#›</a:t>
            </a:fld>
            <a:endParaRPr>
              <a:solidFill>
                <a:prstClr val="black"/>
              </a:solidFill>
            </a:endParaRPr>
          </a:p>
        </p:txBody>
      </p:sp>
      <p:sp>
        <p:nvSpPr>
          <p:cNvPr id="9" name="Text Placeholder 8"/>
          <p:cNvSpPr>
            <a:spLocks noGrp="1"/>
          </p:cNvSpPr>
          <p:nvPr>
            <p:ph type="body" sz="quarter" idx="13"/>
          </p:nvPr>
        </p:nvSpPr>
        <p:spPr>
          <a:xfrm>
            <a:off x="323666" y="3157709"/>
            <a:ext cx="8496299" cy="476250"/>
          </a:xfrm>
        </p:spPr>
        <p:txBody>
          <a:bodyPr>
            <a:normAutofit/>
          </a:bodyPr>
          <a:lstStyle>
            <a:lvl1pPr marL="0" indent="0">
              <a:spcBef>
                <a:spcPts val="0"/>
              </a:spcBef>
              <a:buNone/>
              <a:defRPr sz="16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3799353736"/>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Half image with stats">
    <p:spTree>
      <p:nvGrpSpPr>
        <p:cNvPr id="1" name=""/>
        <p:cNvGrpSpPr/>
        <p:nvPr/>
      </p:nvGrpSpPr>
      <p:grpSpPr>
        <a:xfrm>
          <a:off x="0" y="0"/>
          <a:ext cx="0" cy="0"/>
          <a:chOff x="0" y="0"/>
          <a:chExt cx="0" cy="0"/>
        </a:xfrm>
      </p:grpSpPr>
      <p:sp>
        <p:nvSpPr>
          <p:cNvPr id="10" name="Picture Placeholder 2"/>
          <p:cNvSpPr>
            <a:spLocks noGrp="1"/>
          </p:cNvSpPr>
          <p:nvPr>
            <p:ph type="pic" sz="quarter" idx="16"/>
          </p:nvPr>
        </p:nvSpPr>
        <p:spPr>
          <a:xfrm>
            <a:off x="0" y="0"/>
            <a:ext cx="9144000" cy="2559306"/>
          </a:xfrm>
        </p:spPr>
        <p:txBody>
          <a:bodyPr/>
          <a:lstStyle>
            <a:lvl1pPr>
              <a:defRPr>
                <a:solidFill>
                  <a:schemeClr val="bg1"/>
                </a:solidFill>
              </a:defRPr>
            </a:lvl1pPr>
          </a:lstStyle>
          <a:p>
            <a:endParaRPr lang="en-GB" dirty="0"/>
          </a:p>
        </p:txBody>
      </p:sp>
      <p:sp>
        <p:nvSpPr>
          <p:cNvPr id="13" name="Content Placeholder 12"/>
          <p:cNvSpPr>
            <a:spLocks noGrp="1"/>
          </p:cNvSpPr>
          <p:nvPr>
            <p:ph sz="quarter" idx="15"/>
          </p:nvPr>
        </p:nvSpPr>
        <p:spPr>
          <a:xfrm>
            <a:off x="323850" y="3531348"/>
            <a:ext cx="8496300" cy="1247968"/>
          </a:xfrm>
        </p:spPr>
        <p:txBody>
          <a:body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23889" y="2464754"/>
            <a:ext cx="8496299" cy="673213"/>
          </a:xfrm>
        </p:spPr>
        <p:txBody>
          <a:bodyPr/>
          <a:lstStyle/>
          <a:p>
            <a:r>
              <a:rPr lang="en-US" dirty="0"/>
              <a:t>Click to edit Master title style</a:t>
            </a:r>
          </a:p>
        </p:txBody>
      </p:sp>
      <p:sp>
        <p:nvSpPr>
          <p:cNvPr id="5" name="Footer Placeholder 4"/>
          <p:cNvSpPr>
            <a:spLocks noGrp="1"/>
          </p:cNvSpPr>
          <p:nvPr>
            <p:ph type="ftr" sz="quarter" idx="11"/>
          </p:nvPr>
        </p:nvSpPr>
        <p:spPr/>
        <p:txBody>
          <a:bodyPr/>
          <a:lstStyle/>
          <a:p>
            <a:r>
              <a:rPr>
                <a:solidFill>
                  <a:prstClr val="black"/>
                </a:solidFill>
              </a:rPr>
              <a:t>© Copyright Inmarsat Global Limited 2014</a:t>
            </a:r>
          </a:p>
        </p:txBody>
      </p:sp>
      <p:sp>
        <p:nvSpPr>
          <p:cNvPr id="6" name="Slide Number Placeholder 5"/>
          <p:cNvSpPr>
            <a:spLocks noGrp="1"/>
          </p:cNvSpPr>
          <p:nvPr>
            <p:ph type="sldNum" sz="quarter" idx="12"/>
          </p:nvPr>
        </p:nvSpPr>
        <p:spPr/>
        <p:txBody>
          <a:bodyPr/>
          <a:lstStyle/>
          <a:p>
            <a:fld id="{7379F6AC-1C90-4500-8A18-29BB743821D7}" type="slidenum">
              <a:rPr>
                <a:solidFill>
                  <a:prstClr val="black"/>
                </a:solidFill>
              </a:rPr>
              <a:pPr/>
              <a:t>‹#›</a:t>
            </a:fld>
            <a:endParaRPr>
              <a:solidFill>
                <a:prstClr val="black"/>
              </a:solidFill>
            </a:endParaRPr>
          </a:p>
        </p:txBody>
      </p:sp>
      <p:sp>
        <p:nvSpPr>
          <p:cNvPr id="9" name="Text Placeholder 8"/>
          <p:cNvSpPr>
            <a:spLocks noGrp="1"/>
          </p:cNvSpPr>
          <p:nvPr>
            <p:ph type="body" sz="quarter" idx="13"/>
          </p:nvPr>
        </p:nvSpPr>
        <p:spPr>
          <a:xfrm>
            <a:off x="323666" y="3157709"/>
            <a:ext cx="8496299" cy="476250"/>
          </a:xfrm>
        </p:spPr>
        <p:txBody>
          <a:bodyPr>
            <a:normAutofit/>
          </a:bodyPr>
          <a:lstStyle>
            <a:lvl1pPr marL="0" indent="0">
              <a:spcBef>
                <a:spcPts val="0"/>
              </a:spcBef>
              <a:buNone/>
              <a:defRPr sz="1600">
                <a:solidFill>
                  <a:schemeClr val="bg2"/>
                </a:solidFill>
              </a:defRPr>
            </a:lvl1pPr>
          </a:lstStyle>
          <a:p>
            <a:pPr lvl="0"/>
            <a:r>
              <a:rPr lang="en-US" dirty="0"/>
              <a:t>Click to edit Master text styles</a:t>
            </a:r>
          </a:p>
        </p:txBody>
      </p:sp>
      <p:sp>
        <p:nvSpPr>
          <p:cNvPr id="25" name="Text Placeholder 8"/>
          <p:cNvSpPr>
            <a:spLocks noGrp="1"/>
          </p:cNvSpPr>
          <p:nvPr>
            <p:ph type="body" sz="quarter" idx="23" hasCustomPrompt="1"/>
          </p:nvPr>
        </p:nvSpPr>
        <p:spPr>
          <a:xfrm>
            <a:off x="405296" y="1266369"/>
            <a:ext cx="1164521" cy="1015024"/>
          </a:xfrm>
          <a:solidFill>
            <a:schemeClr val="bg2"/>
          </a:solidFill>
        </p:spPr>
        <p:txBody>
          <a:bodyPr tIns="71882">
            <a:noAutofit/>
          </a:bodyPr>
          <a:lstStyle>
            <a:lvl1pPr marL="0" indent="0">
              <a:spcBef>
                <a:spcPts val="0"/>
              </a:spcBef>
              <a:buNone/>
              <a:defRPr sz="3000" b="1">
                <a:solidFill>
                  <a:schemeClr val="bg1"/>
                </a:solidFill>
              </a:defRPr>
            </a:lvl1pPr>
          </a:lstStyle>
          <a:p>
            <a:pPr lvl="0"/>
            <a:r>
              <a:rPr lang="en-US" dirty="0"/>
              <a:t>XX</a:t>
            </a:r>
          </a:p>
        </p:txBody>
      </p:sp>
      <p:sp>
        <p:nvSpPr>
          <p:cNvPr id="26" name="Text Placeholder 8"/>
          <p:cNvSpPr>
            <a:spLocks noGrp="1"/>
          </p:cNvSpPr>
          <p:nvPr>
            <p:ph type="body" sz="quarter" idx="24"/>
          </p:nvPr>
        </p:nvSpPr>
        <p:spPr>
          <a:xfrm>
            <a:off x="393702" y="1699468"/>
            <a:ext cx="1174480" cy="650369"/>
          </a:xfrm>
        </p:spPr>
        <p:txBody>
          <a:bodyPr>
            <a:normAutofit/>
          </a:bodyPr>
          <a:lstStyle>
            <a:lvl1pPr marL="0" indent="0">
              <a:spcBef>
                <a:spcPts val="0"/>
              </a:spcBef>
              <a:buNone/>
              <a:defRPr sz="1000">
                <a:solidFill>
                  <a:schemeClr val="bg1"/>
                </a:solidFill>
              </a:defRPr>
            </a:lvl1pPr>
          </a:lstStyle>
          <a:p>
            <a:pPr lvl="0"/>
            <a:r>
              <a:rPr lang="en-US" dirty="0"/>
              <a:t>Click to edit Master text styles</a:t>
            </a:r>
          </a:p>
        </p:txBody>
      </p:sp>
      <p:sp>
        <p:nvSpPr>
          <p:cNvPr id="29" name="Text Placeholder 8"/>
          <p:cNvSpPr>
            <a:spLocks noGrp="1"/>
          </p:cNvSpPr>
          <p:nvPr>
            <p:ph type="body" sz="quarter" idx="25" hasCustomPrompt="1"/>
          </p:nvPr>
        </p:nvSpPr>
        <p:spPr>
          <a:xfrm>
            <a:off x="2043891" y="1266369"/>
            <a:ext cx="1164521" cy="1015024"/>
          </a:xfrm>
          <a:solidFill>
            <a:schemeClr val="accent1"/>
          </a:solidFill>
        </p:spPr>
        <p:txBody>
          <a:bodyPr tIns="71882">
            <a:noAutofit/>
          </a:bodyPr>
          <a:lstStyle>
            <a:lvl1pPr marL="0" indent="0">
              <a:spcBef>
                <a:spcPts val="0"/>
              </a:spcBef>
              <a:buNone/>
              <a:defRPr sz="3000" b="1">
                <a:solidFill>
                  <a:schemeClr val="bg1"/>
                </a:solidFill>
              </a:defRPr>
            </a:lvl1pPr>
          </a:lstStyle>
          <a:p>
            <a:pPr lvl="0"/>
            <a:r>
              <a:rPr lang="en-US" dirty="0"/>
              <a:t>XX</a:t>
            </a:r>
          </a:p>
        </p:txBody>
      </p:sp>
      <p:sp>
        <p:nvSpPr>
          <p:cNvPr id="30" name="Text Placeholder 8"/>
          <p:cNvSpPr>
            <a:spLocks noGrp="1"/>
          </p:cNvSpPr>
          <p:nvPr>
            <p:ph type="body" sz="quarter" idx="26"/>
          </p:nvPr>
        </p:nvSpPr>
        <p:spPr>
          <a:xfrm>
            <a:off x="2032516" y="1699468"/>
            <a:ext cx="1174480" cy="650369"/>
          </a:xfrm>
        </p:spPr>
        <p:txBody>
          <a:bodyPr>
            <a:normAutofit/>
          </a:bodyPr>
          <a:lstStyle>
            <a:lvl1pPr marL="0" indent="0">
              <a:spcBef>
                <a:spcPts val="0"/>
              </a:spcBef>
              <a:buNone/>
              <a:defRPr sz="1000">
                <a:solidFill>
                  <a:schemeClr val="bg1"/>
                </a:solidFill>
              </a:defRPr>
            </a:lvl1pPr>
          </a:lstStyle>
          <a:p>
            <a:pPr lvl="0"/>
            <a:r>
              <a:rPr lang="en-US" dirty="0"/>
              <a:t>Click to edit Master text styles</a:t>
            </a:r>
          </a:p>
        </p:txBody>
      </p:sp>
      <p:sp>
        <p:nvSpPr>
          <p:cNvPr id="31" name="Text Placeholder 8"/>
          <p:cNvSpPr>
            <a:spLocks noGrp="1"/>
          </p:cNvSpPr>
          <p:nvPr>
            <p:ph type="body" sz="quarter" idx="19" hasCustomPrompt="1"/>
          </p:nvPr>
        </p:nvSpPr>
        <p:spPr>
          <a:xfrm>
            <a:off x="3682583" y="1266369"/>
            <a:ext cx="1164521" cy="1015024"/>
          </a:xfrm>
          <a:solidFill>
            <a:schemeClr val="accent1"/>
          </a:solidFill>
        </p:spPr>
        <p:txBody>
          <a:bodyPr tIns="71882">
            <a:noAutofit/>
          </a:bodyPr>
          <a:lstStyle>
            <a:lvl1pPr marL="0" indent="0">
              <a:spcBef>
                <a:spcPts val="0"/>
              </a:spcBef>
              <a:buNone/>
              <a:defRPr sz="3000" b="1">
                <a:solidFill>
                  <a:schemeClr val="bg1"/>
                </a:solidFill>
              </a:defRPr>
            </a:lvl1pPr>
          </a:lstStyle>
          <a:p>
            <a:pPr lvl="0"/>
            <a:r>
              <a:rPr lang="en-US" dirty="0"/>
              <a:t>XX</a:t>
            </a:r>
          </a:p>
        </p:txBody>
      </p:sp>
      <p:sp>
        <p:nvSpPr>
          <p:cNvPr id="32" name="Text Placeholder 8"/>
          <p:cNvSpPr>
            <a:spLocks noGrp="1"/>
          </p:cNvSpPr>
          <p:nvPr>
            <p:ph type="body" sz="quarter" idx="18"/>
          </p:nvPr>
        </p:nvSpPr>
        <p:spPr>
          <a:xfrm>
            <a:off x="3670986" y="1699468"/>
            <a:ext cx="1174480" cy="650369"/>
          </a:xfrm>
        </p:spPr>
        <p:txBody>
          <a:bodyPr>
            <a:normAutofit/>
          </a:bodyPr>
          <a:lstStyle>
            <a:lvl1pPr marL="0" indent="0">
              <a:spcBef>
                <a:spcPts val="0"/>
              </a:spcBef>
              <a:buNone/>
              <a:defRPr sz="10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3114145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Full image and title">
    <p:spTree>
      <p:nvGrpSpPr>
        <p:cNvPr id="1" name=""/>
        <p:cNvGrpSpPr/>
        <p:nvPr/>
      </p:nvGrpSpPr>
      <p:grpSpPr>
        <a:xfrm>
          <a:off x="0" y="0"/>
          <a:ext cx="0" cy="0"/>
          <a:chOff x="0" y="0"/>
          <a:chExt cx="0" cy="0"/>
        </a:xfrm>
      </p:grpSpPr>
      <p:sp>
        <p:nvSpPr>
          <p:cNvPr id="4" name="Picture Placeholder 3"/>
          <p:cNvSpPr>
            <a:spLocks noGrp="1"/>
          </p:cNvSpPr>
          <p:nvPr>
            <p:ph type="pic" sz="quarter" idx="16"/>
          </p:nvPr>
        </p:nvSpPr>
        <p:spPr>
          <a:xfrm>
            <a:off x="1" y="-6594"/>
            <a:ext cx="9156032" cy="5150094"/>
          </a:xfrm>
        </p:spPr>
        <p:txBody>
          <a:bodyPr/>
          <a:lstStyle>
            <a:lvl1pPr>
              <a:defRPr>
                <a:solidFill>
                  <a:schemeClr val="bg1"/>
                </a:solidFill>
              </a:defRPr>
            </a:lvl1pPr>
          </a:lstStyle>
          <a:p>
            <a:endParaRPr lang="en-GB" dirty="0"/>
          </a:p>
        </p:txBody>
      </p:sp>
      <p:sp>
        <p:nvSpPr>
          <p:cNvPr id="2" name="Title 1"/>
          <p:cNvSpPr>
            <a:spLocks noGrp="1"/>
          </p:cNvSpPr>
          <p:nvPr>
            <p:ph type="title"/>
          </p:nvPr>
        </p:nvSpPr>
        <p:spPr>
          <a:xfrm>
            <a:off x="323851" y="339722"/>
            <a:ext cx="5284470" cy="673213"/>
          </a:xfrm>
        </p:spPr>
        <p:txBody>
          <a:bodyPr/>
          <a:lstStyle>
            <a:lvl1pPr>
              <a:defRPr>
                <a:solidFill>
                  <a:schemeClr val="bg1"/>
                </a:solidFill>
              </a:defRPr>
            </a:lvl1pPr>
          </a:lstStyle>
          <a:p>
            <a:r>
              <a:rPr lang="en-US" dirty="0"/>
              <a:t>Click to edit Master title style</a:t>
            </a:r>
          </a:p>
        </p:txBody>
      </p:sp>
      <p:sp>
        <p:nvSpPr>
          <p:cNvPr id="7" name="Text Placeholder 8"/>
          <p:cNvSpPr>
            <a:spLocks noGrp="1"/>
          </p:cNvSpPr>
          <p:nvPr>
            <p:ph type="body" sz="quarter" idx="13"/>
          </p:nvPr>
        </p:nvSpPr>
        <p:spPr>
          <a:xfrm>
            <a:off x="323629" y="1032690"/>
            <a:ext cx="5292474" cy="552923"/>
          </a:xfrm>
        </p:spPr>
        <p:txBody>
          <a:bodyPr>
            <a:normAutofit/>
          </a:bodyPr>
          <a:lstStyle>
            <a:lvl1pPr marL="0" indent="0">
              <a:spcBef>
                <a:spcPts val="0"/>
              </a:spcBef>
              <a:buNone/>
              <a:defRPr sz="16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84444966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Full image with stat boxes">
    <p:spTree>
      <p:nvGrpSpPr>
        <p:cNvPr id="1" name=""/>
        <p:cNvGrpSpPr/>
        <p:nvPr/>
      </p:nvGrpSpPr>
      <p:grpSpPr>
        <a:xfrm>
          <a:off x="0" y="0"/>
          <a:ext cx="0" cy="0"/>
          <a:chOff x="0" y="0"/>
          <a:chExt cx="0" cy="0"/>
        </a:xfrm>
      </p:grpSpPr>
      <p:sp>
        <p:nvSpPr>
          <p:cNvPr id="4" name="Picture Placeholder 3"/>
          <p:cNvSpPr>
            <a:spLocks noGrp="1"/>
          </p:cNvSpPr>
          <p:nvPr>
            <p:ph type="pic" sz="quarter" idx="16"/>
          </p:nvPr>
        </p:nvSpPr>
        <p:spPr>
          <a:xfrm>
            <a:off x="1" y="-6594"/>
            <a:ext cx="9156032" cy="5150094"/>
          </a:xfrm>
        </p:spPr>
        <p:txBody>
          <a:bodyPr/>
          <a:lstStyle>
            <a:lvl1pPr>
              <a:defRPr>
                <a:solidFill>
                  <a:schemeClr val="bg1"/>
                </a:solidFill>
              </a:defRPr>
            </a:lvl1pPr>
          </a:lstStyle>
          <a:p>
            <a:endParaRPr lang="en-GB" dirty="0"/>
          </a:p>
        </p:txBody>
      </p:sp>
      <p:sp>
        <p:nvSpPr>
          <p:cNvPr id="17" name="Text Placeholder 8"/>
          <p:cNvSpPr>
            <a:spLocks noGrp="1"/>
          </p:cNvSpPr>
          <p:nvPr>
            <p:ph type="body" sz="quarter" idx="23" hasCustomPrompt="1"/>
          </p:nvPr>
        </p:nvSpPr>
        <p:spPr>
          <a:xfrm>
            <a:off x="405296" y="3753195"/>
            <a:ext cx="1164521" cy="1015024"/>
          </a:xfrm>
          <a:solidFill>
            <a:schemeClr val="bg2"/>
          </a:solidFill>
        </p:spPr>
        <p:txBody>
          <a:bodyPr tIns="71882">
            <a:noAutofit/>
          </a:bodyPr>
          <a:lstStyle>
            <a:lvl1pPr marL="0" indent="0">
              <a:spcBef>
                <a:spcPts val="0"/>
              </a:spcBef>
              <a:buNone/>
              <a:defRPr sz="3000" b="1">
                <a:solidFill>
                  <a:schemeClr val="bg1"/>
                </a:solidFill>
              </a:defRPr>
            </a:lvl1pPr>
          </a:lstStyle>
          <a:p>
            <a:pPr lvl="0"/>
            <a:r>
              <a:rPr lang="en-US" dirty="0"/>
              <a:t>XX</a:t>
            </a:r>
          </a:p>
        </p:txBody>
      </p:sp>
      <p:sp>
        <p:nvSpPr>
          <p:cNvPr id="18" name="Text Placeholder 8"/>
          <p:cNvSpPr>
            <a:spLocks noGrp="1"/>
          </p:cNvSpPr>
          <p:nvPr>
            <p:ph type="body" sz="quarter" idx="24"/>
          </p:nvPr>
        </p:nvSpPr>
        <p:spPr>
          <a:xfrm>
            <a:off x="393702" y="4186294"/>
            <a:ext cx="1174480" cy="650369"/>
          </a:xfrm>
        </p:spPr>
        <p:txBody>
          <a:bodyPr>
            <a:normAutofit/>
          </a:bodyPr>
          <a:lstStyle>
            <a:lvl1pPr marL="0" indent="0">
              <a:spcBef>
                <a:spcPts val="0"/>
              </a:spcBef>
              <a:buNone/>
              <a:defRPr sz="1000">
                <a:solidFill>
                  <a:schemeClr val="bg1"/>
                </a:solidFill>
              </a:defRPr>
            </a:lvl1pPr>
          </a:lstStyle>
          <a:p>
            <a:pPr lvl="0"/>
            <a:r>
              <a:rPr lang="en-US" dirty="0"/>
              <a:t>Click to edit Master text styles</a:t>
            </a:r>
          </a:p>
        </p:txBody>
      </p:sp>
      <p:sp>
        <p:nvSpPr>
          <p:cNvPr id="19" name="Text Placeholder 8"/>
          <p:cNvSpPr>
            <a:spLocks noGrp="1"/>
          </p:cNvSpPr>
          <p:nvPr>
            <p:ph type="body" sz="quarter" idx="25" hasCustomPrompt="1"/>
          </p:nvPr>
        </p:nvSpPr>
        <p:spPr>
          <a:xfrm>
            <a:off x="2043891" y="3753195"/>
            <a:ext cx="1164521" cy="1015024"/>
          </a:xfrm>
          <a:solidFill>
            <a:schemeClr val="accent1"/>
          </a:solidFill>
        </p:spPr>
        <p:txBody>
          <a:bodyPr tIns="71882">
            <a:noAutofit/>
          </a:bodyPr>
          <a:lstStyle>
            <a:lvl1pPr marL="0" indent="0">
              <a:spcBef>
                <a:spcPts val="0"/>
              </a:spcBef>
              <a:buNone/>
              <a:defRPr sz="3000" b="1">
                <a:solidFill>
                  <a:schemeClr val="bg1"/>
                </a:solidFill>
              </a:defRPr>
            </a:lvl1pPr>
          </a:lstStyle>
          <a:p>
            <a:pPr lvl="0"/>
            <a:r>
              <a:rPr lang="en-US" dirty="0"/>
              <a:t>XX</a:t>
            </a:r>
          </a:p>
        </p:txBody>
      </p:sp>
      <p:sp>
        <p:nvSpPr>
          <p:cNvPr id="20" name="Text Placeholder 8"/>
          <p:cNvSpPr>
            <a:spLocks noGrp="1"/>
          </p:cNvSpPr>
          <p:nvPr>
            <p:ph type="body" sz="quarter" idx="26"/>
          </p:nvPr>
        </p:nvSpPr>
        <p:spPr>
          <a:xfrm>
            <a:off x="2032516" y="4186294"/>
            <a:ext cx="1174480" cy="650369"/>
          </a:xfrm>
        </p:spPr>
        <p:txBody>
          <a:bodyPr>
            <a:normAutofit/>
          </a:bodyPr>
          <a:lstStyle>
            <a:lvl1pPr marL="0" indent="0">
              <a:spcBef>
                <a:spcPts val="0"/>
              </a:spcBef>
              <a:buNone/>
              <a:defRPr sz="1000">
                <a:solidFill>
                  <a:schemeClr val="bg1"/>
                </a:solidFill>
              </a:defRPr>
            </a:lvl1pPr>
          </a:lstStyle>
          <a:p>
            <a:pPr lvl="0"/>
            <a:r>
              <a:rPr lang="en-US" dirty="0"/>
              <a:t>Click to edit Master text styles</a:t>
            </a:r>
          </a:p>
        </p:txBody>
      </p:sp>
      <p:sp>
        <p:nvSpPr>
          <p:cNvPr id="21" name="Text Placeholder 8"/>
          <p:cNvSpPr>
            <a:spLocks noGrp="1"/>
          </p:cNvSpPr>
          <p:nvPr>
            <p:ph type="body" sz="quarter" idx="19" hasCustomPrompt="1"/>
          </p:nvPr>
        </p:nvSpPr>
        <p:spPr>
          <a:xfrm>
            <a:off x="3682583" y="3753195"/>
            <a:ext cx="1164521" cy="1015024"/>
          </a:xfrm>
          <a:solidFill>
            <a:schemeClr val="accent1"/>
          </a:solidFill>
        </p:spPr>
        <p:txBody>
          <a:bodyPr tIns="71882">
            <a:noAutofit/>
          </a:bodyPr>
          <a:lstStyle>
            <a:lvl1pPr marL="0" indent="0">
              <a:spcBef>
                <a:spcPts val="0"/>
              </a:spcBef>
              <a:buNone/>
              <a:defRPr sz="3000" b="1">
                <a:solidFill>
                  <a:schemeClr val="bg1"/>
                </a:solidFill>
              </a:defRPr>
            </a:lvl1pPr>
          </a:lstStyle>
          <a:p>
            <a:pPr lvl="0"/>
            <a:r>
              <a:rPr lang="en-US" dirty="0"/>
              <a:t>XX</a:t>
            </a:r>
          </a:p>
        </p:txBody>
      </p:sp>
      <p:sp>
        <p:nvSpPr>
          <p:cNvPr id="22" name="Text Placeholder 8"/>
          <p:cNvSpPr>
            <a:spLocks noGrp="1"/>
          </p:cNvSpPr>
          <p:nvPr>
            <p:ph type="body" sz="quarter" idx="18"/>
          </p:nvPr>
        </p:nvSpPr>
        <p:spPr>
          <a:xfrm>
            <a:off x="3670986" y="4186294"/>
            <a:ext cx="1174480" cy="650369"/>
          </a:xfrm>
        </p:spPr>
        <p:txBody>
          <a:bodyPr>
            <a:normAutofit/>
          </a:bodyPr>
          <a:lstStyle>
            <a:lvl1pPr marL="0" indent="0">
              <a:spcBef>
                <a:spcPts val="0"/>
              </a:spcBef>
              <a:buNone/>
              <a:defRPr sz="10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5254669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Full image with box">
    <p:spTree>
      <p:nvGrpSpPr>
        <p:cNvPr id="1" name=""/>
        <p:cNvGrpSpPr/>
        <p:nvPr/>
      </p:nvGrpSpPr>
      <p:grpSpPr>
        <a:xfrm>
          <a:off x="0" y="0"/>
          <a:ext cx="0" cy="0"/>
          <a:chOff x="0" y="0"/>
          <a:chExt cx="0" cy="0"/>
        </a:xfrm>
      </p:grpSpPr>
      <p:sp>
        <p:nvSpPr>
          <p:cNvPr id="4" name="Picture Placeholder 3"/>
          <p:cNvSpPr>
            <a:spLocks noGrp="1"/>
          </p:cNvSpPr>
          <p:nvPr>
            <p:ph type="pic" sz="quarter" idx="16"/>
          </p:nvPr>
        </p:nvSpPr>
        <p:spPr>
          <a:xfrm>
            <a:off x="1" y="-6594"/>
            <a:ext cx="9156032" cy="5150094"/>
          </a:xfrm>
        </p:spPr>
        <p:txBody>
          <a:bodyPr/>
          <a:lstStyle>
            <a:lvl1pPr>
              <a:defRPr>
                <a:solidFill>
                  <a:schemeClr val="bg1"/>
                </a:solidFill>
              </a:defRPr>
            </a:lvl1pPr>
          </a:lstStyle>
          <a:p>
            <a:endParaRPr lang="en-GB" dirty="0"/>
          </a:p>
        </p:txBody>
      </p:sp>
      <p:sp>
        <p:nvSpPr>
          <p:cNvPr id="23" name="Content Placeholder 12"/>
          <p:cNvSpPr>
            <a:spLocks noGrp="1"/>
          </p:cNvSpPr>
          <p:nvPr>
            <p:ph sz="quarter" idx="17"/>
          </p:nvPr>
        </p:nvSpPr>
        <p:spPr>
          <a:xfrm>
            <a:off x="431845" y="1584144"/>
            <a:ext cx="2999377" cy="3147400"/>
          </a:xfrm>
          <a:solidFill>
            <a:schemeClr val="accent1"/>
          </a:solidFill>
        </p:spPr>
        <p:txBody>
          <a:bodyPr lIns="194048" tIns="136565" rIns="194048" bIns="136565"/>
          <a:lstStyle>
            <a:lvl1pPr>
              <a:defRPr>
                <a:solidFill>
                  <a:schemeClr val="bg1"/>
                </a:solidFill>
              </a:defRPr>
            </a:lvl1pPr>
            <a:lvl2pPr>
              <a:defRPr>
                <a:solidFill>
                  <a:schemeClr val="bg1"/>
                </a:solidFill>
              </a:defRPr>
            </a:lvl2pPr>
            <a:lvl3pPr>
              <a:buClrTx/>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1768284"/>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3" name="Content Placeholder 12"/>
          <p:cNvSpPr>
            <a:spLocks noGrp="1"/>
          </p:cNvSpPr>
          <p:nvPr>
            <p:ph sz="quarter" idx="15"/>
          </p:nvPr>
        </p:nvSpPr>
        <p:spPr>
          <a:xfrm>
            <a:off x="323850" y="1626326"/>
            <a:ext cx="4176000" cy="310521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p:txBody>
          <a:bodyPr/>
          <a:lstStyle/>
          <a:p>
            <a:r>
              <a:rPr>
                <a:solidFill>
                  <a:prstClr val="black"/>
                </a:solidFill>
              </a:rPr>
              <a:t>© Copyright Inmarsat Global Limited 2014</a:t>
            </a:r>
          </a:p>
        </p:txBody>
      </p:sp>
      <p:sp>
        <p:nvSpPr>
          <p:cNvPr id="6" name="Slide Number Placeholder 5"/>
          <p:cNvSpPr>
            <a:spLocks noGrp="1"/>
          </p:cNvSpPr>
          <p:nvPr>
            <p:ph type="sldNum" sz="quarter" idx="12"/>
          </p:nvPr>
        </p:nvSpPr>
        <p:spPr/>
        <p:txBody>
          <a:bodyPr/>
          <a:lstStyle/>
          <a:p>
            <a:fld id="{7379F6AC-1C90-4500-8A18-29BB743821D7}" type="slidenum">
              <a:rPr>
                <a:solidFill>
                  <a:prstClr val="black"/>
                </a:solidFill>
              </a:rPr>
              <a:pPr/>
              <a:t>‹#›</a:t>
            </a:fld>
            <a:endParaRPr>
              <a:solidFill>
                <a:prstClr val="black"/>
              </a:solidFill>
            </a:endParaRPr>
          </a:p>
        </p:txBody>
      </p:sp>
      <p:sp>
        <p:nvSpPr>
          <p:cNvPr id="9" name="Text Placeholder 8"/>
          <p:cNvSpPr>
            <a:spLocks noGrp="1"/>
          </p:cNvSpPr>
          <p:nvPr>
            <p:ph type="body" sz="quarter" idx="13"/>
          </p:nvPr>
        </p:nvSpPr>
        <p:spPr>
          <a:xfrm>
            <a:off x="323640" y="1032688"/>
            <a:ext cx="4176221" cy="549680"/>
          </a:xfrm>
        </p:spPr>
        <p:txBody>
          <a:bodyPr>
            <a:normAutofit/>
          </a:bodyPr>
          <a:lstStyle>
            <a:lvl1pPr marL="0" indent="0">
              <a:spcBef>
                <a:spcPts val="0"/>
              </a:spcBef>
              <a:buNone/>
              <a:defRPr sz="1600">
                <a:solidFill>
                  <a:srgbClr val="41CCEF"/>
                </a:solidFill>
              </a:defRPr>
            </a:lvl1pPr>
          </a:lstStyle>
          <a:p>
            <a:pPr lvl="0"/>
            <a:r>
              <a:rPr lang="en-US" dirty="0"/>
              <a:t>Click to edit Master text styles</a:t>
            </a:r>
          </a:p>
        </p:txBody>
      </p:sp>
      <p:sp>
        <p:nvSpPr>
          <p:cNvPr id="11" name="Chart Placeholder 6"/>
          <p:cNvSpPr>
            <a:spLocks noGrp="1"/>
          </p:cNvSpPr>
          <p:nvPr>
            <p:ph type="chart" sz="quarter" idx="16"/>
          </p:nvPr>
        </p:nvSpPr>
        <p:spPr>
          <a:xfrm>
            <a:off x="4868092" y="1626326"/>
            <a:ext cx="3952058" cy="3105219"/>
          </a:xfrm>
        </p:spPr>
        <p:txBody>
          <a:bodyPr/>
          <a:lstStyle>
            <a:lvl1pPr>
              <a:defRPr>
                <a:solidFill>
                  <a:schemeClr val="tx1"/>
                </a:solidFill>
              </a:defRPr>
            </a:lvl1pPr>
          </a:lstStyle>
          <a:p>
            <a:endParaRPr lang="en-GB" dirty="0"/>
          </a:p>
        </p:txBody>
      </p:sp>
      <p:sp>
        <p:nvSpPr>
          <p:cNvPr id="12" name="Text Placeholder 8"/>
          <p:cNvSpPr>
            <a:spLocks noGrp="1"/>
          </p:cNvSpPr>
          <p:nvPr>
            <p:ph type="body" sz="quarter" idx="17"/>
          </p:nvPr>
        </p:nvSpPr>
        <p:spPr>
          <a:xfrm>
            <a:off x="4754944" y="1032688"/>
            <a:ext cx="4127863" cy="549680"/>
          </a:xfrm>
        </p:spPr>
        <p:txBody>
          <a:bodyPr>
            <a:normAutofit/>
          </a:bodyPr>
          <a:lstStyle>
            <a:lvl1pPr marL="0" indent="0">
              <a:spcBef>
                <a:spcPts val="0"/>
              </a:spcBef>
              <a:buNone/>
              <a:defRPr sz="1600">
                <a:solidFill>
                  <a:srgbClr val="002150"/>
                </a:solidFill>
              </a:defRPr>
            </a:lvl1pPr>
          </a:lstStyle>
          <a:p>
            <a:pPr lvl="0"/>
            <a:r>
              <a:rPr lang="en-US" dirty="0"/>
              <a:t>Click to edit Master text styles</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829509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hart on block colour">
    <p:spTree>
      <p:nvGrpSpPr>
        <p:cNvPr id="1" name=""/>
        <p:cNvGrpSpPr/>
        <p:nvPr/>
      </p:nvGrpSpPr>
      <p:grpSpPr>
        <a:xfrm>
          <a:off x="0" y="0"/>
          <a:ext cx="0" cy="0"/>
          <a:chOff x="0" y="0"/>
          <a:chExt cx="0" cy="0"/>
        </a:xfrm>
      </p:grpSpPr>
      <p:sp>
        <p:nvSpPr>
          <p:cNvPr id="3" name="Rectangle 2"/>
          <p:cNvSpPr/>
          <p:nvPr userDrawn="1"/>
        </p:nvSpPr>
        <p:spPr>
          <a:xfrm>
            <a:off x="4580711" y="0"/>
            <a:ext cx="456329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en-GB" sz="1800">
              <a:solidFill>
                <a:prstClr val="white"/>
              </a:solidFill>
            </a:endParaRPr>
          </a:p>
        </p:txBody>
      </p:sp>
      <p:sp>
        <p:nvSpPr>
          <p:cNvPr id="13" name="Content Placeholder 12"/>
          <p:cNvSpPr>
            <a:spLocks noGrp="1"/>
          </p:cNvSpPr>
          <p:nvPr>
            <p:ph sz="quarter" idx="15"/>
          </p:nvPr>
        </p:nvSpPr>
        <p:spPr>
          <a:xfrm>
            <a:off x="323850" y="1626326"/>
            <a:ext cx="4176000" cy="310521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a:xfrm>
            <a:off x="323850" y="339722"/>
            <a:ext cx="4176000" cy="673213"/>
          </a:xfrm>
        </p:spPr>
        <p:txBody>
          <a:bodyPr/>
          <a:lstStyle/>
          <a:p>
            <a:r>
              <a:rPr lang="en-US" dirty="0"/>
              <a:t>Click to edit Master title</a:t>
            </a:r>
          </a:p>
        </p:txBody>
      </p:sp>
      <p:sp>
        <p:nvSpPr>
          <p:cNvPr id="5" name="Footer Placeholder 4"/>
          <p:cNvSpPr>
            <a:spLocks noGrp="1"/>
          </p:cNvSpPr>
          <p:nvPr>
            <p:ph type="ftr" sz="quarter" idx="11"/>
          </p:nvPr>
        </p:nvSpPr>
        <p:spPr/>
        <p:txBody>
          <a:bodyPr/>
          <a:lstStyle/>
          <a:p>
            <a:r>
              <a:rPr>
                <a:solidFill>
                  <a:prstClr val="black"/>
                </a:solidFill>
              </a:rPr>
              <a:t>© Copyright Inmarsat Global Limited 201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379F6AC-1C90-4500-8A18-29BB743821D7}" type="slidenum">
              <a:rPr smtClean="0">
                <a:solidFill>
                  <a:prstClr val="white"/>
                </a:solidFill>
              </a:rPr>
              <a:pPr/>
              <a:t>‹#›</a:t>
            </a:fld>
            <a:endParaRPr>
              <a:solidFill>
                <a:prstClr val="white"/>
              </a:solidFill>
            </a:endParaRPr>
          </a:p>
        </p:txBody>
      </p:sp>
      <p:sp>
        <p:nvSpPr>
          <p:cNvPr id="10" name="Chart Placeholder 6"/>
          <p:cNvSpPr>
            <a:spLocks noGrp="1"/>
          </p:cNvSpPr>
          <p:nvPr>
            <p:ph type="chart" sz="quarter" idx="16"/>
          </p:nvPr>
        </p:nvSpPr>
        <p:spPr>
          <a:xfrm>
            <a:off x="4868092" y="1626326"/>
            <a:ext cx="3952058" cy="3105219"/>
          </a:xfrm>
        </p:spPr>
        <p:txBody>
          <a:bodyPr/>
          <a:lstStyle>
            <a:lvl1pPr>
              <a:defRPr>
                <a:solidFill>
                  <a:schemeClr val="bg1"/>
                </a:solidFill>
              </a:defRPr>
            </a:lvl1pPr>
          </a:lstStyle>
          <a:p>
            <a:endParaRPr lang="en-GB" dirty="0"/>
          </a:p>
        </p:txBody>
      </p:sp>
      <p:sp>
        <p:nvSpPr>
          <p:cNvPr id="16" name="Text Placeholder 8"/>
          <p:cNvSpPr>
            <a:spLocks noGrp="1"/>
          </p:cNvSpPr>
          <p:nvPr>
            <p:ph type="body" sz="quarter" idx="13"/>
          </p:nvPr>
        </p:nvSpPr>
        <p:spPr>
          <a:xfrm>
            <a:off x="323640" y="1032688"/>
            <a:ext cx="4176221" cy="549680"/>
          </a:xfrm>
        </p:spPr>
        <p:txBody>
          <a:bodyPr>
            <a:normAutofit/>
          </a:bodyPr>
          <a:lstStyle>
            <a:lvl1pPr marL="0" indent="0">
              <a:spcBef>
                <a:spcPts val="0"/>
              </a:spcBef>
              <a:buNone/>
              <a:defRPr sz="1600">
                <a:solidFill>
                  <a:srgbClr val="41CCEF"/>
                </a:solidFill>
              </a:defRPr>
            </a:lvl1pPr>
          </a:lstStyle>
          <a:p>
            <a:pPr lvl="0"/>
            <a:r>
              <a:rPr lang="en-US" dirty="0"/>
              <a:t>Click to edit Master text styles</a:t>
            </a:r>
          </a:p>
        </p:txBody>
      </p:sp>
      <p:sp>
        <p:nvSpPr>
          <p:cNvPr id="17" name="Text Placeholder 8"/>
          <p:cNvSpPr>
            <a:spLocks noGrp="1"/>
          </p:cNvSpPr>
          <p:nvPr>
            <p:ph type="body" sz="quarter" idx="17"/>
          </p:nvPr>
        </p:nvSpPr>
        <p:spPr>
          <a:xfrm>
            <a:off x="4754944" y="1032688"/>
            <a:ext cx="4127863" cy="549680"/>
          </a:xfrm>
        </p:spPr>
        <p:txBody>
          <a:bodyPr>
            <a:normAutofit/>
          </a:bodyPr>
          <a:lstStyle>
            <a:lvl1pPr marL="0" indent="0">
              <a:spcBef>
                <a:spcPts val="0"/>
              </a:spcBef>
              <a:buNone/>
              <a:defRPr sz="16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65961364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a:solidFill>
                  <a:prstClr val="black"/>
                </a:solidFill>
              </a:rPr>
              <a:t>© Copyright Inmarsat Global Limited 2014</a:t>
            </a:r>
          </a:p>
        </p:txBody>
      </p:sp>
      <p:sp>
        <p:nvSpPr>
          <p:cNvPr id="6" name="Slide Number Placeholder 5"/>
          <p:cNvSpPr>
            <a:spLocks noGrp="1"/>
          </p:cNvSpPr>
          <p:nvPr>
            <p:ph type="sldNum" sz="quarter" idx="12"/>
          </p:nvPr>
        </p:nvSpPr>
        <p:spPr/>
        <p:txBody>
          <a:bodyPr/>
          <a:lstStyle/>
          <a:p>
            <a:fld id="{7379F6AC-1C90-4500-8A18-29BB743821D7}" type="slidenum">
              <a:rPr>
                <a:solidFill>
                  <a:prstClr val="black"/>
                </a:solidFill>
              </a:rPr>
              <a:pPr/>
              <a:t>‹#›</a:t>
            </a:fld>
            <a:endParaRPr>
              <a:solidFill>
                <a:prstClr val="black"/>
              </a:solidFill>
            </a:endParaRPr>
          </a:p>
        </p:txBody>
      </p:sp>
      <p:sp>
        <p:nvSpPr>
          <p:cNvPr id="3" name="Title 2"/>
          <p:cNvSpPr>
            <a:spLocks noGrp="1"/>
          </p:cNvSpPr>
          <p:nvPr>
            <p:ph type="title"/>
          </p:nvPr>
        </p:nvSpPr>
        <p:spPr/>
        <p:txBody>
          <a:bodyPr/>
          <a:lstStyle/>
          <a:p>
            <a:r>
              <a:rPr lang="en-US"/>
              <a:t>Click to edit Master title style</a:t>
            </a:r>
            <a:endParaRPr lang="en-GB"/>
          </a:p>
        </p:txBody>
      </p:sp>
      <p:sp>
        <p:nvSpPr>
          <p:cNvPr id="10" name="Table Placeholder 3"/>
          <p:cNvSpPr>
            <a:spLocks noGrp="1"/>
          </p:cNvSpPr>
          <p:nvPr>
            <p:ph type="tbl" sz="quarter" idx="16"/>
          </p:nvPr>
        </p:nvSpPr>
        <p:spPr>
          <a:xfrm>
            <a:off x="323874" y="1626325"/>
            <a:ext cx="8499137" cy="2994314"/>
          </a:xfrm>
        </p:spPr>
        <p:txBody>
          <a:bodyPr/>
          <a:lstStyle/>
          <a:p>
            <a:endParaRPr lang="en-GB"/>
          </a:p>
        </p:txBody>
      </p:sp>
      <p:sp>
        <p:nvSpPr>
          <p:cNvPr id="11" name="Text Placeholder 8"/>
          <p:cNvSpPr>
            <a:spLocks noGrp="1"/>
          </p:cNvSpPr>
          <p:nvPr>
            <p:ph type="body" sz="quarter" idx="13"/>
          </p:nvPr>
        </p:nvSpPr>
        <p:spPr>
          <a:xfrm>
            <a:off x="323666" y="1032690"/>
            <a:ext cx="8496299" cy="552923"/>
          </a:xfrm>
        </p:spPr>
        <p:txBody>
          <a:bodyPr>
            <a:normAutofit/>
          </a:bodyPr>
          <a:lstStyle>
            <a:lvl1pPr marL="0" indent="0">
              <a:spcBef>
                <a:spcPts val="0"/>
              </a:spcBef>
              <a:buNone/>
              <a:defRPr sz="16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211151202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Media Placeholder 5"/>
          <p:cNvSpPr>
            <a:spLocks noGrp="1"/>
          </p:cNvSpPr>
          <p:nvPr>
            <p:ph type="media" sz="quarter" idx="10"/>
          </p:nvPr>
        </p:nvSpPr>
        <p:spPr>
          <a:xfrm>
            <a:off x="39" y="0"/>
            <a:ext cx="9143999" cy="5143500"/>
          </a:xfrm>
        </p:spPr>
        <p:txBody>
          <a:bodyPr/>
          <a:lstStyle/>
          <a:p>
            <a:endParaRPr lang="en-GB"/>
          </a:p>
        </p:txBody>
      </p:sp>
    </p:spTree>
    <p:extLst>
      <p:ext uri="{BB962C8B-B14F-4D97-AF65-F5344CB8AC3E}">
        <p14:creationId xmlns:p14="http://schemas.microsoft.com/office/powerpoint/2010/main" val="40662153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21" name="Picture Placeholder 20"/>
          <p:cNvSpPr>
            <a:spLocks noGrp="1"/>
          </p:cNvSpPr>
          <p:nvPr>
            <p:ph type="pic" sz="quarter" idx="13"/>
          </p:nvPr>
        </p:nvSpPr>
        <p:spPr>
          <a:xfrm>
            <a:off x="40" y="4"/>
            <a:ext cx="8725903" cy="3166040"/>
          </a:xfrm>
          <a:custGeom>
            <a:avLst/>
            <a:gdLst>
              <a:gd name="connsiteX0" fmla="*/ 0 w 8725903"/>
              <a:gd name="connsiteY0" fmla="*/ 0 h 4221387"/>
              <a:gd name="connsiteX1" fmla="*/ 8725903 w 8725903"/>
              <a:gd name="connsiteY1" fmla="*/ 0 h 4221387"/>
              <a:gd name="connsiteX2" fmla="*/ 8725903 w 8725903"/>
              <a:gd name="connsiteY2" fmla="*/ 3870013 h 4221387"/>
              <a:gd name="connsiteX3" fmla="*/ 8515156 w 8725903"/>
              <a:gd name="connsiteY3" fmla="*/ 3924194 h 4221387"/>
              <a:gd name="connsiteX4" fmla="*/ 6005000 w 8725903"/>
              <a:gd name="connsiteY4" fmla="*/ 4221387 h 4221387"/>
              <a:gd name="connsiteX5" fmla="*/ 169271 w 8725903"/>
              <a:gd name="connsiteY5" fmla="*/ 2540536 h 4221387"/>
              <a:gd name="connsiteX6" fmla="*/ 0 w 8725903"/>
              <a:gd name="connsiteY6" fmla="*/ 2434485 h 42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5903" h="4221387">
                <a:moveTo>
                  <a:pt x="0" y="0"/>
                </a:moveTo>
                <a:lnTo>
                  <a:pt x="8725903" y="0"/>
                </a:lnTo>
                <a:lnTo>
                  <a:pt x="8725903" y="3870013"/>
                </a:lnTo>
                <a:lnTo>
                  <a:pt x="8515156" y="3924194"/>
                </a:lnTo>
                <a:cubicBezTo>
                  <a:pt x="7700420" y="4119476"/>
                  <a:pt x="6861580" y="4221387"/>
                  <a:pt x="6005000" y="4221387"/>
                </a:cubicBezTo>
                <a:cubicBezTo>
                  <a:pt x="3924735" y="4221387"/>
                  <a:pt x="1949094" y="3620314"/>
                  <a:pt x="169271" y="2540536"/>
                </a:cubicBezTo>
                <a:lnTo>
                  <a:pt x="0" y="2434485"/>
                </a:lnTo>
                <a:close/>
              </a:path>
            </a:pathLst>
          </a:custGeom>
        </p:spPr>
        <p:txBody>
          <a:bodyPr wrap="square">
            <a:noAutofit/>
          </a:bodyPr>
          <a:lstStyle>
            <a:lvl1pPr>
              <a:defRPr>
                <a:solidFill>
                  <a:schemeClr val="bg1"/>
                </a:solidFill>
              </a:defRPr>
            </a:lvl1pPr>
          </a:lstStyle>
          <a:p>
            <a:endParaRPr lang="en-GB" dirty="0"/>
          </a:p>
        </p:txBody>
      </p:sp>
      <p:sp>
        <p:nvSpPr>
          <p:cNvPr id="10" name="Freeform 9"/>
          <p:cNvSpPr/>
          <p:nvPr userDrawn="1"/>
        </p:nvSpPr>
        <p:spPr>
          <a:xfrm>
            <a:off x="0" y="0"/>
            <a:ext cx="9144000" cy="5143500"/>
          </a:xfrm>
          <a:custGeom>
            <a:avLst/>
            <a:gdLst>
              <a:gd name="connsiteX0" fmla="*/ 9143999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2434485 h 6858000"/>
              <a:gd name="connsiteX5" fmla="*/ 169271 w 9144000"/>
              <a:gd name="connsiteY5" fmla="*/ 2540536 h 6858000"/>
              <a:gd name="connsiteX6" fmla="*/ 6005000 w 9144000"/>
              <a:gd name="connsiteY6" fmla="*/ 4221387 h 6858000"/>
              <a:gd name="connsiteX7" fmla="*/ 8862834 w 9144000"/>
              <a:gd name="connsiteY7" fmla="*/ 3834810 h 6858000"/>
              <a:gd name="connsiteX8" fmla="*/ 9143999 w 9144000"/>
              <a:gd name="connsiteY8" fmla="*/ 37477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6858000">
                <a:moveTo>
                  <a:pt x="9143999" y="0"/>
                </a:moveTo>
                <a:lnTo>
                  <a:pt x="9144000" y="0"/>
                </a:lnTo>
                <a:lnTo>
                  <a:pt x="9144000" y="6858000"/>
                </a:lnTo>
                <a:lnTo>
                  <a:pt x="0" y="6858000"/>
                </a:lnTo>
                <a:lnTo>
                  <a:pt x="0" y="2434485"/>
                </a:lnTo>
                <a:lnTo>
                  <a:pt x="169271" y="2540536"/>
                </a:lnTo>
                <a:cubicBezTo>
                  <a:pt x="1949094" y="3620314"/>
                  <a:pt x="3924735" y="4221387"/>
                  <a:pt x="6005000" y="4221387"/>
                </a:cubicBezTo>
                <a:cubicBezTo>
                  <a:pt x="6983949" y="4221387"/>
                  <a:pt x="7939726" y="4088278"/>
                  <a:pt x="8862834" y="3834810"/>
                </a:cubicBezTo>
                <a:lnTo>
                  <a:pt x="9143999" y="374773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284" tIns="45642" rIns="91284" bIns="45642" rtlCol="0" anchor="ctr">
            <a:noAutofit/>
          </a:bodyPr>
          <a:lstStyle/>
          <a:p>
            <a:pPr algn="ctr" defTabSz="912644" fontAlgn="auto">
              <a:spcBef>
                <a:spcPts val="0"/>
              </a:spcBef>
              <a:spcAft>
                <a:spcPts val="0"/>
              </a:spcAft>
            </a:pPr>
            <a:endParaRPr lang="en-GB" sz="1800">
              <a:solidFill>
                <a:prstClr val="white"/>
              </a:solidFill>
              <a:ea typeface="Tahoma" panose="020B0604030504040204" pitchFamily="34" charset="0"/>
              <a:cs typeface="Tahoma" panose="020B0604030504040204" pitchFamily="34" charset="0"/>
            </a:endParaRPr>
          </a:p>
        </p:txBody>
      </p:sp>
      <p:sp>
        <p:nvSpPr>
          <p:cNvPr id="13" name="Freeform 12"/>
          <p:cNvSpPr/>
          <p:nvPr userDrawn="1"/>
        </p:nvSpPr>
        <p:spPr>
          <a:xfrm>
            <a:off x="39" y="1825942"/>
            <a:ext cx="9143999" cy="1340177"/>
          </a:xfrm>
          <a:custGeom>
            <a:avLst/>
            <a:gdLst>
              <a:gd name="connsiteX0" fmla="*/ 310106 w 10170941"/>
              <a:gd name="connsiteY0" fmla="*/ 196948 h 7054948"/>
              <a:gd name="connsiteX1" fmla="*/ 310106 w 10170941"/>
              <a:gd name="connsiteY1" fmla="*/ 2631433 h 7054948"/>
              <a:gd name="connsiteX2" fmla="*/ 479377 w 10170941"/>
              <a:gd name="connsiteY2" fmla="*/ 2737484 h 7054948"/>
              <a:gd name="connsiteX3" fmla="*/ 6315106 w 10170941"/>
              <a:gd name="connsiteY3" fmla="*/ 4418335 h 7054948"/>
              <a:gd name="connsiteX4" fmla="*/ 9172939 w 10170941"/>
              <a:gd name="connsiteY4" fmla="*/ 4031758 h 7054948"/>
              <a:gd name="connsiteX5" fmla="*/ 9454105 w 10170941"/>
              <a:gd name="connsiteY5" fmla="*/ 3944681 h 7054948"/>
              <a:gd name="connsiteX6" fmla="*/ 9454105 w 10170941"/>
              <a:gd name="connsiteY6" fmla="*/ 196948 h 7054948"/>
              <a:gd name="connsiteX7" fmla="*/ 0 w 10170941"/>
              <a:gd name="connsiteY7" fmla="*/ 0 h 7054948"/>
              <a:gd name="connsiteX8" fmla="*/ 10170941 w 10170941"/>
              <a:gd name="connsiteY8" fmla="*/ 0 h 7054948"/>
              <a:gd name="connsiteX9" fmla="*/ 10170941 w 10170941"/>
              <a:gd name="connsiteY9" fmla="*/ 7054948 h 7054948"/>
              <a:gd name="connsiteX10" fmla="*/ 0 w 10170941"/>
              <a:gd name="connsiteY10" fmla="*/ 7054948 h 7054948"/>
              <a:gd name="connsiteX0" fmla="*/ 9454105 w 10170941"/>
              <a:gd name="connsiteY0" fmla="*/ 196948 h 7054948"/>
              <a:gd name="connsiteX1" fmla="*/ 310106 w 10170941"/>
              <a:gd name="connsiteY1" fmla="*/ 2631433 h 7054948"/>
              <a:gd name="connsiteX2" fmla="*/ 479377 w 10170941"/>
              <a:gd name="connsiteY2" fmla="*/ 2737484 h 7054948"/>
              <a:gd name="connsiteX3" fmla="*/ 6315106 w 10170941"/>
              <a:gd name="connsiteY3" fmla="*/ 4418335 h 7054948"/>
              <a:gd name="connsiteX4" fmla="*/ 9172939 w 10170941"/>
              <a:gd name="connsiteY4" fmla="*/ 4031758 h 7054948"/>
              <a:gd name="connsiteX5" fmla="*/ 9454105 w 10170941"/>
              <a:gd name="connsiteY5" fmla="*/ 3944681 h 7054948"/>
              <a:gd name="connsiteX6" fmla="*/ 9454105 w 10170941"/>
              <a:gd name="connsiteY6" fmla="*/ 196948 h 7054948"/>
              <a:gd name="connsiteX7" fmla="*/ 0 w 10170941"/>
              <a:gd name="connsiteY7" fmla="*/ 0 h 7054948"/>
              <a:gd name="connsiteX8" fmla="*/ 10170941 w 10170941"/>
              <a:gd name="connsiteY8" fmla="*/ 0 h 7054948"/>
              <a:gd name="connsiteX9" fmla="*/ 10170941 w 10170941"/>
              <a:gd name="connsiteY9" fmla="*/ 7054948 h 7054948"/>
              <a:gd name="connsiteX10" fmla="*/ 0 w 10170941"/>
              <a:gd name="connsiteY10" fmla="*/ 7054948 h 7054948"/>
              <a:gd name="connsiteX11" fmla="*/ 0 w 10170941"/>
              <a:gd name="connsiteY11" fmla="*/ 0 h 7054948"/>
              <a:gd name="connsiteX0" fmla="*/ 9454105 w 10170941"/>
              <a:gd name="connsiteY0" fmla="*/ 196948 h 7054948"/>
              <a:gd name="connsiteX1" fmla="*/ 310106 w 10170941"/>
              <a:gd name="connsiteY1" fmla="*/ 2631433 h 7054948"/>
              <a:gd name="connsiteX2" fmla="*/ 479377 w 10170941"/>
              <a:gd name="connsiteY2" fmla="*/ 2737484 h 7054948"/>
              <a:gd name="connsiteX3" fmla="*/ 6315106 w 10170941"/>
              <a:gd name="connsiteY3" fmla="*/ 4418335 h 7054948"/>
              <a:gd name="connsiteX4" fmla="*/ 9172939 w 10170941"/>
              <a:gd name="connsiteY4" fmla="*/ 4031758 h 7054948"/>
              <a:gd name="connsiteX5" fmla="*/ 9454105 w 10170941"/>
              <a:gd name="connsiteY5" fmla="*/ 3944681 h 7054948"/>
              <a:gd name="connsiteX6" fmla="*/ 9454105 w 10170941"/>
              <a:gd name="connsiteY6" fmla="*/ 196948 h 7054948"/>
              <a:gd name="connsiteX7" fmla="*/ 0 w 10170941"/>
              <a:gd name="connsiteY7" fmla="*/ 7054948 h 7054948"/>
              <a:gd name="connsiteX8" fmla="*/ 10170941 w 10170941"/>
              <a:gd name="connsiteY8" fmla="*/ 0 h 7054948"/>
              <a:gd name="connsiteX9" fmla="*/ 10170941 w 10170941"/>
              <a:gd name="connsiteY9" fmla="*/ 7054948 h 7054948"/>
              <a:gd name="connsiteX10" fmla="*/ 0 w 10170941"/>
              <a:gd name="connsiteY10" fmla="*/ 7054948 h 7054948"/>
              <a:gd name="connsiteX0" fmla="*/ 9143999 w 9860835"/>
              <a:gd name="connsiteY0" fmla="*/ 196948 h 7054948"/>
              <a:gd name="connsiteX1" fmla="*/ 0 w 9860835"/>
              <a:gd name="connsiteY1" fmla="*/ 2631433 h 7054948"/>
              <a:gd name="connsiteX2" fmla="*/ 169271 w 9860835"/>
              <a:gd name="connsiteY2" fmla="*/ 2737484 h 7054948"/>
              <a:gd name="connsiteX3" fmla="*/ 6005000 w 9860835"/>
              <a:gd name="connsiteY3" fmla="*/ 4418335 h 7054948"/>
              <a:gd name="connsiteX4" fmla="*/ 8862833 w 9860835"/>
              <a:gd name="connsiteY4" fmla="*/ 4031758 h 7054948"/>
              <a:gd name="connsiteX5" fmla="*/ 9143999 w 9860835"/>
              <a:gd name="connsiteY5" fmla="*/ 3944681 h 7054948"/>
              <a:gd name="connsiteX6" fmla="*/ 9143999 w 9860835"/>
              <a:gd name="connsiteY6" fmla="*/ 196948 h 7054948"/>
              <a:gd name="connsiteX7" fmla="*/ 9860835 w 9860835"/>
              <a:gd name="connsiteY7" fmla="*/ 7054948 h 7054948"/>
              <a:gd name="connsiteX8" fmla="*/ 9860835 w 9860835"/>
              <a:gd name="connsiteY8" fmla="*/ 0 h 7054948"/>
              <a:gd name="connsiteX9" fmla="*/ 9860835 w 9860835"/>
              <a:gd name="connsiteY9" fmla="*/ 7054948 h 7054948"/>
              <a:gd name="connsiteX0" fmla="*/ 9143999 w 9917106"/>
              <a:gd name="connsiteY0" fmla="*/ 196948 h 7054948"/>
              <a:gd name="connsiteX1" fmla="*/ 0 w 9917106"/>
              <a:gd name="connsiteY1" fmla="*/ 2631433 h 7054948"/>
              <a:gd name="connsiteX2" fmla="*/ 169271 w 9917106"/>
              <a:gd name="connsiteY2" fmla="*/ 2737484 h 7054948"/>
              <a:gd name="connsiteX3" fmla="*/ 6005000 w 9917106"/>
              <a:gd name="connsiteY3" fmla="*/ 4418335 h 7054948"/>
              <a:gd name="connsiteX4" fmla="*/ 8862833 w 9917106"/>
              <a:gd name="connsiteY4" fmla="*/ 4031758 h 7054948"/>
              <a:gd name="connsiteX5" fmla="*/ 9143999 w 9917106"/>
              <a:gd name="connsiteY5" fmla="*/ 3944681 h 7054948"/>
              <a:gd name="connsiteX6" fmla="*/ 9143999 w 9917106"/>
              <a:gd name="connsiteY6" fmla="*/ 196948 h 7054948"/>
              <a:gd name="connsiteX7" fmla="*/ 9917106 w 9917106"/>
              <a:gd name="connsiteY7" fmla="*/ 7054948 h 7054948"/>
              <a:gd name="connsiteX8" fmla="*/ 9860835 w 9917106"/>
              <a:gd name="connsiteY8" fmla="*/ 0 h 7054948"/>
              <a:gd name="connsiteX9" fmla="*/ 9917106 w 9917106"/>
              <a:gd name="connsiteY9" fmla="*/ 7054948 h 7054948"/>
              <a:gd name="connsiteX0" fmla="*/ 9143999 w 9143999"/>
              <a:gd name="connsiteY0" fmla="*/ 0 h 4221387"/>
              <a:gd name="connsiteX1" fmla="*/ 0 w 9143999"/>
              <a:gd name="connsiteY1" fmla="*/ 2434485 h 4221387"/>
              <a:gd name="connsiteX2" fmla="*/ 169271 w 9143999"/>
              <a:gd name="connsiteY2" fmla="*/ 2540536 h 4221387"/>
              <a:gd name="connsiteX3" fmla="*/ 6005000 w 9143999"/>
              <a:gd name="connsiteY3" fmla="*/ 4221387 h 4221387"/>
              <a:gd name="connsiteX4" fmla="*/ 8862833 w 9143999"/>
              <a:gd name="connsiteY4" fmla="*/ 3834810 h 4221387"/>
              <a:gd name="connsiteX5" fmla="*/ 9143999 w 9143999"/>
              <a:gd name="connsiteY5" fmla="*/ 3747733 h 4221387"/>
              <a:gd name="connsiteX6" fmla="*/ 9143999 w 9143999"/>
              <a:gd name="connsiteY6" fmla="*/ 0 h 4221387"/>
              <a:gd name="connsiteX0" fmla="*/ 9143999 w 9235439"/>
              <a:gd name="connsiteY0" fmla="*/ 0 h 4221387"/>
              <a:gd name="connsiteX1" fmla="*/ 0 w 9235439"/>
              <a:gd name="connsiteY1" fmla="*/ 2434485 h 4221387"/>
              <a:gd name="connsiteX2" fmla="*/ 169271 w 9235439"/>
              <a:gd name="connsiteY2" fmla="*/ 2540536 h 4221387"/>
              <a:gd name="connsiteX3" fmla="*/ 6005000 w 9235439"/>
              <a:gd name="connsiteY3" fmla="*/ 4221387 h 4221387"/>
              <a:gd name="connsiteX4" fmla="*/ 8862833 w 9235439"/>
              <a:gd name="connsiteY4" fmla="*/ 3834810 h 4221387"/>
              <a:gd name="connsiteX5" fmla="*/ 9143999 w 9235439"/>
              <a:gd name="connsiteY5" fmla="*/ 3747733 h 4221387"/>
              <a:gd name="connsiteX6" fmla="*/ 9235439 w 9235439"/>
              <a:gd name="connsiteY6" fmla="*/ 91440 h 4221387"/>
              <a:gd name="connsiteX0" fmla="*/ 9143999 w 9143999"/>
              <a:gd name="connsiteY0" fmla="*/ 0 h 4221387"/>
              <a:gd name="connsiteX1" fmla="*/ 0 w 9143999"/>
              <a:gd name="connsiteY1" fmla="*/ 2434485 h 4221387"/>
              <a:gd name="connsiteX2" fmla="*/ 169271 w 9143999"/>
              <a:gd name="connsiteY2" fmla="*/ 2540536 h 4221387"/>
              <a:gd name="connsiteX3" fmla="*/ 6005000 w 9143999"/>
              <a:gd name="connsiteY3" fmla="*/ 4221387 h 4221387"/>
              <a:gd name="connsiteX4" fmla="*/ 8862833 w 9143999"/>
              <a:gd name="connsiteY4" fmla="*/ 3834810 h 4221387"/>
              <a:gd name="connsiteX5" fmla="*/ 9143999 w 9143999"/>
              <a:gd name="connsiteY5" fmla="*/ 3747733 h 4221387"/>
              <a:gd name="connsiteX0" fmla="*/ 0 w 9143999"/>
              <a:gd name="connsiteY0" fmla="*/ 0 h 1786902"/>
              <a:gd name="connsiteX1" fmla="*/ 169271 w 9143999"/>
              <a:gd name="connsiteY1" fmla="*/ 106051 h 1786902"/>
              <a:gd name="connsiteX2" fmla="*/ 6005000 w 9143999"/>
              <a:gd name="connsiteY2" fmla="*/ 1786902 h 1786902"/>
              <a:gd name="connsiteX3" fmla="*/ 8862833 w 9143999"/>
              <a:gd name="connsiteY3" fmla="*/ 1400325 h 1786902"/>
              <a:gd name="connsiteX4" fmla="*/ 9143999 w 9143999"/>
              <a:gd name="connsiteY4" fmla="*/ 1313248 h 178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3999" h="1786902">
                <a:moveTo>
                  <a:pt x="0" y="0"/>
                </a:moveTo>
                <a:lnTo>
                  <a:pt x="169271" y="106051"/>
                </a:lnTo>
                <a:cubicBezTo>
                  <a:pt x="1949094" y="1185829"/>
                  <a:pt x="3924735" y="1786902"/>
                  <a:pt x="6005000" y="1786902"/>
                </a:cubicBezTo>
                <a:cubicBezTo>
                  <a:pt x="6983949" y="1786902"/>
                  <a:pt x="7939725" y="1653793"/>
                  <a:pt x="8862833" y="1400325"/>
                </a:cubicBezTo>
                <a:lnTo>
                  <a:pt x="9143999" y="1313248"/>
                </a:ln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en-GB" sz="1800">
              <a:solidFill>
                <a:prstClr val="white"/>
              </a:solidFill>
            </a:endParaRPr>
          </a:p>
        </p:txBody>
      </p:sp>
      <p:sp>
        <p:nvSpPr>
          <p:cNvPr id="3" name="Subtitle 2"/>
          <p:cNvSpPr>
            <a:spLocks noGrp="1"/>
          </p:cNvSpPr>
          <p:nvPr>
            <p:ph type="subTitle" idx="1"/>
          </p:nvPr>
        </p:nvSpPr>
        <p:spPr>
          <a:xfrm>
            <a:off x="323891" y="4005258"/>
            <a:ext cx="6643007" cy="629500"/>
          </a:xfrm>
        </p:spPr>
        <p:txBody>
          <a:bodyPr>
            <a:normAutofit/>
          </a:bodyPr>
          <a:lstStyle>
            <a:lvl1pPr marL="0" indent="0" algn="l">
              <a:spcBef>
                <a:spcPts val="0"/>
              </a:spcBef>
              <a:buNone/>
              <a:defRPr lang="en-US" sz="1600" kern="1200" dirty="0">
                <a:solidFill>
                  <a:schemeClr val="bg2"/>
                </a:solidFill>
                <a:latin typeface="Tahoma" panose="020B0604030504040204" pitchFamily="34" charset="0"/>
                <a:ea typeface="Tahoma" panose="020B0604030504040204" pitchFamily="34" charset="0"/>
                <a:cs typeface="Tahoma" panose="020B0604030504040204" pitchFamily="34" charset="0"/>
              </a:defRPr>
            </a:lvl1pPr>
            <a:lvl2pPr marL="456269" indent="0" algn="ctr">
              <a:buNone/>
              <a:defRPr sz="2000"/>
            </a:lvl2pPr>
            <a:lvl3pPr marL="912644" indent="0" algn="ctr">
              <a:buNone/>
              <a:defRPr sz="1800"/>
            </a:lvl3pPr>
            <a:lvl4pPr marL="1368948" indent="0" algn="ctr">
              <a:buNone/>
              <a:defRPr sz="1600"/>
            </a:lvl4pPr>
            <a:lvl5pPr marL="1825286" indent="0" algn="ctr">
              <a:buNone/>
              <a:defRPr sz="1600"/>
            </a:lvl5pPr>
            <a:lvl6pPr marL="2281554" indent="0" algn="ctr">
              <a:buNone/>
              <a:defRPr sz="1600"/>
            </a:lvl6pPr>
            <a:lvl7pPr marL="2737820" indent="0" algn="ctr">
              <a:buNone/>
              <a:defRPr sz="1600"/>
            </a:lvl7pPr>
            <a:lvl8pPr marL="3194165" indent="0" algn="ctr">
              <a:buNone/>
              <a:defRPr sz="1600"/>
            </a:lvl8pPr>
            <a:lvl9pPr marL="3650488" indent="0" algn="ctr">
              <a:buNone/>
              <a:defRPr sz="1600"/>
            </a:lvl9pPr>
          </a:lstStyle>
          <a:p>
            <a:r>
              <a:rPr lang="en-US" dirty="0"/>
              <a:t>Click to edit Master subtitle style</a:t>
            </a:r>
          </a:p>
        </p:txBody>
      </p:sp>
      <p:sp>
        <p:nvSpPr>
          <p:cNvPr id="7" name="Title 6"/>
          <p:cNvSpPr>
            <a:spLocks noGrp="1"/>
          </p:cNvSpPr>
          <p:nvPr>
            <p:ph type="title"/>
          </p:nvPr>
        </p:nvSpPr>
        <p:spPr>
          <a:xfrm>
            <a:off x="323891" y="3293161"/>
            <a:ext cx="6643007" cy="673213"/>
          </a:xfrm>
        </p:spPr>
        <p:txBody>
          <a:bodyPr/>
          <a:lstStyle>
            <a:lvl1pPr>
              <a:defRPr>
                <a:solidFill>
                  <a:schemeClr val="bg1"/>
                </a:solidFill>
              </a:defRPr>
            </a:lvl1pPr>
          </a:lstStyle>
          <a:p>
            <a:r>
              <a:rPr lang="en-US" dirty="0"/>
              <a:t>Click to edit Master title style</a:t>
            </a:r>
            <a:endParaRPr lang="en-GB" dirty="0"/>
          </a:p>
        </p:txBody>
      </p:sp>
      <p:sp>
        <p:nvSpPr>
          <p:cNvPr id="12" name="Freeform 11"/>
          <p:cNvSpPr/>
          <p:nvPr userDrawn="1"/>
        </p:nvSpPr>
        <p:spPr>
          <a:xfrm>
            <a:off x="8725907" y="-3742"/>
            <a:ext cx="418095" cy="2905627"/>
          </a:xfrm>
          <a:custGeom>
            <a:avLst/>
            <a:gdLst>
              <a:gd name="connsiteX0" fmla="*/ 0 w 557460"/>
              <a:gd name="connsiteY0" fmla="*/ 0 h 3870013"/>
              <a:gd name="connsiteX1" fmla="*/ 557460 w 557460"/>
              <a:gd name="connsiteY1" fmla="*/ 0 h 3870013"/>
              <a:gd name="connsiteX2" fmla="*/ 557460 w 557460"/>
              <a:gd name="connsiteY2" fmla="*/ 3747733 h 3870013"/>
              <a:gd name="connsiteX3" fmla="*/ 182573 w 557460"/>
              <a:gd name="connsiteY3" fmla="*/ 3834810 h 3870013"/>
              <a:gd name="connsiteX4" fmla="*/ 0 w 557460"/>
              <a:gd name="connsiteY4" fmla="*/ 3870013 h 3870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460" h="3870013">
                <a:moveTo>
                  <a:pt x="0" y="0"/>
                </a:moveTo>
                <a:lnTo>
                  <a:pt x="557460" y="0"/>
                </a:lnTo>
                <a:lnTo>
                  <a:pt x="557460" y="3747733"/>
                </a:lnTo>
                <a:lnTo>
                  <a:pt x="182573" y="3834810"/>
                </a:lnTo>
                <a:lnTo>
                  <a:pt x="0" y="38700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68462" tIns="134766" rIns="68462" bIns="34286" numCol="1" spcCol="0" rtlCol="0" fromWordArt="0" anchor="ctr" anchorCtr="0" forceAA="0" compatLnSpc="1">
            <a:prstTxWarp prst="textNoShape">
              <a:avLst/>
            </a:prstTxWarp>
            <a:noAutofit/>
          </a:bodyPr>
          <a:lstStyle/>
          <a:p>
            <a:pPr defTabSz="912644" fontAlgn="auto">
              <a:spcBef>
                <a:spcPts val="0"/>
              </a:spcBef>
              <a:spcAft>
                <a:spcPts val="0"/>
              </a:spcAft>
            </a:pPr>
            <a:endParaRPr lang="en-GB" sz="11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Footer Placeholder 14"/>
          <p:cNvSpPr>
            <a:spLocks noGrp="1"/>
          </p:cNvSpPr>
          <p:nvPr>
            <p:ph type="ftr" sz="quarter" idx="14"/>
          </p:nvPr>
        </p:nvSpPr>
        <p:spPr/>
        <p:txBody>
          <a:bodyPr/>
          <a:lstStyle>
            <a:lvl1pPr>
              <a:defRPr>
                <a:solidFill>
                  <a:schemeClr val="bg1"/>
                </a:solidFill>
              </a:defRPr>
            </a:lvl1pPr>
          </a:lstStyle>
          <a:p>
            <a:r>
              <a:rPr>
                <a:solidFill>
                  <a:prstClr val="white"/>
                </a:solidFill>
              </a:rPr>
              <a:t>© Copyright Inmarsat Global Limited 2014</a:t>
            </a:r>
            <a:endParaRPr dirty="0">
              <a:solidFill>
                <a:prstClr val="white"/>
              </a:solidFill>
            </a:endParaRPr>
          </a:p>
        </p:txBody>
      </p:sp>
      <p:sp>
        <p:nvSpPr>
          <p:cNvPr id="19" name="Text Placeholder 8"/>
          <p:cNvSpPr>
            <a:spLocks noGrp="1"/>
          </p:cNvSpPr>
          <p:nvPr>
            <p:ph type="body" sz="quarter" idx="15"/>
          </p:nvPr>
        </p:nvSpPr>
        <p:spPr>
          <a:xfrm rot="5400000">
            <a:off x="7471417" y="1299507"/>
            <a:ext cx="2826080" cy="317104"/>
          </a:xfrm>
        </p:spPr>
        <p:txBody>
          <a:bodyPr>
            <a:normAutofit/>
          </a:bodyPr>
          <a:lstStyle>
            <a:lvl1pPr marL="0" indent="0">
              <a:spcBef>
                <a:spcPts val="0"/>
              </a:spcBef>
              <a:buNone/>
              <a:defRPr sz="1100">
                <a:solidFill>
                  <a:schemeClr val="bg1"/>
                </a:solidFill>
              </a:defRPr>
            </a:lvl1pPr>
          </a:lstStyle>
          <a:p>
            <a:pPr lvl="0"/>
            <a:r>
              <a:rPr lang="en-US" dirty="0"/>
              <a:t>Click to edit Master text styles</a:t>
            </a:r>
          </a:p>
        </p:txBody>
      </p:sp>
      <p:pic>
        <p:nvPicPr>
          <p:cNvPr id="14" name="Picture 13"/>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289565" y="4090395"/>
            <a:ext cx="1752424" cy="992752"/>
          </a:xfrm>
          <a:prstGeom prst="rect">
            <a:avLst/>
          </a:prstGeom>
        </p:spPr>
      </p:pic>
      <p:sp>
        <p:nvSpPr>
          <p:cNvPr id="20" name="Text Placeholder 8"/>
          <p:cNvSpPr>
            <a:spLocks noGrp="1"/>
          </p:cNvSpPr>
          <p:nvPr>
            <p:ph type="body" sz="quarter" idx="19" hasCustomPrompt="1"/>
          </p:nvPr>
        </p:nvSpPr>
        <p:spPr>
          <a:xfrm>
            <a:off x="297723" y="2351305"/>
            <a:ext cx="1649580" cy="811792"/>
          </a:xfrm>
        </p:spPr>
        <p:txBody>
          <a:bodyPr>
            <a:noAutofit/>
          </a:bodyPr>
          <a:lstStyle>
            <a:lvl1pPr marL="0" indent="0">
              <a:spcBef>
                <a:spcPts val="0"/>
              </a:spcBef>
              <a:buNone/>
              <a:defRPr sz="6000" b="1">
                <a:solidFill>
                  <a:schemeClr val="bg2"/>
                </a:solidFill>
              </a:defRPr>
            </a:lvl1pPr>
          </a:lstStyle>
          <a:p>
            <a:pPr lvl="0"/>
            <a:r>
              <a:rPr lang="en-US" dirty="0"/>
              <a:t>XX</a:t>
            </a:r>
          </a:p>
        </p:txBody>
      </p:sp>
    </p:spTree>
    <p:extLst>
      <p:ext uri="{BB962C8B-B14F-4D97-AF65-F5344CB8AC3E}">
        <p14:creationId xmlns:p14="http://schemas.microsoft.com/office/powerpoint/2010/main" val="1204692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dark blue">
    <p:spTree>
      <p:nvGrpSpPr>
        <p:cNvPr id="1" name=""/>
        <p:cNvGrpSpPr/>
        <p:nvPr/>
      </p:nvGrpSpPr>
      <p:grpSpPr>
        <a:xfrm>
          <a:off x="0" y="0"/>
          <a:ext cx="0" cy="0"/>
          <a:chOff x="0" y="0"/>
          <a:chExt cx="0" cy="0"/>
        </a:xfrm>
      </p:grpSpPr>
      <p:sp>
        <p:nvSpPr>
          <p:cNvPr id="10" name="Rechteck 10"/>
          <p:cNvSpPr/>
          <p:nvPr userDrawn="1">
            <p:custDataLst>
              <p:tags r:id="rId1"/>
            </p:custDataLst>
          </p:nvPr>
        </p:nvSpPr>
        <p:spPr bwMode="auto">
          <a:xfrm>
            <a:off x="229617" y="176108"/>
            <a:ext cx="8684843" cy="4130999"/>
          </a:xfrm>
          <a:custGeom>
            <a:avLst/>
            <a:gdLst>
              <a:gd name="connsiteX0" fmla="*/ 0 w 8684821"/>
              <a:gd name="connsiteY0" fmla="*/ 0 h 5636316"/>
              <a:gd name="connsiteX1" fmla="*/ 8684821 w 8684821"/>
              <a:gd name="connsiteY1" fmla="*/ 0 h 5636316"/>
              <a:gd name="connsiteX2" fmla="*/ 8684821 w 8684821"/>
              <a:gd name="connsiteY2" fmla="*/ 5636316 h 5636316"/>
              <a:gd name="connsiteX3" fmla="*/ 0 w 8684821"/>
              <a:gd name="connsiteY3" fmla="*/ 5636316 h 5636316"/>
              <a:gd name="connsiteX4" fmla="*/ 0 w 8684821"/>
              <a:gd name="connsiteY4" fmla="*/ 0 h 5636316"/>
              <a:gd name="connsiteX0" fmla="*/ 8684821 w 8684821"/>
              <a:gd name="connsiteY0" fmla="*/ 0 h 5636316"/>
              <a:gd name="connsiteX1" fmla="*/ 8684821 w 8684821"/>
              <a:gd name="connsiteY1" fmla="*/ 5636316 h 5636316"/>
              <a:gd name="connsiteX2" fmla="*/ 0 w 8684821"/>
              <a:gd name="connsiteY2" fmla="*/ 5636316 h 5636316"/>
              <a:gd name="connsiteX3" fmla="*/ 0 w 8684821"/>
              <a:gd name="connsiteY3" fmla="*/ 0 h 5636316"/>
              <a:gd name="connsiteX0" fmla="*/ 8684821 w 8684821"/>
              <a:gd name="connsiteY0" fmla="*/ 5636316 h 5636316"/>
              <a:gd name="connsiteX1" fmla="*/ 0 w 8684821"/>
              <a:gd name="connsiteY1" fmla="*/ 5636316 h 5636316"/>
              <a:gd name="connsiteX2" fmla="*/ 0 w 8684821"/>
              <a:gd name="connsiteY2" fmla="*/ 0 h 5636316"/>
              <a:gd name="connsiteX0" fmla="*/ 0 w 0"/>
              <a:gd name="connsiteY0" fmla="*/ 5636316 h 5636316"/>
              <a:gd name="connsiteX1" fmla="*/ 0 w 0"/>
              <a:gd name="connsiteY1" fmla="*/ 0 h 5636316"/>
              <a:gd name="connsiteX0" fmla="*/ 0 w 8684821"/>
              <a:gd name="connsiteY0" fmla="*/ 5636316 h 5636316"/>
              <a:gd name="connsiteX1" fmla="*/ 0 w 8684821"/>
              <a:gd name="connsiteY1" fmla="*/ 0 h 5636316"/>
              <a:gd name="connsiteX2" fmla="*/ 8684821 w 8684821"/>
              <a:gd name="connsiteY2" fmla="*/ 0 h 5636316"/>
              <a:gd name="connsiteX0" fmla="*/ 0 w 8684821"/>
              <a:gd name="connsiteY0" fmla="*/ 5636316 h 5636316"/>
              <a:gd name="connsiteX1" fmla="*/ 0 w 8684821"/>
              <a:gd name="connsiteY1" fmla="*/ 0 h 5636316"/>
              <a:gd name="connsiteX2" fmla="*/ 8684821 w 8684821"/>
              <a:gd name="connsiteY2" fmla="*/ 0 h 5636316"/>
              <a:gd name="connsiteX3" fmla="*/ 8684821 w 8684821"/>
              <a:gd name="connsiteY3" fmla="*/ 4412595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6" fmla="*/ 0 w 8684843"/>
              <a:gd name="connsiteY6" fmla="*/ 0 h 563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4843" h="5636316">
                <a:moveTo>
                  <a:pt x="0" y="5636316"/>
                </a:moveTo>
                <a:lnTo>
                  <a:pt x="0" y="0"/>
                </a:lnTo>
                <a:lnTo>
                  <a:pt x="8684821" y="0"/>
                </a:lnTo>
                <a:lnTo>
                  <a:pt x="8684821" y="4412595"/>
                </a:lnTo>
                <a:cubicBezTo>
                  <a:pt x="8684821" y="4412595"/>
                  <a:pt x="8710016" y="5571530"/>
                  <a:pt x="7086785" y="5636316"/>
                </a:cubicBezTo>
                <a:lnTo>
                  <a:pt x="0" y="5636316"/>
                </a:lnTo>
                <a:lnTo>
                  <a:pt x="0" y="0"/>
                </a:lnTo>
                <a:close/>
              </a:path>
            </a:pathLst>
          </a:custGeom>
          <a:gradFill flip="none" rotWithShape="1">
            <a:gsLst>
              <a:gs pos="0">
                <a:srgbClr val="0039A6"/>
              </a:gs>
              <a:gs pos="100000">
                <a:srgbClr val="0089C4"/>
              </a:gs>
            </a:gsLst>
            <a:lin ang="2100000" scaled="1"/>
            <a:tileRect/>
          </a:gradFill>
          <a:ln w="9525" cap="flat" cmpd="sng" algn="ctr">
            <a:noFill/>
            <a:prstDash val="solid"/>
            <a:round/>
            <a:headEnd type="none" w="med" len="med"/>
            <a:tailEnd type="none" w="med" len="med"/>
          </a:ln>
          <a:effectLst/>
          <a:extLst/>
        </p:spPr>
        <p:txBody>
          <a:bodyPr vert="horz" wrap="square" lIns="91284" tIns="45642" rIns="91284" bIns="45642" numCol="1" rtlCol="0" anchor="t" anchorCtr="0" compatLnSpc="1">
            <a:prstTxWarp prst="textNoShape">
              <a:avLst/>
            </a:prstTxWarp>
          </a:bodyPr>
          <a:lstStyle/>
          <a:p>
            <a:pPr defTabSz="912644"/>
            <a:endParaRPr lang="en-US" sz="2000">
              <a:solidFill>
                <a:srgbClr val="000000"/>
              </a:solidFill>
              <a:cs typeface="+mn-cs"/>
            </a:endParaRPr>
          </a:p>
        </p:txBody>
      </p:sp>
      <p:sp>
        <p:nvSpPr>
          <p:cNvPr id="2" name="Rectangle 1"/>
          <p:cNvSpPr/>
          <p:nvPr userDrawn="1"/>
        </p:nvSpPr>
        <p:spPr>
          <a:xfrm>
            <a:off x="107504" y="4672013"/>
            <a:ext cx="2127696" cy="361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de-DE" sz="1800">
              <a:solidFill>
                <a:srgbClr val="FFFFFF"/>
              </a:solidFill>
            </a:endParaRPr>
          </a:p>
        </p:txBody>
      </p:sp>
      <p:sp>
        <p:nvSpPr>
          <p:cNvPr id="9" name="Text Placeholder 3"/>
          <p:cNvSpPr>
            <a:spLocks noGrp="1"/>
          </p:cNvSpPr>
          <p:nvPr>
            <p:ph type="body" sz="quarter" idx="10" hasCustomPrompt="1"/>
          </p:nvPr>
        </p:nvSpPr>
        <p:spPr>
          <a:xfrm>
            <a:off x="828712" y="1962228"/>
            <a:ext cx="6980239" cy="476413"/>
          </a:xfrm>
          <a:prstGeom prst="rect">
            <a:avLst/>
          </a:prstGeom>
        </p:spPr>
        <p:txBody>
          <a:bodyPr wrap="square" lIns="0" tIns="0" rIns="0" bIns="0" anchor="b" anchorCtr="0">
            <a:noAutofit/>
          </a:bodyPr>
          <a:lstStyle>
            <a:lvl1pPr marL="0" indent="0" algn="l">
              <a:lnSpc>
                <a:spcPts val="4600"/>
              </a:lnSpc>
              <a:spcBef>
                <a:spcPts val="0"/>
              </a:spcBef>
              <a:buFontTx/>
              <a:buNone/>
              <a:defRPr sz="5600" b="1">
                <a:solidFill>
                  <a:schemeClr val="bg1"/>
                </a:solidFill>
              </a:defRPr>
            </a:lvl1pPr>
            <a:lvl2pPr>
              <a:defRPr sz="4800"/>
            </a:lvl2pPr>
            <a:lvl3pPr>
              <a:defRPr sz="4800"/>
            </a:lvl3pPr>
            <a:lvl4pPr>
              <a:defRPr sz="4800"/>
            </a:lvl4pPr>
            <a:lvl5pPr>
              <a:defRPr sz="4800"/>
            </a:lvl5pPr>
          </a:lstStyle>
          <a:p>
            <a:pPr lvl="0"/>
            <a:r>
              <a:rPr lang="de-DE" dirty="0"/>
              <a:t>Click to </a:t>
            </a:r>
            <a:r>
              <a:rPr lang="de-DE" dirty="0" err="1"/>
              <a:t>add</a:t>
            </a:r>
            <a:r>
              <a:rPr lang="de-DE" dirty="0"/>
              <a:t> title</a:t>
            </a:r>
          </a:p>
        </p:txBody>
      </p:sp>
      <p:sp>
        <p:nvSpPr>
          <p:cNvPr id="11" name="Content Placeholder 5"/>
          <p:cNvSpPr>
            <a:spLocks noGrp="1"/>
          </p:cNvSpPr>
          <p:nvPr>
            <p:ph sz="quarter" idx="14" hasCustomPrompt="1"/>
          </p:nvPr>
        </p:nvSpPr>
        <p:spPr>
          <a:xfrm>
            <a:off x="828712" y="2482491"/>
            <a:ext cx="6980239" cy="298992"/>
          </a:xfrm>
          <a:prstGeom prst="rect">
            <a:avLst/>
          </a:prstGeom>
        </p:spPr>
        <p:txBody>
          <a:bodyPr vert="horz" wrap="square" lIns="0" tIns="0" rIns="0" bIns="0">
            <a:noAutofit/>
          </a:bodyPr>
          <a:lstStyle>
            <a:lvl1pPr marL="0" indent="0">
              <a:lnSpc>
                <a:spcPts val="2900"/>
              </a:lnSpc>
              <a:buNone/>
              <a:defRPr sz="3500" baseline="0">
                <a:solidFill>
                  <a:schemeClr val="bg1"/>
                </a:solidFill>
              </a:defRPr>
            </a:lvl1pPr>
          </a:lstStyle>
          <a:p>
            <a:pPr lvl="0"/>
            <a:r>
              <a:rPr lang="en-GB" dirty="0"/>
              <a:t>Click here to add subtitle</a:t>
            </a:r>
            <a:endParaRPr lang="en-US" dirty="0"/>
          </a:p>
        </p:txBody>
      </p:sp>
      <p:sp>
        <p:nvSpPr>
          <p:cNvPr id="14" name="Text Placeholder 3"/>
          <p:cNvSpPr>
            <a:spLocks noGrp="1"/>
          </p:cNvSpPr>
          <p:nvPr>
            <p:ph type="body" sz="quarter" idx="11" hasCustomPrompt="1"/>
          </p:nvPr>
        </p:nvSpPr>
        <p:spPr>
          <a:xfrm>
            <a:off x="828061" y="3335063"/>
            <a:ext cx="4821913" cy="189000"/>
          </a:xfrm>
          <a:prstGeom prst="rect">
            <a:avLst/>
          </a:prstGeom>
        </p:spPr>
        <p:txBody>
          <a:bodyPr lIns="0" tIns="0" rIns="0" bIns="0"/>
          <a:lstStyle>
            <a:lvl1pPr marL="0" indent="0">
              <a:spcBef>
                <a:spcPts val="0"/>
              </a:spcBef>
              <a:buFontTx/>
              <a:buNone/>
              <a:defRPr sz="1800" b="1">
                <a:solidFill>
                  <a:schemeClr val="bg1"/>
                </a:solidFill>
              </a:defRPr>
            </a:lvl1pPr>
          </a:lstStyle>
          <a:p>
            <a:pPr lvl="0"/>
            <a:r>
              <a:rPr lang="de-DE" dirty="0"/>
              <a:t>_</a:t>
            </a:r>
            <a:r>
              <a:rPr lang="de-DE" dirty="0" err="1"/>
              <a:t>Author</a:t>
            </a:r>
            <a:endParaRPr lang="de-DE" dirty="0"/>
          </a:p>
        </p:txBody>
      </p:sp>
      <p:sp>
        <p:nvSpPr>
          <p:cNvPr id="15" name="Text Placeholder 3"/>
          <p:cNvSpPr>
            <a:spLocks noGrp="1"/>
          </p:cNvSpPr>
          <p:nvPr>
            <p:ph type="body" sz="quarter" idx="12" hasCustomPrompt="1"/>
          </p:nvPr>
        </p:nvSpPr>
        <p:spPr>
          <a:xfrm>
            <a:off x="828061" y="3537563"/>
            <a:ext cx="4821913" cy="189000"/>
          </a:xfrm>
          <a:prstGeom prst="rect">
            <a:avLst/>
          </a:prstGeom>
        </p:spPr>
        <p:txBody>
          <a:bodyPr lIns="0" tIns="0" rIns="0" bIns="0"/>
          <a:lstStyle>
            <a:lvl1pPr marL="0" indent="0">
              <a:spcBef>
                <a:spcPts val="0"/>
              </a:spcBef>
              <a:buFontTx/>
              <a:buNone/>
              <a:defRPr sz="1600" b="0">
                <a:solidFill>
                  <a:schemeClr val="bg1"/>
                </a:solidFill>
              </a:defRPr>
            </a:lvl1pPr>
          </a:lstStyle>
          <a:p>
            <a:pPr lvl="0"/>
            <a:r>
              <a:rPr lang="de-DE" dirty="0"/>
              <a:t>_Sector</a:t>
            </a:r>
          </a:p>
        </p:txBody>
      </p:sp>
      <p:sp>
        <p:nvSpPr>
          <p:cNvPr id="17" name="Text Placeholder 3"/>
          <p:cNvSpPr>
            <a:spLocks noGrp="1"/>
          </p:cNvSpPr>
          <p:nvPr>
            <p:ph type="body" sz="quarter" idx="13" hasCustomPrompt="1"/>
          </p:nvPr>
        </p:nvSpPr>
        <p:spPr>
          <a:xfrm>
            <a:off x="828061" y="3740063"/>
            <a:ext cx="4821913" cy="189000"/>
          </a:xfrm>
          <a:prstGeom prst="rect">
            <a:avLst/>
          </a:prstGeom>
        </p:spPr>
        <p:txBody>
          <a:bodyPr lIns="0" tIns="0" rIns="0" bIns="0"/>
          <a:lstStyle>
            <a:lvl1pPr marL="0" marR="0" indent="0" algn="l" defTabSz="912644" rtl="0" eaLnBrk="1" fontAlgn="auto" latinLnBrk="0" hangingPunct="1">
              <a:lnSpc>
                <a:spcPct val="100000"/>
              </a:lnSpc>
              <a:spcBef>
                <a:spcPts val="0"/>
              </a:spcBef>
              <a:spcAft>
                <a:spcPts val="0"/>
              </a:spcAft>
              <a:buClrTx/>
              <a:buSzTx/>
              <a:buFontTx/>
              <a:buNone/>
              <a:tabLst/>
              <a:defRPr sz="1600" b="0">
                <a:solidFill>
                  <a:schemeClr val="bg1"/>
                </a:solidFill>
              </a:defRPr>
            </a:lvl1pPr>
          </a:lstStyle>
          <a:p>
            <a:pPr marL="0" marR="0" lvl="0" indent="0" algn="l" defTabSz="912644" rtl="0" eaLnBrk="1" fontAlgn="auto" latinLnBrk="0" hangingPunct="1">
              <a:lnSpc>
                <a:spcPct val="100000"/>
              </a:lnSpc>
              <a:spcBef>
                <a:spcPct val="20000"/>
              </a:spcBef>
              <a:spcAft>
                <a:spcPts val="0"/>
              </a:spcAft>
              <a:buClrTx/>
              <a:buSzTx/>
              <a:buFontTx/>
              <a:buNone/>
              <a:tabLst/>
              <a:defRPr/>
            </a:pPr>
            <a:r>
              <a:rPr lang="de-DE" dirty="0"/>
              <a:t>_</a:t>
            </a:r>
            <a:r>
              <a:rPr lang="en-US" sz="1600" dirty="0">
                <a:solidFill>
                  <a:srgbClr val="FFFFFF"/>
                </a:solidFill>
                <a:latin typeface="+mn-lt"/>
              </a:rPr>
              <a:t>November 01, 2013</a:t>
            </a:r>
          </a:p>
          <a:p>
            <a:pPr lvl="0"/>
            <a:endParaRPr lang="de-DE" dirty="0"/>
          </a:p>
        </p:txBody>
      </p:sp>
      <p:pic>
        <p:nvPicPr>
          <p:cNvPr id="24" name="Picture 23" descr="ONEVOICE_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6461" y="4623809"/>
            <a:ext cx="973981" cy="170537"/>
          </a:xfrm>
          <a:prstGeom prst="rect">
            <a:avLst/>
          </a:prstGeom>
        </p:spPr>
      </p:pic>
      <p:pic>
        <p:nvPicPr>
          <p:cNvPr id="25" name="Picture 24"/>
          <p:cNvPicPr>
            <a:picLocks/>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a:xfrm>
            <a:off x="7405353" y="4618966"/>
            <a:ext cx="1306799" cy="180254"/>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245067861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10" name="Rechteck 10"/>
          <p:cNvSpPr/>
          <p:nvPr userDrawn="1">
            <p:custDataLst>
              <p:tags r:id="rId1"/>
            </p:custDataLst>
          </p:nvPr>
        </p:nvSpPr>
        <p:spPr bwMode="auto">
          <a:xfrm>
            <a:off x="233697" y="175260"/>
            <a:ext cx="8684843" cy="4131000"/>
          </a:xfrm>
          <a:custGeom>
            <a:avLst/>
            <a:gdLst>
              <a:gd name="connsiteX0" fmla="*/ 0 w 8684821"/>
              <a:gd name="connsiteY0" fmla="*/ 0 h 5636316"/>
              <a:gd name="connsiteX1" fmla="*/ 8684821 w 8684821"/>
              <a:gd name="connsiteY1" fmla="*/ 0 h 5636316"/>
              <a:gd name="connsiteX2" fmla="*/ 8684821 w 8684821"/>
              <a:gd name="connsiteY2" fmla="*/ 5636316 h 5636316"/>
              <a:gd name="connsiteX3" fmla="*/ 0 w 8684821"/>
              <a:gd name="connsiteY3" fmla="*/ 5636316 h 5636316"/>
              <a:gd name="connsiteX4" fmla="*/ 0 w 8684821"/>
              <a:gd name="connsiteY4" fmla="*/ 0 h 5636316"/>
              <a:gd name="connsiteX0" fmla="*/ 8684821 w 8684821"/>
              <a:gd name="connsiteY0" fmla="*/ 0 h 5636316"/>
              <a:gd name="connsiteX1" fmla="*/ 8684821 w 8684821"/>
              <a:gd name="connsiteY1" fmla="*/ 5636316 h 5636316"/>
              <a:gd name="connsiteX2" fmla="*/ 0 w 8684821"/>
              <a:gd name="connsiteY2" fmla="*/ 5636316 h 5636316"/>
              <a:gd name="connsiteX3" fmla="*/ 0 w 8684821"/>
              <a:gd name="connsiteY3" fmla="*/ 0 h 5636316"/>
              <a:gd name="connsiteX0" fmla="*/ 8684821 w 8684821"/>
              <a:gd name="connsiteY0" fmla="*/ 5636316 h 5636316"/>
              <a:gd name="connsiteX1" fmla="*/ 0 w 8684821"/>
              <a:gd name="connsiteY1" fmla="*/ 5636316 h 5636316"/>
              <a:gd name="connsiteX2" fmla="*/ 0 w 8684821"/>
              <a:gd name="connsiteY2" fmla="*/ 0 h 5636316"/>
              <a:gd name="connsiteX0" fmla="*/ 0 w 0"/>
              <a:gd name="connsiteY0" fmla="*/ 5636316 h 5636316"/>
              <a:gd name="connsiteX1" fmla="*/ 0 w 0"/>
              <a:gd name="connsiteY1" fmla="*/ 0 h 5636316"/>
              <a:gd name="connsiteX0" fmla="*/ 0 w 8684821"/>
              <a:gd name="connsiteY0" fmla="*/ 5636316 h 5636316"/>
              <a:gd name="connsiteX1" fmla="*/ 0 w 8684821"/>
              <a:gd name="connsiteY1" fmla="*/ 0 h 5636316"/>
              <a:gd name="connsiteX2" fmla="*/ 8684821 w 8684821"/>
              <a:gd name="connsiteY2" fmla="*/ 0 h 5636316"/>
              <a:gd name="connsiteX0" fmla="*/ 0 w 8684821"/>
              <a:gd name="connsiteY0" fmla="*/ 5636316 h 5636316"/>
              <a:gd name="connsiteX1" fmla="*/ 0 w 8684821"/>
              <a:gd name="connsiteY1" fmla="*/ 0 h 5636316"/>
              <a:gd name="connsiteX2" fmla="*/ 8684821 w 8684821"/>
              <a:gd name="connsiteY2" fmla="*/ 0 h 5636316"/>
              <a:gd name="connsiteX3" fmla="*/ 8684821 w 8684821"/>
              <a:gd name="connsiteY3" fmla="*/ 4412595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6" fmla="*/ 0 w 8684843"/>
              <a:gd name="connsiteY6" fmla="*/ 0 h 563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4843" h="5636316">
                <a:moveTo>
                  <a:pt x="0" y="5636316"/>
                </a:moveTo>
                <a:lnTo>
                  <a:pt x="0" y="0"/>
                </a:lnTo>
                <a:lnTo>
                  <a:pt x="8684821" y="0"/>
                </a:lnTo>
                <a:lnTo>
                  <a:pt x="8684821" y="4412595"/>
                </a:lnTo>
                <a:cubicBezTo>
                  <a:pt x="8684821" y="4412595"/>
                  <a:pt x="8710016" y="5571530"/>
                  <a:pt x="7086785" y="5636316"/>
                </a:cubicBezTo>
                <a:lnTo>
                  <a:pt x="0" y="5636316"/>
                </a:lnTo>
                <a:lnTo>
                  <a:pt x="0" y="0"/>
                </a:lnTo>
                <a:close/>
              </a:path>
            </a:pathLst>
          </a:custGeom>
          <a:gradFill flip="none" rotWithShape="1">
            <a:gsLst>
              <a:gs pos="18000">
                <a:srgbClr val="0089C4"/>
              </a:gs>
              <a:gs pos="0">
                <a:srgbClr val="0089C4"/>
              </a:gs>
              <a:gs pos="100000">
                <a:srgbClr val="629FD5"/>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284" tIns="45642" rIns="91284" bIns="45642" numCol="1" rtlCol="0" anchor="t" anchorCtr="0" compatLnSpc="1">
            <a:prstTxWarp prst="textNoShape">
              <a:avLst/>
            </a:prstTxWarp>
          </a:bodyPr>
          <a:lstStyle/>
          <a:p>
            <a:pPr defTabSz="912644"/>
            <a:endParaRPr lang="en-US" sz="2000">
              <a:solidFill>
                <a:srgbClr val="000000"/>
              </a:solidFill>
              <a:cs typeface="+mn-cs"/>
            </a:endParaRPr>
          </a:p>
        </p:txBody>
      </p:sp>
      <p:sp>
        <p:nvSpPr>
          <p:cNvPr id="2" name="Rectangle 1"/>
          <p:cNvSpPr/>
          <p:nvPr userDrawn="1"/>
        </p:nvSpPr>
        <p:spPr>
          <a:xfrm>
            <a:off x="107548" y="4677984"/>
            <a:ext cx="1782559"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de-DE" sz="1800">
              <a:solidFill>
                <a:srgbClr val="FFFFFF"/>
              </a:solidFill>
            </a:endParaRPr>
          </a:p>
        </p:txBody>
      </p:sp>
      <p:sp>
        <p:nvSpPr>
          <p:cNvPr id="9" name="Text Placeholder 3"/>
          <p:cNvSpPr>
            <a:spLocks noGrp="1"/>
          </p:cNvSpPr>
          <p:nvPr>
            <p:ph type="body" sz="quarter" idx="10" hasCustomPrompt="1"/>
          </p:nvPr>
        </p:nvSpPr>
        <p:spPr>
          <a:xfrm>
            <a:off x="828728" y="1797152"/>
            <a:ext cx="6983993" cy="1215000"/>
          </a:xfrm>
          <a:prstGeom prst="rect">
            <a:avLst/>
          </a:prstGeom>
        </p:spPr>
        <p:txBody>
          <a:bodyPr lIns="0" tIns="0" rIns="0" bIns="0"/>
          <a:lstStyle>
            <a:lvl1pPr marL="0" indent="0" algn="l">
              <a:spcBef>
                <a:spcPts val="0"/>
              </a:spcBef>
              <a:buFontTx/>
              <a:buNone/>
              <a:defRPr sz="5600">
                <a:solidFill>
                  <a:schemeClr val="bg1"/>
                </a:solidFill>
              </a:defRPr>
            </a:lvl1pPr>
            <a:lvl2pPr>
              <a:defRPr sz="4800"/>
            </a:lvl2pPr>
            <a:lvl3pPr>
              <a:defRPr sz="4800"/>
            </a:lvl3pPr>
            <a:lvl4pPr>
              <a:defRPr sz="4800"/>
            </a:lvl4pPr>
            <a:lvl5pPr>
              <a:defRPr sz="4800"/>
            </a:lvl5pPr>
          </a:lstStyle>
          <a:p>
            <a:pPr lvl="0"/>
            <a:r>
              <a:rPr lang="de-DE" dirty="0"/>
              <a:t>Click to </a:t>
            </a:r>
            <a:r>
              <a:rPr lang="de-DE" dirty="0" err="1"/>
              <a:t>add</a:t>
            </a:r>
            <a:r>
              <a:rPr lang="de-DE" dirty="0"/>
              <a:t> title</a:t>
            </a:r>
          </a:p>
        </p:txBody>
      </p:sp>
      <p:sp>
        <p:nvSpPr>
          <p:cNvPr id="12" name="Text Placeholder 3"/>
          <p:cNvSpPr>
            <a:spLocks noGrp="1"/>
          </p:cNvSpPr>
          <p:nvPr>
            <p:ph type="body" sz="quarter" idx="11" hasCustomPrompt="1"/>
          </p:nvPr>
        </p:nvSpPr>
        <p:spPr>
          <a:xfrm>
            <a:off x="828061" y="3335063"/>
            <a:ext cx="4821913" cy="189000"/>
          </a:xfrm>
          <a:prstGeom prst="rect">
            <a:avLst/>
          </a:prstGeom>
        </p:spPr>
        <p:txBody>
          <a:bodyPr lIns="0" tIns="0" rIns="0" bIns="0"/>
          <a:lstStyle>
            <a:lvl1pPr marL="0" indent="0">
              <a:spcBef>
                <a:spcPts val="0"/>
              </a:spcBef>
              <a:buFontTx/>
              <a:buNone/>
              <a:defRPr sz="1800" b="1">
                <a:solidFill>
                  <a:schemeClr val="bg1"/>
                </a:solidFill>
              </a:defRPr>
            </a:lvl1pPr>
          </a:lstStyle>
          <a:p>
            <a:pPr lvl="0"/>
            <a:r>
              <a:rPr lang="de-DE" dirty="0"/>
              <a:t>_</a:t>
            </a:r>
            <a:r>
              <a:rPr lang="de-DE" dirty="0" err="1"/>
              <a:t>Author</a:t>
            </a:r>
            <a:endParaRPr lang="de-DE" dirty="0"/>
          </a:p>
        </p:txBody>
      </p:sp>
      <p:sp>
        <p:nvSpPr>
          <p:cNvPr id="13" name="Text Placeholder 3"/>
          <p:cNvSpPr>
            <a:spLocks noGrp="1"/>
          </p:cNvSpPr>
          <p:nvPr>
            <p:ph type="body" sz="quarter" idx="12" hasCustomPrompt="1"/>
          </p:nvPr>
        </p:nvSpPr>
        <p:spPr>
          <a:xfrm>
            <a:off x="828061" y="3537563"/>
            <a:ext cx="4821913" cy="189000"/>
          </a:xfrm>
          <a:prstGeom prst="rect">
            <a:avLst/>
          </a:prstGeom>
        </p:spPr>
        <p:txBody>
          <a:bodyPr lIns="0" tIns="0" rIns="0" bIns="0"/>
          <a:lstStyle>
            <a:lvl1pPr marL="0" indent="0">
              <a:spcBef>
                <a:spcPts val="0"/>
              </a:spcBef>
              <a:buFontTx/>
              <a:buNone/>
              <a:defRPr sz="1600" b="0">
                <a:solidFill>
                  <a:schemeClr val="bg1"/>
                </a:solidFill>
              </a:defRPr>
            </a:lvl1pPr>
          </a:lstStyle>
          <a:p>
            <a:pPr lvl="0"/>
            <a:r>
              <a:rPr lang="de-DE" dirty="0"/>
              <a:t>_Sector</a:t>
            </a:r>
          </a:p>
        </p:txBody>
      </p:sp>
      <p:sp>
        <p:nvSpPr>
          <p:cNvPr id="14" name="Text Placeholder 3"/>
          <p:cNvSpPr>
            <a:spLocks noGrp="1"/>
          </p:cNvSpPr>
          <p:nvPr>
            <p:ph type="body" sz="quarter" idx="13" hasCustomPrompt="1"/>
          </p:nvPr>
        </p:nvSpPr>
        <p:spPr>
          <a:xfrm>
            <a:off x="828061" y="3740063"/>
            <a:ext cx="4821913" cy="189000"/>
          </a:xfrm>
          <a:prstGeom prst="rect">
            <a:avLst/>
          </a:prstGeom>
        </p:spPr>
        <p:txBody>
          <a:bodyPr lIns="0" tIns="0" rIns="0" bIns="0"/>
          <a:lstStyle>
            <a:lvl1pPr marL="0" marR="0" indent="0" algn="l" defTabSz="912644" rtl="0" eaLnBrk="1" fontAlgn="auto" latinLnBrk="0" hangingPunct="1">
              <a:lnSpc>
                <a:spcPct val="100000"/>
              </a:lnSpc>
              <a:spcBef>
                <a:spcPts val="0"/>
              </a:spcBef>
              <a:spcAft>
                <a:spcPts val="0"/>
              </a:spcAft>
              <a:buClrTx/>
              <a:buSzTx/>
              <a:buFontTx/>
              <a:buNone/>
              <a:tabLst/>
              <a:defRPr sz="1600" b="0">
                <a:solidFill>
                  <a:schemeClr val="bg1"/>
                </a:solidFill>
              </a:defRPr>
            </a:lvl1pPr>
          </a:lstStyle>
          <a:p>
            <a:pPr marL="0" marR="0" lvl="0" indent="0" algn="l" defTabSz="912644" rtl="0" eaLnBrk="1" fontAlgn="auto" latinLnBrk="0" hangingPunct="1">
              <a:lnSpc>
                <a:spcPct val="100000"/>
              </a:lnSpc>
              <a:spcBef>
                <a:spcPct val="20000"/>
              </a:spcBef>
              <a:spcAft>
                <a:spcPts val="0"/>
              </a:spcAft>
              <a:buClrTx/>
              <a:buSzTx/>
              <a:buFontTx/>
              <a:buNone/>
              <a:tabLst/>
              <a:defRPr/>
            </a:pPr>
            <a:r>
              <a:rPr lang="de-DE" dirty="0"/>
              <a:t>_</a:t>
            </a:r>
            <a:r>
              <a:rPr lang="en-US" sz="1600" dirty="0">
                <a:solidFill>
                  <a:srgbClr val="FFFFFF"/>
                </a:solidFill>
                <a:latin typeface="+mn-lt"/>
              </a:rPr>
              <a:t>November 01, 2013</a:t>
            </a:r>
          </a:p>
          <a:p>
            <a:pPr lvl="0"/>
            <a:endParaRPr lang="de-DE" dirty="0"/>
          </a:p>
        </p:txBody>
      </p:sp>
      <p:pic>
        <p:nvPicPr>
          <p:cNvPr id="21" name="Picture 20" descr="ONEVOICE_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6461" y="4623809"/>
            <a:ext cx="973981" cy="170537"/>
          </a:xfrm>
          <a:prstGeom prst="rect">
            <a:avLst/>
          </a:prstGeom>
        </p:spPr>
      </p:pic>
      <p:pic>
        <p:nvPicPr>
          <p:cNvPr id="22" name="Picture 21"/>
          <p:cNvPicPr>
            <a:picLocks/>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a:xfrm>
            <a:off x="7405353" y="4618966"/>
            <a:ext cx="1306799" cy="180254"/>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138923205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a:xfrm>
            <a:off x="514271" y="1214439"/>
            <a:ext cx="8105855" cy="3463546"/>
          </a:xfrm>
          <a:prstGeom prst="rect">
            <a:avLst/>
          </a:prstGeom>
        </p:spPr>
        <p:txBody>
          <a:bodyPr lIns="0" tIns="0" rIns="0" bIns="0" spcCol="431180"/>
          <a:lstStyle>
            <a:lvl1pPr marL="179650" indent="-179650">
              <a:spcBef>
                <a:spcPts val="0"/>
              </a:spcBef>
              <a:defRPr sz="1300">
                <a:solidFill>
                  <a:srgbClr val="5D5D5D"/>
                </a:solidFill>
              </a:defRPr>
            </a:lvl1pPr>
            <a:lvl2pPr marL="359298" indent="-179650">
              <a:spcBef>
                <a:spcPts val="0"/>
              </a:spcBef>
              <a:defRPr sz="1300">
                <a:solidFill>
                  <a:srgbClr val="5D5D5D"/>
                </a:solidFill>
              </a:defRPr>
            </a:lvl2pPr>
            <a:lvl3pPr marL="553346" indent="-179650">
              <a:spcBef>
                <a:spcPts val="0"/>
              </a:spcBef>
              <a:buFont typeface="Wingdings" panose="05000000000000000000" pitchFamily="2" charset="2"/>
              <a:buChar char="§"/>
              <a:defRPr sz="1300">
                <a:solidFill>
                  <a:srgbClr val="5D5D5D"/>
                </a:solidFill>
              </a:defRPr>
            </a:lvl3pPr>
            <a:lvl4pPr marL="718596" indent="-179650">
              <a:spcBef>
                <a:spcPts val="0"/>
              </a:spcBef>
              <a:buFont typeface="Arial" panose="020B0604020202020204" pitchFamily="34" charset="0"/>
              <a:buChar char="•"/>
              <a:defRPr sz="1300">
                <a:solidFill>
                  <a:srgbClr val="5D5D5D"/>
                </a:solidFill>
              </a:defRPr>
            </a:lvl4pPr>
            <a:lvl5pPr marL="898246" indent="-179650">
              <a:spcBef>
                <a:spcPts val="0"/>
              </a:spcBef>
              <a:buFont typeface="Calibri" panose="020F0502020204030204" pitchFamily="34" charset="0"/>
              <a:buChar char="─"/>
              <a:defRPr sz="1300">
                <a:solidFill>
                  <a:srgbClr val="5D5D5D"/>
                </a:solidFill>
              </a:defRPr>
            </a:lvl5pPr>
            <a:lvl6pPr marL="1293478" indent="-228132">
              <a:spcBef>
                <a:spcPts val="0"/>
              </a:spcBef>
              <a:buFont typeface="Calibri" panose="020F0502020204030204" pitchFamily="34" charset="0"/>
              <a:buChar char="─"/>
              <a:defRPr sz="1800">
                <a:solidFill>
                  <a:schemeClr val="bg2">
                    <a:lumMod val="25000"/>
                  </a:schemeClr>
                </a:solidFill>
              </a:defRPr>
            </a:lvl6pPr>
            <a:lvl7pPr marL="1509074" indent="-215537">
              <a:spcBef>
                <a:spcPts val="0"/>
              </a:spcBef>
              <a:buFont typeface="Calibri" panose="020F0502020204030204" pitchFamily="34" charset="0"/>
              <a:buChar char="─"/>
              <a:defRPr sz="1800">
                <a:solidFill>
                  <a:schemeClr val="bg2">
                    <a:lumMod val="25000"/>
                  </a:schemeClr>
                </a:solidFill>
              </a:defRPr>
            </a:lvl7pPr>
            <a:lvl8pPr marL="1724646" indent="-215537">
              <a:spcBef>
                <a:spcPts val="0"/>
              </a:spcBef>
              <a:buFont typeface="Calibri" panose="020F0502020204030204" pitchFamily="34" charset="0"/>
              <a:buChar char="─"/>
              <a:defRPr sz="1800">
                <a:solidFill>
                  <a:schemeClr val="bg2">
                    <a:lumMod val="25000"/>
                  </a:schemeClr>
                </a:solidFill>
              </a:defRPr>
            </a:lvl8pPr>
            <a:lvl9pPr marL="1940255" indent="-215537">
              <a:spcBef>
                <a:spcPts val="0"/>
              </a:spcBef>
              <a:buFont typeface="Calibri" panose="020F0502020204030204" pitchFamily="34" charset="0"/>
              <a:buChar char="─"/>
              <a:defRPr sz="1800">
                <a:solidFill>
                  <a:schemeClr val="bg2">
                    <a:lumMod val="25000"/>
                  </a:schemeClr>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7554559" y="4819463"/>
            <a:ext cx="1080008" cy="14897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9" name="Text Placeholder 2"/>
          <p:cNvSpPr>
            <a:spLocks noGrp="1"/>
          </p:cNvSpPr>
          <p:nvPr>
            <p:ph type="body" sz="quarter" idx="10" hasCustomPrompt="1"/>
          </p:nvPr>
        </p:nvSpPr>
        <p:spPr>
          <a:xfrm>
            <a:off x="514235" y="180987"/>
            <a:ext cx="8117007" cy="384576"/>
          </a:xfrm>
          <a:prstGeom prst="rect">
            <a:avLst/>
          </a:prstGeom>
        </p:spPr>
        <p:txBody>
          <a:bodyPr lIns="0" tIns="0" rIns="0" bIns="0" anchor="t"/>
          <a:lstStyle>
            <a:lvl1pPr marL="0" indent="0" algn="l">
              <a:spcBef>
                <a:spcPts val="0"/>
              </a:spcBef>
              <a:buFontTx/>
              <a:buNone/>
              <a:defRPr sz="3500" baseline="0">
                <a:solidFill>
                  <a:srgbClr val="0B2265"/>
                </a:solidFill>
              </a:defRPr>
            </a:lvl1pPr>
          </a:lstStyle>
          <a:p>
            <a:pPr lvl="0"/>
            <a:r>
              <a:rPr lang="de-DE" dirty="0"/>
              <a:t>Click to add title</a:t>
            </a:r>
          </a:p>
        </p:txBody>
      </p:sp>
      <p:sp>
        <p:nvSpPr>
          <p:cNvPr id="10" name="Textplatzhalter 3"/>
          <p:cNvSpPr>
            <a:spLocks noGrp="1"/>
          </p:cNvSpPr>
          <p:nvPr>
            <p:ph type="body" sz="quarter" idx="12" hasCustomPrompt="1"/>
          </p:nvPr>
        </p:nvSpPr>
        <p:spPr>
          <a:xfrm>
            <a:off x="514233" y="542867"/>
            <a:ext cx="8117008" cy="280800"/>
          </a:xfrm>
          <a:prstGeom prst="rect">
            <a:avLst/>
          </a:prstGeom>
        </p:spPr>
        <p:txBody>
          <a:bodyPr lIns="0" tIns="0" rIns="0" bIns="0"/>
          <a:lstStyle>
            <a:lvl1pPr marL="0" indent="0">
              <a:spcBef>
                <a:spcPts val="0"/>
              </a:spcBef>
              <a:buFontTx/>
              <a:buNone/>
              <a:defRPr sz="2100">
                <a:solidFill>
                  <a:srgbClr val="005A8B"/>
                </a:solidFill>
              </a:defRPr>
            </a:lvl1pPr>
          </a:lstStyle>
          <a:p>
            <a:pPr lvl="0"/>
            <a:r>
              <a:rPr lang="de-DE" dirty="0"/>
              <a:t>Click </a:t>
            </a:r>
            <a:r>
              <a:rPr lang="de-DE" dirty="0" err="1"/>
              <a:t>to</a:t>
            </a:r>
            <a:r>
              <a:rPr lang="de-DE" dirty="0"/>
              <a:t> </a:t>
            </a:r>
            <a:r>
              <a:rPr lang="de-DE" dirty="0" err="1"/>
              <a:t>add</a:t>
            </a:r>
            <a:r>
              <a:rPr lang="de-DE" dirty="0"/>
              <a:t> </a:t>
            </a:r>
            <a:r>
              <a:rPr lang="de-DE" dirty="0" err="1"/>
              <a:t>subtitle</a:t>
            </a:r>
            <a:endParaRPr lang="de-DE" dirty="0"/>
          </a:p>
        </p:txBody>
      </p:sp>
    </p:spTree>
    <p:extLst>
      <p:ext uri="{BB962C8B-B14F-4D97-AF65-F5344CB8AC3E}">
        <p14:creationId xmlns:p14="http://schemas.microsoft.com/office/powerpoint/2010/main" val="300150185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8" name="Picture 7"/>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7554559" y="4819463"/>
            <a:ext cx="1080008" cy="14897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4" name="Text Placeholder 2"/>
          <p:cNvSpPr>
            <a:spLocks noGrp="1"/>
          </p:cNvSpPr>
          <p:nvPr>
            <p:ph type="body" sz="quarter" idx="10" hasCustomPrompt="1"/>
          </p:nvPr>
        </p:nvSpPr>
        <p:spPr>
          <a:xfrm>
            <a:off x="514235" y="180987"/>
            <a:ext cx="8117007" cy="384576"/>
          </a:xfrm>
          <a:prstGeom prst="rect">
            <a:avLst/>
          </a:prstGeom>
        </p:spPr>
        <p:txBody>
          <a:bodyPr lIns="0" tIns="0" rIns="0" bIns="0" anchor="t"/>
          <a:lstStyle>
            <a:lvl1pPr marL="0" indent="0" algn="l">
              <a:spcBef>
                <a:spcPts val="0"/>
              </a:spcBef>
              <a:buFontTx/>
              <a:buNone/>
              <a:defRPr sz="3500" baseline="0">
                <a:solidFill>
                  <a:srgbClr val="0B2265"/>
                </a:solidFill>
              </a:defRPr>
            </a:lvl1pPr>
          </a:lstStyle>
          <a:p>
            <a:pPr lvl="0"/>
            <a:r>
              <a:rPr lang="de-DE" dirty="0"/>
              <a:t>Click to add title</a:t>
            </a:r>
          </a:p>
        </p:txBody>
      </p:sp>
    </p:spTree>
    <p:extLst>
      <p:ext uri="{BB962C8B-B14F-4D97-AF65-F5344CB8AC3E}">
        <p14:creationId xmlns:p14="http://schemas.microsoft.com/office/powerpoint/2010/main" val="158542084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line title">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a:xfrm>
            <a:off x="521003" y="1153136"/>
            <a:ext cx="8105855" cy="280800"/>
          </a:xfrm>
          <a:prstGeom prst="rect">
            <a:avLst/>
          </a:prstGeom>
        </p:spPr>
        <p:txBody>
          <a:bodyPr lIns="0" tIns="0" rIns="0" bIns="0"/>
          <a:lstStyle>
            <a:lvl1pPr marL="0" indent="0">
              <a:spcBef>
                <a:spcPts val="0"/>
              </a:spcBef>
              <a:buFontTx/>
              <a:buNone/>
              <a:defRPr sz="2100">
                <a:solidFill>
                  <a:srgbClr val="005A8B"/>
                </a:solidFill>
              </a:defRPr>
            </a:lvl1pPr>
          </a:lstStyle>
          <a:p>
            <a:pPr lvl="0"/>
            <a:r>
              <a:rPr lang="de-DE" dirty="0"/>
              <a:t>Click </a:t>
            </a:r>
            <a:r>
              <a:rPr lang="de-DE" dirty="0" err="1"/>
              <a:t>to</a:t>
            </a:r>
            <a:r>
              <a:rPr lang="de-DE" dirty="0"/>
              <a:t> </a:t>
            </a:r>
            <a:r>
              <a:rPr lang="de-DE" dirty="0" err="1"/>
              <a:t>add</a:t>
            </a:r>
            <a:r>
              <a:rPr lang="de-DE" dirty="0"/>
              <a:t> </a:t>
            </a:r>
            <a:r>
              <a:rPr lang="de-DE" dirty="0" err="1"/>
              <a:t>subtitle</a:t>
            </a:r>
            <a:endParaRPr lang="de-DE" dirty="0"/>
          </a:p>
        </p:txBody>
      </p:sp>
      <p:sp>
        <p:nvSpPr>
          <p:cNvPr id="5" name="Textplatzhalter 4"/>
          <p:cNvSpPr>
            <a:spLocks noGrp="1"/>
          </p:cNvSpPr>
          <p:nvPr>
            <p:ph type="body" sz="quarter" idx="13"/>
          </p:nvPr>
        </p:nvSpPr>
        <p:spPr>
          <a:xfrm>
            <a:off x="521003" y="1423175"/>
            <a:ext cx="8105855" cy="3254167"/>
          </a:xfrm>
          <a:prstGeom prst="rect">
            <a:avLst/>
          </a:prstGeom>
        </p:spPr>
        <p:txBody>
          <a:bodyPr lIns="0" tIns="0" rIns="0" bIns="0" spcCol="431180"/>
          <a:lstStyle>
            <a:lvl1pPr marL="215537" indent="-215537">
              <a:spcBef>
                <a:spcPts val="0"/>
              </a:spcBef>
              <a:defRPr sz="1300">
                <a:solidFill>
                  <a:srgbClr val="5D5D5D"/>
                </a:solidFill>
              </a:defRPr>
            </a:lvl1pPr>
            <a:lvl2pPr marL="431180" indent="-215537">
              <a:spcBef>
                <a:spcPts val="0"/>
              </a:spcBef>
              <a:defRPr sz="1300">
                <a:solidFill>
                  <a:srgbClr val="5D5D5D"/>
                </a:solidFill>
              </a:defRPr>
            </a:lvl2pPr>
            <a:lvl3pPr marL="646752" indent="-215537">
              <a:spcBef>
                <a:spcPts val="0"/>
              </a:spcBef>
              <a:buFont typeface="Wingdings" panose="05000000000000000000" pitchFamily="2" charset="2"/>
              <a:buChar char="§"/>
              <a:defRPr sz="1300">
                <a:solidFill>
                  <a:srgbClr val="5D5D5D"/>
                </a:solidFill>
              </a:defRPr>
            </a:lvl3pPr>
            <a:lvl4pPr marL="862361" indent="-215537">
              <a:spcBef>
                <a:spcPts val="0"/>
              </a:spcBef>
              <a:buFont typeface="Arial" panose="020B0604020202020204" pitchFamily="34" charset="0"/>
              <a:buChar char="•"/>
              <a:defRPr sz="1300">
                <a:solidFill>
                  <a:srgbClr val="5D5D5D"/>
                </a:solidFill>
              </a:defRPr>
            </a:lvl4pPr>
            <a:lvl5pPr marL="1077894" indent="-228132">
              <a:spcBef>
                <a:spcPts val="0"/>
              </a:spcBef>
              <a:buFont typeface="Calibri" panose="020F0502020204030204" pitchFamily="34" charset="0"/>
              <a:buChar char="─"/>
              <a:defRPr sz="1300">
                <a:solidFill>
                  <a:srgbClr val="5D5D5D"/>
                </a:solidFill>
              </a:defRPr>
            </a:lvl5pPr>
            <a:lvl6pPr marL="1293478" indent="-228132">
              <a:spcBef>
                <a:spcPts val="0"/>
              </a:spcBef>
              <a:buFont typeface="Calibri" panose="020F0502020204030204" pitchFamily="34" charset="0"/>
              <a:buChar char="─"/>
              <a:defRPr sz="1800">
                <a:solidFill>
                  <a:schemeClr val="bg2">
                    <a:lumMod val="25000"/>
                  </a:schemeClr>
                </a:solidFill>
              </a:defRPr>
            </a:lvl6pPr>
            <a:lvl7pPr marL="1509074" indent="-215537">
              <a:spcBef>
                <a:spcPts val="0"/>
              </a:spcBef>
              <a:buFont typeface="Calibri" panose="020F0502020204030204" pitchFamily="34" charset="0"/>
              <a:buChar char="─"/>
              <a:defRPr sz="1800">
                <a:solidFill>
                  <a:schemeClr val="bg2">
                    <a:lumMod val="25000"/>
                  </a:schemeClr>
                </a:solidFill>
              </a:defRPr>
            </a:lvl7pPr>
            <a:lvl8pPr marL="1724646" indent="-215537">
              <a:spcBef>
                <a:spcPts val="0"/>
              </a:spcBef>
              <a:buFont typeface="Calibri" panose="020F0502020204030204" pitchFamily="34" charset="0"/>
              <a:buChar char="─"/>
              <a:defRPr sz="1800">
                <a:solidFill>
                  <a:schemeClr val="bg2">
                    <a:lumMod val="25000"/>
                  </a:schemeClr>
                </a:solidFill>
              </a:defRPr>
            </a:lvl8pPr>
            <a:lvl9pPr marL="1940255" indent="-215537">
              <a:spcBef>
                <a:spcPts val="0"/>
              </a:spcBef>
              <a:buFont typeface="Calibri" panose="020F0502020204030204" pitchFamily="34" charset="0"/>
              <a:buChar char="─"/>
              <a:defRPr sz="1800">
                <a:solidFill>
                  <a:schemeClr val="bg2">
                    <a:lumMod val="25000"/>
                  </a:schemeClr>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0" hasCustomPrompt="1"/>
          </p:nvPr>
        </p:nvSpPr>
        <p:spPr>
          <a:xfrm>
            <a:off x="520958" y="247972"/>
            <a:ext cx="8096448" cy="625802"/>
          </a:xfrm>
          <a:prstGeom prst="rect">
            <a:avLst/>
          </a:prstGeom>
        </p:spPr>
        <p:txBody>
          <a:bodyPr lIns="0" tIns="0" rIns="0" bIns="0"/>
          <a:lstStyle>
            <a:lvl1pPr marL="0" indent="0" algn="l">
              <a:lnSpc>
                <a:spcPts val="3252"/>
              </a:lnSpc>
              <a:spcBef>
                <a:spcPts val="0"/>
              </a:spcBef>
              <a:buFontTx/>
              <a:buNone/>
              <a:defRPr sz="3500" baseline="0">
                <a:solidFill>
                  <a:srgbClr val="0B2265"/>
                </a:solidFill>
              </a:defRPr>
            </a:lvl1pPr>
          </a:lstStyle>
          <a:p>
            <a:pPr lvl="0"/>
            <a:r>
              <a:rPr lang="de-DE" dirty="0"/>
              <a:t>Click to </a:t>
            </a:r>
            <a:r>
              <a:rPr lang="de-DE" dirty="0" err="1"/>
              <a:t>add</a:t>
            </a:r>
            <a:r>
              <a:rPr lang="de-DE" dirty="0"/>
              <a:t> title</a:t>
            </a:r>
          </a:p>
          <a:p>
            <a:pPr lvl="0"/>
            <a:r>
              <a:rPr lang="de-DE" dirty="0"/>
              <a:t>Second </a:t>
            </a:r>
            <a:r>
              <a:rPr lang="de-DE" dirty="0" err="1"/>
              <a:t>line</a:t>
            </a:r>
            <a:r>
              <a:rPr lang="de-DE" dirty="0"/>
              <a:t> </a:t>
            </a:r>
            <a:r>
              <a:rPr lang="de-DE" dirty="0" err="1"/>
              <a:t>of</a:t>
            </a:r>
            <a:r>
              <a:rPr lang="de-DE" dirty="0"/>
              <a:t> title</a:t>
            </a:r>
          </a:p>
        </p:txBody>
      </p:sp>
      <p:pic>
        <p:nvPicPr>
          <p:cNvPr id="6" name="Picture 5"/>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7554559" y="4819463"/>
            <a:ext cx="1080008" cy="14897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1137883984"/>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platzhalter 4"/>
          <p:cNvSpPr>
            <a:spLocks noGrp="1"/>
          </p:cNvSpPr>
          <p:nvPr>
            <p:ph type="body" sz="quarter" idx="13"/>
          </p:nvPr>
        </p:nvSpPr>
        <p:spPr>
          <a:xfrm>
            <a:off x="514233" y="1214439"/>
            <a:ext cx="3887998" cy="3463546"/>
          </a:xfrm>
          <a:prstGeom prst="rect">
            <a:avLst/>
          </a:prstGeom>
        </p:spPr>
        <p:txBody>
          <a:bodyPr lIns="0" tIns="0" rIns="0" bIns="0" spcCol="431180"/>
          <a:lstStyle>
            <a:lvl1pPr marL="179650" indent="-179650">
              <a:spcBef>
                <a:spcPts val="0"/>
              </a:spcBef>
              <a:defRPr sz="1300">
                <a:solidFill>
                  <a:srgbClr val="5D5D5D"/>
                </a:solidFill>
              </a:defRPr>
            </a:lvl1pPr>
            <a:lvl2pPr marL="359298" indent="-179650">
              <a:spcBef>
                <a:spcPts val="0"/>
              </a:spcBef>
              <a:defRPr sz="1300">
                <a:solidFill>
                  <a:srgbClr val="5D5D5D"/>
                </a:solidFill>
              </a:defRPr>
            </a:lvl2pPr>
            <a:lvl3pPr marL="553346" indent="-179650">
              <a:spcBef>
                <a:spcPts val="0"/>
              </a:spcBef>
              <a:buFont typeface="Wingdings" panose="05000000000000000000" pitchFamily="2" charset="2"/>
              <a:buChar char="§"/>
              <a:defRPr sz="1300">
                <a:solidFill>
                  <a:srgbClr val="5D5D5D"/>
                </a:solidFill>
              </a:defRPr>
            </a:lvl3pPr>
            <a:lvl4pPr marL="718596" indent="-179650">
              <a:spcBef>
                <a:spcPts val="0"/>
              </a:spcBef>
              <a:buFont typeface="Arial" panose="020B0604020202020204" pitchFamily="34" charset="0"/>
              <a:buChar char="•"/>
              <a:defRPr sz="1300">
                <a:solidFill>
                  <a:srgbClr val="5D5D5D"/>
                </a:solidFill>
              </a:defRPr>
            </a:lvl4pPr>
            <a:lvl5pPr marL="898246" indent="-179650">
              <a:spcBef>
                <a:spcPts val="0"/>
              </a:spcBef>
              <a:buFont typeface="Calibri" panose="020F0502020204030204" pitchFamily="34" charset="0"/>
              <a:buChar char="─"/>
              <a:defRPr sz="1300">
                <a:solidFill>
                  <a:srgbClr val="5D5D5D"/>
                </a:solidFill>
              </a:defRPr>
            </a:lvl5pPr>
            <a:lvl6pPr marL="1293478" indent="-228132">
              <a:spcBef>
                <a:spcPts val="0"/>
              </a:spcBef>
              <a:buFont typeface="Calibri" panose="020F0502020204030204" pitchFamily="34" charset="0"/>
              <a:buChar char="─"/>
              <a:defRPr sz="1800">
                <a:solidFill>
                  <a:schemeClr val="bg2">
                    <a:lumMod val="25000"/>
                  </a:schemeClr>
                </a:solidFill>
              </a:defRPr>
            </a:lvl6pPr>
            <a:lvl7pPr marL="1509074" indent="-215537">
              <a:spcBef>
                <a:spcPts val="0"/>
              </a:spcBef>
              <a:buFont typeface="Calibri" panose="020F0502020204030204" pitchFamily="34" charset="0"/>
              <a:buChar char="─"/>
              <a:defRPr sz="1800">
                <a:solidFill>
                  <a:schemeClr val="bg2">
                    <a:lumMod val="25000"/>
                  </a:schemeClr>
                </a:solidFill>
              </a:defRPr>
            </a:lvl7pPr>
            <a:lvl8pPr marL="1724646" indent="-215537">
              <a:spcBef>
                <a:spcPts val="0"/>
              </a:spcBef>
              <a:buFont typeface="Calibri" panose="020F0502020204030204" pitchFamily="34" charset="0"/>
              <a:buChar char="─"/>
              <a:defRPr sz="1800">
                <a:solidFill>
                  <a:schemeClr val="bg2">
                    <a:lumMod val="25000"/>
                  </a:schemeClr>
                </a:solidFill>
              </a:defRPr>
            </a:lvl8pPr>
            <a:lvl9pPr marL="1940255" indent="-215537">
              <a:spcBef>
                <a:spcPts val="0"/>
              </a:spcBef>
              <a:buFont typeface="Calibri" panose="020F0502020204030204" pitchFamily="34" charset="0"/>
              <a:buChar char="─"/>
              <a:defRPr sz="1800">
                <a:solidFill>
                  <a:schemeClr val="bg2">
                    <a:lumMod val="25000"/>
                  </a:schemeClr>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platzhalter 4"/>
          <p:cNvSpPr>
            <a:spLocks noGrp="1"/>
          </p:cNvSpPr>
          <p:nvPr>
            <p:ph type="body" sz="quarter" idx="14"/>
          </p:nvPr>
        </p:nvSpPr>
        <p:spPr>
          <a:xfrm>
            <a:off x="4744734" y="1214439"/>
            <a:ext cx="3887998" cy="3463546"/>
          </a:xfrm>
          <a:prstGeom prst="rect">
            <a:avLst/>
          </a:prstGeom>
        </p:spPr>
        <p:txBody>
          <a:bodyPr lIns="0" tIns="0" rIns="0" bIns="0" spcCol="431180"/>
          <a:lstStyle>
            <a:lvl1pPr marL="179650" indent="-179650">
              <a:spcBef>
                <a:spcPts val="0"/>
              </a:spcBef>
              <a:defRPr sz="1300">
                <a:solidFill>
                  <a:srgbClr val="5D5D5D"/>
                </a:solidFill>
              </a:defRPr>
            </a:lvl1pPr>
            <a:lvl2pPr marL="359298" indent="-179650">
              <a:spcBef>
                <a:spcPts val="0"/>
              </a:spcBef>
              <a:defRPr sz="1300">
                <a:solidFill>
                  <a:srgbClr val="5D5D5D"/>
                </a:solidFill>
              </a:defRPr>
            </a:lvl2pPr>
            <a:lvl3pPr marL="553346" indent="-179650">
              <a:spcBef>
                <a:spcPts val="0"/>
              </a:spcBef>
              <a:buFont typeface="Wingdings" panose="05000000000000000000" pitchFamily="2" charset="2"/>
              <a:buChar char="§"/>
              <a:defRPr sz="1300">
                <a:solidFill>
                  <a:srgbClr val="5D5D5D"/>
                </a:solidFill>
              </a:defRPr>
            </a:lvl3pPr>
            <a:lvl4pPr marL="718596" indent="-179650">
              <a:spcBef>
                <a:spcPts val="0"/>
              </a:spcBef>
              <a:buFont typeface="Arial" panose="020B0604020202020204" pitchFamily="34" charset="0"/>
              <a:buChar char="•"/>
              <a:defRPr sz="1300">
                <a:solidFill>
                  <a:srgbClr val="5D5D5D"/>
                </a:solidFill>
              </a:defRPr>
            </a:lvl4pPr>
            <a:lvl5pPr marL="898246" indent="-179650">
              <a:spcBef>
                <a:spcPts val="0"/>
              </a:spcBef>
              <a:buFont typeface="Calibri" panose="020F0502020204030204" pitchFamily="34" charset="0"/>
              <a:buChar char="─"/>
              <a:defRPr sz="1300">
                <a:solidFill>
                  <a:srgbClr val="5D5D5D"/>
                </a:solidFill>
              </a:defRPr>
            </a:lvl5pPr>
            <a:lvl6pPr marL="1293478" indent="-228132">
              <a:spcBef>
                <a:spcPts val="0"/>
              </a:spcBef>
              <a:buFont typeface="Calibri" panose="020F0502020204030204" pitchFamily="34" charset="0"/>
              <a:buChar char="─"/>
              <a:defRPr sz="1800">
                <a:solidFill>
                  <a:schemeClr val="bg2">
                    <a:lumMod val="25000"/>
                  </a:schemeClr>
                </a:solidFill>
              </a:defRPr>
            </a:lvl6pPr>
            <a:lvl7pPr marL="1509074" indent="-215537">
              <a:spcBef>
                <a:spcPts val="0"/>
              </a:spcBef>
              <a:buFont typeface="Calibri" panose="020F0502020204030204" pitchFamily="34" charset="0"/>
              <a:buChar char="─"/>
              <a:defRPr sz="1800">
                <a:solidFill>
                  <a:schemeClr val="bg2">
                    <a:lumMod val="25000"/>
                  </a:schemeClr>
                </a:solidFill>
              </a:defRPr>
            </a:lvl7pPr>
            <a:lvl8pPr marL="1724646" indent="-215537">
              <a:spcBef>
                <a:spcPts val="0"/>
              </a:spcBef>
              <a:buFont typeface="Calibri" panose="020F0502020204030204" pitchFamily="34" charset="0"/>
              <a:buChar char="─"/>
              <a:defRPr sz="1800">
                <a:solidFill>
                  <a:schemeClr val="bg2">
                    <a:lumMod val="25000"/>
                  </a:schemeClr>
                </a:solidFill>
              </a:defRPr>
            </a:lvl8pPr>
            <a:lvl9pPr marL="1940255" indent="-215537">
              <a:spcBef>
                <a:spcPts val="0"/>
              </a:spcBef>
              <a:buFont typeface="Calibri" panose="020F0502020204030204" pitchFamily="34" charset="0"/>
              <a:buChar char="─"/>
              <a:defRPr sz="1800">
                <a:solidFill>
                  <a:schemeClr val="bg2">
                    <a:lumMod val="25000"/>
                  </a:schemeClr>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 name="Picture 1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7554559" y="4819463"/>
            <a:ext cx="1080008" cy="14897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6" name="Text Placeholder 2"/>
          <p:cNvSpPr>
            <a:spLocks noGrp="1"/>
          </p:cNvSpPr>
          <p:nvPr>
            <p:ph type="body" sz="quarter" idx="10" hasCustomPrompt="1"/>
          </p:nvPr>
        </p:nvSpPr>
        <p:spPr>
          <a:xfrm>
            <a:off x="514235" y="180987"/>
            <a:ext cx="8117007" cy="384576"/>
          </a:xfrm>
          <a:prstGeom prst="rect">
            <a:avLst/>
          </a:prstGeom>
        </p:spPr>
        <p:txBody>
          <a:bodyPr lIns="0" tIns="0" rIns="0" bIns="0" anchor="t"/>
          <a:lstStyle>
            <a:lvl1pPr marL="0" indent="0" algn="l">
              <a:spcBef>
                <a:spcPts val="0"/>
              </a:spcBef>
              <a:buFontTx/>
              <a:buNone/>
              <a:defRPr sz="3500" baseline="0">
                <a:solidFill>
                  <a:srgbClr val="0B2265"/>
                </a:solidFill>
              </a:defRPr>
            </a:lvl1pPr>
          </a:lstStyle>
          <a:p>
            <a:pPr lvl="0"/>
            <a:r>
              <a:rPr lang="de-DE" dirty="0"/>
              <a:t>Click to add title</a:t>
            </a:r>
          </a:p>
        </p:txBody>
      </p:sp>
    </p:spTree>
    <p:extLst>
      <p:ext uri="{BB962C8B-B14F-4D97-AF65-F5344CB8AC3E}">
        <p14:creationId xmlns:p14="http://schemas.microsoft.com/office/powerpoint/2010/main" val="622594563"/>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text subtitles">
    <p:spTree>
      <p:nvGrpSpPr>
        <p:cNvPr id="1" name=""/>
        <p:cNvGrpSpPr/>
        <p:nvPr/>
      </p:nvGrpSpPr>
      <p:grpSpPr>
        <a:xfrm>
          <a:off x="0" y="0"/>
          <a:ext cx="0" cy="0"/>
          <a:chOff x="0" y="0"/>
          <a:chExt cx="0" cy="0"/>
        </a:xfrm>
      </p:grpSpPr>
      <p:sp>
        <p:nvSpPr>
          <p:cNvPr id="9" name="Textplatzhalter 4"/>
          <p:cNvSpPr>
            <a:spLocks noGrp="1"/>
          </p:cNvSpPr>
          <p:nvPr>
            <p:ph type="body" sz="quarter" idx="13"/>
          </p:nvPr>
        </p:nvSpPr>
        <p:spPr>
          <a:xfrm>
            <a:off x="514233" y="1496628"/>
            <a:ext cx="3887998" cy="3181367"/>
          </a:xfrm>
          <a:prstGeom prst="rect">
            <a:avLst/>
          </a:prstGeom>
        </p:spPr>
        <p:txBody>
          <a:bodyPr lIns="0" tIns="0" rIns="0" bIns="0" spcCol="431180"/>
          <a:lstStyle>
            <a:lvl1pPr marL="179650" indent="-179650">
              <a:spcBef>
                <a:spcPts val="0"/>
              </a:spcBef>
              <a:defRPr sz="1300">
                <a:solidFill>
                  <a:srgbClr val="5D5D5D"/>
                </a:solidFill>
              </a:defRPr>
            </a:lvl1pPr>
            <a:lvl2pPr marL="359298" indent="-179650">
              <a:spcBef>
                <a:spcPts val="0"/>
              </a:spcBef>
              <a:defRPr sz="1300">
                <a:solidFill>
                  <a:srgbClr val="5D5D5D"/>
                </a:solidFill>
              </a:defRPr>
            </a:lvl2pPr>
            <a:lvl3pPr marL="553346" indent="-179650">
              <a:spcBef>
                <a:spcPts val="0"/>
              </a:spcBef>
              <a:buFont typeface="Wingdings" panose="05000000000000000000" pitchFamily="2" charset="2"/>
              <a:buChar char="§"/>
              <a:defRPr sz="1300">
                <a:solidFill>
                  <a:srgbClr val="5D5D5D"/>
                </a:solidFill>
              </a:defRPr>
            </a:lvl3pPr>
            <a:lvl4pPr marL="718596" indent="-179650">
              <a:spcBef>
                <a:spcPts val="0"/>
              </a:spcBef>
              <a:buFont typeface="Arial" panose="020B0604020202020204" pitchFamily="34" charset="0"/>
              <a:buChar char="•"/>
              <a:defRPr sz="1300">
                <a:solidFill>
                  <a:srgbClr val="5D5D5D"/>
                </a:solidFill>
              </a:defRPr>
            </a:lvl4pPr>
            <a:lvl5pPr marL="898246" indent="-179650">
              <a:spcBef>
                <a:spcPts val="0"/>
              </a:spcBef>
              <a:buFont typeface="Calibri" panose="020F0502020204030204" pitchFamily="34" charset="0"/>
              <a:buChar char="─"/>
              <a:defRPr sz="1300">
                <a:solidFill>
                  <a:srgbClr val="5D5D5D"/>
                </a:solidFill>
              </a:defRPr>
            </a:lvl5pPr>
            <a:lvl6pPr marL="1293478" indent="-228132">
              <a:spcBef>
                <a:spcPts val="0"/>
              </a:spcBef>
              <a:buFont typeface="Calibri" panose="020F0502020204030204" pitchFamily="34" charset="0"/>
              <a:buChar char="─"/>
              <a:defRPr sz="1800">
                <a:solidFill>
                  <a:schemeClr val="bg2">
                    <a:lumMod val="25000"/>
                  </a:schemeClr>
                </a:solidFill>
              </a:defRPr>
            </a:lvl6pPr>
            <a:lvl7pPr marL="1509074" indent="-215537">
              <a:spcBef>
                <a:spcPts val="0"/>
              </a:spcBef>
              <a:buFont typeface="Calibri" panose="020F0502020204030204" pitchFamily="34" charset="0"/>
              <a:buChar char="─"/>
              <a:defRPr sz="1800">
                <a:solidFill>
                  <a:schemeClr val="bg2">
                    <a:lumMod val="25000"/>
                  </a:schemeClr>
                </a:solidFill>
              </a:defRPr>
            </a:lvl7pPr>
            <a:lvl8pPr marL="1724646" indent="-215537">
              <a:spcBef>
                <a:spcPts val="0"/>
              </a:spcBef>
              <a:buFont typeface="Calibri" panose="020F0502020204030204" pitchFamily="34" charset="0"/>
              <a:buChar char="─"/>
              <a:defRPr sz="1800">
                <a:solidFill>
                  <a:schemeClr val="bg2">
                    <a:lumMod val="25000"/>
                  </a:schemeClr>
                </a:solidFill>
              </a:defRPr>
            </a:lvl8pPr>
            <a:lvl9pPr marL="1940255" indent="-215537">
              <a:spcBef>
                <a:spcPts val="0"/>
              </a:spcBef>
              <a:buFont typeface="Calibri" panose="020F0502020204030204" pitchFamily="34" charset="0"/>
              <a:buChar char="─"/>
              <a:defRPr sz="1800">
                <a:solidFill>
                  <a:schemeClr val="bg2">
                    <a:lumMod val="25000"/>
                  </a:schemeClr>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platzhalter 4"/>
          <p:cNvSpPr>
            <a:spLocks noGrp="1"/>
          </p:cNvSpPr>
          <p:nvPr>
            <p:ph type="body" sz="quarter" idx="14"/>
          </p:nvPr>
        </p:nvSpPr>
        <p:spPr>
          <a:xfrm>
            <a:off x="4744734" y="1496628"/>
            <a:ext cx="3887998" cy="3181367"/>
          </a:xfrm>
          <a:prstGeom prst="rect">
            <a:avLst/>
          </a:prstGeom>
        </p:spPr>
        <p:txBody>
          <a:bodyPr lIns="0" tIns="0" rIns="0" bIns="0" spcCol="431180"/>
          <a:lstStyle>
            <a:lvl1pPr marL="179650" indent="-179650">
              <a:spcBef>
                <a:spcPts val="0"/>
              </a:spcBef>
              <a:defRPr sz="1300">
                <a:solidFill>
                  <a:srgbClr val="5D5D5D"/>
                </a:solidFill>
              </a:defRPr>
            </a:lvl1pPr>
            <a:lvl2pPr marL="359298" indent="-179650">
              <a:spcBef>
                <a:spcPts val="0"/>
              </a:spcBef>
              <a:defRPr sz="1300">
                <a:solidFill>
                  <a:srgbClr val="5D5D5D"/>
                </a:solidFill>
              </a:defRPr>
            </a:lvl2pPr>
            <a:lvl3pPr marL="553346" indent="-179650">
              <a:spcBef>
                <a:spcPts val="0"/>
              </a:spcBef>
              <a:buFont typeface="Wingdings" panose="05000000000000000000" pitchFamily="2" charset="2"/>
              <a:buChar char="§"/>
              <a:defRPr sz="1300">
                <a:solidFill>
                  <a:srgbClr val="5D5D5D"/>
                </a:solidFill>
              </a:defRPr>
            </a:lvl3pPr>
            <a:lvl4pPr marL="718596" indent="-179650">
              <a:spcBef>
                <a:spcPts val="0"/>
              </a:spcBef>
              <a:buFont typeface="Arial" panose="020B0604020202020204" pitchFamily="34" charset="0"/>
              <a:buChar char="•"/>
              <a:defRPr sz="1300">
                <a:solidFill>
                  <a:srgbClr val="5D5D5D"/>
                </a:solidFill>
              </a:defRPr>
            </a:lvl4pPr>
            <a:lvl5pPr marL="898246" indent="-179650">
              <a:spcBef>
                <a:spcPts val="0"/>
              </a:spcBef>
              <a:buFont typeface="Calibri" panose="020F0502020204030204" pitchFamily="34" charset="0"/>
              <a:buChar char="─"/>
              <a:defRPr sz="1300">
                <a:solidFill>
                  <a:srgbClr val="5D5D5D"/>
                </a:solidFill>
              </a:defRPr>
            </a:lvl5pPr>
            <a:lvl6pPr marL="1293478" indent="-228132">
              <a:spcBef>
                <a:spcPts val="0"/>
              </a:spcBef>
              <a:buFont typeface="Calibri" panose="020F0502020204030204" pitchFamily="34" charset="0"/>
              <a:buChar char="─"/>
              <a:defRPr sz="1800">
                <a:solidFill>
                  <a:schemeClr val="bg2">
                    <a:lumMod val="25000"/>
                  </a:schemeClr>
                </a:solidFill>
              </a:defRPr>
            </a:lvl6pPr>
            <a:lvl7pPr marL="1509074" indent="-215537">
              <a:spcBef>
                <a:spcPts val="0"/>
              </a:spcBef>
              <a:buFont typeface="Calibri" panose="020F0502020204030204" pitchFamily="34" charset="0"/>
              <a:buChar char="─"/>
              <a:defRPr sz="1800">
                <a:solidFill>
                  <a:schemeClr val="bg2">
                    <a:lumMod val="25000"/>
                  </a:schemeClr>
                </a:solidFill>
              </a:defRPr>
            </a:lvl7pPr>
            <a:lvl8pPr marL="1724646" indent="-215537">
              <a:spcBef>
                <a:spcPts val="0"/>
              </a:spcBef>
              <a:buFont typeface="Calibri" panose="020F0502020204030204" pitchFamily="34" charset="0"/>
              <a:buChar char="─"/>
              <a:defRPr sz="1800">
                <a:solidFill>
                  <a:schemeClr val="bg2">
                    <a:lumMod val="25000"/>
                  </a:schemeClr>
                </a:solidFill>
              </a:defRPr>
            </a:lvl8pPr>
            <a:lvl9pPr marL="1940255" indent="-215537">
              <a:spcBef>
                <a:spcPts val="0"/>
              </a:spcBef>
              <a:buFont typeface="Calibri" panose="020F0502020204030204" pitchFamily="34" charset="0"/>
              <a:buChar char="─"/>
              <a:defRPr sz="1800">
                <a:solidFill>
                  <a:schemeClr val="bg2">
                    <a:lumMod val="25000"/>
                  </a:schemeClr>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 name="Picture 19"/>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7554559" y="4819463"/>
            <a:ext cx="1080008" cy="14897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2" name="Textplatzhalter 3"/>
          <p:cNvSpPr>
            <a:spLocks noGrp="1"/>
          </p:cNvSpPr>
          <p:nvPr>
            <p:ph type="body" sz="quarter" idx="12" hasCustomPrompt="1"/>
          </p:nvPr>
        </p:nvSpPr>
        <p:spPr>
          <a:xfrm>
            <a:off x="514239" y="1148744"/>
            <a:ext cx="3883145" cy="280800"/>
          </a:xfrm>
          <a:prstGeom prst="rect">
            <a:avLst/>
          </a:prstGeom>
        </p:spPr>
        <p:txBody>
          <a:bodyPr lIns="0" tIns="0" rIns="0" bIns="0"/>
          <a:lstStyle>
            <a:lvl1pPr marL="0" indent="0">
              <a:spcBef>
                <a:spcPts val="0"/>
              </a:spcBef>
              <a:buFontTx/>
              <a:buNone/>
              <a:defRPr sz="2100">
                <a:solidFill>
                  <a:srgbClr val="005A8B"/>
                </a:solidFill>
              </a:defRPr>
            </a:lvl1pPr>
          </a:lstStyle>
          <a:p>
            <a:pPr lvl="0"/>
            <a:r>
              <a:rPr lang="de-DE" dirty="0"/>
              <a:t>Click </a:t>
            </a:r>
            <a:r>
              <a:rPr lang="de-DE" dirty="0" err="1"/>
              <a:t>to</a:t>
            </a:r>
            <a:r>
              <a:rPr lang="de-DE" dirty="0"/>
              <a:t> </a:t>
            </a:r>
            <a:r>
              <a:rPr lang="de-DE" dirty="0" err="1"/>
              <a:t>add</a:t>
            </a:r>
            <a:r>
              <a:rPr lang="de-DE" dirty="0"/>
              <a:t> </a:t>
            </a:r>
            <a:r>
              <a:rPr lang="de-DE" dirty="0" err="1"/>
              <a:t>subtitle</a:t>
            </a:r>
            <a:endParaRPr lang="de-DE" dirty="0"/>
          </a:p>
        </p:txBody>
      </p:sp>
      <p:sp>
        <p:nvSpPr>
          <p:cNvPr id="7" name="Textplatzhalter 3"/>
          <p:cNvSpPr>
            <a:spLocks noGrp="1"/>
          </p:cNvSpPr>
          <p:nvPr>
            <p:ph type="body" sz="quarter" idx="15" hasCustomPrompt="1"/>
          </p:nvPr>
        </p:nvSpPr>
        <p:spPr>
          <a:xfrm>
            <a:off x="4744799" y="1148744"/>
            <a:ext cx="3883145" cy="280800"/>
          </a:xfrm>
          <a:prstGeom prst="rect">
            <a:avLst/>
          </a:prstGeom>
        </p:spPr>
        <p:txBody>
          <a:bodyPr lIns="0" tIns="0" rIns="0" bIns="0"/>
          <a:lstStyle>
            <a:lvl1pPr marL="0" indent="0">
              <a:spcBef>
                <a:spcPts val="0"/>
              </a:spcBef>
              <a:buFontTx/>
              <a:buNone/>
              <a:defRPr sz="2100">
                <a:solidFill>
                  <a:srgbClr val="005A8B"/>
                </a:solidFill>
              </a:defRPr>
            </a:lvl1pPr>
          </a:lstStyle>
          <a:p>
            <a:pPr lvl="0"/>
            <a:r>
              <a:rPr lang="de-DE" dirty="0"/>
              <a:t>Click </a:t>
            </a:r>
            <a:r>
              <a:rPr lang="de-DE" dirty="0" err="1"/>
              <a:t>to</a:t>
            </a:r>
            <a:r>
              <a:rPr lang="de-DE" dirty="0"/>
              <a:t> </a:t>
            </a:r>
            <a:r>
              <a:rPr lang="de-DE" dirty="0" err="1"/>
              <a:t>add</a:t>
            </a:r>
            <a:r>
              <a:rPr lang="de-DE" dirty="0"/>
              <a:t> </a:t>
            </a:r>
            <a:r>
              <a:rPr lang="de-DE" dirty="0" err="1"/>
              <a:t>subtitle</a:t>
            </a:r>
            <a:endParaRPr lang="de-DE" dirty="0"/>
          </a:p>
        </p:txBody>
      </p:sp>
      <p:sp>
        <p:nvSpPr>
          <p:cNvPr id="10" name="Text Placeholder 2"/>
          <p:cNvSpPr>
            <a:spLocks noGrp="1"/>
          </p:cNvSpPr>
          <p:nvPr>
            <p:ph type="body" sz="quarter" idx="10" hasCustomPrompt="1"/>
          </p:nvPr>
        </p:nvSpPr>
        <p:spPr>
          <a:xfrm>
            <a:off x="514235" y="180987"/>
            <a:ext cx="8117007" cy="384576"/>
          </a:xfrm>
          <a:prstGeom prst="rect">
            <a:avLst/>
          </a:prstGeom>
        </p:spPr>
        <p:txBody>
          <a:bodyPr lIns="0" tIns="0" rIns="0" bIns="0" anchor="t"/>
          <a:lstStyle>
            <a:lvl1pPr marL="0" indent="0" algn="l">
              <a:spcBef>
                <a:spcPts val="0"/>
              </a:spcBef>
              <a:buFontTx/>
              <a:buNone/>
              <a:defRPr sz="3500" baseline="0">
                <a:solidFill>
                  <a:srgbClr val="0B2265"/>
                </a:solidFill>
              </a:defRPr>
            </a:lvl1pPr>
          </a:lstStyle>
          <a:p>
            <a:pPr lvl="0"/>
            <a:r>
              <a:rPr lang="de-DE" dirty="0"/>
              <a:t>Click to add title</a:t>
            </a:r>
          </a:p>
        </p:txBody>
      </p:sp>
    </p:spTree>
    <p:extLst>
      <p:ext uri="{BB962C8B-B14F-4D97-AF65-F5344CB8AC3E}">
        <p14:creationId xmlns:p14="http://schemas.microsoft.com/office/powerpoint/2010/main" val="339575361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hree col text">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a:xfrm>
            <a:off x="514233" y="1214439"/>
            <a:ext cx="2484000" cy="3463546"/>
          </a:xfrm>
          <a:prstGeom prst="rect">
            <a:avLst/>
          </a:prstGeom>
        </p:spPr>
        <p:txBody>
          <a:bodyPr lIns="0" tIns="0" rIns="0" bIns="0" spcCol="431180"/>
          <a:lstStyle>
            <a:lvl1pPr marL="179650" indent="-179650">
              <a:spcBef>
                <a:spcPts val="0"/>
              </a:spcBef>
              <a:defRPr sz="1300">
                <a:solidFill>
                  <a:srgbClr val="5D5D5D"/>
                </a:solidFill>
              </a:defRPr>
            </a:lvl1pPr>
            <a:lvl2pPr marL="359298" indent="-179650">
              <a:spcBef>
                <a:spcPts val="0"/>
              </a:spcBef>
              <a:defRPr sz="1300">
                <a:solidFill>
                  <a:srgbClr val="5D5D5D"/>
                </a:solidFill>
              </a:defRPr>
            </a:lvl2pPr>
            <a:lvl3pPr marL="553346" indent="-179650">
              <a:spcBef>
                <a:spcPts val="0"/>
              </a:spcBef>
              <a:buFont typeface="Wingdings" panose="05000000000000000000" pitchFamily="2" charset="2"/>
              <a:buChar char="§"/>
              <a:defRPr sz="1300">
                <a:solidFill>
                  <a:srgbClr val="5D5D5D"/>
                </a:solidFill>
              </a:defRPr>
            </a:lvl3pPr>
            <a:lvl4pPr marL="718596" indent="-179650">
              <a:spcBef>
                <a:spcPts val="0"/>
              </a:spcBef>
              <a:buFont typeface="Arial" panose="020B0604020202020204" pitchFamily="34" charset="0"/>
              <a:buChar char="•"/>
              <a:defRPr sz="1300">
                <a:solidFill>
                  <a:srgbClr val="5D5D5D"/>
                </a:solidFill>
              </a:defRPr>
            </a:lvl4pPr>
            <a:lvl5pPr marL="898246" indent="-179650">
              <a:spcBef>
                <a:spcPts val="0"/>
              </a:spcBef>
              <a:buFont typeface="Calibri" panose="020F0502020204030204" pitchFamily="34" charset="0"/>
              <a:buChar char="─"/>
              <a:defRPr sz="1300">
                <a:solidFill>
                  <a:srgbClr val="5D5D5D"/>
                </a:solidFill>
              </a:defRPr>
            </a:lvl5pPr>
            <a:lvl6pPr marL="1293478" indent="-228132">
              <a:spcBef>
                <a:spcPts val="0"/>
              </a:spcBef>
              <a:buFont typeface="Calibri" panose="020F0502020204030204" pitchFamily="34" charset="0"/>
              <a:buChar char="─"/>
              <a:defRPr sz="1800">
                <a:solidFill>
                  <a:schemeClr val="bg2">
                    <a:lumMod val="25000"/>
                  </a:schemeClr>
                </a:solidFill>
              </a:defRPr>
            </a:lvl6pPr>
            <a:lvl7pPr marL="1509074" indent="-215537">
              <a:spcBef>
                <a:spcPts val="0"/>
              </a:spcBef>
              <a:buFont typeface="Calibri" panose="020F0502020204030204" pitchFamily="34" charset="0"/>
              <a:buChar char="─"/>
              <a:defRPr sz="1800">
                <a:solidFill>
                  <a:schemeClr val="bg2">
                    <a:lumMod val="25000"/>
                  </a:schemeClr>
                </a:solidFill>
              </a:defRPr>
            </a:lvl7pPr>
            <a:lvl8pPr marL="1724646" indent="-215537">
              <a:spcBef>
                <a:spcPts val="0"/>
              </a:spcBef>
              <a:buFont typeface="Calibri" panose="020F0502020204030204" pitchFamily="34" charset="0"/>
              <a:buChar char="─"/>
              <a:defRPr sz="1800">
                <a:solidFill>
                  <a:schemeClr val="bg2">
                    <a:lumMod val="25000"/>
                  </a:schemeClr>
                </a:solidFill>
              </a:defRPr>
            </a:lvl8pPr>
            <a:lvl9pPr marL="1940255" indent="-215537">
              <a:spcBef>
                <a:spcPts val="0"/>
              </a:spcBef>
              <a:buFont typeface="Calibri" panose="020F0502020204030204" pitchFamily="34" charset="0"/>
              <a:buChar char="─"/>
              <a:defRPr sz="1800">
                <a:solidFill>
                  <a:schemeClr val="bg2">
                    <a:lumMod val="25000"/>
                  </a:schemeClr>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7554559" y="4819463"/>
            <a:ext cx="1080008" cy="14897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6" name="Textplatzhalter 4"/>
          <p:cNvSpPr>
            <a:spLocks noGrp="1"/>
          </p:cNvSpPr>
          <p:nvPr>
            <p:ph type="body" sz="quarter" idx="14"/>
          </p:nvPr>
        </p:nvSpPr>
        <p:spPr>
          <a:xfrm>
            <a:off x="6146995" y="1214439"/>
            <a:ext cx="2484000" cy="3463546"/>
          </a:xfrm>
          <a:prstGeom prst="rect">
            <a:avLst/>
          </a:prstGeom>
        </p:spPr>
        <p:txBody>
          <a:bodyPr lIns="0" tIns="0" rIns="0" bIns="0" spcCol="431180"/>
          <a:lstStyle>
            <a:lvl1pPr marL="179650" indent="-179650">
              <a:spcBef>
                <a:spcPts val="0"/>
              </a:spcBef>
              <a:defRPr sz="1300">
                <a:solidFill>
                  <a:srgbClr val="5D5D5D"/>
                </a:solidFill>
              </a:defRPr>
            </a:lvl1pPr>
            <a:lvl2pPr marL="359298" indent="-179650">
              <a:spcBef>
                <a:spcPts val="0"/>
              </a:spcBef>
              <a:defRPr sz="1300">
                <a:solidFill>
                  <a:srgbClr val="5D5D5D"/>
                </a:solidFill>
              </a:defRPr>
            </a:lvl2pPr>
            <a:lvl3pPr marL="553346" indent="-179650">
              <a:spcBef>
                <a:spcPts val="0"/>
              </a:spcBef>
              <a:buFont typeface="Wingdings" panose="05000000000000000000" pitchFamily="2" charset="2"/>
              <a:buChar char="§"/>
              <a:defRPr sz="1300">
                <a:solidFill>
                  <a:srgbClr val="5D5D5D"/>
                </a:solidFill>
              </a:defRPr>
            </a:lvl3pPr>
            <a:lvl4pPr marL="718596" indent="-179650">
              <a:spcBef>
                <a:spcPts val="0"/>
              </a:spcBef>
              <a:buFont typeface="Arial" panose="020B0604020202020204" pitchFamily="34" charset="0"/>
              <a:buChar char="•"/>
              <a:defRPr sz="1300">
                <a:solidFill>
                  <a:srgbClr val="5D5D5D"/>
                </a:solidFill>
              </a:defRPr>
            </a:lvl4pPr>
            <a:lvl5pPr marL="898246" indent="-179650">
              <a:spcBef>
                <a:spcPts val="0"/>
              </a:spcBef>
              <a:buFont typeface="Calibri" panose="020F0502020204030204" pitchFamily="34" charset="0"/>
              <a:buChar char="─"/>
              <a:defRPr sz="1300">
                <a:solidFill>
                  <a:srgbClr val="5D5D5D"/>
                </a:solidFill>
              </a:defRPr>
            </a:lvl5pPr>
            <a:lvl6pPr marL="1293478" indent="-228132">
              <a:spcBef>
                <a:spcPts val="0"/>
              </a:spcBef>
              <a:buFont typeface="Calibri" panose="020F0502020204030204" pitchFamily="34" charset="0"/>
              <a:buChar char="─"/>
              <a:defRPr sz="1800">
                <a:solidFill>
                  <a:schemeClr val="bg2">
                    <a:lumMod val="25000"/>
                  </a:schemeClr>
                </a:solidFill>
              </a:defRPr>
            </a:lvl6pPr>
            <a:lvl7pPr marL="1509074" indent="-215537">
              <a:spcBef>
                <a:spcPts val="0"/>
              </a:spcBef>
              <a:buFont typeface="Calibri" panose="020F0502020204030204" pitchFamily="34" charset="0"/>
              <a:buChar char="─"/>
              <a:defRPr sz="1800">
                <a:solidFill>
                  <a:schemeClr val="bg2">
                    <a:lumMod val="25000"/>
                  </a:schemeClr>
                </a:solidFill>
              </a:defRPr>
            </a:lvl7pPr>
            <a:lvl8pPr marL="1724646" indent="-215537">
              <a:spcBef>
                <a:spcPts val="0"/>
              </a:spcBef>
              <a:buFont typeface="Calibri" panose="020F0502020204030204" pitchFamily="34" charset="0"/>
              <a:buChar char="─"/>
              <a:defRPr sz="1800">
                <a:solidFill>
                  <a:schemeClr val="bg2">
                    <a:lumMod val="25000"/>
                  </a:schemeClr>
                </a:solidFill>
              </a:defRPr>
            </a:lvl8pPr>
            <a:lvl9pPr marL="1940255" indent="-215537">
              <a:spcBef>
                <a:spcPts val="0"/>
              </a:spcBef>
              <a:buFont typeface="Calibri" panose="020F0502020204030204" pitchFamily="34" charset="0"/>
              <a:buChar char="─"/>
              <a:defRPr sz="1800">
                <a:solidFill>
                  <a:schemeClr val="bg2">
                    <a:lumMod val="25000"/>
                  </a:schemeClr>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platzhalter 4"/>
          <p:cNvSpPr>
            <a:spLocks noGrp="1"/>
          </p:cNvSpPr>
          <p:nvPr>
            <p:ph type="body" sz="quarter" idx="15"/>
          </p:nvPr>
        </p:nvSpPr>
        <p:spPr>
          <a:xfrm>
            <a:off x="3330614" y="1214439"/>
            <a:ext cx="2484000" cy="3463546"/>
          </a:xfrm>
          <a:prstGeom prst="rect">
            <a:avLst/>
          </a:prstGeom>
        </p:spPr>
        <p:txBody>
          <a:bodyPr lIns="0" tIns="0" rIns="0" bIns="0" spcCol="431180"/>
          <a:lstStyle>
            <a:lvl1pPr marL="179650" indent="-179650">
              <a:spcBef>
                <a:spcPts val="0"/>
              </a:spcBef>
              <a:defRPr sz="1300">
                <a:solidFill>
                  <a:srgbClr val="5D5D5D"/>
                </a:solidFill>
              </a:defRPr>
            </a:lvl1pPr>
            <a:lvl2pPr marL="359298" indent="-179650">
              <a:spcBef>
                <a:spcPts val="0"/>
              </a:spcBef>
              <a:defRPr sz="1300">
                <a:solidFill>
                  <a:srgbClr val="5D5D5D"/>
                </a:solidFill>
              </a:defRPr>
            </a:lvl2pPr>
            <a:lvl3pPr marL="553346" indent="-179650">
              <a:spcBef>
                <a:spcPts val="0"/>
              </a:spcBef>
              <a:buFont typeface="Wingdings" panose="05000000000000000000" pitchFamily="2" charset="2"/>
              <a:buChar char="§"/>
              <a:defRPr sz="1300">
                <a:solidFill>
                  <a:srgbClr val="5D5D5D"/>
                </a:solidFill>
              </a:defRPr>
            </a:lvl3pPr>
            <a:lvl4pPr marL="718596" indent="-179650">
              <a:spcBef>
                <a:spcPts val="0"/>
              </a:spcBef>
              <a:buFont typeface="Arial" panose="020B0604020202020204" pitchFamily="34" charset="0"/>
              <a:buChar char="•"/>
              <a:defRPr sz="1300">
                <a:solidFill>
                  <a:srgbClr val="5D5D5D"/>
                </a:solidFill>
              </a:defRPr>
            </a:lvl4pPr>
            <a:lvl5pPr marL="898246" indent="-179650">
              <a:spcBef>
                <a:spcPts val="0"/>
              </a:spcBef>
              <a:buFont typeface="Calibri" panose="020F0502020204030204" pitchFamily="34" charset="0"/>
              <a:buChar char="─"/>
              <a:defRPr sz="1300">
                <a:solidFill>
                  <a:srgbClr val="5D5D5D"/>
                </a:solidFill>
              </a:defRPr>
            </a:lvl5pPr>
            <a:lvl6pPr marL="1293478" indent="-228132">
              <a:spcBef>
                <a:spcPts val="0"/>
              </a:spcBef>
              <a:buFont typeface="Calibri" panose="020F0502020204030204" pitchFamily="34" charset="0"/>
              <a:buChar char="─"/>
              <a:defRPr sz="1800">
                <a:solidFill>
                  <a:schemeClr val="bg2">
                    <a:lumMod val="25000"/>
                  </a:schemeClr>
                </a:solidFill>
              </a:defRPr>
            </a:lvl6pPr>
            <a:lvl7pPr marL="1509074" indent="-215537">
              <a:spcBef>
                <a:spcPts val="0"/>
              </a:spcBef>
              <a:buFont typeface="Calibri" panose="020F0502020204030204" pitchFamily="34" charset="0"/>
              <a:buChar char="─"/>
              <a:defRPr sz="1800">
                <a:solidFill>
                  <a:schemeClr val="bg2">
                    <a:lumMod val="25000"/>
                  </a:schemeClr>
                </a:solidFill>
              </a:defRPr>
            </a:lvl7pPr>
            <a:lvl8pPr marL="1724646" indent="-215537">
              <a:spcBef>
                <a:spcPts val="0"/>
              </a:spcBef>
              <a:buFont typeface="Calibri" panose="020F0502020204030204" pitchFamily="34" charset="0"/>
              <a:buChar char="─"/>
              <a:defRPr sz="1800">
                <a:solidFill>
                  <a:schemeClr val="bg2">
                    <a:lumMod val="25000"/>
                  </a:schemeClr>
                </a:solidFill>
              </a:defRPr>
            </a:lvl8pPr>
            <a:lvl9pPr marL="1940255" indent="-215537">
              <a:spcBef>
                <a:spcPts val="0"/>
              </a:spcBef>
              <a:buFont typeface="Calibri" panose="020F0502020204030204" pitchFamily="34" charset="0"/>
              <a:buChar char="─"/>
              <a:defRPr sz="1800">
                <a:solidFill>
                  <a:schemeClr val="bg2">
                    <a:lumMod val="25000"/>
                  </a:schemeClr>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0" hasCustomPrompt="1"/>
          </p:nvPr>
        </p:nvSpPr>
        <p:spPr>
          <a:xfrm>
            <a:off x="514235" y="180987"/>
            <a:ext cx="8117007" cy="384576"/>
          </a:xfrm>
          <a:prstGeom prst="rect">
            <a:avLst/>
          </a:prstGeom>
        </p:spPr>
        <p:txBody>
          <a:bodyPr lIns="0" tIns="0" rIns="0" bIns="0" anchor="t"/>
          <a:lstStyle>
            <a:lvl1pPr marL="0" indent="0" algn="l">
              <a:spcBef>
                <a:spcPts val="0"/>
              </a:spcBef>
              <a:buFontTx/>
              <a:buNone/>
              <a:defRPr sz="3500" baseline="0">
                <a:solidFill>
                  <a:srgbClr val="0B2265"/>
                </a:solidFill>
              </a:defRPr>
            </a:lvl1pPr>
          </a:lstStyle>
          <a:p>
            <a:pPr lvl="0"/>
            <a:r>
              <a:rPr lang="de-DE" dirty="0"/>
              <a:t>Click to add title</a:t>
            </a:r>
          </a:p>
        </p:txBody>
      </p:sp>
      <p:sp>
        <p:nvSpPr>
          <p:cNvPr id="10" name="Textplatzhalter 3"/>
          <p:cNvSpPr>
            <a:spLocks noGrp="1"/>
          </p:cNvSpPr>
          <p:nvPr>
            <p:ph type="body" sz="quarter" idx="12" hasCustomPrompt="1"/>
          </p:nvPr>
        </p:nvSpPr>
        <p:spPr>
          <a:xfrm>
            <a:off x="514233" y="542867"/>
            <a:ext cx="8117008" cy="280800"/>
          </a:xfrm>
          <a:prstGeom prst="rect">
            <a:avLst/>
          </a:prstGeom>
        </p:spPr>
        <p:txBody>
          <a:bodyPr lIns="0" tIns="0" rIns="0" bIns="0"/>
          <a:lstStyle>
            <a:lvl1pPr marL="0" indent="0">
              <a:spcBef>
                <a:spcPts val="0"/>
              </a:spcBef>
              <a:buFontTx/>
              <a:buNone/>
              <a:defRPr sz="2100">
                <a:solidFill>
                  <a:srgbClr val="005A8B"/>
                </a:solidFill>
              </a:defRPr>
            </a:lvl1pPr>
          </a:lstStyle>
          <a:p>
            <a:pPr lvl="0"/>
            <a:r>
              <a:rPr lang="de-DE" dirty="0"/>
              <a:t>Click </a:t>
            </a:r>
            <a:r>
              <a:rPr lang="de-DE" dirty="0" err="1"/>
              <a:t>to</a:t>
            </a:r>
            <a:r>
              <a:rPr lang="de-DE" dirty="0"/>
              <a:t> </a:t>
            </a:r>
            <a:r>
              <a:rPr lang="de-DE" dirty="0" err="1"/>
              <a:t>add</a:t>
            </a:r>
            <a:r>
              <a:rPr lang="de-DE" dirty="0"/>
              <a:t> </a:t>
            </a:r>
            <a:r>
              <a:rPr lang="de-DE" dirty="0" err="1"/>
              <a:t>subtitle</a:t>
            </a:r>
            <a:endParaRPr lang="de-DE" dirty="0"/>
          </a:p>
        </p:txBody>
      </p:sp>
    </p:spTree>
    <p:extLst>
      <p:ext uri="{BB962C8B-B14F-4D97-AF65-F5344CB8AC3E}">
        <p14:creationId xmlns:p14="http://schemas.microsoft.com/office/powerpoint/2010/main" val="391872294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images">
    <p:spTree>
      <p:nvGrpSpPr>
        <p:cNvPr id="1" name=""/>
        <p:cNvGrpSpPr/>
        <p:nvPr/>
      </p:nvGrpSpPr>
      <p:grpSpPr>
        <a:xfrm>
          <a:off x="0" y="0"/>
          <a:ext cx="0" cy="0"/>
          <a:chOff x="0" y="0"/>
          <a:chExt cx="0" cy="0"/>
        </a:xfrm>
      </p:grpSpPr>
      <p:sp>
        <p:nvSpPr>
          <p:cNvPr id="10" name="Inhaltsplatzhalter 13"/>
          <p:cNvSpPr>
            <a:spLocks noGrp="1"/>
          </p:cNvSpPr>
          <p:nvPr>
            <p:ph sz="quarter" idx="2" hasCustomPrompt="1"/>
            <p:custDataLst>
              <p:tags r:id="rId1"/>
            </p:custDataLst>
          </p:nvPr>
        </p:nvSpPr>
        <p:spPr>
          <a:xfrm>
            <a:off x="4743238" y="1214438"/>
            <a:ext cx="3888000" cy="1964532"/>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lstStyle>
            <a:lvl1pPr marL="0" indent="0">
              <a:buFontTx/>
              <a:buNone/>
              <a:defRPr sz="2200"/>
            </a:lvl1pPr>
          </a:lstStyle>
          <a:p>
            <a:r>
              <a:rPr lang="de-DE" dirty="0" err="1">
                <a:solidFill>
                  <a:srgbClr val="FFFFFF"/>
                </a:solidFill>
              </a:rPr>
              <a:t>Choose</a:t>
            </a:r>
            <a:r>
              <a:rPr lang="de-DE" dirty="0">
                <a:solidFill>
                  <a:srgbClr val="FFFFFF"/>
                </a:solidFill>
              </a:rPr>
              <a:t> </a:t>
            </a:r>
            <a:r>
              <a:rPr lang="de-DE" dirty="0" err="1">
                <a:solidFill>
                  <a:srgbClr val="FFFFFF"/>
                </a:solidFill>
              </a:rPr>
              <a:t>icon</a:t>
            </a:r>
            <a:r>
              <a:rPr lang="de-DE" dirty="0">
                <a:solidFill>
                  <a:srgbClr val="FFFFFF"/>
                </a:solidFill>
              </a:rPr>
              <a:t> </a:t>
            </a:r>
            <a:r>
              <a:rPr lang="de-DE" dirty="0" err="1">
                <a:solidFill>
                  <a:srgbClr val="FFFFFF"/>
                </a:solidFill>
              </a:rPr>
              <a:t>to</a:t>
            </a:r>
            <a:r>
              <a:rPr lang="de-DE" dirty="0">
                <a:solidFill>
                  <a:srgbClr val="FFFFFF"/>
                </a:solidFill>
              </a:rPr>
              <a:t> </a:t>
            </a:r>
            <a:r>
              <a:rPr lang="de-DE" dirty="0" err="1">
                <a:solidFill>
                  <a:srgbClr val="FFFFFF"/>
                </a:solidFill>
              </a:rPr>
              <a:t>add</a:t>
            </a:r>
            <a:r>
              <a:rPr lang="de-DE" dirty="0">
                <a:solidFill>
                  <a:srgbClr val="FFFFFF"/>
                </a:solidFill>
              </a:rPr>
              <a:t> </a:t>
            </a:r>
            <a:r>
              <a:rPr lang="de-DE" dirty="0" err="1">
                <a:solidFill>
                  <a:srgbClr val="FFFFFF"/>
                </a:solidFill>
              </a:rPr>
              <a:t>image</a:t>
            </a:r>
            <a:endParaRPr lang="en-US" dirty="0">
              <a:solidFill>
                <a:srgbClr val="FFFFFF"/>
              </a:solidFill>
            </a:endParaRPr>
          </a:p>
        </p:txBody>
      </p:sp>
      <p:sp>
        <p:nvSpPr>
          <p:cNvPr id="12" name="Inhaltsplatzhalter 14"/>
          <p:cNvSpPr>
            <a:spLocks noGrp="1"/>
          </p:cNvSpPr>
          <p:nvPr>
            <p:ph sz="quarter" idx="1" hasCustomPrompt="1"/>
            <p:custDataLst>
              <p:tags r:id="rId2"/>
            </p:custDataLst>
          </p:nvPr>
        </p:nvSpPr>
        <p:spPr>
          <a:xfrm>
            <a:off x="517407" y="1214438"/>
            <a:ext cx="3888000" cy="1964532"/>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lstStyle>
            <a:lvl1pPr marL="0" indent="0">
              <a:buFontTx/>
              <a:buNone/>
              <a:defRPr sz="2200"/>
            </a:lvl1pPr>
          </a:lstStyle>
          <a:p>
            <a:r>
              <a:rPr lang="de-DE" dirty="0" err="1">
                <a:solidFill>
                  <a:srgbClr val="FFFFFF"/>
                </a:solidFill>
              </a:rPr>
              <a:t>Choose</a:t>
            </a:r>
            <a:r>
              <a:rPr lang="de-DE" dirty="0">
                <a:solidFill>
                  <a:srgbClr val="FFFFFF"/>
                </a:solidFill>
              </a:rPr>
              <a:t> </a:t>
            </a:r>
            <a:r>
              <a:rPr lang="de-DE" dirty="0" err="1">
                <a:solidFill>
                  <a:srgbClr val="FFFFFF"/>
                </a:solidFill>
              </a:rPr>
              <a:t>icon</a:t>
            </a:r>
            <a:r>
              <a:rPr lang="de-DE" dirty="0">
                <a:solidFill>
                  <a:srgbClr val="FFFFFF"/>
                </a:solidFill>
              </a:rPr>
              <a:t> </a:t>
            </a:r>
            <a:r>
              <a:rPr lang="de-DE" dirty="0" err="1">
                <a:solidFill>
                  <a:srgbClr val="FFFFFF"/>
                </a:solidFill>
              </a:rPr>
              <a:t>to</a:t>
            </a:r>
            <a:r>
              <a:rPr lang="de-DE" dirty="0">
                <a:solidFill>
                  <a:srgbClr val="FFFFFF"/>
                </a:solidFill>
              </a:rPr>
              <a:t> </a:t>
            </a:r>
            <a:r>
              <a:rPr lang="de-DE" dirty="0" err="1">
                <a:solidFill>
                  <a:srgbClr val="FFFFFF"/>
                </a:solidFill>
              </a:rPr>
              <a:t>add</a:t>
            </a:r>
            <a:r>
              <a:rPr lang="de-DE" dirty="0">
                <a:solidFill>
                  <a:srgbClr val="FFFFFF"/>
                </a:solidFill>
              </a:rPr>
              <a:t> </a:t>
            </a:r>
            <a:r>
              <a:rPr lang="de-DE" dirty="0" err="1">
                <a:solidFill>
                  <a:srgbClr val="FFFFFF"/>
                </a:solidFill>
              </a:rPr>
              <a:t>image</a:t>
            </a:r>
            <a:endParaRPr lang="en-US" dirty="0">
              <a:solidFill>
                <a:srgbClr val="FFFFFF"/>
              </a:solidFill>
            </a:endParaRPr>
          </a:p>
        </p:txBody>
      </p:sp>
      <p:sp>
        <p:nvSpPr>
          <p:cNvPr id="3" name="Textplatzhalter 2"/>
          <p:cNvSpPr>
            <a:spLocks noGrp="1"/>
          </p:cNvSpPr>
          <p:nvPr>
            <p:ph type="body" sz="quarter" idx="13"/>
          </p:nvPr>
        </p:nvSpPr>
        <p:spPr>
          <a:xfrm>
            <a:off x="517434" y="3322426"/>
            <a:ext cx="3882803" cy="1355558"/>
          </a:xfrm>
          <a:prstGeom prst="rect">
            <a:avLst/>
          </a:prstGeom>
        </p:spPr>
        <p:txBody>
          <a:bodyPr lIns="0" tIns="0" rIns="0" bIns="0"/>
          <a:lstStyle>
            <a:lvl1pPr marL="179650" indent="-179650">
              <a:spcBef>
                <a:spcPts val="0"/>
              </a:spcBef>
              <a:buFont typeface="Arial"/>
              <a:buChar char="•"/>
              <a:defRPr sz="1300" baseline="0">
                <a:solidFill>
                  <a:srgbClr val="5D5E5E"/>
                </a:solidFill>
              </a:defRPr>
            </a:lvl1pPr>
            <a:lvl2pPr marL="359298" indent="-179650">
              <a:spcBef>
                <a:spcPts val="0"/>
              </a:spcBef>
              <a:defRPr sz="1300">
                <a:solidFill>
                  <a:srgbClr val="5D5E5E"/>
                </a:solidFill>
              </a:defRPr>
            </a:lvl2pPr>
            <a:lvl3pPr marL="538948" indent="-179650">
              <a:spcBef>
                <a:spcPts val="0"/>
              </a:spcBef>
              <a:buFont typeface="Wingdings" panose="05000000000000000000" pitchFamily="2" charset="2"/>
              <a:buChar char="§"/>
              <a:defRPr sz="1300">
                <a:solidFill>
                  <a:srgbClr val="5D5E5E"/>
                </a:solidFill>
              </a:defRPr>
            </a:lvl3pPr>
            <a:lvl4pPr marL="718596" indent="-179650" algn="l" defTabSz="912644" rtl="0" eaLnBrk="1" latinLnBrk="0" hangingPunct="1">
              <a:spcBef>
                <a:spcPts val="0"/>
              </a:spcBef>
              <a:buFont typeface="Arial" panose="020B0604020202020204" pitchFamily="34" charset="0"/>
              <a:buChar char="•"/>
              <a:defRPr lang="de-DE" sz="1300" kern="1200" dirty="0" smtClean="0">
                <a:solidFill>
                  <a:srgbClr val="5D5E5E"/>
                </a:solidFill>
                <a:latin typeface="+mn-lt"/>
                <a:ea typeface="+mn-ea"/>
                <a:cs typeface="+mn-cs"/>
              </a:defRPr>
            </a:lvl4pPr>
            <a:lvl5pPr marL="898246" indent="-179650">
              <a:spcBef>
                <a:spcPts val="0"/>
              </a:spcBef>
              <a:buFont typeface="Calibri" panose="020F0502020204030204" pitchFamily="34" charset="0"/>
              <a:buChar char="─"/>
              <a:defRPr sz="1300">
                <a:solidFill>
                  <a:srgbClr val="5D5E5E"/>
                </a:solidFill>
              </a:defRPr>
            </a:lvl5pPr>
            <a:lvl6pPr marL="359298" indent="-179650">
              <a:spcBef>
                <a:spcPts val="0"/>
              </a:spcBef>
              <a:buFont typeface="Calibri" panose="020F0502020204030204" pitchFamily="34" charset="0"/>
              <a:buChar char="─"/>
              <a:defRPr sz="1600"/>
            </a:lvl6pPr>
            <a:lvl7pPr marL="359298" indent="-179650">
              <a:spcBef>
                <a:spcPts val="0"/>
              </a:spcBef>
              <a:buFont typeface="Calibri" panose="020F0502020204030204" pitchFamily="34" charset="0"/>
              <a:buChar char="─"/>
              <a:defRPr sz="1600"/>
            </a:lvl7pPr>
            <a:lvl8pPr marL="359298" indent="-179650">
              <a:spcBef>
                <a:spcPts val="0"/>
              </a:spcBef>
              <a:buFont typeface="Calibri" panose="020F0502020204030204" pitchFamily="34" charset="0"/>
              <a:buChar char="─"/>
              <a:defRPr sz="1600"/>
            </a:lvl8pPr>
            <a:lvl9pPr marL="359298" indent="-179650">
              <a:spcBef>
                <a:spcPts val="0"/>
              </a:spcBef>
              <a:buFont typeface="Calibri" panose="020F0502020204030204" pitchFamily="34" charset="0"/>
              <a:buChar cha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7554559" y="4819463"/>
            <a:ext cx="1080008" cy="14897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8" name="Textplatzhalter 2"/>
          <p:cNvSpPr>
            <a:spLocks noGrp="1"/>
          </p:cNvSpPr>
          <p:nvPr>
            <p:ph type="body" sz="quarter" idx="14"/>
          </p:nvPr>
        </p:nvSpPr>
        <p:spPr>
          <a:xfrm>
            <a:off x="4743317" y="3322426"/>
            <a:ext cx="3882803" cy="1355558"/>
          </a:xfrm>
          <a:prstGeom prst="rect">
            <a:avLst/>
          </a:prstGeom>
        </p:spPr>
        <p:txBody>
          <a:bodyPr lIns="0" tIns="0" rIns="0" bIns="0"/>
          <a:lstStyle>
            <a:lvl1pPr marL="179650" indent="-179650">
              <a:spcBef>
                <a:spcPts val="0"/>
              </a:spcBef>
              <a:buFont typeface="Arial"/>
              <a:buChar char="•"/>
              <a:defRPr sz="1300" baseline="0">
                <a:solidFill>
                  <a:srgbClr val="5D5E5E"/>
                </a:solidFill>
              </a:defRPr>
            </a:lvl1pPr>
            <a:lvl2pPr marL="359298" indent="-179650">
              <a:spcBef>
                <a:spcPts val="0"/>
              </a:spcBef>
              <a:defRPr sz="1300">
                <a:solidFill>
                  <a:srgbClr val="5D5E5E"/>
                </a:solidFill>
              </a:defRPr>
            </a:lvl2pPr>
            <a:lvl3pPr marL="538948" indent="-179650">
              <a:spcBef>
                <a:spcPts val="0"/>
              </a:spcBef>
              <a:buFont typeface="Wingdings" panose="05000000000000000000" pitchFamily="2" charset="2"/>
              <a:buChar char="§"/>
              <a:defRPr sz="1300">
                <a:solidFill>
                  <a:srgbClr val="5D5E5E"/>
                </a:solidFill>
              </a:defRPr>
            </a:lvl3pPr>
            <a:lvl4pPr marL="718596" indent="-179650" algn="l" defTabSz="912644" rtl="0" eaLnBrk="1" latinLnBrk="0" hangingPunct="1">
              <a:spcBef>
                <a:spcPts val="0"/>
              </a:spcBef>
              <a:buFont typeface="Arial" panose="020B0604020202020204" pitchFamily="34" charset="0"/>
              <a:buChar char="•"/>
              <a:defRPr lang="de-DE" sz="1300" kern="1200" dirty="0" smtClean="0">
                <a:solidFill>
                  <a:srgbClr val="5D5E5E"/>
                </a:solidFill>
                <a:latin typeface="+mn-lt"/>
                <a:ea typeface="+mn-ea"/>
                <a:cs typeface="+mn-cs"/>
              </a:defRPr>
            </a:lvl4pPr>
            <a:lvl5pPr marL="898246" indent="-179650">
              <a:spcBef>
                <a:spcPts val="0"/>
              </a:spcBef>
              <a:buFont typeface="Calibri" panose="020F0502020204030204" pitchFamily="34" charset="0"/>
              <a:buChar char="─"/>
              <a:defRPr sz="1300">
                <a:solidFill>
                  <a:srgbClr val="5D5E5E"/>
                </a:solidFill>
              </a:defRPr>
            </a:lvl5pPr>
            <a:lvl6pPr marL="359298" indent="-179650">
              <a:spcBef>
                <a:spcPts val="0"/>
              </a:spcBef>
              <a:buFont typeface="Calibri" panose="020F0502020204030204" pitchFamily="34" charset="0"/>
              <a:buChar char="─"/>
              <a:defRPr sz="1600"/>
            </a:lvl6pPr>
            <a:lvl7pPr marL="359298" indent="-179650">
              <a:spcBef>
                <a:spcPts val="0"/>
              </a:spcBef>
              <a:buFont typeface="Calibri" panose="020F0502020204030204" pitchFamily="34" charset="0"/>
              <a:buChar char="─"/>
              <a:defRPr sz="1600"/>
            </a:lvl7pPr>
            <a:lvl8pPr marL="359298" indent="-179650">
              <a:spcBef>
                <a:spcPts val="0"/>
              </a:spcBef>
              <a:buFont typeface="Calibri" panose="020F0502020204030204" pitchFamily="34" charset="0"/>
              <a:buChar char="─"/>
              <a:defRPr sz="1600"/>
            </a:lvl8pPr>
            <a:lvl9pPr marL="359298" indent="-179650">
              <a:spcBef>
                <a:spcPts val="0"/>
              </a:spcBef>
              <a:buFont typeface="Calibri" panose="020F0502020204030204" pitchFamily="34" charset="0"/>
              <a:buChar cha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
          <p:cNvSpPr>
            <a:spLocks noGrp="1"/>
          </p:cNvSpPr>
          <p:nvPr>
            <p:ph type="body" sz="quarter" idx="10" hasCustomPrompt="1"/>
          </p:nvPr>
        </p:nvSpPr>
        <p:spPr>
          <a:xfrm>
            <a:off x="514235" y="180987"/>
            <a:ext cx="8117007" cy="384576"/>
          </a:xfrm>
          <a:prstGeom prst="rect">
            <a:avLst/>
          </a:prstGeom>
        </p:spPr>
        <p:txBody>
          <a:bodyPr lIns="0" tIns="0" rIns="0" bIns="0" anchor="t"/>
          <a:lstStyle>
            <a:lvl1pPr marL="0" indent="0" algn="l">
              <a:spcBef>
                <a:spcPts val="0"/>
              </a:spcBef>
              <a:buFontTx/>
              <a:buNone/>
              <a:defRPr sz="3500" baseline="0">
                <a:solidFill>
                  <a:srgbClr val="0B2265"/>
                </a:solidFill>
              </a:defRPr>
            </a:lvl1pPr>
          </a:lstStyle>
          <a:p>
            <a:pPr lvl="0"/>
            <a:r>
              <a:rPr lang="de-DE" dirty="0"/>
              <a:t>Click to add title</a:t>
            </a:r>
          </a:p>
        </p:txBody>
      </p:sp>
      <p:sp>
        <p:nvSpPr>
          <p:cNvPr id="13" name="Textplatzhalter 3"/>
          <p:cNvSpPr>
            <a:spLocks noGrp="1"/>
          </p:cNvSpPr>
          <p:nvPr>
            <p:ph type="body" sz="quarter" idx="12" hasCustomPrompt="1"/>
          </p:nvPr>
        </p:nvSpPr>
        <p:spPr>
          <a:xfrm>
            <a:off x="514233" y="542867"/>
            <a:ext cx="8117008" cy="280800"/>
          </a:xfrm>
          <a:prstGeom prst="rect">
            <a:avLst/>
          </a:prstGeom>
        </p:spPr>
        <p:txBody>
          <a:bodyPr lIns="0" tIns="0" rIns="0" bIns="0"/>
          <a:lstStyle>
            <a:lvl1pPr marL="0" indent="0">
              <a:spcBef>
                <a:spcPts val="0"/>
              </a:spcBef>
              <a:buFontTx/>
              <a:buNone/>
              <a:defRPr sz="2100">
                <a:solidFill>
                  <a:srgbClr val="005A8B"/>
                </a:solidFill>
              </a:defRPr>
            </a:lvl1pPr>
          </a:lstStyle>
          <a:p>
            <a:pPr lvl="0"/>
            <a:r>
              <a:rPr lang="de-DE" dirty="0"/>
              <a:t>Click </a:t>
            </a:r>
            <a:r>
              <a:rPr lang="de-DE" dirty="0" err="1"/>
              <a:t>to</a:t>
            </a:r>
            <a:r>
              <a:rPr lang="de-DE" dirty="0"/>
              <a:t> </a:t>
            </a:r>
            <a:r>
              <a:rPr lang="de-DE" dirty="0" err="1"/>
              <a:t>add</a:t>
            </a:r>
            <a:r>
              <a:rPr lang="de-DE" dirty="0"/>
              <a:t> </a:t>
            </a:r>
            <a:r>
              <a:rPr lang="de-DE" dirty="0" err="1"/>
              <a:t>subtitle</a:t>
            </a:r>
            <a:endParaRPr lang="de-DE" dirty="0"/>
          </a:p>
        </p:txBody>
      </p:sp>
    </p:spTree>
    <p:extLst>
      <p:ext uri="{BB962C8B-B14F-4D97-AF65-F5344CB8AC3E}">
        <p14:creationId xmlns:p14="http://schemas.microsoft.com/office/powerpoint/2010/main" val="40659816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3"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Tree>
  </p:cSld>
  <p:clrMapOvr>
    <a:masterClrMapping/>
  </p:clrMapOvr>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tent and text">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a:xfrm>
            <a:off x="4746025" y="1214439"/>
            <a:ext cx="3888000" cy="3463546"/>
          </a:xfrm>
          <a:prstGeom prst="rect">
            <a:avLst/>
          </a:prstGeom>
        </p:spPr>
        <p:txBody>
          <a:bodyPr lIns="0" tIns="0" rIns="0" bIns="0" spcCol="431180"/>
          <a:lstStyle>
            <a:lvl1pPr marL="179650" indent="-179650">
              <a:spcBef>
                <a:spcPts val="0"/>
              </a:spcBef>
              <a:defRPr sz="1300">
                <a:solidFill>
                  <a:srgbClr val="5D5D5D"/>
                </a:solidFill>
              </a:defRPr>
            </a:lvl1pPr>
            <a:lvl2pPr marL="359298" indent="-179650">
              <a:spcBef>
                <a:spcPts val="0"/>
              </a:spcBef>
              <a:defRPr sz="1300">
                <a:solidFill>
                  <a:srgbClr val="5D5D5D"/>
                </a:solidFill>
              </a:defRPr>
            </a:lvl2pPr>
            <a:lvl3pPr marL="553346" indent="-179650">
              <a:spcBef>
                <a:spcPts val="0"/>
              </a:spcBef>
              <a:buFont typeface="Wingdings" panose="05000000000000000000" pitchFamily="2" charset="2"/>
              <a:buChar char="§"/>
              <a:defRPr sz="1300">
                <a:solidFill>
                  <a:srgbClr val="5D5D5D"/>
                </a:solidFill>
              </a:defRPr>
            </a:lvl3pPr>
            <a:lvl4pPr marL="718596" indent="-179650">
              <a:spcBef>
                <a:spcPts val="0"/>
              </a:spcBef>
              <a:buFont typeface="Arial" panose="020B0604020202020204" pitchFamily="34" charset="0"/>
              <a:buChar char="•"/>
              <a:defRPr sz="1300">
                <a:solidFill>
                  <a:srgbClr val="5D5D5D"/>
                </a:solidFill>
              </a:defRPr>
            </a:lvl4pPr>
            <a:lvl5pPr marL="898246" indent="-179650">
              <a:spcBef>
                <a:spcPts val="0"/>
              </a:spcBef>
              <a:buFont typeface="Calibri" panose="020F0502020204030204" pitchFamily="34" charset="0"/>
              <a:buChar char="─"/>
              <a:defRPr sz="1300">
                <a:solidFill>
                  <a:srgbClr val="5D5D5D"/>
                </a:solidFill>
              </a:defRPr>
            </a:lvl5pPr>
            <a:lvl6pPr marL="1293478" indent="-228132">
              <a:spcBef>
                <a:spcPts val="0"/>
              </a:spcBef>
              <a:buFont typeface="Calibri" panose="020F0502020204030204" pitchFamily="34" charset="0"/>
              <a:buChar char="─"/>
              <a:defRPr sz="1800">
                <a:solidFill>
                  <a:schemeClr val="bg2">
                    <a:lumMod val="25000"/>
                  </a:schemeClr>
                </a:solidFill>
              </a:defRPr>
            </a:lvl6pPr>
            <a:lvl7pPr marL="1509074" indent="-215537">
              <a:spcBef>
                <a:spcPts val="0"/>
              </a:spcBef>
              <a:buFont typeface="Calibri" panose="020F0502020204030204" pitchFamily="34" charset="0"/>
              <a:buChar char="─"/>
              <a:defRPr sz="1800">
                <a:solidFill>
                  <a:schemeClr val="bg2">
                    <a:lumMod val="25000"/>
                  </a:schemeClr>
                </a:solidFill>
              </a:defRPr>
            </a:lvl7pPr>
            <a:lvl8pPr marL="1724646" indent="-215537">
              <a:spcBef>
                <a:spcPts val="0"/>
              </a:spcBef>
              <a:buFont typeface="Calibri" panose="020F0502020204030204" pitchFamily="34" charset="0"/>
              <a:buChar char="─"/>
              <a:defRPr sz="1800">
                <a:solidFill>
                  <a:schemeClr val="bg2">
                    <a:lumMod val="25000"/>
                  </a:schemeClr>
                </a:solidFill>
              </a:defRPr>
            </a:lvl8pPr>
            <a:lvl9pPr marL="1940255" indent="-215537">
              <a:spcBef>
                <a:spcPts val="0"/>
              </a:spcBef>
              <a:buFont typeface="Calibri" panose="020F0502020204030204" pitchFamily="34" charset="0"/>
              <a:buChar char="─"/>
              <a:defRPr sz="1800">
                <a:solidFill>
                  <a:schemeClr val="bg2">
                    <a:lumMod val="25000"/>
                  </a:schemeClr>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7554559" y="4819463"/>
            <a:ext cx="1080008" cy="14897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3" name="Content Placeholder 2"/>
          <p:cNvSpPr>
            <a:spLocks noGrp="1"/>
          </p:cNvSpPr>
          <p:nvPr>
            <p:ph sz="quarter" idx="14"/>
          </p:nvPr>
        </p:nvSpPr>
        <p:spPr>
          <a:xfrm>
            <a:off x="514230" y="1216286"/>
            <a:ext cx="3887736" cy="3465252"/>
          </a:xfrm>
          <a:prstGeom prst="rect">
            <a:avLst/>
          </a:prstGeom>
        </p:spPr>
        <p:txBody>
          <a:bodyPr vert="horz" lIns="0" tIns="0" rIns="0" bIns="0"/>
          <a:lstStyle>
            <a:lvl1pPr marL="179650" indent="-179650">
              <a:defRPr sz="1300">
                <a:solidFill>
                  <a:schemeClr val="bg1"/>
                </a:solidFill>
              </a:defRPr>
            </a:lvl1pPr>
            <a:lvl2pPr>
              <a:defRPr sz="1300"/>
            </a:lvl2pPr>
            <a:lvl3pPr>
              <a:defRPr sz="1300"/>
            </a:lvl3pPr>
            <a:lvl4pPr>
              <a:defRPr sz="1300"/>
            </a:lvl4pPr>
            <a:lvl5pPr>
              <a:defRPr sz="1300"/>
            </a:lvl5pPr>
          </a:lstStyle>
          <a:p>
            <a:pPr lvl="0"/>
            <a:r>
              <a:rPr lang="en-US" dirty="0"/>
              <a:t>Click to edit Master text styles</a:t>
            </a:r>
          </a:p>
        </p:txBody>
      </p:sp>
      <p:sp>
        <p:nvSpPr>
          <p:cNvPr id="7" name="Text Placeholder 2"/>
          <p:cNvSpPr>
            <a:spLocks noGrp="1"/>
          </p:cNvSpPr>
          <p:nvPr>
            <p:ph type="body" sz="quarter" idx="10" hasCustomPrompt="1"/>
          </p:nvPr>
        </p:nvSpPr>
        <p:spPr>
          <a:xfrm>
            <a:off x="514235" y="180987"/>
            <a:ext cx="8117007" cy="384576"/>
          </a:xfrm>
          <a:prstGeom prst="rect">
            <a:avLst/>
          </a:prstGeom>
        </p:spPr>
        <p:txBody>
          <a:bodyPr lIns="0" tIns="0" rIns="0" bIns="0" anchor="t"/>
          <a:lstStyle>
            <a:lvl1pPr marL="0" indent="0" algn="l">
              <a:spcBef>
                <a:spcPts val="0"/>
              </a:spcBef>
              <a:buFontTx/>
              <a:buNone/>
              <a:defRPr sz="3500" baseline="0">
                <a:solidFill>
                  <a:srgbClr val="0B2265"/>
                </a:solidFill>
              </a:defRPr>
            </a:lvl1pPr>
          </a:lstStyle>
          <a:p>
            <a:pPr lvl="0"/>
            <a:r>
              <a:rPr lang="de-DE" dirty="0"/>
              <a:t>Click to add title</a:t>
            </a:r>
          </a:p>
        </p:txBody>
      </p:sp>
      <p:sp>
        <p:nvSpPr>
          <p:cNvPr id="9" name="Textplatzhalter 3"/>
          <p:cNvSpPr>
            <a:spLocks noGrp="1"/>
          </p:cNvSpPr>
          <p:nvPr>
            <p:ph type="body" sz="quarter" idx="12" hasCustomPrompt="1"/>
          </p:nvPr>
        </p:nvSpPr>
        <p:spPr>
          <a:xfrm>
            <a:off x="514233" y="542867"/>
            <a:ext cx="8117008" cy="280800"/>
          </a:xfrm>
          <a:prstGeom prst="rect">
            <a:avLst/>
          </a:prstGeom>
        </p:spPr>
        <p:txBody>
          <a:bodyPr lIns="0" tIns="0" rIns="0" bIns="0"/>
          <a:lstStyle>
            <a:lvl1pPr marL="0" indent="0">
              <a:spcBef>
                <a:spcPts val="0"/>
              </a:spcBef>
              <a:buFontTx/>
              <a:buNone/>
              <a:defRPr sz="2100">
                <a:solidFill>
                  <a:srgbClr val="005A8B"/>
                </a:solidFill>
              </a:defRPr>
            </a:lvl1pPr>
          </a:lstStyle>
          <a:p>
            <a:pPr lvl="0"/>
            <a:r>
              <a:rPr lang="de-DE" dirty="0"/>
              <a:t>Click </a:t>
            </a:r>
            <a:r>
              <a:rPr lang="de-DE" dirty="0" err="1"/>
              <a:t>to</a:t>
            </a:r>
            <a:r>
              <a:rPr lang="de-DE" dirty="0"/>
              <a:t> </a:t>
            </a:r>
            <a:r>
              <a:rPr lang="de-DE" dirty="0" err="1"/>
              <a:t>add</a:t>
            </a:r>
            <a:r>
              <a:rPr lang="de-DE" dirty="0"/>
              <a:t> </a:t>
            </a:r>
            <a:r>
              <a:rPr lang="de-DE" dirty="0" err="1"/>
              <a:t>subtitle</a:t>
            </a:r>
            <a:endParaRPr lang="de-DE" dirty="0"/>
          </a:p>
        </p:txBody>
      </p:sp>
    </p:spTree>
    <p:extLst>
      <p:ext uri="{BB962C8B-B14F-4D97-AF65-F5344CB8AC3E}">
        <p14:creationId xmlns:p14="http://schemas.microsoft.com/office/powerpoint/2010/main" val="288796257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Horizontal image">
    <p:spTree>
      <p:nvGrpSpPr>
        <p:cNvPr id="1" name=""/>
        <p:cNvGrpSpPr/>
        <p:nvPr/>
      </p:nvGrpSpPr>
      <p:grpSpPr>
        <a:xfrm>
          <a:off x="0" y="0"/>
          <a:ext cx="0" cy="0"/>
          <a:chOff x="0" y="0"/>
          <a:chExt cx="0" cy="0"/>
        </a:xfrm>
      </p:grpSpPr>
      <p:sp>
        <p:nvSpPr>
          <p:cNvPr id="8" name="Inhaltsplatzhalter 6"/>
          <p:cNvSpPr>
            <a:spLocks noGrp="1"/>
          </p:cNvSpPr>
          <p:nvPr>
            <p:ph sz="half" idx="2" hasCustomPrompt="1"/>
            <p:custDataLst>
              <p:tags r:id="rId1"/>
            </p:custDataLst>
          </p:nvPr>
        </p:nvSpPr>
        <p:spPr>
          <a:xfrm>
            <a:off x="1" y="1214448"/>
            <a:ext cx="5652120" cy="3463547"/>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lstStyle>
            <a:lvl1pPr marL="0" indent="0">
              <a:buFontTx/>
              <a:buNone/>
              <a:defRPr sz="2200">
                <a:solidFill>
                  <a:schemeClr val="tx1"/>
                </a:solidFill>
              </a:defRPr>
            </a:lvl1pPr>
          </a:lstStyle>
          <a:p>
            <a:r>
              <a:rPr lang="de-DE" dirty="0" err="1">
                <a:solidFill>
                  <a:srgbClr val="FFFFFF"/>
                </a:solidFill>
              </a:rPr>
              <a:t>Choose</a:t>
            </a:r>
            <a:r>
              <a:rPr lang="de-DE" dirty="0">
                <a:solidFill>
                  <a:srgbClr val="FFFFFF"/>
                </a:solidFill>
              </a:rPr>
              <a:t> </a:t>
            </a:r>
            <a:r>
              <a:rPr lang="de-DE" dirty="0" err="1">
                <a:solidFill>
                  <a:srgbClr val="FFFFFF"/>
                </a:solidFill>
              </a:rPr>
              <a:t>icon</a:t>
            </a:r>
            <a:r>
              <a:rPr lang="de-DE" dirty="0">
                <a:solidFill>
                  <a:srgbClr val="FFFFFF"/>
                </a:solidFill>
              </a:rPr>
              <a:t> </a:t>
            </a:r>
            <a:r>
              <a:rPr lang="de-DE" dirty="0" err="1">
                <a:solidFill>
                  <a:srgbClr val="FFFFFF"/>
                </a:solidFill>
              </a:rPr>
              <a:t>to</a:t>
            </a:r>
            <a:r>
              <a:rPr lang="de-DE" dirty="0">
                <a:solidFill>
                  <a:srgbClr val="FFFFFF"/>
                </a:solidFill>
              </a:rPr>
              <a:t> </a:t>
            </a:r>
            <a:r>
              <a:rPr lang="de-DE" dirty="0" err="1">
                <a:solidFill>
                  <a:srgbClr val="FFFFFF"/>
                </a:solidFill>
              </a:rPr>
              <a:t>add</a:t>
            </a:r>
            <a:r>
              <a:rPr lang="de-DE" dirty="0">
                <a:solidFill>
                  <a:srgbClr val="FFFFFF"/>
                </a:solidFill>
              </a:rPr>
              <a:t> </a:t>
            </a:r>
            <a:r>
              <a:rPr lang="de-DE" dirty="0" err="1">
                <a:solidFill>
                  <a:srgbClr val="FFFFFF"/>
                </a:solidFill>
              </a:rPr>
              <a:t>image</a:t>
            </a:r>
            <a:endParaRPr lang="en-US" dirty="0">
              <a:solidFill>
                <a:srgbClr val="FFFFFF"/>
              </a:solidFill>
            </a:endParaRPr>
          </a:p>
        </p:txBody>
      </p:sp>
      <p:sp>
        <p:nvSpPr>
          <p:cNvPr id="9" name="Textplatzhalter 2"/>
          <p:cNvSpPr>
            <a:spLocks noGrp="1"/>
          </p:cNvSpPr>
          <p:nvPr>
            <p:ph type="body" sz="quarter" idx="14"/>
          </p:nvPr>
        </p:nvSpPr>
        <p:spPr>
          <a:xfrm>
            <a:off x="5980231" y="1214439"/>
            <a:ext cx="2651234" cy="3463546"/>
          </a:xfrm>
          <a:prstGeom prst="rect">
            <a:avLst/>
          </a:prstGeom>
        </p:spPr>
        <p:txBody>
          <a:bodyPr lIns="0" tIns="0" rIns="0" bIns="0"/>
          <a:lstStyle>
            <a:lvl1pPr marL="179650" indent="-179650">
              <a:spcBef>
                <a:spcPts val="0"/>
              </a:spcBef>
              <a:defRPr sz="1300" baseline="0">
                <a:solidFill>
                  <a:srgbClr val="5D5E5E"/>
                </a:solidFill>
              </a:defRPr>
            </a:lvl1pPr>
            <a:lvl2pPr marL="359298" indent="-179650">
              <a:spcBef>
                <a:spcPts val="0"/>
              </a:spcBef>
              <a:defRPr sz="1300">
                <a:solidFill>
                  <a:srgbClr val="5D5E5E"/>
                </a:solidFill>
              </a:defRPr>
            </a:lvl2pPr>
            <a:lvl3pPr marL="538948" indent="-179650">
              <a:spcBef>
                <a:spcPts val="0"/>
              </a:spcBef>
              <a:buFont typeface="Wingdings" panose="05000000000000000000" pitchFamily="2" charset="2"/>
              <a:buChar char="§"/>
              <a:defRPr sz="1300">
                <a:solidFill>
                  <a:srgbClr val="5D5E5E"/>
                </a:solidFill>
              </a:defRPr>
            </a:lvl3pPr>
            <a:lvl4pPr marL="718596" indent="-179650" algn="l" defTabSz="912644" rtl="0" eaLnBrk="1" latinLnBrk="0" hangingPunct="1">
              <a:spcBef>
                <a:spcPts val="0"/>
              </a:spcBef>
              <a:buFont typeface="Arial" panose="020B0604020202020204" pitchFamily="34" charset="0"/>
              <a:buChar char="•"/>
              <a:defRPr lang="de-DE" sz="1300" kern="1200" dirty="0" smtClean="0">
                <a:solidFill>
                  <a:srgbClr val="5D5E5E"/>
                </a:solidFill>
                <a:latin typeface="+mn-lt"/>
                <a:ea typeface="+mn-ea"/>
                <a:cs typeface="+mn-cs"/>
              </a:defRPr>
            </a:lvl4pPr>
            <a:lvl5pPr marL="898246" indent="-179650">
              <a:spcBef>
                <a:spcPts val="0"/>
              </a:spcBef>
              <a:buFont typeface="Calibri" panose="020F0502020204030204" pitchFamily="34" charset="0"/>
              <a:buChar char="─"/>
              <a:defRPr sz="1300">
                <a:solidFill>
                  <a:srgbClr val="5D5E5E"/>
                </a:solidFill>
              </a:defRPr>
            </a:lvl5pPr>
            <a:lvl6pPr marL="359298" indent="-179650">
              <a:spcBef>
                <a:spcPts val="0"/>
              </a:spcBef>
              <a:buFont typeface="Calibri" panose="020F0502020204030204" pitchFamily="34" charset="0"/>
              <a:buChar char="─"/>
              <a:defRPr sz="1600"/>
            </a:lvl6pPr>
            <a:lvl7pPr marL="359298" indent="-179650">
              <a:spcBef>
                <a:spcPts val="0"/>
              </a:spcBef>
              <a:buFont typeface="Calibri" panose="020F0502020204030204" pitchFamily="34" charset="0"/>
              <a:buChar char="─"/>
              <a:defRPr sz="1600"/>
            </a:lvl7pPr>
            <a:lvl8pPr marL="359298" indent="-179650">
              <a:spcBef>
                <a:spcPts val="0"/>
              </a:spcBef>
              <a:buFont typeface="Calibri" panose="020F0502020204030204" pitchFamily="34" charset="0"/>
              <a:buChar char="─"/>
              <a:defRPr sz="1600"/>
            </a:lvl8pPr>
            <a:lvl9pPr marL="359298" indent="-179650">
              <a:spcBef>
                <a:spcPts val="0"/>
              </a:spcBef>
              <a:buFont typeface="Calibri" panose="020F0502020204030204" pitchFamily="34" charset="0"/>
              <a:buChar cha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7554559" y="4819463"/>
            <a:ext cx="1080008" cy="14897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7" name="Text Placeholder 2"/>
          <p:cNvSpPr>
            <a:spLocks noGrp="1"/>
          </p:cNvSpPr>
          <p:nvPr>
            <p:ph type="body" sz="quarter" idx="10" hasCustomPrompt="1"/>
          </p:nvPr>
        </p:nvSpPr>
        <p:spPr>
          <a:xfrm>
            <a:off x="514235" y="180987"/>
            <a:ext cx="8117007" cy="384576"/>
          </a:xfrm>
          <a:prstGeom prst="rect">
            <a:avLst/>
          </a:prstGeom>
        </p:spPr>
        <p:txBody>
          <a:bodyPr lIns="0" tIns="0" rIns="0" bIns="0" anchor="t"/>
          <a:lstStyle>
            <a:lvl1pPr marL="0" indent="0" algn="l">
              <a:spcBef>
                <a:spcPts val="0"/>
              </a:spcBef>
              <a:buFontTx/>
              <a:buNone/>
              <a:defRPr sz="3500" baseline="0">
                <a:solidFill>
                  <a:srgbClr val="0B2265"/>
                </a:solidFill>
              </a:defRPr>
            </a:lvl1pPr>
          </a:lstStyle>
          <a:p>
            <a:pPr lvl="0"/>
            <a:r>
              <a:rPr lang="de-DE" dirty="0"/>
              <a:t>Click to add title</a:t>
            </a:r>
          </a:p>
        </p:txBody>
      </p:sp>
      <p:sp>
        <p:nvSpPr>
          <p:cNvPr id="10" name="Textplatzhalter 3"/>
          <p:cNvSpPr>
            <a:spLocks noGrp="1"/>
          </p:cNvSpPr>
          <p:nvPr>
            <p:ph type="body" sz="quarter" idx="12" hasCustomPrompt="1"/>
          </p:nvPr>
        </p:nvSpPr>
        <p:spPr>
          <a:xfrm>
            <a:off x="514233" y="542867"/>
            <a:ext cx="8117008" cy="280800"/>
          </a:xfrm>
          <a:prstGeom prst="rect">
            <a:avLst/>
          </a:prstGeom>
        </p:spPr>
        <p:txBody>
          <a:bodyPr lIns="0" tIns="0" rIns="0" bIns="0"/>
          <a:lstStyle>
            <a:lvl1pPr marL="0" indent="0">
              <a:spcBef>
                <a:spcPts val="0"/>
              </a:spcBef>
              <a:buFontTx/>
              <a:buNone/>
              <a:defRPr sz="2100">
                <a:solidFill>
                  <a:srgbClr val="005A8B"/>
                </a:solidFill>
              </a:defRPr>
            </a:lvl1pPr>
          </a:lstStyle>
          <a:p>
            <a:pPr lvl="0"/>
            <a:r>
              <a:rPr lang="de-DE" dirty="0"/>
              <a:t>Click </a:t>
            </a:r>
            <a:r>
              <a:rPr lang="de-DE" dirty="0" err="1"/>
              <a:t>to</a:t>
            </a:r>
            <a:r>
              <a:rPr lang="de-DE" dirty="0"/>
              <a:t> </a:t>
            </a:r>
            <a:r>
              <a:rPr lang="de-DE" dirty="0" err="1"/>
              <a:t>add</a:t>
            </a:r>
            <a:r>
              <a:rPr lang="de-DE" dirty="0"/>
              <a:t> </a:t>
            </a:r>
            <a:r>
              <a:rPr lang="de-DE" dirty="0" err="1"/>
              <a:t>subtitle</a:t>
            </a:r>
            <a:endParaRPr lang="de-DE" dirty="0"/>
          </a:p>
        </p:txBody>
      </p:sp>
    </p:spTree>
    <p:extLst>
      <p:ext uri="{BB962C8B-B14F-4D97-AF65-F5344CB8AC3E}">
        <p14:creationId xmlns:p14="http://schemas.microsoft.com/office/powerpoint/2010/main" val="848755114"/>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Vertical image">
    <p:spTree>
      <p:nvGrpSpPr>
        <p:cNvPr id="1" name=""/>
        <p:cNvGrpSpPr/>
        <p:nvPr/>
      </p:nvGrpSpPr>
      <p:grpSpPr>
        <a:xfrm>
          <a:off x="0" y="0"/>
          <a:ext cx="0" cy="0"/>
          <a:chOff x="0" y="0"/>
          <a:chExt cx="0" cy="0"/>
        </a:xfrm>
      </p:grpSpPr>
      <p:sp>
        <p:nvSpPr>
          <p:cNvPr id="2" name="Rectangle 1"/>
          <p:cNvSpPr/>
          <p:nvPr userDrawn="1"/>
        </p:nvSpPr>
        <p:spPr>
          <a:xfrm>
            <a:off x="0" y="4731990"/>
            <a:ext cx="4283968" cy="41151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en-US" sz="1800" dirty="0">
              <a:solidFill>
                <a:srgbClr val="FFFFFF"/>
              </a:solidFill>
            </a:endParaRPr>
          </a:p>
        </p:txBody>
      </p:sp>
      <p:sp>
        <p:nvSpPr>
          <p:cNvPr id="8" name="Inhaltsplatzhalter 6"/>
          <p:cNvSpPr>
            <a:spLocks noGrp="1"/>
          </p:cNvSpPr>
          <p:nvPr>
            <p:ph sz="half" idx="2" hasCustomPrompt="1"/>
            <p:custDataLst>
              <p:tags r:id="rId1"/>
            </p:custDataLst>
          </p:nvPr>
        </p:nvSpPr>
        <p:spPr>
          <a:xfrm>
            <a:off x="5" y="-1"/>
            <a:ext cx="3487293" cy="514350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lstStyle>
            <a:lvl1pPr marL="0" indent="0">
              <a:buFontTx/>
              <a:buNone/>
              <a:defRPr sz="2200">
                <a:solidFill>
                  <a:schemeClr val="tx1"/>
                </a:solidFill>
              </a:defRPr>
            </a:lvl1pPr>
          </a:lstStyle>
          <a:p>
            <a:r>
              <a:rPr lang="de-DE" dirty="0" err="1">
                <a:solidFill>
                  <a:srgbClr val="FFFFFF"/>
                </a:solidFill>
              </a:rPr>
              <a:t>Choose</a:t>
            </a:r>
            <a:r>
              <a:rPr lang="de-DE" dirty="0">
                <a:solidFill>
                  <a:srgbClr val="FFFFFF"/>
                </a:solidFill>
              </a:rPr>
              <a:t> </a:t>
            </a:r>
            <a:r>
              <a:rPr lang="de-DE" dirty="0" err="1">
                <a:solidFill>
                  <a:srgbClr val="FFFFFF"/>
                </a:solidFill>
              </a:rPr>
              <a:t>icon</a:t>
            </a:r>
            <a:r>
              <a:rPr lang="de-DE" dirty="0">
                <a:solidFill>
                  <a:srgbClr val="FFFFFF"/>
                </a:solidFill>
              </a:rPr>
              <a:t> </a:t>
            </a:r>
            <a:r>
              <a:rPr lang="de-DE" dirty="0" err="1">
                <a:solidFill>
                  <a:srgbClr val="FFFFFF"/>
                </a:solidFill>
              </a:rPr>
              <a:t>to</a:t>
            </a:r>
            <a:r>
              <a:rPr lang="de-DE" dirty="0">
                <a:solidFill>
                  <a:srgbClr val="FFFFFF"/>
                </a:solidFill>
              </a:rPr>
              <a:t> </a:t>
            </a:r>
            <a:r>
              <a:rPr lang="de-DE" dirty="0" err="1">
                <a:solidFill>
                  <a:srgbClr val="FFFFFF"/>
                </a:solidFill>
              </a:rPr>
              <a:t>add</a:t>
            </a:r>
            <a:r>
              <a:rPr lang="de-DE" dirty="0">
                <a:solidFill>
                  <a:srgbClr val="FFFFFF"/>
                </a:solidFill>
              </a:rPr>
              <a:t> </a:t>
            </a:r>
            <a:r>
              <a:rPr lang="de-DE" dirty="0" err="1">
                <a:solidFill>
                  <a:srgbClr val="FFFFFF"/>
                </a:solidFill>
              </a:rPr>
              <a:t>image</a:t>
            </a:r>
            <a:endParaRPr lang="en-US" dirty="0">
              <a:solidFill>
                <a:srgbClr val="FFFFFF"/>
              </a:solidFill>
            </a:endParaRPr>
          </a:p>
        </p:txBody>
      </p:sp>
      <p:sp>
        <p:nvSpPr>
          <p:cNvPr id="4" name="Textplatzhalter 3"/>
          <p:cNvSpPr>
            <a:spLocks noGrp="1"/>
          </p:cNvSpPr>
          <p:nvPr>
            <p:ph type="body" sz="quarter" idx="13"/>
          </p:nvPr>
        </p:nvSpPr>
        <p:spPr>
          <a:xfrm>
            <a:off x="3821745" y="1214448"/>
            <a:ext cx="4806226" cy="3463547"/>
          </a:xfrm>
          <a:prstGeom prst="rect">
            <a:avLst/>
          </a:prstGeom>
        </p:spPr>
        <p:txBody>
          <a:bodyPr lIns="0" tIns="0" rIns="0" bIns="0"/>
          <a:lstStyle>
            <a:lvl1pPr marL="179650" indent="-179650">
              <a:spcBef>
                <a:spcPts val="0"/>
              </a:spcBef>
              <a:defRPr sz="1300">
                <a:solidFill>
                  <a:srgbClr val="5D5E5E"/>
                </a:solidFill>
              </a:defRPr>
            </a:lvl1pPr>
            <a:lvl2pPr marL="359298" indent="-179650">
              <a:spcBef>
                <a:spcPts val="0"/>
              </a:spcBef>
              <a:defRPr sz="1300">
                <a:solidFill>
                  <a:srgbClr val="5D5E5E"/>
                </a:solidFill>
              </a:defRPr>
            </a:lvl2pPr>
            <a:lvl3pPr marL="538948" indent="-179650">
              <a:spcBef>
                <a:spcPts val="0"/>
              </a:spcBef>
              <a:buFont typeface="Wingdings" panose="05000000000000000000" pitchFamily="2" charset="2"/>
              <a:buChar char="§"/>
              <a:defRPr sz="1300">
                <a:solidFill>
                  <a:srgbClr val="5D5E5E"/>
                </a:solidFill>
              </a:defRPr>
            </a:lvl3pPr>
            <a:lvl4pPr marL="718596" indent="-179650">
              <a:spcBef>
                <a:spcPts val="0"/>
              </a:spcBef>
              <a:buFont typeface="Arial" panose="020B0604020202020204" pitchFamily="34" charset="0"/>
              <a:buChar char="•"/>
              <a:defRPr sz="1300">
                <a:solidFill>
                  <a:srgbClr val="5D5E5E"/>
                </a:solidFill>
              </a:defRPr>
            </a:lvl4pPr>
            <a:lvl5pPr marL="898246" indent="-179650">
              <a:spcBef>
                <a:spcPts val="0"/>
              </a:spcBef>
              <a:buFont typeface="Calibri" panose="020F0502020204030204" pitchFamily="34" charset="0"/>
              <a:buChar char="─"/>
              <a:defRPr sz="1300">
                <a:solidFill>
                  <a:srgbClr val="5D5E5E"/>
                </a:solidFill>
              </a:defRPr>
            </a:lvl5pPr>
            <a:lvl6pPr marL="1293478" indent="-215537">
              <a:spcBef>
                <a:spcPts val="0"/>
              </a:spcBef>
              <a:buFont typeface="Calibri" panose="020F0502020204030204" pitchFamily="34" charset="0"/>
              <a:buChar char="─"/>
              <a:defRPr sz="1300">
                <a:solidFill>
                  <a:srgbClr val="5D5E5E"/>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endParaRPr lang="en-US" dirty="0"/>
          </a:p>
        </p:txBody>
      </p:sp>
      <p:pic>
        <p:nvPicPr>
          <p:cNvPr id="16" name="Picture 15"/>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7554559" y="4819463"/>
            <a:ext cx="1080008" cy="14897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7" name="Text Placeholder 2"/>
          <p:cNvSpPr>
            <a:spLocks noGrp="1"/>
          </p:cNvSpPr>
          <p:nvPr>
            <p:ph type="body" sz="quarter" idx="10" hasCustomPrompt="1"/>
          </p:nvPr>
        </p:nvSpPr>
        <p:spPr>
          <a:xfrm>
            <a:off x="3821765" y="180987"/>
            <a:ext cx="4809493" cy="384576"/>
          </a:xfrm>
          <a:prstGeom prst="rect">
            <a:avLst/>
          </a:prstGeom>
        </p:spPr>
        <p:txBody>
          <a:bodyPr lIns="0" tIns="0" rIns="0" bIns="0" anchor="t"/>
          <a:lstStyle>
            <a:lvl1pPr marL="0" indent="0" algn="l">
              <a:spcBef>
                <a:spcPts val="0"/>
              </a:spcBef>
              <a:buFontTx/>
              <a:buNone/>
              <a:defRPr sz="3500" baseline="0">
                <a:solidFill>
                  <a:srgbClr val="0B2265"/>
                </a:solidFill>
              </a:defRPr>
            </a:lvl1pPr>
          </a:lstStyle>
          <a:p>
            <a:pPr lvl="0"/>
            <a:r>
              <a:rPr lang="de-DE" dirty="0"/>
              <a:t>Click to add title</a:t>
            </a:r>
          </a:p>
        </p:txBody>
      </p:sp>
      <p:sp>
        <p:nvSpPr>
          <p:cNvPr id="18" name="Textplatzhalter 3"/>
          <p:cNvSpPr>
            <a:spLocks noGrp="1"/>
          </p:cNvSpPr>
          <p:nvPr>
            <p:ph type="body" sz="quarter" idx="12" hasCustomPrompt="1"/>
          </p:nvPr>
        </p:nvSpPr>
        <p:spPr>
          <a:xfrm>
            <a:off x="3821746" y="542867"/>
            <a:ext cx="4809494" cy="280800"/>
          </a:xfrm>
          <a:prstGeom prst="rect">
            <a:avLst/>
          </a:prstGeom>
        </p:spPr>
        <p:txBody>
          <a:bodyPr lIns="0" tIns="0" rIns="0" bIns="0"/>
          <a:lstStyle>
            <a:lvl1pPr marL="0" indent="0">
              <a:spcBef>
                <a:spcPts val="0"/>
              </a:spcBef>
              <a:buFontTx/>
              <a:buNone/>
              <a:defRPr sz="2100">
                <a:solidFill>
                  <a:srgbClr val="005A8B"/>
                </a:solidFill>
              </a:defRPr>
            </a:lvl1pPr>
          </a:lstStyle>
          <a:p>
            <a:pPr lvl="0"/>
            <a:r>
              <a:rPr lang="de-DE" dirty="0"/>
              <a:t>Click </a:t>
            </a:r>
            <a:r>
              <a:rPr lang="de-DE" dirty="0" err="1"/>
              <a:t>to</a:t>
            </a:r>
            <a:r>
              <a:rPr lang="de-DE" dirty="0"/>
              <a:t> </a:t>
            </a:r>
            <a:r>
              <a:rPr lang="de-DE" dirty="0" err="1"/>
              <a:t>add</a:t>
            </a:r>
            <a:r>
              <a:rPr lang="de-DE" dirty="0"/>
              <a:t> </a:t>
            </a:r>
            <a:r>
              <a:rPr lang="de-DE" dirty="0" err="1"/>
              <a:t>subtitle</a:t>
            </a:r>
            <a:endParaRPr lang="de-DE" dirty="0"/>
          </a:p>
        </p:txBody>
      </p:sp>
    </p:spTree>
    <p:extLst>
      <p:ext uri="{BB962C8B-B14F-4D97-AF65-F5344CB8AC3E}">
        <p14:creationId xmlns:p14="http://schemas.microsoft.com/office/powerpoint/2010/main" val="2181186482"/>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Divider dark blue">
    <p:spTree>
      <p:nvGrpSpPr>
        <p:cNvPr id="1" name=""/>
        <p:cNvGrpSpPr/>
        <p:nvPr/>
      </p:nvGrpSpPr>
      <p:grpSpPr>
        <a:xfrm>
          <a:off x="0" y="0"/>
          <a:ext cx="0" cy="0"/>
          <a:chOff x="0" y="0"/>
          <a:chExt cx="0" cy="0"/>
        </a:xfrm>
      </p:grpSpPr>
      <p:sp>
        <p:nvSpPr>
          <p:cNvPr id="7" name="Rechteck 10"/>
          <p:cNvSpPr/>
          <p:nvPr userDrawn="1">
            <p:custDataLst>
              <p:tags r:id="rId1"/>
            </p:custDataLst>
          </p:nvPr>
        </p:nvSpPr>
        <p:spPr bwMode="auto">
          <a:xfrm>
            <a:off x="233697" y="175307"/>
            <a:ext cx="8684843" cy="4130999"/>
          </a:xfrm>
          <a:custGeom>
            <a:avLst/>
            <a:gdLst>
              <a:gd name="connsiteX0" fmla="*/ 0 w 8684821"/>
              <a:gd name="connsiteY0" fmla="*/ 0 h 5636316"/>
              <a:gd name="connsiteX1" fmla="*/ 8684821 w 8684821"/>
              <a:gd name="connsiteY1" fmla="*/ 0 h 5636316"/>
              <a:gd name="connsiteX2" fmla="*/ 8684821 w 8684821"/>
              <a:gd name="connsiteY2" fmla="*/ 5636316 h 5636316"/>
              <a:gd name="connsiteX3" fmla="*/ 0 w 8684821"/>
              <a:gd name="connsiteY3" fmla="*/ 5636316 h 5636316"/>
              <a:gd name="connsiteX4" fmla="*/ 0 w 8684821"/>
              <a:gd name="connsiteY4" fmla="*/ 0 h 5636316"/>
              <a:gd name="connsiteX0" fmla="*/ 8684821 w 8684821"/>
              <a:gd name="connsiteY0" fmla="*/ 0 h 5636316"/>
              <a:gd name="connsiteX1" fmla="*/ 8684821 w 8684821"/>
              <a:gd name="connsiteY1" fmla="*/ 5636316 h 5636316"/>
              <a:gd name="connsiteX2" fmla="*/ 0 w 8684821"/>
              <a:gd name="connsiteY2" fmla="*/ 5636316 h 5636316"/>
              <a:gd name="connsiteX3" fmla="*/ 0 w 8684821"/>
              <a:gd name="connsiteY3" fmla="*/ 0 h 5636316"/>
              <a:gd name="connsiteX0" fmla="*/ 8684821 w 8684821"/>
              <a:gd name="connsiteY0" fmla="*/ 5636316 h 5636316"/>
              <a:gd name="connsiteX1" fmla="*/ 0 w 8684821"/>
              <a:gd name="connsiteY1" fmla="*/ 5636316 h 5636316"/>
              <a:gd name="connsiteX2" fmla="*/ 0 w 8684821"/>
              <a:gd name="connsiteY2" fmla="*/ 0 h 5636316"/>
              <a:gd name="connsiteX0" fmla="*/ 0 w 0"/>
              <a:gd name="connsiteY0" fmla="*/ 5636316 h 5636316"/>
              <a:gd name="connsiteX1" fmla="*/ 0 w 0"/>
              <a:gd name="connsiteY1" fmla="*/ 0 h 5636316"/>
              <a:gd name="connsiteX0" fmla="*/ 0 w 8684821"/>
              <a:gd name="connsiteY0" fmla="*/ 5636316 h 5636316"/>
              <a:gd name="connsiteX1" fmla="*/ 0 w 8684821"/>
              <a:gd name="connsiteY1" fmla="*/ 0 h 5636316"/>
              <a:gd name="connsiteX2" fmla="*/ 8684821 w 8684821"/>
              <a:gd name="connsiteY2" fmla="*/ 0 h 5636316"/>
              <a:gd name="connsiteX0" fmla="*/ 0 w 8684821"/>
              <a:gd name="connsiteY0" fmla="*/ 5636316 h 5636316"/>
              <a:gd name="connsiteX1" fmla="*/ 0 w 8684821"/>
              <a:gd name="connsiteY1" fmla="*/ 0 h 5636316"/>
              <a:gd name="connsiteX2" fmla="*/ 8684821 w 8684821"/>
              <a:gd name="connsiteY2" fmla="*/ 0 h 5636316"/>
              <a:gd name="connsiteX3" fmla="*/ 8684821 w 8684821"/>
              <a:gd name="connsiteY3" fmla="*/ 4412595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6" fmla="*/ 0 w 8684843"/>
              <a:gd name="connsiteY6" fmla="*/ 0 h 563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4843" h="5636316">
                <a:moveTo>
                  <a:pt x="0" y="5636316"/>
                </a:moveTo>
                <a:lnTo>
                  <a:pt x="0" y="0"/>
                </a:lnTo>
                <a:lnTo>
                  <a:pt x="8684821" y="0"/>
                </a:lnTo>
                <a:lnTo>
                  <a:pt x="8684821" y="4412595"/>
                </a:lnTo>
                <a:cubicBezTo>
                  <a:pt x="8684821" y="4412595"/>
                  <a:pt x="8710016" y="5571530"/>
                  <a:pt x="7086785" y="5636316"/>
                </a:cubicBezTo>
                <a:lnTo>
                  <a:pt x="0" y="5636316"/>
                </a:lnTo>
                <a:lnTo>
                  <a:pt x="0" y="0"/>
                </a:lnTo>
                <a:close/>
              </a:path>
            </a:pathLst>
          </a:custGeom>
          <a:gradFill flip="none" rotWithShape="1">
            <a:gsLst>
              <a:gs pos="0">
                <a:srgbClr val="0039A6"/>
              </a:gs>
              <a:gs pos="100000">
                <a:srgbClr val="0089C4"/>
              </a:gs>
            </a:gsLst>
            <a:lin ang="2100000" scaled="1"/>
            <a:tileRect/>
          </a:gradFill>
          <a:ln w="9525" cap="flat" cmpd="sng" algn="ctr">
            <a:noFill/>
            <a:prstDash val="solid"/>
            <a:round/>
            <a:headEnd type="none" w="med" len="med"/>
            <a:tailEnd type="none" w="med" len="med"/>
          </a:ln>
          <a:effectLst/>
          <a:extLst/>
        </p:spPr>
        <p:txBody>
          <a:bodyPr vert="horz" wrap="square" lIns="91284" tIns="45642" rIns="91284" bIns="45642" numCol="1" rtlCol="0" anchor="t" anchorCtr="0" compatLnSpc="1">
            <a:prstTxWarp prst="textNoShape">
              <a:avLst/>
            </a:prstTxWarp>
          </a:bodyPr>
          <a:lstStyle/>
          <a:p>
            <a:pPr defTabSz="912644"/>
            <a:endParaRPr lang="en-US" sz="2000">
              <a:solidFill>
                <a:srgbClr val="000000"/>
              </a:solidFill>
              <a:cs typeface="+mn-cs"/>
            </a:endParaRPr>
          </a:p>
        </p:txBody>
      </p:sp>
      <p:sp>
        <p:nvSpPr>
          <p:cNvPr id="8" name="Text Placeholder 3"/>
          <p:cNvSpPr>
            <a:spLocks noGrp="1"/>
          </p:cNvSpPr>
          <p:nvPr>
            <p:ph type="body" sz="quarter" idx="10" hasCustomPrompt="1"/>
          </p:nvPr>
        </p:nvSpPr>
        <p:spPr>
          <a:xfrm>
            <a:off x="828728" y="2188710"/>
            <a:ext cx="6983993" cy="998999"/>
          </a:xfrm>
          <a:prstGeom prst="rect">
            <a:avLst/>
          </a:prstGeom>
        </p:spPr>
        <p:txBody>
          <a:bodyPr lIns="0" tIns="0" rIns="0" bIns="0"/>
          <a:lstStyle>
            <a:lvl1pPr marL="0" indent="0" algn="l">
              <a:spcBef>
                <a:spcPts val="0"/>
              </a:spcBef>
              <a:buFontTx/>
              <a:buNone/>
              <a:defRPr sz="5600">
                <a:solidFill>
                  <a:schemeClr val="bg1"/>
                </a:solidFill>
              </a:defRPr>
            </a:lvl1pPr>
            <a:lvl2pPr>
              <a:defRPr sz="4800"/>
            </a:lvl2pPr>
            <a:lvl3pPr>
              <a:defRPr sz="4800"/>
            </a:lvl3pPr>
            <a:lvl4pPr>
              <a:defRPr sz="4800"/>
            </a:lvl4pPr>
            <a:lvl5pPr>
              <a:defRPr sz="4800"/>
            </a:lvl5pPr>
          </a:lstStyle>
          <a:p>
            <a:pPr lvl="0"/>
            <a:r>
              <a:rPr lang="de-DE" dirty="0"/>
              <a:t>Click </a:t>
            </a:r>
            <a:r>
              <a:rPr lang="de-DE" dirty="0" err="1"/>
              <a:t>to</a:t>
            </a:r>
            <a:r>
              <a:rPr lang="de-DE" dirty="0"/>
              <a:t> </a:t>
            </a:r>
            <a:r>
              <a:rPr lang="de-DE" dirty="0" err="1"/>
              <a:t>add</a:t>
            </a:r>
            <a:r>
              <a:rPr lang="de-DE" dirty="0"/>
              <a:t> title</a:t>
            </a:r>
          </a:p>
        </p:txBody>
      </p:sp>
      <p:sp>
        <p:nvSpPr>
          <p:cNvPr id="9" name="Text Placeholder 5"/>
          <p:cNvSpPr>
            <a:spLocks noGrp="1"/>
          </p:cNvSpPr>
          <p:nvPr>
            <p:ph type="body" sz="quarter" idx="11" hasCustomPrompt="1"/>
          </p:nvPr>
        </p:nvSpPr>
        <p:spPr>
          <a:xfrm>
            <a:off x="828675" y="1902686"/>
            <a:ext cx="6984000" cy="303612"/>
          </a:xfrm>
          <a:prstGeom prst="rect">
            <a:avLst/>
          </a:prstGeom>
        </p:spPr>
        <p:txBody>
          <a:bodyPr lIns="0" tIns="0" rIns="0" bIns="0"/>
          <a:lstStyle>
            <a:lvl1pPr marL="0" indent="0">
              <a:spcBef>
                <a:spcPts val="0"/>
              </a:spcBef>
              <a:buFontTx/>
              <a:buNone/>
              <a:defRPr sz="2100">
                <a:solidFill>
                  <a:schemeClr val="bg1"/>
                </a:solidFill>
              </a:defRPr>
            </a:lvl1pPr>
          </a:lstStyle>
          <a:p>
            <a:pPr lvl="0"/>
            <a:r>
              <a:rPr lang="de-DE" dirty="0"/>
              <a:t>Click to </a:t>
            </a:r>
            <a:r>
              <a:rPr lang="de-DE" dirty="0" err="1"/>
              <a:t>add</a:t>
            </a:r>
            <a:r>
              <a:rPr lang="de-DE" dirty="0"/>
              <a:t> </a:t>
            </a:r>
            <a:r>
              <a:rPr lang="de-DE" dirty="0" err="1"/>
              <a:t>section</a:t>
            </a:r>
            <a:r>
              <a:rPr lang="de-DE" dirty="0"/>
              <a:t> </a:t>
            </a:r>
            <a:r>
              <a:rPr lang="de-DE" dirty="0" err="1"/>
              <a:t>number</a:t>
            </a:r>
            <a:endParaRPr lang="de-DE" dirty="0"/>
          </a:p>
        </p:txBody>
      </p:sp>
      <p:sp>
        <p:nvSpPr>
          <p:cNvPr id="12" name="Rectangle 11"/>
          <p:cNvSpPr/>
          <p:nvPr userDrawn="1"/>
        </p:nvSpPr>
        <p:spPr>
          <a:xfrm>
            <a:off x="107504" y="4672013"/>
            <a:ext cx="2127696" cy="361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de-DE" sz="1800">
              <a:solidFill>
                <a:srgbClr val="FFFFFF"/>
              </a:solidFill>
            </a:endParaRPr>
          </a:p>
        </p:txBody>
      </p:sp>
      <p:pic>
        <p:nvPicPr>
          <p:cNvPr id="21" name="Picture 20" descr="ONEVOICE_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6461" y="4623809"/>
            <a:ext cx="973981" cy="170537"/>
          </a:xfrm>
          <a:prstGeom prst="rect">
            <a:avLst/>
          </a:prstGeom>
        </p:spPr>
      </p:pic>
      <p:pic>
        <p:nvPicPr>
          <p:cNvPr id="22" name="Picture 21"/>
          <p:cNvPicPr>
            <a:picLocks/>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a:xfrm>
            <a:off x="7405353" y="4618966"/>
            <a:ext cx="1306799" cy="180254"/>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182309875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Divider blue">
    <p:spTree>
      <p:nvGrpSpPr>
        <p:cNvPr id="1" name=""/>
        <p:cNvGrpSpPr/>
        <p:nvPr/>
      </p:nvGrpSpPr>
      <p:grpSpPr>
        <a:xfrm>
          <a:off x="0" y="0"/>
          <a:ext cx="0" cy="0"/>
          <a:chOff x="0" y="0"/>
          <a:chExt cx="0" cy="0"/>
        </a:xfrm>
      </p:grpSpPr>
      <p:sp>
        <p:nvSpPr>
          <p:cNvPr id="7" name="Rechteck 10"/>
          <p:cNvSpPr/>
          <p:nvPr userDrawn="1">
            <p:custDataLst>
              <p:tags r:id="rId1"/>
            </p:custDataLst>
          </p:nvPr>
        </p:nvSpPr>
        <p:spPr bwMode="auto">
          <a:xfrm>
            <a:off x="233697" y="175307"/>
            <a:ext cx="8684843" cy="4130999"/>
          </a:xfrm>
          <a:custGeom>
            <a:avLst/>
            <a:gdLst>
              <a:gd name="connsiteX0" fmla="*/ 0 w 8684821"/>
              <a:gd name="connsiteY0" fmla="*/ 0 h 5636316"/>
              <a:gd name="connsiteX1" fmla="*/ 8684821 w 8684821"/>
              <a:gd name="connsiteY1" fmla="*/ 0 h 5636316"/>
              <a:gd name="connsiteX2" fmla="*/ 8684821 w 8684821"/>
              <a:gd name="connsiteY2" fmla="*/ 5636316 h 5636316"/>
              <a:gd name="connsiteX3" fmla="*/ 0 w 8684821"/>
              <a:gd name="connsiteY3" fmla="*/ 5636316 h 5636316"/>
              <a:gd name="connsiteX4" fmla="*/ 0 w 8684821"/>
              <a:gd name="connsiteY4" fmla="*/ 0 h 5636316"/>
              <a:gd name="connsiteX0" fmla="*/ 8684821 w 8684821"/>
              <a:gd name="connsiteY0" fmla="*/ 0 h 5636316"/>
              <a:gd name="connsiteX1" fmla="*/ 8684821 w 8684821"/>
              <a:gd name="connsiteY1" fmla="*/ 5636316 h 5636316"/>
              <a:gd name="connsiteX2" fmla="*/ 0 w 8684821"/>
              <a:gd name="connsiteY2" fmla="*/ 5636316 h 5636316"/>
              <a:gd name="connsiteX3" fmla="*/ 0 w 8684821"/>
              <a:gd name="connsiteY3" fmla="*/ 0 h 5636316"/>
              <a:gd name="connsiteX0" fmla="*/ 8684821 w 8684821"/>
              <a:gd name="connsiteY0" fmla="*/ 5636316 h 5636316"/>
              <a:gd name="connsiteX1" fmla="*/ 0 w 8684821"/>
              <a:gd name="connsiteY1" fmla="*/ 5636316 h 5636316"/>
              <a:gd name="connsiteX2" fmla="*/ 0 w 8684821"/>
              <a:gd name="connsiteY2" fmla="*/ 0 h 5636316"/>
              <a:gd name="connsiteX0" fmla="*/ 0 w 0"/>
              <a:gd name="connsiteY0" fmla="*/ 5636316 h 5636316"/>
              <a:gd name="connsiteX1" fmla="*/ 0 w 0"/>
              <a:gd name="connsiteY1" fmla="*/ 0 h 5636316"/>
              <a:gd name="connsiteX0" fmla="*/ 0 w 8684821"/>
              <a:gd name="connsiteY0" fmla="*/ 5636316 h 5636316"/>
              <a:gd name="connsiteX1" fmla="*/ 0 w 8684821"/>
              <a:gd name="connsiteY1" fmla="*/ 0 h 5636316"/>
              <a:gd name="connsiteX2" fmla="*/ 8684821 w 8684821"/>
              <a:gd name="connsiteY2" fmla="*/ 0 h 5636316"/>
              <a:gd name="connsiteX0" fmla="*/ 0 w 8684821"/>
              <a:gd name="connsiteY0" fmla="*/ 5636316 h 5636316"/>
              <a:gd name="connsiteX1" fmla="*/ 0 w 8684821"/>
              <a:gd name="connsiteY1" fmla="*/ 0 h 5636316"/>
              <a:gd name="connsiteX2" fmla="*/ 8684821 w 8684821"/>
              <a:gd name="connsiteY2" fmla="*/ 0 h 5636316"/>
              <a:gd name="connsiteX3" fmla="*/ 8684821 w 8684821"/>
              <a:gd name="connsiteY3" fmla="*/ 4412595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6" fmla="*/ 0 w 8684843"/>
              <a:gd name="connsiteY6" fmla="*/ 0 h 563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4843" h="5636316">
                <a:moveTo>
                  <a:pt x="0" y="5636316"/>
                </a:moveTo>
                <a:lnTo>
                  <a:pt x="0" y="0"/>
                </a:lnTo>
                <a:lnTo>
                  <a:pt x="8684821" y="0"/>
                </a:lnTo>
                <a:lnTo>
                  <a:pt x="8684821" y="4412595"/>
                </a:lnTo>
                <a:cubicBezTo>
                  <a:pt x="8684821" y="4412595"/>
                  <a:pt x="8710016" y="5571530"/>
                  <a:pt x="7086785" y="5636316"/>
                </a:cubicBezTo>
                <a:lnTo>
                  <a:pt x="0" y="5636316"/>
                </a:lnTo>
                <a:lnTo>
                  <a:pt x="0" y="0"/>
                </a:lnTo>
                <a:close/>
              </a:path>
            </a:pathLst>
          </a:custGeom>
          <a:gradFill flip="none" rotWithShape="1">
            <a:gsLst>
              <a:gs pos="18000">
                <a:srgbClr val="0089C4"/>
              </a:gs>
              <a:gs pos="0">
                <a:srgbClr val="0089C4"/>
              </a:gs>
              <a:gs pos="100000">
                <a:srgbClr val="72B5CC"/>
              </a:gs>
            </a:gsLst>
            <a:lin ang="2100000" scaled="1"/>
            <a:tileRect/>
          </a:gradFill>
          <a:ln w="9525" cap="flat" cmpd="sng" algn="ctr">
            <a:noFill/>
            <a:prstDash val="solid"/>
            <a:round/>
            <a:headEnd type="none" w="med" len="med"/>
            <a:tailEnd type="none" w="med" len="med"/>
          </a:ln>
          <a:effectLst/>
          <a:extLst/>
        </p:spPr>
        <p:txBody>
          <a:bodyPr vert="horz" wrap="square" lIns="91284" tIns="45642" rIns="91284" bIns="45642" numCol="1" rtlCol="0" anchor="t" anchorCtr="0" compatLnSpc="1">
            <a:prstTxWarp prst="textNoShape">
              <a:avLst/>
            </a:prstTxWarp>
          </a:bodyPr>
          <a:lstStyle/>
          <a:p>
            <a:pPr defTabSz="912644"/>
            <a:endParaRPr lang="en-US" sz="2000">
              <a:solidFill>
                <a:srgbClr val="000000"/>
              </a:solidFill>
              <a:cs typeface="+mn-cs"/>
            </a:endParaRPr>
          </a:p>
        </p:txBody>
      </p:sp>
      <p:sp>
        <p:nvSpPr>
          <p:cNvPr id="8" name="Text Placeholder 3"/>
          <p:cNvSpPr>
            <a:spLocks noGrp="1"/>
          </p:cNvSpPr>
          <p:nvPr>
            <p:ph type="body" sz="quarter" idx="10" hasCustomPrompt="1"/>
          </p:nvPr>
        </p:nvSpPr>
        <p:spPr>
          <a:xfrm>
            <a:off x="828674" y="2188710"/>
            <a:ext cx="6984000" cy="998999"/>
          </a:xfrm>
          <a:prstGeom prst="rect">
            <a:avLst/>
          </a:prstGeom>
        </p:spPr>
        <p:txBody>
          <a:bodyPr lIns="0" tIns="0" rIns="0" bIns="0"/>
          <a:lstStyle>
            <a:lvl1pPr marL="0" indent="0" algn="l">
              <a:spcBef>
                <a:spcPts val="0"/>
              </a:spcBef>
              <a:buFontTx/>
              <a:buNone/>
              <a:defRPr sz="5600">
                <a:solidFill>
                  <a:schemeClr val="bg1"/>
                </a:solidFill>
              </a:defRPr>
            </a:lvl1pPr>
            <a:lvl2pPr>
              <a:defRPr sz="4800"/>
            </a:lvl2pPr>
            <a:lvl3pPr>
              <a:defRPr sz="4800"/>
            </a:lvl3pPr>
            <a:lvl4pPr>
              <a:defRPr sz="4800"/>
            </a:lvl4pPr>
            <a:lvl5pPr>
              <a:defRPr sz="4800"/>
            </a:lvl5pPr>
          </a:lstStyle>
          <a:p>
            <a:pPr lvl="0"/>
            <a:r>
              <a:rPr lang="de-DE" dirty="0"/>
              <a:t>Click </a:t>
            </a:r>
            <a:r>
              <a:rPr lang="de-DE" dirty="0" err="1"/>
              <a:t>to</a:t>
            </a:r>
            <a:r>
              <a:rPr lang="de-DE" dirty="0"/>
              <a:t> </a:t>
            </a:r>
            <a:r>
              <a:rPr lang="de-DE" dirty="0" err="1"/>
              <a:t>add</a:t>
            </a:r>
            <a:r>
              <a:rPr lang="de-DE" dirty="0"/>
              <a:t> title</a:t>
            </a:r>
          </a:p>
        </p:txBody>
      </p:sp>
      <p:sp>
        <p:nvSpPr>
          <p:cNvPr id="9" name="Text Placeholder 5"/>
          <p:cNvSpPr>
            <a:spLocks noGrp="1"/>
          </p:cNvSpPr>
          <p:nvPr>
            <p:ph type="body" sz="quarter" idx="11" hasCustomPrompt="1"/>
          </p:nvPr>
        </p:nvSpPr>
        <p:spPr>
          <a:xfrm>
            <a:off x="828675" y="1902686"/>
            <a:ext cx="6984000" cy="303612"/>
          </a:xfrm>
          <a:prstGeom prst="rect">
            <a:avLst/>
          </a:prstGeom>
        </p:spPr>
        <p:txBody>
          <a:bodyPr lIns="0" tIns="0" rIns="0" bIns="0"/>
          <a:lstStyle>
            <a:lvl1pPr marL="0" indent="0">
              <a:spcBef>
                <a:spcPts val="0"/>
              </a:spcBef>
              <a:buFontTx/>
              <a:buNone/>
              <a:defRPr sz="2100">
                <a:solidFill>
                  <a:schemeClr val="bg1"/>
                </a:solidFill>
              </a:defRPr>
            </a:lvl1pPr>
          </a:lstStyle>
          <a:p>
            <a:pPr lvl="0"/>
            <a:r>
              <a:rPr lang="de-DE" dirty="0"/>
              <a:t>Click to </a:t>
            </a:r>
            <a:r>
              <a:rPr lang="de-DE" dirty="0" err="1"/>
              <a:t>add</a:t>
            </a:r>
            <a:r>
              <a:rPr lang="de-DE" dirty="0"/>
              <a:t> </a:t>
            </a:r>
            <a:r>
              <a:rPr lang="de-DE" dirty="0" err="1"/>
              <a:t>section</a:t>
            </a:r>
            <a:r>
              <a:rPr lang="de-DE" dirty="0"/>
              <a:t> </a:t>
            </a:r>
            <a:r>
              <a:rPr lang="de-DE" dirty="0" err="1"/>
              <a:t>number</a:t>
            </a:r>
            <a:endParaRPr lang="de-DE" dirty="0"/>
          </a:p>
        </p:txBody>
      </p:sp>
      <p:sp>
        <p:nvSpPr>
          <p:cNvPr id="11" name="Rectangle 10"/>
          <p:cNvSpPr/>
          <p:nvPr userDrawn="1"/>
        </p:nvSpPr>
        <p:spPr>
          <a:xfrm>
            <a:off x="107504" y="4672013"/>
            <a:ext cx="2127696" cy="361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de-DE" sz="1800">
              <a:solidFill>
                <a:srgbClr val="FFFFFF"/>
              </a:solidFill>
            </a:endParaRPr>
          </a:p>
        </p:txBody>
      </p:sp>
      <p:pic>
        <p:nvPicPr>
          <p:cNvPr id="20" name="Picture 19" descr="ONEVOICE_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6461" y="4623809"/>
            <a:ext cx="973981" cy="170537"/>
          </a:xfrm>
          <a:prstGeom prst="rect">
            <a:avLst/>
          </a:prstGeom>
        </p:spPr>
      </p:pic>
      <p:pic>
        <p:nvPicPr>
          <p:cNvPr id="21" name="Picture 20"/>
          <p:cNvPicPr>
            <a:picLocks/>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a:xfrm>
            <a:off x="7405353" y="4618966"/>
            <a:ext cx="1306799" cy="180254"/>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1671520096"/>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Full bleed divider dark blue">
    <p:spTree>
      <p:nvGrpSpPr>
        <p:cNvPr id="1" name=""/>
        <p:cNvGrpSpPr/>
        <p:nvPr/>
      </p:nvGrpSpPr>
      <p:grpSpPr>
        <a:xfrm>
          <a:off x="0" y="0"/>
          <a:ext cx="0" cy="0"/>
          <a:chOff x="0" y="0"/>
          <a:chExt cx="0" cy="0"/>
        </a:xfrm>
      </p:grpSpPr>
      <p:sp>
        <p:nvSpPr>
          <p:cNvPr id="4" name="Freihandform 3"/>
          <p:cNvSpPr/>
          <p:nvPr userDrawn="1">
            <p:custDataLst>
              <p:tags r:id="rId1"/>
            </p:custDataLst>
          </p:nvPr>
        </p:nvSpPr>
        <p:spPr bwMode="auto">
          <a:xfrm>
            <a:off x="38" y="17"/>
            <a:ext cx="9144001" cy="51435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9A6"/>
              </a:gs>
              <a:gs pos="100000">
                <a:srgbClr val="0089C4"/>
              </a:gs>
            </a:gsLst>
            <a:lin ang="2100000" scaled="1"/>
            <a:tileRect/>
          </a:gradFill>
          <a:ln w="9525" cap="flat" cmpd="sng" algn="ctr">
            <a:noFill/>
            <a:prstDash val="solid"/>
            <a:round/>
            <a:headEnd type="none" w="med" len="med"/>
            <a:tailEnd type="none" w="med" len="med"/>
          </a:ln>
          <a:effectLst/>
          <a:extLst/>
        </p:spPr>
        <p:txBody>
          <a:bodyPr vert="horz" wrap="square" lIns="91284" tIns="45642" rIns="91284" bIns="45642" numCol="1" rtlCol="0" anchor="t" anchorCtr="0" compatLnSpc="1">
            <a:prstTxWarp prst="textNoShape">
              <a:avLst/>
            </a:prstTxWarp>
          </a:bodyPr>
          <a:lstStyle/>
          <a:p>
            <a:pPr defTabSz="912644"/>
            <a:endParaRPr lang="en-US" sz="2000">
              <a:solidFill>
                <a:srgbClr val="000000"/>
              </a:solidFill>
              <a:cs typeface="+mn-cs"/>
            </a:endParaRPr>
          </a:p>
        </p:txBody>
      </p:sp>
      <p:sp>
        <p:nvSpPr>
          <p:cNvPr id="5" name="Text Placeholder 9"/>
          <p:cNvSpPr>
            <a:spLocks noGrp="1"/>
          </p:cNvSpPr>
          <p:nvPr>
            <p:ph type="body" sz="quarter" idx="10" hasCustomPrompt="1"/>
          </p:nvPr>
        </p:nvSpPr>
        <p:spPr>
          <a:xfrm>
            <a:off x="827585" y="2188040"/>
            <a:ext cx="6155829" cy="990967"/>
          </a:xfrm>
          <a:prstGeom prst="rect">
            <a:avLst/>
          </a:prstGeom>
        </p:spPr>
        <p:txBody>
          <a:bodyPr wrap="square" lIns="0" tIns="0" rIns="0" bIns="0" anchor="t" anchorCtr="0">
            <a:noAutofit/>
          </a:bodyPr>
          <a:lstStyle>
            <a:lvl1pPr marL="0" indent="0" algn="l">
              <a:lnSpc>
                <a:spcPts val="6600"/>
              </a:lnSpc>
              <a:spcBef>
                <a:spcPts val="0"/>
              </a:spcBef>
              <a:buFontTx/>
              <a:buNone/>
              <a:defRPr sz="5600" b="1">
                <a:solidFill>
                  <a:schemeClr val="bg1"/>
                </a:solidFill>
              </a:defRPr>
            </a:lvl1pPr>
          </a:lstStyle>
          <a:p>
            <a:pPr lvl="0"/>
            <a:r>
              <a:rPr lang="de-DE" dirty="0"/>
              <a:t>Click to </a:t>
            </a:r>
            <a:r>
              <a:rPr lang="de-DE" dirty="0" err="1"/>
              <a:t>add</a:t>
            </a:r>
            <a:r>
              <a:rPr lang="de-DE" dirty="0"/>
              <a:t> </a:t>
            </a:r>
            <a:r>
              <a:rPr lang="de-DE" dirty="0" err="1"/>
              <a:t>text</a:t>
            </a:r>
            <a:endParaRPr lang="de-DE" dirty="0"/>
          </a:p>
        </p:txBody>
      </p:sp>
      <p:sp>
        <p:nvSpPr>
          <p:cNvPr id="3" name="Text Placeholder 2"/>
          <p:cNvSpPr>
            <a:spLocks noGrp="1"/>
          </p:cNvSpPr>
          <p:nvPr>
            <p:ph type="body" sz="quarter" idx="12" hasCustomPrompt="1"/>
          </p:nvPr>
        </p:nvSpPr>
        <p:spPr>
          <a:xfrm>
            <a:off x="827586" y="1900596"/>
            <a:ext cx="6155830" cy="264319"/>
          </a:xfrm>
          <a:prstGeom prst="rect">
            <a:avLst/>
          </a:prstGeom>
        </p:spPr>
        <p:txBody>
          <a:bodyPr vert="horz" lIns="0" tIns="0" rIns="0" bIns="0"/>
          <a:lstStyle>
            <a:lvl1pPr marL="0" indent="0">
              <a:buNone/>
              <a:defRPr sz="2100">
                <a:solidFill>
                  <a:schemeClr val="bg1"/>
                </a:solidFill>
              </a:defRPr>
            </a:lvl1pPr>
          </a:lstStyle>
          <a:p>
            <a:pPr lvl="0"/>
            <a:r>
              <a:rPr lang="en-GB" dirty="0"/>
              <a:t>Click to add text</a:t>
            </a:r>
          </a:p>
        </p:txBody>
      </p:sp>
    </p:spTree>
    <p:extLst>
      <p:ext uri="{BB962C8B-B14F-4D97-AF65-F5344CB8AC3E}">
        <p14:creationId xmlns:p14="http://schemas.microsoft.com/office/powerpoint/2010/main" val="3900430164"/>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Full bleed divider blue">
    <p:spTree>
      <p:nvGrpSpPr>
        <p:cNvPr id="1" name=""/>
        <p:cNvGrpSpPr/>
        <p:nvPr/>
      </p:nvGrpSpPr>
      <p:grpSpPr>
        <a:xfrm>
          <a:off x="0" y="0"/>
          <a:ext cx="0" cy="0"/>
          <a:chOff x="0" y="0"/>
          <a:chExt cx="0" cy="0"/>
        </a:xfrm>
      </p:grpSpPr>
      <p:sp>
        <p:nvSpPr>
          <p:cNvPr id="4" name="Freihandform 3"/>
          <p:cNvSpPr/>
          <p:nvPr userDrawn="1">
            <p:custDataLst>
              <p:tags r:id="rId1"/>
            </p:custDataLst>
          </p:nvPr>
        </p:nvSpPr>
        <p:spPr bwMode="auto">
          <a:xfrm>
            <a:off x="38" y="17"/>
            <a:ext cx="9144001" cy="51435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18000">
                <a:srgbClr val="0089C4"/>
              </a:gs>
              <a:gs pos="0">
                <a:srgbClr val="0089C4"/>
              </a:gs>
              <a:gs pos="100000">
                <a:srgbClr val="72B5CC"/>
              </a:gs>
            </a:gsLst>
            <a:lin ang="2100000" scaled="1"/>
            <a:tileRect/>
          </a:gradFill>
          <a:ln w="9525" cap="flat" cmpd="sng" algn="ctr">
            <a:noFill/>
            <a:prstDash val="solid"/>
            <a:round/>
            <a:headEnd type="none" w="med" len="med"/>
            <a:tailEnd type="none" w="med" len="med"/>
          </a:ln>
          <a:effectLst/>
          <a:extLst/>
        </p:spPr>
        <p:txBody>
          <a:bodyPr vert="horz" wrap="square" lIns="91284" tIns="45642" rIns="91284" bIns="45642" numCol="1" rtlCol="0" anchor="t" anchorCtr="0" compatLnSpc="1">
            <a:prstTxWarp prst="textNoShape">
              <a:avLst/>
            </a:prstTxWarp>
          </a:bodyPr>
          <a:lstStyle/>
          <a:p>
            <a:pPr defTabSz="912644"/>
            <a:endParaRPr lang="en-US" sz="2000">
              <a:solidFill>
                <a:srgbClr val="000000"/>
              </a:solidFill>
              <a:cs typeface="+mn-cs"/>
            </a:endParaRPr>
          </a:p>
        </p:txBody>
      </p:sp>
      <p:sp>
        <p:nvSpPr>
          <p:cNvPr id="8" name="Text Placeholder 9"/>
          <p:cNvSpPr>
            <a:spLocks noGrp="1"/>
          </p:cNvSpPr>
          <p:nvPr>
            <p:ph type="body" sz="quarter" idx="10" hasCustomPrompt="1"/>
          </p:nvPr>
        </p:nvSpPr>
        <p:spPr>
          <a:xfrm>
            <a:off x="827585" y="2188040"/>
            <a:ext cx="6155829" cy="990967"/>
          </a:xfrm>
          <a:prstGeom prst="rect">
            <a:avLst/>
          </a:prstGeom>
        </p:spPr>
        <p:txBody>
          <a:bodyPr wrap="square" lIns="0" tIns="0" rIns="0" bIns="0" anchor="t" anchorCtr="0">
            <a:noAutofit/>
          </a:bodyPr>
          <a:lstStyle>
            <a:lvl1pPr marL="0" indent="0" algn="l">
              <a:lnSpc>
                <a:spcPts val="6600"/>
              </a:lnSpc>
              <a:spcBef>
                <a:spcPts val="0"/>
              </a:spcBef>
              <a:buFontTx/>
              <a:buNone/>
              <a:defRPr sz="5600" b="1">
                <a:solidFill>
                  <a:schemeClr val="bg1"/>
                </a:solidFill>
              </a:defRPr>
            </a:lvl1pPr>
          </a:lstStyle>
          <a:p>
            <a:pPr lvl="0"/>
            <a:r>
              <a:rPr lang="de-DE" dirty="0"/>
              <a:t>Click to </a:t>
            </a:r>
            <a:r>
              <a:rPr lang="de-DE" dirty="0" err="1"/>
              <a:t>add</a:t>
            </a:r>
            <a:r>
              <a:rPr lang="de-DE" dirty="0"/>
              <a:t> </a:t>
            </a:r>
            <a:r>
              <a:rPr lang="de-DE" dirty="0" err="1"/>
              <a:t>text</a:t>
            </a:r>
            <a:endParaRPr lang="de-DE" dirty="0"/>
          </a:p>
        </p:txBody>
      </p:sp>
      <p:sp>
        <p:nvSpPr>
          <p:cNvPr id="9" name="Text Placeholder 2"/>
          <p:cNvSpPr>
            <a:spLocks noGrp="1"/>
          </p:cNvSpPr>
          <p:nvPr>
            <p:ph type="body" sz="quarter" idx="12" hasCustomPrompt="1"/>
          </p:nvPr>
        </p:nvSpPr>
        <p:spPr>
          <a:xfrm>
            <a:off x="827586" y="1900596"/>
            <a:ext cx="6155830" cy="264319"/>
          </a:xfrm>
          <a:prstGeom prst="rect">
            <a:avLst/>
          </a:prstGeom>
        </p:spPr>
        <p:txBody>
          <a:bodyPr vert="horz" lIns="0" tIns="0" rIns="0" bIns="0"/>
          <a:lstStyle>
            <a:lvl1pPr marL="0" indent="0">
              <a:buNone/>
              <a:defRPr sz="2100">
                <a:solidFill>
                  <a:schemeClr val="bg1"/>
                </a:solidFill>
              </a:defRPr>
            </a:lvl1pPr>
          </a:lstStyle>
          <a:p>
            <a:pPr lvl="0"/>
            <a:r>
              <a:rPr lang="en-GB" dirty="0"/>
              <a:t>Click to add text</a:t>
            </a:r>
          </a:p>
        </p:txBody>
      </p:sp>
    </p:spTree>
    <p:extLst>
      <p:ext uri="{BB962C8B-B14F-4D97-AF65-F5344CB8AC3E}">
        <p14:creationId xmlns:p14="http://schemas.microsoft.com/office/powerpoint/2010/main" val="111675314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s">
    <p:spTree>
      <p:nvGrpSpPr>
        <p:cNvPr id="1" name=""/>
        <p:cNvGrpSpPr/>
        <p:nvPr/>
      </p:nvGrpSpPr>
      <p:grpSpPr>
        <a:xfrm>
          <a:off x="0" y="0"/>
          <a:ext cx="0" cy="0"/>
          <a:chOff x="0" y="0"/>
          <a:chExt cx="0" cy="0"/>
        </a:xfrm>
      </p:grpSpPr>
      <p:grpSp>
        <p:nvGrpSpPr>
          <p:cNvPr id="2" name="Group 1"/>
          <p:cNvGrpSpPr/>
          <p:nvPr userDrawn="1"/>
        </p:nvGrpSpPr>
        <p:grpSpPr>
          <a:xfrm>
            <a:off x="-23446" y="1714500"/>
            <a:ext cx="9167446" cy="1619250"/>
            <a:chOff x="-23446" y="2286000"/>
            <a:chExt cx="9167446" cy="2159000"/>
          </a:xfrm>
        </p:grpSpPr>
        <p:sp>
          <p:nvSpPr>
            <p:cNvPr id="3" name="Rectangle 1"/>
            <p:cNvSpPr>
              <a:spLocks/>
            </p:cNvSpPr>
            <p:nvPr userDrawn="1"/>
          </p:nvSpPr>
          <p:spPr bwMode="auto">
            <a:xfrm>
              <a:off x="128954" y="2286000"/>
              <a:ext cx="8663354" cy="2159000"/>
            </a:xfrm>
            <a:prstGeom prst="rect">
              <a:avLst/>
            </a:prstGeom>
            <a:solidFill>
              <a:srgbClr val="E7E7E0"/>
            </a:solidFill>
            <a:ln w="9525">
              <a:noFill/>
              <a:miter lim="800000"/>
              <a:headEnd/>
              <a:tailEnd/>
            </a:ln>
          </p:spPr>
          <p:txBody>
            <a:bodyPr lIns="0" tIns="0" rIns="0" bIns="0"/>
            <a:lstStyle/>
            <a:p>
              <a:pPr defTabSz="912713" fontAlgn="auto">
                <a:spcBef>
                  <a:spcPts val="0"/>
                </a:spcBef>
                <a:spcAft>
                  <a:spcPts val="0"/>
                </a:spcAft>
              </a:pPr>
              <a:endParaRPr lang="es-ES" sz="1800" dirty="0">
                <a:solidFill>
                  <a:srgbClr val="003245"/>
                </a:solidFill>
                <a:latin typeface="Trebuchet MS"/>
              </a:endParaRPr>
            </a:p>
          </p:txBody>
        </p:sp>
        <p:sp>
          <p:nvSpPr>
            <p:cNvPr id="4" name="Rectangle 9"/>
            <p:cNvSpPr>
              <a:spLocks/>
            </p:cNvSpPr>
            <p:nvPr userDrawn="1"/>
          </p:nvSpPr>
          <p:spPr bwMode="auto">
            <a:xfrm>
              <a:off x="-23446" y="2286000"/>
              <a:ext cx="152400" cy="2159000"/>
            </a:xfrm>
            <a:prstGeom prst="rect">
              <a:avLst/>
            </a:prstGeom>
            <a:solidFill>
              <a:schemeClr val="accent5"/>
            </a:solidFill>
            <a:ln w="25400">
              <a:noFill/>
              <a:miter lim="800000"/>
              <a:headEnd/>
              <a:tailEnd/>
            </a:ln>
          </p:spPr>
          <p:txBody>
            <a:bodyPr lIns="0" tIns="0" rIns="0" bIns="0"/>
            <a:lstStyle/>
            <a:p>
              <a:pPr defTabSz="912713" fontAlgn="auto">
                <a:spcBef>
                  <a:spcPts val="0"/>
                </a:spcBef>
                <a:spcAft>
                  <a:spcPts val="0"/>
                </a:spcAft>
              </a:pPr>
              <a:endParaRPr lang="es-ES" sz="1800" dirty="0">
                <a:solidFill>
                  <a:srgbClr val="003245"/>
                </a:solidFill>
                <a:latin typeface="Trebuchet MS"/>
              </a:endParaRPr>
            </a:p>
          </p:txBody>
        </p:sp>
        <p:sp>
          <p:nvSpPr>
            <p:cNvPr id="5" name="Rectangle 10"/>
            <p:cNvSpPr>
              <a:spLocks/>
            </p:cNvSpPr>
            <p:nvPr userDrawn="1"/>
          </p:nvSpPr>
          <p:spPr bwMode="auto">
            <a:xfrm>
              <a:off x="128954" y="2286000"/>
              <a:ext cx="82062" cy="2159000"/>
            </a:xfrm>
            <a:prstGeom prst="rect">
              <a:avLst/>
            </a:prstGeom>
            <a:solidFill>
              <a:schemeClr val="tx2"/>
            </a:solidFill>
            <a:ln w="25400">
              <a:noFill/>
              <a:miter lim="800000"/>
              <a:headEnd/>
              <a:tailEnd/>
            </a:ln>
          </p:spPr>
          <p:txBody>
            <a:bodyPr lIns="0" tIns="0" rIns="0" bIns="0"/>
            <a:lstStyle/>
            <a:p>
              <a:pPr defTabSz="912713" fontAlgn="auto">
                <a:spcBef>
                  <a:spcPts val="0"/>
                </a:spcBef>
                <a:spcAft>
                  <a:spcPts val="0"/>
                </a:spcAft>
              </a:pPr>
              <a:endParaRPr lang="es-ES" sz="1800" dirty="0">
                <a:solidFill>
                  <a:srgbClr val="003245"/>
                </a:solidFill>
                <a:latin typeface="Trebuchet MS"/>
              </a:endParaRPr>
            </a:p>
          </p:txBody>
        </p:sp>
        <p:sp>
          <p:nvSpPr>
            <p:cNvPr id="6" name="Rectangle 11"/>
            <p:cNvSpPr>
              <a:spLocks/>
            </p:cNvSpPr>
            <p:nvPr userDrawn="1"/>
          </p:nvSpPr>
          <p:spPr bwMode="auto">
            <a:xfrm>
              <a:off x="8792308" y="2286000"/>
              <a:ext cx="351692" cy="2159000"/>
            </a:xfrm>
            <a:prstGeom prst="rect">
              <a:avLst/>
            </a:prstGeom>
            <a:solidFill>
              <a:schemeClr val="tx2"/>
            </a:solidFill>
            <a:ln w="25400">
              <a:noFill/>
              <a:miter lim="800000"/>
              <a:headEnd/>
              <a:tailEnd/>
            </a:ln>
          </p:spPr>
          <p:txBody>
            <a:bodyPr lIns="0" tIns="0" rIns="0" bIns="0"/>
            <a:lstStyle/>
            <a:p>
              <a:pPr defTabSz="912713" fontAlgn="auto">
                <a:spcBef>
                  <a:spcPts val="0"/>
                </a:spcBef>
                <a:spcAft>
                  <a:spcPts val="0"/>
                </a:spcAft>
              </a:pPr>
              <a:endParaRPr lang="es-ES" sz="1800" dirty="0">
                <a:solidFill>
                  <a:srgbClr val="003245"/>
                </a:solidFill>
                <a:latin typeface="Trebuchet MS"/>
              </a:endParaRPr>
            </a:p>
          </p:txBody>
        </p:sp>
      </p:grpSp>
      <p:sp>
        <p:nvSpPr>
          <p:cNvPr id="11" name="Title 1"/>
          <p:cNvSpPr>
            <a:spLocks noGrp="1"/>
          </p:cNvSpPr>
          <p:nvPr>
            <p:ph type="ctrTitle" hasCustomPrompt="1"/>
          </p:nvPr>
        </p:nvSpPr>
        <p:spPr>
          <a:xfrm>
            <a:off x="970085" y="1806181"/>
            <a:ext cx="7772400" cy="765572"/>
          </a:xfrm>
          <a:prstGeom prst="rect">
            <a:avLst/>
          </a:prstGeom>
        </p:spPr>
        <p:txBody>
          <a:bodyPr lIns="91290" tIns="45645" rIns="91290" bIns="45645" anchor="ctr"/>
          <a:lstStyle>
            <a:lvl1pPr algn="r">
              <a:defRPr sz="3000" b="1">
                <a:solidFill>
                  <a:schemeClr val="tx2"/>
                </a:solidFill>
              </a:defRPr>
            </a:lvl1pPr>
          </a:lstStyle>
          <a:p>
            <a:r>
              <a:rPr lang="en-GB" dirty="0"/>
              <a:t>Presentation Title</a:t>
            </a:r>
            <a:br>
              <a:rPr lang="en-GB" dirty="0"/>
            </a:br>
            <a:r>
              <a:rPr lang="en-GB" dirty="0"/>
              <a:t>Two lines and 30 </a:t>
            </a:r>
            <a:r>
              <a:rPr lang="en-GB" dirty="0" err="1"/>
              <a:t>pt</a:t>
            </a:r>
            <a:r>
              <a:rPr lang="en-GB" dirty="0"/>
              <a:t>_</a:t>
            </a:r>
          </a:p>
        </p:txBody>
      </p:sp>
      <p:sp>
        <p:nvSpPr>
          <p:cNvPr id="12" name="Subtitle 2"/>
          <p:cNvSpPr>
            <a:spLocks noGrp="1"/>
          </p:cNvSpPr>
          <p:nvPr>
            <p:ph type="subTitle" idx="1" hasCustomPrompt="1"/>
          </p:nvPr>
        </p:nvSpPr>
        <p:spPr>
          <a:xfrm>
            <a:off x="2341686" y="2614967"/>
            <a:ext cx="6400800" cy="664369"/>
          </a:xfrm>
          <a:prstGeom prst="rect">
            <a:avLst/>
          </a:prstGeom>
        </p:spPr>
        <p:txBody>
          <a:bodyPr lIns="91290" tIns="45645" rIns="91290" bIns="45645"/>
          <a:lstStyle>
            <a:lvl1pPr marL="0" indent="0" algn="r">
              <a:buNone/>
              <a:defRPr sz="1800">
                <a:solidFill>
                  <a:schemeClr val="tx2"/>
                </a:solidFill>
              </a:defRPr>
            </a:lvl1pPr>
            <a:lvl2pPr marL="456302" indent="0" algn="ctr">
              <a:buNone/>
              <a:defRPr>
                <a:solidFill>
                  <a:schemeClr val="tx1">
                    <a:tint val="75000"/>
                  </a:schemeClr>
                </a:solidFill>
              </a:defRPr>
            </a:lvl2pPr>
            <a:lvl3pPr marL="912713" indent="0" algn="ctr">
              <a:buNone/>
              <a:defRPr>
                <a:solidFill>
                  <a:schemeClr val="tx1">
                    <a:tint val="75000"/>
                  </a:schemeClr>
                </a:solidFill>
              </a:defRPr>
            </a:lvl3pPr>
            <a:lvl4pPr marL="1369050" indent="0" algn="ctr">
              <a:buNone/>
              <a:defRPr>
                <a:solidFill>
                  <a:schemeClr val="tx1">
                    <a:tint val="75000"/>
                  </a:schemeClr>
                </a:solidFill>
              </a:defRPr>
            </a:lvl4pPr>
            <a:lvl5pPr marL="1825424" indent="0" algn="ctr">
              <a:buNone/>
              <a:defRPr>
                <a:solidFill>
                  <a:schemeClr val="tx1">
                    <a:tint val="75000"/>
                  </a:schemeClr>
                </a:solidFill>
              </a:defRPr>
            </a:lvl5pPr>
            <a:lvl6pPr marL="2281725" indent="0" algn="ctr">
              <a:buNone/>
              <a:defRPr>
                <a:solidFill>
                  <a:schemeClr val="tx1">
                    <a:tint val="75000"/>
                  </a:schemeClr>
                </a:solidFill>
              </a:defRPr>
            </a:lvl6pPr>
            <a:lvl7pPr marL="2738027" indent="0" algn="ctr">
              <a:buNone/>
              <a:defRPr>
                <a:solidFill>
                  <a:schemeClr val="tx1">
                    <a:tint val="75000"/>
                  </a:schemeClr>
                </a:solidFill>
              </a:defRPr>
            </a:lvl7pPr>
            <a:lvl8pPr marL="3194403" indent="0" algn="ctr">
              <a:buNone/>
              <a:defRPr>
                <a:solidFill>
                  <a:schemeClr val="tx1">
                    <a:tint val="75000"/>
                  </a:schemeClr>
                </a:solidFill>
              </a:defRPr>
            </a:lvl8pPr>
            <a:lvl9pPr marL="3650761" indent="0" algn="ctr">
              <a:buNone/>
              <a:defRPr>
                <a:solidFill>
                  <a:schemeClr val="tx1">
                    <a:tint val="75000"/>
                  </a:schemeClr>
                </a:solidFill>
              </a:defRPr>
            </a:lvl9pPr>
          </a:lstStyle>
          <a:p>
            <a:r>
              <a:rPr lang="en-GB" dirty="0"/>
              <a:t>Subtitle front page (if necessary) 18pt</a:t>
            </a:r>
          </a:p>
        </p:txBody>
      </p:sp>
      <p:sp>
        <p:nvSpPr>
          <p:cNvPr id="9" name="Footer Placeholder 1"/>
          <p:cNvSpPr>
            <a:spLocks noGrp="1"/>
          </p:cNvSpPr>
          <p:nvPr>
            <p:ph type="ftr" sz="quarter" idx="3"/>
          </p:nvPr>
        </p:nvSpPr>
        <p:spPr>
          <a:xfrm>
            <a:off x="4788024" y="4900500"/>
            <a:ext cx="3024336" cy="162018"/>
          </a:xfrm>
          <a:prstGeom prst="rect">
            <a:avLst/>
          </a:prstGeom>
        </p:spPr>
        <p:txBody>
          <a:bodyPr vert="horz" lIns="0" tIns="0" rIns="0" bIns="0" rtlCol="0" anchor="t" anchorCtr="0"/>
          <a:lstStyle>
            <a:lvl1pPr algn="l">
              <a:defRPr sz="1000">
                <a:solidFill>
                  <a:schemeClr val="tx1"/>
                </a:solidFill>
              </a:defRPr>
            </a:lvl1pPr>
          </a:lstStyle>
          <a:p>
            <a:r>
              <a:rPr lang="en-GB" dirty="0">
                <a:solidFill>
                  <a:srgbClr val="003245"/>
                </a:solidFill>
              </a:rPr>
              <a:t>Internal Use Only</a:t>
            </a:r>
          </a:p>
        </p:txBody>
      </p:sp>
    </p:spTree>
    <p:extLst>
      <p:ext uri="{BB962C8B-B14F-4D97-AF65-F5344CB8AC3E}">
        <p14:creationId xmlns:p14="http://schemas.microsoft.com/office/powerpoint/2010/main" val="1359352706"/>
      </p:ext>
    </p:extLst>
  </p:cSld>
  <p:clrMapOvr>
    <a:masterClrMapping/>
  </p:clrMapOvr>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2">
    <p:spTree>
      <p:nvGrpSpPr>
        <p:cNvPr id="1" name=""/>
        <p:cNvGrpSpPr/>
        <p:nvPr/>
      </p:nvGrpSpPr>
      <p:grpSpPr>
        <a:xfrm>
          <a:off x="0" y="0"/>
          <a:ext cx="0" cy="0"/>
          <a:chOff x="0" y="0"/>
          <a:chExt cx="0" cy="0"/>
        </a:xfrm>
      </p:grpSpPr>
      <p:sp>
        <p:nvSpPr>
          <p:cNvPr id="3" name="Footer Placeholder 1"/>
          <p:cNvSpPr>
            <a:spLocks noGrp="1"/>
          </p:cNvSpPr>
          <p:nvPr>
            <p:ph type="ftr" sz="quarter" idx="3"/>
          </p:nvPr>
        </p:nvSpPr>
        <p:spPr>
          <a:xfrm>
            <a:off x="4788024" y="4900500"/>
            <a:ext cx="3024336" cy="162018"/>
          </a:xfrm>
          <a:prstGeom prst="rect">
            <a:avLst/>
          </a:prstGeom>
        </p:spPr>
        <p:txBody>
          <a:bodyPr vert="horz" lIns="0" tIns="0" rIns="0" bIns="0" rtlCol="0" anchor="t" anchorCtr="0"/>
          <a:lstStyle>
            <a:lvl1pPr algn="l">
              <a:defRPr sz="1000">
                <a:solidFill>
                  <a:schemeClr val="tx1"/>
                </a:solidFill>
              </a:defRPr>
            </a:lvl1pPr>
          </a:lstStyle>
          <a:p>
            <a:r>
              <a:rPr lang="en-GB" dirty="0">
                <a:solidFill>
                  <a:srgbClr val="003245"/>
                </a:solidFill>
              </a:rPr>
              <a:t>Internal Use Only</a:t>
            </a:r>
          </a:p>
        </p:txBody>
      </p:sp>
      <p:pic>
        <p:nvPicPr>
          <p:cNvPr id="4" name="Picture 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3333"/>
          <a:stretch/>
        </p:blipFill>
        <p:spPr bwMode="auto">
          <a:xfrm>
            <a:off x="0" y="0"/>
            <a:ext cx="914400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4010069"/>
      </p:ext>
    </p:extLst>
  </p:cSld>
  <p:clrMapOvr>
    <a:masterClrMapping/>
  </p:clrMapOvr>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4425956" y="4848206"/>
            <a:ext cx="279065" cy="219263"/>
          </a:xfrm>
          <a:prstGeom prst="rect">
            <a:avLst/>
          </a:prstGeom>
          <a:noFill/>
          <a:ln w="9525">
            <a:noFill/>
            <a:miter lim="800000"/>
            <a:headEnd/>
            <a:tailEnd/>
          </a:ln>
          <a:effectLst/>
        </p:spPr>
        <p:txBody>
          <a:bodyPr vert="horz" wrap="none" lIns="91290" tIns="45645" rIns="91290" bIns="45645"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fld id="{9D9F8B9A-560A-470D-9EA6-79F5999904E6}" type="slidenum">
              <a:rPr lang="en-GB"/>
              <a:pPr/>
              <a:t>‹#›</a:t>
            </a:fld>
            <a:endParaRPr lang="en-GB" dirty="0"/>
          </a:p>
        </p:txBody>
      </p:sp>
      <p:sp>
        <p:nvSpPr>
          <p:cNvPr id="3" name="Footer Placeholder 1"/>
          <p:cNvSpPr>
            <a:spLocks noGrp="1"/>
          </p:cNvSpPr>
          <p:nvPr>
            <p:ph type="ftr" sz="quarter" idx="3"/>
          </p:nvPr>
        </p:nvSpPr>
        <p:spPr>
          <a:xfrm>
            <a:off x="4788024" y="4900500"/>
            <a:ext cx="3024336" cy="162018"/>
          </a:xfrm>
          <a:prstGeom prst="rect">
            <a:avLst/>
          </a:prstGeom>
        </p:spPr>
        <p:txBody>
          <a:bodyPr vert="horz" lIns="0" tIns="0" rIns="0" bIns="0" rtlCol="0" anchor="t" anchorCtr="0"/>
          <a:lstStyle>
            <a:lvl1pPr algn="l">
              <a:defRPr sz="1000">
                <a:solidFill>
                  <a:schemeClr val="tx1"/>
                </a:solidFill>
              </a:defRPr>
            </a:lvl1pPr>
          </a:lstStyle>
          <a:p>
            <a:pPr defTabSz="912713" fontAlgn="auto">
              <a:spcBef>
                <a:spcPts val="0"/>
              </a:spcBef>
              <a:spcAft>
                <a:spcPts val="0"/>
              </a:spcAft>
            </a:pPr>
            <a:r>
              <a:rPr lang="en-GB">
                <a:solidFill>
                  <a:srgbClr val="003245"/>
                </a:solidFill>
                <a:latin typeface="Trebuchet MS"/>
              </a:rPr>
              <a:t>Internal Use Only</a:t>
            </a:r>
            <a:endParaRPr lang="en-GB" dirty="0">
              <a:solidFill>
                <a:srgbClr val="003245"/>
              </a:solidFill>
              <a:latin typeface="Trebuchet MS"/>
            </a:endParaRPr>
          </a:p>
        </p:txBody>
      </p:sp>
    </p:spTree>
    <p:extLst>
      <p:ext uri="{BB962C8B-B14F-4D97-AF65-F5344CB8AC3E}">
        <p14:creationId xmlns:p14="http://schemas.microsoft.com/office/powerpoint/2010/main" val="4178408118"/>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n-GB" noProof="0"/>
          </a:p>
        </p:txBody>
      </p:sp>
      <p:sp>
        <p:nvSpPr>
          <p:cNvPr id="4" name="Text Placeholder 3"/>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US"/>
              <a:t>Click to edit Master text styles</a:t>
            </a:r>
          </a:p>
        </p:txBody>
      </p:sp>
    </p:spTree>
  </p:cSld>
  <p:clrMapOvr>
    <a:masterClrMapping/>
  </p:clrMapOvr>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page ">
    <p:spTree>
      <p:nvGrpSpPr>
        <p:cNvPr id="1" name=""/>
        <p:cNvGrpSpPr/>
        <p:nvPr/>
      </p:nvGrpSpPr>
      <p:grpSpPr>
        <a:xfrm>
          <a:off x="0" y="0"/>
          <a:ext cx="0" cy="0"/>
          <a:chOff x="0" y="0"/>
          <a:chExt cx="0" cy="0"/>
        </a:xfrm>
      </p:grpSpPr>
      <p:sp>
        <p:nvSpPr>
          <p:cNvPr id="9" name="Text Placeholder 7"/>
          <p:cNvSpPr>
            <a:spLocks noGrp="1"/>
          </p:cNvSpPr>
          <p:nvPr>
            <p:ph type="body" sz="quarter" idx="12" hasCustomPrompt="1"/>
          </p:nvPr>
        </p:nvSpPr>
        <p:spPr>
          <a:xfrm>
            <a:off x="323529" y="4569972"/>
            <a:ext cx="6408712" cy="324036"/>
          </a:xfrm>
        </p:spPr>
        <p:txBody>
          <a:bodyPr>
            <a:noAutofit/>
          </a:bodyPr>
          <a:lstStyle>
            <a:lvl1pPr algn="l">
              <a:buNone/>
              <a:defRPr sz="2400" b="1" baseline="0">
                <a:solidFill>
                  <a:schemeClr val="tx2"/>
                </a:solidFill>
              </a:defRPr>
            </a:lvl1pPr>
          </a:lstStyle>
          <a:p>
            <a:r>
              <a:rPr lang="en-GB" sz="2000" b="1" i="0" dirty="0">
                <a:solidFill>
                  <a:srgbClr val="002060"/>
                </a:solidFill>
              </a:rPr>
              <a:t>Presentation Title</a:t>
            </a:r>
          </a:p>
        </p:txBody>
      </p:sp>
      <p:pic>
        <p:nvPicPr>
          <p:cNvPr id="5" name="Picture 4"/>
          <p:cNvPicPr preferRelativeResize="0">
            <a:picLocks noChangeAspect="1" noChangeArrowheads="1"/>
          </p:cNvPicPr>
          <p:nvPr userDrawn="1"/>
        </p:nvPicPr>
        <p:blipFill>
          <a:blip r:embed="rId2" cstate="screen"/>
          <a:srcRect/>
          <a:stretch>
            <a:fillRect/>
          </a:stretch>
        </p:blipFill>
        <p:spPr bwMode="auto">
          <a:xfrm>
            <a:off x="0" y="-9755"/>
            <a:ext cx="9144000" cy="4308278"/>
          </a:xfrm>
          <a:prstGeom prst="rect">
            <a:avLst/>
          </a:prstGeom>
          <a:noFill/>
          <a:ln w="9525">
            <a:noFill/>
            <a:miter lim="800000"/>
            <a:headEnd/>
            <a:tailEnd/>
          </a:ln>
          <a:effectLst/>
        </p:spPr>
      </p:pic>
    </p:spTree>
    <p:extLst>
      <p:ext uri="{BB962C8B-B14F-4D97-AF65-F5344CB8AC3E}">
        <p14:creationId xmlns:p14="http://schemas.microsoft.com/office/powerpoint/2010/main" val="270381130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page ">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screen"/>
          <a:srcRect/>
          <a:stretch>
            <a:fillRect/>
          </a:stretch>
        </p:blipFill>
        <p:spPr bwMode="auto">
          <a:xfrm>
            <a:off x="0" y="-4110"/>
            <a:ext cx="9144000" cy="4299197"/>
          </a:xfrm>
          <a:prstGeom prst="rect">
            <a:avLst/>
          </a:prstGeom>
          <a:noFill/>
          <a:ln w="9525">
            <a:noFill/>
            <a:miter lim="800000"/>
            <a:headEnd/>
            <a:tailEnd/>
          </a:ln>
          <a:effectLst/>
        </p:spPr>
      </p:pic>
      <p:sp>
        <p:nvSpPr>
          <p:cNvPr id="9" name="Text Placeholder 7"/>
          <p:cNvSpPr>
            <a:spLocks noGrp="1"/>
          </p:cNvSpPr>
          <p:nvPr>
            <p:ph type="body" sz="quarter" idx="12" hasCustomPrompt="1"/>
          </p:nvPr>
        </p:nvSpPr>
        <p:spPr>
          <a:xfrm>
            <a:off x="323529" y="4569972"/>
            <a:ext cx="6408712" cy="324036"/>
          </a:xfrm>
        </p:spPr>
        <p:txBody>
          <a:bodyPr>
            <a:noAutofit/>
          </a:bodyPr>
          <a:lstStyle>
            <a:lvl1pPr algn="l">
              <a:buNone/>
              <a:defRPr sz="2400" b="1" baseline="0">
                <a:solidFill>
                  <a:schemeClr val="tx2"/>
                </a:solidFill>
              </a:defRPr>
            </a:lvl1pPr>
          </a:lstStyle>
          <a:p>
            <a:r>
              <a:rPr lang="en-GB" sz="2000" b="1" i="0" dirty="0">
                <a:solidFill>
                  <a:srgbClr val="002060"/>
                </a:solidFill>
              </a:rPr>
              <a:t>Presentation Title</a:t>
            </a:r>
          </a:p>
        </p:txBody>
      </p:sp>
    </p:spTree>
    <p:extLst>
      <p:ext uri="{BB962C8B-B14F-4D97-AF65-F5344CB8AC3E}">
        <p14:creationId xmlns:p14="http://schemas.microsoft.com/office/powerpoint/2010/main" val="263065282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Blank Title Slide">
    <p:spTree>
      <p:nvGrpSpPr>
        <p:cNvPr id="1" name=""/>
        <p:cNvGrpSpPr/>
        <p:nvPr/>
      </p:nvGrpSpPr>
      <p:grpSpPr>
        <a:xfrm>
          <a:off x="0" y="0"/>
          <a:ext cx="0" cy="0"/>
          <a:chOff x="0" y="0"/>
          <a:chExt cx="0" cy="0"/>
        </a:xfrm>
      </p:grpSpPr>
      <p:grpSp>
        <p:nvGrpSpPr>
          <p:cNvPr id="14" name="Group 13"/>
          <p:cNvGrpSpPr/>
          <p:nvPr/>
        </p:nvGrpSpPr>
        <p:grpSpPr bwMode="hidden">
          <a:xfrm flipH="1">
            <a:off x="636" y="3104733"/>
            <a:ext cx="9143364" cy="1503736"/>
            <a:chOff x="848" y="4139643"/>
            <a:chExt cx="12187128" cy="2004981"/>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b="62419"/>
            <a:stretch/>
          </p:blipFill>
          <p:spPr bwMode="hidden">
            <a:xfrm flipV="1">
              <a:off x="848" y="4182193"/>
              <a:ext cx="12187128" cy="1933013"/>
            </a:xfrm>
            <a:prstGeom prst="rect">
              <a:avLst/>
            </a:prstGeom>
          </p:spPr>
        </p:pic>
        <p:sp>
          <p:nvSpPr>
            <p:cNvPr id="19" name="Rectangle 18"/>
            <p:cNvSpPr/>
            <p:nvPr userDrawn="1"/>
          </p:nvSpPr>
          <p:spPr bwMode="hidden">
            <a:xfrm rot="5400000">
              <a:off x="6070516" y="-1930025"/>
              <a:ext cx="47791" cy="12187128"/>
            </a:xfrm>
            <a:prstGeom prst="rect">
              <a:avLst/>
            </a:prstGeom>
            <a:gradFill flip="none" rotWithShape="1">
              <a:gsLst>
                <a:gs pos="77000">
                  <a:srgbClr val="0070C0">
                    <a:lumMod val="50000"/>
                  </a:srgbClr>
                </a:gs>
                <a:gs pos="0">
                  <a:srgbClr val="0070C0"/>
                </a:gs>
                <a:gs pos="100000">
                  <a:srgbClr val="002E50"/>
                </a:gs>
              </a:gsLst>
              <a:lin ang="16200000" scaled="1"/>
              <a:tileRect/>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p>
              <a:pPr algn="ctr" defTabSz="610476" eaLnBrk="0" hangingPunct="0">
                <a:lnSpc>
                  <a:spcPct val="90000"/>
                </a:lnSpc>
                <a:defRPr/>
              </a:pPr>
              <a:endParaRPr lang="en-US" sz="1400" kern="0" dirty="0">
                <a:solidFill>
                  <a:srgbClr val="000000"/>
                </a:solidFill>
                <a:latin typeface="Arial"/>
                <a:cs typeface="+mn-cs"/>
              </a:endParaRPr>
            </a:p>
          </p:txBody>
        </p:sp>
        <p:sp>
          <p:nvSpPr>
            <p:cNvPr id="20" name="Rectangle 19"/>
            <p:cNvSpPr/>
            <p:nvPr userDrawn="1"/>
          </p:nvSpPr>
          <p:spPr bwMode="hidden">
            <a:xfrm rot="16200000" flipH="1">
              <a:off x="6070516" y="27165"/>
              <a:ext cx="47791" cy="12187128"/>
            </a:xfrm>
            <a:prstGeom prst="rect">
              <a:avLst/>
            </a:prstGeom>
            <a:gradFill flip="none" rotWithShape="1">
              <a:gsLst>
                <a:gs pos="77000">
                  <a:srgbClr val="0070C0">
                    <a:lumMod val="50000"/>
                  </a:srgbClr>
                </a:gs>
                <a:gs pos="0">
                  <a:srgbClr val="0070C0"/>
                </a:gs>
                <a:gs pos="100000">
                  <a:srgbClr val="002E50"/>
                </a:gs>
              </a:gsLst>
              <a:lin ang="16200000" scaled="1"/>
              <a:tileRect/>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p>
              <a:pPr algn="ctr" defTabSz="610476" eaLnBrk="0" hangingPunct="0">
                <a:lnSpc>
                  <a:spcPct val="90000"/>
                </a:lnSpc>
                <a:defRPr/>
              </a:pPr>
              <a:endParaRPr lang="en-US" sz="1400" kern="0" dirty="0">
                <a:solidFill>
                  <a:srgbClr val="000000"/>
                </a:solidFill>
                <a:latin typeface="Arial"/>
                <a:cs typeface="+mn-cs"/>
              </a:endParaRPr>
            </a:p>
          </p:txBody>
        </p:sp>
      </p:grpSp>
      <p:sp>
        <p:nvSpPr>
          <p:cNvPr id="17" name="Text Placeholder 16"/>
          <p:cNvSpPr>
            <a:spLocks noGrp="1"/>
          </p:cNvSpPr>
          <p:nvPr>
            <p:ph type="body" sz="quarter" idx="13"/>
          </p:nvPr>
        </p:nvSpPr>
        <p:spPr>
          <a:xfrm>
            <a:off x="365135" y="4046423"/>
            <a:ext cx="6653993" cy="480060"/>
          </a:xfrm>
          <a:noFill/>
          <a:ln w="9525">
            <a:noFill/>
            <a:miter lim="800000"/>
            <a:headEnd/>
            <a:tailEnd/>
          </a:ln>
          <a:effectLst/>
        </p:spPr>
        <p:txBody>
          <a:bodyPr vert="horz" wrap="square" lIns="0" tIns="34289" rIns="0" bIns="0" numCol="1" anchor="t" anchorCtr="0" compatLnSpc="1">
            <a:prstTxWarp prst="textNoShape">
              <a:avLst/>
            </a:prstTxWarp>
            <a:noAutofit/>
          </a:bodyPr>
          <a:lstStyle>
            <a:lvl1pPr marL="342653" indent="-342653">
              <a:spcBef>
                <a:spcPts val="0"/>
              </a:spcBef>
              <a:buNone/>
              <a:defRPr kumimoji="0" lang="en-US" sz="1800" b="0" i="0" u="none" strike="noStrike" kern="0" cap="none" spc="0" normalizeH="0" baseline="0" dirty="0">
                <a:ln>
                  <a:noFill/>
                </a:ln>
                <a:solidFill>
                  <a:schemeClr val="bg1">
                    <a:lumMod val="95000"/>
                  </a:schemeClr>
                </a:solidFill>
                <a:effectLst/>
                <a:uLnTx/>
                <a:uFillTx/>
                <a:latin typeface="Arial" pitchFamily="34" charset="0"/>
                <a:cs typeface="Arial" pitchFamily="34" charset="0"/>
              </a:defRPr>
            </a:lvl1pPr>
          </a:lstStyle>
          <a:p>
            <a:pPr marL="0" marR="0" lvl="0" indent="0" fontAlgn="base">
              <a:lnSpc>
                <a:spcPct val="90000"/>
              </a:lnSpc>
              <a:spcBef>
                <a:spcPts val="600"/>
              </a:spcBef>
              <a:spcAft>
                <a:spcPct val="0"/>
              </a:spcAft>
              <a:buClr>
                <a:srgbClr val="15B1F7"/>
              </a:buClr>
              <a:buSzPct val="70000"/>
              <a:tabLst/>
            </a:pPr>
            <a:r>
              <a:rPr lang="en-US"/>
              <a:t>Click to edit Master text styles</a:t>
            </a:r>
          </a:p>
        </p:txBody>
      </p:sp>
      <p:sp>
        <p:nvSpPr>
          <p:cNvPr id="18" name="Text Placeholder 36"/>
          <p:cNvSpPr>
            <a:spLocks noGrp="1"/>
          </p:cNvSpPr>
          <p:nvPr>
            <p:ph type="body" sz="quarter" idx="18"/>
          </p:nvPr>
        </p:nvSpPr>
        <p:spPr>
          <a:xfrm>
            <a:off x="365141" y="3594545"/>
            <a:ext cx="6653993" cy="438912"/>
          </a:xfrm>
        </p:spPr>
        <p:txBody>
          <a:bodyPr lIns="0" tIns="0" rIns="0" bIns="27428" anchor="b" anchorCtr="0">
            <a:noAutofit/>
          </a:bodyPr>
          <a:lstStyle>
            <a:lvl1pPr marL="0" indent="0">
              <a:spcBef>
                <a:spcPts val="0"/>
              </a:spcBef>
              <a:buNone/>
              <a:defRPr sz="2400">
                <a:solidFill>
                  <a:schemeClr val="bg1"/>
                </a:solidFill>
                <a:latin typeface="Arial" pitchFamily="34" charset="0"/>
                <a:cs typeface="Arial" pitchFamily="34" charset="0"/>
              </a:defRPr>
            </a:lvl1pPr>
            <a:lvl2pPr marL="456869" indent="0">
              <a:buNone/>
              <a:defRPr sz="2400">
                <a:solidFill>
                  <a:schemeClr val="bg1">
                    <a:lumMod val="95000"/>
                  </a:schemeClr>
                </a:solidFill>
                <a:latin typeface="Arial" pitchFamily="34" charset="0"/>
                <a:cs typeface="Arial" pitchFamily="34" charset="0"/>
              </a:defRPr>
            </a:lvl2pPr>
            <a:lvl3pPr marL="913767" indent="0">
              <a:buNone/>
              <a:defRPr sz="2400">
                <a:solidFill>
                  <a:schemeClr val="bg1">
                    <a:lumMod val="95000"/>
                  </a:schemeClr>
                </a:solidFill>
                <a:latin typeface="Arial" pitchFamily="34" charset="0"/>
                <a:cs typeface="Arial" pitchFamily="34" charset="0"/>
              </a:defRPr>
            </a:lvl3pPr>
            <a:lvl4pPr marL="1370646" indent="0">
              <a:buNone/>
              <a:defRPr sz="2400">
                <a:solidFill>
                  <a:schemeClr val="bg1">
                    <a:lumMod val="95000"/>
                  </a:schemeClr>
                </a:solidFill>
                <a:latin typeface="Arial" pitchFamily="34" charset="0"/>
                <a:cs typeface="Arial" pitchFamily="34" charset="0"/>
              </a:defRPr>
            </a:lvl4pPr>
            <a:lvl5pPr marL="1827533" indent="0">
              <a:buNone/>
              <a:defRPr sz="2400">
                <a:solidFill>
                  <a:schemeClr val="bg1">
                    <a:lumMod val="95000"/>
                  </a:schemeClr>
                </a:solidFill>
                <a:latin typeface="Arial" pitchFamily="34" charset="0"/>
                <a:cs typeface="Arial" pitchFamily="34" charset="0"/>
              </a:defRPr>
            </a:lvl5pPr>
          </a:lstStyle>
          <a:p>
            <a:pPr lvl="0"/>
            <a:r>
              <a:rPr lang="en-US"/>
              <a:t>Click to edit Master text styles</a:t>
            </a:r>
          </a:p>
        </p:txBody>
      </p:sp>
      <p:sp>
        <p:nvSpPr>
          <p:cNvPr id="22" name="Text Placeholder 21"/>
          <p:cNvSpPr>
            <a:spLocks noGrp="1"/>
          </p:cNvSpPr>
          <p:nvPr>
            <p:ph type="body" sz="quarter" idx="14"/>
          </p:nvPr>
        </p:nvSpPr>
        <p:spPr>
          <a:xfrm>
            <a:off x="365141" y="411966"/>
            <a:ext cx="6653993" cy="2053829"/>
          </a:xfrm>
        </p:spPr>
        <p:txBody>
          <a:bodyPr lIns="0" tIns="0" rIns="0" bIns="68549" anchor="b" anchorCtr="0">
            <a:noAutofit/>
          </a:bodyPr>
          <a:lstStyle>
            <a:lvl1pPr marL="0" indent="0">
              <a:lnSpc>
                <a:spcPct val="95000"/>
              </a:lnSpc>
              <a:spcBef>
                <a:spcPts val="600"/>
              </a:spcBef>
              <a:spcAft>
                <a:spcPts val="0"/>
              </a:spcAft>
              <a:buNone/>
              <a:defRPr sz="4100" b="1">
                <a:solidFill>
                  <a:schemeClr val="tx2">
                    <a:lumMod val="90000"/>
                    <a:lumOff val="10000"/>
                  </a:schemeClr>
                </a:solidFill>
                <a:latin typeface="Arial" pitchFamily="34" charset="0"/>
                <a:cs typeface="Arial" pitchFamily="34" charset="0"/>
              </a:defRPr>
            </a:lvl1pPr>
            <a:lvl2pPr marL="456869" indent="0">
              <a:buNone/>
              <a:defRPr/>
            </a:lvl2pPr>
            <a:lvl3pPr marL="913767" indent="0">
              <a:buNone/>
              <a:defRPr/>
            </a:lvl3pPr>
            <a:lvl4pPr marL="1370646" indent="0">
              <a:buNone/>
              <a:defRPr/>
            </a:lvl4pPr>
            <a:lvl5pPr marL="1827533" indent="0">
              <a:buNone/>
              <a:defRPr/>
            </a:lvl5pPr>
          </a:lstStyle>
          <a:p>
            <a:pPr lvl="0"/>
            <a:r>
              <a:rPr lang="en-US"/>
              <a:t>Click to edit Master text styles</a:t>
            </a:r>
          </a:p>
        </p:txBody>
      </p:sp>
      <p:sp>
        <p:nvSpPr>
          <p:cNvPr id="25" name="Text Placeholder 21"/>
          <p:cNvSpPr>
            <a:spLocks noGrp="1"/>
          </p:cNvSpPr>
          <p:nvPr>
            <p:ph type="body" sz="quarter" idx="15"/>
          </p:nvPr>
        </p:nvSpPr>
        <p:spPr>
          <a:xfrm>
            <a:off x="365141" y="2468880"/>
            <a:ext cx="6653993" cy="411480"/>
          </a:xfrm>
        </p:spPr>
        <p:txBody>
          <a:bodyPr lIns="0" tIns="0" rIns="0" bIns="0" anchor="b" anchorCtr="0">
            <a:noAutofit/>
          </a:bodyPr>
          <a:lstStyle>
            <a:lvl1pPr marL="0" indent="0">
              <a:lnSpc>
                <a:spcPct val="85000"/>
              </a:lnSpc>
              <a:spcBef>
                <a:spcPts val="0"/>
              </a:spcBef>
              <a:buNone/>
              <a:defRPr sz="2000" b="0">
                <a:solidFill>
                  <a:schemeClr val="tx2">
                    <a:lumMod val="90000"/>
                    <a:lumOff val="10000"/>
                  </a:schemeClr>
                </a:solidFill>
                <a:latin typeface="Arial" pitchFamily="34" charset="0"/>
                <a:cs typeface="Arial" pitchFamily="34" charset="0"/>
              </a:defRPr>
            </a:lvl1pPr>
            <a:lvl2pPr marL="456869" indent="0">
              <a:buNone/>
              <a:defRPr/>
            </a:lvl2pPr>
            <a:lvl3pPr marL="913767" indent="0">
              <a:buNone/>
              <a:defRPr/>
            </a:lvl3pPr>
            <a:lvl4pPr marL="1370646" indent="0">
              <a:buNone/>
              <a:defRPr/>
            </a:lvl4pPr>
            <a:lvl5pPr marL="1827533" indent="0">
              <a:buNone/>
              <a:defRPr/>
            </a:lvl5pPr>
          </a:lstStyle>
          <a:p>
            <a:pPr lvl="0"/>
            <a:r>
              <a:rPr lang="en-US"/>
              <a:t>Click to edit Master text styles</a:t>
            </a:r>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b="27396"/>
          <a:stretch/>
        </p:blipFill>
        <p:spPr>
          <a:xfrm>
            <a:off x="8151043" y="4313425"/>
            <a:ext cx="874988" cy="514610"/>
          </a:xfrm>
          <a:prstGeom prst="rect">
            <a:avLst/>
          </a:prstGeom>
        </p:spPr>
      </p:pic>
      <p:sp>
        <p:nvSpPr>
          <p:cNvPr id="12" name="Footer Placeholder 4"/>
          <p:cNvSpPr>
            <a:spLocks noGrp="1"/>
          </p:cNvSpPr>
          <p:nvPr>
            <p:ph type="ftr" sz="quarter" idx="3"/>
          </p:nvPr>
        </p:nvSpPr>
        <p:spPr>
          <a:xfrm>
            <a:off x="3291841" y="4869180"/>
            <a:ext cx="2560320" cy="137160"/>
          </a:xfrm>
          <a:prstGeom prst="rect">
            <a:avLst/>
          </a:prstGeom>
        </p:spPr>
        <p:txBody>
          <a:bodyPr vert="horz" lIns="0" tIns="45691" rIns="0" bIns="45691" anchor="ctr" anchorCtr="0"/>
          <a:lstStyle>
            <a:lvl1pPr algn="ctr">
              <a:defRPr lang="en-US" sz="800" b="1">
                <a:solidFill>
                  <a:srgbClr val="C00000"/>
                </a:solidFill>
                <a:latin typeface="Arial" pitchFamily="34" charset="0"/>
                <a:cs typeface="Arial" pitchFamily="34" charset="0"/>
              </a:defRPr>
            </a:lvl1pPr>
          </a:lstStyle>
          <a:p>
            <a:endParaRPr/>
          </a:p>
        </p:txBody>
      </p:sp>
    </p:spTree>
    <p:extLst>
      <p:ext uri="{BB962C8B-B14F-4D97-AF65-F5344CB8AC3E}">
        <p14:creationId xmlns:p14="http://schemas.microsoft.com/office/powerpoint/2010/main" val="1049532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3230" y="411956"/>
            <a:ext cx="8437538" cy="583407"/>
          </a:xfrm>
        </p:spPr>
        <p:txBody>
          <a:bodyPr lIns="91382"/>
          <a:lstStyle>
            <a:lvl1pPr>
              <a:defRPr sz="2400" b="1"/>
            </a:lvl1pPr>
          </a:lstStyle>
          <a:p>
            <a:r>
              <a:rPr lang="en-US"/>
              <a:t>Click to edit Master title style</a:t>
            </a:r>
            <a:endParaRPr lang="en-US" dirty="0"/>
          </a:p>
        </p:txBody>
      </p:sp>
      <p:sp>
        <p:nvSpPr>
          <p:cNvPr id="3" name="Content Placeholder 2"/>
          <p:cNvSpPr>
            <a:spLocks noGrp="1"/>
          </p:cNvSpPr>
          <p:nvPr>
            <p:ph idx="1"/>
          </p:nvPr>
        </p:nvSpPr>
        <p:spPr>
          <a:xfrm>
            <a:off x="353230" y="1066145"/>
            <a:ext cx="8437538" cy="3566160"/>
          </a:xfrm>
        </p:spPr>
        <p:txBody>
          <a:bodyPr rIns="0"/>
          <a:lstStyle>
            <a:lvl1pPr>
              <a:buSzPct val="65000"/>
              <a:defRPr sz="2000"/>
            </a:lvl1pPr>
            <a:lvl2pPr>
              <a:buSzPct val="55000"/>
              <a:defRPr sz="1800"/>
            </a:lvl2pPr>
            <a:lvl3pPr>
              <a:defRPr sz="17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183993" y="4869180"/>
            <a:ext cx="274391" cy="137160"/>
          </a:xfrm>
          <a:prstGeom prst="rect">
            <a:avLst/>
          </a:prstGeom>
        </p:spPr>
        <p:txBody>
          <a:bodyPr vert="horz" lIns="0" tIns="45691" rIns="0" bIns="45691" anchor="ctr" anchorCtr="0"/>
          <a:lstStyle>
            <a:lvl1pPr algn="l">
              <a:defRPr sz="800">
                <a:solidFill>
                  <a:schemeClr val="tx2">
                    <a:lumMod val="75000"/>
                    <a:lumOff val="25000"/>
                  </a:schemeClr>
                </a:solidFill>
              </a:defRPr>
            </a:lvl1pPr>
          </a:lstStyle>
          <a:p>
            <a:fld id="{66154C79-5108-4633-81E3-88A2499DAACB}" type="slidenum">
              <a:rPr lang="en-US" smtClean="0">
                <a:solidFill>
                  <a:srgbClr val="232323">
                    <a:lumMod val="75000"/>
                    <a:lumOff val="25000"/>
                  </a:srgbClr>
                </a:solidFill>
              </a:rPr>
              <a:pPr/>
              <a:t>‹#›</a:t>
            </a:fld>
            <a:endParaRPr lang="en-US">
              <a:solidFill>
                <a:srgbClr val="232323">
                  <a:lumMod val="75000"/>
                  <a:lumOff val="25000"/>
                </a:srgbClr>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576794" y="4773278"/>
            <a:ext cx="447650" cy="240030"/>
          </a:xfrm>
          <a:prstGeom prst="rect">
            <a:avLst/>
          </a:prstGeom>
        </p:spPr>
      </p:pic>
      <p:sp>
        <p:nvSpPr>
          <p:cNvPr id="9" name="Footer Placeholder 4"/>
          <p:cNvSpPr>
            <a:spLocks noGrp="1"/>
          </p:cNvSpPr>
          <p:nvPr>
            <p:ph type="ftr" sz="quarter" idx="3"/>
          </p:nvPr>
        </p:nvSpPr>
        <p:spPr>
          <a:xfrm>
            <a:off x="3291841" y="4869180"/>
            <a:ext cx="2560320" cy="137160"/>
          </a:xfrm>
          <a:prstGeom prst="rect">
            <a:avLst/>
          </a:prstGeom>
        </p:spPr>
        <p:txBody>
          <a:bodyPr vert="horz" lIns="0" tIns="45691" rIns="0" bIns="45691" anchor="ctr" anchorCtr="0"/>
          <a:lstStyle>
            <a:lvl1pPr algn="ctr">
              <a:defRPr lang="en-US" sz="800" b="1">
                <a:solidFill>
                  <a:srgbClr val="C00000"/>
                </a:solidFill>
                <a:latin typeface="Arial" pitchFamily="34" charset="0"/>
                <a:cs typeface="Arial" pitchFamily="34" charset="0"/>
              </a:defRPr>
            </a:lvl1pPr>
          </a:lstStyle>
          <a:p>
            <a:endParaRPr/>
          </a:p>
        </p:txBody>
      </p:sp>
    </p:spTree>
    <p:extLst>
      <p:ext uri="{BB962C8B-B14F-4D97-AF65-F5344CB8AC3E}">
        <p14:creationId xmlns:p14="http://schemas.microsoft.com/office/powerpoint/2010/main" val="3054995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Header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3230" y="411956"/>
            <a:ext cx="8437538" cy="583407"/>
          </a:xfrm>
        </p:spPr>
        <p:txBody>
          <a:bodyPr lIns="91382"/>
          <a:lstStyle>
            <a:lvl1pPr>
              <a:defRPr sz="2400" b="1"/>
            </a:lvl1pPr>
          </a:lstStyle>
          <a:p>
            <a:r>
              <a:rPr lang="en-US" dirty="0"/>
              <a:t>Click to add title</a:t>
            </a:r>
          </a:p>
        </p:txBody>
      </p:sp>
      <p:sp>
        <p:nvSpPr>
          <p:cNvPr id="3" name="Content Placeholder 2"/>
          <p:cNvSpPr>
            <a:spLocks noGrp="1"/>
          </p:cNvSpPr>
          <p:nvPr>
            <p:ph idx="1"/>
          </p:nvPr>
        </p:nvSpPr>
        <p:spPr>
          <a:xfrm>
            <a:off x="353230" y="1066145"/>
            <a:ext cx="8437538" cy="3566160"/>
          </a:xfrm>
        </p:spPr>
        <p:txBody>
          <a:bodyPr rIns="0"/>
          <a:lstStyle>
            <a:lvl1pPr>
              <a:buSzPct val="65000"/>
              <a:defRPr sz="2000"/>
            </a:lvl1pPr>
            <a:lvl2pPr>
              <a:buSzPct val="55000"/>
              <a:defRPr sz="1800"/>
            </a:lvl2pPr>
            <a:lvl3pPr>
              <a:defRPr sz="17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183993" y="4869180"/>
            <a:ext cx="274391" cy="137160"/>
          </a:xfrm>
          <a:prstGeom prst="rect">
            <a:avLst/>
          </a:prstGeom>
        </p:spPr>
        <p:txBody>
          <a:bodyPr vert="horz" lIns="0" tIns="45691" rIns="0" bIns="45691" anchor="ctr" anchorCtr="0"/>
          <a:lstStyle>
            <a:lvl1pPr algn="l">
              <a:defRPr sz="800">
                <a:solidFill>
                  <a:schemeClr val="tx2">
                    <a:lumMod val="75000"/>
                    <a:lumOff val="25000"/>
                  </a:schemeClr>
                </a:solidFill>
              </a:defRPr>
            </a:lvl1pPr>
          </a:lstStyle>
          <a:p>
            <a:fld id="{66154C79-5108-4633-81E3-88A2499DAACB}" type="slidenum">
              <a:rPr lang="en-US" smtClean="0">
                <a:solidFill>
                  <a:srgbClr val="232323">
                    <a:lumMod val="75000"/>
                    <a:lumOff val="25000"/>
                  </a:srgbClr>
                </a:solidFill>
              </a:rPr>
              <a:pPr/>
              <a:t>‹#›</a:t>
            </a:fld>
            <a:endParaRPr lang="en-US">
              <a:solidFill>
                <a:srgbClr val="232323">
                  <a:lumMod val="75000"/>
                  <a:lumOff val="25000"/>
                </a:srgbClr>
              </a:solidFill>
            </a:endParaRPr>
          </a:p>
        </p:txBody>
      </p:sp>
      <p:pic>
        <p:nvPicPr>
          <p:cNvPr id="10" name="Picture 9"/>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576794" y="4773278"/>
            <a:ext cx="447650" cy="240030"/>
          </a:xfrm>
          <a:prstGeom prst="rect">
            <a:avLst/>
          </a:prstGeom>
        </p:spPr>
      </p:pic>
      <p:sp>
        <p:nvSpPr>
          <p:cNvPr id="6" name="Text Placeholder 5"/>
          <p:cNvSpPr>
            <a:spLocks noGrp="1"/>
          </p:cNvSpPr>
          <p:nvPr>
            <p:ph type="body" sz="quarter" idx="15" hasCustomPrompt="1"/>
          </p:nvPr>
        </p:nvSpPr>
        <p:spPr>
          <a:xfrm>
            <a:off x="353230" y="67782"/>
            <a:ext cx="8437538" cy="349758"/>
          </a:xfrm>
        </p:spPr>
        <p:txBody>
          <a:bodyPr lIns="89112" tIns="0" bIns="20573" anchor="b" anchorCtr="0">
            <a:noAutofit/>
          </a:bodyPr>
          <a:lstStyle>
            <a:lvl1pPr marL="0" indent="0">
              <a:buFont typeface="Arial" panose="020B0604020202020204" pitchFamily="34" charset="0"/>
              <a:buNone/>
              <a:defRPr sz="1500" b="1" cap="all" baseline="0">
                <a:solidFill>
                  <a:srgbClr val="137DBF"/>
                </a:solidFill>
              </a:defRPr>
            </a:lvl1pPr>
            <a:lvl2pPr marL="298690" indent="0">
              <a:buFont typeface="Arial" panose="020B0604020202020204" pitchFamily="34" charset="0"/>
              <a:buNone/>
              <a:defRPr/>
            </a:lvl2pPr>
            <a:lvl3pPr marL="556919" indent="0">
              <a:buFont typeface="Arial" panose="020B0604020202020204" pitchFamily="34" charset="0"/>
              <a:buNone/>
              <a:defRPr/>
            </a:lvl3pPr>
            <a:lvl4pPr marL="774696" indent="0">
              <a:buFont typeface="Arial" panose="020B0604020202020204" pitchFamily="34" charset="0"/>
              <a:buNone/>
              <a:defRPr/>
            </a:lvl4pPr>
            <a:lvl5pPr marL="943664" indent="0">
              <a:buFont typeface="Arial" panose="020B0604020202020204" pitchFamily="34" charset="0"/>
              <a:buNone/>
              <a:defRPr/>
            </a:lvl5pPr>
          </a:lstStyle>
          <a:p>
            <a:pPr lvl="0"/>
            <a:r>
              <a:rPr lang="en-US" dirty="0"/>
              <a:t>Click to add header</a:t>
            </a:r>
          </a:p>
        </p:txBody>
      </p:sp>
      <p:sp>
        <p:nvSpPr>
          <p:cNvPr id="9" name="Footer Placeholder 4"/>
          <p:cNvSpPr>
            <a:spLocks noGrp="1"/>
          </p:cNvSpPr>
          <p:nvPr>
            <p:ph type="ftr" sz="quarter" idx="3"/>
          </p:nvPr>
        </p:nvSpPr>
        <p:spPr>
          <a:xfrm>
            <a:off x="3291841" y="4869180"/>
            <a:ext cx="2560320" cy="137160"/>
          </a:xfrm>
          <a:prstGeom prst="rect">
            <a:avLst/>
          </a:prstGeom>
        </p:spPr>
        <p:txBody>
          <a:bodyPr vert="horz" lIns="0" tIns="45691" rIns="0" bIns="45691" anchor="ctr" anchorCtr="0"/>
          <a:lstStyle>
            <a:lvl1pPr algn="ctr">
              <a:defRPr lang="en-US" sz="800" b="1">
                <a:solidFill>
                  <a:srgbClr val="C00000"/>
                </a:solidFill>
                <a:latin typeface="Arial" pitchFamily="34" charset="0"/>
                <a:cs typeface="Arial" pitchFamily="34" charset="0"/>
              </a:defRPr>
            </a:lvl1pPr>
          </a:lstStyle>
          <a:p>
            <a:endParaRPr/>
          </a:p>
        </p:txBody>
      </p:sp>
    </p:spTree>
    <p:extLst>
      <p:ext uri="{BB962C8B-B14F-4D97-AF65-F5344CB8AC3E}">
        <p14:creationId xmlns:p14="http://schemas.microsoft.com/office/powerpoint/2010/main" val="200101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a:t>Click to add title</a:t>
            </a:r>
          </a:p>
        </p:txBody>
      </p:sp>
      <p:sp>
        <p:nvSpPr>
          <p:cNvPr id="5" name="Slide Number Placeholder 5"/>
          <p:cNvSpPr>
            <a:spLocks noGrp="1"/>
          </p:cNvSpPr>
          <p:nvPr>
            <p:ph type="sldNum" sz="quarter" idx="4"/>
          </p:nvPr>
        </p:nvSpPr>
        <p:spPr>
          <a:xfrm>
            <a:off x="183993" y="4869180"/>
            <a:ext cx="274391" cy="137160"/>
          </a:xfrm>
          <a:prstGeom prst="rect">
            <a:avLst/>
          </a:prstGeom>
        </p:spPr>
        <p:txBody>
          <a:bodyPr vert="horz" lIns="0" tIns="45691" rIns="0" bIns="45691" anchor="ctr" anchorCtr="0"/>
          <a:lstStyle>
            <a:lvl1pPr algn="l">
              <a:defRPr sz="800">
                <a:solidFill>
                  <a:schemeClr val="tx2">
                    <a:lumMod val="75000"/>
                    <a:lumOff val="25000"/>
                  </a:schemeClr>
                </a:solidFill>
              </a:defRPr>
            </a:lvl1pPr>
          </a:lstStyle>
          <a:p>
            <a:fld id="{66154C79-5108-4633-81E3-88A2499DAACB}" type="slidenum">
              <a:rPr lang="en-US" smtClean="0">
                <a:solidFill>
                  <a:srgbClr val="232323">
                    <a:lumMod val="75000"/>
                    <a:lumOff val="25000"/>
                  </a:srgbClr>
                </a:solidFill>
              </a:rPr>
              <a:pPr/>
              <a:t>‹#›</a:t>
            </a:fld>
            <a:endParaRPr lang="en-US">
              <a:solidFill>
                <a:srgbClr val="232323">
                  <a:lumMod val="75000"/>
                  <a:lumOff val="25000"/>
                </a:srgbClr>
              </a:solidFill>
            </a:endParaRPr>
          </a:p>
        </p:txBody>
      </p:sp>
      <p:pic>
        <p:nvPicPr>
          <p:cNvPr id="8" name="Picture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576794" y="4773278"/>
            <a:ext cx="447650" cy="240030"/>
          </a:xfrm>
          <a:prstGeom prst="rect">
            <a:avLst/>
          </a:prstGeom>
        </p:spPr>
      </p:pic>
      <p:sp>
        <p:nvSpPr>
          <p:cNvPr id="7" name="Footer Placeholder 4"/>
          <p:cNvSpPr>
            <a:spLocks noGrp="1"/>
          </p:cNvSpPr>
          <p:nvPr>
            <p:ph type="ftr" sz="quarter" idx="3"/>
          </p:nvPr>
        </p:nvSpPr>
        <p:spPr>
          <a:xfrm>
            <a:off x="3291841" y="4869180"/>
            <a:ext cx="2560320" cy="137160"/>
          </a:xfrm>
          <a:prstGeom prst="rect">
            <a:avLst/>
          </a:prstGeom>
        </p:spPr>
        <p:txBody>
          <a:bodyPr vert="horz" lIns="0" tIns="45691" rIns="0" bIns="45691" anchor="ctr" anchorCtr="0"/>
          <a:lstStyle>
            <a:lvl1pPr algn="ctr">
              <a:defRPr lang="en-US" sz="800" b="1">
                <a:solidFill>
                  <a:srgbClr val="C00000"/>
                </a:solidFill>
                <a:latin typeface="Arial" pitchFamily="34" charset="0"/>
                <a:cs typeface="Arial" pitchFamily="34" charset="0"/>
              </a:defRPr>
            </a:lvl1pPr>
          </a:lstStyle>
          <a:p>
            <a:endParaRPr/>
          </a:p>
        </p:txBody>
      </p:sp>
    </p:spTree>
    <p:extLst>
      <p:ext uri="{BB962C8B-B14F-4D97-AF65-F5344CB8AC3E}">
        <p14:creationId xmlns:p14="http://schemas.microsoft.com/office/powerpoint/2010/main" val="427355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Header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3230" y="411956"/>
            <a:ext cx="8437538" cy="583407"/>
          </a:xfrm>
        </p:spPr>
        <p:txBody>
          <a:bodyPr lIns="91382"/>
          <a:lstStyle>
            <a:lvl1pPr>
              <a:defRPr b="1"/>
            </a:lvl1pPr>
          </a:lstStyle>
          <a:p>
            <a:r>
              <a:rPr lang="en-US" dirty="0"/>
              <a:t>Click to add title</a:t>
            </a:r>
          </a:p>
        </p:txBody>
      </p:sp>
      <p:sp>
        <p:nvSpPr>
          <p:cNvPr id="8" name="Slide Number Placeholder 5"/>
          <p:cNvSpPr>
            <a:spLocks noGrp="1"/>
          </p:cNvSpPr>
          <p:nvPr>
            <p:ph type="sldNum" sz="quarter" idx="4"/>
          </p:nvPr>
        </p:nvSpPr>
        <p:spPr>
          <a:xfrm>
            <a:off x="183993" y="4869180"/>
            <a:ext cx="274391" cy="137160"/>
          </a:xfrm>
          <a:prstGeom prst="rect">
            <a:avLst/>
          </a:prstGeom>
        </p:spPr>
        <p:txBody>
          <a:bodyPr vert="horz" lIns="0" tIns="45691" rIns="0" bIns="45691" anchor="ctr" anchorCtr="0"/>
          <a:lstStyle>
            <a:lvl1pPr algn="l">
              <a:defRPr sz="800">
                <a:solidFill>
                  <a:schemeClr val="tx2">
                    <a:lumMod val="75000"/>
                    <a:lumOff val="25000"/>
                  </a:schemeClr>
                </a:solidFill>
              </a:defRPr>
            </a:lvl1pPr>
          </a:lstStyle>
          <a:p>
            <a:fld id="{66154C79-5108-4633-81E3-88A2499DAACB}" type="slidenum">
              <a:rPr lang="en-US" smtClean="0">
                <a:solidFill>
                  <a:srgbClr val="232323">
                    <a:lumMod val="75000"/>
                    <a:lumOff val="25000"/>
                  </a:srgbClr>
                </a:solidFill>
              </a:rPr>
              <a:pPr/>
              <a:t>‹#›</a:t>
            </a:fld>
            <a:endParaRPr lang="en-US">
              <a:solidFill>
                <a:srgbClr val="232323">
                  <a:lumMod val="75000"/>
                  <a:lumOff val="25000"/>
                </a:srgbClr>
              </a:solidFill>
            </a:endParaRPr>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576794" y="4773278"/>
            <a:ext cx="447650" cy="240030"/>
          </a:xfrm>
          <a:prstGeom prst="rect">
            <a:avLst/>
          </a:prstGeom>
        </p:spPr>
      </p:pic>
      <p:sp>
        <p:nvSpPr>
          <p:cNvPr id="10" name="Text Placeholder 5"/>
          <p:cNvSpPr>
            <a:spLocks noGrp="1"/>
          </p:cNvSpPr>
          <p:nvPr>
            <p:ph type="body" sz="quarter" idx="15" hasCustomPrompt="1"/>
          </p:nvPr>
        </p:nvSpPr>
        <p:spPr>
          <a:xfrm>
            <a:off x="353230" y="67782"/>
            <a:ext cx="8437538" cy="349758"/>
          </a:xfrm>
        </p:spPr>
        <p:txBody>
          <a:bodyPr lIns="89112" tIns="0" bIns="20573" anchor="b" anchorCtr="0">
            <a:noAutofit/>
          </a:bodyPr>
          <a:lstStyle>
            <a:lvl1pPr marL="0" indent="0">
              <a:buFont typeface="Arial" panose="020B0604020202020204" pitchFamily="34" charset="0"/>
              <a:buNone/>
              <a:defRPr sz="1500" b="1" cap="all" baseline="0">
                <a:solidFill>
                  <a:srgbClr val="137DBF"/>
                </a:solidFill>
              </a:defRPr>
            </a:lvl1pPr>
            <a:lvl2pPr marL="298690" indent="0">
              <a:buFont typeface="Arial" panose="020B0604020202020204" pitchFamily="34" charset="0"/>
              <a:buNone/>
              <a:defRPr/>
            </a:lvl2pPr>
            <a:lvl3pPr marL="556919" indent="0">
              <a:buFont typeface="Arial" panose="020B0604020202020204" pitchFamily="34" charset="0"/>
              <a:buNone/>
              <a:defRPr/>
            </a:lvl3pPr>
            <a:lvl4pPr marL="774696" indent="0">
              <a:buFont typeface="Arial" panose="020B0604020202020204" pitchFamily="34" charset="0"/>
              <a:buNone/>
              <a:defRPr/>
            </a:lvl4pPr>
            <a:lvl5pPr marL="943664" indent="0">
              <a:buFont typeface="Arial" panose="020B0604020202020204" pitchFamily="34" charset="0"/>
              <a:buNone/>
              <a:defRPr/>
            </a:lvl5pPr>
          </a:lstStyle>
          <a:p>
            <a:pPr lvl="0"/>
            <a:r>
              <a:rPr lang="en-US" dirty="0"/>
              <a:t>Click to add header</a:t>
            </a:r>
          </a:p>
        </p:txBody>
      </p:sp>
      <p:sp>
        <p:nvSpPr>
          <p:cNvPr id="7" name="Footer Placeholder 4"/>
          <p:cNvSpPr>
            <a:spLocks noGrp="1"/>
          </p:cNvSpPr>
          <p:nvPr>
            <p:ph type="ftr" sz="quarter" idx="3"/>
          </p:nvPr>
        </p:nvSpPr>
        <p:spPr>
          <a:xfrm>
            <a:off x="3291841" y="4869180"/>
            <a:ext cx="2560320" cy="137160"/>
          </a:xfrm>
          <a:prstGeom prst="rect">
            <a:avLst/>
          </a:prstGeom>
        </p:spPr>
        <p:txBody>
          <a:bodyPr vert="horz" lIns="0" tIns="45691" rIns="0" bIns="45691" anchor="ctr" anchorCtr="0"/>
          <a:lstStyle>
            <a:lvl1pPr algn="ctr">
              <a:defRPr lang="en-US" sz="800" b="1">
                <a:solidFill>
                  <a:srgbClr val="C00000"/>
                </a:solidFill>
                <a:latin typeface="Arial" pitchFamily="34" charset="0"/>
                <a:cs typeface="Arial" pitchFamily="34" charset="0"/>
              </a:defRPr>
            </a:lvl1pPr>
          </a:lstStyle>
          <a:p>
            <a:endParaRPr/>
          </a:p>
        </p:txBody>
      </p:sp>
    </p:spTree>
    <p:extLst>
      <p:ext uri="{BB962C8B-B14F-4D97-AF65-F5344CB8AC3E}">
        <p14:creationId xmlns:p14="http://schemas.microsoft.com/office/powerpoint/2010/main" val="111063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 and Two-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3230" y="411956"/>
            <a:ext cx="8437538" cy="583407"/>
          </a:xfrm>
        </p:spPr>
        <p:txBody>
          <a:bodyPr lIns="91382"/>
          <a:lstStyle>
            <a:lvl1pPr>
              <a:defRPr b="1"/>
            </a:lvl1pPr>
          </a:lstStyle>
          <a:p>
            <a:r>
              <a:rPr lang="en-US" dirty="0"/>
              <a:t>Click to add title</a:t>
            </a:r>
          </a:p>
        </p:txBody>
      </p:sp>
      <p:sp>
        <p:nvSpPr>
          <p:cNvPr id="3" name="Content Placeholder 2"/>
          <p:cNvSpPr>
            <a:spLocks noGrp="1"/>
          </p:cNvSpPr>
          <p:nvPr>
            <p:ph idx="1"/>
          </p:nvPr>
        </p:nvSpPr>
        <p:spPr>
          <a:xfrm>
            <a:off x="353245" y="1069847"/>
            <a:ext cx="4206241" cy="3566160"/>
          </a:xfrm>
        </p:spPr>
        <p:txBody>
          <a:bodyPr rIns="0">
            <a:normAutofit/>
          </a:bodyPr>
          <a:lstStyle>
            <a:lvl1pPr marL="171336" indent="-171336">
              <a:spcBef>
                <a:spcPts val="600"/>
              </a:spcBef>
              <a:buSzPct val="65000"/>
              <a:defRPr sz="1500"/>
            </a:lvl1pPr>
            <a:lvl2pPr marL="427214" indent="-168985">
              <a:buSzPct val="60000"/>
              <a:defRPr sz="1500"/>
            </a:lvl2pPr>
            <a:lvl3pPr marL="685443" indent="-168985">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183993" y="4869180"/>
            <a:ext cx="274391" cy="137160"/>
          </a:xfrm>
          <a:prstGeom prst="rect">
            <a:avLst/>
          </a:prstGeom>
        </p:spPr>
        <p:txBody>
          <a:bodyPr vert="horz" lIns="0" tIns="45691" rIns="0" bIns="45691" anchor="ctr" anchorCtr="0"/>
          <a:lstStyle>
            <a:lvl1pPr algn="l">
              <a:defRPr sz="800">
                <a:solidFill>
                  <a:schemeClr val="tx2">
                    <a:lumMod val="75000"/>
                    <a:lumOff val="25000"/>
                  </a:schemeClr>
                </a:solidFill>
              </a:defRPr>
            </a:lvl1pPr>
          </a:lstStyle>
          <a:p>
            <a:fld id="{66154C79-5108-4633-81E3-88A2499DAACB}" type="slidenum">
              <a:rPr lang="en-US" smtClean="0">
                <a:solidFill>
                  <a:srgbClr val="232323">
                    <a:lumMod val="75000"/>
                    <a:lumOff val="25000"/>
                  </a:srgbClr>
                </a:solidFill>
              </a:rPr>
              <a:pPr/>
              <a:t>‹#›</a:t>
            </a:fld>
            <a:endParaRPr lang="en-US">
              <a:solidFill>
                <a:srgbClr val="232323">
                  <a:lumMod val="75000"/>
                  <a:lumOff val="25000"/>
                </a:srgbClr>
              </a:solidFill>
            </a:endParaRPr>
          </a:p>
        </p:txBody>
      </p:sp>
      <p:sp>
        <p:nvSpPr>
          <p:cNvPr id="7" name="Content Placeholder 2"/>
          <p:cNvSpPr>
            <a:spLocks noGrp="1"/>
          </p:cNvSpPr>
          <p:nvPr>
            <p:ph idx="12"/>
          </p:nvPr>
        </p:nvSpPr>
        <p:spPr>
          <a:xfrm>
            <a:off x="4584549" y="1069847"/>
            <a:ext cx="4206241" cy="3566160"/>
          </a:xfrm>
        </p:spPr>
        <p:txBody>
          <a:bodyPr rIns="0">
            <a:normAutofit/>
          </a:bodyPr>
          <a:lstStyle>
            <a:lvl1pPr marL="171336" indent="-171336">
              <a:spcBef>
                <a:spcPts val="600"/>
              </a:spcBef>
              <a:buSzPct val="65000"/>
              <a:defRPr sz="1500"/>
            </a:lvl1pPr>
            <a:lvl2pPr marL="427214" indent="-168985">
              <a:buSzPct val="60000"/>
              <a:defRPr sz="1500"/>
            </a:lvl2pPr>
            <a:lvl3pPr marL="685443" indent="-168985">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576794" y="4773278"/>
            <a:ext cx="447650" cy="240030"/>
          </a:xfrm>
          <a:prstGeom prst="rect">
            <a:avLst/>
          </a:prstGeom>
        </p:spPr>
      </p:pic>
      <p:sp>
        <p:nvSpPr>
          <p:cNvPr id="8" name="Footer Placeholder 4"/>
          <p:cNvSpPr>
            <a:spLocks noGrp="1"/>
          </p:cNvSpPr>
          <p:nvPr>
            <p:ph type="ftr" sz="quarter" idx="3"/>
          </p:nvPr>
        </p:nvSpPr>
        <p:spPr>
          <a:xfrm>
            <a:off x="3291841" y="4869180"/>
            <a:ext cx="2560320" cy="137160"/>
          </a:xfrm>
          <a:prstGeom prst="rect">
            <a:avLst/>
          </a:prstGeom>
        </p:spPr>
        <p:txBody>
          <a:bodyPr vert="horz" lIns="0" tIns="45691" rIns="0" bIns="45691" anchor="ctr" anchorCtr="0"/>
          <a:lstStyle>
            <a:lvl1pPr algn="ctr">
              <a:defRPr lang="en-US" sz="800" b="1">
                <a:solidFill>
                  <a:srgbClr val="C00000"/>
                </a:solidFill>
                <a:latin typeface="Arial" pitchFamily="34" charset="0"/>
                <a:cs typeface="Arial" pitchFamily="34" charset="0"/>
              </a:defRPr>
            </a:lvl1pPr>
          </a:lstStyle>
          <a:p>
            <a:endParaRPr/>
          </a:p>
        </p:txBody>
      </p:sp>
    </p:spTree>
    <p:extLst>
      <p:ext uri="{BB962C8B-B14F-4D97-AF65-F5344CB8AC3E}">
        <p14:creationId xmlns:p14="http://schemas.microsoft.com/office/powerpoint/2010/main" val="945578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Header_Title and Two-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3230" y="411956"/>
            <a:ext cx="8437538" cy="583407"/>
          </a:xfrm>
        </p:spPr>
        <p:txBody>
          <a:bodyPr lIns="91382"/>
          <a:lstStyle>
            <a:lvl1pPr>
              <a:defRPr b="1"/>
            </a:lvl1pPr>
          </a:lstStyle>
          <a:p>
            <a:r>
              <a:rPr lang="en-US" dirty="0"/>
              <a:t>Click to add title</a:t>
            </a:r>
          </a:p>
        </p:txBody>
      </p:sp>
      <p:sp>
        <p:nvSpPr>
          <p:cNvPr id="3" name="Content Placeholder 2"/>
          <p:cNvSpPr>
            <a:spLocks noGrp="1"/>
          </p:cNvSpPr>
          <p:nvPr>
            <p:ph idx="1"/>
          </p:nvPr>
        </p:nvSpPr>
        <p:spPr>
          <a:xfrm>
            <a:off x="353245" y="1069848"/>
            <a:ext cx="4206241" cy="3566160"/>
          </a:xfrm>
        </p:spPr>
        <p:txBody>
          <a:bodyPr rIns="0">
            <a:normAutofit/>
          </a:bodyPr>
          <a:lstStyle>
            <a:lvl1pPr marL="171336" indent="-171336">
              <a:spcBef>
                <a:spcPts val="600"/>
              </a:spcBef>
              <a:buSzPct val="65000"/>
              <a:defRPr sz="1500"/>
            </a:lvl1pPr>
            <a:lvl2pPr marL="427214" indent="-168985">
              <a:buSzPct val="60000"/>
              <a:defRPr sz="1500"/>
            </a:lvl2pPr>
            <a:lvl3pPr marL="685443" indent="-168985">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183993" y="4869180"/>
            <a:ext cx="274391" cy="137160"/>
          </a:xfrm>
          <a:prstGeom prst="rect">
            <a:avLst/>
          </a:prstGeom>
        </p:spPr>
        <p:txBody>
          <a:bodyPr vert="horz" lIns="0" tIns="45691" rIns="0" bIns="45691" anchor="ctr" anchorCtr="0"/>
          <a:lstStyle>
            <a:lvl1pPr algn="l">
              <a:defRPr sz="800">
                <a:solidFill>
                  <a:schemeClr val="tx2">
                    <a:lumMod val="75000"/>
                    <a:lumOff val="25000"/>
                  </a:schemeClr>
                </a:solidFill>
              </a:defRPr>
            </a:lvl1pPr>
          </a:lstStyle>
          <a:p>
            <a:fld id="{66154C79-5108-4633-81E3-88A2499DAACB}" type="slidenum">
              <a:rPr lang="en-US" smtClean="0">
                <a:solidFill>
                  <a:srgbClr val="232323">
                    <a:lumMod val="75000"/>
                    <a:lumOff val="25000"/>
                  </a:srgbClr>
                </a:solidFill>
              </a:rPr>
              <a:pPr/>
              <a:t>‹#›</a:t>
            </a:fld>
            <a:endParaRPr lang="en-US">
              <a:solidFill>
                <a:srgbClr val="232323">
                  <a:lumMod val="75000"/>
                  <a:lumOff val="25000"/>
                </a:srgbClr>
              </a:solidFill>
            </a:endParaRPr>
          </a:p>
        </p:txBody>
      </p:sp>
      <p:sp>
        <p:nvSpPr>
          <p:cNvPr id="9" name="Content Placeholder 2"/>
          <p:cNvSpPr>
            <a:spLocks noGrp="1"/>
          </p:cNvSpPr>
          <p:nvPr>
            <p:ph idx="14"/>
          </p:nvPr>
        </p:nvSpPr>
        <p:spPr>
          <a:xfrm>
            <a:off x="4584549" y="1069848"/>
            <a:ext cx="4206241" cy="3566160"/>
          </a:xfrm>
        </p:spPr>
        <p:txBody>
          <a:bodyPr rIns="0">
            <a:normAutofit/>
          </a:bodyPr>
          <a:lstStyle>
            <a:lvl1pPr marL="171336" indent="-171336">
              <a:spcBef>
                <a:spcPts val="600"/>
              </a:spcBef>
              <a:buSzPct val="65000"/>
              <a:defRPr sz="1500"/>
            </a:lvl1pPr>
            <a:lvl2pPr marL="427214" indent="-168985">
              <a:buSzPct val="60000"/>
              <a:defRPr sz="1500"/>
            </a:lvl2pPr>
            <a:lvl3pPr marL="685443" indent="-168985">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576794" y="4773278"/>
            <a:ext cx="447650" cy="240030"/>
          </a:xfrm>
          <a:prstGeom prst="rect">
            <a:avLst/>
          </a:prstGeom>
        </p:spPr>
      </p:pic>
      <p:sp>
        <p:nvSpPr>
          <p:cNvPr id="13" name="Text Placeholder 5"/>
          <p:cNvSpPr>
            <a:spLocks noGrp="1"/>
          </p:cNvSpPr>
          <p:nvPr>
            <p:ph type="body" sz="quarter" idx="15" hasCustomPrompt="1"/>
          </p:nvPr>
        </p:nvSpPr>
        <p:spPr>
          <a:xfrm>
            <a:off x="353230" y="67782"/>
            <a:ext cx="8437538" cy="349758"/>
          </a:xfrm>
        </p:spPr>
        <p:txBody>
          <a:bodyPr lIns="89112" tIns="0" bIns="20573" anchor="b" anchorCtr="0">
            <a:noAutofit/>
          </a:bodyPr>
          <a:lstStyle>
            <a:lvl1pPr marL="0" indent="0">
              <a:buFont typeface="Arial" panose="020B0604020202020204" pitchFamily="34" charset="0"/>
              <a:buNone/>
              <a:defRPr sz="1500" b="1" cap="all" baseline="0">
                <a:solidFill>
                  <a:srgbClr val="137DBF"/>
                </a:solidFill>
              </a:defRPr>
            </a:lvl1pPr>
            <a:lvl2pPr marL="298690" indent="0">
              <a:buFont typeface="Arial" panose="020B0604020202020204" pitchFamily="34" charset="0"/>
              <a:buNone/>
              <a:defRPr/>
            </a:lvl2pPr>
            <a:lvl3pPr marL="556919" indent="0">
              <a:buFont typeface="Arial" panose="020B0604020202020204" pitchFamily="34" charset="0"/>
              <a:buNone/>
              <a:defRPr/>
            </a:lvl3pPr>
            <a:lvl4pPr marL="774696" indent="0">
              <a:buFont typeface="Arial" panose="020B0604020202020204" pitchFamily="34" charset="0"/>
              <a:buNone/>
              <a:defRPr/>
            </a:lvl4pPr>
            <a:lvl5pPr marL="943664" indent="0">
              <a:buFont typeface="Arial" panose="020B0604020202020204" pitchFamily="34" charset="0"/>
              <a:buNone/>
              <a:defRPr/>
            </a:lvl5pPr>
          </a:lstStyle>
          <a:p>
            <a:pPr lvl="0"/>
            <a:r>
              <a:rPr lang="en-US" dirty="0"/>
              <a:t>Click to add header</a:t>
            </a:r>
          </a:p>
        </p:txBody>
      </p:sp>
      <p:sp>
        <p:nvSpPr>
          <p:cNvPr id="12" name="Footer Placeholder 4"/>
          <p:cNvSpPr>
            <a:spLocks noGrp="1"/>
          </p:cNvSpPr>
          <p:nvPr>
            <p:ph type="ftr" sz="quarter" idx="3"/>
          </p:nvPr>
        </p:nvSpPr>
        <p:spPr>
          <a:xfrm>
            <a:off x="3291841" y="4869180"/>
            <a:ext cx="2560320" cy="137160"/>
          </a:xfrm>
          <a:prstGeom prst="rect">
            <a:avLst/>
          </a:prstGeom>
        </p:spPr>
        <p:txBody>
          <a:bodyPr vert="horz" lIns="0" tIns="45691" rIns="0" bIns="45691" anchor="ctr" anchorCtr="0"/>
          <a:lstStyle>
            <a:lvl1pPr algn="ctr">
              <a:defRPr lang="en-US" sz="800" b="1">
                <a:solidFill>
                  <a:srgbClr val="C00000"/>
                </a:solidFill>
                <a:latin typeface="Arial" pitchFamily="34" charset="0"/>
                <a:cs typeface="Arial" pitchFamily="34" charset="0"/>
              </a:defRPr>
            </a:lvl1pPr>
          </a:lstStyle>
          <a:p>
            <a:endParaRPr/>
          </a:p>
        </p:txBody>
      </p:sp>
    </p:spTree>
    <p:extLst>
      <p:ext uri="{BB962C8B-B14F-4D97-AF65-F5344CB8AC3E}">
        <p14:creationId xmlns:p14="http://schemas.microsoft.com/office/powerpoint/2010/main" val="36914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Title and Horizon">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1745"/>
          <a:stretch/>
        </p:blipFill>
        <p:spPr bwMode="white">
          <a:xfrm>
            <a:off x="1" y="0"/>
            <a:ext cx="9144000" cy="3574140"/>
          </a:xfrm>
          <a:prstGeom prst="rect">
            <a:avLst/>
          </a:prstGeom>
          <a:effectLst>
            <a:outerShdw blurRad="393700" dist="304800" dir="5400000" algn="t" rotWithShape="0">
              <a:prstClr val="black">
                <a:alpha val="40000"/>
              </a:prstClr>
            </a:outerShdw>
          </a:effectLst>
        </p:spPr>
      </p:pic>
      <p:sp>
        <p:nvSpPr>
          <p:cNvPr id="2" name="Title 1"/>
          <p:cNvSpPr>
            <a:spLocks noGrp="1"/>
          </p:cNvSpPr>
          <p:nvPr>
            <p:ph type="title" hasCustomPrompt="1"/>
          </p:nvPr>
        </p:nvSpPr>
        <p:spPr/>
        <p:txBody>
          <a:bodyPr/>
          <a:lstStyle>
            <a:lvl1pPr>
              <a:defRPr b="1"/>
            </a:lvl1pPr>
          </a:lstStyle>
          <a:p>
            <a:r>
              <a:rPr lang="en-US" dirty="0"/>
              <a:t>Click to add title</a:t>
            </a:r>
          </a:p>
        </p:txBody>
      </p:sp>
      <p:sp>
        <p:nvSpPr>
          <p:cNvPr id="7" name="Slide Number Placeholder 5"/>
          <p:cNvSpPr>
            <a:spLocks noGrp="1"/>
          </p:cNvSpPr>
          <p:nvPr>
            <p:ph type="sldNum" sz="quarter" idx="4"/>
          </p:nvPr>
        </p:nvSpPr>
        <p:spPr>
          <a:xfrm>
            <a:off x="183993" y="4869180"/>
            <a:ext cx="274391" cy="137160"/>
          </a:xfrm>
          <a:prstGeom prst="rect">
            <a:avLst/>
          </a:prstGeom>
        </p:spPr>
        <p:txBody>
          <a:bodyPr vert="horz" lIns="0" tIns="45691" rIns="0" bIns="45691" anchor="ctr" anchorCtr="0"/>
          <a:lstStyle>
            <a:lvl1pPr algn="l">
              <a:defRPr sz="800">
                <a:solidFill>
                  <a:schemeClr val="tx2">
                    <a:lumMod val="75000"/>
                    <a:lumOff val="25000"/>
                  </a:schemeClr>
                </a:solidFill>
              </a:defRPr>
            </a:lvl1pPr>
          </a:lstStyle>
          <a:p>
            <a:fld id="{66154C79-5108-4633-81E3-88A2499DAACB}" type="slidenum">
              <a:rPr lang="en-US" smtClean="0">
                <a:solidFill>
                  <a:srgbClr val="232323">
                    <a:lumMod val="75000"/>
                    <a:lumOff val="25000"/>
                  </a:srgbClr>
                </a:solidFill>
              </a:rPr>
              <a:pPr/>
              <a:t>‹#›</a:t>
            </a:fld>
            <a:endParaRPr lang="en-US">
              <a:solidFill>
                <a:srgbClr val="232323">
                  <a:lumMod val="75000"/>
                  <a:lumOff val="25000"/>
                </a:srgbClr>
              </a:solidFill>
            </a:endParaRPr>
          </a:p>
        </p:txBody>
      </p:sp>
      <p:pic>
        <p:nvPicPr>
          <p:cNvPr id="9" name="Picture 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576794" y="4773278"/>
            <a:ext cx="447650" cy="240030"/>
          </a:xfrm>
          <a:prstGeom prst="rect">
            <a:avLst/>
          </a:prstGeom>
        </p:spPr>
      </p:pic>
      <p:sp>
        <p:nvSpPr>
          <p:cNvPr id="10" name="Footer Placeholder 4"/>
          <p:cNvSpPr>
            <a:spLocks noGrp="1"/>
          </p:cNvSpPr>
          <p:nvPr>
            <p:ph type="ftr" sz="quarter" idx="3"/>
          </p:nvPr>
        </p:nvSpPr>
        <p:spPr>
          <a:xfrm>
            <a:off x="3291841" y="4869180"/>
            <a:ext cx="2560320" cy="137160"/>
          </a:xfrm>
          <a:prstGeom prst="rect">
            <a:avLst/>
          </a:prstGeom>
        </p:spPr>
        <p:txBody>
          <a:bodyPr vert="horz" lIns="0" tIns="45691" rIns="0" bIns="45691" anchor="ctr" anchorCtr="0"/>
          <a:lstStyle>
            <a:lvl1pPr algn="ctr">
              <a:defRPr lang="en-US" sz="800" b="1">
                <a:solidFill>
                  <a:srgbClr val="C00000"/>
                </a:solidFill>
                <a:latin typeface="Arial" pitchFamily="34" charset="0"/>
                <a:cs typeface="Arial" pitchFamily="34" charset="0"/>
              </a:defRPr>
            </a:lvl1pPr>
          </a:lstStyle>
          <a:p>
            <a:endParaRPr/>
          </a:p>
        </p:txBody>
      </p:sp>
    </p:spTree>
    <p:extLst>
      <p:ext uri="{BB962C8B-B14F-4D97-AF65-F5344CB8AC3E}">
        <p14:creationId xmlns:p14="http://schemas.microsoft.com/office/powerpoint/2010/main" val="8035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Header_Title and Horizon">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1745"/>
          <a:stretch/>
        </p:blipFill>
        <p:spPr bwMode="white">
          <a:xfrm>
            <a:off x="1" y="0"/>
            <a:ext cx="9144000" cy="3574140"/>
          </a:xfrm>
          <a:prstGeom prst="rect">
            <a:avLst/>
          </a:prstGeom>
          <a:effectLst>
            <a:outerShdw blurRad="393700" dist="304800" dir="5400000" algn="t" rotWithShape="0">
              <a:prstClr val="black">
                <a:alpha val="40000"/>
              </a:prstClr>
            </a:outerShdw>
          </a:effectLst>
        </p:spPr>
      </p:pic>
      <p:sp>
        <p:nvSpPr>
          <p:cNvPr id="2" name="Title 1"/>
          <p:cNvSpPr>
            <a:spLocks noGrp="1"/>
          </p:cNvSpPr>
          <p:nvPr>
            <p:ph type="title" hasCustomPrompt="1"/>
          </p:nvPr>
        </p:nvSpPr>
        <p:spPr>
          <a:xfrm>
            <a:off x="353230" y="411956"/>
            <a:ext cx="8437538" cy="583407"/>
          </a:xfrm>
        </p:spPr>
        <p:txBody>
          <a:bodyPr lIns="91382"/>
          <a:lstStyle>
            <a:lvl1pPr>
              <a:defRPr b="1"/>
            </a:lvl1pPr>
          </a:lstStyle>
          <a:p>
            <a:r>
              <a:rPr lang="en-US" dirty="0"/>
              <a:t>Click to add title</a:t>
            </a:r>
          </a:p>
        </p:txBody>
      </p:sp>
      <p:sp>
        <p:nvSpPr>
          <p:cNvPr id="8" name="Slide Number Placeholder 5"/>
          <p:cNvSpPr>
            <a:spLocks noGrp="1"/>
          </p:cNvSpPr>
          <p:nvPr>
            <p:ph type="sldNum" sz="quarter" idx="4"/>
          </p:nvPr>
        </p:nvSpPr>
        <p:spPr>
          <a:xfrm>
            <a:off x="183993" y="4869180"/>
            <a:ext cx="274391" cy="137160"/>
          </a:xfrm>
          <a:prstGeom prst="rect">
            <a:avLst/>
          </a:prstGeom>
        </p:spPr>
        <p:txBody>
          <a:bodyPr vert="horz" lIns="0" tIns="45691" rIns="0" bIns="45691" anchor="ctr" anchorCtr="0"/>
          <a:lstStyle>
            <a:lvl1pPr algn="l">
              <a:defRPr sz="800">
                <a:solidFill>
                  <a:schemeClr val="tx2">
                    <a:lumMod val="75000"/>
                    <a:lumOff val="25000"/>
                  </a:schemeClr>
                </a:solidFill>
              </a:defRPr>
            </a:lvl1pPr>
          </a:lstStyle>
          <a:p>
            <a:fld id="{66154C79-5108-4633-81E3-88A2499DAACB}" type="slidenum">
              <a:rPr lang="en-US" smtClean="0">
                <a:solidFill>
                  <a:srgbClr val="232323">
                    <a:lumMod val="75000"/>
                    <a:lumOff val="25000"/>
                  </a:srgbClr>
                </a:solidFill>
              </a:rPr>
              <a:pPr/>
              <a:t>‹#›</a:t>
            </a:fld>
            <a:endParaRPr lang="en-US">
              <a:solidFill>
                <a:srgbClr val="232323">
                  <a:lumMod val="75000"/>
                  <a:lumOff val="25000"/>
                </a:srgbClr>
              </a:solidFill>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576794" y="4773278"/>
            <a:ext cx="447650" cy="240030"/>
          </a:xfrm>
          <a:prstGeom prst="rect">
            <a:avLst/>
          </a:prstGeom>
        </p:spPr>
      </p:pic>
      <p:sp>
        <p:nvSpPr>
          <p:cNvPr id="12" name="Text Placeholder 5"/>
          <p:cNvSpPr>
            <a:spLocks noGrp="1"/>
          </p:cNvSpPr>
          <p:nvPr>
            <p:ph type="body" sz="quarter" idx="15" hasCustomPrompt="1"/>
          </p:nvPr>
        </p:nvSpPr>
        <p:spPr>
          <a:xfrm>
            <a:off x="353230" y="67782"/>
            <a:ext cx="8437538" cy="349758"/>
          </a:xfrm>
        </p:spPr>
        <p:txBody>
          <a:bodyPr lIns="89112" tIns="0" bIns="20573" anchor="b" anchorCtr="0">
            <a:noAutofit/>
          </a:bodyPr>
          <a:lstStyle>
            <a:lvl1pPr marL="0" indent="0">
              <a:buFont typeface="Arial" panose="020B0604020202020204" pitchFamily="34" charset="0"/>
              <a:buNone/>
              <a:defRPr sz="1500" b="1" cap="all" baseline="0">
                <a:solidFill>
                  <a:srgbClr val="137DBF"/>
                </a:solidFill>
              </a:defRPr>
            </a:lvl1pPr>
            <a:lvl2pPr marL="298690" indent="0">
              <a:buFont typeface="Arial" panose="020B0604020202020204" pitchFamily="34" charset="0"/>
              <a:buNone/>
              <a:defRPr/>
            </a:lvl2pPr>
            <a:lvl3pPr marL="556919" indent="0">
              <a:buFont typeface="Arial" panose="020B0604020202020204" pitchFamily="34" charset="0"/>
              <a:buNone/>
              <a:defRPr/>
            </a:lvl3pPr>
            <a:lvl4pPr marL="774696" indent="0">
              <a:buFont typeface="Arial" panose="020B0604020202020204" pitchFamily="34" charset="0"/>
              <a:buNone/>
              <a:defRPr/>
            </a:lvl4pPr>
            <a:lvl5pPr marL="943664" indent="0">
              <a:buFont typeface="Arial" panose="020B0604020202020204" pitchFamily="34" charset="0"/>
              <a:buNone/>
              <a:defRPr/>
            </a:lvl5pPr>
          </a:lstStyle>
          <a:p>
            <a:pPr lvl="0"/>
            <a:r>
              <a:rPr lang="en-US" dirty="0"/>
              <a:t>Click to add header</a:t>
            </a:r>
          </a:p>
        </p:txBody>
      </p:sp>
      <p:sp>
        <p:nvSpPr>
          <p:cNvPr id="9" name="Footer Placeholder 4"/>
          <p:cNvSpPr>
            <a:spLocks noGrp="1"/>
          </p:cNvSpPr>
          <p:nvPr>
            <p:ph type="ftr" sz="quarter" idx="3"/>
          </p:nvPr>
        </p:nvSpPr>
        <p:spPr>
          <a:xfrm>
            <a:off x="3291841" y="4869180"/>
            <a:ext cx="2560320" cy="137160"/>
          </a:xfrm>
          <a:prstGeom prst="rect">
            <a:avLst/>
          </a:prstGeom>
        </p:spPr>
        <p:txBody>
          <a:bodyPr vert="horz" lIns="0" tIns="45691" rIns="0" bIns="45691" anchor="ctr" anchorCtr="0"/>
          <a:lstStyle>
            <a:lvl1pPr algn="ctr">
              <a:defRPr lang="en-US" sz="800" b="1">
                <a:solidFill>
                  <a:srgbClr val="C00000"/>
                </a:solidFill>
                <a:latin typeface="Arial" pitchFamily="34" charset="0"/>
                <a:cs typeface="Arial" pitchFamily="34" charset="0"/>
              </a:defRPr>
            </a:lvl1pPr>
          </a:lstStyle>
          <a:p>
            <a:endParaRPr/>
          </a:p>
        </p:txBody>
      </p:sp>
    </p:spTree>
    <p:extLst>
      <p:ext uri="{BB962C8B-B14F-4D97-AF65-F5344CB8AC3E}">
        <p14:creationId xmlns:p14="http://schemas.microsoft.com/office/powerpoint/2010/main" val="110621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83993" y="4869180"/>
            <a:ext cx="274391" cy="137160"/>
          </a:xfrm>
          <a:prstGeom prst="rect">
            <a:avLst/>
          </a:prstGeom>
        </p:spPr>
        <p:txBody>
          <a:bodyPr vert="horz" lIns="0" tIns="45691" rIns="0" bIns="45691" anchor="ctr" anchorCtr="0"/>
          <a:lstStyle>
            <a:lvl1pPr algn="l">
              <a:defRPr sz="800">
                <a:solidFill>
                  <a:schemeClr val="tx2">
                    <a:lumMod val="75000"/>
                    <a:lumOff val="25000"/>
                  </a:schemeClr>
                </a:solidFill>
              </a:defRPr>
            </a:lvl1pPr>
          </a:lstStyle>
          <a:p>
            <a:fld id="{66154C79-5108-4633-81E3-88A2499DAACB}" type="slidenum">
              <a:rPr lang="en-US" smtClean="0">
                <a:solidFill>
                  <a:srgbClr val="232323">
                    <a:lumMod val="75000"/>
                    <a:lumOff val="25000"/>
                  </a:srgbClr>
                </a:solidFill>
              </a:rPr>
              <a:pPr/>
              <a:t>‹#›</a:t>
            </a:fld>
            <a:endParaRPr lang="en-US">
              <a:solidFill>
                <a:srgbClr val="232323">
                  <a:lumMod val="75000"/>
                  <a:lumOff val="25000"/>
                </a:srgbClr>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576794" y="4773278"/>
            <a:ext cx="447650" cy="240030"/>
          </a:xfrm>
          <a:prstGeom prst="rect">
            <a:avLst/>
          </a:prstGeom>
        </p:spPr>
      </p:pic>
      <p:sp>
        <p:nvSpPr>
          <p:cNvPr id="6" name="Footer Placeholder 4"/>
          <p:cNvSpPr>
            <a:spLocks noGrp="1"/>
          </p:cNvSpPr>
          <p:nvPr>
            <p:ph type="ftr" sz="quarter" idx="3"/>
          </p:nvPr>
        </p:nvSpPr>
        <p:spPr>
          <a:xfrm>
            <a:off x="3291841" y="4869180"/>
            <a:ext cx="2560320" cy="137160"/>
          </a:xfrm>
          <a:prstGeom prst="rect">
            <a:avLst/>
          </a:prstGeom>
        </p:spPr>
        <p:txBody>
          <a:bodyPr vert="horz" lIns="0" tIns="45691" rIns="0" bIns="45691" anchor="ctr" anchorCtr="0"/>
          <a:lstStyle>
            <a:lvl1pPr algn="ctr">
              <a:defRPr lang="en-US" sz="800" b="1">
                <a:solidFill>
                  <a:srgbClr val="C00000"/>
                </a:solidFill>
                <a:latin typeface="Arial" pitchFamily="34" charset="0"/>
                <a:cs typeface="Arial" pitchFamily="34" charset="0"/>
              </a:defRPr>
            </a:lvl1pPr>
          </a:lstStyle>
          <a:p>
            <a:endParaRPr/>
          </a:p>
        </p:txBody>
      </p:sp>
    </p:spTree>
    <p:extLst>
      <p:ext uri="{BB962C8B-B14F-4D97-AF65-F5344CB8AC3E}">
        <p14:creationId xmlns:p14="http://schemas.microsoft.com/office/powerpoint/2010/main" val="168008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533628" y="644674"/>
            <a:ext cx="6456114" cy="1200329"/>
          </a:xfrm>
          <a:prstGeom prst="rect">
            <a:avLst/>
          </a:prstGeom>
        </p:spPr>
        <p:txBody>
          <a:bodyPr lIns="91398" tIns="45699" rIns="91398" bIns="45699">
            <a:spAutoFit/>
          </a:bodyPr>
          <a:lstStyle>
            <a:lvl1pPr algn="l">
              <a:defRPr sz="3600">
                <a:solidFill>
                  <a:schemeClr val="bg1"/>
                </a:solidFill>
                <a:latin typeface="+mj-lt"/>
              </a:defRPr>
            </a:lvl1pPr>
          </a:lstStyle>
          <a:p>
            <a:r>
              <a:rPr lang="en-US" dirty="0"/>
              <a:t>Always In Title Case; </a:t>
            </a:r>
            <a:br>
              <a:rPr lang="en-US" dirty="0"/>
            </a:br>
            <a:r>
              <a:rPr lang="en-US" dirty="0"/>
              <a:t>2 Lines Preferred</a:t>
            </a:r>
          </a:p>
        </p:txBody>
      </p:sp>
      <p:sp>
        <p:nvSpPr>
          <p:cNvPr id="3" name="Subtitle 2"/>
          <p:cNvSpPr>
            <a:spLocks noGrp="1"/>
          </p:cNvSpPr>
          <p:nvPr>
            <p:ph type="subTitle" idx="1" hasCustomPrompt="1"/>
          </p:nvPr>
        </p:nvSpPr>
        <p:spPr bwMode="black">
          <a:xfrm>
            <a:off x="533629" y="2154173"/>
            <a:ext cx="6456116" cy="595548"/>
          </a:xfrm>
          <a:prstGeom prst="rect">
            <a:avLst/>
          </a:prstGeom>
        </p:spPr>
        <p:txBody>
          <a:bodyPr lIns="91398" tIns="45699" rIns="91398" bIns="45699">
            <a:spAutoFit/>
          </a:bodyPr>
          <a:lstStyle>
            <a:lvl1pPr marL="0" indent="0" algn="l" defTabSz="456950" rtl="0" eaLnBrk="1" latinLnBrk="0" hangingPunct="1">
              <a:lnSpc>
                <a:spcPct val="90000"/>
              </a:lnSpc>
              <a:spcBef>
                <a:spcPct val="0"/>
              </a:spcBef>
              <a:buNone/>
              <a:defRPr lang="en-US" sz="1800" b="0" kern="1200" dirty="0">
                <a:solidFill>
                  <a:schemeClr val="bg1"/>
                </a:solidFill>
                <a:latin typeface="+mj-lt"/>
                <a:ea typeface="+mj-ea"/>
                <a:cs typeface="+mj-cs"/>
              </a:defRPr>
            </a:lvl1pPr>
            <a:lvl2pPr marL="456950" indent="0" algn="ctr">
              <a:buNone/>
              <a:defRPr>
                <a:solidFill>
                  <a:schemeClr val="tx1">
                    <a:tint val="75000"/>
                  </a:schemeClr>
                </a:solidFill>
              </a:defRPr>
            </a:lvl2pPr>
            <a:lvl3pPr marL="913928" indent="0" algn="ctr">
              <a:buNone/>
              <a:defRPr>
                <a:solidFill>
                  <a:schemeClr val="tx1">
                    <a:tint val="75000"/>
                  </a:schemeClr>
                </a:solidFill>
              </a:defRPr>
            </a:lvl3pPr>
            <a:lvl4pPr marL="1370886" indent="0" algn="ctr">
              <a:buNone/>
              <a:defRPr>
                <a:solidFill>
                  <a:schemeClr val="tx1">
                    <a:tint val="75000"/>
                  </a:schemeClr>
                </a:solidFill>
              </a:defRPr>
            </a:lvl4pPr>
            <a:lvl5pPr marL="1827854" indent="0" algn="ctr">
              <a:buNone/>
              <a:defRPr>
                <a:solidFill>
                  <a:schemeClr val="tx1">
                    <a:tint val="75000"/>
                  </a:schemeClr>
                </a:solidFill>
              </a:defRPr>
            </a:lvl5pPr>
            <a:lvl6pPr marL="2284803" indent="0" algn="ctr">
              <a:buNone/>
              <a:defRPr>
                <a:solidFill>
                  <a:schemeClr val="tx1">
                    <a:tint val="75000"/>
                  </a:schemeClr>
                </a:solidFill>
              </a:defRPr>
            </a:lvl6pPr>
            <a:lvl7pPr marL="2741753" indent="0" algn="ctr">
              <a:buNone/>
              <a:defRPr>
                <a:solidFill>
                  <a:schemeClr val="tx1">
                    <a:tint val="75000"/>
                  </a:schemeClr>
                </a:solidFill>
              </a:defRPr>
            </a:lvl7pPr>
            <a:lvl8pPr marL="3198720" indent="0" algn="ctr">
              <a:buNone/>
              <a:defRPr>
                <a:solidFill>
                  <a:schemeClr val="tx1">
                    <a:tint val="75000"/>
                  </a:schemeClr>
                </a:solidFill>
              </a:defRPr>
            </a:lvl8pPr>
            <a:lvl9pPr marL="3655679" indent="0" algn="ctr">
              <a:buNone/>
              <a:defRPr>
                <a:solidFill>
                  <a:schemeClr val="tx1">
                    <a:tint val="75000"/>
                  </a:schemeClr>
                </a:solidFill>
              </a:defRPr>
            </a:lvl9pPr>
          </a:lstStyle>
          <a:p>
            <a:r>
              <a:rPr lang="en-US" dirty="0"/>
              <a:t>Subtitle or presenter name [sentence or title case as needed </a:t>
            </a:r>
            <a:br>
              <a:rPr lang="en-US" dirty="0"/>
            </a:br>
            <a:r>
              <a:rPr lang="en-US" dirty="0"/>
              <a:t>Calibri 18 pt]</a:t>
            </a:r>
          </a:p>
        </p:txBody>
      </p:sp>
      <p:sp>
        <p:nvSpPr>
          <p:cNvPr id="11" name="Text Placeholder 12"/>
          <p:cNvSpPr>
            <a:spLocks noGrp="1"/>
          </p:cNvSpPr>
          <p:nvPr>
            <p:ph type="body" sz="quarter" idx="11" hasCustomPrompt="1"/>
          </p:nvPr>
        </p:nvSpPr>
        <p:spPr bwMode="black">
          <a:xfrm>
            <a:off x="533629" y="2766411"/>
            <a:ext cx="6456116" cy="311621"/>
          </a:xfrm>
          <a:prstGeom prst="rect">
            <a:avLst/>
          </a:prstGeom>
        </p:spPr>
        <p:txBody>
          <a:bodyPr lIns="91398" tIns="45699" rIns="91398" bIns="45699">
            <a:spAutoFit/>
          </a:bodyPr>
          <a:lstStyle>
            <a:lvl1pPr marL="0" indent="0">
              <a:buNone/>
              <a:defRPr sz="1400" b="1">
                <a:solidFill>
                  <a:schemeClr val="bg1"/>
                </a:solidFill>
                <a:latin typeface="+mj-lt"/>
              </a:defRPr>
            </a:lvl1pPr>
          </a:lstStyle>
          <a:p>
            <a:pPr lvl="0"/>
            <a:r>
              <a:rPr lang="en-US" dirty="0"/>
              <a:t>Insert Date Here</a:t>
            </a:r>
            <a:endParaRPr lang="lt-LT" dirty="0"/>
          </a:p>
        </p:txBody>
      </p:sp>
      <p:pic>
        <p:nvPicPr>
          <p:cNvPr id="37" name="Picture 36" descr="ca_r_1cr.eps"/>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8178799" y="4438853"/>
            <a:ext cx="672084" cy="557403"/>
          </a:xfrm>
          <a:prstGeom prst="rect">
            <a:avLst/>
          </a:prstGeom>
        </p:spPr>
      </p:pic>
    </p:spTree>
    <p:extLst>
      <p:ext uri="{BB962C8B-B14F-4D97-AF65-F5344CB8AC3E}">
        <p14:creationId xmlns:p14="http://schemas.microsoft.com/office/powerpoint/2010/main" val="267211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7" name="Picture 6" descr="ca_r_1cr_gre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77334" y="4438853"/>
            <a:ext cx="672084" cy="557403"/>
          </a:xfrm>
          <a:prstGeom prst="rect">
            <a:avLst/>
          </a:prstGeom>
        </p:spPr>
      </p:pic>
      <p:sp>
        <p:nvSpPr>
          <p:cNvPr id="6" name="Title 1"/>
          <p:cNvSpPr>
            <a:spLocks noGrp="1"/>
          </p:cNvSpPr>
          <p:nvPr>
            <p:ph type="ctrTitle" hasCustomPrompt="1"/>
          </p:nvPr>
        </p:nvSpPr>
        <p:spPr bwMode="black">
          <a:xfrm>
            <a:off x="533628" y="644674"/>
            <a:ext cx="6456114" cy="1200329"/>
          </a:xfrm>
          <a:prstGeom prst="rect">
            <a:avLst/>
          </a:prstGeom>
        </p:spPr>
        <p:txBody>
          <a:bodyPr lIns="91398" tIns="45699" rIns="91398" bIns="45699">
            <a:spAutoFit/>
          </a:bodyPr>
          <a:lstStyle>
            <a:lvl1pPr algn="l">
              <a:defRPr sz="3600">
                <a:solidFill>
                  <a:schemeClr val="tx2"/>
                </a:solidFill>
                <a:latin typeface="+mj-lt"/>
              </a:defRPr>
            </a:lvl1pPr>
          </a:lstStyle>
          <a:p>
            <a:r>
              <a:rPr lang="en-US" dirty="0"/>
              <a:t>Always In Title Case; </a:t>
            </a:r>
            <a:br>
              <a:rPr lang="en-US" dirty="0"/>
            </a:br>
            <a:r>
              <a:rPr lang="en-US" dirty="0"/>
              <a:t>2 Lines Preferred</a:t>
            </a:r>
          </a:p>
        </p:txBody>
      </p:sp>
      <p:sp>
        <p:nvSpPr>
          <p:cNvPr id="8" name="Subtitle 2"/>
          <p:cNvSpPr>
            <a:spLocks noGrp="1"/>
          </p:cNvSpPr>
          <p:nvPr>
            <p:ph type="subTitle" idx="1" hasCustomPrompt="1"/>
          </p:nvPr>
        </p:nvSpPr>
        <p:spPr bwMode="black">
          <a:xfrm>
            <a:off x="533629" y="2154173"/>
            <a:ext cx="6456116" cy="595548"/>
          </a:xfrm>
          <a:prstGeom prst="rect">
            <a:avLst/>
          </a:prstGeom>
        </p:spPr>
        <p:txBody>
          <a:bodyPr lIns="91398" tIns="45699" rIns="91398" bIns="45699">
            <a:spAutoFit/>
          </a:bodyPr>
          <a:lstStyle>
            <a:lvl1pPr marL="0" indent="0" algn="l" defTabSz="456950" rtl="0" eaLnBrk="1" latinLnBrk="0" hangingPunct="1">
              <a:lnSpc>
                <a:spcPct val="90000"/>
              </a:lnSpc>
              <a:spcBef>
                <a:spcPct val="0"/>
              </a:spcBef>
              <a:buNone/>
              <a:defRPr lang="en-US" sz="1800" b="0" kern="1200" dirty="0">
                <a:solidFill>
                  <a:schemeClr val="tx2"/>
                </a:solidFill>
                <a:latin typeface="+mj-lt"/>
                <a:ea typeface="+mj-ea"/>
                <a:cs typeface="+mj-cs"/>
              </a:defRPr>
            </a:lvl1pPr>
            <a:lvl2pPr marL="456950" indent="0" algn="ctr">
              <a:buNone/>
              <a:defRPr>
                <a:solidFill>
                  <a:schemeClr val="tx1">
                    <a:tint val="75000"/>
                  </a:schemeClr>
                </a:solidFill>
              </a:defRPr>
            </a:lvl2pPr>
            <a:lvl3pPr marL="913928" indent="0" algn="ctr">
              <a:buNone/>
              <a:defRPr>
                <a:solidFill>
                  <a:schemeClr val="tx1">
                    <a:tint val="75000"/>
                  </a:schemeClr>
                </a:solidFill>
              </a:defRPr>
            </a:lvl3pPr>
            <a:lvl4pPr marL="1370886" indent="0" algn="ctr">
              <a:buNone/>
              <a:defRPr>
                <a:solidFill>
                  <a:schemeClr val="tx1">
                    <a:tint val="75000"/>
                  </a:schemeClr>
                </a:solidFill>
              </a:defRPr>
            </a:lvl4pPr>
            <a:lvl5pPr marL="1827854" indent="0" algn="ctr">
              <a:buNone/>
              <a:defRPr>
                <a:solidFill>
                  <a:schemeClr val="tx1">
                    <a:tint val="75000"/>
                  </a:schemeClr>
                </a:solidFill>
              </a:defRPr>
            </a:lvl5pPr>
            <a:lvl6pPr marL="2284803" indent="0" algn="ctr">
              <a:buNone/>
              <a:defRPr>
                <a:solidFill>
                  <a:schemeClr val="tx1">
                    <a:tint val="75000"/>
                  </a:schemeClr>
                </a:solidFill>
              </a:defRPr>
            </a:lvl6pPr>
            <a:lvl7pPr marL="2741753" indent="0" algn="ctr">
              <a:buNone/>
              <a:defRPr>
                <a:solidFill>
                  <a:schemeClr val="tx1">
                    <a:tint val="75000"/>
                  </a:schemeClr>
                </a:solidFill>
              </a:defRPr>
            </a:lvl7pPr>
            <a:lvl8pPr marL="3198720" indent="0" algn="ctr">
              <a:buNone/>
              <a:defRPr>
                <a:solidFill>
                  <a:schemeClr val="tx1">
                    <a:tint val="75000"/>
                  </a:schemeClr>
                </a:solidFill>
              </a:defRPr>
            </a:lvl8pPr>
            <a:lvl9pPr marL="3655679" indent="0" algn="ctr">
              <a:buNone/>
              <a:defRPr>
                <a:solidFill>
                  <a:schemeClr val="tx1">
                    <a:tint val="75000"/>
                  </a:schemeClr>
                </a:solidFill>
              </a:defRPr>
            </a:lvl9pPr>
          </a:lstStyle>
          <a:p>
            <a:r>
              <a:rPr lang="en-US" dirty="0"/>
              <a:t>Subtitle or presenter name [sentence or title case as needed </a:t>
            </a:r>
            <a:br>
              <a:rPr lang="en-US" dirty="0"/>
            </a:br>
            <a:r>
              <a:rPr lang="en-US" dirty="0"/>
              <a:t>Calibri 18 pt]</a:t>
            </a:r>
          </a:p>
        </p:txBody>
      </p:sp>
      <p:sp>
        <p:nvSpPr>
          <p:cNvPr id="9" name="Text Placeholder 12"/>
          <p:cNvSpPr>
            <a:spLocks noGrp="1"/>
          </p:cNvSpPr>
          <p:nvPr>
            <p:ph type="body" sz="quarter" idx="11" hasCustomPrompt="1"/>
          </p:nvPr>
        </p:nvSpPr>
        <p:spPr bwMode="black">
          <a:xfrm>
            <a:off x="533629" y="2766411"/>
            <a:ext cx="6456116" cy="311621"/>
          </a:xfrm>
          <a:prstGeom prst="rect">
            <a:avLst/>
          </a:prstGeom>
        </p:spPr>
        <p:txBody>
          <a:bodyPr lIns="91398" tIns="45699" rIns="91398" bIns="45699">
            <a:spAutoFit/>
          </a:bodyPr>
          <a:lstStyle>
            <a:lvl1pPr marL="0" indent="0">
              <a:buNone/>
              <a:defRPr sz="1400" b="1">
                <a:solidFill>
                  <a:schemeClr val="tx2"/>
                </a:solidFill>
                <a:latin typeface="+mj-lt"/>
              </a:defRPr>
            </a:lvl1pPr>
          </a:lstStyle>
          <a:p>
            <a:pPr lvl="0"/>
            <a:r>
              <a:rPr lang="en-US" dirty="0"/>
              <a:t>Insert Date Here</a:t>
            </a:r>
            <a:endParaRPr lang="lt-LT" dirty="0"/>
          </a:p>
        </p:txBody>
      </p:sp>
    </p:spTree>
    <p:extLst>
      <p:ext uri="{BB962C8B-B14F-4D97-AF65-F5344CB8AC3E}">
        <p14:creationId xmlns:p14="http://schemas.microsoft.com/office/powerpoint/2010/main" val="311474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Divider Slide - Title Case, Calibri 36 </a:t>
            </a:r>
            <a:r>
              <a:rPr lang="en-US" dirty="0" err="1"/>
              <a:t>pt</a:t>
            </a:r>
            <a:br>
              <a:rPr lang="en-US" dirty="0"/>
            </a:br>
            <a:r>
              <a:rPr lang="en-US" dirty="0"/>
              <a:t>2 Line Max</a:t>
            </a:r>
          </a:p>
        </p:txBody>
      </p:sp>
    </p:spTree>
    <p:extLst>
      <p:ext uri="{BB962C8B-B14F-4D97-AF65-F5344CB8AC3E}">
        <p14:creationId xmlns:p14="http://schemas.microsoft.com/office/powerpoint/2010/main" val="146093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2343A"/>
        </a:solidFill>
        <a:effectLst/>
      </p:bgPr>
    </p:bg>
    <p:spTree>
      <p:nvGrpSpPr>
        <p:cNvPr id="1" name=""/>
        <p:cNvGrpSpPr/>
        <p:nvPr/>
      </p:nvGrpSpPr>
      <p:grpSpPr>
        <a:xfrm>
          <a:off x="0" y="0"/>
          <a:ext cx="0" cy="0"/>
          <a:chOff x="0" y="0"/>
          <a:chExt cx="0" cy="0"/>
        </a:xfrm>
      </p:grpSpPr>
      <p:pic>
        <p:nvPicPr>
          <p:cNvPr id="19" name="Picture 18" descr="ca_r_1cr.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1779506" y="1719963"/>
            <a:ext cx="1911096" cy="1703578"/>
          </a:xfrm>
          <a:prstGeom prst="rect">
            <a:avLst/>
          </a:prstGeom>
        </p:spPr>
      </p:pic>
      <p:sp>
        <p:nvSpPr>
          <p:cNvPr id="20" name="Text Placeholder 4"/>
          <p:cNvSpPr>
            <a:spLocks noGrp="1"/>
          </p:cNvSpPr>
          <p:nvPr>
            <p:ph type="body" sz="quarter" idx="23" hasCustomPrompt="1"/>
          </p:nvPr>
        </p:nvSpPr>
        <p:spPr>
          <a:xfrm>
            <a:off x="4596501" y="1887536"/>
            <a:ext cx="3533106" cy="173124"/>
          </a:xfrm>
          <a:prstGeom prst="rect">
            <a:avLst/>
          </a:prstGeom>
        </p:spPr>
        <p:txBody>
          <a:bodyPr vert="horz" lIns="0" tIns="0" rIns="0" bIns="0" anchor="b" anchorCtr="0">
            <a:spAutoFit/>
          </a:bodyPr>
          <a:lstStyle>
            <a:lvl1pPr marL="0" indent="0">
              <a:lnSpc>
                <a:spcPct val="100000"/>
              </a:lnSpc>
              <a:spcBef>
                <a:spcPts val="0"/>
              </a:spcBef>
              <a:spcAft>
                <a:spcPts val="0"/>
              </a:spcAft>
              <a:buNone/>
              <a:defRPr sz="1100">
                <a:solidFill>
                  <a:schemeClr val="bg1"/>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a:t>Title Goes Here</a:t>
            </a:r>
          </a:p>
        </p:txBody>
      </p:sp>
      <p:sp>
        <p:nvSpPr>
          <p:cNvPr id="21" name="Text Placeholder 4"/>
          <p:cNvSpPr>
            <a:spLocks noGrp="1"/>
          </p:cNvSpPr>
          <p:nvPr>
            <p:ph type="body" sz="quarter" idx="24" hasCustomPrompt="1"/>
          </p:nvPr>
        </p:nvSpPr>
        <p:spPr>
          <a:xfrm>
            <a:off x="4596501" y="2074083"/>
            <a:ext cx="3533106" cy="173124"/>
          </a:xfrm>
          <a:prstGeom prst="rect">
            <a:avLst/>
          </a:prstGeom>
        </p:spPr>
        <p:txBody>
          <a:bodyPr vert="horz" lIns="0" tIns="0" rIns="0" bIns="0" anchor="b" anchorCtr="0">
            <a:spAutoFit/>
          </a:bodyPr>
          <a:lstStyle>
            <a:lvl1pPr marL="0" indent="0">
              <a:lnSpc>
                <a:spcPct val="100000"/>
              </a:lnSpc>
              <a:spcBef>
                <a:spcPts val="0"/>
              </a:spcBef>
              <a:spcAft>
                <a:spcPts val="0"/>
              </a:spcAft>
              <a:buNone/>
              <a:defRPr sz="1100">
                <a:solidFill>
                  <a:schemeClr val="bg1"/>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err="1"/>
              <a:t>First.Last@ca.com</a:t>
            </a:r>
            <a:endParaRPr lang="en-US" dirty="0"/>
          </a:p>
        </p:txBody>
      </p:sp>
      <p:sp>
        <p:nvSpPr>
          <p:cNvPr id="22" name="Text Placeholder 4"/>
          <p:cNvSpPr>
            <a:spLocks noGrp="1"/>
          </p:cNvSpPr>
          <p:nvPr>
            <p:ph type="body" sz="quarter" idx="25" hasCustomPrompt="1"/>
          </p:nvPr>
        </p:nvSpPr>
        <p:spPr>
          <a:xfrm>
            <a:off x="4596501" y="1630235"/>
            <a:ext cx="3533106" cy="246221"/>
          </a:xfrm>
          <a:prstGeom prst="rect">
            <a:avLst/>
          </a:prstGeom>
        </p:spPr>
        <p:txBody>
          <a:bodyPr vert="horz" lIns="0" tIns="0" rIns="0" bIns="0" anchor="b" anchorCtr="0">
            <a:spAutoFit/>
          </a:bodyPr>
          <a:lstStyle>
            <a:lvl1pPr marL="0" indent="0">
              <a:lnSpc>
                <a:spcPct val="100000"/>
              </a:lnSpc>
              <a:spcBef>
                <a:spcPts val="0"/>
              </a:spcBef>
              <a:spcAft>
                <a:spcPts val="0"/>
              </a:spcAft>
              <a:buNone/>
              <a:defRPr sz="1600" b="1" baseline="0">
                <a:solidFill>
                  <a:schemeClr val="bg1"/>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err="1"/>
              <a:t>Firstname</a:t>
            </a:r>
            <a:r>
              <a:rPr lang="en-US" dirty="0"/>
              <a:t> </a:t>
            </a:r>
            <a:r>
              <a:rPr lang="en-US" dirty="0" err="1"/>
              <a:t>Lastname</a:t>
            </a:r>
            <a:endParaRPr lang="en-US" dirty="0"/>
          </a:p>
        </p:txBody>
      </p:sp>
      <p:sp>
        <p:nvSpPr>
          <p:cNvPr id="23" name="Text Placeholder 4"/>
          <p:cNvSpPr>
            <a:spLocks noGrp="1"/>
          </p:cNvSpPr>
          <p:nvPr>
            <p:ph type="body" sz="quarter" idx="27" hasCustomPrompt="1"/>
          </p:nvPr>
        </p:nvSpPr>
        <p:spPr>
          <a:xfrm>
            <a:off x="4887786" y="2408056"/>
            <a:ext cx="3241822" cy="173124"/>
          </a:xfrm>
          <a:prstGeom prst="rect">
            <a:avLst/>
          </a:prstGeom>
        </p:spPr>
        <p:txBody>
          <a:bodyPr vert="horz" wrap="square" lIns="0" tIns="0" rIns="0" bIns="0" anchor="b" anchorCtr="0">
            <a:spAutoFit/>
          </a:bodyPr>
          <a:lstStyle>
            <a:lvl1pPr marL="0" indent="0">
              <a:lnSpc>
                <a:spcPct val="100000"/>
              </a:lnSpc>
              <a:spcBef>
                <a:spcPts val="0"/>
              </a:spcBef>
              <a:spcAft>
                <a:spcPts val="0"/>
              </a:spcAft>
              <a:buNone/>
              <a:defRPr sz="1100">
                <a:solidFill>
                  <a:schemeClr val="bg1"/>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a:t>@</a:t>
            </a:r>
            <a:r>
              <a:rPr lang="en-US" dirty="0" err="1"/>
              <a:t>cainc</a:t>
            </a:r>
            <a:endParaRPr lang="en-US" dirty="0"/>
          </a:p>
        </p:txBody>
      </p:sp>
      <p:sp>
        <p:nvSpPr>
          <p:cNvPr id="24" name="Text Placeholder 4"/>
          <p:cNvSpPr>
            <a:spLocks noGrp="1"/>
          </p:cNvSpPr>
          <p:nvPr>
            <p:ph type="body" sz="quarter" idx="28" hasCustomPrompt="1"/>
          </p:nvPr>
        </p:nvSpPr>
        <p:spPr>
          <a:xfrm>
            <a:off x="4887786" y="2660028"/>
            <a:ext cx="3241822" cy="173124"/>
          </a:xfrm>
          <a:prstGeom prst="rect">
            <a:avLst/>
          </a:prstGeom>
        </p:spPr>
        <p:txBody>
          <a:bodyPr vert="horz" wrap="square" lIns="0" tIns="0" rIns="0" bIns="0" anchor="b" anchorCtr="0">
            <a:spAutoFit/>
          </a:bodyPr>
          <a:lstStyle>
            <a:lvl1pPr marL="0" indent="0">
              <a:lnSpc>
                <a:spcPct val="100000"/>
              </a:lnSpc>
              <a:spcBef>
                <a:spcPts val="0"/>
              </a:spcBef>
              <a:spcAft>
                <a:spcPts val="0"/>
              </a:spcAft>
              <a:buNone/>
              <a:defRPr sz="1100">
                <a:solidFill>
                  <a:schemeClr val="bg1"/>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err="1"/>
              <a:t>slideshare.net</a:t>
            </a:r>
            <a:r>
              <a:rPr lang="en-US" dirty="0"/>
              <a:t>/</a:t>
            </a:r>
            <a:r>
              <a:rPr lang="en-US" dirty="0" err="1"/>
              <a:t>CAinc</a:t>
            </a:r>
            <a:endParaRPr lang="en-US" dirty="0"/>
          </a:p>
        </p:txBody>
      </p:sp>
      <p:sp>
        <p:nvSpPr>
          <p:cNvPr id="25" name="Text Placeholder 4"/>
          <p:cNvSpPr>
            <a:spLocks noGrp="1"/>
          </p:cNvSpPr>
          <p:nvPr>
            <p:ph type="body" sz="quarter" idx="29" hasCustomPrompt="1"/>
          </p:nvPr>
        </p:nvSpPr>
        <p:spPr>
          <a:xfrm>
            <a:off x="4887786" y="2912001"/>
            <a:ext cx="3241822" cy="173124"/>
          </a:xfrm>
          <a:prstGeom prst="rect">
            <a:avLst/>
          </a:prstGeom>
        </p:spPr>
        <p:txBody>
          <a:bodyPr vert="horz" wrap="square" lIns="0" tIns="0" rIns="0" bIns="0" anchor="b" anchorCtr="0">
            <a:spAutoFit/>
          </a:bodyPr>
          <a:lstStyle>
            <a:lvl1pPr marL="0" indent="0">
              <a:lnSpc>
                <a:spcPct val="100000"/>
              </a:lnSpc>
              <a:spcBef>
                <a:spcPts val="0"/>
              </a:spcBef>
              <a:spcAft>
                <a:spcPts val="0"/>
              </a:spcAft>
              <a:buNone/>
              <a:defRPr sz="1100">
                <a:solidFill>
                  <a:schemeClr val="bg1"/>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err="1"/>
              <a:t>linkedin.com</a:t>
            </a:r>
            <a:r>
              <a:rPr lang="en-US" dirty="0"/>
              <a:t>/company/</a:t>
            </a:r>
            <a:r>
              <a:rPr lang="en-US" dirty="0" err="1"/>
              <a:t>ca</a:t>
            </a:r>
            <a:r>
              <a:rPr lang="en-US" dirty="0"/>
              <a:t>-technologies</a:t>
            </a:r>
          </a:p>
        </p:txBody>
      </p:sp>
      <p:sp>
        <p:nvSpPr>
          <p:cNvPr id="26" name="Text Placeholder 4"/>
          <p:cNvSpPr>
            <a:spLocks noGrp="1"/>
          </p:cNvSpPr>
          <p:nvPr>
            <p:ph type="body" sz="quarter" idx="30" hasCustomPrompt="1"/>
          </p:nvPr>
        </p:nvSpPr>
        <p:spPr>
          <a:xfrm>
            <a:off x="4596501" y="3245711"/>
            <a:ext cx="3533106" cy="219291"/>
          </a:xfrm>
          <a:prstGeom prst="rect">
            <a:avLst/>
          </a:prstGeom>
        </p:spPr>
        <p:txBody>
          <a:bodyPr vert="horz" lIns="0" tIns="0" rIns="0" bIns="0" anchor="b" anchorCtr="0">
            <a:spAutoFit/>
          </a:bodyPr>
          <a:lstStyle>
            <a:lvl1pPr marL="0" indent="0">
              <a:lnSpc>
                <a:spcPct val="100000"/>
              </a:lnSpc>
              <a:spcBef>
                <a:spcPts val="0"/>
              </a:spcBef>
              <a:spcAft>
                <a:spcPts val="0"/>
              </a:spcAft>
              <a:buNone/>
              <a:defRPr sz="1400" b="1" baseline="0">
                <a:solidFill>
                  <a:schemeClr val="bg1"/>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err="1"/>
              <a:t>ca.com</a:t>
            </a:r>
            <a:endParaRPr lang="en-US" dirty="0"/>
          </a:p>
        </p:txBody>
      </p:sp>
      <p:pic>
        <p:nvPicPr>
          <p:cNvPr id="27" name="Picture Placeholder 2"/>
          <p:cNvPicPr>
            <a:picLocks noChangeAspect="1"/>
          </p:cNvPicPr>
          <p:nvPr userDrawn="1"/>
        </p:nvPicPr>
        <p:blipFill>
          <a:blip r:embed="rId3"/>
          <a:stretch>
            <a:fillRect/>
          </a:stretch>
        </p:blipFill>
        <p:spPr bwMode="black">
          <a:xfrm>
            <a:off x="4597127" y="2401856"/>
            <a:ext cx="198120" cy="209550"/>
          </a:xfrm>
          <a:prstGeom prst="rect">
            <a:avLst/>
          </a:prstGeom>
          <a:noFill/>
          <a:ln>
            <a:noFill/>
          </a:ln>
        </p:spPr>
      </p:pic>
      <p:pic>
        <p:nvPicPr>
          <p:cNvPr id="28" name="Picture Placeholder 6"/>
          <p:cNvPicPr>
            <a:picLocks noChangeAspect="1"/>
          </p:cNvPicPr>
          <p:nvPr userDrawn="1"/>
        </p:nvPicPr>
        <p:blipFill>
          <a:blip r:embed="rId4"/>
          <a:stretch>
            <a:fillRect/>
          </a:stretch>
        </p:blipFill>
        <p:spPr bwMode="black">
          <a:xfrm>
            <a:off x="4597127" y="2656137"/>
            <a:ext cx="198120" cy="209550"/>
          </a:xfrm>
          <a:prstGeom prst="rect">
            <a:avLst/>
          </a:prstGeom>
          <a:noFill/>
          <a:ln>
            <a:noFill/>
          </a:ln>
        </p:spPr>
      </p:pic>
      <p:pic>
        <p:nvPicPr>
          <p:cNvPr id="29" name="Picture Placeholder 11"/>
          <p:cNvPicPr>
            <a:picLocks noChangeAspect="1"/>
          </p:cNvPicPr>
          <p:nvPr userDrawn="1"/>
        </p:nvPicPr>
        <p:blipFill>
          <a:blip r:embed="rId5"/>
          <a:stretch>
            <a:fillRect/>
          </a:stretch>
        </p:blipFill>
        <p:spPr bwMode="black">
          <a:xfrm>
            <a:off x="4597127" y="2910419"/>
            <a:ext cx="198120" cy="209550"/>
          </a:xfrm>
          <a:prstGeom prst="rect">
            <a:avLst/>
          </a:prstGeom>
          <a:noFill/>
          <a:ln>
            <a:noFill/>
          </a:ln>
        </p:spPr>
      </p:pic>
      <p:cxnSp>
        <p:nvCxnSpPr>
          <p:cNvPr id="14" name="Straight Connector 13"/>
          <p:cNvCxnSpPr/>
          <p:nvPr userDrawn="1"/>
        </p:nvCxnSpPr>
        <p:spPr>
          <a:xfrm>
            <a:off x="3971860" y="1336339"/>
            <a:ext cx="0" cy="2470849"/>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9470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2_Closing Slide">
    <p:bg>
      <p:bgRef idx="1001">
        <a:schemeClr val="bg1"/>
      </p:bgRef>
    </p:bg>
    <p:spTree>
      <p:nvGrpSpPr>
        <p:cNvPr id="1" name=""/>
        <p:cNvGrpSpPr/>
        <p:nvPr/>
      </p:nvGrpSpPr>
      <p:grpSpPr>
        <a:xfrm>
          <a:off x="0" y="0"/>
          <a:ext cx="0" cy="0"/>
          <a:chOff x="0" y="0"/>
          <a:chExt cx="0" cy="0"/>
        </a:xfrm>
      </p:grpSpPr>
      <p:pic>
        <p:nvPicPr>
          <p:cNvPr id="14" name="Picture 13" descr="ca_r_1cr_gre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27892" y="2068440"/>
            <a:ext cx="1216152" cy="1008634"/>
          </a:xfrm>
          <a:prstGeom prst="rect">
            <a:avLst/>
          </a:prstGeom>
        </p:spPr>
      </p:pic>
      <p:pic>
        <p:nvPicPr>
          <p:cNvPr id="15" name="Picture Placeholder 2"/>
          <p:cNvPicPr>
            <a:picLocks noChangeAspect="1"/>
          </p:cNvPicPr>
          <p:nvPr userDrawn="1"/>
        </p:nvPicPr>
        <p:blipFill>
          <a:blip r:embed="rId3">
            <a:lum bright="-40000"/>
            <a:duotone>
              <a:prstClr val="black"/>
              <a:schemeClr val="bg2">
                <a:tint val="45000"/>
                <a:satMod val="400000"/>
              </a:schemeClr>
            </a:duotone>
          </a:blip>
          <a:stretch>
            <a:fillRect/>
          </a:stretch>
        </p:blipFill>
        <p:spPr bwMode="black">
          <a:xfrm>
            <a:off x="4597127" y="2401856"/>
            <a:ext cx="198120" cy="209550"/>
          </a:xfrm>
          <a:prstGeom prst="rect">
            <a:avLst/>
          </a:prstGeom>
          <a:noFill/>
          <a:ln>
            <a:noFill/>
          </a:ln>
        </p:spPr>
      </p:pic>
      <p:pic>
        <p:nvPicPr>
          <p:cNvPr id="16" name="Picture Placeholder 6"/>
          <p:cNvPicPr>
            <a:picLocks noChangeAspect="1"/>
          </p:cNvPicPr>
          <p:nvPr userDrawn="1"/>
        </p:nvPicPr>
        <p:blipFill>
          <a:blip r:embed="rId4">
            <a:duotone>
              <a:prstClr val="black"/>
              <a:schemeClr val="bg2">
                <a:tint val="45000"/>
                <a:satMod val="400000"/>
              </a:schemeClr>
            </a:duotone>
            <a:lum bright="-40000"/>
          </a:blip>
          <a:stretch>
            <a:fillRect/>
          </a:stretch>
        </p:blipFill>
        <p:spPr bwMode="black">
          <a:xfrm>
            <a:off x="4597127" y="2656137"/>
            <a:ext cx="198120" cy="209550"/>
          </a:xfrm>
          <a:prstGeom prst="rect">
            <a:avLst/>
          </a:prstGeom>
          <a:noFill/>
          <a:ln>
            <a:noFill/>
          </a:ln>
        </p:spPr>
      </p:pic>
      <p:pic>
        <p:nvPicPr>
          <p:cNvPr id="17" name="Picture Placeholder 11"/>
          <p:cNvPicPr>
            <a:picLocks noChangeAspect="1"/>
          </p:cNvPicPr>
          <p:nvPr userDrawn="1"/>
        </p:nvPicPr>
        <p:blipFill>
          <a:blip r:embed="rId5">
            <a:lum bright="-40000"/>
            <a:duotone>
              <a:prstClr val="black"/>
              <a:schemeClr val="bg2">
                <a:tint val="45000"/>
                <a:satMod val="400000"/>
              </a:schemeClr>
            </a:duotone>
          </a:blip>
          <a:stretch>
            <a:fillRect/>
          </a:stretch>
        </p:blipFill>
        <p:spPr bwMode="black">
          <a:xfrm>
            <a:off x="4597127" y="2910419"/>
            <a:ext cx="198120" cy="209550"/>
          </a:xfrm>
          <a:prstGeom prst="rect">
            <a:avLst/>
          </a:prstGeom>
          <a:noFill/>
          <a:ln>
            <a:noFill/>
          </a:ln>
        </p:spPr>
      </p:pic>
      <p:sp>
        <p:nvSpPr>
          <p:cNvPr id="20" name="Text Placeholder 4"/>
          <p:cNvSpPr>
            <a:spLocks noGrp="1"/>
          </p:cNvSpPr>
          <p:nvPr>
            <p:ph type="body" sz="quarter" idx="23" hasCustomPrompt="1"/>
          </p:nvPr>
        </p:nvSpPr>
        <p:spPr>
          <a:xfrm>
            <a:off x="4596501" y="1887536"/>
            <a:ext cx="3533106" cy="173124"/>
          </a:xfrm>
          <a:prstGeom prst="rect">
            <a:avLst/>
          </a:prstGeom>
        </p:spPr>
        <p:txBody>
          <a:bodyPr vert="horz" lIns="0" tIns="0" rIns="0" bIns="0" anchor="b" anchorCtr="0">
            <a:spAutoFit/>
          </a:bodyPr>
          <a:lstStyle>
            <a:lvl1pPr marL="0" indent="0">
              <a:lnSpc>
                <a:spcPct val="100000"/>
              </a:lnSpc>
              <a:spcBef>
                <a:spcPts val="0"/>
              </a:spcBef>
              <a:spcAft>
                <a:spcPts val="0"/>
              </a:spcAft>
              <a:buNone/>
              <a:defRPr sz="1100">
                <a:solidFill>
                  <a:schemeClr val="bg2"/>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a:t>Title Goes Here</a:t>
            </a:r>
          </a:p>
        </p:txBody>
      </p:sp>
      <p:sp>
        <p:nvSpPr>
          <p:cNvPr id="21" name="Text Placeholder 4"/>
          <p:cNvSpPr>
            <a:spLocks noGrp="1"/>
          </p:cNvSpPr>
          <p:nvPr>
            <p:ph type="body" sz="quarter" idx="24" hasCustomPrompt="1"/>
          </p:nvPr>
        </p:nvSpPr>
        <p:spPr>
          <a:xfrm>
            <a:off x="4596501" y="2074083"/>
            <a:ext cx="3533106" cy="173124"/>
          </a:xfrm>
          <a:prstGeom prst="rect">
            <a:avLst/>
          </a:prstGeom>
        </p:spPr>
        <p:txBody>
          <a:bodyPr vert="horz" lIns="0" tIns="0" rIns="0" bIns="0" anchor="b" anchorCtr="0">
            <a:spAutoFit/>
          </a:bodyPr>
          <a:lstStyle>
            <a:lvl1pPr marL="0" indent="0">
              <a:lnSpc>
                <a:spcPct val="100000"/>
              </a:lnSpc>
              <a:spcBef>
                <a:spcPts val="0"/>
              </a:spcBef>
              <a:spcAft>
                <a:spcPts val="0"/>
              </a:spcAft>
              <a:buNone/>
              <a:defRPr sz="1100">
                <a:solidFill>
                  <a:schemeClr val="bg2"/>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err="1"/>
              <a:t>First.Last@ca.com</a:t>
            </a:r>
            <a:endParaRPr lang="en-US" dirty="0"/>
          </a:p>
        </p:txBody>
      </p:sp>
      <p:sp>
        <p:nvSpPr>
          <p:cNvPr id="22" name="Text Placeholder 4"/>
          <p:cNvSpPr>
            <a:spLocks noGrp="1"/>
          </p:cNvSpPr>
          <p:nvPr>
            <p:ph type="body" sz="quarter" idx="25" hasCustomPrompt="1"/>
          </p:nvPr>
        </p:nvSpPr>
        <p:spPr>
          <a:xfrm>
            <a:off x="4596501" y="1630235"/>
            <a:ext cx="3533106" cy="246221"/>
          </a:xfrm>
          <a:prstGeom prst="rect">
            <a:avLst/>
          </a:prstGeom>
        </p:spPr>
        <p:txBody>
          <a:bodyPr vert="horz" lIns="0" tIns="0" rIns="0" bIns="0" anchor="b" anchorCtr="0">
            <a:spAutoFit/>
          </a:bodyPr>
          <a:lstStyle>
            <a:lvl1pPr marL="0" indent="0">
              <a:lnSpc>
                <a:spcPct val="100000"/>
              </a:lnSpc>
              <a:spcBef>
                <a:spcPts val="0"/>
              </a:spcBef>
              <a:spcAft>
                <a:spcPts val="0"/>
              </a:spcAft>
              <a:buNone/>
              <a:defRPr sz="1600" b="1" baseline="0">
                <a:solidFill>
                  <a:schemeClr val="bg2"/>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err="1"/>
              <a:t>Firstname</a:t>
            </a:r>
            <a:r>
              <a:rPr lang="en-US" dirty="0"/>
              <a:t> </a:t>
            </a:r>
            <a:r>
              <a:rPr lang="en-US" dirty="0" err="1"/>
              <a:t>Lastname</a:t>
            </a:r>
            <a:endParaRPr lang="en-US" dirty="0"/>
          </a:p>
        </p:txBody>
      </p:sp>
      <p:sp>
        <p:nvSpPr>
          <p:cNvPr id="23" name="Text Placeholder 4"/>
          <p:cNvSpPr>
            <a:spLocks noGrp="1"/>
          </p:cNvSpPr>
          <p:nvPr>
            <p:ph type="body" sz="quarter" idx="27" hasCustomPrompt="1"/>
          </p:nvPr>
        </p:nvSpPr>
        <p:spPr>
          <a:xfrm>
            <a:off x="4887786" y="2408056"/>
            <a:ext cx="3241822" cy="173124"/>
          </a:xfrm>
          <a:prstGeom prst="rect">
            <a:avLst/>
          </a:prstGeom>
        </p:spPr>
        <p:txBody>
          <a:bodyPr vert="horz" wrap="square" lIns="0" tIns="0" rIns="0" bIns="0" anchor="b" anchorCtr="0">
            <a:spAutoFit/>
          </a:bodyPr>
          <a:lstStyle>
            <a:lvl1pPr marL="0" indent="0">
              <a:lnSpc>
                <a:spcPct val="100000"/>
              </a:lnSpc>
              <a:spcBef>
                <a:spcPts val="0"/>
              </a:spcBef>
              <a:spcAft>
                <a:spcPts val="0"/>
              </a:spcAft>
              <a:buNone/>
              <a:defRPr sz="1100">
                <a:solidFill>
                  <a:schemeClr val="bg2"/>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a:t>@</a:t>
            </a:r>
            <a:r>
              <a:rPr lang="en-US" dirty="0" err="1"/>
              <a:t>cainc</a:t>
            </a:r>
            <a:endParaRPr lang="en-US" dirty="0"/>
          </a:p>
        </p:txBody>
      </p:sp>
      <p:sp>
        <p:nvSpPr>
          <p:cNvPr id="24" name="Text Placeholder 4"/>
          <p:cNvSpPr>
            <a:spLocks noGrp="1"/>
          </p:cNvSpPr>
          <p:nvPr>
            <p:ph type="body" sz="quarter" idx="28" hasCustomPrompt="1"/>
          </p:nvPr>
        </p:nvSpPr>
        <p:spPr>
          <a:xfrm>
            <a:off x="4887786" y="2660028"/>
            <a:ext cx="3241822" cy="173124"/>
          </a:xfrm>
          <a:prstGeom prst="rect">
            <a:avLst/>
          </a:prstGeom>
        </p:spPr>
        <p:txBody>
          <a:bodyPr vert="horz" wrap="square" lIns="0" tIns="0" rIns="0" bIns="0" anchor="b" anchorCtr="0">
            <a:spAutoFit/>
          </a:bodyPr>
          <a:lstStyle>
            <a:lvl1pPr marL="0" indent="0">
              <a:lnSpc>
                <a:spcPct val="100000"/>
              </a:lnSpc>
              <a:spcBef>
                <a:spcPts val="0"/>
              </a:spcBef>
              <a:spcAft>
                <a:spcPts val="0"/>
              </a:spcAft>
              <a:buNone/>
              <a:defRPr sz="1100">
                <a:solidFill>
                  <a:schemeClr val="bg2"/>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err="1"/>
              <a:t>slideshare.net</a:t>
            </a:r>
            <a:r>
              <a:rPr lang="en-US" dirty="0"/>
              <a:t>/</a:t>
            </a:r>
            <a:r>
              <a:rPr lang="en-US" dirty="0" err="1"/>
              <a:t>CAinc</a:t>
            </a:r>
            <a:endParaRPr lang="en-US" dirty="0"/>
          </a:p>
        </p:txBody>
      </p:sp>
      <p:sp>
        <p:nvSpPr>
          <p:cNvPr id="25" name="Text Placeholder 4"/>
          <p:cNvSpPr>
            <a:spLocks noGrp="1"/>
          </p:cNvSpPr>
          <p:nvPr>
            <p:ph type="body" sz="quarter" idx="29" hasCustomPrompt="1"/>
          </p:nvPr>
        </p:nvSpPr>
        <p:spPr>
          <a:xfrm>
            <a:off x="4887786" y="2912001"/>
            <a:ext cx="3241822" cy="173124"/>
          </a:xfrm>
          <a:prstGeom prst="rect">
            <a:avLst/>
          </a:prstGeom>
        </p:spPr>
        <p:txBody>
          <a:bodyPr vert="horz" wrap="square" lIns="0" tIns="0" rIns="0" bIns="0" anchor="b" anchorCtr="0">
            <a:spAutoFit/>
          </a:bodyPr>
          <a:lstStyle>
            <a:lvl1pPr marL="0" indent="0">
              <a:lnSpc>
                <a:spcPct val="100000"/>
              </a:lnSpc>
              <a:spcBef>
                <a:spcPts val="0"/>
              </a:spcBef>
              <a:spcAft>
                <a:spcPts val="0"/>
              </a:spcAft>
              <a:buNone/>
              <a:defRPr sz="1100">
                <a:solidFill>
                  <a:schemeClr val="bg2"/>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err="1"/>
              <a:t>linkedin.com</a:t>
            </a:r>
            <a:r>
              <a:rPr lang="en-US" dirty="0"/>
              <a:t>/company/</a:t>
            </a:r>
            <a:r>
              <a:rPr lang="en-US" dirty="0" err="1"/>
              <a:t>ca</a:t>
            </a:r>
            <a:r>
              <a:rPr lang="en-US" dirty="0"/>
              <a:t>-technologies</a:t>
            </a:r>
          </a:p>
        </p:txBody>
      </p:sp>
      <p:sp>
        <p:nvSpPr>
          <p:cNvPr id="26" name="Text Placeholder 4"/>
          <p:cNvSpPr>
            <a:spLocks noGrp="1"/>
          </p:cNvSpPr>
          <p:nvPr>
            <p:ph type="body" sz="quarter" idx="30" hasCustomPrompt="1"/>
          </p:nvPr>
        </p:nvSpPr>
        <p:spPr>
          <a:xfrm>
            <a:off x="4596501" y="3245711"/>
            <a:ext cx="3533106" cy="219291"/>
          </a:xfrm>
          <a:prstGeom prst="rect">
            <a:avLst/>
          </a:prstGeom>
        </p:spPr>
        <p:txBody>
          <a:bodyPr vert="horz" lIns="0" tIns="0" rIns="0" bIns="0" anchor="b" anchorCtr="0">
            <a:spAutoFit/>
          </a:bodyPr>
          <a:lstStyle>
            <a:lvl1pPr marL="0" indent="0">
              <a:lnSpc>
                <a:spcPct val="100000"/>
              </a:lnSpc>
              <a:spcBef>
                <a:spcPts val="0"/>
              </a:spcBef>
              <a:spcAft>
                <a:spcPts val="0"/>
              </a:spcAft>
              <a:buNone/>
              <a:defRPr sz="1400" b="1" baseline="0">
                <a:solidFill>
                  <a:schemeClr val="bg2"/>
                </a:solidFill>
              </a:defRPr>
            </a:lvl1pPr>
            <a:lvl2pPr marL="393509" indent="0">
              <a:buNone/>
              <a:defRPr>
                <a:solidFill>
                  <a:srgbClr val="20343A"/>
                </a:solidFill>
              </a:defRPr>
            </a:lvl2pPr>
            <a:lvl3pPr marL="748922" indent="0">
              <a:buNone/>
              <a:defRPr>
                <a:solidFill>
                  <a:srgbClr val="20343A"/>
                </a:solidFill>
              </a:defRPr>
            </a:lvl3pPr>
            <a:lvl4pPr marL="1091633" indent="0">
              <a:buNone/>
              <a:defRPr>
                <a:solidFill>
                  <a:srgbClr val="20343A"/>
                </a:solidFill>
              </a:defRPr>
            </a:lvl4pPr>
            <a:lvl5pPr marL="1370886" indent="0">
              <a:buNone/>
              <a:defRPr>
                <a:solidFill>
                  <a:srgbClr val="20343A"/>
                </a:solidFill>
              </a:defRPr>
            </a:lvl5pPr>
          </a:lstStyle>
          <a:p>
            <a:pPr lvl="0"/>
            <a:r>
              <a:rPr lang="en-US" dirty="0" err="1"/>
              <a:t>ca.com</a:t>
            </a:r>
            <a:endParaRPr lang="en-US" dirty="0"/>
          </a:p>
        </p:txBody>
      </p:sp>
      <p:cxnSp>
        <p:nvCxnSpPr>
          <p:cNvPr id="27" name="Straight Connector 26"/>
          <p:cNvCxnSpPr/>
          <p:nvPr userDrawn="1"/>
        </p:nvCxnSpPr>
        <p:spPr>
          <a:xfrm>
            <a:off x="3971860" y="1336339"/>
            <a:ext cx="0" cy="2470849"/>
          </a:xfrm>
          <a:prstGeom prst="line">
            <a:avLst/>
          </a:prstGeom>
          <a:noFill/>
          <a:ln w="25400" cap="flat" cmpd="sng" algn="ctr">
            <a:gradFill flip="none" rotWithShape="1">
              <a:gsLst>
                <a:gs pos="0">
                  <a:sysClr val="window" lastClr="FFFFFF"/>
                </a:gs>
                <a:gs pos="100000">
                  <a:prstClr val="white"/>
                </a:gs>
                <a:gs pos="47000">
                  <a:sysClr val="window" lastClr="FFFFFF">
                    <a:lumMod val="85000"/>
                  </a:sysClr>
                </a:gs>
              </a:gsLst>
              <a:lin ang="16200000" scaled="0"/>
              <a:tileRect/>
            </a:gradFill>
            <a:prstDash val="solid"/>
          </a:ln>
          <a:effectLst/>
        </p:spPr>
      </p:cxnSp>
    </p:spTree>
    <p:extLst>
      <p:ext uri="{BB962C8B-B14F-4D97-AF65-F5344CB8AC3E}">
        <p14:creationId xmlns:p14="http://schemas.microsoft.com/office/powerpoint/2010/main" val="752763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1138" name="Rectangle 2"/>
          <p:cNvSpPr>
            <a:spLocks noGrp="1" noChangeArrowheads="1"/>
          </p:cNvSpPr>
          <p:nvPr>
            <p:ph type="ctrTitle"/>
          </p:nvPr>
        </p:nvSpPr>
        <p:spPr>
          <a:xfrm>
            <a:off x="3562350" y="1996678"/>
            <a:ext cx="5200650" cy="746522"/>
          </a:xfrm>
        </p:spPr>
        <p:txBody>
          <a:bodyPr/>
          <a:lstStyle>
            <a:lvl1pPr>
              <a:defRPr/>
            </a:lvl1pPr>
          </a:lstStyle>
          <a:p>
            <a:r>
              <a:rPr lang="en-GB" dirty="0"/>
              <a:t>Click to edit Master title style</a:t>
            </a:r>
          </a:p>
        </p:txBody>
      </p:sp>
      <p:sp>
        <p:nvSpPr>
          <p:cNvPr id="91139" name="Rectangle 3"/>
          <p:cNvSpPr>
            <a:spLocks noGrp="1" noChangeArrowheads="1"/>
          </p:cNvSpPr>
          <p:nvPr>
            <p:ph type="subTitle" idx="1"/>
          </p:nvPr>
        </p:nvSpPr>
        <p:spPr>
          <a:xfrm>
            <a:off x="3562352" y="2834640"/>
            <a:ext cx="5210175" cy="439340"/>
          </a:xfrm>
        </p:spPr>
        <p:txBody>
          <a:bodyPr/>
          <a:lstStyle>
            <a:lvl1pPr marL="0" indent="0">
              <a:buFontTx/>
              <a:buNone/>
              <a:defRPr sz="2000"/>
            </a:lvl1pPr>
          </a:lstStyle>
          <a:p>
            <a:r>
              <a:rPr lang="en-GB" dirty="0"/>
              <a:t>Click to edit Master subtitle style</a:t>
            </a:r>
          </a:p>
        </p:txBody>
      </p:sp>
      <p:sp>
        <p:nvSpPr>
          <p:cNvPr id="8" name="Text Placeholder 7"/>
          <p:cNvSpPr>
            <a:spLocks noGrp="1"/>
          </p:cNvSpPr>
          <p:nvPr>
            <p:ph type="body" sz="quarter" idx="10"/>
          </p:nvPr>
        </p:nvSpPr>
        <p:spPr>
          <a:xfrm>
            <a:off x="3562350" y="3433630"/>
            <a:ext cx="5213350" cy="1053704"/>
          </a:xfrm>
        </p:spPr>
        <p:txBody>
          <a:bodyPr/>
          <a:lstStyle>
            <a:lvl1pPr marL="0" indent="0">
              <a:buNone/>
              <a:defRPr sz="1400"/>
            </a:lvl1pPr>
          </a:lstStyle>
          <a:p>
            <a:pPr lvl="0"/>
            <a:r>
              <a:rPr lang="en-US" dirty="0"/>
              <a:t>Click to edit Master text styles</a:t>
            </a:r>
          </a:p>
        </p:txBody>
      </p:sp>
    </p:spTree>
    <p:extLst>
      <p:ext uri="{BB962C8B-B14F-4D97-AF65-F5344CB8AC3E}">
        <p14:creationId xmlns:p14="http://schemas.microsoft.com/office/powerpoint/2010/main" val="3283401913"/>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5265810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8410920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2263" y="367907"/>
            <a:ext cx="2057400" cy="418980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98477" y="367907"/>
            <a:ext cx="6021388" cy="418980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reserve="1">
  <p:cSld name="Numbered">
    <p:spTree>
      <p:nvGrpSpPr>
        <p:cNvPr id="1" name=""/>
        <p:cNvGrpSpPr/>
        <p:nvPr/>
      </p:nvGrpSpPr>
      <p:grpSpPr>
        <a:xfrm>
          <a:off x="0" y="0"/>
          <a:ext cx="0" cy="0"/>
          <a:chOff x="0" y="0"/>
          <a:chExt cx="0" cy="0"/>
        </a:xfrm>
      </p:grpSpPr>
      <p:pic>
        <p:nvPicPr>
          <p:cNvPr id="4" name="Picture 2" descr="H:\000 Clients\lambie nairn\O2_Telefonica_presentation tweak\Telefonica_indi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91427" y="4741864"/>
            <a:ext cx="1285875"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H:\000 Clients\lambie nairn\O2_blue.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418515" y="184171"/>
            <a:ext cx="4587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lvl1pPr marL="356999" indent="-356999">
              <a:spcBef>
                <a:spcPts val="1200"/>
              </a:spcBef>
              <a:spcAft>
                <a:spcPts val="600"/>
              </a:spcAft>
              <a:buFont typeface="+mj-lt"/>
              <a:buAutoNum type="arabicPeriod"/>
              <a:defRPr/>
            </a:lvl1pPr>
            <a:lvl2pPr marL="699710" indent="-342713">
              <a:buFont typeface="+mj-lt"/>
              <a:buAutoNum type="alphaLcPeriod"/>
              <a:defRPr/>
            </a:lvl2pPr>
            <a:lvl3pPr marL="896465" indent="-269747">
              <a:defRPr/>
            </a:lvl3pPr>
            <a:lvl4pPr marL="1166204" indent="-269747">
              <a:defRPr/>
            </a:lvl4pPr>
            <a:lvl5pPr marL="1435932" indent="-269747">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Rectangle 5"/>
          <p:cNvSpPr>
            <a:spLocks noGrp="1" noChangeArrowheads="1"/>
          </p:cNvSpPr>
          <p:nvPr>
            <p:ph type="ftr" sz="quarter" idx="10"/>
          </p:nvPr>
        </p:nvSpPr>
        <p:spPr/>
        <p:txBody>
          <a:bodyPr/>
          <a:lstStyle>
            <a:lvl1pPr>
              <a:defRPr/>
            </a:lvl1pPr>
          </a:lstStyle>
          <a:p>
            <a:pPr>
              <a:defRPr/>
            </a:pPr>
            <a:r>
              <a:rPr lang="en-GB">
                <a:solidFill>
                  <a:srgbClr val="000066"/>
                </a:solidFill>
              </a:rPr>
              <a:t>Presentation title       Author's name        </a:t>
            </a:r>
            <a:fld id="{8718C0FF-B0A2-43DC-93FB-1939B87A7593}" type="datetime3">
              <a:rPr lang="en-GB">
                <a:solidFill>
                  <a:srgbClr val="000066"/>
                </a:solidFill>
              </a:rPr>
              <a:pPr>
                <a:defRPr/>
              </a:pPr>
              <a:t>15 May, 2017</a:t>
            </a:fld>
            <a:r>
              <a:rPr lang="en-GB">
                <a:solidFill>
                  <a:srgbClr val="000066"/>
                </a:solidFill>
              </a:rPr>
              <a:t>       Confidential</a:t>
            </a:r>
          </a:p>
        </p:txBody>
      </p:sp>
    </p:spTree>
    <p:extLst>
      <p:ext uri="{BB962C8B-B14F-4D97-AF65-F5344CB8AC3E}">
        <p14:creationId xmlns:p14="http://schemas.microsoft.com/office/powerpoint/2010/main" val="116747992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5" descr="H:\000 Clients\lambie nairn\O2_blu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18515" y="184171"/>
            <a:ext cx="4587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H:\000 Clients\lambie nairn\O2_Telefonica_presentation tweak\Telefonica_indi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1427" y="4741864"/>
            <a:ext cx="1285875"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lvl1pPr marL="342713" indent="-342713">
              <a:spcBef>
                <a:spcPts val="1200"/>
              </a:spcBef>
              <a:spcAft>
                <a:spcPts val="600"/>
              </a:spcAft>
              <a:defRPr/>
            </a:lvl1pPr>
            <a:lvl2pPr marL="626747" indent="-269747">
              <a:defRPr/>
            </a:lvl2pPr>
            <a:lvl3pPr marL="896465" indent="-269747">
              <a:defRPr/>
            </a:lvl3pPr>
            <a:lvl4pPr marL="1166204" indent="-269747">
              <a:defRPr/>
            </a:lvl4pPr>
            <a:lvl5pPr marL="1435932" indent="-269747">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Rectangle 5"/>
          <p:cNvSpPr>
            <a:spLocks noGrp="1" noChangeArrowheads="1"/>
          </p:cNvSpPr>
          <p:nvPr>
            <p:ph type="ftr" sz="quarter" idx="10"/>
          </p:nvPr>
        </p:nvSpPr>
        <p:spPr/>
        <p:txBody>
          <a:bodyPr/>
          <a:lstStyle>
            <a:lvl1pPr>
              <a:defRPr/>
            </a:lvl1pPr>
          </a:lstStyle>
          <a:p>
            <a:pPr>
              <a:defRPr/>
            </a:pPr>
            <a:r>
              <a:rPr lang="en-GB">
                <a:solidFill>
                  <a:srgbClr val="000066"/>
                </a:solidFill>
              </a:rPr>
              <a:t>Presentation title       Author's name        </a:t>
            </a:r>
            <a:fld id="{3E54AFC1-7DDB-44D9-8A8B-1AB462103805}" type="datetime3">
              <a:rPr lang="en-GB">
                <a:solidFill>
                  <a:srgbClr val="000066"/>
                </a:solidFill>
              </a:rPr>
              <a:pPr>
                <a:defRPr/>
              </a:pPr>
              <a:t>15 May, 2017</a:t>
            </a:fld>
            <a:r>
              <a:rPr lang="en-GB">
                <a:solidFill>
                  <a:srgbClr val="000066"/>
                </a:solidFill>
              </a:rPr>
              <a:t>       Confidential</a:t>
            </a:r>
          </a:p>
        </p:txBody>
      </p:sp>
    </p:spTree>
    <p:extLst>
      <p:ext uri="{BB962C8B-B14F-4D97-AF65-F5344CB8AC3E}">
        <p14:creationId xmlns:p14="http://schemas.microsoft.com/office/powerpoint/2010/main" val="42224675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4" name="Picture 5" descr="H:\000 Clients\lambie nairn\O2_whit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18515" y="184171"/>
            <a:ext cx="4587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1" descr="Telef?nica_White[1].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1425" y="4713289"/>
            <a:ext cx="12954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04816" y="236951"/>
            <a:ext cx="5157385" cy="631031"/>
          </a:xfrm>
        </p:spPr>
        <p:txBody>
          <a:bodyPr/>
          <a:lstStyle/>
          <a:p>
            <a:r>
              <a:rPr lang="en-GB"/>
              <a:t>Click to edit Master title style</a:t>
            </a:r>
          </a:p>
        </p:txBody>
      </p:sp>
      <p:sp>
        <p:nvSpPr>
          <p:cNvPr id="3" name="Content Placeholder 2"/>
          <p:cNvSpPr>
            <a:spLocks noGrp="1"/>
          </p:cNvSpPr>
          <p:nvPr>
            <p:ph idx="1"/>
          </p:nvPr>
        </p:nvSpPr>
        <p:spPr>
          <a:xfrm>
            <a:off x="304817" y="890588"/>
            <a:ext cx="5159375" cy="3733800"/>
          </a:xfrm>
        </p:spPr>
        <p:txBody>
          <a:bodyPr/>
          <a:lstStyle>
            <a:lvl1pPr marL="0" indent="0">
              <a:spcBef>
                <a:spcPts val="1200"/>
              </a:spcBef>
              <a:spcAft>
                <a:spcPts val="600"/>
              </a:spcAft>
              <a:defRPr/>
            </a:lvl1pPr>
            <a:lvl2pPr marL="626747" indent="-269747">
              <a:defRPr/>
            </a:lvl2pPr>
            <a:lvl3pPr marL="896465" indent="-269747">
              <a:defRPr/>
            </a:lvl3pPr>
            <a:lvl4pPr marL="1166204" indent="-269747">
              <a:defRPr/>
            </a:lvl4pPr>
            <a:lvl5pPr marL="1435932" indent="-269747">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Rectangle 5"/>
          <p:cNvSpPr>
            <a:spLocks noGrp="1" noChangeArrowheads="1"/>
          </p:cNvSpPr>
          <p:nvPr>
            <p:ph type="ftr" sz="quarter" idx="10"/>
          </p:nvPr>
        </p:nvSpPr>
        <p:spPr/>
        <p:txBody>
          <a:bodyPr/>
          <a:lstStyle>
            <a:lvl1pPr>
              <a:defRPr/>
            </a:lvl1pPr>
          </a:lstStyle>
          <a:p>
            <a:pPr>
              <a:defRPr/>
            </a:pPr>
            <a:r>
              <a:rPr lang="en-GB">
                <a:solidFill>
                  <a:srgbClr val="000066"/>
                </a:solidFill>
              </a:rPr>
              <a:t>Presentation title       Author's name        </a:t>
            </a:r>
            <a:fld id="{6BD59A92-9291-4660-8BD1-4E0A106FB3B0}" type="datetime3">
              <a:rPr lang="en-GB">
                <a:solidFill>
                  <a:srgbClr val="000066"/>
                </a:solidFill>
              </a:rPr>
              <a:pPr>
                <a:defRPr/>
              </a:pPr>
              <a:t>15 May, 2017</a:t>
            </a:fld>
            <a:r>
              <a:rPr lang="en-GB">
                <a:solidFill>
                  <a:srgbClr val="000066"/>
                </a:solidFill>
              </a:rPr>
              <a:t>       Confidential</a:t>
            </a:r>
          </a:p>
        </p:txBody>
      </p:sp>
    </p:spTree>
    <p:extLst>
      <p:ext uri="{BB962C8B-B14F-4D97-AF65-F5344CB8AC3E}">
        <p14:creationId xmlns:p14="http://schemas.microsoft.com/office/powerpoint/2010/main" val="3077515795"/>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4" descr="H:\000 Clients\lambie nairn\O2_blu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18515" y="184171"/>
            <a:ext cx="4587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H:\000 Clients\lambie nairn\O2_Telefonica_presentation tweak\Telefonica_indi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1427" y="4741864"/>
            <a:ext cx="1285875"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304800" y="890586"/>
            <a:ext cx="4038600" cy="3733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a:xfrm>
            <a:off x="4495800" y="890586"/>
            <a:ext cx="4038600" cy="3733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Rectangle 5"/>
          <p:cNvSpPr>
            <a:spLocks noGrp="1" noChangeArrowheads="1"/>
          </p:cNvSpPr>
          <p:nvPr>
            <p:ph type="ftr" sz="quarter" idx="10"/>
          </p:nvPr>
        </p:nvSpPr>
        <p:spPr/>
        <p:txBody>
          <a:bodyPr/>
          <a:lstStyle>
            <a:lvl1pPr>
              <a:defRPr/>
            </a:lvl1pPr>
          </a:lstStyle>
          <a:p>
            <a:pPr>
              <a:defRPr/>
            </a:pPr>
            <a:r>
              <a:rPr lang="en-GB">
                <a:solidFill>
                  <a:srgbClr val="000066"/>
                </a:solidFill>
              </a:rPr>
              <a:t>Presentation title       Author's name        </a:t>
            </a:r>
            <a:fld id="{284844F7-F808-467F-A12F-2D3F0E383EF5}" type="datetime3">
              <a:rPr lang="en-GB">
                <a:solidFill>
                  <a:srgbClr val="000066"/>
                </a:solidFill>
              </a:rPr>
              <a:pPr>
                <a:defRPr/>
              </a:pPr>
              <a:t>15 May, 2017</a:t>
            </a:fld>
            <a:r>
              <a:rPr lang="en-GB">
                <a:solidFill>
                  <a:srgbClr val="000066"/>
                </a:solidFill>
              </a:rPr>
              <a:t>       Confidential</a:t>
            </a:r>
          </a:p>
        </p:txBody>
      </p:sp>
    </p:spTree>
    <p:extLst>
      <p:ext uri="{BB962C8B-B14F-4D97-AF65-F5344CB8AC3E}">
        <p14:creationId xmlns:p14="http://schemas.microsoft.com/office/powerpoint/2010/main" val="2689014568"/>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pic>
        <p:nvPicPr>
          <p:cNvPr id="8" name="Picture 5" descr="H:\000 Clients\lambie nairn\O2_blu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18515" y="184171"/>
            <a:ext cx="4587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H:\000 Clients\lambie nairn\O2_Telefonica_presentation tweak\Telefonica_indi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1427" y="4741864"/>
            <a:ext cx="1285875"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icture Placeholder 12"/>
          <p:cNvSpPr>
            <a:spLocks noGrp="1"/>
          </p:cNvSpPr>
          <p:nvPr>
            <p:ph type="pic" sz="quarter" idx="12"/>
          </p:nvPr>
        </p:nvSpPr>
        <p:spPr>
          <a:xfrm>
            <a:off x="6008688" y="2543176"/>
            <a:ext cx="2774950" cy="1323975"/>
          </a:xfrm>
        </p:spPr>
        <p:txBody>
          <a:bodyPr/>
          <a:lstStyle/>
          <a:p>
            <a:pPr lvl="0"/>
            <a:endParaRPr lang="en-GB" noProof="0"/>
          </a:p>
        </p:txBody>
      </p:sp>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304811" y="890586"/>
            <a:ext cx="5159375" cy="3733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Picture Placeholder 12"/>
          <p:cNvSpPr>
            <a:spLocks noGrp="1"/>
          </p:cNvSpPr>
          <p:nvPr>
            <p:ph type="pic" sz="quarter" idx="11"/>
          </p:nvPr>
        </p:nvSpPr>
        <p:spPr>
          <a:xfrm>
            <a:off x="6008688" y="896543"/>
            <a:ext cx="2774950" cy="1323975"/>
          </a:xfrm>
        </p:spPr>
        <p:txBody>
          <a:bodyPr/>
          <a:lstStyle/>
          <a:p>
            <a:pPr lvl="0"/>
            <a:endParaRPr lang="en-GB" noProof="0"/>
          </a:p>
        </p:txBody>
      </p:sp>
      <p:sp>
        <p:nvSpPr>
          <p:cNvPr id="16" name="Text Placeholder 15"/>
          <p:cNvSpPr>
            <a:spLocks noGrp="1"/>
          </p:cNvSpPr>
          <p:nvPr>
            <p:ph type="body" sz="quarter" idx="13"/>
          </p:nvPr>
        </p:nvSpPr>
        <p:spPr>
          <a:xfrm>
            <a:off x="6008688" y="2220537"/>
            <a:ext cx="2767012" cy="193051"/>
          </a:xfrm>
        </p:spPr>
        <p:txBody>
          <a:bodyPr tIns="53979"/>
          <a:lstStyle>
            <a:lvl1pPr>
              <a:lnSpc>
                <a:spcPct val="100000"/>
              </a:lnSpc>
              <a:spcBef>
                <a:spcPts val="0"/>
              </a:spcBef>
              <a:spcAft>
                <a:spcPts val="0"/>
              </a:spcAft>
              <a:defRPr sz="1200"/>
            </a:lvl1pPr>
          </a:lstStyle>
          <a:p>
            <a:pPr lvl="0"/>
            <a:r>
              <a:rPr lang="en-US" dirty="0"/>
              <a:t>Click to edit Master text styles</a:t>
            </a:r>
            <a:endParaRPr lang="en-GB" dirty="0"/>
          </a:p>
        </p:txBody>
      </p:sp>
      <p:sp>
        <p:nvSpPr>
          <p:cNvPr id="17" name="Text Placeholder 15"/>
          <p:cNvSpPr>
            <a:spLocks noGrp="1"/>
          </p:cNvSpPr>
          <p:nvPr>
            <p:ph type="body" sz="quarter" idx="14"/>
          </p:nvPr>
        </p:nvSpPr>
        <p:spPr>
          <a:xfrm>
            <a:off x="6008688" y="3864111"/>
            <a:ext cx="2767012" cy="193051"/>
          </a:xfrm>
        </p:spPr>
        <p:txBody>
          <a:bodyPr tIns="53979"/>
          <a:lstStyle>
            <a:lvl1pPr>
              <a:lnSpc>
                <a:spcPct val="100000"/>
              </a:lnSpc>
              <a:spcBef>
                <a:spcPts val="0"/>
              </a:spcBef>
              <a:spcAft>
                <a:spcPts val="0"/>
              </a:spcAft>
              <a:defRPr sz="1200"/>
            </a:lvl1pPr>
          </a:lstStyle>
          <a:p>
            <a:pPr lvl="0"/>
            <a:r>
              <a:rPr lang="en-US" dirty="0"/>
              <a:t>Click to edit Master text styles</a:t>
            </a:r>
            <a:endParaRPr lang="en-GB" dirty="0"/>
          </a:p>
        </p:txBody>
      </p:sp>
      <p:sp>
        <p:nvSpPr>
          <p:cNvPr id="10" name="Rectangle 5"/>
          <p:cNvSpPr>
            <a:spLocks noGrp="1" noChangeArrowheads="1"/>
          </p:cNvSpPr>
          <p:nvPr>
            <p:ph type="ftr" sz="quarter" idx="15"/>
          </p:nvPr>
        </p:nvSpPr>
        <p:spPr/>
        <p:txBody>
          <a:bodyPr/>
          <a:lstStyle>
            <a:lvl1pPr>
              <a:defRPr/>
            </a:lvl1pPr>
          </a:lstStyle>
          <a:p>
            <a:pPr>
              <a:defRPr/>
            </a:pPr>
            <a:r>
              <a:rPr lang="en-GB">
                <a:solidFill>
                  <a:srgbClr val="000066"/>
                </a:solidFill>
              </a:rPr>
              <a:t>Presentation title       Author's name        </a:t>
            </a:r>
            <a:fld id="{0F2CD000-849F-4CC7-A1D8-7D13BE982905}" type="datetime3">
              <a:rPr lang="en-GB">
                <a:solidFill>
                  <a:srgbClr val="000066"/>
                </a:solidFill>
              </a:rPr>
              <a:pPr>
                <a:defRPr/>
              </a:pPr>
              <a:t>15 May, 2017</a:t>
            </a:fld>
            <a:r>
              <a:rPr lang="en-GB">
                <a:solidFill>
                  <a:srgbClr val="000066"/>
                </a:solidFill>
              </a:rPr>
              <a:t>       Confidential</a:t>
            </a:r>
          </a:p>
        </p:txBody>
      </p:sp>
    </p:spTree>
    <p:extLst>
      <p:ext uri="{BB962C8B-B14F-4D97-AF65-F5344CB8AC3E}">
        <p14:creationId xmlns:p14="http://schemas.microsoft.com/office/powerpoint/2010/main" val="507994643"/>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pic>
        <p:nvPicPr>
          <p:cNvPr id="17" name="Picture 5" descr="H:\000 Clients\lambie nairn\O2_blu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18515" y="184171"/>
            <a:ext cx="4587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 descr="H:\000 Clients\lambie nairn\O2_Telefonica_presentation tweak\Telefonica_indi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1427" y="4741864"/>
            <a:ext cx="1285875"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304811" y="890586"/>
            <a:ext cx="5159375" cy="3733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Picture Placeholder 12"/>
          <p:cNvSpPr>
            <a:spLocks noGrp="1"/>
          </p:cNvSpPr>
          <p:nvPr>
            <p:ph type="pic" sz="quarter" idx="11"/>
          </p:nvPr>
        </p:nvSpPr>
        <p:spPr>
          <a:xfrm>
            <a:off x="4894264" y="890587"/>
            <a:ext cx="1835150" cy="877490"/>
          </a:xfrm>
        </p:spPr>
        <p:txBody>
          <a:bodyPr/>
          <a:lstStyle/>
          <a:p>
            <a:pPr lvl="0"/>
            <a:endParaRPr lang="en-GB" noProof="0"/>
          </a:p>
        </p:txBody>
      </p:sp>
      <p:sp>
        <p:nvSpPr>
          <p:cNvPr id="16" name="Text Placeholder 15"/>
          <p:cNvSpPr>
            <a:spLocks noGrp="1"/>
          </p:cNvSpPr>
          <p:nvPr>
            <p:ph type="body" sz="quarter" idx="13"/>
          </p:nvPr>
        </p:nvSpPr>
        <p:spPr>
          <a:xfrm>
            <a:off x="4894264" y="1768098"/>
            <a:ext cx="1835150" cy="193051"/>
          </a:xfrm>
        </p:spPr>
        <p:txBody>
          <a:bodyPr tIns="53979"/>
          <a:lstStyle>
            <a:lvl1pPr>
              <a:lnSpc>
                <a:spcPct val="100000"/>
              </a:lnSpc>
              <a:spcBef>
                <a:spcPts val="0"/>
              </a:spcBef>
              <a:spcAft>
                <a:spcPts val="0"/>
              </a:spcAft>
              <a:defRPr sz="1100"/>
            </a:lvl1pPr>
          </a:lstStyle>
          <a:p>
            <a:pPr lvl="0"/>
            <a:r>
              <a:rPr lang="en-US" dirty="0"/>
              <a:t>Click to edit Master text styles</a:t>
            </a:r>
            <a:endParaRPr lang="en-GB" dirty="0"/>
          </a:p>
        </p:txBody>
      </p:sp>
      <p:sp>
        <p:nvSpPr>
          <p:cNvPr id="22" name="Picture Placeholder 12"/>
          <p:cNvSpPr>
            <a:spLocks noGrp="1"/>
          </p:cNvSpPr>
          <p:nvPr>
            <p:ph type="pic" sz="quarter" idx="15"/>
          </p:nvPr>
        </p:nvSpPr>
        <p:spPr>
          <a:xfrm>
            <a:off x="6931072" y="890587"/>
            <a:ext cx="1835150" cy="877490"/>
          </a:xfrm>
        </p:spPr>
        <p:txBody>
          <a:bodyPr/>
          <a:lstStyle/>
          <a:p>
            <a:pPr lvl="0"/>
            <a:endParaRPr lang="en-GB" noProof="0"/>
          </a:p>
        </p:txBody>
      </p:sp>
      <p:sp>
        <p:nvSpPr>
          <p:cNvPr id="23" name="Picture Placeholder 12"/>
          <p:cNvSpPr>
            <a:spLocks noGrp="1"/>
          </p:cNvSpPr>
          <p:nvPr>
            <p:ph type="pic" sz="quarter" idx="16"/>
          </p:nvPr>
        </p:nvSpPr>
        <p:spPr>
          <a:xfrm>
            <a:off x="4894264" y="2024062"/>
            <a:ext cx="1835150" cy="877490"/>
          </a:xfrm>
        </p:spPr>
        <p:txBody>
          <a:bodyPr/>
          <a:lstStyle/>
          <a:p>
            <a:pPr lvl="0"/>
            <a:endParaRPr lang="en-GB" noProof="0"/>
          </a:p>
        </p:txBody>
      </p:sp>
      <p:sp>
        <p:nvSpPr>
          <p:cNvPr id="24" name="Picture Placeholder 12"/>
          <p:cNvSpPr>
            <a:spLocks noGrp="1"/>
          </p:cNvSpPr>
          <p:nvPr>
            <p:ph type="pic" sz="quarter" idx="17"/>
          </p:nvPr>
        </p:nvSpPr>
        <p:spPr>
          <a:xfrm>
            <a:off x="6931072" y="2024062"/>
            <a:ext cx="1835150" cy="877490"/>
          </a:xfrm>
        </p:spPr>
        <p:txBody>
          <a:bodyPr/>
          <a:lstStyle/>
          <a:p>
            <a:pPr lvl="0"/>
            <a:endParaRPr lang="en-GB" noProof="0"/>
          </a:p>
        </p:txBody>
      </p:sp>
      <p:sp>
        <p:nvSpPr>
          <p:cNvPr id="25" name="Picture Placeholder 12"/>
          <p:cNvSpPr>
            <a:spLocks noGrp="1"/>
          </p:cNvSpPr>
          <p:nvPr>
            <p:ph type="pic" sz="quarter" idx="18"/>
          </p:nvPr>
        </p:nvSpPr>
        <p:spPr>
          <a:xfrm>
            <a:off x="4894264" y="3157537"/>
            <a:ext cx="1835150" cy="877490"/>
          </a:xfrm>
        </p:spPr>
        <p:txBody>
          <a:bodyPr/>
          <a:lstStyle/>
          <a:p>
            <a:pPr lvl="0"/>
            <a:endParaRPr lang="en-GB" noProof="0"/>
          </a:p>
        </p:txBody>
      </p:sp>
      <p:sp>
        <p:nvSpPr>
          <p:cNvPr id="26" name="Picture Placeholder 12"/>
          <p:cNvSpPr>
            <a:spLocks noGrp="1"/>
          </p:cNvSpPr>
          <p:nvPr>
            <p:ph type="pic" sz="quarter" idx="19"/>
          </p:nvPr>
        </p:nvSpPr>
        <p:spPr>
          <a:xfrm>
            <a:off x="6931072" y="3157537"/>
            <a:ext cx="1835150" cy="877490"/>
          </a:xfrm>
        </p:spPr>
        <p:txBody>
          <a:bodyPr/>
          <a:lstStyle/>
          <a:p>
            <a:pPr lvl="0"/>
            <a:endParaRPr lang="en-GB" noProof="0"/>
          </a:p>
        </p:txBody>
      </p:sp>
      <p:sp>
        <p:nvSpPr>
          <p:cNvPr id="27" name="Text Placeholder 15"/>
          <p:cNvSpPr>
            <a:spLocks noGrp="1"/>
          </p:cNvSpPr>
          <p:nvPr>
            <p:ph type="body" sz="quarter" idx="20"/>
          </p:nvPr>
        </p:nvSpPr>
        <p:spPr>
          <a:xfrm>
            <a:off x="4894264" y="2901560"/>
            <a:ext cx="1835150" cy="193051"/>
          </a:xfrm>
        </p:spPr>
        <p:txBody>
          <a:bodyPr tIns="53979"/>
          <a:lstStyle>
            <a:lvl1pPr>
              <a:lnSpc>
                <a:spcPct val="100000"/>
              </a:lnSpc>
              <a:spcBef>
                <a:spcPts val="0"/>
              </a:spcBef>
              <a:spcAft>
                <a:spcPts val="0"/>
              </a:spcAft>
              <a:defRPr sz="1100"/>
            </a:lvl1pPr>
          </a:lstStyle>
          <a:p>
            <a:pPr lvl="0"/>
            <a:r>
              <a:rPr lang="en-US" dirty="0"/>
              <a:t>Click to edit Master text styles</a:t>
            </a:r>
            <a:endParaRPr lang="en-GB" dirty="0"/>
          </a:p>
        </p:txBody>
      </p:sp>
      <p:sp>
        <p:nvSpPr>
          <p:cNvPr id="28" name="Text Placeholder 15"/>
          <p:cNvSpPr>
            <a:spLocks noGrp="1"/>
          </p:cNvSpPr>
          <p:nvPr>
            <p:ph type="body" sz="quarter" idx="21"/>
          </p:nvPr>
        </p:nvSpPr>
        <p:spPr>
          <a:xfrm>
            <a:off x="6931072" y="1768098"/>
            <a:ext cx="1835150" cy="193051"/>
          </a:xfrm>
        </p:spPr>
        <p:txBody>
          <a:bodyPr tIns="53979"/>
          <a:lstStyle>
            <a:lvl1pPr>
              <a:lnSpc>
                <a:spcPct val="100000"/>
              </a:lnSpc>
              <a:spcBef>
                <a:spcPts val="0"/>
              </a:spcBef>
              <a:spcAft>
                <a:spcPts val="0"/>
              </a:spcAft>
              <a:defRPr sz="1100"/>
            </a:lvl1pPr>
          </a:lstStyle>
          <a:p>
            <a:pPr lvl="0"/>
            <a:r>
              <a:rPr lang="en-US" dirty="0"/>
              <a:t>Click to edit Master text styles</a:t>
            </a:r>
            <a:endParaRPr lang="en-GB" dirty="0"/>
          </a:p>
        </p:txBody>
      </p:sp>
      <p:sp>
        <p:nvSpPr>
          <p:cNvPr id="29" name="Text Placeholder 15"/>
          <p:cNvSpPr>
            <a:spLocks noGrp="1"/>
          </p:cNvSpPr>
          <p:nvPr>
            <p:ph type="body" sz="quarter" idx="22"/>
          </p:nvPr>
        </p:nvSpPr>
        <p:spPr>
          <a:xfrm>
            <a:off x="6931072" y="2901560"/>
            <a:ext cx="1835150" cy="193051"/>
          </a:xfrm>
        </p:spPr>
        <p:txBody>
          <a:bodyPr tIns="53979"/>
          <a:lstStyle>
            <a:lvl1pPr>
              <a:lnSpc>
                <a:spcPct val="100000"/>
              </a:lnSpc>
              <a:spcBef>
                <a:spcPts val="0"/>
              </a:spcBef>
              <a:spcAft>
                <a:spcPts val="0"/>
              </a:spcAft>
              <a:defRPr sz="1100"/>
            </a:lvl1pPr>
          </a:lstStyle>
          <a:p>
            <a:pPr lvl="0"/>
            <a:r>
              <a:rPr lang="en-US" dirty="0"/>
              <a:t>Click to edit Master text styles</a:t>
            </a:r>
            <a:endParaRPr lang="en-GB" dirty="0"/>
          </a:p>
        </p:txBody>
      </p:sp>
      <p:sp>
        <p:nvSpPr>
          <p:cNvPr id="30" name="Text Placeholder 15"/>
          <p:cNvSpPr>
            <a:spLocks noGrp="1"/>
          </p:cNvSpPr>
          <p:nvPr>
            <p:ph type="body" sz="quarter" idx="23"/>
          </p:nvPr>
        </p:nvSpPr>
        <p:spPr>
          <a:xfrm>
            <a:off x="4894264" y="4035048"/>
            <a:ext cx="1835150" cy="193051"/>
          </a:xfrm>
        </p:spPr>
        <p:txBody>
          <a:bodyPr tIns="53979"/>
          <a:lstStyle>
            <a:lvl1pPr>
              <a:lnSpc>
                <a:spcPct val="100000"/>
              </a:lnSpc>
              <a:spcBef>
                <a:spcPts val="0"/>
              </a:spcBef>
              <a:spcAft>
                <a:spcPts val="0"/>
              </a:spcAft>
              <a:defRPr sz="1100"/>
            </a:lvl1pPr>
          </a:lstStyle>
          <a:p>
            <a:pPr lvl="0"/>
            <a:r>
              <a:rPr lang="en-US" dirty="0"/>
              <a:t>Click to edit Master text styles</a:t>
            </a:r>
            <a:endParaRPr lang="en-GB" dirty="0"/>
          </a:p>
        </p:txBody>
      </p:sp>
      <p:sp>
        <p:nvSpPr>
          <p:cNvPr id="31" name="Text Placeholder 15"/>
          <p:cNvSpPr>
            <a:spLocks noGrp="1"/>
          </p:cNvSpPr>
          <p:nvPr>
            <p:ph type="body" sz="quarter" idx="24"/>
          </p:nvPr>
        </p:nvSpPr>
        <p:spPr>
          <a:xfrm>
            <a:off x="6931072" y="4035048"/>
            <a:ext cx="1835150" cy="193051"/>
          </a:xfrm>
        </p:spPr>
        <p:txBody>
          <a:bodyPr tIns="53979"/>
          <a:lstStyle>
            <a:lvl1pPr>
              <a:lnSpc>
                <a:spcPct val="100000"/>
              </a:lnSpc>
              <a:spcBef>
                <a:spcPts val="0"/>
              </a:spcBef>
              <a:spcAft>
                <a:spcPts val="0"/>
              </a:spcAft>
              <a:defRPr sz="1100"/>
            </a:lvl1pPr>
          </a:lstStyle>
          <a:p>
            <a:pPr lvl="0"/>
            <a:r>
              <a:rPr lang="en-US" dirty="0"/>
              <a:t>Click to edit Master text styles</a:t>
            </a:r>
            <a:endParaRPr lang="en-GB" dirty="0"/>
          </a:p>
        </p:txBody>
      </p:sp>
      <p:sp>
        <p:nvSpPr>
          <p:cNvPr id="19" name="Rectangle 5"/>
          <p:cNvSpPr>
            <a:spLocks noGrp="1" noChangeArrowheads="1"/>
          </p:cNvSpPr>
          <p:nvPr>
            <p:ph type="ftr" sz="quarter" idx="25"/>
          </p:nvPr>
        </p:nvSpPr>
        <p:spPr/>
        <p:txBody>
          <a:bodyPr/>
          <a:lstStyle>
            <a:lvl1pPr>
              <a:defRPr/>
            </a:lvl1pPr>
          </a:lstStyle>
          <a:p>
            <a:pPr>
              <a:defRPr/>
            </a:pPr>
            <a:r>
              <a:rPr lang="en-GB">
                <a:solidFill>
                  <a:srgbClr val="000066"/>
                </a:solidFill>
              </a:rPr>
              <a:t>Presentation title       Author's name        </a:t>
            </a:r>
            <a:fld id="{230B87B6-A2B0-4A20-A7B6-D02DC066724C}" type="datetime3">
              <a:rPr lang="en-GB">
                <a:solidFill>
                  <a:srgbClr val="000066"/>
                </a:solidFill>
              </a:rPr>
              <a:pPr>
                <a:defRPr/>
              </a:pPr>
              <a:t>15 May, 2017</a:t>
            </a:fld>
            <a:r>
              <a:rPr lang="en-GB">
                <a:solidFill>
                  <a:srgbClr val="000066"/>
                </a:solidFill>
              </a:rPr>
              <a:t>       Confidential</a:t>
            </a:r>
          </a:p>
        </p:txBody>
      </p:sp>
    </p:spTree>
    <p:extLst>
      <p:ext uri="{BB962C8B-B14F-4D97-AF65-F5344CB8AC3E}">
        <p14:creationId xmlns:p14="http://schemas.microsoft.com/office/powerpoint/2010/main" val="162772774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5" descr="H:\000 Clients\lambie nairn\O2_blu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18515" y="184171"/>
            <a:ext cx="4587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H:\000 Clients\lambie nairn\O2_Telefonica_presentation tweak\Telefonica_indi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1427" y="4741864"/>
            <a:ext cx="1285875"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p>
        </p:txBody>
      </p:sp>
      <p:sp>
        <p:nvSpPr>
          <p:cNvPr id="5" name="Rectangle 5"/>
          <p:cNvSpPr>
            <a:spLocks noGrp="1" noChangeArrowheads="1"/>
          </p:cNvSpPr>
          <p:nvPr>
            <p:ph type="ftr" sz="quarter" idx="10"/>
          </p:nvPr>
        </p:nvSpPr>
        <p:spPr/>
        <p:txBody>
          <a:bodyPr/>
          <a:lstStyle>
            <a:lvl1pPr>
              <a:defRPr/>
            </a:lvl1pPr>
          </a:lstStyle>
          <a:p>
            <a:pPr>
              <a:defRPr/>
            </a:pPr>
            <a:r>
              <a:rPr lang="en-GB">
                <a:solidFill>
                  <a:srgbClr val="000066"/>
                </a:solidFill>
              </a:rPr>
              <a:t>Presentation title       Author's name        </a:t>
            </a:r>
            <a:fld id="{4940E36D-D786-4AEA-9692-BD9C2A6AB875}" type="datetime3">
              <a:rPr lang="en-GB">
                <a:solidFill>
                  <a:srgbClr val="000066"/>
                </a:solidFill>
              </a:rPr>
              <a:pPr>
                <a:defRPr/>
              </a:pPr>
              <a:t>15 May, 2017</a:t>
            </a:fld>
            <a:r>
              <a:rPr lang="en-GB">
                <a:solidFill>
                  <a:srgbClr val="000066"/>
                </a:solidFill>
              </a:rPr>
              <a:t>       Confidential</a:t>
            </a:r>
          </a:p>
        </p:txBody>
      </p:sp>
    </p:spTree>
    <p:extLst>
      <p:ext uri="{BB962C8B-B14F-4D97-AF65-F5344CB8AC3E}">
        <p14:creationId xmlns:p14="http://schemas.microsoft.com/office/powerpoint/2010/main" val="390585086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5" descr="H:\000 Clients\lambie nairn\O2_blu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18515" y="184171"/>
            <a:ext cx="4587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H:\000 Clients\lambie nairn\O2_Telefonica_presentation tweak\Telefonica_indi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1427" y="4741864"/>
            <a:ext cx="1285875"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5"/>
          <p:cNvSpPr>
            <a:spLocks noGrp="1" noChangeArrowheads="1"/>
          </p:cNvSpPr>
          <p:nvPr>
            <p:ph type="ftr" sz="quarter" idx="10"/>
          </p:nvPr>
        </p:nvSpPr>
        <p:spPr/>
        <p:txBody>
          <a:bodyPr/>
          <a:lstStyle>
            <a:lvl1pPr>
              <a:defRPr/>
            </a:lvl1pPr>
          </a:lstStyle>
          <a:p>
            <a:pPr>
              <a:defRPr/>
            </a:pPr>
            <a:r>
              <a:rPr lang="en-GB">
                <a:solidFill>
                  <a:srgbClr val="000066"/>
                </a:solidFill>
              </a:rPr>
              <a:t>Presentation title       Author's name        </a:t>
            </a:r>
            <a:fld id="{5EEAE6BE-0C73-4219-9F3C-994D35AC4869}" type="datetime3">
              <a:rPr lang="en-GB">
                <a:solidFill>
                  <a:srgbClr val="000066"/>
                </a:solidFill>
              </a:rPr>
              <a:pPr>
                <a:defRPr/>
              </a:pPr>
              <a:t>15 May, 2017</a:t>
            </a:fld>
            <a:r>
              <a:rPr lang="en-GB">
                <a:solidFill>
                  <a:srgbClr val="000066"/>
                </a:solidFill>
              </a:rPr>
              <a:t>       Confidential</a:t>
            </a:r>
          </a:p>
        </p:txBody>
      </p:sp>
    </p:spTree>
    <p:extLst>
      <p:ext uri="{BB962C8B-B14F-4D97-AF65-F5344CB8AC3E}">
        <p14:creationId xmlns:p14="http://schemas.microsoft.com/office/powerpoint/2010/main" val="2977469114"/>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pic>
        <p:nvPicPr>
          <p:cNvPr id="4" name="Picture 5" descr="H:\000 Clients\lambie nairn\O2_blu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18515" y="184171"/>
            <a:ext cx="4587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H:\000 Clients\lambie nairn\O2_Telefonica_presentation tweak\Telefonica_indi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1427" y="4741864"/>
            <a:ext cx="1285875"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04814" y="236951"/>
            <a:ext cx="8226425" cy="631031"/>
          </a:xfrm>
        </p:spPr>
        <p:txBody>
          <a:bodyPr/>
          <a:lstStyle/>
          <a:p>
            <a:r>
              <a:rPr lang="en-GB"/>
              <a:t>Click to edit Master title style</a:t>
            </a:r>
          </a:p>
        </p:txBody>
      </p:sp>
      <p:sp>
        <p:nvSpPr>
          <p:cNvPr id="3" name="Chart Placeholder 2"/>
          <p:cNvSpPr>
            <a:spLocks noGrp="1"/>
          </p:cNvSpPr>
          <p:nvPr>
            <p:ph type="chart" idx="1"/>
          </p:nvPr>
        </p:nvSpPr>
        <p:spPr>
          <a:xfrm>
            <a:off x="304800" y="890588"/>
            <a:ext cx="8229600" cy="3733800"/>
          </a:xfrm>
        </p:spPr>
        <p:txBody>
          <a:bodyPr/>
          <a:lstStyle/>
          <a:p>
            <a:pPr lvl="0"/>
            <a:endParaRPr lang="en-GB" noProof="0"/>
          </a:p>
        </p:txBody>
      </p:sp>
      <p:sp>
        <p:nvSpPr>
          <p:cNvPr id="6" name="Rectangle 5"/>
          <p:cNvSpPr>
            <a:spLocks noGrp="1" noChangeArrowheads="1"/>
          </p:cNvSpPr>
          <p:nvPr>
            <p:ph type="ftr" sz="quarter" idx="10"/>
          </p:nvPr>
        </p:nvSpPr>
        <p:spPr/>
        <p:txBody>
          <a:bodyPr/>
          <a:lstStyle>
            <a:lvl1pPr>
              <a:defRPr/>
            </a:lvl1pPr>
          </a:lstStyle>
          <a:p>
            <a:pPr>
              <a:defRPr/>
            </a:pPr>
            <a:r>
              <a:rPr lang="en-GB">
                <a:solidFill>
                  <a:srgbClr val="000066"/>
                </a:solidFill>
              </a:rPr>
              <a:t>Presentation title       Author's name        </a:t>
            </a:r>
            <a:fld id="{A7B14526-AD9E-41F5-ADB1-E4AF95250A6E}" type="datetime3">
              <a:rPr lang="en-GB">
                <a:solidFill>
                  <a:srgbClr val="000066"/>
                </a:solidFill>
              </a:rPr>
              <a:pPr>
                <a:defRPr/>
              </a:pPr>
              <a:t>15 May, 2017</a:t>
            </a:fld>
            <a:r>
              <a:rPr lang="en-GB">
                <a:solidFill>
                  <a:srgbClr val="000066"/>
                </a:solidFill>
              </a:rPr>
              <a:t>       Confidential</a:t>
            </a:r>
          </a:p>
        </p:txBody>
      </p:sp>
    </p:spTree>
    <p:extLst>
      <p:ext uri="{BB962C8B-B14F-4D97-AF65-F5344CB8AC3E}">
        <p14:creationId xmlns:p14="http://schemas.microsoft.com/office/powerpoint/2010/main" val="114360686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Picture 9" descr="image-1.jpg"/>
          <p:cNvPicPr>
            <a:picLocks noChangeAspect="1"/>
          </p:cNvPicPr>
          <p:nvPr userDrawn="1"/>
        </p:nvPicPr>
        <p:blipFill>
          <a:blip r:embed="rId4"/>
          <a:stretch>
            <a:fillRect/>
          </a:stretch>
        </p:blipFill>
        <p:spPr>
          <a:xfrm>
            <a:off x="0" y="951570"/>
            <a:ext cx="9144000" cy="3919330"/>
          </a:xfrm>
          <a:prstGeom prst="rect">
            <a:avLst/>
          </a:prstGeom>
        </p:spPr>
      </p:pic>
      <p:sp>
        <p:nvSpPr>
          <p:cNvPr id="17" name="Rectangle 7"/>
          <p:cNvSpPr/>
          <p:nvPr userDrawn="1"/>
        </p:nvSpPr>
        <p:spPr bwMode="auto">
          <a:xfrm>
            <a:off x="-1890" y="13"/>
            <a:ext cx="9145895" cy="20122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2" tIns="36603" rIns="28172" bIns="36603" rtlCol="0" anchor="ctr"/>
          <a:lstStyle/>
          <a:p>
            <a:pPr algn="ctr" defTabSz="815759" fontAlgn="auto">
              <a:spcBef>
                <a:spcPts val="0"/>
              </a:spcBef>
              <a:spcAft>
                <a:spcPts val="0"/>
              </a:spcAft>
            </a:pPr>
            <a:endParaRPr lang="en-US" sz="900" dirty="0">
              <a:solidFill>
                <a:prstClr val="white"/>
              </a:solidFill>
              <a:latin typeface="Arial"/>
              <a:cs typeface="Arial"/>
            </a:endParaRPr>
          </a:p>
        </p:txBody>
      </p:sp>
      <p:graphicFrame>
        <p:nvGraphicFramePr>
          <p:cNvPr id="5" name="Object 4" hidden="1"/>
          <p:cNvGraphicFramePr>
            <a:graphicFrameLocks noChangeAspect="1"/>
          </p:cNvGraphicFramePr>
          <p:nvPr>
            <p:custDataLst>
              <p:tags r:id="rId2"/>
            </p:custDataLst>
          </p:nvPr>
        </p:nvGraphicFramePr>
        <p:xfrm>
          <a:off x="1" y="21"/>
          <a:ext cx="146538" cy="119063"/>
        </p:xfrm>
        <a:graphic>
          <a:graphicData uri="http://schemas.openxmlformats.org/presentationml/2006/ole">
            <mc:AlternateContent xmlns:mc="http://schemas.openxmlformats.org/markup-compatibility/2006">
              <mc:Choice xmlns:v="urn:schemas-microsoft-com:vml" Requires="v">
                <p:oleObj spid="_x0000_s3181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0" y="2247735"/>
            <a:ext cx="4436470" cy="818441"/>
          </a:xfrm>
        </p:spPr>
        <p:txBody>
          <a:bodyPr lIns="197104" tIns="28172" rIns="28172" bIns="28172"/>
          <a:lstStyle>
            <a:lvl1pPr algn="l">
              <a:defRPr sz="2800" b="0">
                <a:solidFill>
                  <a:schemeClr val="bg1"/>
                </a:solidFill>
                <a:effectLst>
                  <a:outerShdw blurRad="38100" dist="38100" dir="2700000" algn="tl">
                    <a:srgbClr val="000000">
                      <a:alpha val="43137"/>
                    </a:srgbClr>
                  </a:outerShdw>
                </a:effectLs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nvPr>
        </p:nvSpPr>
        <p:spPr>
          <a:xfrm>
            <a:off x="11" y="3073111"/>
            <a:ext cx="4437005" cy="292028"/>
          </a:xfrm>
        </p:spPr>
        <p:txBody>
          <a:bodyPr lIns="197104" tIns="28172" rIns="28172" bIns="28172"/>
          <a:lstStyle>
            <a:lvl1pPr marL="0" indent="0" algn="l">
              <a:buNone/>
              <a:defRPr sz="1900" b="0">
                <a:solidFill>
                  <a:schemeClr val="bg1"/>
                </a:solidFill>
                <a:effectLst>
                  <a:outerShdw blurRad="38100" dist="38100" dir="2700000" algn="tl">
                    <a:srgbClr val="000000">
                      <a:alpha val="43137"/>
                    </a:srgbClr>
                  </a:outerShdw>
                </a:effectLst>
              </a:defRPr>
            </a:lvl1pPr>
            <a:lvl2pPr marL="389411" indent="0" algn="ctr">
              <a:buNone/>
              <a:defRPr>
                <a:solidFill>
                  <a:schemeClr val="tx1">
                    <a:tint val="75000"/>
                  </a:schemeClr>
                </a:solidFill>
              </a:defRPr>
            </a:lvl2pPr>
            <a:lvl3pPr marL="778793" indent="0" algn="ctr">
              <a:buNone/>
              <a:defRPr>
                <a:solidFill>
                  <a:schemeClr val="tx1">
                    <a:tint val="75000"/>
                  </a:schemeClr>
                </a:solidFill>
              </a:defRPr>
            </a:lvl3pPr>
            <a:lvl4pPr marL="1168194" indent="0" algn="ctr">
              <a:buNone/>
              <a:defRPr>
                <a:solidFill>
                  <a:schemeClr val="tx1">
                    <a:tint val="75000"/>
                  </a:schemeClr>
                </a:solidFill>
              </a:defRPr>
            </a:lvl4pPr>
            <a:lvl5pPr marL="1557586" indent="0" algn="ctr">
              <a:buNone/>
              <a:defRPr>
                <a:solidFill>
                  <a:schemeClr val="tx1">
                    <a:tint val="75000"/>
                  </a:schemeClr>
                </a:solidFill>
              </a:defRPr>
            </a:lvl5pPr>
            <a:lvl6pPr marL="1946996" indent="0" algn="ctr">
              <a:buNone/>
              <a:defRPr>
                <a:solidFill>
                  <a:schemeClr val="tx1">
                    <a:tint val="75000"/>
                  </a:schemeClr>
                </a:solidFill>
              </a:defRPr>
            </a:lvl6pPr>
            <a:lvl7pPr marL="2336378" indent="0" algn="ctr">
              <a:buNone/>
              <a:defRPr>
                <a:solidFill>
                  <a:schemeClr val="tx1">
                    <a:tint val="75000"/>
                  </a:schemeClr>
                </a:solidFill>
              </a:defRPr>
            </a:lvl7pPr>
            <a:lvl8pPr marL="2725781" indent="0" algn="ctr">
              <a:buNone/>
              <a:defRPr>
                <a:solidFill>
                  <a:schemeClr val="tx1">
                    <a:tint val="75000"/>
                  </a:schemeClr>
                </a:solidFill>
              </a:defRPr>
            </a:lvl8pPr>
            <a:lvl9pPr marL="3115172"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4" name="Picture 13" descr="Capgemini_logo_cover.jpg"/>
          <p:cNvPicPr>
            <a:picLocks noChangeAspect="1"/>
          </p:cNvPicPr>
          <p:nvPr userDrawn="1"/>
        </p:nvPicPr>
        <p:blipFill>
          <a:blip r:embed="rId7"/>
          <a:stretch>
            <a:fillRect/>
          </a:stretch>
        </p:blipFill>
        <p:spPr>
          <a:xfrm>
            <a:off x="661138" y="489775"/>
            <a:ext cx="2768522" cy="521208"/>
          </a:xfrm>
          <a:prstGeom prst="rect">
            <a:avLst/>
          </a:prstGeom>
        </p:spPr>
      </p:pic>
      <p:sp>
        <p:nvSpPr>
          <p:cNvPr id="8" name="Rectangle 7"/>
          <p:cNvSpPr/>
          <p:nvPr userDrawn="1"/>
        </p:nvSpPr>
        <p:spPr>
          <a:xfrm>
            <a:off x="0" y="4800659"/>
            <a:ext cx="9144000" cy="342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526" tIns="35759" rIns="71526" bIns="35759" rtlCol="0" anchor="ctr"/>
          <a:lstStyle/>
          <a:p>
            <a:pPr algn="ctr" defTabSz="815759" fontAlgn="auto">
              <a:spcBef>
                <a:spcPts val="0"/>
              </a:spcBef>
              <a:spcAft>
                <a:spcPts val="0"/>
              </a:spcAft>
            </a:pPr>
            <a:endParaRPr lang="en-US" sz="1100" dirty="0">
              <a:solidFill>
                <a:prstClr val="white"/>
              </a:solidFill>
            </a:endParaRPr>
          </a:p>
        </p:txBody>
      </p:sp>
      <p:pic>
        <p:nvPicPr>
          <p:cNvPr id="9" name="Picture 104" descr="C:\Users\UserSim\Desktop\Capgemini\moto.emf"/>
          <p:cNvPicPr>
            <a:picLocks noChangeAspect="1" noChangeArrowheads="1"/>
          </p:cNvPicPr>
          <p:nvPr userDrawn="1"/>
        </p:nvPicPr>
        <p:blipFill>
          <a:blip r:embed="rId8" cstate="email"/>
          <a:srcRect/>
          <a:stretch>
            <a:fillRect/>
          </a:stretch>
        </p:blipFill>
        <p:spPr bwMode="auto">
          <a:xfrm>
            <a:off x="6064419" y="4890522"/>
            <a:ext cx="2770546" cy="179266"/>
          </a:xfrm>
          <a:prstGeom prst="rect">
            <a:avLst/>
          </a:prstGeom>
          <a:noFill/>
        </p:spPr>
      </p:pic>
      <p:pic>
        <p:nvPicPr>
          <p:cNvPr id="11" name="Picture 10" descr="expert-connect.png"/>
          <p:cNvPicPr>
            <a:picLocks noChangeAspect="1"/>
          </p:cNvPicPr>
          <p:nvPr userDrawn="1"/>
        </p:nvPicPr>
        <p:blipFill>
          <a:blip r:embed="rId9"/>
          <a:stretch>
            <a:fillRect/>
          </a:stretch>
        </p:blipFill>
        <p:spPr>
          <a:xfrm>
            <a:off x="216176" y="3835147"/>
            <a:ext cx="2532185" cy="937766"/>
          </a:xfrm>
          <a:prstGeom prst="rect">
            <a:avLst/>
          </a:prstGeom>
        </p:spPr>
      </p:pic>
    </p:spTree>
    <p:extLst>
      <p:ext uri="{BB962C8B-B14F-4D97-AF65-F5344CB8AC3E}">
        <p14:creationId xmlns:p14="http://schemas.microsoft.com/office/powerpoint/2010/main" val="390012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MediumTakeBlue" descr="Front_Page_DB_Tag" hidden="1"/>
          <p:cNvPicPr>
            <a:picLocks noChangeAspect="1" noChangeArrowheads="1"/>
          </p:cNvPicPr>
          <p:nvPr/>
        </p:nvPicPr>
        <p:blipFill>
          <a:blip r:embed="rId2"/>
          <a:srcRect/>
          <a:stretch>
            <a:fillRect/>
          </a:stretch>
        </p:blipFill>
        <p:spPr bwMode="auto">
          <a:xfrm>
            <a:off x="-1587" y="-1188"/>
            <a:ext cx="9148763" cy="5147072"/>
          </a:xfrm>
          <a:prstGeom prst="rect">
            <a:avLst/>
          </a:prstGeom>
          <a:noFill/>
          <a:ln w="9525">
            <a:noFill/>
            <a:miter lim="800000"/>
            <a:headEnd/>
            <a:tailEnd/>
          </a:ln>
        </p:spPr>
      </p:pic>
      <p:pic>
        <p:nvPicPr>
          <p:cNvPr id="5" name="MediumBlue" descr="Front_Page_DB" hidden="1"/>
          <p:cNvPicPr>
            <a:picLocks noChangeAspect="1" noChangeArrowheads="1"/>
          </p:cNvPicPr>
          <p:nvPr/>
        </p:nvPicPr>
        <p:blipFill>
          <a:blip r:embed="rId3"/>
          <a:srcRect/>
          <a:stretch>
            <a:fillRect/>
          </a:stretch>
        </p:blipFill>
        <p:spPr bwMode="auto">
          <a:xfrm>
            <a:off x="-1587" y="-1188"/>
            <a:ext cx="9148763" cy="5147072"/>
          </a:xfrm>
          <a:prstGeom prst="rect">
            <a:avLst/>
          </a:prstGeom>
          <a:noFill/>
          <a:ln w="9525">
            <a:noFill/>
            <a:miter lim="800000"/>
            <a:headEnd/>
            <a:tailEnd/>
          </a:ln>
        </p:spPr>
      </p:pic>
      <p:pic>
        <p:nvPicPr>
          <p:cNvPr id="6" name="MediumWhite" descr="Eri_White_front_page" hidden="1"/>
          <p:cNvPicPr>
            <a:picLocks noChangeAspect="1" noChangeArrowheads="1"/>
          </p:cNvPicPr>
          <p:nvPr/>
        </p:nvPicPr>
        <p:blipFill>
          <a:blip r:embed="rId4"/>
          <a:srcRect/>
          <a:stretch>
            <a:fillRect/>
          </a:stretch>
        </p:blipFill>
        <p:spPr bwMode="auto">
          <a:xfrm>
            <a:off x="12" y="3"/>
            <a:ext cx="9148763" cy="5147072"/>
          </a:xfrm>
          <a:prstGeom prst="rect">
            <a:avLst/>
          </a:prstGeom>
          <a:noFill/>
          <a:ln w="9525">
            <a:noFill/>
            <a:miter lim="800000"/>
            <a:headEnd/>
            <a:tailEnd/>
          </a:ln>
        </p:spPr>
      </p:pic>
      <p:sp>
        <p:nvSpPr>
          <p:cNvPr id="7" name="Text Box 7"/>
          <p:cNvSpPr txBox="1">
            <a:spLocks noChangeArrowheads="1"/>
          </p:cNvSpPr>
          <p:nvPr/>
        </p:nvSpPr>
        <p:spPr bwMode="auto">
          <a:xfrm>
            <a:off x="-2182813" y="8"/>
            <a:ext cx="2182813" cy="5078313"/>
          </a:xfrm>
          <a:prstGeom prst="rect">
            <a:avLst/>
          </a:prstGeom>
          <a:noFill/>
          <a:ln w="9525">
            <a:noFill/>
            <a:miter lim="800000"/>
            <a:headEnd/>
            <a:tailEnd/>
          </a:ln>
          <a:effectLst/>
        </p:spPr>
        <p:txBody>
          <a:bodyPr lIns="91284" tIns="45642" rIns="91284" bIns="45642">
            <a:spAutoFit/>
          </a:bodyPr>
          <a:lstStyle>
            <a:lvl1pPr eaLnBrk="0" hangingPunct="0">
              <a:defRPr sz="2400">
                <a:solidFill>
                  <a:schemeClr val="tx1"/>
                </a:solidFill>
                <a:latin typeface="Arial" pitchFamily="34" charset="0"/>
                <a:cs typeface="Arial" pitchFamily="34" charset="0"/>
              </a:defRPr>
            </a:lvl1pPr>
            <a:lvl2pPr marL="37931725" indent="-37474525" eaLnBrk="0" hangingPunct="0">
              <a:defRPr sz="2400">
                <a:solidFill>
                  <a:schemeClr val="tx1"/>
                </a:solidFill>
                <a:latin typeface="Arial" pitchFamily="34" charset="0"/>
                <a:cs typeface="Arial" pitchFamily="34" charset="0"/>
              </a:defRPr>
            </a:lvl2pPr>
            <a:lvl3pPr eaLnBrk="0" hangingPunct="0">
              <a:defRPr sz="2400">
                <a:solidFill>
                  <a:schemeClr val="tx1"/>
                </a:solidFill>
                <a:latin typeface="Arial" pitchFamily="34" charset="0"/>
                <a:cs typeface="Arial" pitchFamily="34" charset="0"/>
              </a:defRPr>
            </a:lvl3pPr>
            <a:lvl4pPr eaLnBrk="0" hangingPunct="0">
              <a:defRPr sz="2400">
                <a:solidFill>
                  <a:schemeClr val="tx1"/>
                </a:solidFill>
                <a:latin typeface="Arial" pitchFamily="34" charset="0"/>
                <a:cs typeface="Arial" pitchFamily="34" charset="0"/>
              </a:defRPr>
            </a:lvl4pPr>
            <a:lvl5pPr eaLnBrk="0" hangingPunct="0">
              <a:defRPr sz="2400">
                <a:solidFill>
                  <a:schemeClr val="tx1"/>
                </a:solidFill>
                <a:latin typeface="Arial" pitchFamily="34" charset="0"/>
                <a:cs typeface="Arial" pitchFamily="34" charset="0"/>
              </a:defRPr>
            </a:lvl5pPr>
            <a:lvl6pPr marL="457200" eaLnBrk="0" fontAlgn="base" hangingPunct="0">
              <a:spcBef>
                <a:spcPct val="0"/>
              </a:spcBef>
              <a:spcAft>
                <a:spcPct val="0"/>
              </a:spcAft>
              <a:defRPr sz="2400">
                <a:solidFill>
                  <a:schemeClr val="tx1"/>
                </a:solidFill>
                <a:latin typeface="Arial" pitchFamily="34" charset="0"/>
                <a:cs typeface="Arial" pitchFamily="34" charset="0"/>
              </a:defRPr>
            </a:lvl6pPr>
            <a:lvl7pPr marL="914400" eaLnBrk="0" fontAlgn="base" hangingPunct="0">
              <a:spcBef>
                <a:spcPct val="0"/>
              </a:spcBef>
              <a:spcAft>
                <a:spcPct val="0"/>
              </a:spcAft>
              <a:defRPr sz="2400">
                <a:solidFill>
                  <a:schemeClr val="tx1"/>
                </a:solidFill>
                <a:latin typeface="Arial" pitchFamily="34" charset="0"/>
                <a:cs typeface="Arial" pitchFamily="34" charset="0"/>
              </a:defRPr>
            </a:lvl7pPr>
            <a:lvl8pPr marL="1371600" eaLnBrk="0" fontAlgn="base" hangingPunct="0">
              <a:spcBef>
                <a:spcPct val="0"/>
              </a:spcBef>
              <a:spcAft>
                <a:spcPct val="0"/>
              </a:spcAft>
              <a:defRPr sz="2400">
                <a:solidFill>
                  <a:schemeClr val="tx1"/>
                </a:solidFill>
                <a:latin typeface="Arial" pitchFamily="34" charset="0"/>
                <a:cs typeface="Arial" pitchFamily="34" charset="0"/>
              </a:defRPr>
            </a:lvl8pPr>
            <a:lvl9pPr marL="18288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400" noProof="1">
              <a:solidFill>
                <a:srgbClr val="FFFFFF"/>
              </a:solidFill>
            </a:endParaRPr>
          </a:p>
          <a:p>
            <a:pPr algn="r" eaLnBrk="1" hangingPunct="1">
              <a:defRPr/>
            </a:pPr>
            <a:endParaRPr lang="en-GB" sz="1400" noProof="1">
              <a:solidFill>
                <a:srgbClr val="FFFFFF"/>
              </a:solidFill>
            </a:endParaRPr>
          </a:p>
          <a:p>
            <a:pPr algn="r" eaLnBrk="1" hangingPunct="1">
              <a:defRPr/>
            </a:pPr>
            <a:endParaRPr lang="en-GB" sz="1400" noProof="1">
              <a:solidFill>
                <a:srgbClr val="FFFFFF"/>
              </a:solidFill>
            </a:endParaRPr>
          </a:p>
          <a:p>
            <a:pPr algn="r" eaLnBrk="1" hangingPunct="1">
              <a:defRPr/>
            </a:pPr>
            <a:endParaRPr lang="en-GB" sz="1400" noProof="1">
              <a:solidFill>
                <a:srgbClr val="FFFFFF"/>
              </a:solidFill>
            </a:endParaRPr>
          </a:p>
          <a:p>
            <a:pPr algn="r" eaLnBrk="1" hangingPunct="1">
              <a:defRPr/>
            </a:pPr>
            <a:r>
              <a:rPr lang="sv-SE" sz="1400">
                <a:solidFill>
                  <a:srgbClr val="FFFFFF"/>
                </a:solidFill>
              </a:rPr>
              <a:t>Slide t</a:t>
            </a:r>
            <a:r>
              <a:rPr lang="sv-SE" sz="1400" noProof="1">
                <a:solidFill>
                  <a:srgbClr val="FFFFFF"/>
                </a:solidFill>
              </a:rPr>
              <a:t>itle</a:t>
            </a:r>
          </a:p>
          <a:p>
            <a:pPr algn="r" eaLnBrk="1" hangingPunct="1">
              <a:defRPr/>
            </a:pPr>
            <a:r>
              <a:rPr lang="sv-SE" sz="1400" noProof="1">
                <a:solidFill>
                  <a:srgbClr val="FFFFFF"/>
                </a:solidFill>
              </a:rPr>
              <a:t>In CAPITALS </a:t>
            </a:r>
          </a:p>
          <a:p>
            <a:pPr algn="r" eaLnBrk="1" hangingPunct="1">
              <a:defRPr/>
            </a:pPr>
            <a:r>
              <a:rPr lang="sv-SE" sz="1400" noProof="1">
                <a:solidFill>
                  <a:srgbClr val="FFFFFF"/>
                </a:solidFill>
              </a:rPr>
              <a:t>50 pt</a:t>
            </a:r>
          </a:p>
          <a:p>
            <a:pPr algn="r" eaLnBrk="1" hangingPunct="1">
              <a:defRPr/>
            </a:pPr>
            <a:endParaRPr lang="sv-SE" sz="1400" noProof="1">
              <a:solidFill>
                <a:srgbClr val="FFFFFF"/>
              </a:solidFill>
            </a:endParaRPr>
          </a:p>
          <a:p>
            <a:pPr algn="r" eaLnBrk="1" hangingPunct="1">
              <a:defRPr/>
            </a:pPr>
            <a:endParaRPr lang="sv-SE" sz="1400" noProof="1">
              <a:solidFill>
                <a:srgbClr val="FFFFFF"/>
              </a:solidFill>
            </a:endParaRPr>
          </a:p>
          <a:p>
            <a:pPr algn="r" eaLnBrk="1" hangingPunct="1">
              <a:defRPr/>
            </a:pPr>
            <a:endParaRPr lang="sv-SE" sz="1400" noProof="1">
              <a:solidFill>
                <a:srgbClr val="FFFFFF"/>
              </a:solidFill>
            </a:endParaRPr>
          </a:p>
          <a:p>
            <a:pPr algn="r" eaLnBrk="1" hangingPunct="1">
              <a:defRPr/>
            </a:pPr>
            <a:r>
              <a:rPr lang="sv-SE" sz="1400">
                <a:solidFill>
                  <a:srgbClr val="FFFFFF"/>
                </a:solidFill>
              </a:rPr>
              <a:t>Slide s</a:t>
            </a:r>
            <a:r>
              <a:rPr lang="sv-SE" sz="1400" noProof="1">
                <a:solidFill>
                  <a:srgbClr val="FFFFFF"/>
                </a:solidFill>
              </a:rPr>
              <a:t>ubtitle </a:t>
            </a:r>
          </a:p>
          <a:p>
            <a:pPr algn="r" eaLnBrk="1" hangingPunct="1">
              <a:defRPr/>
            </a:pPr>
            <a:r>
              <a:rPr lang="sv-SE" sz="1400" noProof="1">
                <a:solidFill>
                  <a:srgbClr val="FFFFFF"/>
                </a:solidFill>
              </a:rPr>
              <a:t>32 pt</a:t>
            </a:r>
          </a:p>
          <a:p>
            <a:pPr algn="r" eaLnBrk="1" hangingPunct="1">
              <a:defRPr/>
            </a:pPr>
            <a:endParaRPr lang="sv-SE" sz="1400" noProof="1">
              <a:solidFill>
                <a:srgbClr val="FFFFFF"/>
              </a:solidFill>
            </a:endParaRPr>
          </a:p>
          <a:p>
            <a:pPr algn="r" eaLnBrk="1" hangingPunct="1">
              <a:defRPr/>
            </a:pPr>
            <a:endParaRPr lang="sv-SE" sz="1400" noProof="1">
              <a:solidFill>
                <a:srgbClr val="FFFFFF"/>
              </a:solidFill>
            </a:endParaRPr>
          </a:p>
        </p:txBody>
      </p:sp>
      <p:sp>
        <p:nvSpPr>
          <p:cNvPr id="8" name="Text Box 8"/>
          <p:cNvSpPr txBox="1">
            <a:spLocks noChangeArrowheads="1"/>
          </p:cNvSpPr>
          <p:nvPr/>
        </p:nvSpPr>
        <p:spPr bwMode="auto">
          <a:xfrm>
            <a:off x="9144008" y="-59526"/>
            <a:ext cx="1685925" cy="311615"/>
          </a:xfrm>
          <a:prstGeom prst="rect">
            <a:avLst/>
          </a:prstGeom>
          <a:noFill/>
          <a:ln w="9525">
            <a:noFill/>
            <a:miter lim="800000"/>
            <a:headEnd/>
            <a:tailEnd/>
          </a:ln>
          <a:effectLst/>
        </p:spPr>
        <p:txBody>
          <a:bodyPr lIns="91284" tIns="45642" rIns="91284" bIns="45642">
            <a:spAutoFit/>
          </a:bodyPr>
          <a:lstStyle>
            <a:lvl1pPr>
              <a:defRPr sz="2400" b="1">
                <a:solidFill>
                  <a:schemeClr val="tx1"/>
                </a:solidFill>
                <a:latin typeface="Arial" pitchFamily="34" charset="0"/>
                <a:cs typeface="Times New Roman" pitchFamily="18" charset="0"/>
              </a:defRPr>
            </a:lvl1pPr>
            <a:lvl2pPr marL="37931725" indent="-37474525">
              <a:defRPr sz="2400" b="1">
                <a:solidFill>
                  <a:schemeClr val="tx1"/>
                </a:solidFill>
                <a:latin typeface="Arial" pitchFamily="34" charset="0"/>
                <a:cs typeface="Times New Roman" pitchFamily="18" charset="0"/>
              </a:defRPr>
            </a:lvl2pPr>
            <a:lvl3pPr>
              <a:defRPr sz="2400" b="1">
                <a:solidFill>
                  <a:schemeClr val="tx1"/>
                </a:solidFill>
                <a:latin typeface="Arial" pitchFamily="34" charset="0"/>
                <a:cs typeface="Times New Roman" pitchFamily="18" charset="0"/>
              </a:defRPr>
            </a:lvl3pPr>
            <a:lvl4pPr>
              <a:defRPr sz="2400" b="1">
                <a:solidFill>
                  <a:schemeClr val="tx1"/>
                </a:solidFill>
                <a:latin typeface="Arial" pitchFamily="34" charset="0"/>
                <a:cs typeface="Times New Roman" pitchFamily="18" charset="0"/>
              </a:defRPr>
            </a:lvl4pPr>
            <a:lvl5pPr>
              <a:defRPr sz="2400" b="1">
                <a:solidFill>
                  <a:schemeClr val="tx1"/>
                </a:solidFill>
                <a:latin typeface="Arial" pitchFamily="34" charset="0"/>
                <a:cs typeface="Times New Roman" pitchFamily="18" charset="0"/>
              </a:defRPr>
            </a:lvl5pPr>
            <a:lvl6pPr marL="457200" eaLnBrk="0" fontAlgn="base" hangingPunct="0">
              <a:spcBef>
                <a:spcPct val="0"/>
              </a:spcBef>
              <a:spcAft>
                <a:spcPct val="0"/>
              </a:spcAft>
              <a:defRPr sz="2400" b="1">
                <a:solidFill>
                  <a:schemeClr val="tx1"/>
                </a:solidFill>
                <a:latin typeface="Arial" pitchFamily="34" charset="0"/>
                <a:cs typeface="Times New Roman" pitchFamily="18" charset="0"/>
              </a:defRPr>
            </a:lvl6pPr>
            <a:lvl7pPr marL="914400" eaLnBrk="0" fontAlgn="base" hangingPunct="0">
              <a:spcBef>
                <a:spcPct val="0"/>
              </a:spcBef>
              <a:spcAft>
                <a:spcPct val="0"/>
              </a:spcAft>
              <a:defRPr sz="2400" b="1">
                <a:solidFill>
                  <a:schemeClr val="tx1"/>
                </a:solidFill>
                <a:latin typeface="Arial" pitchFamily="34" charset="0"/>
                <a:cs typeface="Times New Roman" pitchFamily="18" charset="0"/>
              </a:defRPr>
            </a:lvl7pPr>
            <a:lvl8pPr marL="1371600" eaLnBrk="0" fontAlgn="base" hangingPunct="0">
              <a:spcBef>
                <a:spcPct val="0"/>
              </a:spcBef>
              <a:spcAft>
                <a:spcPct val="0"/>
              </a:spcAft>
              <a:defRPr sz="2400" b="1">
                <a:solidFill>
                  <a:schemeClr val="tx1"/>
                </a:solidFill>
                <a:latin typeface="Arial" pitchFamily="34" charset="0"/>
                <a:cs typeface="Times New Roman" pitchFamily="18" charset="0"/>
              </a:defRPr>
            </a:lvl8pPr>
            <a:lvl9pPr marL="1828800" eaLnBrk="0" fontAlgn="base" hangingPunct="0">
              <a:spcBef>
                <a:spcPct val="0"/>
              </a:spcBef>
              <a:spcAft>
                <a:spcPct val="0"/>
              </a:spcAft>
              <a:defRPr sz="2400" b="1">
                <a:solidFill>
                  <a:schemeClr val="tx1"/>
                </a:solidFill>
                <a:latin typeface="Arial" pitchFamily="34" charset="0"/>
                <a:cs typeface="Times New Roman" pitchFamily="18" charset="0"/>
              </a:defRPr>
            </a:lvl9pPr>
          </a:lstStyle>
          <a:p>
            <a:pPr>
              <a:spcBef>
                <a:spcPct val="50000"/>
              </a:spcBef>
              <a:defRPr/>
            </a:pPr>
            <a:endParaRPr lang="en-US" sz="1400" b="0">
              <a:solidFill>
                <a:srgbClr val="FFFFFF"/>
              </a:solidFill>
            </a:endParaRPr>
          </a:p>
        </p:txBody>
      </p:sp>
      <p:sp>
        <p:nvSpPr>
          <p:cNvPr id="9" name="Line" hidden="1"/>
          <p:cNvSpPr>
            <a:spLocks noChangeShapeType="1"/>
          </p:cNvSpPr>
          <p:nvPr/>
        </p:nvSpPr>
        <p:spPr bwMode="auto">
          <a:xfrm>
            <a:off x="0" y="4926806"/>
            <a:ext cx="9144000" cy="0"/>
          </a:xfrm>
          <a:prstGeom prst="line">
            <a:avLst/>
          </a:prstGeom>
          <a:noFill/>
          <a:ln w="38100">
            <a:solidFill>
              <a:srgbClr val="A6A1A0"/>
            </a:solidFill>
            <a:round/>
            <a:headEnd/>
            <a:tailEnd/>
          </a:ln>
        </p:spPr>
        <p:txBody>
          <a:bodyPr wrap="none" lIns="91284" tIns="45642" rIns="91284" bIns="45642" anchor="ctr"/>
          <a:lstStyle/>
          <a:p>
            <a:pPr>
              <a:defRPr/>
            </a:pPr>
            <a:endParaRPr lang="en-GB"/>
          </a:p>
        </p:txBody>
      </p:sp>
      <p:pic>
        <p:nvPicPr>
          <p:cNvPr id="10" name="SmallBlue" descr="SmallBlue" hidden="1"/>
          <p:cNvPicPr>
            <a:picLocks noChangeAspect="1" noChangeArrowheads="1"/>
          </p:cNvPicPr>
          <p:nvPr/>
        </p:nvPicPr>
        <p:blipFill>
          <a:blip r:embed="rId5"/>
          <a:srcRect/>
          <a:stretch>
            <a:fillRect/>
          </a:stretch>
        </p:blipFill>
        <p:spPr bwMode="auto">
          <a:xfrm>
            <a:off x="8212222" y="4979194"/>
            <a:ext cx="731837" cy="114300"/>
          </a:xfrm>
          <a:prstGeom prst="rect">
            <a:avLst/>
          </a:prstGeom>
          <a:noFill/>
          <a:ln w="9525">
            <a:noFill/>
            <a:miter lim="800000"/>
            <a:headEnd/>
            <a:tailEnd/>
          </a:ln>
        </p:spPr>
      </p:pic>
      <p:pic>
        <p:nvPicPr>
          <p:cNvPr id="11" name="SmallWhite" descr="SmallWhite" hidden="1"/>
          <p:cNvPicPr>
            <a:picLocks noChangeAspect="1" noChangeArrowheads="1"/>
          </p:cNvPicPr>
          <p:nvPr/>
        </p:nvPicPr>
        <p:blipFill>
          <a:blip r:embed="rId6"/>
          <a:srcRect/>
          <a:stretch>
            <a:fillRect/>
          </a:stretch>
        </p:blipFill>
        <p:spPr bwMode="auto">
          <a:xfrm>
            <a:off x="8212222" y="4979194"/>
            <a:ext cx="731837" cy="114300"/>
          </a:xfrm>
          <a:prstGeom prst="rect">
            <a:avLst/>
          </a:prstGeom>
          <a:noFill/>
          <a:ln w="9525">
            <a:noFill/>
            <a:miter lim="800000"/>
            <a:headEnd/>
            <a:tailEnd/>
          </a:ln>
        </p:spPr>
      </p:pic>
      <p:pic>
        <p:nvPicPr>
          <p:cNvPr id="12" name="Picture 18" descr="pix">
            <a:hlinkClick r:id="rId7"/>
          </p:cNvPr>
          <p:cNvPicPr>
            <a:picLocks noChangeAspect="1" noChangeArrowheads="1"/>
          </p:cNvPicPr>
          <p:nvPr userDrawn="1"/>
        </p:nvPicPr>
        <p:blipFill>
          <a:blip r:embed="rId8"/>
          <a:srcRect/>
          <a:stretch>
            <a:fillRect/>
          </a:stretch>
        </p:blipFill>
        <p:spPr bwMode="auto">
          <a:xfrm>
            <a:off x="3976691" y="2478883"/>
            <a:ext cx="1190625" cy="185738"/>
          </a:xfrm>
          <a:prstGeom prst="rect">
            <a:avLst/>
          </a:prstGeom>
          <a:noFill/>
          <a:ln w="9525">
            <a:noFill/>
            <a:miter lim="800000"/>
            <a:headEnd/>
            <a:tailEnd/>
          </a:ln>
        </p:spPr>
      </p:pic>
      <p:pic>
        <p:nvPicPr>
          <p:cNvPr id="13" name="Picture 20" descr="pix">
            <a:hlinkClick r:id="rId7"/>
          </p:cNvPr>
          <p:cNvPicPr>
            <a:picLocks noChangeAspect="1" noChangeArrowheads="1"/>
          </p:cNvPicPr>
          <p:nvPr userDrawn="1"/>
        </p:nvPicPr>
        <p:blipFill>
          <a:blip r:embed="rId8"/>
          <a:srcRect/>
          <a:stretch>
            <a:fillRect/>
          </a:stretch>
        </p:blipFill>
        <p:spPr bwMode="auto">
          <a:xfrm>
            <a:off x="3976691" y="2478883"/>
            <a:ext cx="1190625" cy="185738"/>
          </a:xfrm>
          <a:prstGeom prst="rect">
            <a:avLst/>
          </a:prstGeom>
          <a:noFill/>
          <a:ln w="9525">
            <a:noFill/>
            <a:miter lim="800000"/>
            <a:headEnd/>
            <a:tailEnd/>
          </a:ln>
        </p:spPr>
      </p:pic>
      <p:pic>
        <p:nvPicPr>
          <p:cNvPr id="14" name="Picture 22" descr="pix">
            <a:hlinkClick r:id="rId7"/>
          </p:cNvPr>
          <p:cNvPicPr>
            <a:picLocks noChangeAspect="1" noChangeArrowheads="1"/>
          </p:cNvPicPr>
          <p:nvPr userDrawn="1"/>
        </p:nvPicPr>
        <p:blipFill>
          <a:blip r:embed="rId8"/>
          <a:srcRect/>
          <a:stretch>
            <a:fillRect/>
          </a:stretch>
        </p:blipFill>
        <p:spPr bwMode="auto">
          <a:xfrm>
            <a:off x="3976691" y="2478883"/>
            <a:ext cx="1190625" cy="185738"/>
          </a:xfrm>
          <a:prstGeom prst="rect">
            <a:avLst/>
          </a:prstGeom>
          <a:noFill/>
          <a:ln w="9525">
            <a:noFill/>
            <a:miter lim="800000"/>
            <a:headEnd/>
            <a:tailEnd/>
          </a:ln>
        </p:spPr>
      </p:pic>
      <p:pic>
        <p:nvPicPr>
          <p:cNvPr id="15" name="Picture 24" descr="pix">
            <a:hlinkClick r:id="rId7"/>
          </p:cNvPr>
          <p:cNvPicPr>
            <a:picLocks noChangeAspect="1" noChangeArrowheads="1"/>
          </p:cNvPicPr>
          <p:nvPr userDrawn="1"/>
        </p:nvPicPr>
        <p:blipFill>
          <a:blip r:embed="rId8"/>
          <a:srcRect/>
          <a:stretch>
            <a:fillRect/>
          </a:stretch>
        </p:blipFill>
        <p:spPr bwMode="auto">
          <a:xfrm>
            <a:off x="3976691" y="2478883"/>
            <a:ext cx="1190625" cy="185738"/>
          </a:xfrm>
          <a:prstGeom prst="rect">
            <a:avLst/>
          </a:prstGeom>
          <a:noFill/>
          <a:ln w="9525">
            <a:noFill/>
            <a:miter lim="800000"/>
            <a:headEnd/>
            <a:tailEnd/>
          </a:ln>
        </p:spPr>
      </p:pic>
      <p:pic>
        <p:nvPicPr>
          <p:cNvPr id="16" name="Picture 26" descr="pix">
            <a:hlinkClick r:id="rId7"/>
          </p:cNvPr>
          <p:cNvPicPr>
            <a:picLocks noChangeAspect="1" noChangeArrowheads="1"/>
          </p:cNvPicPr>
          <p:nvPr userDrawn="1"/>
        </p:nvPicPr>
        <p:blipFill>
          <a:blip r:embed="rId8"/>
          <a:srcRect/>
          <a:stretch>
            <a:fillRect/>
          </a:stretch>
        </p:blipFill>
        <p:spPr bwMode="auto">
          <a:xfrm>
            <a:off x="3976691" y="2478883"/>
            <a:ext cx="1190625" cy="185738"/>
          </a:xfrm>
          <a:prstGeom prst="rect">
            <a:avLst/>
          </a:prstGeom>
          <a:noFill/>
          <a:ln w="9525">
            <a:noFill/>
            <a:miter lim="800000"/>
            <a:headEnd/>
            <a:tailEnd/>
          </a:ln>
        </p:spPr>
      </p:pic>
      <p:pic>
        <p:nvPicPr>
          <p:cNvPr id="17" name="Picture 11" descr="tag"/>
          <p:cNvPicPr>
            <a:picLocks noChangeAspect="1" noChangeArrowheads="1"/>
          </p:cNvPicPr>
          <p:nvPr userDrawn="1"/>
        </p:nvPicPr>
        <p:blipFill>
          <a:blip r:embed="rId9"/>
          <a:srcRect/>
          <a:stretch>
            <a:fillRect/>
          </a:stretch>
        </p:blipFill>
        <p:spPr bwMode="auto">
          <a:xfrm>
            <a:off x="611188" y="4731544"/>
            <a:ext cx="2654300" cy="114300"/>
          </a:xfrm>
          <a:prstGeom prst="rect">
            <a:avLst/>
          </a:prstGeom>
          <a:noFill/>
          <a:ln w="9525">
            <a:noFill/>
            <a:miter lim="800000"/>
            <a:headEnd/>
            <a:tailEnd/>
          </a:ln>
        </p:spPr>
      </p:pic>
      <p:sp>
        <p:nvSpPr>
          <p:cNvPr id="18" name="Line 6"/>
          <p:cNvSpPr>
            <a:spLocks noChangeShapeType="1"/>
          </p:cNvSpPr>
          <p:nvPr userDrawn="1"/>
        </p:nvSpPr>
        <p:spPr bwMode="auto">
          <a:xfrm>
            <a:off x="611202" y="4569619"/>
            <a:ext cx="8123237" cy="0"/>
          </a:xfrm>
          <a:prstGeom prst="line">
            <a:avLst/>
          </a:prstGeom>
          <a:noFill/>
          <a:ln w="9525">
            <a:solidFill>
              <a:schemeClr val="bg2"/>
            </a:solidFill>
            <a:round/>
            <a:headEnd/>
            <a:tailEnd/>
          </a:ln>
        </p:spPr>
        <p:txBody>
          <a:bodyPr lIns="91284" tIns="45642" rIns="91284" bIns="45642"/>
          <a:lstStyle/>
          <a:p>
            <a:pPr>
              <a:defRPr/>
            </a:pPr>
            <a:endParaRPr lang="en-GB"/>
          </a:p>
        </p:txBody>
      </p:sp>
      <p:sp>
        <p:nvSpPr>
          <p:cNvPr id="538629" name="Rectangle 5"/>
          <p:cNvSpPr>
            <a:spLocks noGrp="1" noChangeArrowheads="1"/>
          </p:cNvSpPr>
          <p:nvPr>
            <p:ph type="ctrTitle"/>
          </p:nvPr>
        </p:nvSpPr>
        <p:spPr>
          <a:xfrm>
            <a:off x="276229" y="1970607"/>
            <a:ext cx="8591550" cy="861772"/>
          </a:xfrm>
        </p:spPr>
        <p:txBody>
          <a:bodyPr lIns="91280" tIns="45641" rIns="91280" bIns="45641" anchor="ctr"/>
          <a:lstStyle>
            <a:lvl1pPr algn="ctr">
              <a:defRPr sz="5000">
                <a:solidFill>
                  <a:schemeClr val="tx1"/>
                </a:solidFill>
              </a:defRPr>
            </a:lvl1pPr>
          </a:lstStyle>
          <a:p>
            <a:r>
              <a:rPr lang="en-GB"/>
              <a:t>Click to edit Master title style</a:t>
            </a:r>
          </a:p>
        </p:txBody>
      </p:sp>
      <p:sp>
        <p:nvSpPr>
          <p:cNvPr id="538630" name="Rectangle 6"/>
          <p:cNvSpPr>
            <a:spLocks noGrp="1" noChangeArrowheads="1"/>
          </p:cNvSpPr>
          <p:nvPr>
            <p:ph type="subTitle" idx="1"/>
          </p:nvPr>
        </p:nvSpPr>
        <p:spPr>
          <a:xfrm>
            <a:off x="384175" y="3027760"/>
            <a:ext cx="8382000" cy="647700"/>
          </a:xfrm>
        </p:spPr>
        <p:txBody>
          <a:bodyPr lIns="91280" tIns="45641" rIns="91280" bIns="45641" anchor="ctr"/>
          <a:lstStyle>
            <a:lvl1pPr marL="0" indent="0" algn="ctr">
              <a:buFont typeface="Wingdings" pitchFamily="-108" charset="2"/>
              <a:buNone/>
              <a:defRPr sz="3200"/>
            </a:lvl1pPr>
          </a:lstStyle>
          <a:p>
            <a:r>
              <a:rPr lang="en-GB"/>
              <a:t>Click to edit Master subtitle style</a:t>
            </a:r>
          </a:p>
        </p:txBody>
      </p:sp>
    </p:spTree>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sp>
        <p:nvSpPr>
          <p:cNvPr id="5" name="Rectangle 4"/>
          <p:cNvSpPr/>
          <p:nvPr userDrawn="1"/>
        </p:nvSpPr>
        <p:spPr>
          <a:xfrm>
            <a:off x="0" y="0"/>
            <a:ext cx="9144000" cy="477316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7883" tIns="38942" rIns="77883" bIns="38942" rtlCol="0" anchor="ctr"/>
          <a:lstStyle/>
          <a:p>
            <a:pPr algn="ctr" defTabSz="815759" fontAlgn="auto">
              <a:spcBef>
                <a:spcPts val="0"/>
              </a:spcBef>
              <a:spcAft>
                <a:spcPts val="0"/>
              </a:spcAft>
            </a:pPr>
            <a:endParaRPr lang="en-GB" sz="2000" dirty="0" err="1">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3283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p>
            <a:r>
              <a:rPr lang="en-US" dirty="0"/>
              <a:t>Click to edit Master title style</a:t>
            </a:r>
          </a:p>
        </p:txBody>
      </p:sp>
      <p:sp>
        <p:nvSpPr>
          <p:cNvPr id="6" name="Espace réservé du contenu 5"/>
          <p:cNvSpPr>
            <a:spLocks noGrp="1"/>
          </p:cNvSpPr>
          <p:nvPr>
            <p:ph sz="quarter" idx="10" hasCustomPrompt="1"/>
          </p:nvPr>
        </p:nvSpPr>
        <p:spPr>
          <a:xfrm>
            <a:off x="298604" y="1126506"/>
            <a:ext cx="6283986" cy="265457"/>
          </a:xfrm>
        </p:spPr>
        <p:txBody>
          <a:bodyPr>
            <a:spAutoFit/>
          </a:bodyPr>
          <a:lstStyle/>
          <a:p>
            <a:pPr lvl="0"/>
            <a:r>
              <a:rPr lang="en-US" noProof="0" dirty="0"/>
              <a:t>Click to edit Master text style</a:t>
            </a:r>
          </a:p>
        </p:txBody>
      </p:sp>
      <p:sp>
        <p:nvSpPr>
          <p:cNvPr id="8" name="Freeform 4"/>
          <p:cNvSpPr>
            <a:spLocks/>
          </p:cNvSpPr>
          <p:nvPr userDrawn="1"/>
        </p:nvSpPr>
        <p:spPr bwMode="auto">
          <a:xfrm>
            <a:off x="17"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06" tIns="42403" rIns="84806" bIns="42403" numCol="1" anchor="t" anchorCtr="0" compatLnSpc="1">
            <a:prstTxWarp prst="textNoShape">
              <a:avLst/>
            </a:prstTxWarp>
          </a:bodyPr>
          <a:lstStyle/>
          <a:p>
            <a:pPr defTabSz="815759" fontAlgn="auto">
              <a:spcBef>
                <a:spcPts val="0"/>
              </a:spcBef>
              <a:spcAft>
                <a:spcPts val="0"/>
              </a:spcAft>
            </a:pPr>
            <a:endParaRPr lang="fr-FR" sz="1600">
              <a:solidFill>
                <a:srgbClr val="00234B"/>
              </a:solidFill>
              <a:latin typeface="Arial"/>
              <a:cs typeface="+mn-cs"/>
            </a:endParaRPr>
          </a:p>
        </p:txBody>
      </p:sp>
    </p:spTree>
    <p:extLst>
      <p:ext uri="{BB962C8B-B14F-4D97-AF65-F5344CB8AC3E}">
        <p14:creationId xmlns:p14="http://schemas.microsoft.com/office/powerpoint/2010/main" val="221949635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4" y="13"/>
          <a:ext cx="135749" cy="107989"/>
        </p:xfrm>
        <a:graphic>
          <a:graphicData uri="http://schemas.openxmlformats.org/presentationml/2006/ole">
            <mc:AlternateContent xmlns:mc="http://schemas.openxmlformats.org/markup-compatibility/2006">
              <mc:Choice xmlns:v="urn:schemas-microsoft-com:vml" Requires="v">
                <p:oleObj spid="_x0000_s3386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 y="1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nvPr>
        </p:nvSpPr>
        <p:spPr>
          <a:xfrm>
            <a:off x="309490" y="1121079"/>
            <a:ext cx="8525022"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89358333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4" y="13"/>
          <a:ext cx="135749" cy="107989"/>
        </p:xfrm>
        <a:graphic>
          <a:graphicData uri="http://schemas.openxmlformats.org/presentationml/2006/ole">
            <mc:AlternateContent xmlns:mc="http://schemas.openxmlformats.org/markup-compatibility/2006">
              <mc:Choice xmlns:v="urn:schemas-microsoft-com:vml" Requires="v">
                <p:oleObj spid="_x0000_s3488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 y="1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nvPr>
        </p:nvSpPr>
        <p:spPr>
          <a:xfrm>
            <a:off x="298560" y="1583967"/>
            <a:ext cx="8525022" cy="301992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nvPr>
        </p:nvSpPr>
        <p:spPr>
          <a:xfrm>
            <a:off x="298560" y="1121608"/>
            <a:ext cx="8525022" cy="265457"/>
          </a:xfrm>
        </p:spPr>
        <p:txBody>
          <a:bodyPr tIns="0" rIns="0" bIns="0">
            <a:spAutoFit/>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463825161"/>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3591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nvPr>
        </p:nvSpPr>
        <p:spPr>
          <a:xfrm>
            <a:off x="290502" y="1150079"/>
            <a:ext cx="4155820" cy="3536628"/>
          </a:xfrm>
        </p:spPr>
        <p:txBody>
          <a:bodyPr/>
          <a:lstStyle>
            <a:lvl1pPr>
              <a:defRPr/>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nvPr>
        </p:nvSpPr>
        <p:spPr>
          <a:xfrm>
            <a:off x="4636467" y="1150080"/>
            <a:ext cx="4155820" cy="3544188"/>
          </a:xfrm>
        </p:spPr>
        <p:txBody>
          <a:bodyPr/>
          <a:lstStyle>
            <a:lvl1pPr>
              <a:defRPr/>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87763281"/>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3693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nvPr>
        </p:nvSpPr>
        <p:spPr>
          <a:xfrm>
            <a:off x="290502" y="1655231"/>
            <a:ext cx="4155820" cy="3031493"/>
          </a:xfrm>
        </p:spPr>
        <p:txBody>
          <a:bodyPr/>
          <a:lstStyle>
            <a:lvl1pPr>
              <a:defRPr sz="1500"/>
            </a:lvl1pPr>
            <a:lvl2pPr>
              <a:defRPr sz="1400"/>
            </a:lvl2pPr>
            <a:lvl3pPr>
              <a:defRPr sz="1300"/>
            </a:lvl3pPr>
            <a:lvl4pPr>
              <a:defRPr sz="11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nvPr>
        </p:nvSpPr>
        <p:spPr>
          <a:xfrm>
            <a:off x="4636467" y="1656308"/>
            <a:ext cx="4155820" cy="3037973"/>
          </a:xfrm>
        </p:spPr>
        <p:txBody>
          <a:bodyPr/>
          <a:lstStyle>
            <a:lvl1pPr>
              <a:defRPr sz="1500"/>
            </a:lvl1pPr>
            <a:lvl2pPr>
              <a:defRPr sz="1400"/>
            </a:lvl2pPr>
            <a:lvl3pPr>
              <a:defRPr sz="1300"/>
            </a:lvl3pPr>
            <a:lvl4pPr>
              <a:defRPr sz="11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nvPr>
        </p:nvSpPr>
        <p:spPr>
          <a:xfrm>
            <a:off x="290502" y="1156987"/>
            <a:ext cx="4155820" cy="489776"/>
          </a:xfrm>
        </p:spPr>
        <p:txBody>
          <a:bodyPr anchor="ctr"/>
          <a:lstStyle>
            <a:lvl1pPr algn="ctr">
              <a:buNone/>
              <a:defRPr sz="17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nvPr>
        </p:nvSpPr>
        <p:spPr>
          <a:xfrm>
            <a:off x="4636749" y="1150081"/>
            <a:ext cx="4155820" cy="489776"/>
          </a:xfrm>
        </p:spPr>
        <p:txBody>
          <a:bodyPr anchor="ctr"/>
          <a:lstStyle>
            <a:lvl1pPr algn="ctr">
              <a:buNone/>
              <a:defRPr lang="fr-FR" sz="17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9513796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en-US"/>
          </a:p>
        </p:txBody>
      </p:sp>
      <p:sp>
        <p:nvSpPr>
          <p:cNvPr id="3" name="Text Placeholder 2"/>
          <p:cNvSpPr>
            <a:spLocks noGrp="1"/>
          </p:cNvSpPr>
          <p:nvPr>
            <p:ph type="body" idx="1" hasCustomPrompt="1"/>
          </p:nvPr>
        </p:nvSpPr>
        <p:spPr>
          <a:xfrm>
            <a:off x="219261" y="1077688"/>
            <a:ext cx="4288536" cy="388598"/>
          </a:xfrm>
          <a:solidFill>
            <a:schemeClr val="accent1"/>
          </a:solidFill>
          <a:ln w="127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tx1"/>
                </a:solidFill>
                <a:latin typeface="Arial" charset="0"/>
                <a:ea typeface="+mn-ea"/>
                <a:cs typeface="+mn-cs"/>
              </a:defRPr>
            </a:lvl1pPr>
            <a:lvl2pPr marL="389435" indent="0">
              <a:buNone/>
              <a:defRPr sz="1700" b="1"/>
            </a:lvl2pPr>
            <a:lvl3pPr marL="778843" indent="0">
              <a:buNone/>
              <a:defRPr sz="1500" b="1"/>
            </a:lvl3pPr>
            <a:lvl4pPr marL="1168269" indent="0">
              <a:buNone/>
              <a:defRPr sz="1400" b="1"/>
            </a:lvl4pPr>
            <a:lvl5pPr marL="1557684" indent="0">
              <a:buNone/>
              <a:defRPr sz="1400" b="1"/>
            </a:lvl5pPr>
            <a:lvl6pPr marL="1947119" indent="0">
              <a:buNone/>
              <a:defRPr sz="1400" b="1"/>
            </a:lvl6pPr>
            <a:lvl7pPr marL="2336527" indent="0">
              <a:buNone/>
              <a:defRPr sz="1400" b="1"/>
            </a:lvl7pPr>
            <a:lvl8pPr marL="2725953" indent="0">
              <a:buNone/>
              <a:defRPr sz="1400" b="1"/>
            </a:lvl8pPr>
            <a:lvl9pPr marL="3115369" indent="0">
              <a:buNone/>
              <a:defRPr sz="14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19261" y="1426959"/>
            <a:ext cx="4288536" cy="1396402"/>
          </a:xfrm>
          <a:ln w="12700">
            <a:solidFill>
              <a:schemeClr val="tx1"/>
            </a:solidFill>
          </a:ln>
        </p:spPr>
        <p:style>
          <a:lnRef idx="2">
            <a:schemeClr val="accent1"/>
          </a:lnRef>
          <a:fillRef idx="1">
            <a:schemeClr val="lt1"/>
          </a:fillRef>
          <a:effectRef idx="0">
            <a:schemeClr val="accent1"/>
          </a:effectRef>
          <a:fontRef idx="none"/>
        </p:style>
        <p:txBody>
          <a:bodyPr lIns="77883"/>
          <a:lstStyle>
            <a:lvl1pPr>
              <a:defRPr sz="14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662790" y="1077688"/>
            <a:ext cx="4288536" cy="388598"/>
          </a:xfrm>
          <a:solidFill>
            <a:schemeClr val="accent1"/>
          </a:solidFill>
          <a:ln w="12700">
            <a:solidFill>
              <a:schemeClr val="tx1"/>
            </a:solidFill>
            <a:headEnd/>
            <a:tailEnd/>
          </a:ln>
        </p:spPr>
        <p:style>
          <a:lnRef idx="1">
            <a:schemeClr val="accent1"/>
          </a:lnRef>
          <a:fillRef idx="3">
            <a:schemeClr val="accent1"/>
          </a:fillRef>
          <a:effectRef idx="2">
            <a:schemeClr val="accent1"/>
          </a:effectRef>
          <a:fontRef idx="none"/>
        </p:style>
        <p:txBody>
          <a:bodyPr vert="horz" wrap="square" lIns="77883" tIns="38942" rIns="77883" bIns="38942" numCol="1" anchor="ctr" anchorCtr="1" compatLnSpc="1">
            <a:prstTxWarp prst="textNoShape">
              <a:avLst/>
            </a:prstTxWarp>
            <a:noAutofit/>
          </a:bodyPr>
          <a:lstStyle>
            <a:lvl1pPr marL="0" indent="0">
              <a:buNone/>
              <a:defRPr lang="en-US" sz="1400" b="1" kern="1200" dirty="0" smtClean="0">
                <a:solidFill>
                  <a:schemeClr val="tx1"/>
                </a:solidFill>
                <a:latin typeface="Arial" charset="0"/>
                <a:ea typeface="+mn-ea"/>
                <a:cs typeface="+mn-cs"/>
              </a:defRPr>
            </a:lvl1pPr>
            <a:lvl2pPr marL="389435" indent="0">
              <a:buNone/>
              <a:defRPr sz="1700" b="1"/>
            </a:lvl2pPr>
            <a:lvl3pPr marL="778843" indent="0">
              <a:buNone/>
              <a:defRPr sz="1500" b="1"/>
            </a:lvl3pPr>
            <a:lvl4pPr marL="1168269" indent="0">
              <a:buNone/>
              <a:defRPr sz="1400" b="1"/>
            </a:lvl4pPr>
            <a:lvl5pPr marL="1557684" indent="0">
              <a:buNone/>
              <a:defRPr sz="1400" b="1"/>
            </a:lvl5pPr>
            <a:lvl6pPr marL="1947119" indent="0">
              <a:buNone/>
              <a:defRPr sz="1400" b="1"/>
            </a:lvl6pPr>
            <a:lvl7pPr marL="2336527" indent="0">
              <a:buNone/>
              <a:defRPr sz="1400" b="1"/>
            </a:lvl7pPr>
            <a:lvl8pPr marL="2725953" indent="0">
              <a:buNone/>
              <a:defRPr sz="1400" b="1"/>
            </a:lvl8pPr>
            <a:lvl9pPr marL="3115369" indent="0">
              <a:buNone/>
              <a:defRPr sz="14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662790" y="1426959"/>
            <a:ext cx="4288536" cy="1396402"/>
          </a:xfrm>
          <a:ln w="12700">
            <a:solidFill>
              <a:schemeClr val="tx1"/>
            </a:solidFill>
          </a:ln>
        </p:spPr>
        <p:style>
          <a:lnRef idx="2">
            <a:schemeClr val="accent1"/>
          </a:lnRef>
          <a:fillRef idx="1">
            <a:schemeClr val="lt1"/>
          </a:fillRef>
          <a:effectRef idx="0">
            <a:schemeClr val="accent1"/>
          </a:effectRef>
          <a:fontRef idx="none"/>
        </p:style>
        <p:txBody>
          <a:bodyPr lIns="77883"/>
          <a:lstStyle>
            <a:lvl1pPr>
              <a:defRPr sz="14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19261" y="2865667"/>
            <a:ext cx="4288536" cy="388598"/>
          </a:xfrm>
          <a:solidFill>
            <a:schemeClr val="accent1"/>
          </a:solidFill>
          <a:ln w="127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tx1"/>
                </a:solidFill>
                <a:latin typeface="Arial" charset="0"/>
                <a:ea typeface="+mn-ea"/>
                <a:cs typeface="+mn-cs"/>
              </a:defRPr>
            </a:lvl1pPr>
            <a:lvl2pPr marL="389435" indent="0">
              <a:buNone/>
              <a:defRPr sz="1700" b="1"/>
            </a:lvl2pPr>
            <a:lvl3pPr marL="778843" indent="0">
              <a:buNone/>
              <a:defRPr sz="1500" b="1"/>
            </a:lvl3pPr>
            <a:lvl4pPr marL="1168269" indent="0">
              <a:buNone/>
              <a:defRPr sz="1400" b="1"/>
            </a:lvl4pPr>
            <a:lvl5pPr marL="1557684" indent="0">
              <a:buNone/>
              <a:defRPr sz="1400" b="1"/>
            </a:lvl5pPr>
            <a:lvl6pPr marL="1947119" indent="0">
              <a:buNone/>
              <a:defRPr sz="1400" b="1"/>
            </a:lvl6pPr>
            <a:lvl7pPr marL="2336527" indent="0">
              <a:buNone/>
              <a:defRPr sz="1400" b="1"/>
            </a:lvl7pPr>
            <a:lvl8pPr marL="2725953" indent="0">
              <a:buNone/>
              <a:defRPr sz="1400" b="1"/>
            </a:lvl8pPr>
            <a:lvl9pPr marL="3115369" indent="0">
              <a:buNone/>
              <a:defRPr sz="14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19261" y="3214938"/>
            <a:ext cx="4288536" cy="1508760"/>
          </a:xfrm>
          <a:ln w="12700">
            <a:solidFill>
              <a:schemeClr val="tx1"/>
            </a:solidFill>
          </a:ln>
        </p:spPr>
        <p:style>
          <a:lnRef idx="2">
            <a:schemeClr val="accent1"/>
          </a:lnRef>
          <a:fillRef idx="1">
            <a:schemeClr val="lt1"/>
          </a:fillRef>
          <a:effectRef idx="0">
            <a:schemeClr val="accent1"/>
          </a:effectRef>
          <a:fontRef idx="none"/>
        </p:style>
        <p:txBody>
          <a:bodyPr lIns="77883"/>
          <a:lstStyle>
            <a:lvl1pPr>
              <a:defRPr sz="14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662790" y="2865667"/>
            <a:ext cx="4288536" cy="388598"/>
          </a:xfrm>
          <a:solidFill>
            <a:schemeClr val="accent1"/>
          </a:solidFill>
          <a:ln w="12700">
            <a:solidFill>
              <a:schemeClr val="tx1"/>
            </a:solidFill>
            <a:headEnd/>
            <a:tailEnd/>
          </a:ln>
        </p:spPr>
        <p:style>
          <a:lnRef idx="1">
            <a:schemeClr val="accent1"/>
          </a:lnRef>
          <a:fillRef idx="3">
            <a:schemeClr val="accent1"/>
          </a:fillRef>
          <a:effectRef idx="2">
            <a:schemeClr val="accent1"/>
          </a:effectRef>
          <a:fontRef idx="none"/>
        </p:style>
        <p:txBody>
          <a:bodyPr vert="horz" wrap="square" lIns="77883" tIns="38942" rIns="77883" bIns="38942" numCol="1" anchor="ctr" anchorCtr="1" compatLnSpc="1">
            <a:prstTxWarp prst="textNoShape">
              <a:avLst/>
            </a:prstTxWarp>
            <a:noAutofit/>
          </a:bodyPr>
          <a:lstStyle>
            <a:lvl1pPr marL="0" indent="0">
              <a:buNone/>
              <a:defRPr lang="en-US" sz="1400" b="1" kern="1200" dirty="0" smtClean="0">
                <a:solidFill>
                  <a:schemeClr val="tx1"/>
                </a:solidFill>
                <a:latin typeface="Arial" charset="0"/>
                <a:ea typeface="+mn-ea"/>
                <a:cs typeface="+mn-cs"/>
              </a:defRPr>
            </a:lvl1pPr>
            <a:lvl2pPr marL="389435" indent="0">
              <a:buNone/>
              <a:defRPr sz="1700" b="1"/>
            </a:lvl2pPr>
            <a:lvl3pPr marL="778843" indent="0">
              <a:buNone/>
              <a:defRPr sz="1500" b="1"/>
            </a:lvl3pPr>
            <a:lvl4pPr marL="1168269" indent="0">
              <a:buNone/>
              <a:defRPr sz="1400" b="1"/>
            </a:lvl4pPr>
            <a:lvl5pPr marL="1557684" indent="0">
              <a:buNone/>
              <a:defRPr sz="1400" b="1"/>
            </a:lvl5pPr>
            <a:lvl6pPr marL="1947119" indent="0">
              <a:buNone/>
              <a:defRPr sz="1400" b="1"/>
            </a:lvl6pPr>
            <a:lvl7pPr marL="2336527" indent="0">
              <a:buNone/>
              <a:defRPr sz="1400" b="1"/>
            </a:lvl7pPr>
            <a:lvl8pPr marL="2725953" indent="0">
              <a:buNone/>
              <a:defRPr sz="1400" b="1"/>
            </a:lvl8pPr>
            <a:lvl9pPr marL="3115369" indent="0">
              <a:buNone/>
              <a:defRPr sz="14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662790" y="3214938"/>
            <a:ext cx="4288536" cy="1508760"/>
          </a:xfrm>
          <a:ln w="12700">
            <a:solidFill>
              <a:schemeClr val="tx1"/>
            </a:solidFill>
          </a:ln>
        </p:spPr>
        <p:style>
          <a:lnRef idx="2">
            <a:schemeClr val="accent1"/>
          </a:lnRef>
          <a:fillRef idx="1">
            <a:schemeClr val="lt1"/>
          </a:fillRef>
          <a:effectRef idx="0">
            <a:schemeClr val="accent1"/>
          </a:effectRef>
          <a:fontRef idx="none"/>
        </p:style>
        <p:txBody>
          <a:bodyPr lIns="77883"/>
          <a:lstStyle>
            <a:lvl1pPr>
              <a:defRPr sz="14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2905863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3795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13695846"/>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 y="13"/>
          <a:ext cx="135749" cy="107989"/>
        </p:xfrm>
        <a:graphic>
          <a:graphicData uri="http://schemas.openxmlformats.org/presentationml/2006/ole">
            <mc:AlternateContent xmlns:mc="http://schemas.openxmlformats.org/markup-compatibility/2006">
              <mc:Choice xmlns:v="urn:schemas-microsoft-com:vml" Requires="v">
                <p:oleObj spid="_x0000_s3898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 y="1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7368499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Picture 9" descr="image-1.jpg"/>
          <p:cNvPicPr>
            <a:picLocks noChangeAspect="1"/>
          </p:cNvPicPr>
          <p:nvPr userDrawn="1"/>
        </p:nvPicPr>
        <p:blipFill>
          <a:blip r:embed="rId4"/>
          <a:stretch>
            <a:fillRect/>
          </a:stretch>
        </p:blipFill>
        <p:spPr>
          <a:xfrm>
            <a:off x="0" y="951587"/>
            <a:ext cx="9144000" cy="3919331"/>
          </a:xfrm>
          <a:prstGeom prst="rect">
            <a:avLst/>
          </a:prstGeom>
        </p:spPr>
      </p:pic>
      <p:sp>
        <p:nvSpPr>
          <p:cNvPr id="17" name="Rectangle 7"/>
          <p:cNvSpPr/>
          <p:nvPr userDrawn="1"/>
        </p:nvSpPr>
        <p:spPr bwMode="auto">
          <a:xfrm>
            <a:off x="-1890" y="13"/>
            <a:ext cx="9145895" cy="20122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2" tIns="36603" rIns="28172" bIns="36603" rtlCol="0" anchor="ctr"/>
          <a:lstStyle/>
          <a:p>
            <a:pPr algn="ctr" defTabSz="815759" fontAlgn="auto">
              <a:spcBef>
                <a:spcPts val="0"/>
              </a:spcBef>
              <a:spcAft>
                <a:spcPts val="0"/>
              </a:spcAft>
            </a:pPr>
            <a:endParaRPr lang="en-US" sz="900" dirty="0">
              <a:solidFill>
                <a:prstClr val="white"/>
              </a:solidFill>
              <a:latin typeface="Arial"/>
              <a:cs typeface="Arial"/>
            </a:endParaRPr>
          </a:p>
        </p:txBody>
      </p:sp>
      <p:graphicFrame>
        <p:nvGraphicFramePr>
          <p:cNvPr id="5" name="Object 4" hidden="1"/>
          <p:cNvGraphicFramePr>
            <a:graphicFrameLocks noChangeAspect="1"/>
          </p:cNvGraphicFramePr>
          <p:nvPr>
            <p:custDataLst>
              <p:tags r:id="rId2"/>
            </p:custDataLst>
          </p:nvPr>
        </p:nvGraphicFramePr>
        <p:xfrm>
          <a:off x="1" y="21"/>
          <a:ext cx="146538" cy="119063"/>
        </p:xfrm>
        <a:graphic>
          <a:graphicData uri="http://schemas.openxmlformats.org/presentationml/2006/ole">
            <mc:AlternateContent xmlns:mc="http://schemas.openxmlformats.org/markup-compatibility/2006">
              <mc:Choice xmlns:v="urn:schemas-microsoft-com:vml" Requires="v">
                <p:oleObj spid="_x0000_s4103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0" y="2247735"/>
            <a:ext cx="4436470" cy="818441"/>
          </a:xfrm>
        </p:spPr>
        <p:txBody>
          <a:bodyPr lIns="197104" tIns="28172" rIns="28172" bIns="28172"/>
          <a:lstStyle>
            <a:lvl1pPr algn="l">
              <a:defRPr sz="2800" b="0">
                <a:solidFill>
                  <a:schemeClr val="bg1"/>
                </a:solidFill>
                <a:effectLst>
                  <a:outerShdw blurRad="38100" dist="38100" dir="2700000" algn="tl">
                    <a:srgbClr val="000000">
                      <a:alpha val="43137"/>
                    </a:srgbClr>
                  </a:outerShdw>
                </a:effectLs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nvPr>
        </p:nvSpPr>
        <p:spPr>
          <a:xfrm>
            <a:off x="14" y="3073111"/>
            <a:ext cx="4437005" cy="292028"/>
          </a:xfrm>
        </p:spPr>
        <p:txBody>
          <a:bodyPr lIns="197104" tIns="28172" rIns="28172" bIns="28172"/>
          <a:lstStyle>
            <a:lvl1pPr marL="0" indent="0" algn="l">
              <a:buNone/>
              <a:defRPr sz="1900" b="0">
                <a:solidFill>
                  <a:schemeClr val="bg1"/>
                </a:solidFill>
                <a:effectLst>
                  <a:outerShdw blurRad="38100" dist="38100" dir="2700000" algn="tl">
                    <a:srgbClr val="000000">
                      <a:alpha val="43137"/>
                    </a:srgbClr>
                  </a:outerShdw>
                </a:effectLst>
              </a:defRPr>
            </a:lvl1pPr>
            <a:lvl2pPr marL="389411" indent="0" algn="ctr">
              <a:buNone/>
              <a:defRPr>
                <a:solidFill>
                  <a:schemeClr val="tx1">
                    <a:tint val="75000"/>
                  </a:schemeClr>
                </a:solidFill>
              </a:defRPr>
            </a:lvl2pPr>
            <a:lvl3pPr marL="778793" indent="0" algn="ctr">
              <a:buNone/>
              <a:defRPr>
                <a:solidFill>
                  <a:schemeClr val="tx1">
                    <a:tint val="75000"/>
                  </a:schemeClr>
                </a:solidFill>
              </a:defRPr>
            </a:lvl3pPr>
            <a:lvl4pPr marL="1168194" indent="0" algn="ctr">
              <a:buNone/>
              <a:defRPr>
                <a:solidFill>
                  <a:schemeClr val="tx1">
                    <a:tint val="75000"/>
                  </a:schemeClr>
                </a:solidFill>
              </a:defRPr>
            </a:lvl4pPr>
            <a:lvl5pPr marL="1557586" indent="0" algn="ctr">
              <a:buNone/>
              <a:defRPr>
                <a:solidFill>
                  <a:schemeClr val="tx1">
                    <a:tint val="75000"/>
                  </a:schemeClr>
                </a:solidFill>
              </a:defRPr>
            </a:lvl5pPr>
            <a:lvl6pPr marL="1946996" indent="0" algn="ctr">
              <a:buNone/>
              <a:defRPr>
                <a:solidFill>
                  <a:schemeClr val="tx1">
                    <a:tint val="75000"/>
                  </a:schemeClr>
                </a:solidFill>
              </a:defRPr>
            </a:lvl6pPr>
            <a:lvl7pPr marL="2336378" indent="0" algn="ctr">
              <a:buNone/>
              <a:defRPr>
                <a:solidFill>
                  <a:schemeClr val="tx1">
                    <a:tint val="75000"/>
                  </a:schemeClr>
                </a:solidFill>
              </a:defRPr>
            </a:lvl7pPr>
            <a:lvl8pPr marL="2725781" indent="0" algn="ctr">
              <a:buNone/>
              <a:defRPr>
                <a:solidFill>
                  <a:schemeClr val="tx1">
                    <a:tint val="75000"/>
                  </a:schemeClr>
                </a:solidFill>
              </a:defRPr>
            </a:lvl8pPr>
            <a:lvl9pPr marL="3115172"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4" name="Picture 13" descr="Capgemini_logo_cover.jpg"/>
          <p:cNvPicPr>
            <a:picLocks noChangeAspect="1"/>
          </p:cNvPicPr>
          <p:nvPr userDrawn="1"/>
        </p:nvPicPr>
        <p:blipFill>
          <a:blip r:embed="rId7"/>
          <a:stretch>
            <a:fillRect/>
          </a:stretch>
        </p:blipFill>
        <p:spPr>
          <a:xfrm>
            <a:off x="661138" y="489775"/>
            <a:ext cx="2768522" cy="521208"/>
          </a:xfrm>
          <a:prstGeom prst="rect">
            <a:avLst/>
          </a:prstGeom>
        </p:spPr>
      </p:pic>
      <p:sp>
        <p:nvSpPr>
          <p:cNvPr id="8" name="Rectangle 7"/>
          <p:cNvSpPr/>
          <p:nvPr userDrawn="1"/>
        </p:nvSpPr>
        <p:spPr>
          <a:xfrm>
            <a:off x="0" y="4800659"/>
            <a:ext cx="9144000" cy="342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526" tIns="35759" rIns="71526" bIns="35759" rtlCol="0" anchor="ctr"/>
          <a:lstStyle/>
          <a:p>
            <a:pPr algn="ctr" defTabSz="815759" fontAlgn="auto">
              <a:spcBef>
                <a:spcPts val="0"/>
              </a:spcBef>
              <a:spcAft>
                <a:spcPts val="0"/>
              </a:spcAft>
            </a:pPr>
            <a:endParaRPr lang="en-US" sz="1100" dirty="0">
              <a:solidFill>
                <a:prstClr val="white"/>
              </a:solidFill>
            </a:endParaRPr>
          </a:p>
        </p:txBody>
      </p:sp>
      <p:pic>
        <p:nvPicPr>
          <p:cNvPr id="9" name="Picture 104" descr="C:\Users\UserSim\Desktop\Capgemini\moto.emf"/>
          <p:cNvPicPr>
            <a:picLocks noChangeAspect="1" noChangeArrowheads="1"/>
          </p:cNvPicPr>
          <p:nvPr userDrawn="1"/>
        </p:nvPicPr>
        <p:blipFill>
          <a:blip r:embed="rId8" cstate="email"/>
          <a:srcRect/>
          <a:stretch>
            <a:fillRect/>
          </a:stretch>
        </p:blipFill>
        <p:spPr bwMode="auto">
          <a:xfrm>
            <a:off x="6064419" y="4890525"/>
            <a:ext cx="2770546" cy="179266"/>
          </a:xfrm>
          <a:prstGeom prst="rect">
            <a:avLst/>
          </a:prstGeom>
          <a:noFill/>
        </p:spPr>
      </p:pic>
      <p:pic>
        <p:nvPicPr>
          <p:cNvPr id="11" name="Picture 10" descr="expert-connect.png"/>
          <p:cNvPicPr>
            <a:picLocks noChangeAspect="1"/>
          </p:cNvPicPr>
          <p:nvPr userDrawn="1"/>
        </p:nvPicPr>
        <p:blipFill>
          <a:blip r:embed="rId9"/>
          <a:stretch>
            <a:fillRect/>
          </a:stretch>
        </p:blipFill>
        <p:spPr>
          <a:xfrm>
            <a:off x="216179" y="3700438"/>
            <a:ext cx="2532185" cy="937766"/>
          </a:xfrm>
          <a:prstGeom prst="rect">
            <a:avLst/>
          </a:prstGeom>
        </p:spPr>
      </p:pic>
      <p:sp>
        <p:nvSpPr>
          <p:cNvPr id="12" name="ZoneTexte 11"/>
          <p:cNvSpPr txBox="1"/>
          <p:nvPr userDrawn="1"/>
        </p:nvSpPr>
        <p:spPr>
          <a:xfrm>
            <a:off x="532276" y="4825216"/>
            <a:ext cx="1343594" cy="263353"/>
          </a:xfrm>
          <a:prstGeom prst="rect">
            <a:avLst/>
          </a:prstGeom>
          <a:noFill/>
        </p:spPr>
        <p:txBody>
          <a:bodyPr wrap="none" lIns="77883" tIns="38942" rIns="77883" bIns="38942" rtlCol="0">
            <a:spAutoFit/>
          </a:bodyPr>
          <a:lstStyle/>
          <a:p>
            <a:pPr defTabSz="815759" fontAlgn="auto">
              <a:spcBef>
                <a:spcPts val="0"/>
              </a:spcBef>
              <a:spcAft>
                <a:spcPts val="0"/>
              </a:spcAft>
            </a:pPr>
            <a:r>
              <a:rPr lang="fr-FR" sz="1200" dirty="0" err="1">
                <a:solidFill>
                  <a:srgbClr val="9F958F">
                    <a:lumMod val="50000"/>
                  </a:srgbClr>
                </a:solidFill>
                <a:latin typeface="Arial"/>
                <a:cs typeface="+mn-cs"/>
              </a:rPr>
              <a:t>Internal</a:t>
            </a:r>
            <a:r>
              <a:rPr lang="fr-FR" sz="1200" dirty="0">
                <a:solidFill>
                  <a:srgbClr val="9F958F">
                    <a:lumMod val="50000"/>
                  </a:srgbClr>
                </a:solidFill>
                <a:latin typeface="Arial"/>
                <a:cs typeface="+mn-cs"/>
              </a:rPr>
              <a:t> Use </a:t>
            </a:r>
            <a:r>
              <a:rPr lang="fr-FR" sz="1200" dirty="0" err="1">
                <a:solidFill>
                  <a:srgbClr val="9F958F">
                    <a:lumMod val="50000"/>
                  </a:srgbClr>
                </a:solidFill>
                <a:latin typeface="Arial"/>
                <a:cs typeface="+mn-cs"/>
              </a:rPr>
              <a:t>Only</a:t>
            </a:r>
            <a:endParaRPr lang="fr-FR" sz="1200" dirty="0">
              <a:solidFill>
                <a:srgbClr val="9F958F">
                  <a:lumMod val="50000"/>
                </a:srgbClr>
              </a:solidFill>
              <a:latin typeface="Arial"/>
              <a:cs typeface="+mn-cs"/>
            </a:endParaRPr>
          </a:p>
        </p:txBody>
      </p:sp>
    </p:spTree>
    <p:extLst>
      <p:ext uri="{BB962C8B-B14F-4D97-AF65-F5344CB8AC3E}">
        <p14:creationId xmlns:p14="http://schemas.microsoft.com/office/powerpoint/2010/main" val="268462131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sp>
        <p:nvSpPr>
          <p:cNvPr id="5" name="Rectangle 4"/>
          <p:cNvSpPr/>
          <p:nvPr userDrawn="1"/>
        </p:nvSpPr>
        <p:spPr>
          <a:xfrm>
            <a:off x="0" y="0"/>
            <a:ext cx="9144000" cy="477316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7883" tIns="38942" rIns="77883" bIns="38942" rtlCol="0" anchor="ctr"/>
          <a:lstStyle/>
          <a:p>
            <a:pPr algn="ctr" defTabSz="815759" fontAlgn="auto">
              <a:spcBef>
                <a:spcPts val="0"/>
              </a:spcBef>
              <a:spcAft>
                <a:spcPts val="0"/>
              </a:spcAft>
            </a:pPr>
            <a:endParaRPr lang="en-GB" sz="2000" dirty="0" err="1">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4205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6" name="Espace réservé du contenu 5"/>
          <p:cNvSpPr>
            <a:spLocks noGrp="1"/>
          </p:cNvSpPr>
          <p:nvPr>
            <p:ph sz="quarter" idx="10" hasCustomPrompt="1"/>
            <p:custDataLst>
              <p:tags r:id="rId4"/>
            </p:custDataLst>
          </p:nvPr>
        </p:nvSpPr>
        <p:spPr>
          <a:xfrm>
            <a:off x="298604" y="1126507"/>
            <a:ext cx="6283986" cy="265457"/>
          </a:xfrm>
        </p:spPr>
        <p:txBody>
          <a:bodyPr>
            <a:spAutoFit/>
          </a:bodyPr>
          <a:lstStyle/>
          <a:p>
            <a:pPr lvl="0"/>
            <a:r>
              <a:rPr lang="en-US" noProof="0" dirty="0"/>
              <a:t>Click to edit Master text style</a:t>
            </a:r>
          </a:p>
        </p:txBody>
      </p:sp>
      <p:sp>
        <p:nvSpPr>
          <p:cNvPr id="8" name="Freeform 4"/>
          <p:cNvSpPr>
            <a:spLocks/>
          </p:cNvSpPr>
          <p:nvPr userDrawn="1">
            <p:custDataLst>
              <p:tags r:id="rId5"/>
            </p:custDataLst>
          </p:nvPr>
        </p:nvSpPr>
        <p:spPr bwMode="auto">
          <a:xfrm>
            <a:off x="17"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06" tIns="42403" rIns="84806" bIns="42403" numCol="1" anchor="t" anchorCtr="0" compatLnSpc="1">
            <a:prstTxWarp prst="textNoShape">
              <a:avLst/>
            </a:prstTxWarp>
          </a:bodyPr>
          <a:lstStyle/>
          <a:p>
            <a:pPr defTabSz="815759" fontAlgn="auto">
              <a:spcBef>
                <a:spcPts val="0"/>
              </a:spcBef>
              <a:spcAft>
                <a:spcPts val="0"/>
              </a:spcAft>
            </a:pPr>
            <a:endParaRPr lang="fr-FR" sz="1600">
              <a:solidFill>
                <a:srgbClr val="00234B"/>
              </a:solidFill>
              <a:latin typeface="Arial"/>
              <a:cs typeface="+mn-cs"/>
            </a:endParaRPr>
          </a:p>
        </p:txBody>
      </p:sp>
    </p:spTree>
    <p:extLst>
      <p:ext uri="{BB962C8B-B14F-4D97-AF65-F5344CB8AC3E}">
        <p14:creationId xmlns:p14="http://schemas.microsoft.com/office/powerpoint/2010/main" val="7071323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MediumTakeBlue" descr="Front_Page_DB_Tag" hidden="1"/>
          <p:cNvPicPr>
            <a:picLocks noChangeAspect="1" noChangeArrowheads="1"/>
          </p:cNvPicPr>
          <p:nvPr/>
        </p:nvPicPr>
        <p:blipFill>
          <a:blip r:embed="rId2"/>
          <a:srcRect/>
          <a:stretch>
            <a:fillRect/>
          </a:stretch>
        </p:blipFill>
        <p:spPr bwMode="auto">
          <a:xfrm>
            <a:off x="-1587" y="-1188"/>
            <a:ext cx="9148763" cy="5147072"/>
          </a:xfrm>
          <a:prstGeom prst="rect">
            <a:avLst/>
          </a:prstGeom>
          <a:noFill/>
          <a:ln w="9525">
            <a:noFill/>
            <a:miter lim="800000"/>
            <a:headEnd/>
            <a:tailEnd/>
          </a:ln>
        </p:spPr>
      </p:pic>
      <p:pic>
        <p:nvPicPr>
          <p:cNvPr id="5" name="MediumBlue" descr="Front_Page_DB" hidden="1"/>
          <p:cNvPicPr>
            <a:picLocks noChangeAspect="1" noChangeArrowheads="1"/>
          </p:cNvPicPr>
          <p:nvPr/>
        </p:nvPicPr>
        <p:blipFill>
          <a:blip r:embed="rId3"/>
          <a:srcRect/>
          <a:stretch>
            <a:fillRect/>
          </a:stretch>
        </p:blipFill>
        <p:spPr bwMode="auto">
          <a:xfrm>
            <a:off x="-1587" y="-1188"/>
            <a:ext cx="9148763" cy="5147072"/>
          </a:xfrm>
          <a:prstGeom prst="rect">
            <a:avLst/>
          </a:prstGeom>
          <a:noFill/>
          <a:ln w="9525">
            <a:noFill/>
            <a:miter lim="800000"/>
            <a:headEnd/>
            <a:tailEnd/>
          </a:ln>
        </p:spPr>
      </p:pic>
      <p:pic>
        <p:nvPicPr>
          <p:cNvPr id="6" name="MediumWhite" descr="Eri_White_front_page" hidden="1"/>
          <p:cNvPicPr>
            <a:picLocks noChangeAspect="1" noChangeArrowheads="1"/>
          </p:cNvPicPr>
          <p:nvPr/>
        </p:nvPicPr>
        <p:blipFill>
          <a:blip r:embed="rId4"/>
          <a:srcRect/>
          <a:stretch>
            <a:fillRect/>
          </a:stretch>
        </p:blipFill>
        <p:spPr bwMode="auto">
          <a:xfrm>
            <a:off x="12" y="3"/>
            <a:ext cx="9148763" cy="5147072"/>
          </a:xfrm>
          <a:prstGeom prst="rect">
            <a:avLst/>
          </a:prstGeom>
          <a:noFill/>
          <a:ln w="9525">
            <a:noFill/>
            <a:miter lim="800000"/>
            <a:headEnd/>
            <a:tailEnd/>
          </a:ln>
        </p:spPr>
      </p:pic>
      <p:sp>
        <p:nvSpPr>
          <p:cNvPr id="7" name="Text Box 7"/>
          <p:cNvSpPr txBox="1">
            <a:spLocks noChangeArrowheads="1"/>
          </p:cNvSpPr>
          <p:nvPr/>
        </p:nvSpPr>
        <p:spPr bwMode="auto">
          <a:xfrm>
            <a:off x="-2182813" y="8"/>
            <a:ext cx="2182813" cy="5078313"/>
          </a:xfrm>
          <a:prstGeom prst="rect">
            <a:avLst/>
          </a:prstGeom>
          <a:noFill/>
          <a:ln w="9525">
            <a:noFill/>
            <a:miter lim="800000"/>
            <a:headEnd/>
            <a:tailEnd/>
          </a:ln>
          <a:effectLst/>
        </p:spPr>
        <p:txBody>
          <a:bodyPr lIns="91284" tIns="45642" rIns="91284" bIns="45642">
            <a:spAutoFit/>
          </a:bodyPr>
          <a:lstStyle>
            <a:lvl1pPr eaLnBrk="0" hangingPunct="0">
              <a:defRPr sz="2400">
                <a:solidFill>
                  <a:schemeClr val="tx1"/>
                </a:solidFill>
                <a:latin typeface="Arial" pitchFamily="34" charset="0"/>
                <a:cs typeface="Arial" pitchFamily="34" charset="0"/>
              </a:defRPr>
            </a:lvl1pPr>
            <a:lvl2pPr marL="37931725" indent="-37474525" eaLnBrk="0" hangingPunct="0">
              <a:defRPr sz="2400">
                <a:solidFill>
                  <a:schemeClr val="tx1"/>
                </a:solidFill>
                <a:latin typeface="Arial" pitchFamily="34" charset="0"/>
                <a:cs typeface="Arial" pitchFamily="34" charset="0"/>
              </a:defRPr>
            </a:lvl2pPr>
            <a:lvl3pPr eaLnBrk="0" hangingPunct="0">
              <a:defRPr sz="2400">
                <a:solidFill>
                  <a:schemeClr val="tx1"/>
                </a:solidFill>
                <a:latin typeface="Arial" pitchFamily="34" charset="0"/>
                <a:cs typeface="Arial" pitchFamily="34" charset="0"/>
              </a:defRPr>
            </a:lvl3pPr>
            <a:lvl4pPr eaLnBrk="0" hangingPunct="0">
              <a:defRPr sz="2400">
                <a:solidFill>
                  <a:schemeClr val="tx1"/>
                </a:solidFill>
                <a:latin typeface="Arial" pitchFamily="34" charset="0"/>
                <a:cs typeface="Arial" pitchFamily="34" charset="0"/>
              </a:defRPr>
            </a:lvl4pPr>
            <a:lvl5pPr eaLnBrk="0" hangingPunct="0">
              <a:defRPr sz="2400">
                <a:solidFill>
                  <a:schemeClr val="tx1"/>
                </a:solidFill>
                <a:latin typeface="Arial" pitchFamily="34" charset="0"/>
                <a:cs typeface="Arial" pitchFamily="34" charset="0"/>
              </a:defRPr>
            </a:lvl5pPr>
            <a:lvl6pPr marL="457200" eaLnBrk="0" fontAlgn="base" hangingPunct="0">
              <a:spcBef>
                <a:spcPct val="0"/>
              </a:spcBef>
              <a:spcAft>
                <a:spcPct val="0"/>
              </a:spcAft>
              <a:defRPr sz="2400">
                <a:solidFill>
                  <a:schemeClr val="tx1"/>
                </a:solidFill>
                <a:latin typeface="Arial" pitchFamily="34" charset="0"/>
                <a:cs typeface="Arial" pitchFamily="34" charset="0"/>
              </a:defRPr>
            </a:lvl6pPr>
            <a:lvl7pPr marL="914400" eaLnBrk="0" fontAlgn="base" hangingPunct="0">
              <a:spcBef>
                <a:spcPct val="0"/>
              </a:spcBef>
              <a:spcAft>
                <a:spcPct val="0"/>
              </a:spcAft>
              <a:defRPr sz="2400">
                <a:solidFill>
                  <a:schemeClr val="tx1"/>
                </a:solidFill>
                <a:latin typeface="Arial" pitchFamily="34" charset="0"/>
                <a:cs typeface="Arial" pitchFamily="34" charset="0"/>
              </a:defRPr>
            </a:lvl7pPr>
            <a:lvl8pPr marL="1371600" eaLnBrk="0" fontAlgn="base" hangingPunct="0">
              <a:spcBef>
                <a:spcPct val="0"/>
              </a:spcBef>
              <a:spcAft>
                <a:spcPct val="0"/>
              </a:spcAft>
              <a:defRPr sz="2400">
                <a:solidFill>
                  <a:schemeClr val="tx1"/>
                </a:solidFill>
                <a:latin typeface="Arial" pitchFamily="34" charset="0"/>
                <a:cs typeface="Arial" pitchFamily="34" charset="0"/>
              </a:defRPr>
            </a:lvl8pPr>
            <a:lvl9pPr marL="18288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600" noProof="1">
              <a:solidFill>
                <a:srgbClr val="FFFFFF"/>
              </a:solidFill>
            </a:endParaRPr>
          </a:p>
          <a:p>
            <a:pPr algn="r" eaLnBrk="1" hangingPunct="1">
              <a:defRPr/>
            </a:pPr>
            <a:endParaRPr lang="en-GB" sz="1400" noProof="1">
              <a:solidFill>
                <a:srgbClr val="FFFFFF"/>
              </a:solidFill>
            </a:endParaRPr>
          </a:p>
          <a:p>
            <a:pPr algn="r" eaLnBrk="1" hangingPunct="1">
              <a:defRPr/>
            </a:pPr>
            <a:endParaRPr lang="en-GB" sz="1400" noProof="1">
              <a:solidFill>
                <a:srgbClr val="FFFFFF"/>
              </a:solidFill>
            </a:endParaRPr>
          </a:p>
          <a:p>
            <a:pPr algn="r" eaLnBrk="1" hangingPunct="1">
              <a:defRPr/>
            </a:pPr>
            <a:endParaRPr lang="en-GB" sz="1400" noProof="1">
              <a:solidFill>
                <a:srgbClr val="FFFFFF"/>
              </a:solidFill>
            </a:endParaRPr>
          </a:p>
          <a:p>
            <a:pPr algn="r" eaLnBrk="1" hangingPunct="1">
              <a:defRPr/>
            </a:pPr>
            <a:endParaRPr lang="en-GB" sz="1400" noProof="1">
              <a:solidFill>
                <a:srgbClr val="FFFFFF"/>
              </a:solidFill>
            </a:endParaRPr>
          </a:p>
          <a:p>
            <a:pPr algn="r" eaLnBrk="1" hangingPunct="1">
              <a:defRPr/>
            </a:pPr>
            <a:r>
              <a:rPr lang="sv-SE" sz="1400">
                <a:solidFill>
                  <a:srgbClr val="FFFFFF"/>
                </a:solidFill>
              </a:rPr>
              <a:t>Slide t</a:t>
            </a:r>
            <a:r>
              <a:rPr lang="sv-SE" sz="1400" noProof="1">
                <a:solidFill>
                  <a:srgbClr val="FFFFFF"/>
                </a:solidFill>
              </a:rPr>
              <a:t>itle</a:t>
            </a:r>
          </a:p>
          <a:p>
            <a:pPr algn="r" eaLnBrk="1" hangingPunct="1">
              <a:defRPr/>
            </a:pPr>
            <a:r>
              <a:rPr lang="sv-SE" sz="1400" noProof="1">
                <a:solidFill>
                  <a:srgbClr val="FFFFFF"/>
                </a:solidFill>
              </a:rPr>
              <a:t>In CAPITALS </a:t>
            </a:r>
          </a:p>
          <a:p>
            <a:pPr algn="r" eaLnBrk="1" hangingPunct="1">
              <a:defRPr/>
            </a:pPr>
            <a:r>
              <a:rPr lang="sv-SE" sz="1400" noProof="1">
                <a:solidFill>
                  <a:srgbClr val="FFFFFF"/>
                </a:solidFill>
              </a:rPr>
              <a:t>50 pt</a:t>
            </a:r>
          </a:p>
          <a:p>
            <a:pPr algn="r" eaLnBrk="1" hangingPunct="1">
              <a:defRPr/>
            </a:pPr>
            <a:endParaRPr lang="sv-SE" sz="1400" noProof="1">
              <a:solidFill>
                <a:srgbClr val="FFFFFF"/>
              </a:solidFill>
            </a:endParaRPr>
          </a:p>
          <a:p>
            <a:pPr algn="r" eaLnBrk="1" hangingPunct="1">
              <a:defRPr/>
            </a:pPr>
            <a:endParaRPr lang="sv-SE" sz="1400" noProof="1">
              <a:solidFill>
                <a:srgbClr val="FFFFFF"/>
              </a:solidFill>
            </a:endParaRPr>
          </a:p>
          <a:p>
            <a:pPr algn="r" eaLnBrk="1" hangingPunct="1">
              <a:defRPr/>
            </a:pPr>
            <a:endParaRPr lang="sv-SE" sz="1400" noProof="1">
              <a:solidFill>
                <a:srgbClr val="FFFFFF"/>
              </a:solidFill>
            </a:endParaRPr>
          </a:p>
          <a:p>
            <a:pPr algn="r" eaLnBrk="1" hangingPunct="1">
              <a:defRPr/>
            </a:pPr>
            <a:r>
              <a:rPr lang="sv-SE" sz="1400">
                <a:solidFill>
                  <a:srgbClr val="FFFFFF"/>
                </a:solidFill>
              </a:rPr>
              <a:t>Slide s</a:t>
            </a:r>
            <a:r>
              <a:rPr lang="sv-SE" sz="1400" noProof="1">
                <a:solidFill>
                  <a:srgbClr val="FFFFFF"/>
                </a:solidFill>
              </a:rPr>
              <a:t>ubtitle </a:t>
            </a:r>
          </a:p>
          <a:p>
            <a:pPr algn="r" eaLnBrk="1" hangingPunct="1">
              <a:defRPr/>
            </a:pPr>
            <a:r>
              <a:rPr lang="sv-SE" sz="1400" noProof="1">
                <a:solidFill>
                  <a:srgbClr val="FFFFFF"/>
                </a:solidFill>
              </a:rPr>
              <a:t>32 pt</a:t>
            </a:r>
          </a:p>
          <a:p>
            <a:pPr algn="r" eaLnBrk="1" hangingPunct="1">
              <a:defRPr/>
            </a:pPr>
            <a:endParaRPr lang="sv-SE" sz="1400" noProof="1">
              <a:solidFill>
                <a:srgbClr val="FFFFFF"/>
              </a:solidFill>
            </a:endParaRPr>
          </a:p>
          <a:p>
            <a:pPr algn="r" eaLnBrk="1" hangingPunct="1">
              <a:defRPr/>
            </a:pPr>
            <a:endParaRPr lang="sv-SE" sz="1400" noProof="1">
              <a:solidFill>
                <a:srgbClr val="FFFFFF"/>
              </a:solidFill>
            </a:endParaRPr>
          </a:p>
        </p:txBody>
      </p:sp>
      <p:sp>
        <p:nvSpPr>
          <p:cNvPr id="8" name="Text Box 8"/>
          <p:cNvSpPr txBox="1">
            <a:spLocks noChangeArrowheads="1"/>
          </p:cNvSpPr>
          <p:nvPr/>
        </p:nvSpPr>
        <p:spPr bwMode="auto">
          <a:xfrm>
            <a:off x="9144008" y="-59526"/>
            <a:ext cx="1685925" cy="311615"/>
          </a:xfrm>
          <a:prstGeom prst="rect">
            <a:avLst/>
          </a:prstGeom>
          <a:noFill/>
          <a:ln w="9525">
            <a:noFill/>
            <a:miter lim="800000"/>
            <a:headEnd/>
            <a:tailEnd/>
          </a:ln>
          <a:effectLst/>
        </p:spPr>
        <p:txBody>
          <a:bodyPr lIns="91284" tIns="45642" rIns="91284" bIns="45642">
            <a:spAutoFit/>
          </a:bodyPr>
          <a:lstStyle>
            <a:lvl1pPr>
              <a:defRPr sz="2400" b="1">
                <a:solidFill>
                  <a:schemeClr val="tx1"/>
                </a:solidFill>
                <a:latin typeface="Arial" charset="0"/>
                <a:cs typeface="Times New Roman" pitchFamily="18" charset="0"/>
              </a:defRPr>
            </a:lvl1pPr>
            <a:lvl2pPr marL="37931725" indent="-37474525">
              <a:defRPr sz="2400" b="1">
                <a:solidFill>
                  <a:schemeClr val="tx1"/>
                </a:solidFill>
                <a:latin typeface="Arial" charset="0"/>
                <a:cs typeface="Times New Roman" pitchFamily="18" charset="0"/>
              </a:defRPr>
            </a:lvl2pPr>
            <a:lvl3pPr>
              <a:defRPr sz="2400" b="1">
                <a:solidFill>
                  <a:schemeClr val="tx1"/>
                </a:solidFill>
                <a:latin typeface="Arial" charset="0"/>
                <a:cs typeface="Times New Roman" pitchFamily="18" charset="0"/>
              </a:defRPr>
            </a:lvl3pPr>
            <a:lvl4pPr>
              <a:defRPr sz="2400" b="1">
                <a:solidFill>
                  <a:schemeClr val="tx1"/>
                </a:solidFill>
                <a:latin typeface="Arial" charset="0"/>
                <a:cs typeface="Times New Roman" pitchFamily="18" charset="0"/>
              </a:defRPr>
            </a:lvl4pPr>
            <a:lvl5pPr>
              <a:defRPr sz="2400" b="1">
                <a:solidFill>
                  <a:schemeClr val="tx1"/>
                </a:solidFill>
                <a:latin typeface="Arial" charset="0"/>
                <a:cs typeface="Times New Roman" pitchFamily="18" charset="0"/>
              </a:defRPr>
            </a:lvl5pPr>
            <a:lvl6pPr marL="457200" eaLnBrk="0" fontAlgn="base" hangingPunct="0">
              <a:spcBef>
                <a:spcPct val="0"/>
              </a:spcBef>
              <a:spcAft>
                <a:spcPct val="0"/>
              </a:spcAft>
              <a:defRPr sz="2400" b="1">
                <a:solidFill>
                  <a:schemeClr val="tx1"/>
                </a:solidFill>
                <a:latin typeface="Arial" charset="0"/>
                <a:cs typeface="Times New Roman" pitchFamily="18" charset="0"/>
              </a:defRPr>
            </a:lvl6pPr>
            <a:lvl7pPr marL="914400" eaLnBrk="0" fontAlgn="base" hangingPunct="0">
              <a:spcBef>
                <a:spcPct val="0"/>
              </a:spcBef>
              <a:spcAft>
                <a:spcPct val="0"/>
              </a:spcAft>
              <a:defRPr sz="2400" b="1">
                <a:solidFill>
                  <a:schemeClr val="tx1"/>
                </a:solidFill>
                <a:latin typeface="Arial" charset="0"/>
                <a:cs typeface="Times New Roman" pitchFamily="18" charset="0"/>
              </a:defRPr>
            </a:lvl7pPr>
            <a:lvl8pPr marL="1371600" eaLnBrk="0" fontAlgn="base" hangingPunct="0">
              <a:spcBef>
                <a:spcPct val="0"/>
              </a:spcBef>
              <a:spcAft>
                <a:spcPct val="0"/>
              </a:spcAft>
              <a:defRPr sz="2400" b="1">
                <a:solidFill>
                  <a:schemeClr val="tx1"/>
                </a:solidFill>
                <a:latin typeface="Arial" charset="0"/>
                <a:cs typeface="Times New Roman" pitchFamily="18" charset="0"/>
              </a:defRPr>
            </a:lvl8pPr>
            <a:lvl9pPr marL="1828800" eaLnBrk="0" fontAlgn="base" hangingPunct="0">
              <a:spcBef>
                <a:spcPct val="0"/>
              </a:spcBef>
              <a:spcAft>
                <a:spcPct val="0"/>
              </a:spcAft>
              <a:defRPr sz="2400" b="1">
                <a:solidFill>
                  <a:schemeClr val="tx1"/>
                </a:solidFill>
                <a:latin typeface="Arial" charset="0"/>
                <a:cs typeface="Times New Roman" pitchFamily="18" charset="0"/>
              </a:defRPr>
            </a:lvl9pPr>
          </a:lstStyle>
          <a:p>
            <a:pPr>
              <a:spcBef>
                <a:spcPct val="50000"/>
              </a:spcBef>
              <a:defRPr/>
            </a:pPr>
            <a:endParaRPr lang="en-US" sz="1400" b="0">
              <a:solidFill>
                <a:srgbClr val="FFFFFF"/>
              </a:solidFill>
            </a:endParaRPr>
          </a:p>
        </p:txBody>
      </p:sp>
      <p:sp>
        <p:nvSpPr>
          <p:cNvPr id="9" name="Line" hidden="1"/>
          <p:cNvSpPr>
            <a:spLocks noChangeShapeType="1"/>
          </p:cNvSpPr>
          <p:nvPr/>
        </p:nvSpPr>
        <p:spPr bwMode="auto">
          <a:xfrm>
            <a:off x="0" y="4926806"/>
            <a:ext cx="9144000" cy="0"/>
          </a:xfrm>
          <a:prstGeom prst="line">
            <a:avLst/>
          </a:prstGeom>
          <a:noFill/>
          <a:ln w="38100">
            <a:solidFill>
              <a:srgbClr val="A6A1A0"/>
            </a:solidFill>
            <a:round/>
            <a:headEnd/>
            <a:tailEnd/>
          </a:ln>
        </p:spPr>
        <p:txBody>
          <a:bodyPr wrap="none" lIns="91284" tIns="45642" rIns="91284" bIns="45642" anchor="ctr"/>
          <a:lstStyle/>
          <a:p>
            <a:pPr>
              <a:defRPr/>
            </a:pPr>
            <a:endParaRPr lang="en-GB"/>
          </a:p>
        </p:txBody>
      </p:sp>
      <p:pic>
        <p:nvPicPr>
          <p:cNvPr id="10" name="SmallBlue" descr="SmallBlue" hidden="1"/>
          <p:cNvPicPr>
            <a:picLocks noChangeAspect="1" noChangeArrowheads="1"/>
          </p:cNvPicPr>
          <p:nvPr/>
        </p:nvPicPr>
        <p:blipFill>
          <a:blip r:embed="rId5"/>
          <a:srcRect/>
          <a:stretch>
            <a:fillRect/>
          </a:stretch>
        </p:blipFill>
        <p:spPr bwMode="auto">
          <a:xfrm>
            <a:off x="8212222" y="4979194"/>
            <a:ext cx="731837" cy="114300"/>
          </a:xfrm>
          <a:prstGeom prst="rect">
            <a:avLst/>
          </a:prstGeom>
          <a:noFill/>
          <a:ln w="9525">
            <a:noFill/>
            <a:miter lim="800000"/>
            <a:headEnd/>
            <a:tailEnd/>
          </a:ln>
        </p:spPr>
      </p:pic>
      <p:pic>
        <p:nvPicPr>
          <p:cNvPr id="11" name="SmallWhite" descr="SmallWhite" hidden="1"/>
          <p:cNvPicPr>
            <a:picLocks noChangeAspect="1" noChangeArrowheads="1"/>
          </p:cNvPicPr>
          <p:nvPr/>
        </p:nvPicPr>
        <p:blipFill>
          <a:blip r:embed="rId6"/>
          <a:srcRect/>
          <a:stretch>
            <a:fillRect/>
          </a:stretch>
        </p:blipFill>
        <p:spPr bwMode="auto">
          <a:xfrm>
            <a:off x="8212222" y="4979194"/>
            <a:ext cx="731837" cy="114300"/>
          </a:xfrm>
          <a:prstGeom prst="rect">
            <a:avLst/>
          </a:prstGeom>
          <a:noFill/>
          <a:ln w="9525">
            <a:noFill/>
            <a:miter lim="800000"/>
            <a:headEnd/>
            <a:tailEnd/>
          </a:ln>
        </p:spPr>
      </p:pic>
      <p:pic>
        <p:nvPicPr>
          <p:cNvPr id="12" name="Picture 18" descr="pix">
            <a:hlinkClick r:id="rId7"/>
          </p:cNvPr>
          <p:cNvPicPr>
            <a:picLocks noChangeAspect="1" noChangeArrowheads="1"/>
          </p:cNvPicPr>
          <p:nvPr userDrawn="1"/>
        </p:nvPicPr>
        <p:blipFill>
          <a:blip r:embed="rId8"/>
          <a:srcRect/>
          <a:stretch>
            <a:fillRect/>
          </a:stretch>
        </p:blipFill>
        <p:spPr bwMode="auto">
          <a:xfrm>
            <a:off x="3976691" y="2478883"/>
            <a:ext cx="1190625" cy="185738"/>
          </a:xfrm>
          <a:prstGeom prst="rect">
            <a:avLst/>
          </a:prstGeom>
          <a:noFill/>
          <a:ln w="9525">
            <a:noFill/>
            <a:miter lim="800000"/>
            <a:headEnd/>
            <a:tailEnd/>
          </a:ln>
        </p:spPr>
      </p:pic>
      <p:pic>
        <p:nvPicPr>
          <p:cNvPr id="13" name="Picture 20" descr="pix">
            <a:hlinkClick r:id="rId7"/>
          </p:cNvPr>
          <p:cNvPicPr>
            <a:picLocks noChangeAspect="1" noChangeArrowheads="1"/>
          </p:cNvPicPr>
          <p:nvPr userDrawn="1"/>
        </p:nvPicPr>
        <p:blipFill>
          <a:blip r:embed="rId8"/>
          <a:srcRect/>
          <a:stretch>
            <a:fillRect/>
          </a:stretch>
        </p:blipFill>
        <p:spPr bwMode="auto">
          <a:xfrm>
            <a:off x="3976691" y="2478883"/>
            <a:ext cx="1190625" cy="185738"/>
          </a:xfrm>
          <a:prstGeom prst="rect">
            <a:avLst/>
          </a:prstGeom>
          <a:noFill/>
          <a:ln w="9525">
            <a:noFill/>
            <a:miter lim="800000"/>
            <a:headEnd/>
            <a:tailEnd/>
          </a:ln>
        </p:spPr>
      </p:pic>
      <p:pic>
        <p:nvPicPr>
          <p:cNvPr id="14" name="Picture 22" descr="pix">
            <a:hlinkClick r:id="rId7"/>
          </p:cNvPr>
          <p:cNvPicPr>
            <a:picLocks noChangeAspect="1" noChangeArrowheads="1"/>
          </p:cNvPicPr>
          <p:nvPr userDrawn="1"/>
        </p:nvPicPr>
        <p:blipFill>
          <a:blip r:embed="rId8"/>
          <a:srcRect/>
          <a:stretch>
            <a:fillRect/>
          </a:stretch>
        </p:blipFill>
        <p:spPr bwMode="auto">
          <a:xfrm>
            <a:off x="3976691" y="2478883"/>
            <a:ext cx="1190625" cy="185738"/>
          </a:xfrm>
          <a:prstGeom prst="rect">
            <a:avLst/>
          </a:prstGeom>
          <a:noFill/>
          <a:ln w="9525">
            <a:noFill/>
            <a:miter lim="800000"/>
            <a:headEnd/>
            <a:tailEnd/>
          </a:ln>
        </p:spPr>
      </p:pic>
      <p:pic>
        <p:nvPicPr>
          <p:cNvPr id="15" name="Picture 24" descr="pix">
            <a:hlinkClick r:id="rId7"/>
          </p:cNvPr>
          <p:cNvPicPr>
            <a:picLocks noChangeAspect="1" noChangeArrowheads="1"/>
          </p:cNvPicPr>
          <p:nvPr userDrawn="1"/>
        </p:nvPicPr>
        <p:blipFill>
          <a:blip r:embed="rId8"/>
          <a:srcRect/>
          <a:stretch>
            <a:fillRect/>
          </a:stretch>
        </p:blipFill>
        <p:spPr bwMode="auto">
          <a:xfrm>
            <a:off x="3976691" y="2478883"/>
            <a:ext cx="1190625" cy="185738"/>
          </a:xfrm>
          <a:prstGeom prst="rect">
            <a:avLst/>
          </a:prstGeom>
          <a:noFill/>
          <a:ln w="9525">
            <a:noFill/>
            <a:miter lim="800000"/>
            <a:headEnd/>
            <a:tailEnd/>
          </a:ln>
        </p:spPr>
      </p:pic>
      <p:pic>
        <p:nvPicPr>
          <p:cNvPr id="16" name="Picture 26" descr="pix">
            <a:hlinkClick r:id="rId7"/>
          </p:cNvPr>
          <p:cNvPicPr>
            <a:picLocks noChangeAspect="1" noChangeArrowheads="1"/>
          </p:cNvPicPr>
          <p:nvPr userDrawn="1"/>
        </p:nvPicPr>
        <p:blipFill>
          <a:blip r:embed="rId8"/>
          <a:srcRect/>
          <a:stretch>
            <a:fillRect/>
          </a:stretch>
        </p:blipFill>
        <p:spPr bwMode="auto">
          <a:xfrm>
            <a:off x="3976691" y="2478883"/>
            <a:ext cx="1190625" cy="185738"/>
          </a:xfrm>
          <a:prstGeom prst="rect">
            <a:avLst/>
          </a:prstGeom>
          <a:noFill/>
          <a:ln w="9525">
            <a:noFill/>
            <a:miter lim="800000"/>
            <a:headEnd/>
            <a:tailEnd/>
          </a:ln>
        </p:spPr>
      </p:pic>
      <p:sp>
        <p:nvSpPr>
          <p:cNvPr id="538629" name="Rectangle 5"/>
          <p:cNvSpPr>
            <a:spLocks noGrp="1" noChangeArrowheads="1"/>
          </p:cNvSpPr>
          <p:nvPr>
            <p:ph type="ctrTitle"/>
          </p:nvPr>
        </p:nvSpPr>
        <p:spPr>
          <a:xfrm>
            <a:off x="276229" y="1970607"/>
            <a:ext cx="8591550" cy="861772"/>
          </a:xfrm>
        </p:spPr>
        <p:txBody>
          <a:bodyPr lIns="91280" tIns="45641" rIns="91280" bIns="45641" anchor="ctr"/>
          <a:lstStyle>
            <a:lvl1pPr algn="ctr">
              <a:defRPr sz="5000">
                <a:solidFill>
                  <a:schemeClr val="tx1"/>
                </a:solidFill>
              </a:defRPr>
            </a:lvl1pPr>
          </a:lstStyle>
          <a:p>
            <a:r>
              <a:rPr lang="en-GB"/>
              <a:t>Click to edit Master title style</a:t>
            </a:r>
          </a:p>
        </p:txBody>
      </p:sp>
      <p:sp>
        <p:nvSpPr>
          <p:cNvPr id="538630" name="Rectangle 6"/>
          <p:cNvSpPr>
            <a:spLocks noGrp="1" noChangeArrowheads="1"/>
          </p:cNvSpPr>
          <p:nvPr>
            <p:ph type="subTitle" idx="1"/>
          </p:nvPr>
        </p:nvSpPr>
        <p:spPr>
          <a:xfrm>
            <a:off x="384175" y="3027760"/>
            <a:ext cx="8382000" cy="647700"/>
          </a:xfrm>
        </p:spPr>
        <p:txBody>
          <a:bodyPr lIns="91280" tIns="45641" rIns="91280" bIns="45641" anchor="ctr"/>
          <a:lstStyle>
            <a:lvl1pPr marL="0" indent="0" algn="ctr">
              <a:buFont typeface="Wingdings" pitchFamily="-65" charset="2"/>
              <a:buNone/>
              <a:defRPr sz="3200"/>
            </a:lvl1pPr>
          </a:lstStyle>
          <a:p>
            <a:r>
              <a:rPr lang="en-GB"/>
              <a:t>Click to edit Master subtitle style</a:t>
            </a:r>
          </a:p>
        </p:txBody>
      </p:sp>
    </p:spTree>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4" y="13"/>
          <a:ext cx="135749" cy="107989"/>
        </p:xfrm>
        <a:graphic>
          <a:graphicData uri="http://schemas.openxmlformats.org/presentationml/2006/ole">
            <mc:AlternateContent xmlns:mc="http://schemas.openxmlformats.org/markup-compatibility/2006">
              <mc:Choice xmlns:v="urn:schemas-microsoft-com:vml" Requires="v">
                <p:oleObj spid="_x0000_s4307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 y="1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09491" y="1121079"/>
            <a:ext cx="8525022"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4702202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4" y="13"/>
          <a:ext cx="135749" cy="107989"/>
        </p:xfrm>
        <a:graphic>
          <a:graphicData uri="http://schemas.openxmlformats.org/presentationml/2006/ole">
            <mc:AlternateContent xmlns:mc="http://schemas.openxmlformats.org/markup-compatibility/2006">
              <mc:Choice xmlns:v="urn:schemas-microsoft-com:vml" Requires="v">
                <p:oleObj spid="_x0000_s441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 y="1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nvPr>
        </p:nvSpPr>
        <p:spPr>
          <a:xfrm>
            <a:off x="298561" y="1583967"/>
            <a:ext cx="8525022" cy="301992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nvPr>
        </p:nvSpPr>
        <p:spPr>
          <a:xfrm>
            <a:off x="298561" y="1121610"/>
            <a:ext cx="8525022" cy="265457"/>
          </a:xfrm>
        </p:spPr>
        <p:txBody>
          <a:bodyPr tIns="0" rIns="0" bIns="0">
            <a:spAutoFit/>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89963690"/>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4512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nvPr>
        </p:nvSpPr>
        <p:spPr>
          <a:xfrm>
            <a:off x="290502" y="1150079"/>
            <a:ext cx="4155820" cy="3536628"/>
          </a:xfrm>
        </p:spPr>
        <p:txBody>
          <a:bodyPr/>
          <a:lstStyle>
            <a:lvl1pPr>
              <a:defRPr/>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nvPr>
        </p:nvSpPr>
        <p:spPr>
          <a:xfrm>
            <a:off x="4636467" y="1150080"/>
            <a:ext cx="4155820" cy="3544188"/>
          </a:xfrm>
        </p:spPr>
        <p:txBody>
          <a:bodyPr/>
          <a:lstStyle>
            <a:lvl1pPr>
              <a:defRPr/>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6487445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4615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nvPr>
        </p:nvSpPr>
        <p:spPr>
          <a:xfrm>
            <a:off x="290502" y="1655231"/>
            <a:ext cx="4155820" cy="3031493"/>
          </a:xfrm>
        </p:spPr>
        <p:txBody>
          <a:bodyPr/>
          <a:lstStyle>
            <a:lvl1pPr>
              <a:defRPr sz="1500"/>
            </a:lvl1pPr>
            <a:lvl2pPr>
              <a:defRPr sz="1400"/>
            </a:lvl2pPr>
            <a:lvl3pPr>
              <a:defRPr sz="1300"/>
            </a:lvl3pPr>
            <a:lvl4pPr>
              <a:defRPr sz="11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nvPr>
        </p:nvSpPr>
        <p:spPr>
          <a:xfrm>
            <a:off x="4636467" y="1656308"/>
            <a:ext cx="4155820" cy="3037973"/>
          </a:xfrm>
        </p:spPr>
        <p:txBody>
          <a:bodyPr/>
          <a:lstStyle>
            <a:lvl1pPr>
              <a:defRPr sz="1500"/>
            </a:lvl1pPr>
            <a:lvl2pPr>
              <a:defRPr sz="1400"/>
            </a:lvl2pPr>
            <a:lvl3pPr>
              <a:defRPr sz="1300"/>
            </a:lvl3pPr>
            <a:lvl4pPr>
              <a:defRPr sz="11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nvPr>
        </p:nvSpPr>
        <p:spPr>
          <a:xfrm>
            <a:off x="290502" y="1156987"/>
            <a:ext cx="4155820" cy="489776"/>
          </a:xfrm>
        </p:spPr>
        <p:txBody>
          <a:bodyPr anchor="ctr"/>
          <a:lstStyle>
            <a:lvl1pPr algn="ctr">
              <a:buNone/>
              <a:defRPr sz="17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nvPr>
        </p:nvSpPr>
        <p:spPr>
          <a:xfrm>
            <a:off x="4636749" y="1150081"/>
            <a:ext cx="4155820" cy="489776"/>
          </a:xfrm>
        </p:spPr>
        <p:txBody>
          <a:bodyPr anchor="ctr"/>
          <a:lstStyle>
            <a:lvl1pPr algn="ctr">
              <a:buNone/>
              <a:defRPr lang="fr-FR" sz="17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70362851"/>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en-US"/>
          </a:p>
        </p:txBody>
      </p:sp>
      <p:sp>
        <p:nvSpPr>
          <p:cNvPr id="3" name="Text Placeholder 2"/>
          <p:cNvSpPr>
            <a:spLocks noGrp="1"/>
          </p:cNvSpPr>
          <p:nvPr>
            <p:ph type="body" idx="1" hasCustomPrompt="1"/>
          </p:nvPr>
        </p:nvSpPr>
        <p:spPr>
          <a:xfrm>
            <a:off x="219261" y="1077688"/>
            <a:ext cx="4288536" cy="388598"/>
          </a:xfrm>
          <a:solidFill>
            <a:schemeClr val="accent1"/>
          </a:solidFill>
          <a:ln w="127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tx1"/>
                </a:solidFill>
                <a:latin typeface="Arial" charset="0"/>
                <a:ea typeface="+mn-ea"/>
                <a:cs typeface="+mn-cs"/>
              </a:defRPr>
            </a:lvl1pPr>
            <a:lvl2pPr marL="389435" indent="0">
              <a:buNone/>
              <a:defRPr sz="1700" b="1"/>
            </a:lvl2pPr>
            <a:lvl3pPr marL="778843" indent="0">
              <a:buNone/>
              <a:defRPr sz="1500" b="1"/>
            </a:lvl3pPr>
            <a:lvl4pPr marL="1168269" indent="0">
              <a:buNone/>
              <a:defRPr sz="1400" b="1"/>
            </a:lvl4pPr>
            <a:lvl5pPr marL="1557684" indent="0">
              <a:buNone/>
              <a:defRPr sz="1400" b="1"/>
            </a:lvl5pPr>
            <a:lvl6pPr marL="1947119" indent="0">
              <a:buNone/>
              <a:defRPr sz="1400" b="1"/>
            </a:lvl6pPr>
            <a:lvl7pPr marL="2336527" indent="0">
              <a:buNone/>
              <a:defRPr sz="1400" b="1"/>
            </a:lvl7pPr>
            <a:lvl8pPr marL="2725953" indent="0">
              <a:buNone/>
              <a:defRPr sz="1400" b="1"/>
            </a:lvl8pPr>
            <a:lvl9pPr marL="3115369" indent="0">
              <a:buNone/>
              <a:defRPr sz="14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19261" y="1426962"/>
            <a:ext cx="4288536" cy="1396402"/>
          </a:xfrm>
          <a:ln w="12700">
            <a:solidFill>
              <a:schemeClr val="tx1"/>
            </a:solidFill>
          </a:ln>
        </p:spPr>
        <p:style>
          <a:lnRef idx="2">
            <a:schemeClr val="accent1"/>
          </a:lnRef>
          <a:fillRef idx="1">
            <a:schemeClr val="lt1"/>
          </a:fillRef>
          <a:effectRef idx="0">
            <a:schemeClr val="accent1"/>
          </a:effectRef>
          <a:fontRef idx="none"/>
        </p:style>
        <p:txBody>
          <a:bodyPr lIns="77883"/>
          <a:lstStyle>
            <a:lvl1pPr>
              <a:defRPr sz="14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662790" y="1077688"/>
            <a:ext cx="4288536" cy="388598"/>
          </a:xfrm>
          <a:solidFill>
            <a:schemeClr val="accent1"/>
          </a:solidFill>
          <a:ln w="12700">
            <a:solidFill>
              <a:schemeClr val="tx1"/>
            </a:solidFill>
            <a:headEnd/>
            <a:tailEnd/>
          </a:ln>
        </p:spPr>
        <p:style>
          <a:lnRef idx="1">
            <a:schemeClr val="accent1"/>
          </a:lnRef>
          <a:fillRef idx="3">
            <a:schemeClr val="accent1"/>
          </a:fillRef>
          <a:effectRef idx="2">
            <a:schemeClr val="accent1"/>
          </a:effectRef>
          <a:fontRef idx="none"/>
        </p:style>
        <p:txBody>
          <a:bodyPr vert="horz" wrap="square" lIns="77883" tIns="38942" rIns="77883" bIns="38942" numCol="1" anchor="ctr" anchorCtr="1" compatLnSpc="1">
            <a:prstTxWarp prst="textNoShape">
              <a:avLst/>
            </a:prstTxWarp>
            <a:noAutofit/>
          </a:bodyPr>
          <a:lstStyle>
            <a:lvl1pPr marL="0" indent="0">
              <a:buNone/>
              <a:defRPr lang="en-US" sz="1400" b="1" kern="1200" dirty="0" smtClean="0">
                <a:solidFill>
                  <a:schemeClr val="tx1"/>
                </a:solidFill>
                <a:latin typeface="Arial" charset="0"/>
                <a:ea typeface="+mn-ea"/>
                <a:cs typeface="+mn-cs"/>
              </a:defRPr>
            </a:lvl1pPr>
            <a:lvl2pPr marL="389435" indent="0">
              <a:buNone/>
              <a:defRPr sz="1700" b="1"/>
            </a:lvl2pPr>
            <a:lvl3pPr marL="778843" indent="0">
              <a:buNone/>
              <a:defRPr sz="1500" b="1"/>
            </a:lvl3pPr>
            <a:lvl4pPr marL="1168269" indent="0">
              <a:buNone/>
              <a:defRPr sz="1400" b="1"/>
            </a:lvl4pPr>
            <a:lvl5pPr marL="1557684" indent="0">
              <a:buNone/>
              <a:defRPr sz="1400" b="1"/>
            </a:lvl5pPr>
            <a:lvl6pPr marL="1947119" indent="0">
              <a:buNone/>
              <a:defRPr sz="1400" b="1"/>
            </a:lvl6pPr>
            <a:lvl7pPr marL="2336527" indent="0">
              <a:buNone/>
              <a:defRPr sz="1400" b="1"/>
            </a:lvl7pPr>
            <a:lvl8pPr marL="2725953" indent="0">
              <a:buNone/>
              <a:defRPr sz="1400" b="1"/>
            </a:lvl8pPr>
            <a:lvl9pPr marL="3115369" indent="0">
              <a:buNone/>
              <a:defRPr sz="14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662790" y="1426962"/>
            <a:ext cx="4288536" cy="1396402"/>
          </a:xfrm>
          <a:ln w="12700">
            <a:solidFill>
              <a:schemeClr val="tx1"/>
            </a:solidFill>
          </a:ln>
        </p:spPr>
        <p:style>
          <a:lnRef idx="2">
            <a:schemeClr val="accent1"/>
          </a:lnRef>
          <a:fillRef idx="1">
            <a:schemeClr val="lt1"/>
          </a:fillRef>
          <a:effectRef idx="0">
            <a:schemeClr val="accent1"/>
          </a:effectRef>
          <a:fontRef idx="none"/>
        </p:style>
        <p:txBody>
          <a:bodyPr lIns="77883"/>
          <a:lstStyle>
            <a:lvl1pPr>
              <a:defRPr sz="14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19261" y="2865667"/>
            <a:ext cx="4288536" cy="388598"/>
          </a:xfrm>
          <a:solidFill>
            <a:schemeClr val="accent1"/>
          </a:solidFill>
          <a:ln w="127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tx1"/>
                </a:solidFill>
                <a:latin typeface="Arial" charset="0"/>
                <a:ea typeface="+mn-ea"/>
                <a:cs typeface="+mn-cs"/>
              </a:defRPr>
            </a:lvl1pPr>
            <a:lvl2pPr marL="389435" indent="0">
              <a:buNone/>
              <a:defRPr sz="1700" b="1"/>
            </a:lvl2pPr>
            <a:lvl3pPr marL="778843" indent="0">
              <a:buNone/>
              <a:defRPr sz="1500" b="1"/>
            </a:lvl3pPr>
            <a:lvl4pPr marL="1168269" indent="0">
              <a:buNone/>
              <a:defRPr sz="1400" b="1"/>
            </a:lvl4pPr>
            <a:lvl5pPr marL="1557684" indent="0">
              <a:buNone/>
              <a:defRPr sz="1400" b="1"/>
            </a:lvl5pPr>
            <a:lvl6pPr marL="1947119" indent="0">
              <a:buNone/>
              <a:defRPr sz="1400" b="1"/>
            </a:lvl6pPr>
            <a:lvl7pPr marL="2336527" indent="0">
              <a:buNone/>
              <a:defRPr sz="1400" b="1"/>
            </a:lvl7pPr>
            <a:lvl8pPr marL="2725953" indent="0">
              <a:buNone/>
              <a:defRPr sz="1400" b="1"/>
            </a:lvl8pPr>
            <a:lvl9pPr marL="3115369" indent="0">
              <a:buNone/>
              <a:defRPr sz="14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19261" y="3214938"/>
            <a:ext cx="4288536" cy="1508760"/>
          </a:xfrm>
          <a:ln w="12700">
            <a:solidFill>
              <a:schemeClr val="tx1"/>
            </a:solidFill>
          </a:ln>
        </p:spPr>
        <p:style>
          <a:lnRef idx="2">
            <a:schemeClr val="accent1"/>
          </a:lnRef>
          <a:fillRef idx="1">
            <a:schemeClr val="lt1"/>
          </a:fillRef>
          <a:effectRef idx="0">
            <a:schemeClr val="accent1"/>
          </a:effectRef>
          <a:fontRef idx="none"/>
        </p:style>
        <p:txBody>
          <a:bodyPr lIns="77883"/>
          <a:lstStyle>
            <a:lvl1pPr>
              <a:defRPr sz="14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662790" y="2865667"/>
            <a:ext cx="4288536" cy="388598"/>
          </a:xfrm>
          <a:solidFill>
            <a:schemeClr val="accent1"/>
          </a:solidFill>
          <a:ln w="12700">
            <a:solidFill>
              <a:schemeClr val="tx1"/>
            </a:solidFill>
            <a:headEnd/>
            <a:tailEnd/>
          </a:ln>
        </p:spPr>
        <p:style>
          <a:lnRef idx="1">
            <a:schemeClr val="accent1"/>
          </a:lnRef>
          <a:fillRef idx="3">
            <a:schemeClr val="accent1"/>
          </a:fillRef>
          <a:effectRef idx="2">
            <a:schemeClr val="accent1"/>
          </a:effectRef>
          <a:fontRef idx="none"/>
        </p:style>
        <p:txBody>
          <a:bodyPr vert="horz" wrap="square" lIns="77883" tIns="38942" rIns="77883" bIns="38942" numCol="1" anchor="ctr" anchorCtr="1" compatLnSpc="1">
            <a:prstTxWarp prst="textNoShape">
              <a:avLst/>
            </a:prstTxWarp>
            <a:noAutofit/>
          </a:bodyPr>
          <a:lstStyle>
            <a:lvl1pPr marL="0" indent="0">
              <a:buNone/>
              <a:defRPr lang="en-US" sz="1400" b="1" kern="1200" dirty="0" smtClean="0">
                <a:solidFill>
                  <a:schemeClr val="tx1"/>
                </a:solidFill>
                <a:latin typeface="Arial" charset="0"/>
                <a:ea typeface="+mn-ea"/>
                <a:cs typeface="+mn-cs"/>
              </a:defRPr>
            </a:lvl1pPr>
            <a:lvl2pPr marL="389435" indent="0">
              <a:buNone/>
              <a:defRPr sz="1700" b="1"/>
            </a:lvl2pPr>
            <a:lvl3pPr marL="778843" indent="0">
              <a:buNone/>
              <a:defRPr sz="1500" b="1"/>
            </a:lvl3pPr>
            <a:lvl4pPr marL="1168269" indent="0">
              <a:buNone/>
              <a:defRPr sz="1400" b="1"/>
            </a:lvl4pPr>
            <a:lvl5pPr marL="1557684" indent="0">
              <a:buNone/>
              <a:defRPr sz="1400" b="1"/>
            </a:lvl5pPr>
            <a:lvl6pPr marL="1947119" indent="0">
              <a:buNone/>
              <a:defRPr sz="1400" b="1"/>
            </a:lvl6pPr>
            <a:lvl7pPr marL="2336527" indent="0">
              <a:buNone/>
              <a:defRPr sz="1400" b="1"/>
            </a:lvl7pPr>
            <a:lvl8pPr marL="2725953" indent="0">
              <a:buNone/>
              <a:defRPr sz="1400" b="1"/>
            </a:lvl8pPr>
            <a:lvl9pPr marL="3115369" indent="0">
              <a:buNone/>
              <a:defRPr sz="14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662790" y="3214938"/>
            <a:ext cx="4288536" cy="1508760"/>
          </a:xfrm>
          <a:ln w="12700">
            <a:solidFill>
              <a:schemeClr val="tx1"/>
            </a:solidFill>
          </a:ln>
        </p:spPr>
        <p:style>
          <a:lnRef idx="2">
            <a:schemeClr val="accent1"/>
          </a:lnRef>
          <a:fillRef idx="1">
            <a:schemeClr val="lt1"/>
          </a:fillRef>
          <a:effectRef idx="0">
            <a:schemeClr val="accent1"/>
          </a:effectRef>
          <a:fontRef idx="none"/>
        </p:style>
        <p:txBody>
          <a:bodyPr lIns="77883"/>
          <a:lstStyle>
            <a:lvl1pPr>
              <a:defRPr sz="14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41297834"/>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4717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098525161"/>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 y="13"/>
          <a:ext cx="135749" cy="107989"/>
        </p:xfrm>
        <a:graphic>
          <a:graphicData uri="http://schemas.openxmlformats.org/presentationml/2006/ole">
            <mc:AlternateContent xmlns:mc="http://schemas.openxmlformats.org/markup-compatibility/2006">
              <mc:Choice xmlns:v="urn:schemas-microsoft-com:vml" Requires="v">
                <p:oleObj spid="_x0000_s4819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 y="1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17266954"/>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1" name="Picture 10" descr="image-1.jpg"/>
          <p:cNvPicPr>
            <a:picLocks noChangeAspect="1"/>
          </p:cNvPicPr>
          <p:nvPr userDrawn="1"/>
        </p:nvPicPr>
        <p:blipFill>
          <a:blip r:embed="rId8" cstate="email"/>
          <a:srcRect l="5483" r="337" b="246"/>
          <a:stretch>
            <a:fillRect/>
          </a:stretch>
        </p:blipFill>
        <p:spPr>
          <a:xfrm>
            <a:off x="11" y="992886"/>
            <a:ext cx="9142535" cy="4150625"/>
          </a:xfrm>
          <a:prstGeom prst="rect">
            <a:avLst/>
          </a:prstGeom>
        </p:spPr>
      </p:pic>
      <p:pic>
        <p:nvPicPr>
          <p:cNvPr id="14" name="Picture 13" descr="expert-connect.png"/>
          <p:cNvPicPr>
            <a:picLocks noChangeAspect="1"/>
          </p:cNvPicPr>
          <p:nvPr userDrawn="1"/>
        </p:nvPicPr>
        <p:blipFill>
          <a:blip r:embed="rId9" cstate="email"/>
          <a:stretch>
            <a:fillRect/>
          </a:stretch>
        </p:blipFill>
        <p:spPr>
          <a:xfrm>
            <a:off x="296551" y="4163139"/>
            <a:ext cx="2141850" cy="793210"/>
          </a:xfrm>
          <a:prstGeom prst="rect">
            <a:avLst/>
          </a:prstGeom>
        </p:spPr>
      </p:pic>
      <p:pic>
        <p:nvPicPr>
          <p:cNvPr id="15" name="Picture 4" descr="https://tctechcrunch2011.files.wordpress.com/2012/06/forrester_logo.png"/>
          <p:cNvPicPr>
            <a:picLocks noChangeAspect="1" noChangeArrowheads="1"/>
          </p:cNvPicPr>
          <p:nvPr userDrawn="1"/>
        </p:nvPicPr>
        <p:blipFill>
          <a:blip r:embed="rId10"/>
          <a:srcRect/>
          <a:stretch>
            <a:fillRect/>
          </a:stretch>
        </p:blipFill>
        <p:spPr bwMode="auto">
          <a:xfrm>
            <a:off x="6861633" y="570434"/>
            <a:ext cx="1343254" cy="359702"/>
          </a:xfrm>
          <a:prstGeom prst="rect">
            <a:avLst/>
          </a:prstGeom>
          <a:noFill/>
        </p:spPr>
      </p:pic>
      <p:sp>
        <p:nvSpPr>
          <p:cNvPr id="17" name="Rectangle 7"/>
          <p:cNvSpPr/>
          <p:nvPr userDrawn="1">
            <p:custDataLst>
              <p:tags r:id="rId2"/>
            </p:custDataLst>
          </p:nvPr>
        </p:nvSpPr>
        <p:spPr bwMode="auto">
          <a:xfrm>
            <a:off x="-1890" y="13"/>
            <a:ext cx="9145895" cy="20122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rgbClr val="000000">
                <a:alpha val="40000"/>
              </a:srgbClr>
            </a:outerShdw>
          </a:effectLst>
        </p:spPr>
        <p:txBody>
          <a:bodyPr wrap="square" lIns="28172" tIns="36603" rIns="28172" bIns="36603" rtlCol="0" anchor="ctr"/>
          <a:lstStyle/>
          <a:p>
            <a:pPr algn="ctr" defTabSz="815759" fontAlgn="auto">
              <a:spcBef>
                <a:spcPts val="0"/>
              </a:spcBef>
              <a:spcAft>
                <a:spcPts val="0"/>
              </a:spcAft>
            </a:pPr>
            <a:endParaRPr lang="en-US" sz="900" dirty="0">
              <a:solidFill>
                <a:prstClr val="white"/>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1" y="21"/>
          <a:ext cx="146538" cy="119063"/>
        </p:xfrm>
        <a:graphic>
          <a:graphicData uri="http://schemas.openxmlformats.org/presentationml/2006/ole">
            <mc:AlternateContent xmlns:mc="http://schemas.openxmlformats.org/markup-compatibility/2006">
              <mc:Choice xmlns:v="urn:schemas-microsoft-com:vml" Requires="v">
                <p:oleObj spid="_x0000_s50247"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70341" y="1692460"/>
            <a:ext cx="4191400" cy="1696224"/>
          </a:xfrm>
        </p:spPr>
        <p:txBody>
          <a:bodyPr lIns="197104" tIns="28172" rIns="28172" bIns="28172"/>
          <a:lstStyle>
            <a:lvl1pPr algn="l">
              <a:defRPr sz="2800" b="0">
                <a:solidFill>
                  <a:schemeClr val="bg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5"/>
            </p:custDataLst>
          </p:nvPr>
        </p:nvSpPr>
        <p:spPr>
          <a:xfrm>
            <a:off x="70349" y="3413869"/>
            <a:ext cx="4191905" cy="710813"/>
          </a:xfrm>
        </p:spPr>
        <p:txBody>
          <a:bodyPr lIns="197104" tIns="28172" rIns="28172" bIns="28172"/>
          <a:lstStyle>
            <a:lvl1pPr marL="0" indent="0" algn="l">
              <a:buNone/>
              <a:defRPr sz="1900" b="0">
                <a:solidFill>
                  <a:schemeClr val="bg1"/>
                </a:solidFill>
              </a:defRPr>
            </a:lvl1pPr>
            <a:lvl2pPr marL="389411" indent="0" algn="ctr">
              <a:buNone/>
              <a:defRPr>
                <a:solidFill>
                  <a:schemeClr val="tx1">
                    <a:tint val="75000"/>
                  </a:schemeClr>
                </a:solidFill>
              </a:defRPr>
            </a:lvl2pPr>
            <a:lvl3pPr marL="778793" indent="0" algn="ctr">
              <a:buNone/>
              <a:defRPr>
                <a:solidFill>
                  <a:schemeClr val="tx1">
                    <a:tint val="75000"/>
                  </a:schemeClr>
                </a:solidFill>
              </a:defRPr>
            </a:lvl3pPr>
            <a:lvl4pPr marL="1168194" indent="0" algn="ctr">
              <a:buNone/>
              <a:defRPr>
                <a:solidFill>
                  <a:schemeClr val="tx1">
                    <a:tint val="75000"/>
                  </a:schemeClr>
                </a:solidFill>
              </a:defRPr>
            </a:lvl4pPr>
            <a:lvl5pPr marL="1557586" indent="0" algn="ctr">
              <a:buNone/>
              <a:defRPr>
                <a:solidFill>
                  <a:schemeClr val="tx1">
                    <a:tint val="75000"/>
                  </a:schemeClr>
                </a:solidFill>
              </a:defRPr>
            </a:lvl5pPr>
            <a:lvl6pPr marL="1946996" indent="0" algn="ctr">
              <a:buNone/>
              <a:defRPr>
                <a:solidFill>
                  <a:schemeClr val="tx1">
                    <a:tint val="75000"/>
                  </a:schemeClr>
                </a:solidFill>
              </a:defRPr>
            </a:lvl6pPr>
            <a:lvl7pPr marL="2336378" indent="0" algn="ctr">
              <a:buNone/>
              <a:defRPr>
                <a:solidFill>
                  <a:schemeClr val="tx1">
                    <a:tint val="75000"/>
                  </a:schemeClr>
                </a:solidFill>
              </a:defRPr>
            </a:lvl7pPr>
            <a:lvl8pPr marL="2725781" indent="0" algn="ctr">
              <a:buNone/>
              <a:defRPr>
                <a:solidFill>
                  <a:schemeClr val="tx1">
                    <a:tint val="75000"/>
                  </a:schemeClr>
                </a:solidFill>
              </a:defRPr>
            </a:lvl8pPr>
            <a:lvl9pPr marL="3115172"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489775"/>
            <a:ext cx="2770161" cy="521018"/>
          </a:xfrm>
          <a:prstGeom prst="rect">
            <a:avLst/>
          </a:prstGeom>
          <a:noFill/>
        </p:spPr>
      </p:pic>
    </p:spTree>
    <p:extLst>
      <p:ext uri="{BB962C8B-B14F-4D97-AF65-F5344CB8AC3E}">
        <p14:creationId xmlns:p14="http://schemas.microsoft.com/office/powerpoint/2010/main" val="350713575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sp>
        <p:nvSpPr>
          <p:cNvPr id="5" name="Rectangle 4"/>
          <p:cNvSpPr/>
          <p:nvPr userDrawn="1"/>
        </p:nvSpPr>
        <p:spPr>
          <a:xfrm>
            <a:off x="0" y="0"/>
            <a:ext cx="9144000" cy="477316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7883" tIns="38942" rIns="77883" bIns="38942" rtlCol="0" anchor="ctr"/>
          <a:lstStyle/>
          <a:p>
            <a:pPr algn="ctr" defTabSz="815759" fontAlgn="auto">
              <a:spcBef>
                <a:spcPts val="0"/>
              </a:spcBef>
              <a:spcAft>
                <a:spcPts val="0"/>
              </a:spcAft>
            </a:pPr>
            <a:endParaRPr lang="en-GB" sz="2000" dirty="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5127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6" name="Espace réservé du contenu 5"/>
          <p:cNvSpPr>
            <a:spLocks noGrp="1"/>
          </p:cNvSpPr>
          <p:nvPr>
            <p:ph sz="quarter" idx="10" hasCustomPrompt="1"/>
            <p:custDataLst>
              <p:tags r:id="rId4"/>
            </p:custDataLst>
          </p:nvPr>
        </p:nvSpPr>
        <p:spPr>
          <a:xfrm>
            <a:off x="298604" y="1126504"/>
            <a:ext cx="6283986" cy="265457"/>
          </a:xfrm>
        </p:spPr>
        <p:txBody>
          <a:bodyPr>
            <a:spAutoFit/>
          </a:bodyPr>
          <a:lstStyle/>
          <a:p>
            <a:pPr lvl="0"/>
            <a:r>
              <a:rPr lang="en-US" noProof="0" dirty="0"/>
              <a:t>Click to edit Master text style</a:t>
            </a:r>
          </a:p>
        </p:txBody>
      </p:sp>
      <p:sp>
        <p:nvSpPr>
          <p:cNvPr id="8" name="Freeform 4"/>
          <p:cNvSpPr>
            <a:spLocks/>
          </p:cNvSpPr>
          <p:nvPr userDrawn="1">
            <p:custDataLst>
              <p:tags r:id="rId5"/>
            </p:custDataLst>
          </p:nvPr>
        </p:nvSpPr>
        <p:spPr bwMode="auto">
          <a:xfrm>
            <a:off x="17"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06" tIns="42403" rIns="84806" bIns="42403" numCol="1" anchor="t" anchorCtr="0" compatLnSpc="1">
            <a:prstTxWarp prst="textNoShape">
              <a:avLst/>
            </a:prstTxWarp>
          </a:bodyPr>
          <a:lstStyle/>
          <a:p>
            <a:pPr defTabSz="815759" fontAlgn="auto">
              <a:spcBef>
                <a:spcPts val="0"/>
              </a:spcBef>
              <a:spcAft>
                <a:spcPts val="0"/>
              </a:spcAft>
            </a:pPr>
            <a:endParaRPr lang="fr-FR" sz="1600" dirty="0">
              <a:solidFill>
                <a:srgbClr val="00234B"/>
              </a:solidFill>
              <a:latin typeface="Arial"/>
              <a:cs typeface="+mn-cs"/>
            </a:endParaRPr>
          </a:p>
        </p:txBody>
      </p:sp>
    </p:spTree>
    <p:extLst>
      <p:ext uri="{BB962C8B-B14F-4D97-AF65-F5344CB8AC3E}">
        <p14:creationId xmlns:p14="http://schemas.microsoft.com/office/powerpoint/2010/main" val="897289855"/>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4" y="13"/>
          <a:ext cx="135749" cy="107989"/>
        </p:xfrm>
        <a:graphic>
          <a:graphicData uri="http://schemas.openxmlformats.org/presentationml/2006/ole">
            <mc:AlternateContent xmlns:mc="http://schemas.openxmlformats.org/markup-compatibility/2006">
              <mc:Choice xmlns:v="urn:schemas-microsoft-com:vml" Requires="v">
                <p:oleObj spid="_x0000_s5229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 y="1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09489" y="1121079"/>
            <a:ext cx="8525022"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513326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1138" name="Rectangle 2"/>
          <p:cNvSpPr>
            <a:spLocks noGrp="1" noChangeArrowheads="1"/>
          </p:cNvSpPr>
          <p:nvPr>
            <p:ph type="ctrTitle"/>
          </p:nvPr>
        </p:nvSpPr>
        <p:spPr>
          <a:xfrm>
            <a:off x="3562353" y="1996678"/>
            <a:ext cx="5200650" cy="746522"/>
          </a:xfrm>
        </p:spPr>
        <p:txBody>
          <a:bodyPr/>
          <a:lstStyle>
            <a:lvl1pPr>
              <a:defRPr/>
            </a:lvl1pPr>
          </a:lstStyle>
          <a:p>
            <a:r>
              <a:rPr lang="en-GB" dirty="0"/>
              <a:t>Click to edit Master title style</a:t>
            </a:r>
          </a:p>
        </p:txBody>
      </p:sp>
      <p:sp>
        <p:nvSpPr>
          <p:cNvPr id="91139" name="Rectangle 3"/>
          <p:cNvSpPr>
            <a:spLocks noGrp="1" noChangeArrowheads="1"/>
          </p:cNvSpPr>
          <p:nvPr>
            <p:ph type="subTitle" idx="1"/>
          </p:nvPr>
        </p:nvSpPr>
        <p:spPr>
          <a:xfrm>
            <a:off x="3562352" y="2834640"/>
            <a:ext cx="5210175" cy="439340"/>
          </a:xfrm>
        </p:spPr>
        <p:txBody>
          <a:bodyPr/>
          <a:lstStyle>
            <a:lvl1pPr marL="0" indent="0">
              <a:buFontTx/>
              <a:buNone/>
              <a:defRPr sz="2000"/>
            </a:lvl1pPr>
          </a:lstStyle>
          <a:p>
            <a:r>
              <a:rPr lang="en-GB" dirty="0"/>
              <a:t>Click to edit Master subtitle style</a:t>
            </a:r>
          </a:p>
        </p:txBody>
      </p:sp>
      <p:sp>
        <p:nvSpPr>
          <p:cNvPr id="8" name="Text Placeholder 7"/>
          <p:cNvSpPr>
            <a:spLocks noGrp="1"/>
          </p:cNvSpPr>
          <p:nvPr>
            <p:ph type="body" sz="quarter" idx="10"/>
          </p:nvPr>
        </p:nvSpPr>
        <p:spPr>
          <a:xfrm>
            <a:off x="3562353" y="3433630"/>
            <a:ext cx="5213350" cy="1053704"/>
          </a:xfrm>
        </p:spPr>
        <p:txBody>
          <a:bodyPr/>
          <a:lstStyle>
            <a:lvl1pPr marL="0" indent="0">
              <a:buNone/>
              <a:defRPr sz="1400"/>
            </a:lvl1pPr>
          </a:lstStyle>
          <a:p>
            <a:pPr lvl="0"/>
            <a:r>
              <a:rPr lang="en-US" dirty="0"/>
              <a:t>Click to edit Master text styles</a:t>
            </a:r>
          </a:p>
        </p:txBody>
      </p:sp>
    </p:spTree>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4" y="13"/>
          <a:ext cx="135749" cy="107989"/>
        </p:xfrm>
        <a:graphic>
          <a:graphicData uri="http://schemas.openxmlformats.org/presentationml/2006/ole">
            <mc:AlternateContent xmlns:mc="http://schemas.openxmlformats.org/markup-compatibility/2006">
              <mc:Choice xmlns:v="urn:schemas-microsoft-com:vml" Requires="v">
                <p:oleObj spid="_x0000_s5331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 y="1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nvPr>
        </p:nvSpPr>
        <p:spPr>
          <a:xfrm>
            <a:off x="298559" y="1583967"/>
            <a:ext cx="8525022" cy="301992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nvPr>
        </p:nvSpPr>
        <p:spPr>
          <a:xfrm>
            <a:off x="298559" y="1121607"/>
            <a:ext cx="8525022" cy="265457"/>
          </a:xfrm>
        </p:spPr>
        <p:txBody>
          <a:bodyPr tIns="0" rIns="0" bIns="0">
            <a:spAutoFit/>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767007235"/>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5434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nvPr>
        </p:nvSpPr>
        <p:spPr>
          <a:xfrm>
            <a:off x="290502" y="1150079"/>
            <a:ext cx="4155820" cy="3536628"/>
          </a:xfrm>
        </p:spPr>
        <p:txBody>
          <a:bodyPr/>
          <a:lstStyle>
            <a:lvl1pPr>
              <a:defRPr/>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nvPr>
        </p:nvSpPr>
        <p:spPr>
          <a:xfrm>
            <a:off x="4636467" y="1150080"/>
            <a:ext cx="4155820" cy="3544188"/>
          </a:xfrm>
        </p:spPr>
        <p:txBody>
          <a:bodyPr/>
          <a:lstStyle>
            <a:lvl1pPr>
              <a:defRPr/>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723377209"/>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5536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nvPr>
        </p:nvSpPr>
        <p:spPr>
          <a:xfrm>
            <a:off x="290502" y="1655231"/>
            <a:ext cx="4155820" cy="3031493"/>
          </a:xfrm>
        </p:spPr>
        <p:txBody>
          <a:bodyPr/>
          <a:lstStyle>
            <a:lvl1pPr>
              <a:defRPr sz="1500"/>
            </a:lvl1pPr>
            <a:lvl2pPr>
              <a:defRPr sz="1400"/>
            </a:lvl2pPr>
            <a:lvl3pPr>
              <a:defRPr sz="1300"/>
            </a:lvl3pPr>
            <a:lvl4pPr>
              <a:defRPr sz="11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nvPr>
        </p:nvSpPr>
        <p:spPr>
          <a:xfrm>
            <a:off x="4636467" y="1656308"/>
            <a:ext cx="4155820" cy="3037973"/>
          </a:xfrm>
        </p:spPr>
        <p:txBody>
          <a:bodyPr/>
          <a:lstStyle>
            <a:lvl1pPr>
              <a:defRPr sz="1500"/>
            </a:lvl1pPr>
            <a:lvl2pPr>
              <a:defRPr sz="1400"/>
            </a:lvl2pPr>
            <a:lvl3pPr>
              <a:defRPr sz="1300"/>
            </a:lvl3pPr>
            <a:lvl4pPr>
              <a:defRPr sz="11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nvPr>
        </p:nvSpPr>
        <p:spPr>
          <a:xfrm>
            <a:off x="290502" y="1156987"/>
            <a:ext cx="4155820" cy="489776"/>
          </a:xfrm>
        </p:spPr>
        <p:txBody>
          <a:bodyPr anchor="ctr"/>
          <a:lstStyle>
            <a:lvl1pPr algn="ctr">
              <a:buNone/>
              <a:defRPr sz="17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nvPr>
        </p:nvSpPr>
        <p:spPr>
          <a:xfrm>
            <a:off x="4636749" y="1150081"/>
            <a:ext cx="4155820" cy="489776"/>
          </a:xfrm>
        </p:spPr>
        <p:txBody>
          <a:bodyPr anchor="ctr"/>
          <a:lstStyle>
            <a:lvl1pPr algn="ctr">
              <a:buNone/>
              <a:defRPr lang="fr-FR" sz="17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494792087"/>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5639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20951882"/>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 y="13"/>
          <a:ext cx="135749" cy="107989"/>
        </p:xfrm>
        <a:graphic>
          <a:graphicData uri="http://schemas.openxmlformats.org/presentationml/2006/ole">
            <mc:AlternateContent xmlns:mc="http://schemas.openxmlformats.org/markup-compatibility/2006">
              <mc:Choice xmlns:v="urn:schemas-microsoft-com:vml" Requires="v">
                <p:oleObj spid="_x0000_s5741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 y="1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7843827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4" y="13"/>
          <a:ext cx="135749" cy="107989"/>
        </p:xfrm>
        <a:graphic>
          <a:graphicData uri="http://schemas.openxmlformats.org/presentationml/2006/ole">
            <mc:AlternateContent xmlns:mc="http://schemas.openxmlformats.org/markup-compatibility/2006">
              <mc:Choice xmlns:v="urn:schemas-microsoft-com:vml" Requires="v">
                <p:oleObj spid="_x0000_s5946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 y="1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6" name="Picture 4" descr="C:\Documents and Settings\apshaw\Desktop\Locations_Map.png"/>
          <p:cNvPicPr>
            <a:picLocks noChangeAspect="1" noChangeArrowheads="1"/>
          </p:cNvPicPr>
          <p:nvPr userDrawn="1"/>
        </p:nvPicPr>
        <p:blipFill>
          <a:blip r:embed="rId6" cstate="print"/>
          <a:srcRect/>
          <a:stretch>
            <a:fillRect/>
          </a:stretch>
        </p:blipFill>
        <p:spPr bwMode="auto">
          <a:xfrm>
            <a:off x="5397699" y="2565182"/>
            <a:ext cx="3441523" cy="1381125"/>
          </a:xfrm>
          <a:prstGeom prst="rect">
            <a:avLst/>
          </a:prstGeom>
          <a:noFill/>
        </p:spPr>
      </p:pic>
      <p:sp>
        <p:nvSpPr>
          <p:cNvPr id="339" name="Rectangle 9"/>
          <p:cNvSpPr>
            <a:spLocks noChangeArrowheads="1"/>
          </p:cNvSpPr>
          <p:nvPr userDrawn="1"/>
        </p:nvSpPr>
        <p:spPr bwMode="gray">
          <a:xfrm>
            <a:off x="1031966" y="2712865"/>
            <a:ext cx="3932160" cy="178250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06635" tIns="43399" rIns="183980" bIns="122654" rtlCol="0" anchor="b"/>
          <a:lstStyle/>
          <a:p>
            <a:pPr algn="just" defTabSz="888354" fontAlgn="auto">
              <a:spcBef>
                <a:spcPts val="0"/>
              </a:spcBef>
              <a:spcAft>
                <a:spcPts val="511"/>
              </a:spcAft>
              <a:defRPr/>
            </a:pPr>
            <a:r>
              <a:rPr lang="en-US" sz="1500" b="1" dirty="0">
                <a:solidFill>
                  <a:prstClr val="white"/>
                </a:solidFill>
                <a:latin typeface="Arial"/>
                <a:cs typeface="Arial"/>
              </a:rPr>
              <a:t>About Capgemini</a:t>
            </a:r>
            <a:endParaRPr lang="en-US" sz="900" dirty="0">
              <a:solidFill>
                <a:prstClr val="white"/>
              </a:solidFill>
              <a:latin typeface="Arial" pitchFamily="34" charset="0"/>
              <a:cs typeface="Arial" pitchFamily="34" charset="0"/>
            </a:endParaRPr>
          </a:p>
          <a:p>
            <a:pPr algn="just" defTabSz="815759" fontAlgn="auto">
              <a:spcBef>
                <a:spcPts val="511"/>
              </a:spcBef>
              <a:spcAft>
                <a:spcPts val="0"/>
              </a:spcAft>
            </a:pPr>
            <a:r>
              <a:rPr lang="en-US" sz="900" dirty="0">
                <a:solidFill>
                  <a:prstClr val="white"/>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algn="just" defTabSz="815759" fontAlgn="auto">
              <a:spcBef>
                <a:spcPts val="511"/>
              </a:spcBef>
              <a:spcAft>
                <a:spcPts val="0"/>
              </a:spcAft>
            </a:pPr>
            <a:r>
              <a:rPr lang="en-US" sz="9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00" dirty="0" err="1">
                <a:solidFill>
                  <a:prstClr val="white"/>
                </a:solidFill>
                <a:latin typeface="Arial" pitchFamily="34" charset="0"/>
                <a:cs typeface="Arial" pitchFamily="34" charset="0"/>
              </a:rPr>
              <a:t>Experience</a:t>
            </a:r>
            <a:r>
              <a:rPr lang="en-US" sz="900" baseline="30000" dirty="0" err="1">
                <a:solidFill>
                  <a:prstClr val="white"/>
                </a:solidFill>
                <a:latin typeface="Arial" pitchFamily="34" charset="0"/>
                <a:cs typeface="Arial" pitchFamily="34" charset="0"/>
              </a:rPr>
              <a:t>TM</a:t>
            </a:r>
            <a:r>
              <a:rPr lang="en-US" sz="900" dirty="0">
                <a:solidFill>
                  <a:prstClr val="white"/>
                </a:solidFill>
                <a:latin typeface="Arial" pitchFamily="34" charset="0"/>
                <a:cs typeface="Arial" pitchFamily="34" charset="0"/>
              </a:rPr>
              <a:t>, and draws on </a:t>
            </a:r>
            <a:r>
              <a:rPr lang="en-US" sz="900" dirty="0" err="1">
                <a:solidFill>
                  <a:prstClr val="white"/>
                </a:solidFill>
                <a:latin typeface="Arial" pitchFamily="34" charset="0"/>
                <a:cs typeface="Arial" pitchFamily="34" charset="0"/>
              </a:rPr>
              <a:t>Rightshore</a:t>
            </a:r>
            <a:r>
              <a:rPr lang="en-US" sz="900" b="1" baseline="30000" dirty="0">
                <a:solidFill>
                  <a:prstClr val="white"/>
                </a:solidFill>
                <a:latin typeface="Arial" pitchFamily="34" charset="0"/>
                <a:cs typeface="Arial" pitchFamily="34" charset="0"/>
              </a:rPr>
              <a:t>®</a:t>
            </a:r>
            <a:r>
              <a:rPr lang="en-US" sz="900" dirty="0">
                <a:solidFill>
                  <a:prstClr val="white"/>
                </a:solidFill>
                <a:latin typeface="Arial" pitchFamily="34" charset="0"/>
                <a:cs typeface="Arial" pitchFamily="34" charset="0"/>
              </a:rPr>
              <a:t>, its worldwide delivery model.</a:t>
            </a:r>
          </a:p>
          <a:p>
            <a:pPr algn="just" defTabSz="815759" fontAlgn="auto">
              <a:spcBef>
                <a:spcPts val="511"/>
              </a:spcBef>
              <a:spcAft>
                <a:spcPts val="0"/>
              </a:spcAft>
            </a:pPr>
            <a:r>
              <a:rPr lang="en-US" sz="900" dirty="0">
                <a:solidFill>
                  <a:prstClr val="white"/>
                </a:solidFill>
                <a:latin typeface="Arial" pitchFamily="34" charset="0"/>
                <a:cs typeface="Arial" pitchFamily="34" charset="0"/>
              </a:rPr>
              <a:t>Learn more about us at www.capgemini.com</a:t>
            </a:r>
          </a:p>
        </p:txBody>
      </p:sp>
      <p:pic>
        <p:nvPicPr>
          <p:cNvPr id="340" name="Image 337" descr="CBE_Label_ppt.png"/>
          <p:cNvPicPr>
            <a:picLocks noChangeAspect="1"/>
          </p:cNvPicPr>
          <p:nvPr userDrawn="1"/>
        </p:nvPicPr>
        <p:blipFill>
          <a:blip r:embed="rId7" cstate="screen"/>
          <a:stretch>
            <a:fillRect/>
          </a:stretch>
        </p:blipFill>
        <p:spPr>
          <a:xfrm>
            <a:off x="801000" y="2601221"/>
            <a:ext cx="479605" cy="391881"/>
          </a:xfrm>
          <a:prstGeom prst="rect">
            <a:avLst/>
          </a:prstGeom>
        </p:spPr>
      </p:pic>
    </p:spTree>
    <p:extLst>
      <p:ext uri="{BB962C8B-B14F-4D97-AF65-F5344CB8AC3E}">
        <p14:creationId xmlns:p14="http://schemas.microsoft.com/office/powerpoint/2010/main" val="3463992844"/>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 y="13"/>
          <a:ext cx="135749" cy="107989"/>
        </p:xfrm>
        <a:graphic>
          <a:graphicData uri="http://schemas.openxmlformats.org/presentationml/2006/ole">
            <mc:AlternateContent xmlns:mc="http://schemas.openxmlformats.org/markup-compatibility/2006">
              <mc:Choice xmlns:v="urn:schemas-microsoft-com:vml" Requires="v">
                <p:oleObj spid="_x0000_s6048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 y="1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userDrawn="1"/>
        </p:nvGrpSpPr>
        <p:grpSpPr>
          <a:xfrm>
            <a:off x="4645290" y="2081878"/>
            <a:ext cx="4163149" cy="1894142"/>
            <a:chOff x="867725" y="3468294"/>
            <a:chExt cx="4510078" cy="2525522"/>
          </a:xfrm>
        </p:grpSpPr>
        <p:sp>
          <p:nvSpPr>
            <p:cNvPr id="9"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888354" fontAlgn="auto">
                <a:spcBef>
                  <a:spcPts val="0"/>
                </a:spcBef>
                <a:spcAft>
                  <a:spcPts val="511"/>
                </a:spcAft>
                <a:defRPr/>
              </a:pPr>
              <a:r>
                <a:rPr lang="en-US" sz="1500" b="1" dirty="0">
                  <a:solidFill>
                    <a:prstClr val="white"/>
                  </a:solidFill>
                  <a:latin typeface="Arial"/>
                  <a:cs typeface="Arial"/>
                </a:rPr>
                <a:t>About Capgemini</a:t>
              </a:r>
              <a:endParaRPr lang="en-US" sz="900" dirty="0">
                <a:solidFill>
                  <a:prstClr val="white"/>
                </a:solidFill>
                <a:latin typeface="Arial" pitchFamily="34" charset="0"/>
                <a:cs typeface="Arial" pitchFamily="34" charset="0"/>
              </a:endParaRPr>
            </a:p>
            <a:p>
              <a:pPr algn="just" defTabSz="815759" fontAlgn="auto">
                <a:spcBef>
                  <a:spcPts val="511"/>
                </a:spcBef>
                <a:spcAft>
                  <a:spcPts val="0"/>
                </a:spcAft>
              </a:pPr>
              <a:r>
                <a:rPr lang="en-US" sz="900" dirty="0">
                  <a:solidFill>
                    <a:prstClr val="white"/>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algn="just" defTabSz="815759" fontAlgn="auto">
                <a:spcBef>
                  <a:spcPts val="511"/>
                </a:spcBef>
                <a:spcAft>
                  <a:spcPts val="0"/>
                </a:spcAft>
              </a:pPr>
              <a:r>
                <a:rPr lang="en-US" sz="9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00" dirty="0" err="1">
                  <a:solidFill>
                    <a:prstClr val="white"/>
                  </a:solidFill>
                  <a:latin typeface="Arial" pitchFamily="34" charset="0"/>
                  <a:cs typeface="Arial" pitchFamily="34" charset="0"/>
                </a:rPr>
                <a:t>Experience</a:t>
              </a:r>
              <a:r>
                <a:rPr lang="en-US" sz="900" baseline="30000" dirty="0" err="1">
                  <a:solidFill>
                    <a:prstClr val="white"/>
                  </a:solidFill>
                  <a:latin typeface="Arial" pitchFamily="34" charset="0"/>
                  <a:cs typeface="Arial" pitchFamily="34" charset="0"/>
                </a:rPr>
                <a:t>TM</a:t>
              </a:r>
              <a:r>
                <a:rPr lang="en-US" sz="900" dirty="0">
                  <a:solidFill>
                    <a:prstClr val="white"/>
                  </a:solidFill>
                  <a:latin typeface="Arial" pitchFamily="34" charset="0"/>
                  <a:cs typeface="Arial" pitchFamily="34" charset="0"/>
                </a:rPr>
                <a:t>, and draws on </a:t>
              </a:r>
              <a:r>
                <a:rPr lang="en-US" sz="900" dirty="0" err="1">
                  <a:solidFill>
                    <a:prstClr val="white"/>
                  </a:solidFill>
                  <a:latin typeface="Arial" pitchFamily="34" charset="0"/>
                  <a:cs typeface="Arial" pitchFamily="34" charset="0"/>
                </a:rPr>
                <a:t>Rightshore</a:t>
              </a:r>
              <a:r>
                <a:rPr lang="en-US" sz="900" b="1" baseline="30000" dirty="0">
                  <a:solidFill>
                    <a:prstClr val="white"/>
                  </a:solidFill>
                  <a:latin typeface="Arial" pitchFamily="34" charset="0"/>
                  <a:cs typeface="Arial" pitchFamily="34" charset="0"/>
                </a:rPr>
                <a:t> ®</a:t>
              </a:r>
              <a:r>
                <a:rPr lang="en-US" sz="900" dirty="0">
                  <a:solidFill>
                    <a:prstClr val="white"/>
                  </a:solidFill>
                  <a:latin typeface="Arial" pitchFamily="34" charset="0"/>
                  <a:cs typeface="Arial" pitchFamily="34" charset="0"/>
                </a:rPr>
                <a:t>, its worldwide delivery model.</a:t>
              </a:r>
            </a:p>
            <a:p>
              <a:pPr algn="just" defTabSz="815759" fontAlgn="auto">
                <a:spcBef>
                  <a:spcPts val="511"/>
                </a:spcBef>
                <a:spcAft>
                  <a:spcPts val="0"/>
                </a:spcAft>
              </a:pPr>
              <a:r>
                <a:rPr lang="en-US" sz="900" dirty="0">
                  <a:solidFill>
                    <a:prstClr val="white"/>
                  </a:solidFill>
                  <a:latin typeface="Arial" pitchFamily="34" charset="0"/>
                  <a:cs typeface="Arial" pitchFamily="34" charset="0"/>
                </a:rPr>
                <a:t>Learn more about us at www.capgemini.com</a:t>
              </a:r>
            </a:p>
          </p:txBody>
        </p:sp>
        <p:pic>
          <p:nvPicPr>
            <p:cNvPr id="10" name="Image 337" descr="CBE_Label_ppt.png"/>
            <p:cNvPicPr>
              <a:picLocks noChangeAspect="1"/>
            </p:cNvPicPr>
            <p:nvPr userDrawn="1"/>
          </p:nvPicPr>
          <p:blipFill>
            <a:blip r:embed="rId7" cstate="screen"/>
            <a:stretch>
              <a:fillRect/>
            </a:stretch>
          </p:blipFill>
          <p:spPr>
            <a:xfrm>
              <a:off x="867725" y="3468294"/>
              <a:ext cx="519572" cy="522508"/>
            </a:xfrm>
            <a:prstGeom prst="rect">
              <a:avLst/>
            </a:prstGeom>
          </p:spPr>
        </p:pic>
      </p:grpSp>
    </p:spTree>
    <p:extLst>
      <p:ext uri="{BB962C8B-B14F-4D97-AF65-F5344CB8AC3E}">
        <p14:creationId xmlns:p14="http://schemas.microsoft.com/office/powerpoint/2010/main" val="3352052631"/>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blank" preserve="1">
  <p:cSld name="Blank Dark">
    <p:bg>
      <p:bgPr>
        <a:solidFill>
          <a:schemeClr val="tx2">
            <a:lumMod val="90000"/>
            <a:lumOff val="1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20753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blank" preserve="1">
  <p:cSld name="Blank bg">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2" name="Group 1"/>
          <p:cNvGrpSpPr>
            <a:grpSpLocks noChangeAspect="1"/>
          </p:cNvGrpSpPr>
          <p:nvPr userDrawn="1"/>
        </p:nvGrpSpPr>
        <p:grpSpPr>
          <a:xfrm>
            <a:off x="182880" y="968119"/>
            <a:ext cx="8778240" cy="3072690"/>
            <a:chOff x="2719388" y="2247900"/>
            <a:chExt cx="6748462" cy="2362200"/>
          </a:xfrm>
          <a:solidFill>
            <a:schemeClr val="tx2">
              <a:lumMod val="85000"/>
            </a:schemeClr>
          </a:solidFill>
        </p:grpSpPr>
        <p:sp>
          <p:nvSpPr>
            <p:cNvPr id="3" name="Freeform 5"/>
            <p:cNvSpPr>
              <a:spLocks/>
            </p:cNvSpPr>
            <p:nvPr/>
          </p:nvSpPr>
          <p:spPr bwMode="auto">
            <a:xfrm>
              <a:off x="5416550" y="3241675"/>
              <a:ext cx="74613" cy="4763"/>
            </a:xfrm>
            <a:custGeom>
              <a:avLst/>
              <a:gdLst>
                <a:gd name="T0" fmla="*/ 20 w 20"/>
                <a:gd name="T1" fmla="*/ 0 h 1"/>
                <a:gd name="T2" fmla="*/ 0 w 20"/>
                <a:gd name="T3" fmla="*/ 1 h 1"/>
                <a:gd name="T4" fmla="*/ 20 w 20"/>
                <a:gd name="T5" fmla="*/ 0 h 1"/>
              </a:gdLst>
              <a:ahLst/>
              <a:cxnLst>
                <a:cxn ang="0">
                  <a:pos x="T0" y="T1"/>
                </a:cxn>
                <a:cxn ang="0">
                  <a:pos x="T2" y="T3"/>
                </a:cxn>
                <a:cxn ang="0">
                  <a:pos x="T4" y="T5"/>
                </a:cxn>
              </a:cxnLst>
              <a:rect l="0" t="0" r="r" b="b"/>
              <a:pathLst>
                <a:path w="20" h="1">
                  <a:moveTo>
                    <a:pt x="20" y="0"/>
                  </a:moveTo>
                  <a:cubicBezTo>
                    <a:pt x="14" y="0"/>
                    <a:pt x="6" y="0"/>
                    <a:pt x="0" y="1"/>
                  </a:cubicBezTo>
                  <a:cubicBezTo>
                    <a:pt x="6" y="1"/>
                    <a:pt x="14" y="0"/>
                    <a:pt x="2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 name="Freeform 6"/>
            <p:cNvSpPr>
              <a:spLocks/>
            </p:cNvSpPr>
            <p:nvPr/>
          </p:nvSpPr>
          <p:spPr bwMode="auto">
            <a:xfrm>
              <a:off x="5311775" y="3389313"/>
              <a:ext cx="44450" cy="46038"/>
            </a:xfrm>
            <a:custGeom>
              <a:avLst/>
              <a:gdLst>
                <a:gd name="T0" fmla="*/ 0 w 12"/>
                <a:gd name="T1" fmla="*/ 0 h 12"/>
                <a:gd name="T2" fmla="*/ 12 w 12"/>
                <a:gd name="T3" fmla="*/ 12 h 12"/>
                <a:gd name="T4" fmla="*/ 0 w 12"/>
                <a:gd name="T5" fmla="*/ 0 h 12"/>
              </a:gdLst>
              <a:ahLst/>
              <a:cxnLst>
                <a:cxn ang="0">
                  <a:pos x="T0" y="T1"/>
                </a:cxn>
                <a:cxn ang="0">
                  <a:pos x="T2" y="T3"/>
                </a:cxn>
                <a:cxn ang="0">
                  <a:pos x="T4" y="T5"/>
                </a:cxn>
              </a:cxnLst>
              <a:rect l="0" t="0" r="r" b="b"/>
              <a:pathLst>
                <a:path w="12" h="12">
                  <a:moveTo>
                    <a:pt x="0" y="0"/>
                  </a:moveTo>
                  <a:cubicBezTo>
                    <a:pt x="4" y="4"/>
                    <a:pt x="8" y="8"/>
                    <a:pt x="12" y="12"/>
                  </a:cubicBezTo>
                  <a:cubicBezTo>
                    <a:pt x="8" y="8"/>
                    <a:pt x="4"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 name="Oval 7"/>
            <p:cNvSpPr>
              <a:spLocks noChangeArrowheads="1"/>
            </p:cNvSpPr>
            <p:nvPr/>
          </p:nvSpPr>
          <p:spPr bwMode="auto">
            <a:xfrm>
              <a:off x="4608513" y="3027363"/>
              <a:ext cx="117475" cy="112713"/>
            </a:xfrm>
            <a:prstGeom prst="ellipse">
              <a:avLst/>
            </a:pr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 name="Freeform 8"/>
            <p:cNvSpPr>
              <a:spLocks noEditPoints="1"/>
            </p:cNvSpPr>
            <p:nvPr/>
          </p:nvSpPr>
          <p:spPr bwMode="auto">
            <a:xfrm>
              <a:off x="7437438" y="3773488"/>
              <a:ext cx="720725" cy="381000"/>
            </a:xfrm>
            <a:custGeom>
              <a:avLst/>
              <a:gdLst>
                <a:gd name="T0" fmla="*/ 78 w 192"/>
                <a:gd name="T1" fmla="*/ 24 h 101"/>
                <a:gd name="T2" fmla="*/ 80 w 192"/>
                <a:gd name="T3" fmla="*/ 24 h 101"/>
                <a:gd name="T4" fmla="*/ 86 w 192"/>
                <a:gd name="T5" fmla="*/ 32 h 101"/>
                <a:gd name="T6" fmla="*/ 65 w 192"/>
                <a:gd name="T7" fmla="*/ 74 h 101"/>
                <a:gd name="T8" fmla="*/ 65 w 192"/>
                <a:gd name="T9" fmla="*/ 74 h 101"/>
                <a:gd name="T10" fmla="*/ 54 w 192"/>
                <a:gd name="T11" fmla="*/ 75 h 101"/>
                <a:gd name="T12" fmla="*/ 52 w 192"/>
                <a:gd name="T13" fmla="*/ 77 h 101"/>
                <a:gd name="T14" fmla="*/ 14 w 192"/>
                <a:gd name="T15" fmla="*/ 43 h 101"/>
                <a:gd name="T16" fmla="*/ 15 w 192"/>
                <a:gd name="T17" fmla="*/ 39 h 101"/>
                <a:gd name="T18" fmla="*/ 96 w 192"/>
                <a:gd name="T19" fmla="*/ 0 h 101"/>
                <a:gd name="T20" fmla="*/ 78 w 192"/>
                <a:gd name="T21" fmla="*/ 19 h 101"/>
                <a:gd name="T22" fmla="*/ 15 w 192"/>
                <a:gd name="T23" fmla="*/ 37 h 101"/>
                <a:gd name="T24" fmla="*/ 15 w 192"/>
                <a:gd name="T25" fmla="*/ 37 h 101"/>
                <a:gd name="T26" fmla="*/ 10 w 192"/>
                <a:gd name="T27" fmla="*/ 33 h 101"/>
                <a:gd name="T28" fmla="*/ 13 w 192"/>
                <a:gd name="T29" fmla="*/ 9 h 101"/>
                <a:gd name="T30" fmla="*/ 8 w 192"/>
                <a:gd name="T31" fmla="*/ 33 h 101"/>
                <a:gd name="T32" fmla="*/ 2 w 192"/>
                <a:gd name="T33" fmla="*/ 42 h 101"/>
                <a:gd name="T34" fmla="*/ 11 w 192"/>
                <a:gd name="T35" fmla="*/ 45 h 101"/>
                <a:gd name="T36" fmla="*/ 12 w 192"/>
                <a:gd name="T37" fmla="*/ 45 h 101"/>
                <a:gd name="T38" fmla="*/ 49 w 192"/>
                <a:gd name="T39" fmla="*/ 79 h 101"/>
                <a:gd name="T40" fmla="*/ 48 w 192"/>
                <a:gd name="T41" fmla="*/ 93 h 101"/>
                <a:gd name="T42" fmla="*/ 66 w 192"/>
                <a:gd name="T43" fmla="*/ 99 h 101"/>
                <a:gd name="T44" fmla="*/ 69 w 192"/>
                <a:gd name="T45" fmla="*/ 76 h 101"/>
                <a:gd name="T46" fmla="*/ 91 w 192"/>
                <a:gd name="T47" fmla="*/ 34 h 101"/>
                <a:gd name="T48" fmla="*/ 91 w 192"/>
                <a:gd name="T49" fmla="*/ 34 h 101"/>
                <a:gd name="T50" fmla="*/ 104 w 192"/>
                <a:gd name="T51" fmla="*/ 33 h 101"/>
                <a:gd name="T52" fmla="*/ 109 w 192"/>
                <a:gd name="T53" fmla="*/ 30 h 101"/>
                <a:gd name="T54" fmla="*/ 178 w 192"/>
                <a:gd name="T55" fmla="*/ 78 h 101"/>
                <a:gd name="T56" fmla="*/ 178 w 192"/>
                <a:gd name="T57" fmla="*/ 83 h 101"/>
                <a:gd name="T58" fmla="*/ 187 w 192"/>
                <a:gd name="T59" fmla="*/ 87 h 101"/>
                <a:gd name="T60" fmla="*/ 184 w 192"/>
                <a:gd name="T61" fmla="*/ 74 h 101"/>
                <a:gd name="T62" fmla="*/ 179 w 192"/>
                <a:gd name="T63" fmla="*/ 76 h 101"/>
                <a:gd name="T64" fmla="*/ 179 w 192"/>
                <a:gd name="T65" fmla="*/ 76 h 101"/>
                <a:gd name="T66" fmla="*/ 112 w 192"/>
                <a:gd name="T67" fmla="*/ 26 h 101"/>
                <a:gd name="T68" fmla="*/ 96 w 192"/>
                <a:gd name="T6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01">
                  <a:moveTo>
                    <a:pt x="15" y="39"/>
                  </a:moveTo>
                  <a:cubicBezTo>
                    <a:pt x="15" y="38"/>
                    <a:pt x="68" y="24"/>
                    <a:pt x="78" y="24"/>
                  </a:cubicBezTo>
                  <a:cubicBezTo>
                    <a:pt x="79" y="24"/>
                    <a:pt x="80" y="24"/>
                    <a:pt x="80" y="24"/>
                  </a:cubicBezTo>
                  <a:cubicBezTo>
                    <a:pt x="80" y="24"/>
                    <a:pt x="80" y="24"/>
                    <a:pt x="80" y="24"/>
                  </a:cubicBezTo>
                  <a:cubicBezTo>
                    <a:pt x="80" y="25"/>
                    <a:pt x="80" y="25"/>
                    <a:pt x="80" y="25"/>
                  </a:cubicBezTo>
                  <a:cubicBezTo>
                    <a:pt x="81" y="28"/>
                    <a:pt x="84" y="30"/>
                    <a:pt x="86" y="32"/>
                  </a:cubicBezTo>
                  <a:cubicBezTo>
                    <a:pt x="86" y="31"/>
                    <a:pt x="86" y="31"/>
                    <a:pt x="86" y="31"/>
                  </a:cubicBezTo>
                  <a:cubicBezTo>
                    <a:pt x="89" y="33"/>
                    <a:pt x="68" y="74"/>
                    <a:pt x="65" y="74"/>
                  </a:cubicBezTo>
                  <a:cubicBezTo>
                    <a:pt x="65" y="74"/>
                    <a:pt x="65" y="74"/>
                    <a:pt x="65" y="74"/>
                  </a:cubicBezTo>
                  <a:cubicBezTo>
                    <a:pt x="65" y="74"/>
                    <a:pt x="65" y="74"/>
                    <a:pt x="65" y="74"/>
                  </a:cubicBezTo>
                  <a:cubicBezTo>
                    <a:pt x="63" y="74"/>
                    <a:pt x="62" y="74"/>
                    <a:pt x="60" y="74"/>
                  </a:cubicBezTo>
                  <a:cubicBezTo>
                    <a:pt x="58" y="74"/>
                    <a:pt x="56" y="74"/>
                    <a:pt x="54" y="75"/>
                  </a:cubicBezTo>
                  <a:cubicBezTo>
                    <a:pt x="53" y="76"/>
                    <a:pt x="53" y="76"/>
                    <a:pt x="52" y="77"/>
                  </a:cubicBezTo>
                  <a:cubicBezTo>
                    <a:pt x="52" y="77"/>
                    <a:pt x="52" y="77"/>
                    <a:pt x="52" y="77"/>
                  </a:cubicBezTo>
                  <a:cubicBezTo>
                    <a:pt x="52" y="77"/>
                    <a:pt x="52" y="77"/>
                    <a:pt x="52" y="77"/>
                  </a:cubicBezTo>
                  <a:cubicBezTo>
                    <a:pt x="48" y="77"/>
                    <a:pt x="13" y="44"/>
                    <a:pt x="14" y="43"/>
                  </a:cubicBezTo>
                  <a:cubicBezTo>
                    <a:pt x="14" y="43"/>
                    <a:pt x="14" y="43"/>
                    <a:pt x="14" y="43"/>
                  </a:cubicBezTo>
                  <a:cubicBezTo>
                    <a:pt x="15" y="42"/>
                    <a:pt x="15" y="40"/>
                    <a:pt x="15" y="39"/>
                  </a:cubicBezTo>
                  <a:cubicBezTo>
                    <a:pt x="15" y="39"/>
                    <a:pt x="15" y="39"/>
                    <a:pt x="15" y="39"/>
                  </a:cubicBezTo>
                  <a:moveTo>
                    <a:pt x="96" y="0"/>
                  </a:moveTo>
                  <a:cubicBezTo>
                    <a:pt x="94" y="0"/>
                    <a:pt x="91" y="1"/>
                    <a:pt x="89" y="2"/>
                  </a:cubicBezTo>
                  <a:cubicBezTo>
                    <a:pt x="81" y="5"/>
                    <a:pt x="78" y="12"/>
                    <a:pt x="78" y="19"/>
                  </a:cubicBezTo>
                  <a:cubicBezTo>
                    <a:pt x="78" y="19"/>
                    <a:pt x="78" y="19"/>
                    <a:pt x="78" y="19"/>
                  </a:cubicBezTo>
                  <a:cubicBezTo>
                    <a:pt x="79" y="23"/>
                    <a:pt x="20" y="37"/>
                    <a:pt x="15" y="37"/>
                  </a:cubicBezTo>
                  <a:cubicBezTo>
                    <a:pt x="15" y="37"/>
                    <a:pt x="15" y="37"/>
                    <a:pt x="15" y="37"/>
                  </a:cubicBezTo>
                  <a:cubicBezTo>
                    <a:pt x="15" y="37"/>
                    <a:pt x="15" y="37"/>
                    <a:pt x="15" y="37"/>
                  </a:cubicBezTo>
                  <a:cubicBezTo>
                    <a:pt x="14" y="37"/>
                    <a:pt x="14" y="37"/>
                    <a:pt x="14" y="37"/>
                  </a:cubicBezTo>
                  <a:cubicBezTo>
                    <a:pt x="14" y="35"/>
                    <a:pt x="12" y="34"/>
                    <a:pt x="10" y="33"/>
                  </a:cubicBezTo>
                  <a:cubicBezTo>
                    <a:pt x="10" y="33"/>
                    <a:pt x="10" y="33"/>
                    <a:pt x="10" y="33"/>
                  </a:cubicBezTo>
                  <a:cubicBezTo>
                    <a:pt x="10" y="33"/>
                    <a:pt x="11" y="22"/>
                    <a:pt x="13" y="9"/>
                  </a:cubicBezTo>
                  <a:cubicBezTo>
                    <a:pt x="11" y="22"/>
                    <a:pt x="9" y="33"/>
                    <a:pt x="8" y="33"/>
                  </a:cubicBezTo>
                  <a:cubicBezTo>
                    <a:pt x="8" y="33"/>
                    <a:pt x="8" y="33"/>
                    <a:pt x="8" y="33"/>
                  </a:cubicBezTo>
                  <a:cubicBezTo>
                    <a:pt x="7" y="33"/>
                    <a:pt x="6" y="33"/>
                    <a:pt x="5" y="34"/>
                  </a:cubicBezTo>
                  <a:cubicBezTo>
                    <a:pt x="2" y="35"/>
                    <a:pt x="0" y="39"/>
                    <a:pt x="2" y="42"/>
                  </a:cubicBezTo>
                  <a:cubicBezTo>
                    <a:pt x="3" y="45"/>
                    <a:pt x="6" y="46"/>
                    <a:pt x="8" y="46"/>
                  </a:cubicBezTo>
                  <a:cubicBezTo>
                    <a:pt x="9" y="46"/>
                    <a:pt x="10" y="46"/>
                    <a:pt x="11" y="45"/>
                  </a:cubicBezTo>
                  <a:cubicBezTo>
                    <a:pt x="12" y="45"/>
                    <a:pt x="12" y="45"/>
                    <a:pt x="12" y="45"/>
                  </a:cubicBezTo>
                  <a:cubicBezTo>
                    <a:pt x="12" y="45"/>
                    <a:pt x="12" y="45"/>
                    <a:pt x="12" y="45"/>
                  </a:cubicBezTo>
                  <a:cubicBezTo>
                    <a:pt x="12" y="45"/>
                    <a:pt x="12" y="45"/>
                    <a:pt x="12" y="45"/>
                  </a:cubicBezTo>
                  <a:cubicBezTo>
                    <a:pt x="14" y="45"/>
                    <a:pt x="51" y="77"/>
                    <a:pt x="49" y="79"/>
                  </a:cubicBezTo>
                  <a:cubicBezTo>
                    <a:pt x="49" y="79"/>
                    <a:pt x="49" y="79"/>
                    <a:pt x="49" y="79"/>
                  </a:cubicBezTo>
                  <a:cubicBezTo>
                    <a:pt x="46" y="83"/>
                    <a:pt x="46" y="88"/>
                    <a:pt x="48" y="93"/>
                  </a:cubicBezTo>
                  <a:cubicBezTo>
                    <a:pt x="50" y="98"/>
                    <a:pt x="55" y="101"/>
                    <a:pt x="60" y="101"/>
                  </a:cubicBezTo>
                  <a:cubicBezTo>
                    <a:pt x="62" y="101"/>
                    <a:pt x="65" y="100"/>
                    <a:pt x="66" y="99"/>
                  </a:cubicBezTo>
                  <a:cubicBezTo>
                    <a:pt x="73" y="96"/>
                    <a:pt x="76" y="88"/>
                    <a:pt x="73" y="81"/>
                  </a:cubicBezTo>
                  <a:cubicBezTo>
                    <a:pt x="72" y="79"/>
                    <a:pt x="70" y="78"/>
                    <a:pt x="69" y="76"/>
                  </a:cubicBezTo>
                  <a:cubicBezTo>
                    <a:pt x="69" y="76"/>
                    <a:pt x="69" y="76"/>
                    <a:pt x="69" y="76"/>
                  </a:cubicBezTo>
                  <a:cubicBezTo>
                    <a:pt x="66" y="75"/>
                    <a:pt x="87" y="34"/>
                    <a:pt x="91" y="34"/>
                  </a:cubicBezTo>
                  <a:cubicBezTo>
                    <a:pt x="91" y="34"/>
                    <a:pt x="91" y="34"/>
                    <a:pt x="91" y="34"/>
                  </a:cubicBezTo>
                  <a:cubicBezTo>
                    <a:pt x="91" y="34"/>
                    <a:pt x="91" y="34"/>
                    <a:pt x="91" y="34"/>
                  </a:cubicBezTo>
                  <a:cubicBezTo>
                    <a:pt x="92" y="34"/>
                    <a:pt x="94" y="35"/>
                    <a:pt x="96" y="35"/>
                  </a:cubicBezTo>
                  <a:cubicBezTo>
                    <a:pt x="99" y="35"/>
                    <a:pt x="101" y="34"/>
                    <a:pt x="104" y="33"/>
                  </a:cubicBezTo>
                  <a:cubicBezTo>
                    <a:pt x="106" y="32"/>
                    <a:pt x="107" y="31"/>
                    <a:pt x="109" y="29"/>
                  </a:cubicBezTo>
                  <a:cubicBezTo>
                    <a:pt x="109" y="30"/>
                    <a:pt x="109" y="30"/>
                    <a:pt x="109" y="30"/>
                  </a:cubicBezTo>
                  <a:cubicBezTo>
                    <a:pt x="109" y="30"/>
                    <a:pt x="109" y="29"/>
                    <a:pt x="109" y="29"/>
                  </a:cubicBezTo>
                  <a:cubicBezTo>
                    <a:pt x="115" y="29"/>
                    <a:pt x="179" y="76"/>
                    <a:pt x="178" y="78"/>
                  </a:cubicBezTo>
                  <a:cubicBezTo>
                    <a:pt x="178" y="78"/>
                    <a:pt x="178" y="78"/>
                    <a:pt x="178" y="78"/>
                  </a:cubicBezTo>
                  <a:cubicBezTo>
                    <a:pt x="177" y="79"/>
                    <a:pt x="177" y="82"/>
                    <a:pt x="178" y="83"/>
                  </a:cubicBezTo>
                  <a:cubicBezTo>
                    <a:pt x="179" y="86"/>
                    <a:pt x="182" y="87"/>
                    <a:pt x="184" y="87"/>
                  </a:cubicBezTo>
                  <a:cubicBezTo>
                    <a:pt x="185" y="87"/>
                    <a:pt x="186" y="87"/>
                    <a:pt x="187" y="87"/>
                  </a:cubicBezTo>
                  <a:cubicBezTo>
                    <a:pt x="191" y="85"/>
                    <a:pt x="192" y="81"/>
                    <a:pt x="190" y="78"/>
                  </a:cubicBezTo>
                  <a:cubicBezTo>
                    <a:pt x="189" y="75"/>
                    <a:pt x="187" y="74"/>
                    <a:pt x="184" y="74"/>
                  </a:cubicBezTo>
                  <a:cubicBezTo>
                    <a:pt x="183" y="74"/>
                    <a:pt x="182" y="74"/>
                    <a:pt x="181" y="75"/>
                  </a:cubicBezTo>
                  <a:cubicBezTo>
                    <a:pt x="181" y="75"/>
                    <a:pt x="180" y="75"/>
                    <a:pt x="179" y="76"/>
                  </a:cubicBezTo>
                  <a:cubicBezTo>
                    <a:pt x="179" y="76"/>
                    <a:pt x="179" y="76"/>
                    <a:pt x="179" y="76"/>
                  </a:cubicBezTo>
                  <a:cubicBezTo>
                    <a:pt x="179" y="76"/>
                    <a:pt x="179" y="76"/>
                    <a:pt x="179" y="76"/>
                  </a:cubicBezTo>
                  <a:cubicBezTo>
                    <a:pt x="177" y="76"/>
                    <a:pt x="110" y="29"/>
                    <a:pt x="112" y="26"/>
                  </a:cubicBezTo>
                  <a:cubicBezTo>
                    <a:pt x="112" y="26"/>
                    <a:pt x="112" y="26"/>
                    <a:pt x="112" y="26"/>
                  </a:cubicBezTo>
                  <a:cubicBezTo>
                    <a:pt x="115" y="21"/>
                    <a:pt x="115" y="15"/>
                    <a:pt x="112" y="10"/>
                  </a:cubicBezTo>
                  <a:cubicBezTo>
                    <a:pt x="109" y="4"/>
                    <a:pt x="103" y="0"/>
                    <a:pt x="96"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 name="Freeform 9"/>
            <p:cNvSpPr>
              <a:spLocks noEditPoints="1"/>
            </p:cNvSpPr>
            <p:nvPr/>
          </p:nvSpPr>
          <p:spPr bwMode="auto">
            <a:xfrm>
              <a:off x="6915150" y="2703513"/>
              <a:ext cx="2552700" cy="1103313"/>
            </a:xfrm>
            <a:custGeom>
              <a:avLst/>
              <a:gdLst>
                <a:gd name="T0" fmla="*/ 305 w 680"/>
                <a:gd name="T1" fmla="*/ 180 h 293"/>
                <a:gd name="T2" fmla="*/ 476 w 680"/>
                <a:gd name="T3" fmla="*/ 198 h 293"/>
                <a:gd name="T4" fmla="*/ 671 w 680"/>
                <a:gd name="T5" fmla="*/ 164 h 293"/>
                <a:gd name="T6" fmla="*/ 639 w 680"/>
                <a:gd name="T7" fmla="*/ 163 h 293"/>
                <a:gd name="T8" fmla="*/ 176 w 680"/>
                <a:gd name="T9" fmla="*/ 124 h 293"/>
                <a:gd name="T10" fmla="*/ 137 w 680"/>
                <a:gd name="T11" fmla="*/ 142 h 293"/>
                <a:gd name="T12" fmla="*/ 210 w 680"/>
                <a:gd name="T13" fmla="*/ 112 h 293"/>
                <a:gd name="T14" fmla="*/ 209 w 680"/>
                <a:gd name="T15" fmla="*/ 112 h 293"/>
                <a:gd name="T16" fmla="*/ 302 w 680"/>
                <a:gd name="T17" fmla="*/ 177 h 293"/>
                <a:gd name="T18" fmla="*/ 501 w 680"/>
                <a:gd name="T19" fmla="*/ 103 h 293"/>
                <a:gd name="T20" fmla="*/ 447 w 680"/>
                <a:gd name="T21" fmla="*/ 82 h 293"/>
                <a:gd name="T22" fmla="*/ 431 w 680"/>
                <a:gd name="T23" fmla="*/ 75 h 293"/>
                <a:gd name="T24" fmla="*/ 272 w 680"/>
                <a:gd name="T25" fmla="*/ 100 h 293"/>
                <a:gd name="T26" fmla="*/ 176 w 680"/>
                <a:gd name="T27" fmla="*/ 124 h 293"/>
                <a:gd name="T28" fmla="*/ 165 w 680"/>
                <a:gd name="T29" fmla="*/ 74 h 293"/>
                <a:gd name="T30" fmla="*/ 209 w 680"/>
                <a:gd name="T31" fmla="*/ 110 h 293"/>
                <a:gd name="T32" fmla="*/ 1 w 680"/>
                <a:gd name="T33" fmla="*/ 9 h 293"/>
                <a:gd name="T34" fmla="*/ 112 w 680"/>
                <a:gd name="T35" fmla="*/ 136 h 293"/>
                <a:gd name="T36" fmla="*/ 172 w 680"/>
                <a:gd name="T37" fmla="*/ 142 h 293"/>
                <a:gd name="T38" fmla="*/ 187 w 680"/>
                <a:gd name="T39" fmla="*/ 142 h 293"/>
                <a:gd name="T40" fmla="*/ 251 w 680"/>
                <a:gd name="T41" fmla="*/ 143 h 293"/>
                <a:gd name="T42" fmla="*/ 266 w 680"/>
                <a:gd name="T43" fmla="*/ 103 h 293"/>
                <a:gd name="T44" fmla="*/ 298 w 680"/>
                <a:gd name="T45" fmla="*/ 202 h 293"/>
                <a:gd name="T46" fmla="*/ 361 w 680"/>
                <a:gd name="T47" fmla="*/ 264 h 293"/>
                <a:gd name="T48" fmla="*/ 313 w 680"/>
                <a:gd name="T49" fmla="*/ 172 h 293"/>
                <a:gd name="T50" fmla="*/ 443 w 680"/>
                <a:gd name="T51" fmla="*/ 83 h 293"/>
                <a:gd name="T52" fmla="*/ 364 w 680"/>
                <a:gd name="T53" fmla="*/ 184 h 293"/>
                <a:gd name="T54" fmla="*/ 399 w 680"/>
                <a:gd name="T55" fmla="*/ 155 h 293"/>
                <a:gd name="T56" fmla="*/ 358 w 680"/>
                <a:gd name="T57" fmla="*/ 180 h 293"/>
                <a:gd name="T58" fmla="*/ 430 w 680"/>
                <a:gd name="T59" fmla="*/ 184 h 293"/>
                <a:gd name="T60" fmla="*/ 436 w 680"/>
                <a:gd name="T61" fmla="*/ 180 h 293"/>
                <a:gd name="T62" fmla="*/ 469 w 680"/>
                <a:gd name="T63" fmla="*/ 199 h 293"/>
                <a:gd name="T64" fmla="*/ 518 w 680"/>
                <a:gd name="T65" fmla="*/ 271 h 293"/>
                <a:gd name="T66" fmla="*/ 522 w 680"/>
                <a:gd name="T67" fmla="*/ 268 h 293"/>
                <a:gd name="T68" fmla="*/ 480 w 680"/>
                <a:gd name="T69" fmla="*/ 199 h 293"/>
                <a:gd name="T70" fmla="*/ 548 w 680"/>
                <a:gd name="T71" fmla="*/ 166 h 293"/>
                <a:gd name="T72" fmla="*/ 585 w 680"/>
                <a:gd name="T73" fmla="*/ 189 h 293"/>
                <a:gd name="T74" fmla="*/ 586 w 680"/>
                <a:gd name="T75" fmla="*/ 184 h 293"/>
                <a:gd name="T76" fmla="*/ 586 w 680"/>
                <a:gd name="T77" fmla="*/ 135 h 293"/>
                <a:gd name="T78" fmla="*/ 593 w 680"/>
                <a:gd name="T79" fmla="*/ 135 h 293"/>
                <a:gd name="T80" fmla="*/ 639 w 680"/>
                <a:gd name="T81" fmla="*/ 165 h 293"/>
                <a:gd name="T82" fmla="*/ 593 w 680"/>
                <a:gd name="T83" fmla="*/ 258 h 293"/>
                <a:gd name="T84" fmla="*/ 592 w 680"/>
                <a:gd name="T85" fmla="*/ 270 h 293"/>
                <a:gd name="T86" fmla="*/ 675 w 680"/>
                <a:gd name="T87" fmla="*/ 169 h 293"/>
                <a:gd name="T88" fmla="*/ 671 w 680"/>
                <a:gd name="T89" fmla="*/ 163 h 293"/>
                <a:gd name="T90" fmla="*/ 585 w 680"/>
                <a:gd name="T91" fmla="*/ 134 h 293"/>
                <a:gd name="T92" fmla="*/ 541 w 680"/>
                <a:gd name="T93" fmla="*/ 159 h 293"/>
                <a:gd name="T94" fmla="*/ 519 w 680"/>
                <a:gd name="T95" fmla="*/ 102 h 293"/>
                <a:gd name="T96" fmla="*/ 454 w 680"/>
                <a:gd name="T97" fmla="*/ 75 h 293"/>
                <a:gd name="T98" fmla="*/ 277 w 680"/>
                <a:gd name="T99" fmla="*/ 88 h 293"/>
                <a:gd name="T100" fmla="*/ 260 w 680"/>
                <a:gd name="T101" fmla="*/ 102 h 293"/>
                <a:gd name="T102" fmla="*/ 245 w 680"/>
                <a:gd name="T103" fmla="*/ 146 h 293"/>
                <a:gd name="T104" fmla="*/ 211 w 680"/>
                <a:gd name="T105" fmla="*/ 113 h 293"/>
                <a:gd name="T106" fmla="*/ 211 w 680"/>
                <a:gd name="T107" fmla="*/ 105 h 293"/>
                <a:gd name="T108" fmla="*/ 168 w 680"/>
                <a:gd name="T109" fmla="*/ 55 h 293"/>
                <a:gd name="T110" fmla="*/ 122 w 680"/>
                <a:gd name="T111" fmla="*/ 132 h 293"/>
                <a:gd name="T112" fmla="*/ 115 w 680"/>
                <a:gd name="T113" fmla="*/ 133 h 293"/>
                <a:gd name="T114" fmla="*/ 98 w 680"/>
                <a:gd name="T115" fmla="*/ 90 h 293"/>
                <a:gd name="T116" fmla="*/ 102 w 680"/>
                <a:gd name="T117" fmla="*/ 84 h 293"/>
                <a:gd name="T118" fmla="*/ 13 w 680"/>
                <a:gd name="T119" fmla="*/ 1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0" h="293">
                  <a:moveTo>
                    <a:pt x="305" y="180"/>
                  </a:moveTo>
                  <a:cubicBezTo>
                    <a:pt x="304" y="180"/>
                    <a:pt x="307" y="177"/>
                    <a:pt x="313" y="173"/>
                  </a:cubicBezTo>
                  <a:cubicBezTo>
                    <a:pt x="333" y="207"/>
                    <a:pt x="354" y="243"/>
                    <a:pt x="355" y="247"/>
                  </a:cubicBezTo>
                  <a:cubicBezTo>
                    <a:pt x="350" y="244"/>
                    <a:pt x="302" y="199"/>
                    <a:pt x="304" y="197"/>
                  </a:cubicBezTo>
                  <a:cubicBezTo>
                    <a:pt x="304" y="197"/>
                    <a:pt x="304" y="197"/>
                    <a:pt x="304" y="197"/>
                  </a:cubicBezTo>
                  <a:cubicBezTo>
                    <a:pt x="307" y="193"/>
                    <a:pt x="308" y="187"/>
                    <a:pt x="305" y="182"/>
                  </a:cubicBezTo>
                  <a:cubicBezTo>
                    <a:pt x="305" y="181"/>
                    <a:pt x="305" y="181"/>
                    <a:pt x="305" y="180"/>
                  </a:cubicBezTo>
                  <a:cubicBezTo>
                    <a:pt x="305" y="180"/>
                    <a:pt x="305" y="180"/>
                    <a:pt x="305" y="180"/>
                  </a:cubicBezTo>
                  <a:moveTo>
                    <a:pt x="473" y="198"/>
                  </a:moveTo>
                  <a:cubicBezTo>
                    <a:pt x="472" y="198"/>
                    <a:pt x="469" y="187"/>
                    <a:pt x="465" y="171"/>
                  </a:cubicBezTo>
                  <a:cubicBezTo>
                    <a:pt x="473" y="170"/>
                    <a:pt x="481" y="169"/>
                    <a:pt x="489" y="168"/>
                  </a:cubicBezTo>
                  <a:cubicBezTo>
                    <a:pt x="483" y="184"/>
                    <a:pt x="477" y="198"/>
                    <a:pt x="476" y="198"/>
                  </a:cubicBezTo>
                  <a:cubicBezTo>
                    <a:pt x="476" y="198"/>
                    <a:pt x="476" y="198"/>
                    <a:pt x="476" y="198"/>
                  </a:cubicBezTo>
                  <a:cubicBezTo>
                    <a:pt x="476" y="198"/>
                    <a:pt x="476" y="198"/>
                    <a:pt x="476" y="198"/>
                  </a:cubicBezTo>
                  <a:cubicBezTo>
                    <a:pt x="475" y="198"/>
                    <a:pt x="475" y="198"/>
                    <a:pt x="474" y="198"/>
                  </a:cubicBezTo>
                  <a:cubicBezTo>
                    <a:pt x="473" y="198"/>
                    <a:pt x="473" y="198"/>
                    <a:pt x="473" y="198"/>
                  </a:cubicBezTo>
                  <a:cubicBezTo>
                    <a:pt x="473" y="198"/>
                    <a:pt x="473" y="198"/>
                    <a:pt x="473" y="198"/>
                  </a:cubicBezTo>
                  <a:cubicBezTo>
                    <a:pt x="473" y="198"/>
                    <a:pt x="473" y="198"/>
                    <a:pt x="473" y="198"/>
                  </a:cubicBezTo>
                  <a:moveTo>
                    <a:pt x="632" y="162"/>
                  </a:moveTo>
                  <a:cubicBezTo>
                    <a:pt x="631" y="162"/>
                    <a:pt x="596" y="137"/>
                    <a:pt x="594" y="134"/>
                  </a:cubicBezTo>
                  <a:cubicBezTo>
                    <a:pt x="598" y="135"/>
                    <a:pt x="671" y="163"/>
                    <a:pt x="671" y="164"/>
                  </a:cubicBezTo>
                  <a:cubicBezTo>
                    <a:pt x="671" y="164"/>
                    <a:pt x="671" y="164"/>
                    <a:pt x="671" y="164"/>
                  </a:cubicBezTo>
                  <a:cubicBezTo>
                    <a:pt x="671" y="164"/>
                    <a:pt x="671" y="164"/>
                    <a:pt x="671" y="164"/>
                  </a:cubicBezTo>
                  <a:cubicBezTo>
                    <a:pt x="671" y="164"/>
                    <a:pt x="671" y="164"/>
                    <a:pt x="671" y="164"/>
                  </a:cubicBezTo>
                  <a:cubicBezTo>
                    <a:pt x="671" y="164"/>
                    <a:pt x="663" y="165"/>
                    <a:pt x="655" y="165"/>
                  </a:cubicBezTo>
                  <a:cubicBezTo>
                    <a:pt x="647" y="165"/>
                    <a:pt x="639" y="164"/>
                    <a:pt x="639" y="164"/>
                  </a:cubicBezTo>
                  <a:cubicBezTo>
                    <a:pt x="639" y="164"/>
                    <a:pt x="639" y="164"/>
                    <a:pt x="639" y="164"/>
                  </a:cubicBezTo>
                  <a:cubicBezTo>
                    <a:pt x="639" y="164"/>
                    <a:pt x="639" y="163"/>
                    <a:pt x="639" y="163"/>
                  </a:cubicBezTo>
                  <a:cubicBezTo>
                    <a:pt x="638" y="162"/>
                    <a:pt x="636" y="161"/>
                    <a:pt x="635" y="161"/>
                  </a:cubicBezTo>
                  <a:cubicBezTo>
                    <a:pt x="634" y="161"/>
                    <a:pt x="634" y="161"/>
                    <a:pt x="633" y="161"/>
                  </a:cubicBezTo>
                  <a:cubicBezTo>
                    <a:pt x="633" y="161"/>
                    <a:pt x="632" y="162"/>
                    <a:pt x="632" y="162"/>
                  </a:cubicBezTo>
                  <a:cubicBezTo>
                    <a:pt x="632" y="162"/>
                    <a:pt x="632" y="162"/>
                    <a:pt x="632" y="162"/>
                  </a:cubicBezTo>
                  <a:cubicBezTo>
                    <a:pt x="632" y="162"/>
                    <a:pt x="632" y="162"/>
                    <a:pt x="632" y="162"/>
                  </a:cubicBezTo>
                  <a:moveTo>
                    <a:pt x="137" y="142"/>
                  </a:moveTo>
                  <a:cubicBezTo>
                    <a:pt x="136" y="141"/>
                    <a:pt x="157" y="132"/>
                    <a:pt x="176" y="124"/>
                  </a:cubicBezTo>
                  <a:cubicBezTo>
                    <a:pt x="176" y="130"/>
                    <a:pt x="177" y="134"/>
                    <a:pt x="176" y="134"/>
                  </a:cubicBezTo>
                  <a:cubicBezTo>
                    <a:pt x="176" y="134"/>
                    <a:pt x="176" y="134"/>
                    <a:pt x="176" y="134"/>
                  </a:cubicBezTo>
                  <a:cubicBezTo>
                    <a:pt x="175" y="134"/>
                    <a:pt x="175" y="134"/>
                    <a:pt x="175" y="134"/>
                  </a:cubicBezTo>
                  <a:cubicBezTo>
                    <a:pt x="173" y="136"/>
                    <a:pt x="172" y="138"/>
                    <a:pt x="171" y="140"/>
                  </a:cubicBezTo>
                  <a:cubicBezTo>
                    <a:pt x="171" y="140"/>
                    <a:pt x="171" y="140"/>
                    <a:pt x="171" y="140"/>
                  </a:cubicBezTo>
                  <a:cubicBezTo>
                    <a:pt x="171" y="141"/>
                    <a:pt x="152" y="143"/>
                    <a:pt x="143" y="143"/>
                  </a:cubicBezTo>
                  <a:cubicBezTo>
                    <a:pt x="139" y="143"/>
                    <a:pt x="137" y="143"/>
                    <a:pt x="137" y="142"/>
                  </a:cubicBezTo>
                  <a:cubicBezTo>
                    <a:pt x="137" y="142"/>
                    <a:pt x="137" y="142"/>
                    <a:pt x="137" y="142"/>
                  </a:cubicBezTo>
                  <a:cubicBezTo>
                    <a:pt x="137" y="142"/>
                    <a:pt x="137" y="142"/>
                    <a:pt x="137" y="142"/>
                  </a:cubicBezTo>
                  <a:cubicBezTo>
                    <a:pt x="137" y="142"/>
                    <a:pt x="137" y="142"/>
                    <a:pt x="137" y="142"/>
                  </a:cubicBezTo>
                  <a:moveTo>
                    <a:pt x="209" y="112"/>
                  </a:moveTo>
                  <a:cubicBezTo>
                    <a:pt x="209" y="112"/>
                    <a:pt x="209" y="112"/>
                    <a:pt x="209" y="112"/>
                  </a:cubicBezTo>
                  <a:cubicBezTo>
                    <a:pt x="210" y="112"/>
                    <a:pt x="210" y="112"/>
                    <a:pt x="210" y="112"/>
                  </a:cubicBezTo>
                  <a:cubicBezTo>
                    <a:pt x="210" y="112"/>
                    <a:pt x="210" y="112"/>
                    <a:pt x="210" y="112"/>
                  </a:cubicBezTo>
                  <a:cubicBezTo>
                    <a:pt x="210" y="113"/>
                    <a:pt x="185" y="135"/>
                    <a:pt x="183" y="135"/>
                  </a:cubicBezTo>
                  <a:cubicBezTo>
                    <a:pt x="183" y="135"/>
                    <a:pt x="183" y="135"/>
                    <a:pt x="183" y="135"/>
                  </a:cubicBezTo>
                  <a:cubicBezTo>
                    <a:pt x="183" y="135"/>
                    <a:pt x="183" y="135"/>
                    <a:pt x="183" y="135"/>
                  </a:cubicBezTo>
                  <a:cubicBezTo>
                    <a:pt x="181" y="134"/>
                    <a:pt x="180" y="134"/>
                    <a:pt x="178" y="134"/>
                  </a:cubicBezTo>
                  <a:cubicBezTo>
                    <a:pt x="178" y="134"/>
                    <a:pt x="178" y="134"/>
                    <a:pt x="178" y="134"/>
                  </a:cubicBezTo>
                  <a:cubicBezTo>
                    <a:pt x="178" y="134"/>
                    <a:pt x="177" y="130"/>
                    <a:pt x="176" y="124"/>
                  </a:cubicBezTo>
                  <a:cubicBezTo>
                    <a:pt x="193" y="118"/>
                    <a:pt x="208" y="112"/>
                    <a:pt x="209" y="112"/>
                  </a:cubicBezTo>
                  <a:cubicBezTo>
                    <a:pt x="209" y="112"/>
                    <a:pt x="209" y="112"/>
                    <a:pt x="209" y="112"/>
                  </a:cubicBezTo>
                  <a:moveTo>
                    <a:pt x="289" y="173"/>
                  </a:moveTo>
                  <a:cubicBezTo>
                    <a:pt x="286" y="173"/>
                    <a:pt x="269" y="109"/>
                    <a:pt x="270" y="102"/>
                  </a:cubicBezTo>
                  <a:cubicBezTo>
                    <a:pt x="273" y="106"/>
                    <a:pt x="292" y="138"/>
                    <a:pt x="312" y="171"/>
                  </a:cubicBezTo>
                  <a:cubicBezTo>
                    <a:pt x="306" y="174"/>
                    <a:pt x="302" y="177"/>
                    <a:pt x="302" y="177"/>
                  </a:cubicBezTo>
                  <a:cubicBezTo>
                    <a:pt x="302" y="177"/>
                    <a:pt x="302" y="177"/>
                    <a:pt x="302" y="177"/>
                  </a:cubicBezTo>
                  <a:cubicBezTo>
                    <a:pt x="302" y="177"/>
                    <a:pt x="302" y="177"/>
                    <a:pt x="302" y="177"/>
                  </a:cubicBezTo>
                  <a:cubicBezTo>
                    <a:pt x="299" y="174"/>
                    <a:pt x="295" y="173"/>
                    <a:pt x="291" y="173"/>
                  </a:cubicBezTo>
                  <a:cubicBezTo>
                    <a:pt x="290" y="173"/>
                    <a:pt x="290" y="173"/>
                    <a:pt x="289" y="173"/>
                  </a:cubicBezTo>
                  <a:cubicBezTo>
                    <a:pt x="289" y="173"/>
                    <a:pt x="289" y="173"/>
                    <a:pt x="289" y="173"/>
                  </a:cubicBezTo>
                  <a:cubicBezTo>
                    <a:pt x="289" y="173"/>
                    <a:pt x="289" y="173"/>
                    <a:pt x="289" y="173"/>
                  </a:cubicBezTo>
                  <a:moveTo>
                    <a:pt x="452" y="78"/>
                  </a:moveTo>
                  <a:cubicBezTo>
                    <a:pt x="452" y="78"/>
                    <a:pt x="452" y="78"/>
                    <a:pt x="453" y="78"/>
                  </a:cubicBezTo>
                  <a:cubicBezTo>
                    <a:pt x="457" y="78"/>
                    <a:pt x="501" y="101"/>
                    <a:pt x="501" y="103"/>
                  </a:cubicBezTo>
                  <a:cubicBezTo>
                    <a:pt x="501" y="103"/>
                    <a:pt x="501" y="103"/>
                    <a:pt x="501" y="103"/>
                  </a:cubicBezTo>
                  <a:cubicBezTo>
                    <a:pt x="500" y="105"/>
                    <a:pt x="500" y="108"/>
                    <a:pt x="501" y="110"/>
                  </a:cubicBezTo>
                  <a:cubicBezTo>
                    <a:pt x="502" y="112"/>
                    <a:pt x="504" y="113"/>
                    <a:pt x="506" y="114"/>
                  </a:cubicBezTo>
                  <a:cubicBezTo>
                    <a:pt x="506" y="114"/>
                    <a:pt x="506" y="114"/>
                    <a:pt x="506" y="114"/>
                  </a:cubicBezTo>
                  <a:cubicBezTo>
                    <a:pt x="507" y="115"/>
                    <a:pt x="497" y="144"/>
                    <a:pt x="489" y="168"/>
                  </a:cubicBezTo>
                  <a:cubicBezTo>
                    <a:pt x="481" y="169"/>
                    <a:pt x="473" y="170"/>
                    <a:pt x="465" y="171"/>
                  </a:cubicBezTo>
                  <a:cubicBezTo>
                    <a:pt x="457" y="137"/>
                    <a:pt x="445" y="83"/>
                    <a:pt x="447" y="82"/>
                  </a:cubicBezTo>
                  <a:cubicBezTo>
                    <a:pt x="447" y="82"/>
                    <a:pt x="447" y="82"/>
                    <a:pt x="447" y="82"/>
                  </a:cubicBezTo>
                  <a:cubicBezTo>
                    <a:pt x="448" y="82"/>
                    <a:pt x="448" y="82"/>
                    <a:pt x="448" y="82"/>
                  </a:cubicBezTo>
                  <a:cubicBezTo>
                    <a:pt x="450" y="81"/>
                    <a:pt x="451" y="80"/>
                    <a:pt x="452" y="78"/>
                  </a:cubicBezTo>
                  <a:cubicBezTo>
                    <a:pt x="452" y="78"/>
                    <a:pt x="452" y="78"/>
                    <a:pt x="452" y="78"/>
                  </a:cubicBezTo>
                  <a:moveTo>
                    <a:pt x="277" y="92"/>
                  </a:moveTo>
                  <a:cubicBezTo>
                    <a:pt x="277" y="90"/>
                    <a:pt x="413" y="74"/>
                    <a:pt x="429" y="74"/>
                  </a:cubicBezTo>
                  <a:cubicBezTo>
                    <a:pt x="431" y="74"/>
                    <a:pt x="431" y="74"/>
                    <a:pt x="431" y="75"/>
                  </a:cubicBezTo>
                  <a:cubicBezTo>
                    <a:pt x="431" y="75"/>
                    <a:pt x="431" y="75"/>
                    <a:pt x="431" y="75"/>
                  </a:cubicBezTo>
                  <a:cubicBezTo>
                    <a:pt x="431" y="75"/>
                    <a:pt x="432" y="76"/>
                    <a:pt x="432" y="76"/>
                  </a:cubicBezTo>
                  <a:cubicBezTo>
                    <a:pt x="432" y="77"/>
                    <a:pt x="432" y="77"/>
                    <a:pt x="432" y="77"/>
                  </a:cubicBezTo>
                  <a:cubicBezTo>
                    <a:pt x="432" y="77"/>
                    <a:pt x="432" y="77"/>
                    <a:pt x="432" y="77"/>
                  </a:cubicBezTo>
                  <a:cubicBezTo>
                    <a:pt x="433" y="79"/>
                    <a:pt x="343" y="149"/>
                    <a:pt x="312" y="170"/>
                  </a:cubicBezTo>
                  <a:cubicBezTo>
                    <a:pt x="291" y="135"/>
                    <a:pt x="272" y="101"/>
                    <a:pt x="272" y="100"/>
                  </a:cubicBezTo>
                  <a:cubicBezTo>
                    <a:pt x="272" y="100"/>
                    <a:pt x="272" y="100"/>
                    <a:pt x="272" y="100"/>
                  </a:cubicBezTo>
                  <a:cubicBezTo>
                    <a:pt x="275" y="98"/>
                    <a:pt x="277" y="95"/>
                    <a:pt x="277" y="92"/>
                  </a:cubicBezTo>
                  <a:cubicBezTo>
                    <a:pt x="277" y="92"/>
                    <a:pt x="277" y="92"/>
                    <a:pt x="277" y="92"/>
                  </a:cubicBezTo>
                  <a:moveTo>
                    <a:pt x="165" y="74"/>
                  </a:moveTo>
                  <a:cubicBezTo>
                    <a:pt x="165" y="74"/>
                    <a:pt x="165" y="74"/>
                    <a:pt x="165" y="74"/>
                  </a:cubicBezTo>
                  <a:cubicBezTo>
                    <a:pt x="166" y="74"/>
                    <a:pt x="167" y="74"/>
                    <a:pt x="168" y="74"/>
                  </a:cubicBezTo>
                  <a:cubicBezTo>
                    <a:pt x="168" y="74"/>
                    <a:pt x="168" y="74"/>
                    <a:pt x="168" y="74"/>
                  </a:cubicBezTo>
                  <a:cubicBezTo>
                    <a:pt x="169" y="74"/>
                    <a:pt x="174" y="107"/>
                    <a:pt x="176" y="124"/>
                  </a:cubicBezTo>
                  <a:cubicBezTo>
                    <a:pt x="158" y="131"/>
                    <a:pt x="139" y="139"/>
                    <a:pt x="135" y="139"/>
                  </a:cubicBezTo>
                  <a:cubicBezTo>
                    <a:pt x="135" y="139"/>
                    <a:pt x="135" y="138"/>
                    <a:pt x="135" y="138"/>
                  </a:cubicBezTo>
                  <a:cubicBezTo>
                    <a:pt x="135" y="138"/>
                    <a:pt x="135" y="138"/>
                    <a:pt x="135" y="138"/>
                  </a:cubicBezTo>
                  <a:cubicBezTo>
                    <a:pt x="134" y="137"/>
                    <a:pt x="133" y="135"/>
                    <a:pt x="131" y="134"/>
                  </a:cubicBezTo>
                  <a:cubicBezTo>
                    <a:pt x="131" y="134"/>
                    <a:pt x="131" y="134"/>
                    <a:pt x="131" y="134"/>
                  </a:cubicBezTo>
                  <a:cubicBezTo>
                    <a:pt x="129" y="133"/>
                    <a:pt x="163" y="74"/>
                    <a:pt x="165" y="74"/>
                  </a:cubicBezTo>
                  <a:cubicBezTo>
                    <a:pt x="165" y="74"/>
                    <a:pt x="165" y="74"/>
                    <a:pt x="165" y="74"/>
                  </a:cubicBezTo>
                  <a:moveTo>
                    <a:pt x="171" y="74"/>
                  </a:moveTo>
                  <a:cubicBezTo>
                    <a:pt x="172" y="74"/>
                    <a:pt x="173" y="73"/>
                    <a:pt x="174" y="72"/>
                  </a:cubicBezTo>
                  <a:cubicBezTo>
                    <a:pt x="174" y="72"/>
                    <a:pt x="174" y="72"/>
                    <a:pt x="174" y="72"/>
                  </a:cubicBezTo>
                  <a:cubicBezTo>
                    <a:pt x="174" y="72"/>
                    <a:pt x="174" y="72"/>
                    <a:pt x="174" y="72"/>
                  </a:cubicBezTo>
                  <a:cubicBezTo>
                    <a:pt x="177" y="72"/>
                    <a:pt x="210" y="106"/>
                    <a:pt x="210" y="107"/>
                  </a:cubicBezTo>
                  <a:cubicBezTo>
                    <a:pt x="210" y="107"/>
                    <a:pt x="210" y="107"/>
                    <a:pt x="210" y="107"/>
                  </a:cubicBezTo>
                  <a:cubicBezTo>
                    <a:pt x="209" y="108"/>
                    <a:pt x="209" y="109"/>
                    <a:pt x="209" y="110"/>
                  </a:cubicBezTo>
                  <a:cubicBezTo>
                    <a:pt x="209" y="110"/>
                    <a:pt x="209" y="110"/>
                    <a:pt x="209" y="110"/>
                  </a:cubicBezTo>
                  <a:cubicBezTo>
                    <a:pt x="209" y="111"/>
                    <a:pt x="193" y="117"/>
                    <a:pt x="176" y="124"/>
                  </a:cubicBezTo>
                  <a:cubicBezTo>
                    <a:pt x="174" y="107"/>
                    <a:pt x="170" y="74"/>
                    <a:pt x="171" y="74"/>
                  </a:cubicBezTo>
                  <a:cubicBezTo>
                    <a:pt x="171" y="74"/>
                    <a:pt x="171" y="74"/>
                    <a:pt x="171" y="74"/>
                  </a:cubicBezTo>
                  <a:moveTo>
                    <a:pt x="8" y="0"/>
                  </a:moveTo>
                  <a:cubicBezTo>
                    <a:pt x="7" y="0"/>
                    <a:pt x="6" y="0"/>
                    <a:pt x="5" y="0"/>
                  </a:cubicBezTo>
                  <a:cubicBezTo>
                    <a:pt x="1" y="2"/>
                    <a:pt x="0" y="6"/>
                    <a:pt x="1" y="9"/>
                  </a:cubicBezTo>
                  <a:cubicBezTo>
                    <a:pt x="3" y="12"/>
                    <a:pt x="5" y="13"/>
                    <a:pt x="8" y="13"/>
                  </a:cubicBezTo>
                  <a:cubicBezTo>
                    <a:pt x="9" y="13"/>
                    <a:pt x="10" y="13"/>
                    <a:pt x="11" y="12"/>
                  </a:cubicBezTo>
                  <a:cubicBezTo>
                    <a:pt x="11" y="12"/>
                    <a:pt x="11" y="12"/>
                    <a:pt x="11" y="12"/>
                  </a:cubicBezTo>
                  <a:cubicBezTo>
                    <a:pt x="11" y="12"/>
                    <a:pt x="11" y="12"/>
                    <a:pt x="11" y="12"/>
                  </a:cubicBezTo>
                  <a:cubicBezTo>
                    <a:pt x="11" y="12"/>
                    <a:pt x="11" y="12"/>
                    <a:pt x="11" y="12"/>
                  </a:cubicBezTo>
                  <a:cubicBezTo>
                    <a:pt x="13" y="12"/>
                    <a:pt x="114" y="134"/>
                    <a:pt x="112" y="136"/>
                  </a:cubicBezTo>
                  <a:cubicBezTo>
                    <a:pt x="112" y="136"/>
                    <a:pt x="112" y="136"/>
                    <a:pt x="112" y="136"/>
                  </a:cubicBezTo>
                  <a:cubicBezTo>
                    <a:pt x="108" y="140"/>
                    <a:pt x="107" y="146"/>
                    <a:pt x="109" y="152"/>
                  </a:cubicBezTo>
                  <a:cubicBezTo>
                    <a:pt x="112" y="157"/>
                    <a:pt x="117" y="160"/>
                    <a:pt x="122" y="160"/>
                  </a:cubicBezTo>
                  <a:cubicBezTo>
                    <a:pt x="125" y="160"/>
                    <a:pt x="127" y="159"/>
                    <a:pt x="129" y="158"/>
                  </a:cubicBezTo>
                  <a:cubicBezTo>
                    <a:pt x="134" y="156"/>
                    <a:pt x="137" y="151"/>
                    <a:pt x="137" y="146"/>
                  </a:cubicBezTo>
                  <a:cubicBezTo>
                    <a:pt x="137" y="146"/>
                    <a:pt x="137" y="146"/>
                    <a:pt x="137" y="146"/>
                  </a:cubicBezTo>
                  <a:cubicBezTo>
                    <a:pt x="137" y="144"/>
                    <a:pt x="160" y="142"/>
                    <a:pt x="168" y="142"/>
                  </a:cubicBezTo>
                  <a:cubicBezTo>
                    <a:pt x="170" y="142"/>
                    <a:pt x="172" y="142"/>
                    <a:pt x="172" y="142"/>
                  </a:cubicBezTo>
                  <a:cubicBezTo>
                    <a:pt x="172" y="142"/>
                    <a:pt x="172" y="142"/>
                    <a:pt x="172" y="142"/>
                  </a:cubicBezTo>
                  <a:cubicBezTo>
                    <a:pt x="172" y="143"/>
                    <a:pt x="172" y="143"/>
                    <a:pt x="172" y="143"/>
                  </a:cubicBezTo>
                  <a:cubicBezTo>
                    <a:pt x="173" y="146"/>
                    <a:pt x="176" y="147"/>
                    <a:pt x="178" y="147"/>
                  </a:cubicBezTo>
                  <a:cubicBezTo>
                    <a:pt x="179" y="147"/>
                    <a:pt x="180" y="147"/>
                    <a:pt x="181" y="146"/>
                  </a:cubicBezTo>
                  <a:cubicBezTo>
                    <a:pt x="183" y="146"/>
                    <a:pt x="184" y="144"/>
                    <a:pt x="185" y="142"/>
                  </a:cubicBezTo>
                  <a:cubicBezTo>
                    <a:pt x="185" y="142"/>
                    <a:pt x="185" y="142"/>
                    <a:pt x="185" y="142"/>
                  </a:cubicBezTo>
                  <a:cubicBezTo>
                    <a:pt x="185" y="142"/>
                    <a:pt x="186" y="142"/>
                    <a:pt x="187" y="142"/>
                  </a:cubicBezTo>
                  <a:cubicBezTo>
                    <a:pt x="197" y="142"/>
                    <a:pt x="245" y="147"/>
                    <a:pt x="245" y="147"/>
                  </a:cubicBezTo>
                  <a:cubicBezTo>
                    <a:pt x="245" y="147"/>
                    <a:pt x="245" y="147"/>
                    <a:pt x="245" y="147"/>
                  </a:cubicBezTo>
                  <a:cubicBezTo>
                    <a:pt x="245" y="148"/>
                    <a:pt x="245" y="148"/>
                    <a:pt x="245" y="149"/>
                  </a:cubicBezTo>
                  <a:cubicBezTo>
                    <a:pt x="246" y="150"/>
                    <a:pt x="247" y="151"/>
                    <a:pt x="249" y="151"/>
                  </a:cubicBezTo>
                  <a:cubicBezTo>
                    <a:pt x="250" y="151"/>
                    <a:pt x="250" y="151"/>
                    <a:pt x="251" y="151"/>
                  </a:cubicBezTo>
                  <a:cubicBezTo>
                    <a:pt x="253" y="150"/>
                    <a:pt x="254" y="147"/>
                    <a:pt x="253" y="145"/>
                  </a:cubicBezTo>
                  <a:cubicBezTo>
                    <a:pt x="252" y="144"/>
                    <a:pt x="251" y="144"/>
                    <a:pt x="251" y="143"/>
                  </a:cubicBezTo>
                  <a:cubicBezTo>
                    <a:pt x="251" y="143"/>
                    <a:pt x="251" y="143"/>
                    <a:pt x="251" y="143"/>
                  </a:cubicBezTo>
                  <a:cubicBezTo>
                    <a:pt x="250" y="143"/>
                    <a:pt x="261" y="103"/>
                    <a:pt x="264" y="103"/>
                  </a:cubicBezTo>
                  <a:cubicBezTo>
                    <a:pt x="264" y="103"/>
                    <a:pt x="264" y="103"/>
                    <a:pt x="264" y="103"/>
                  </a:cubicBezTo>
                  <a:cubicBezTo>
                    <a:pt x="263" y="103"/>
                    <a:pt x="263" y="103"/>
                    <a:pt x="263" y="103"/>
                  </a:cubicBezTo>
                  <a:cubicBezTo>
                    <a:pt x="264" y="103"/>
                    <a:pt x="265" y="103"/>
                    <a:pt x="265" y="103"/>
                  </a:cubicBezTo>
                  <a:cubicBezTo>
                    <a:pt x="265" y="103"/>
                    <a:pt x="266" y="103"/>
                    <a:pt x="266" y="103"/>
                  </a:cubicBezTo>
                  <a:cubicBezTo>
                    <a:pt x="266" y="103"/>
                    <a:pt x="266" y="103"/>
                    <a:pt x="266" y="103"/>
                  </a:cubicBezTo>
                  <a:cubicBezTo>
                    <a:pt x="266" y="103"/>
                    <a:pt x="266" y="103"/>
                    <a:pt x="266" y="103"/>
                  </a:cubicBezTo>
                  <a:cubicBezTo>
                    <a:pt x="269" y="103"/>
                    <a:pt x="288" y="173"/>
                    <a:pt x="285" y="174"/>
                  </a:cubicBezTo>
                  <a:cubicBezTo>
                    <a:pt x="285" y="174"/>
                    <a:pt x="285" y="174"/>
                    <a:pt x="285" y="174"/>
                  </a:cubicBezTo>
                  <a:cubicBezTo>
                    <a:pt x="284" y="174"/>
                    <a:pt x="284" y="174"/>
                    <a:pt x="284" y="174"/>
                  </a:cubicBezTo>
                  <a:cubicBezTo>
                    <a:pt x="276" y="178"/>
                    <a:pt x="273" y="187"/>
                    <a:pt x="277" y="194"/>
                  </a:cubicBezTo>
                  <a:cubicBezTo>
                    <a:pt x="279" y="200"/>
                    <a:pt x="285" y="203"/>
                    <a:pt x="291" y="203"/>
                  </a:cubicBezTo>
                  <a:cubicBezTo>
                    <a:pt x="293" y="203"/>
                    <a:pt x="295" y="203"/>
                    <a:pt x="298" y="202"/>
                  </a:cubicBezTo>
                  <a:cubicBezTo>
                    <a:pt x="299" y="201"/>
                    <a:pt x="300" y="201"/>
                    <a:pt x="300" y="200"/>
                  </a:cubicBezTo>
                  <a:cubicBezTo>
                    <a:pt x="300" y="200"/>
                    <a:pt x="300" y="200"/>
                    <a:pt x="300" y="200"/>
                  </a:cubicBezTo>
                  <a:cubicBezTo>
                    <a:pt x="300" y="200"/>
                    <a:pt x="300" y="200"/>
                    <a:pt x="301" y="200"/>
                  </a:cubicBezTo>
                  <a:cubicBezTo>
                    <a:pt x="305" y="200"/>
                    <a:pt x="354" y="247"/>
                    <a:pt x="353" y="249"/>
                  </a:cubicBezTo>
                  <a:cubicBezTo>
                    <a:pt x="353" y="249"/>
                    <a:pt x="353" y="249"/>
                    <a:pt x="353" y="249"/>
                  </a:cubicBezTo>
                  <a:cubicBezTo>
                    <a:pt x="351" y="252"/>
                    <a:pt x="351" y="255"/>
                    <a:pt x="352" y="258"/>
                  </a:cubicBezTo>
                  <a:cubicBezTo>
                    <a:pt x="354" y="262"/>
                    <a:pt x="357" y="264"/>
                    <a:pt x="361" y="264"/>
                  </a:cubicBezTo>
                  <a:cubicBezTo>
                    <a:pt x="363" y="264"/>
                    <a:pt x="364" y="264"/>
                    <a:pt x="366" y="263"/>
                  </a:cubicBezTo>
                  <a:cubicBezTo>
                    <a:pt x="371" y="261"/>
                    <a:pt x="373" y="255"/>
                    <a:pt x="370" y="250"/>
                  </a:cubicBezTo>
                  <a:cubicBezTo>
                    <a:pt x="369" y="247"/>
                    <a:pt x="365" y="245"/>
                    <a:pt x="361" y="245"/>
                  </a:cubicBezTo>
                  <a:cubicBezTo>
                    <a:pt x="360" y="245"/>
                    <a:pt x="359" y="245"/>
                    <a:pt x="358" y="245"/>
                  </a:cubicBezTo>
                  <a:cubicBezTo>
                    <a:pt x="358" y="245"/>
                    <a:pt x="358" y="245"/>
                    <a:pt x="358" y="245"/>
                  </a:cubicBezTo>
                  <a:cubicBezTo>
                    <a:pt x="358" y="245"/>
                    <a:pt x="358" y="245"/>
                    <a:pt x="358" y="245"/>
                  </a:cubicBezTo>
                  <a:cubicBezTo>
                    <a:pt x="357" y="245"/>
                    <a:pt x="334" y="209"/>
                    <a:pt x="313" y="172"/>
                  </a:cubicBezTo>
                  <a:cubicBezTo>
                    <a:pt x="341" y="149"/>
                    <a:pt x="431" y="80"/>
                    <a:pt x="435" y="80"/>
                  </a:cubicBezTo>
                  <a:cubicBezTo>
                    <a:pt x="435" y="80"/>
                    <a:pt x="435" y="80"/>
                    <a:pt x="435" y="80"/>
                  </a:cubicBezTo>
                  <a:cubicBezTo>
                    <a:pt x="435" y="80"/>
                    <a:pt x="435" y="80"/>
                    <a:pt x="435" y="80"/>
                  </a:cubicBezTo>
                  <a:cubicBezTo>
                    <a:pt x="437" y="82"/>
                    <a:pt x="440" y="83"/>
                    <a:pt x="443" y="83"/>
                  </a:cubicBezTo>
                  <a:cubicBezTo>
                    <a:pt x="443" y="83"/>
                    <a:pt x="443" y="83"/>
                    <a:pt x="443" y="83"/>
                  </a:cubicBezTo>
                  <a:cubicBezTo>
                    <a:pt x="443" y="83"/>
                    <a:pt x="443" y="83"/>
                    <a:pt x="443" y="83"/>
                  </a:cubicBezTo>
                  <a:cubicBezTo>
                    <a:pt x="443" y="83"/>
                    <a:pt x="443" y="83"/>
                    <a:pt x="443" y="83"/>
                  </a:cubicBezTo>
                  <a:cubicBezTo>
                    <a:pt x="445" y="83"/>
                    <a:pt x="458" y="137"/>
                    <a:pt x="465" y="171"/>
                  </a:cubicBezTo>
                  <a:cubicBezTo>
                    <a:pt x="419" y="178"/>
                    <a:pt x="369" y="185"/>
                    <a:pt x="365" y="185"/>
                  </a:cubicBezTo>
                  <a:cubicBezTo>
                    <a:pt x="365" y="185"/>
                    <a:pt x="365" y="185"/>
                    <a:pt x="365" y="185"/>
                  </a:cubicBezTo>
                  <a:cubicBezTo>
                    <a:pt x="365" y="185"/>
                    <a:pt x="365" y="185"/>
                    <a:pt x="365" y="185"/>
                  </a:cubicBezTo>
                  <a:cubicBezTo>
                    <a:pt x="364" y="184"/>
                    <a:pt x="364" y="184"/>
                    <a:pt x="364" y="184"/>
                  </a:cubicBezTo>
                  <a:cubicBezTo>
                    <a:pt x="364" y="184"/>
                    <a:pt x="364" y="184"/>
                    <a:pt x="364" y="184"/>
                  </a:cubicBezTo>
                  <a:cubicBezTo>
                    <a:pt x="364" y="184"/>
                    <a:pt x="364" y="184"/>
                    <a:pt x="364" y="184"/>
                  </a:cubicBezTo>
                  <a:cubicBezTo>
                    <a:pt x="364" y="183"/>
                    <a:pt x="394" y="163"/>
                    <a:pt x="396" y="163"/>
                  </a:cubicBezTo>
                  <a:cubicBezTo>
                    <a:pt x="396" y="163"/>
                    <a:pt x="396" y="163"/>
                    <a:pt x="396" y="163"/>
                  </a:cubicBezTo>
                  <a:cubicBezTo>
                    <a:pt x="396" y="163"/>
                    <a:pt x="396" y="163"/>
                    <a:pt x="396" y="163"/>
                  </a:cubicBezTo>
                  <a:cubicBezTo>
                    <a:pt x="397" y="164"/>
                    <a:pt x="398" y="165"/>
                    <a:pt x="399" y="165"/>
                  </a:cubicBezTo>
                  <a:cubicBezTo>
                    <a:pt x="400" y="165"/>
                    <a:pt x="401" y="164"/>
                    <a:pt x="401" y="164"/>
                  </a:cubicBezTo>
                  <a:cubicBezTo>
                    <a:pt x="404" y="163"/>
                    <a:pt x="405" y="160"/>
                    <a:pt x="404" y="158"/>
                  </a:cubicBezTo>
                  <a:cubicBezTo>
                    <a:pt x="403" y="156"/>
                    <a:pt x="401" y="155"/>
                    <a:pt x="399" y="155"/>
                  </a:cubicBezTo>
                  <a:cubicBezTo>
                    <a:pt x="398" y="155"/>
                    <a:pt x="398" y="156"/>
                    <a:pt x="397" y="156"/>
                  </a:cubicBezTo>
                  <a:cubicBezTo>
                    <a:pt x="395" y="157"/>
                    <a:pt x="394" y="160"/>
                    <a:pt x="395" y="162"/>
                  </a:cubicBezTo>
                  <a:cubicBezTo>
                    <a:pt x="395" y="162"/>
                    <a:pt x="395" y="162"/>
                    <a:pt x="395" y="162"/>
                  </a:cubicBezTo>
                  <a:cubicBezTo>
                    <a:pt x="395" y="163"/>
                    <a:pt x="365" y="182"/>
                    <a:pt x="363" y="182"/>
                  </a:cubicBezTo>
                  <a:cubicBezTo>
                    <a:pt x="363" y="182"/>
                    <a:pt x="363" y="182"/>
                    <a:pt x="363" y="182"/>
                  </a:cubicBezTo>
                  <a:cubicBezTo>
                    <a:pt x="363" y="182"/>
                    <a:pt x="363" y="182"/>
                    <a:pt x="363" y="182"/>
                  </a:cubicBezTo>
                  <a:cubicBezTo>
                    <a:pt x="362" y="181"/>
                    <a:pt x="360" y="180"/>
                    <a:pt x="358" y="180"/>
                  </a:cubicBezTo>
                  <a:cubicBezTo>
                    <a:pt x="357" y="180"/>
                    <a:pt x="356" y="180"/>
                    <a:pt x="355" y="181"/>
                  </a:cubicBezTo>
                  <a:cubicBezTo>
                    <a:pt x="352" y="182"/>
                    <a:pt x="350" y="186"/>
                    <a:pt x="352" y="190"/>
                  </a:cubicBezTo>
                  <a:cubicBezTo>
                    <a:pt x="353" y="192"/>
                    <a:pt x="356" y="193"/>
                    <a:pt x="358" y="193"/>
                  </a:cubicBezTo>
                  <a:cubicBezTo>
                    <a:pt x="359" y="193"/>
                    <a:pt x="360" y="193"/>
                    <a:pt x="361" y="193"/>
                  </a:cubicBezTo>
                  <a:cubicBezTo>
                    <a:pt x="363" y="192"/>
                    <a:pt x="365" y="190"/>
                    <a:pt x="365" y="187"/>
                  </a:cubicBezTo>
                  <a:cubicBezTo>
                    <a:pt x="365" y="188"/>
                    <a:pt x="365" y="188"/>
                    <a:pt x="365" y="188"/>
                  </a:cubicBezTo>
                  <a:cubicBezTo>
                    <a:pt x="365" y="186"/>
                    <a:pt x="417" y="184"/>
                    <a:pt x="430" y="184"/>
                  </a:cubicBezTo>
                  <a:cubicBezTo>
                    <a:pt x="431" y="184"/>
                    <a:pt x="432" y="184"/>
                    <a:pt x="432" y="184"/>
                  </a:cubicBezTo>
                  <a:cubicBezTo>
                    <a:pt x="432" y="184"/>
                    <a:pt x="432" y="184"/>
                    <a:pt x="432" y="184"/>
                  </a:cubicBezTo>
                  <a:cubicBezTo>
                    <a:pt x="433" y="185"/>
                    <a:pt x="433" y="185"/>
                    <a:pt x="433" y="185"/>
                  </a:cubicBezTo>
                  <a:cubicBezTo>
                    <a:pt x="433" y="187"/>
                    <a:pt x="435" y="187"/>
                    <a:pt x="436" y="187"/>
                  </a:cubicBezTo>
                  <a:cubicBezTo>
                    <a:pt x="437" y="187"/>
                    <a:pt x="438" y="187"/>
                    <a:pt x="438" y="187"/>
                  </a:cubicBezTo>
                  <a:cubicBezTo>
                    <a:pt x="440" y="186"/>
                    <a:pt x="441" y="184"/>
                    <a:pt x="440" y="182"/>
                  </a:cubicBezTo>
                  <a:cubicBezTo>
                    <a:pt x="439" y="180"/>
                    <a:pt x="438" y="180"/>
                    <a:pt x="436" y="180"/>
                  </a:cubicBezTo>
                  <a:cubicBezTo>
                    <a:pt x="436" y="180"/>
                    <a:pt x="435" y="180"/>
                    <a:pt x="435" y="180"/>
                  </a:cubicBezTo>
                  <a:cubicBezTo>
                    <a:pt x="433" y="181"/>
                    <a:pt x="432" y="182"/>
                    <a:pt x="432" y="183"/>
                  </a:cubicBezTo>
                  <a:cubicBezTo>
                    <a:pt x="432" y="183"/>
                    <a:pt x="432" y="183"/>
                    <a:pt x="432" y="183"/>
                  </a:cubicBezTo>
                  <a:cubicBezTo>
                    <a:pt x="432" y="184"/>
                    <a:pt x="387" y="186"/>
                    <a:pt x="370" y="186"/>
                  </a:cubicBezTo>
                  <a:cubicBezTo>
                    <a:pt x="370" y="186"/>
                    <a:pt x="370" y="186"/>
                    <a:pt x="370" y="186"/>
                  </a:cubicBezTo>
                  <a:cubicBezTo>
                    <a:pt x="383" y="183"/>
                    <a:pt x="425" y="177"/>
                    <a:pt x="465" y="171"/>
                  </a:cubicBezTo>
                  <a:cubicBezTo>
                    <a:pt x="468" y="187"/>
                    <a:pt x="470" y="198"/>
                    <a:pt x="469" y="199"/>
                  </a:cubicBezTo>
                  <a:cubicBezTo>
                    <a:pt x="469" y="199"/>
                    <a:pt x="469" y="199"/>
                    <a:pt x="469" y="199"/>
                  </a:cubicBezTo>
                  <a:cubicBezTo>
                    <a:pt x="464" y="201"/>
                    <a:pt x="460" y="205"/>
                    <a:pt x="460" y="211"/>
                  </a:cubicBezTo>
                  <a:cubicBezTo>
                    <a:pt x="460" y="218"/>
                    <a:pt x="466" y="224"/>
                    <a:pt x="474" y="224"/>
                  </a:cubicBezTo>
                  <a:cubicBezTo>
                    <a:pt x="476" y="224"/>
                    <a:pt x="478" y="223"/>
                    <a:pt x="480" y="222"/>
                  </a:cubicBezTo>
                  <a:cubicBezTo>
                    <a:pt x="480" y="222"/>
                    <a:pt x="480" y="222"/>
                    <a:pt x="480" y="222"/>
                  </a:cubicBezTo>
                  <a:cubicBezTo>
                    <a:pt x="480" y="222"/>
                    <a:pt x="480" y="222"/>
                    <a:pt x="480" y="222"/>
                  </a:cubicBezTo>
                  <a:cubicBezTo>
                    <a:pt x="483" y="222"/>
                    <a:pt x="520" y="269"/>
                    <a:pt x="518" y="271"/>
                  </a:cubicBezTo>
                  <a:cubicBezTo>
                    <a:pt x="518" y="271"/>
                    <a:pt x="518" y="271"/>
                    <a:pt x="518" y="271"/>
                  </a:cubicBezTo>
                  <a:cubicBezTo>
                    <a:pt x="514" y="275"/>
                    <a:pt x="513" y="281"/>
                    <a:pt x="516" y="286"/>
                  </a:cubicBezTo>
                  <a:cubicBezTo>
                    <a:pt x="518" y="290"/>
                    <a:pt x="523" y="293"/>
                    <a:pt x="528" y="293"/>
                  </a:cubicBezTo>
                  <a:cubicBezTo>
                    <a:pt x="530" y="293"/>
                    <a:pt x="532" y="293"/>
                    <a:pt x="534" y="292"/>
                  </a:cubicBezTo>
                  <a:cubicBezTo>
                    <a:pt x="540" y="289"/>
                    <a:pt x="543" y="281"/>
                    <a:pt x="540" y="275"/>
                  </a:cubicBezTo>
                  <a:cubicBezTo>
                    <a:pt x="538" y="270"/>
                    <a:pt x="533" y="267"/>
                    <a:pt x="528" y="267"/>
                  </a:cubicBezTo>
                  <a:cubicBezTo>
                    <a:pt x="526" y="267"/>
                    <a:pt x="524" y="268"/>
                    <a:pt x="522" y="268"/>
                  </a:cubicBezTo>
                  <a:cubicBezTo>
                    <a:pt x="521" y="269"/>
                    <a:pt x="521" y="269"/>
                    <a:pt x="521" y="269"/>
                  </a:cubicBezTo>
                  <a:cubicBezTo>
                    <a:pt x="522" y="269"/>
                    <a:pt x="522" y="269"/>
                    <a:pt x="522" y="269"/>
                  </a:cubicBezTo>
                  <a:cubicBezTo>
                    <a:pt x="522" y="269"/>
                    <a:pt x="522" y="269"/>
                    <a:pt x="521" y="269"/>
                  </a:cubicBezTo>
                  <a:cubicBezTo>
                    <a:pt x="518" y="269"/>
                    <a:pt x="482" y="222"/>
                    <a:pt x="484" y="220"/>
                  </a:cubicBezTo>
                  <a:cubicBezTo>
                    <a:pt x="483" y="220"/>
                    <a:pt x="483" y="220"/>
                    <a:pt x="483" y="220"/>
                  </a:cubicBezTo>
                  <a:cubicBezTo>
                    <a:pt x="486" y="218"/>
                    <a:pt x="487" y="214"/>
                    <a:pt x="487" y="211"/>
                  </a:cubicBezTo>
                  <a:cubicBezTo>
                    <a:pt x="487" y="206"/>
                    <a:pt x="484" y="201"/>
                    <a:pt x="480" y="199"/>
                  </a:cubicBezTo>
                  <a:cubicBezTo>
                    <a:pt x="480" y="199"/>
                    <a:pt x="480" y="199"/>
                    <a:pt x="480" y="199"/>
                  </a:cubicBezTo>
                  <a:cubicBezTo>
                    <a:pt x="479" y="199"/>
                    <a:pt x="483" y="184"/>
                    <a:pt x="489" y="168"/>
                  </a:cubicBezTo>
                  <a:cubicBezTo>
                    <a:pt x="516" y="164"/>
                    <a:pt x="539" y="161"/>
                    <a:pt x="541" y="161"/>
                  </a:cubicBezTo>
                  <a:cubicBezTo>
                    <a:pt x="542" y="161"/>
                    <a:pt x="542" y="161"/>
                    <a:pt x="542" y="161"/>
                  </a:cubicBezTo>
                  <a:cubicBezTo>
                    <a:pt x="542" y="161"/>
                    <a:pt x="542" y="161"/>
                    <a:pt x="542" y="161"/>
                  </a:cubicBezTo>
                  <a:cubicBezTo>
                    <a:pt x="542" y="162"/>
                    <a:pt x="542" y="162"/>
                    <a:pt x="542" y="162"/>
                  </a:cubicBezTo>
                  <a:cubicBezTo>
                    <a:pt x="543" y="164"/>
                    <a:pt x="546" y="166"/>
                    <a:pt x="548" y="166"/>
                  </a:cubicBezTo>
                  <a:cubicBezTo>
                    <a:pt x="549" y="166"/>
                    <a:pt x="550" y="165"/>
                    <a:pt x="551" y="165"/>
                  </a:cubicBezTo>
                  <a:cubicBezTo>
                    <a:pt x="552" y="165"/>
                    <a:pt x="553" y="164"/>
                    <a:pt x="553" y="164"/>
                  </a:cubicBezTo>
                  <a:cubicBezTo>
                    <a:pt x="553" y="164"/>
                    <a:pt x="553" y="164"/>
                    <a:pt x="553" y="164"/>
                  </a:cubicBezTo>
                  <a:cubicBezTo>
                    <a:pt x="553" y="164"/>
                    <a:pt x="553" y="164"/>
                    <a:pt x="553" y="164"/>
                  </a:cubicBezTo>
                  <a:cubicBezTo>
                    <a:pt x="555" y="164"/>
                    <a:pt x="586" y="185"/>
                    <a:pt x="585" y="185"/>
                  </a:cubicBezTo>
                  <a:cubicBezTo>
                    <a:pt x="585" y="185"/>
                    <a:pt x="585" y="185"/>
                    <a:pt x="585" y="185"/>
                  </a:cubicBezTo>
                  <a:cubicBezTo>
                    <a:pt x="584" y="187"/>
                    <a:pt x="584" y="188"/>
                    <a:pt x="585" y="189"/>
                  </a:cubicBezTo>
                  <a:cubicBezTo>
                    <a:pt x="586" y="191"/>
                    <a:pt x="588" y="192"/>
                    <a:pt x="589" y="192"/>
                  </a:cubicBezTo>
                  <a:cubicBezTo>
                    <a:pt x="590" y="192"/>
                    <a:pt x="591" y="192"/>
                    <a:pt x="591" y="192"/>
                  </a:cubicBezTo>
                  <a:cubicBezTo>
                    <a:pt x="594" y="191"/>
                    <a:pt x="595" y="188"/>
                    <a:pt x="594" y="186"/>
                  </a:cubicBezTo>
                  <a:cubicBezTo>
                    <a:pt x="593" y="184"/>
                    <a:pt x="591" y="183"/>
                    <a:pt x="589" y="183"/>
                  </a:cubicBezTo>
                  <a:cubicBezTo>
                    <a:pt x="589" y="183"/>
                    <a:pt x="588" y="183"/>
                    <a:pt x="587" y="183"/>
                  </a:cubicBezTo>
                  <a:cubicBezTo>
                    <a:pt x="587" y="184"/>
                    <a:pt x="586" y="184"/>
                    <a:pt x="586" y="184"/>
                  </a:cubicBezTo>
                  <a:cubicBezTo>
                    <a:pt x="586" y="184"/>
                    <a:pt x="586" y="184"/>
                    <a:pt x="586" y="184"/>
                  </a:cubicBezTo>
                  <a:cubicBezTo>
                    <a:pt x="586" y="184"/>
                    <a:pt x="586" y="184"/>
                    <a:pt x="586" y="184"/>
                  </a:cubicBezTo>
                  <a:cubicBezTo>
                    <a:pt x="584" y="184"/>
                    <a:pt x="554" y="163"/>
                    <a:pt x="554" y="162"/>
                  </a:cubicBezTo>
                  <a:cubicBezTo>
                    <a:pt x="554" y="162"/>
                    <a:pt x="554" y="162"/>
                    <a:pt x="554" y="162"/>
                  </a:cubicBezTo>
                  <a:cubicBezTo>
                    <a:pt x="555" y="160"/>
                    <a:pt x="556" y="158"/>
                    <a:pt x="555" y="156"/>
                  </a:cubicBezTo>
                  <a:cubicBezTo>
                    <a:pt x="555" y="156"/>
                    <a:pt x="555" y="156"/>
                    <a:pt x="555" y="156"/>
                  </a:cubicBezTo>
                  <a:cubicBezTo>
                    <a:pt x="555" y="156"/>
                    <a:pt x="555" y="156"/>
                    <a:pt x="555" y="156"/>
                  </a:cubicBezTo>
                  <a:cubicBezTo>
                    <a:pt x="554" y="155"/>
                    <a:pt x="584" y="135"/>
                    <a:pt x="586" y="135"/>
                  </a:cubicBezTo>
                  <a:cubicBezTo>
                    <a:pt x="586" y="135"/>
                    <a:pt x="586" y="135"/>
                    <a:pt x="586" y="135"/>
                  </a:cubicBezTo>
                  <a:cubicBezTo>
                    <a:pt x="586" y="135"/>
                    <a:pt x="586" y="135"/>
                    <a:pt x="586" y="135"/>
                  </a:cubicBezTo>
                  <a:cubicBezTo>
                    <a:pt x="587" y="136"/>
                    <a:pt x="588" y="137"/>
                    <a:pt x="589" y="137"/>
                  </a:cubicBezTo>
                  <a:cubicBezTo>
                    <a:pt x="590" y="137"/>
                    <a:pt x="591" y="137"/>
                    <a:pt x="591" y="136"/>
                  </a:cubicBezTo>
                  <a:cubicBezTo>
                    <a:pt x="592" y="136"/>
                    <a:pt x="592" y="136"/>
                    <a:pt x="593" y="135"/>
                  </a:cubicBezTo>
                  <a:cubicBezTo>
                    <a:pt x="593" y="135"/>
                    <a:pt x="593" y="135"/>
                    <a:pt x="593" y="135"/>
                  </a:cubicBezTo>
                  <a:cubicBezTo>
                    <a:pt x="593" y="135"/>
                    <a:pt x="593" y="135"/>
                    <a:pt x="593" y="135"/>
                  </a:cubicBezTo>
                  <a:cubicBezTo>
                    <a:pt x="594" y="135"/>
                    <a:pt x="632" y="162"/>
                    <a:pt x="631" y="163"/>
                  </a:cubicBezTo>
                  <a:cubicBezTo>
                    <a:pt x="631" y="163"/>
                    <a:pt x="631" y="163"/>
                    <a:pt x="631" y="163"/>
                  </a:cubicBezTo>
                  <a:cubicBezTo>
                    <a:pt x="631" y="164"/>
                    <a:pt x="631" y="165"/>
                    <a:pt x="631" y="166"/>
                  </a:cubicBezTo>
                  <a:cubicBezTo>
                    <a:pt x="632" y="168"/>
                    <a:pt x="633" y="169"/>
                    <a:pt x="635" y="169"/>
                  </a:cubicBezTo>
                  <a:cubicBezTo>
                    <a:pt x="635" y="169"/>
                    <a:pt x="636" y="168"/>
                    <a:pt x="637" y="168"/>
                  </a:cubicBezTo>
                  <a:cubicBezTo>
                    <a:pt x="638" y="168"/>
                    <a:pt x="639" y="166"/>
                    <a:pt x="639" y="165"/>
                  </a:cubicBezTo>
                  <a:cubicBezTo>
                    <a:pt x="639" y="165"/>
                    <a:pt x="639" y="165"/>
                    <a:pt x="639" y="165"/>
                  </a:cubicBezTo>
                  <a:cubicBezTo>
                    <a:pt x="639" y="165"/>
                    <a:pt x="647" y="165"/>
                    <a:pt x="655" y="165"/>
                  </a:cubicBezTo>
                  <a:cubicBezTo>
                    <a:pt x="663" y="165"/>
                    <a:pt x="671" y="165"/>
                    <a:pt x="671" y="165"/>
                  </a:cubicBezTo>
                  <a:cubicBezTo>
                    <a:pt x="671" y="165"/>
                    <a:pt x="671" y="165"/>
                    <a:pt x="671" y="165"/>
                  </a:cubicBezTo>
                  <a:cubicBezTo>
                    <a:pt x="671" y="166"/>
                    <a:pt x="671" y="166"/>
                    <a:pt x="671" y="166"/>
                  </a:cubicBezTo>
                  <a:cubicBezTo>
                    <a:pt x="671" y="167"/>
                    <a:pt x="672" y="167"/>
                    <a:pt x="672" y="167"/>
                  </a:cubicBezTo>
                  <a:cubicBezTo>
                    <a:pt x="672" y="167"/>
                    <a:pt x="672" y="167"/>
                    <a:pt x="672" y="167"/>
                  </a:cubicBezTo>
                  <a:cubicBezTo>
                    <a:pt x="672" y="168"/>
                    <a:pt x="595" y="258"/>
                    <a:pt x="593" y="258"/>
                  </a:cubicBezTo>
                  <a:cubicBezTo>
                    <a:pt x="593" y="258"/>
                    <a:pt x="593" y="258"/>
                    <a:pt x="593" y="258"/>
                  </a:cubicBezTo>
                  <a:cubicBezTo>
                    <a:pt x="593" y="258"/>
                    <a:pt x="593" y="258"/>
                    <a:pt x="593" y="258"/>
                  </a:cubicBezTo>
                  <a:cubicBezTo>
                    <a:pt x="592" y="258"/>
                    <a:pt x="591" y="257"/>
                    <a:pt x="589" y="257"/>
                  </a:cubicBezTo>
                  <a:cubicBezTo>
                    <a:pt x="588" y="257"/>
                    <a:pt x="587" y="258"/>
                    <a:pt x="586" y="258"/>
                  </a:cubicBezTo>
                  <a:cubicBezTo>
                    <a:pt x="583" y="260"/>
                    <a:pt x="582" y="264"/>
                    <a:pt x="583" y="267"/>
                  </a:cubicBezTo>
                  <a:cubicBezTo>
                    <a:pt x="584" y="269"/>
                    <a:pt x="587" y="271"/>
                    <a:pt x="589" y="271"/>
                  </a:cubicBezTo>
                  <a:cubicBezTo>
                    <a:pt x="590" y="271"/>
                    <a:pt x="591" y="270"/>
                    <a:pt x="592" y="270"/>
                  </a:cubicBezTo>
                  <a:cubicBezTo>
                    <a:pt x="596" y="268"/>
                    <a:pt x="597" y="264"/>
                    <a:pt x="596" y="261"/>
                  </a:cubicBezTo>
                  <a:cubicBezTo>
                    <a:pt x="595" y="261"/>
                    <a:pt x="595" y="260"/>
                    <a:pt x="595" y="260"/>
                  </a:cubicBezTo>
                  <a:cubicBezTo>
                    <a:pt x="595" y="260"/>
                    <a:pt x="595" y="260"/>
                    <a:pt x="595" y="260"/>
                  </a:cubicBezTo>
                  <a:cubicBezTo>
                    <a:pt x="594" y="259"/>
                    <a:pt x="672" y="168"/>
                    <a:pt x="673" y="168"/>
                  </a:cubicBezTo>
                  <a:cubicBezTo>
                    <a:pt x="673" y="168"/>
                    <a:pt x="673" y="168"/>
                    <a:pt x="673" y="168"/>
                  </a:cubicBezTo>
                  <a:cubicBezTo>
                    <a:pt x="673" y="168"/>
                    <a:pt x="673" y="168"/>
                    <a:pt x="673" y="168"/>
                  </a:cubicBezTo>
                  <a:cubicBezTo>
                    <a:pt x="673" y="168"/>
                    <a:pt x="674" y="169"/>
                    <a:pt x="675" y="169"/>
                  </a:cubicBezTo>
                  <a:cubicBezTo>
                    <a:pt x="675" y="169"/>
                    <a:pt x="676" y="168"/>
                    <a:pt x="677" y="168"/>
                  </a:cubicBezTo>
                  <a:cubicBezTo>
                    <a:pt x="679" y="167"/>
                    <a:pt x="680" y="165"/>
                    <a:pt x="679" y="163"/>
                  </a:cubicBezTo>
                  <a:cubicBezTo>
                    <a:pt x="678" y="162"/>
                    <a:pt x="676" y="161"/>
                    <a:pt x="675" y="161"/>
                  </a:cubicBezTo>
                  <a:cubicBezTo>
                    <a:pt x="674" y="161"/>
                    <a:pt x="674" y="161"/>
                    <a:pt x="673" y="161"/>
                  </a:cubicBezTo>
                  <a:cubicBezTo>
                    <a:pt x="672" y="161"/>
                    <a:pt x="672" y="162"/>
                    <a:pt x="671" y="163"/>
                  </a:cubicBezTo>
                  <a:cubicBezTo>
                    <a:pt x="671" y="163"/>
                    <a:pt x="671" y="163"/>
                    <a:pt x="671" y="163"/>
                  </a:cubicBezTo>
                  <a:cubicBezTo>
                    <a:pt x="671" y="163"/>
                    <a:pt x="671" y="163"/>
                    <a:pt x="671" y="163"/>
                  </a:cubicBezTo>
                  <a:cubicBezTo>
                    <a:pt x="669" y="163"/>
                    <a:pt x="594" y="134"/>
                    <a:pt x="594" y="133"/>
                  </a:cubicBezTo>
                  <a:cubicBezTo>
                    <a:pt x="594" y="133"/>
                    <a:pt x="594" y="133"/>
                    <a:pt x="594" y="133"/>
                  </a:cubicBezTo>
                  <a:cubicBezTo>
                    <a:pt x="594" y="132"/>
                    <a:pt x="594" y="131"/>
                    <a:pt x="594" y="130"/>
                  </a:cubicBezTo>
                  <a:cubicBezTo>
                    <a:pt x="593" y="129"/>
                    <a:pt x="591" y="128"/>
                    <a:pt x="589" y="128"/>
                  </a:cubicBezTo>
                  <a:cubicBezTo>
                    <a:pt x="589" y="128"/>
                    <a:pt x="588" y="128"/>
                    <a:pt x="587" y="128"/>
                  </a:cubicBezTo>
                  <a:cubicBezTo>
                    <a:pt x="585" y="129"/>
                    <a:pt x="584" y="132"/>
                    <a:pt x="585" y="134"/>
                  </a:cubicBezTo>
                  <a:cubicBezTo>
                    <a:pt x="585" y="134"/>
                    <a:pt x="585" y="134"/>
                    <a:pt x="585" y="134"/>
                  </a:cubicBezTo>
                  <a:cubicBezTo>
                    <a:pt x="585" y="135"/>
                    <a:pt x="556" y="154"/>
                    <a:pt x="553" y="154"/>
                  </a:cubicBezTo>
                  <a:cubicBezTo>
                    <a:pt x="553" y="154"/>
                    <a:pt x="553" y="154"/>
                    <a:pt x="553" y="154"/>
                  </a:cubicBezTo>
                  <a:cubicBezTo>
                    <a:pt x="553" y="154"/>
                    <a:pt x="553" y="154"/>
                    <a:pt x="553" y="154"/>
                  </a:cubicBezTo>
                  <a:cubicBezTo>
                    <a:pt x="552" y="153"/>
                    <a:pt x="550" y="152"/>
                    <a:pt x="548" y="152"/>
                  </a:cubicBezTo>
                  <a:cubicBezTo>
                    <a:pt x="547" y="152"/>
                    <a:pt x="546" y="153"/>
                    <a:pt x="545" y="153"/>
                  </a:cubicBezTo>
                  <a:cubicBezTo>
                    <a:pt x="543" y="154"/>
                    <a:pt x="541" y="156"/>
                    <a:pt x="541" y="159"/>
                  </a:cubicBezTo>
                  <a:cubicBezTo>
                    <a:pt x="541" y="159"/>
                    <a:pt x="541" y="159"/>
                    <a:pt x="541" y="159"/>
                  </a:cubicBezTo>
                  <a:cubicBezTo>
                    <a:pt x="541" y="159"/>
                    <a:pt x="518" y="163"/>
                    <a:pt x="489" y="167"/>
                  </a:cubicBezTo>
                  <a:cubicBezTo>
                    <a:pt x="497" y="144"/>
                    <a:pt x="507" y="115"/>
                    <a:pt x="509" y="115"/>
                  </a:cubicBezTo>
                  <a:cubicBezTo>
                    <a:pt x="509" y="115"/>
                    <a:pt x="509" y="115"/>
                    <a:pt x="509" y="115"/>
                  </a:cubicBezTo>
                  <a:cubicBezTo>
                    <a:pt x="509" y="115"/>
                    <a:pt x="509" y="115"/>
                    <a:pt x="509" y="115"/>
                  </a:cubicBezTo>
                  <a:cubicBezTo>
                    <a:pt x="509" y="115"/>
                    <a:pt x="510" y="115"/>
                    <a:pt x="510" y="115"/>
                  </a:cubicBezTo>
                  <a:cubicBezTo>
                    <a:pt x="512" y="115"/>
                    <a:pt x="513" y="115"/>
                    <a:pt x="515" y="115"/>
                  </a:cubicBezTo>
                  <a:cubicBezTo>
                    <a:pt x="520" y="112"/>
                    <a:pt x="522" y="107"/>
                    <a:pt x="519" y="102"/>
                  </a:cubicBezTo>
                  <a:cubicBezTo>
                    <a:pt x="518" y="98"/>
                    <a:pt x="514" y="96"/>
                    <a:pt x="510" y="96"/>
                  </a:cubicBezTo>
                  <a:cubicBezTo>
                    <a:pt x="509" y="96"/>
                    <a:pt x="507" y="97"/>
                    <a:pt x="506" y="97"/>
                  </a:cubicBezTo>
                  <a:cubicBezTo>
                    <a:pt x="504" y="98"/>
                    <a:pt x="503" y="99"/>
                    <a:pt x="502" y="100"/>
                  </a:cubicBezTo>
                  <a:cubicBezTo>
                    <a:pt x="502" y="100"/>
                    <a:pt x="502" y="100"/>
                    <a:pt x="502" y="100"/>
                  </a:cubicBezTo>
                  <a:cubicBezTo>
                    <a:pt x="502" y="100"/>
                    <a:pt x="502" y="100"/>
                    <a:pt x="502" y="100"/>
                  </a:cubicBezTo>
                  <a:cubicBezTo>
                    <a:pt x="498" y="100"/>
                    <a:pt x="453" y="77"/>
                    <a:pt x="454" y="75"/>
                  </a:cubicBezTo>
                  <a:cubicBezTo>
                    <a:pt x="454" y="75"/>
                    <a:pt x="454" y="75"/>
                    <a:pt x="454" y="75"/>
                  </a:cubicBezTo>
                  <a:cubicBezTo>
                    <a:pt x="455" y="73"/>
                    <a:pt x="455" y="69"/>
                    <a:pt x="453" y="67"/>
                  </a:cubicBezTo>
                  <a:cubicBezTo>
                    <a:pt x="451" y="62"/>
                    <a:pt x="447" y="60"/>
                    <a:pt x="443" y="60"/>
                  </a:cubicBezTo>
                  <a:cubicBezTo>
                    <a:pt x="441" y="60"/>
                    <a:pt x="439" y="60"/>
                    <a:pt x="438" y="61"/>
                  </a:cubicBezTo>
                  <a:cubicBezTo>
                    <a:pt x="433" y="63"/>
                    <a:pt x="431" y="67"/>
                    <a:pt x="431" y="71"/>
                  </a:cubicBezTo>
                  <a:cubicBezTo>
                    <a:pt x="431" y="71"/>
                    <a:pt x="431" y="71"/>
                    <a:pt x="431" y="71"/>
                  </a:cubicBezTo>
                  <a:cubicBezTo>
                    <a:pt x="431" y="73"/>
                    <a:pt x="295" y="88"/>
                    <a:pt x="278" y="88"/>
                  </a:cubicBezTo>
                  <a:cubicBezTo>
                    <a:pt x="277" y="88"/>
                    <a:pt x="277" y="88"/>
                    <a:pt x="277" y="88"/>
                  </a:cubicBezTo>
                  <a:cubicBezTo>
                    <a:pt x="277" y="88"/>
                    <a:pt x="277" y="88"/>
                    <a:pt x="277" y="88"/>
                  </a:cubicBezTo>
                  <a:cubicBezTo>
                    <a:pt x="276" y="88"/>
                    <a:pt x="276" y="87"/>
                    <a:pt x="276" y="86"/>
                  </a:cubicBezTo>
                  <a:cubicBezTo>
                    <a:pt x="274" y="82"/>
                    <a:pt x="270" y="80"/>
                    <a:pt x="265" y="80"/>
                  </a:cubicBezTo>
                  <a:cubicBezTo>
                    <a:pt x="263" y="80"/>
                    <a:pt x="262" y="80"/>
                    <a:pt x="260" y="81"/>
                  </a:cubicBezTo>
                  <a:cubicBezTo>
                    <a:pt x="254" y="84"/>
                    <a:pt x="251" y="90"/>
                    <a:pt x="254" y="96"/>
                  </a:cubicBezTo>
                  <a:cubicBezTo>
                    <a:pt x="256" y="99"/>
                    <a:pt x="258" y="101"/>
                    <a:pt x="260" y="102"/>
                  </a:cubicBezTo>
                  <a:cubicBezTo>
                    <a:pt x="260" y="102"/>
                    <a:pt x="260" y="102"/>
                    <a:pt x="260" y="102"/>
                  </a:cubicBezTo>
                  <a:cubicBezTo>
                    <a:pt x="262" y="103"/>
                    <a:pt x="250" y="143"/>
                    <a:pt x="249" y="143"/>
                  </a:cubicBezTo>
                  <a:cubicBezTo>
                    <a:pt x="249" y="143"/>
                    <a:pt x="249" y="143"/>
                    <a:pt x="249" y="143"/>
                  </a:cubicBezTo>
                  <a:cubicBezTo>
                    <a:pt x="249" y="143"/>
                    <a:pt x="249" y="143"/>
                    <a:pt x="249" y="143"/>
                  </a:cubicBezTo>
                  <a:cubicBezTo>
                    <a:pt x="249" y="143"/>
                    <a:pt x="249" y="143"/>
                    <a:pt x="249" y="143"/>
                  </a:cubicBezTo>
                  <a:cubicBezTo>
                    <a:pt x="248" y="143"/>
                    <a:pt x="248" y="143"/>
                    <a:pt x="247" y="143"/>
                  </a:cubicBezTo>
                  <a:cubicBezTo>
                    <a:pt x="246" y="144"/>
                    <a:pt x="245" y="145"/>
                    <a:pt x="245" y="146"/>
                  </a:cubicBezTo>
                  <a:cubicBezTo>
                    <a:pt x="245" y="146"/>
                    <a:pt x="245" y="146"/>
                    <a:pt x="245" y="146"/>
                  </a:cubicBezTo>
                  <a:cubicBezTo>
                    <a:pt x="245" y="146"/>
                    <a:pt x="245" y="146"/>
                    <a:pt x="244" y="146"/>
                  </a:cubicBezTo>
                  <a:cubicBezTo>
                    <a:pt x="237" y="146"/>
                    <a:pt x="185" y="141"/>
                    <a:pt x="185" y="140"/>
                  </a:cubicBezTo>
                  <a:cubicBezTo>
                    <a:pt x="185" y="140"/>
                    <a:pt x="185" y="140"/>
                    <a:pt x="185" y="140"/>
                  </a:cubicBezTo>
                  <a:cubicBezTo>
                    <a:pt x="185" y="139"/>
                    <a:pt x="185" y="138"/>
                    <a:pt x="184" y="138"/>
                  </a:cubicBezTo>
                  <a:cubicBezTo>
                    <a:pt x="184" y="137"/>
                    <a:pt x="184" y="137"/>
                    <a:pt x="184" y="137"/>
                  </a:cubicBezTo>
                  <a:cubicBezTo>
                    <a:pt x="184" y="137"/>
                    <a:pt x="184" y="137"/>
                    <a:pt x="184" y="137"/>
                  </a:cubicBezTo>
                  <a:cubicBezTo>
                    <a:pt x="183" y="136"/>
                    <a:pt x="209" y="113"/>
                    <a:pt x="211" y="113"/>
                  </a:cubicBezTo>
                  <a:cubicBezTo>
                    <a:pt x="211" y="113"/>
                    <a:pt x="211" y="113"/>
                    <a:pt x="211" y="113"/>
                  </a:cubicBezTo>
                  <a:cubicBezTo>
                    <a:pt x="210" y="113"/>
                    <a:pt x="210" y="113"/>
                    <a:pt x="210" y="113"/>
                  </a:cubicBezTo>
                  <a:cubicBezTo>
                    <a:pt x="211" y="114"/>
                    <a:pt x="212" y="114"/>
                    <a:pt x="214" y="114"/>
                  </a:cubicBezTo>
                  <a:cubicBezTo>
                    <a:pt x="214" y="114"/>
                    <a:pt x="215" y="114"/>
                    <a:pt x="216" y="114"/>
                  </a:cubicBezTo>
                  <a:cubicBezTo>
                    <a:pt x="218" y="113"/>
                    <a:pt x="219" y="110"/>
                    <a:pt x="218" y="107"/>
                  </a:cubicBezTo>
                  <a:cubicBezTo>
                    <a:pt x="217" y="106"/>
                    <a:pt x="215" y="105"/>
                    <a:pt x="214" y="105"/>
                  </a:cubicBezTo>
                  <a:cubicBezTo>
                    <a:pt x="213" y="105"/>
                    <a:pt x="212" y="105"/>
                    <a:pt x="211" y="105"/>
                  </a:cubicBezTo>
                  <a:cubicBezTo>
                    <a:pt x="211" y="106"/>
                    <a:pt x="211" y="106"/>
                    <a:pt x="211" y="106"/>
                  </a:cubicBezTo>
                  <a:cubicBezTo>
                    <a:pt x="211" y="106"/>
                    <a:pt x="211" y="106"/>
                    <a:pt x="211" y="106"/>
                  </a:cubicBezTo>
                  <a:cubicBezTo>
                    <a:pt x="211" y="106"/>
                    <a:pt x="211" y="106"/>
                    <a:pt x="211" y="106"/>
                  </a:cubicBezTo>
                  <a:cubicBezTo>
                    <a:pt x="209" y="106"/>
                    <a:pt x="175" y="72"/>
                    <a:pt x="176" y="70"/>
                  </a:cubicBezTo>
                  <a:cubicBezTo>
                    <a:pt x="176" y="70"/>
                    <a:pt x="176" y="70"/>
                    <a:pt x="176" y="70"/>
                  </a:cubicBezTo>
                  <a:cubicBezTo>
                    <a:pt x="177" y="69"/>
                    <a:pt x="178" y="67"/>
                    <a:pt x="178" y="65"/>
                  </a:cubicBezTo>
                  <a:cubicBezTo>
                    <a:pt x="178" y="59"/>
                    <a:pt x="174" y="55"/>
                    <a:pt x="168" y="55"/>
                  </a:cubicBezTo>
                  <a:cubicBezTo>
                    <a:pt x="163" y="55"/>
                    <a:pt x="158" y="59"/>
                    <a:pt x="158" y="65"/>
                  </a:cubicBezTo>
                  <a:cubicBezTo>
                    <a:pt x="158" y="68"/>
                    <a:pt x="160" y="70"/>
                    <a:pt x="162" y="72"/>
                  </a:cubicBezTo>
                  <a:cubicBezTo>
                    <a:pt x="162" y="72"/>
                    <a:pt x="162" y="72"/>
                    <a:pt x="162" y="72"/>
                  </a:cubicBezTo>
                  <a:cubicBezTo>
                    <a:pt x="164" y="73"/>
                    <a:pt x="131" y="132"/>
                    <a:pt x="127" y="132"/>
                  </a:cubicBezTo>
                  <a:cubicBezTo>
                    <a:pt x="127" y="132"/>
                    <a:pt x="127" y="132"/>
                    <a:pt x="127" y="132"/>
                  </a:cubicBezTo>
                  <a:cubicBezTo>
                    <a:pt x="127" y="132"/>
                    <a:pt x="127" y="132"/>
                    <a:pt x="127" y="132"/>
                  </a:cubicBezTo>
                  <a:cubicBezTo>
                    <a:pt x="126" y="132"/>
                    <a:pt x="124" y="132"/>
                    <a:pt x="122" y="132"/>
                  </a:cubicBezTo>
                  <a:cubicBezTo>
                    <a:pt x="121" y="132"/>
                    <a:pt x="120" y="132"/>
                    <a:pt x="119" y="132"/>
                  </a:cubicBezTo>
                  <a:cubicBezTo>
                    <a:pt x="119" y="132"/>
                    <a:pt x="119" y="132"/>
                    <a:pt x="119" y="132"/>
                  </a:cubicBezTo>
                  <a:cubicBezTo>
                    <a:pt x="119" y="132"/>
                    <a:pt x="119" y="132"/>
                    <a:pt x="119" y="132"/>
                  </a:cubicBezTo>
                  <a:cubicBezTo>
                    <a:pt x="118" y="132"/>
                    <a:pt x="113" y="122"/>
                    <a:pt x="109" y="112"/>
                  </a:cubicBezTo>
                  <a:cubicBezTo>
                    <a:pt x="113" y="122"/>
                    <a:pt x="117" y="133"/>
                    <a:pt x="115" y="133"/>
                  </a:cubicBezTo>
                  <a:cubicBezTo>
                    <a:pt x="116" y="133"/>
                    <a:pt x="116" y="133"/>
                    <a:pt x="116" y="133"/>
                  </a:cubicBezTo>
                  <a:cubicBezTo>
                    <a:pt x="115" y="133"/>
                    <a:pt x="115" y="133"/>
                    <a:pt x="115" y="133"/>
                  </a:cubicBezTo>
                  <a:cubicBezTo>
                    <a:pt x="115" y="133"/>
                    <a:pt x="115" y="133"/>
                    <a:pt x="115" y="133"/>
                  </a:cubicBezTo>
                  <a:cubicBezTo>
                    <a:pt x="115" y="133"/>
                    <a:pt x="115" y="133"/>
                    <a:pt x="115" y="133"/>
                  </a:cubicBezTo>
                  <a:cubicBezTo>
                    <a:pt x="112" y="133"/>
                    <a:pt x="26" y="30"/>
                    <a:pt x="14" y="13"/>
                  </a:cubicBezTo>
                  <a:cubicBezTo>
                    <a:pt x="28" y="23"/>
                    <a:pt x="95" y="83"/>
                    <a:pt x="95" y="84"/>
                  </a:cubicBezTo>
                  <a:cubicBezTo>
                    <a:pt x="95" y="84"/>
                    <a:pt x="95" y="84"/>
                    <a:pt x="95" y="84"/>
                  </a:cubicBezTo>
                  <a:cubicBezTo>
                    <a:pt x="94" y="85"/>
                    <a:pt x="94" y="86"/>
                    <a:pt x="95" y="88"/>
                  </a:cubicBezTo>
                  <a:cubicBezTo>
                    <a:pt x="95" y="89"/>
                    <a:pt x="97" y="90"/>
                    <a:pt x="98" y="90"/>
                  </a:cubicBezTo>
                  <a:cubicBezTo>
                    <a:pt x="99" y="90"/>
                    <a:pt x="99" y="90"/>
                    <a:pt x="99" y="90"/>
                  </a:cubicBezTo>
                  <a:cubicBezTo>
                    <a:pt x="99" y="90"/>
                    <a:pt x="99" y="90"/>
                    <a:pt x="99" y="90"/>
                  </a:cubicBezTo>
                  <a:cubicBezTo>
                    <a:pt x="99" y="90"/>
                    <a:pt x="99" y="90"/>
                    <a:pt x="99" y="90"/>
                  </a:cubicBezTo>
                  <a:cubicBezTo>
                    <a:pt x="100" y="90"/>
                    <a:pt x="103" y="97"/>
                    <a:pt x="106" y="105"/>
                  </a:cubicBezTo>
                  <a:cubicBezTo>
                    <a:pt x="103" y="97"/>
                    <a:pt x="100" y="90"/>
                    <a:pt x="101" y="90"/>
                  </a:cubicBezTo>
                  <a:cubicBezTo>
                    <a:pt x="100" y="90"/>
                    <a:pt x="100" y="90"/>
                    <a:pt x="100" y="90"/>
                  </a:cubicBezTo>
                  <a:cubicBezTo>
                    <a:pt x="102" y="89"/>
                    <a:pt x="103" y="86"/>
                    <a:pt x="102" y="84"/>
                  </a:cubicBezTo>
                  <a:cubicBezTo>
                    <a:pt x="102" y="83"/>
                    <a:pt x="100" y="82"/>
                    <a:pt x="98" y="82"/>
                  </a:cubicBezTo>
                  <a:cubicBezTo>
                    <a:pt x="98" y="82"/>
                    <a:pt x="97" y="82"/>
                    <a:pt x="97" y="83"/>
                  </a:cubicBezTo>
                  <a:cubicBezTo>
                    <a:pt x="96" y="83"/>
                    <a:pt x="96" y="83"/>
                    <a:pt x="96" y="83"/>
                  </a:cubicBezTo>
                  <a:cubicBezTo>
                    <a:pt x="96" y="83"/>
                    <a:pt x="96" y="83"/>
                    <a:pt x="96" y="83"/>
                  </a:cubicBezTo>
                  <a:cubicBezTo>
                    <a:pt x="96" y="83"/>
                    <a:pt x="96" y="83"/>
                    <a:pt x="96" y="83"/>
                  </a:cubicBezTo>
                  <a:cubicBezTo>
                    <a:pt x="95" y="83"/>
                    <a:pt x="13" y="11"/>
                    <a:pt x="13" y="10"/>
                  </a:cubicBezTo>
                  <a:cubicBezTo>
                    <a:pt x="13" y="10"/>
                    <a:pt x="13" y="10"/>
                    <a:pt x="13" y="10"/>
                  </a:cubicBezTo>
                  <a:cubicBezTo>
                    <a:pt x="15" y="8"/>
                    <a:pt x="15" y="6"/>
                    <a:pt x="14" y="3"/>
                  </a:cubicBezTo>
                  <a:cubicBezTo>
                    <a:pt x="13" y="1"/>
                    <a:pt x="10" y="0"/>
                    <a:pt x="8"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8" name="Freeform 10"/>
            <p:cNvSpPr>
              <a:spLocks noEditPoints="1"/>
            </p:cNvSpPr>
            <p:nvPr/>
          </p:nvSpPr>
          <p:spPr bwMode="auto">
            <a:xfrm>
              <a:off x="6415088" y="4025900"/>
              <a:ext cx="315913" cy="323850"/>
            </a:xfrm>
            <a:custGeom>
              <a:avLst/>
              <a:gdLst>
                <a:gd name="T0" fmla="*/ 14 w 84"/>
                <a:gd name="T1" fmla="*/ 43 h 86"/>
                <a:gd name="T2" fmla="*/ 45 w 84"/>
                <a:gd name="T3" fmla="*/ 13 h 86"/>
                <a:gd name="T4" fmla="*/ 45 w 84"/>
                <a:gd name="T5" fmla="*/ 13 h 86"/>
                <a:gd name="T6" fmla="*/ 45 w 84"/>
                <a:gd name="T7" fmla="*/ 13 h 86"/>
                <a:gd name="T8" fmla="*/ 49 w 84"/>
                <a:gd name="T9" fmla="*/ 14 h 86"/>
                <a:gd name="T10" fmla="*/ 52 w 84"/>
                <a:gd name="T11" fmla="*/ 14 h 86"/>
                <a:gd name="T12" fmla="*/ 52 w 84"/>
                <a:gd name="T13" fmla="*/ 14 h 86"/>
                <a:gd name="T14" fmla="*/ 52 w 84"/>
                <a:gd name="T15" fmla="*/ 14 h 86"/>
                <a:gd name="T16" fmla="*/ 76 w 84"/>
                <a:gd name="T17" fmla="*/ 49 h 86"/>
                <a:gd name="T18" fmla="*/ 76 w 84"/>
                <a:gd name="T19" fmla="*/ 49 h 86"/>
                <a:gd name="T20" fmla="*/ 74 w 84"/>
                <a:gd name="T21" fmla="*/ 53 h 86"/>
                <a:gd name="T22" fmla="*/ 74 w 84"/>
                <a:gd name="T23" fmla="*/ 55 h 86"/>
                <a:gd name="T24" fmla="*/ 74 w 84"/>
                <a:gd name="T25" fmla="*/ 55 h 86"/>
                <a:gd name="T26" fmla="*/ 42 w 84"/>
                <a:gd name="T27" fmla="*/ 80 h 86"/>
                <a:gd name="T28" fmla="*/ 42 w 84"/>
                <a:gd name="T29" fmla="*/ 80 h 86"/>
                <a:gd name="T30" fmla="*/ 42 w 84"/>
                <a:gd name="T31" fmla="*/ 80 h 86"/>
                <a:gd name="T32" fmla="*/ 39 w 84"/>
                <a:gd name="T33" fmla="*/ 79 h 86"/>
                <a:gd name="T34" fmla="*/ 37 w 84"/>
                <a:gd name="T35" fmla="*/ 79 h 86"/>
                <a:gd name="T36" fmla="*/ 37 w 84"/>
                <a:gd name="T37" fmla="*/ 79 h 86"/>
                <a:gd name="T38" fmla="*/ 37 w 84"/>
                <a:gd name="T39" fmla="*/ 79 h 86"/>
                <a:gd name="T40" fmla="*/ 37 w 84"/>
                <a:gd name="T41" fmla="*/ 79 h 86"/>
                <a:gd name="T42" fmla="*/ 14 w 84"/>
                <a:gd name="T43" fmla="*/ 52 h 86"/>
                <a:gd name="T44" fmla="*/ 14 w 84"/>
                <a:gd name="T45" fmla="*/ 52 h 86"/>
                <a:gd name="T46" fmla="*/ 15 w 84"/>
                <a:gd name="T47" fmla="*/ 48 h 86"/>
                <a:gd name="T48" fmla="*/ 14 w 84"/>
                <a:gd name="T49" fmla="*/ 43 h 86"/>
                <a:gd name="T50" fmla="*/ 14 w 84"/>
                <a:gd name="T51" fmla="*/ 43 h 86"/>
                <a:gd name="T52" fmla="*/ 49 w 84"/>
                <a:gd name="T53" fmla="*/ 0 h 86"/>
                <a:gd name="T54" fmla="*/ 46 w 84"/>
                <a:gd name="T55" fmla="*/ 0 h 86"/>
                <a:gd name="T56" fmla="*/ 42 w 84"/>
                <a:gd name="T57" fmla="*/ 10 h 86"/>
                <a:gd name="T58" fmla="*/ 43 w 84"/>
                <a:gd name="T59" fmla="*/ 11 h 86"/>
                <a:gd name="T60" fmla="*/ 43 w 84"/>
                <a:gd name="T61" fmla="*/ 11 h 86"/>
                <a:gd name="T62" fmla="*/ 12 w 84"/>
                <a:gd name="T63" fmla="*/ 42 h 86"/>
                <a:gd name="T64" fmla="*/ 12 w 84"/>
                <a:gd name="T65" fmla="*/ 42 h 86"/>
                <a:gd name="T66" fmla="*/ 12 w 84"/>
                <a:gd name="T67" fmla="*/ 42 h 86"/>
                <a:gd name="T68" fmla="*/ 8 w 84"/>
                <a:gd name="T69" fmla="*/ 40 h 86"/>
                <a:gd name="T70" fmla="*/ 0 w 84"/>
                <a:gd name="T71" fmla="*/ 48 h 86"/>
                <a:gd name="T72" fmla="*/ 8 w 84"/>
                <a:gd name="T73" fmla="*/ 55 h 86"/>
                <a:gd name="T74" fmla="*/ 12 w 84"/>
                <a:gd name="T75" fmla="*/ 54 h 86"/>
                <a:gd name="T76" fmla="*/ 12 w 84"/>
                <a:gd name="T77" fmla="*/ 54 h 86"/>
                <a:gd name="T78" fmla="*/ 12 w 84"/>
                <a:gd name="T79" fmla="*/ 54 h 86"/>
                <a:gd name="T80" fmla="*/ 36 w 84"/>
                <a:gd name="T81" fmla="*/ 80 h 86"/>
                <a:gd name="T82" fmla="*/ 36 w 84"/>
                <a:gd name="T83" fmla="*/ 80 h 86"/>
                <a:gd name="T84" fmla="*/ 35 w 84"/>
                <a:gd name="T85" fmla="*/ 84 h 86"/>
                <a:gd name="T86" fmla="*/ 39 w 84"/>
                <a:gd name="T87" fmla="*/ 86 h 86"/>
                <a:gd name="T88" fmla="*/ 41 w 84"/>
                <a:gd name="T89" fmla="*/ 86 h 86"/>
                <a:gd name="T90" fmla="*/ 43 w 84"/>
                <a:gd name="T91" fmla="*/ 81 h 86"/>
                <a:gd name="T92" fmla="*/ 42 w 84"/>
                <a:gd name="T93" fmla="*/ 81 h 86"/>
                <a:gd name="T94" fmla="*/ 42 w 84"/>
                <a:gd name="T95" fmla="*/ 81 h 86"/>
                <a:gd name="T96" fmla="*/ 75 w 84"/>
                <a:gd name="T97" fmla="*/ 56 h 86"/>
                <a:gd name="T98" fmla="*/ 75 w 84"/>
                <a:gd name="T99" fmla="*/ 56 h 86"/>
                <a:gd name="T100" fmla="*/ 75 w 84"/>
                <a:gd name="T101" fmla="*/ 56 h 86"/>
                <a:gd name="T102" fmla="*/ 79 w 84"/>
                <a:gd name="T103" fmla="*/ 58 h 86"/>
                <a:gd name="T104" fmla="*/ 84 w 84"/>
                <a:gd name="T105" fmla="*/ 53 h 86"/>
                <a:gd name="T106" fmla="*/ 79 w 84"/>
                <a:gd name="T107" fmla="*/ 48 h 86"/>
                <a:gd name="T108" fmla="*/ 77 w 84"/>
                <a:gd name="T109" fmla="*/ 48 h 86"/>
                <a:gd name="T110" fmla="*/ 77 w 84"/>
                <a:gd name="T111" fmla="*/ 48 h 86"/>
                <a:gd name="T112" fmla="*/ 54 w 84"/>
                <a:gd name="T113" fmla="*/ 13 h 86"/>
                <a:gd name="T114" fmla="*/ 54 w 84"/>
                <a:gd name="T115" fmla="*/ 13 h 86"/>
                <a:gd name="T116" fmla="*/ 56 w 84"/>
                <a:gd name="T117" fmla="*/ 4 h 86"/>
                <a:gd name="T118" fmla="*/ 49 w 84"/>
                <a:gd name="T11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6">
                  <a:moveTo>
                    <a:pt x="14" y="43"/>
                  </a:moveTo>
                  <a:cubicBezTo>
                    <a:pt x="13" y="42"/>
                    <a:pt x="43" y="13"/>
                    <a:pt x="45" y="13"/>
                  </a:cubicBezTo>
                  <a:cubicBezTo>
                    <a:pt x="45" y="13"/>
                    <a:pt x="45" y="13"/>
                    <a:pt x="45" y="13"/>
                  </a:cubicBezTo>
                  <a:cubicBezTo>
                    <a:pt x="45" y="13"/>
                    <a:pt x="45" y="13"/>
                    <a:pt x="45" y="13"/>
                  </a:cubicBezTo>
                  <a:cubicBezTo>
                    <a:pt x="46" y="14"/>
                    <a:pt x="48" y="14"/>
                    <a:pt x="49" y="14"/>
                  </a:cubicBezTo>
                  <a:cubicBezTo>
                    <a:pt x="50" y="14"/>
                    <a:pt x="51" y="14"/>
                    <a:pt x="52" y="14"/>
                  </a:cubicBezTo>
                  <a:cubicBezTo>
                    <a:pt x="52" y="14"/>
                    <a:pt x="52" y="14"/>
                    <a:pt x="52" y="14"/>
                  </a:cubicBezTo>
                  <a:cubicBezTo>
                    <a:pt x="52" y="14"/>
                    <a:pt x="52" y="14"/>
                    <a:pt x="52" y="14"/>
                  </a:cubicBezTo>
                  <a:cubicBezTo>
                    <a:pt x="54" y="14"/>
                    <a:pt x="76" y="48"/>
                    <a:pt x="76" y="49"/>
                  </a:cubicBezTo>
                  <a:cubicBezTo>
                    <a:pt x="76" y="49"/>
                    <a:pt x="76" y="49"/>
                    <a:pt x="76" y="49"/>
                  </a:cubicBezTo>
                  <a:cubicBezTo>
                    <a:pt x="75" y="50"/>
                    <a:pt x="74" y="51"/>
                    <a:pt x="74" y="53"/>
                  </a:cubicBezTo>
                  <a:cubicBezTo>
                    <a:pt x="74" y="54"/>
                    <a:pt x="74" y="54"/>
                    <a:pt x="74" y="55"/>
                  </a:cubicBezTo>
                  <a:cubicBezTo>
                    <a:pt x="74" y="55"/>
                    <a:pt x="74" y="55"/>
                    <a:pt x="74" y="55"/>
                  </a:cubicBezTo>
                  <a:cubicBezTo>
                    <a:pt x="75" y="56"/>
                    <a:pt x="43" y="80"/>
                    <a:pt x="42" y="80"/>
                  </a:cubicBezTo>
                  <a:cubicBezTo>
                    <a:pt x="42" y="80"/>
                    <a:pt x="42" y="80"/>
                    <a:pt x="42" y="80"/>
                  </a:cubicBezTo>
                  <a:cubicBezTo>
                    <a:pt x="42" y="80"/>
                    <a:pt x="42" y="80"/>
                    <a:pt x="42" y="80"/>
                  </a:cubicBezTo>
                  <a:cubicBezTo>
                    <a:pt x="41" y="79"/>
                    <a:pt x="40" y="79"/>
                    <a:pt x="39" y="79"/>
                  </a:cubicBezTo>
                  <a:cubicBezTo>
                    <a:pt x="38" y="79"/>
                    <a:pt x="38" y="79"/>
                    <a:pt x="37" y="79"/>
                  </a:cubicBezTo>
                  <a:cubicBezTo>
                    <a:pt x="37" y="79"/>
                    <a:pt x="37" y="79"/>
                    <a:pt x="37" y="79"/>
                  </a:cubicBezTo>
                  <a:cubicBezTo>
                    <a:pt x="37" y="79"/>
                    <a:pt x="37" y="79"/>
                    <a:pt x="37" y="79"/>
                  </a:cubicBezTo>
                  <a:cubicBezTo>
                    <a:pt x="37" y="79"/>
                    <a:pt x="37" y="79"/>
                    <a:pt x="37" y="79"/>
                  </a:cubicBezTo>
                  <a:cubicBezTo>
                    <a:pt x="36" y="79"/>
                    <a:pt x="13" y="54"/>
                    <a:pt x="14" y="52"/>
                  </a:cubicBezTo>
                  <a:cubicBezTo>
                    <a:pt x="14" y="52"/>
                    <a:pt x="14" y="52"/>
                    <a:pt x="14" y="52"/>
                  </a:cubicBezTo>
                  <a:cubicBezTo>
                    <a:pt x="15" y="51"/>
                    <a:pt x="15" y="49"/>
                    <a:pt x="15" y="48"/>
                  </a:cubicBezTo>
                  <a:cubicBezTo>
                    <a:pt x="15" y="46"/>
                    <a:pt x="15" y="44"/>
                    <a:pt x="14" y="43"/>
                  </a:cubicBezTo>
                  <a:cubicBezTo>
                    <a:pt x="14" y="43"/>
                    <a:pt x="14" y="43"/>
                    <a:pt x="14" y="43"/>
                  </a:cubicBezTo>
                  <a:moveTo>
                    <a:pt x="49" y="0"/>
                  </a:moveTo>
                  <a:cubicBezTo>
                    <a:pt x="48" y="0"/>
                    <a:pt x="47" y="0"/>
                    <a:pt x="46" y="0"/>
                  </a:cubicBezTo>
                  <a:cubicBezTo>
                    <a:pt x="42" y="2"/>
                    <a:pt x="41" y="7"/>
                    <a:pt x="42" y="10"/>
                  </a:cubicBezTo>
                  <a:cubicBezTo>
                    <a:pt x="43" y="11"/>
                    <a:pt x="43" y="11"/>
                    <a:pt x="43" y="11"/>
                  </a:cubicBezTo>
                  <a:cubicBezTo>
                    <a:pt x="43" y="11"/>
                    <a:pt x="43" y="11"/>
                    <a:pt x="43" y="11"/>
                  </a:cubicBezTo>
                  <a:cubicBezTo>
                    <a:pt x="44" y="13"/>
                    <a:pt x="14" y="42"/>
                    <a:pt x="12" y="42"/>
                  </a:cubicBezTo>
                  <a:cubicBezTo>
                    <a:pt x="12" y="42"/>
                    <a:pt x="12" y="42"/>
                    <a:pt x="12" y="42"/>
                  </a:cubicBezTo>
                  <a:cubicBezTo>
                    <a:pt x="12" y="42"/>
                    <a:pt x="12" y="42"/>
                    <a:pt x="12" y="42"/>
                  </a:cubicBezTo>
                  <a:cubicBezTo>
                    <a:pt x="11" y="41"/>
                    <a:pt x="9" y="40"/>
                    <a:pt x="8" y="40"/>
                  </a:cubicBezTo>
                  <a:cubicBezTo>
                    <a:pt x="4" y="40"/>
                    <a:pt x="0" y="44"/>
                    <a:pt x="0" y="48"/>
                  </a:cubicBezTo>
                  <a:cubicBezTo>
                    <a:pt x="0" y="52"/>
                    <a:pt x="4" y="55"/>
                    <a:pt x="8" y="55"/>
                  </a:cubicBezTo>
                  <a:cubicBezTo>
                    <a:pt x="9" y="55"/>
                    <a:pt x="11" y="55"/>
                    <a:pt x="12" y="54"/>
                  </a:cubicBezTo>
                  <a:cubicBezTo>
                    <a:pt x="12" y="54"/>
                    <a:pt x="12" y="54"/>
                    <a:pt x="12" y="54"/>
                  </a:cubicBezTo>
                  <a:cubicBezTo>
                    <a:pt x="12" y="54"/>
                    <a:pt x="12" y="54"/>
                    <a:pt x="12" y="54"/>
                  </a:cubicBezTo>
                  <a:cubicBezTo>
                    <a:pt x="14" y="54"/>
                    <a:pt x="36" y="79"/>
                    <a:pt x="36" y="80"/>
                  </a:cubicBezTo>
                  <a:cubicBezTo>
                    <a:pt x="36" y="80"/>
                    <a:pt x="36" y="80"/>
                    <a:pt x="36" y="80"/>
                  </a:cubicBezTo>
                  <a:cubicBezTo>
                    <a:pt x="35" y="81"/>
                    <a:pt x="35" y="83"/>
                    <a:pt x="35" y="84"/>
                  </a:cubicBezTo>
                  <a:cubicBezTo>
                    <a:pt x="36" y="85"/>
                    <a:pt x="37" y="86"/>
                    <a:pt x="39" y="86"/>
                  </a:cubicBezTo>
                  <a:cubicBezTo>
                    <a:pt x="40" y="86"/>
                    <a:pt x="40" y="86"/>
                    <a:pt x="41" y="86"/>
                  </a:cubicBezTo>
                  <a:cubicBezTo>
                    <a:pt x="43" y="85"/>
                    <a:pt x="44" y="83"/>
                    <a:pt x="43" y="81"/>
                  </a:cubicBezTo>
                  <a:cubicBezTo>
                    <a:pt x="42" y="81"/>
                    <a:pt x="42" y="81"/>
                    <a:pt x="42" y="81"/>
                  </a:cubicBezTo>
                  <a:cubicBezTo>
                    <a:pt x="42" y="81"/>
                    <a:pt x="42" y="81"/>
                    <a:pt x="42" y="81"/>
                  </a:cubicBezTo>
                  <a:cubicBezTo>
                    <a:pt x="42" y="80"/>
                    <a:pt x="74" y="56"/>
                    <a:pt x="75" y="56"/>
                  </a:cubicBezTo>
                  <a:cubicBezTo>
                    <a:pt x="75" y="56"/>
                    <a:pt x="75" y="56"/>
                    <a:pt x="75" y="56"/>
                  </a:cubicBezTo>
                  <a:cubicBezTo>
                    <a:pt x="75" y="56"/>
                    <a:pt x="75" y="56"/>
                    <a:pt x="75" y="56"/>
                  </a:cubicBezTo>
                  <a:cubicBezTo>
                    <a:pt x="76" y="57"/>
                    <a:pt x="78" y="58"/>
                    <a:pt x="79" y="58"/>
                  </a:cubicBezTo>
                  <a:cubicBezTo>
                    <a:pt x="82" y="58"/>
                    <a:pt x="84" y="55"/>
                    <a:pt x="84" y="53"/>
                  </a:cubicBezTo>
                  <a:cubicBezTo>
                    <a:pt x="84" y="50"/>
                    <a:pt x="82" y="48"/>
                    <a:pt x="79" y="48"/>
                  </a:cubicBezTo>
                  <a:cubicBezTo>
                    <a:pt x="78" y="48"/>
                    <a:pt x="78" y="48"/>
                    <a:pt x="77" y="48"/>
                  </a:cubicBezTo>
                  <a:cubicBezTo>
                    <a:pt x="77" y="48"/>
                    <a:pt x="77" y="48"/>
                    <a:pt x="77" y="48"/>
                  </a:cubicBezTo>
                  <a:cubicBezTo>
                    <a:pt x="76" y="48"/>
                    <a:pt x="53" y="14"/>
                    <a:pt x="54" y="13"/>
                  </a:cubicBezTo>
                  <a:cubicBezTo>
                    <a:pt x="54" y="13"/>
                    <a:pt x="54" y="13"/>
                    <a:pt x="54" y="13"/>
                  </a:cubicBezTo>
                  <a:cubicBezTo>
                    <a:pt x="57" y="11"/>
                    <a:pt x="58" y="7"/>
                    <a:pt x="56" y="4"/>
                  </a:cubicBezTo>
                  <a:cubicBezTo>
                    <a:pt x="55" y="1"/>
                    <a:pt x="52" y="0"/>
                    <a:pt x="49"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 name="Freeform 11"/>
            <p:cNvSpPr>
              <a:spLocks/>
            </p:cNvSpPr>
            <p:nvPr/>
          </p:nvSpPr>
          <p:spPr bwMode="auto">
            <a:xfrm>
              <a:off x="4856163" y="2439988"/>
              <a:ext cx="87313" cy="74613"/>
            </a:xfrm>
            <a:custGeom>
              <a:avLst/>
              <a:gdLst>
                <a:gd name="T0" fmla="*/ 12 w 23"/>
                <a:gd name="T1" fmla="*/ 0 h 20"/>
                <a:gd name="T2" fmla="*/ 7 w 23"/>
                <a:gd name="T3" fmla="*/ 1 h 20"/>
                <a:gd name="T4" fmla="*/ 3 w 23"/>
                <a:gd name="T5" fmla="*/ 14 h 20"/>
                <a:gd name="T6" fmla="*/ 12 w 23"/>
                <a:gd name="T7" fmla="*/ 20 h 20"/>
                <a:gd name="T8" fmla="*/ 16 w 23"/>
                <a:gd name="T9" fmla="*/ 19 h 20"/>
                <a:gd name="T10" fmla="*/ 21 w 23"/>
                <a:gd name="T11" fmla="*/ 6 h 20"/>
                <a:gd name="T12" fmla="*/ 12 w 2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3" h="20">
                  <a:moveTo>
                    <a:pt x="12" y="0"/>
                  </a:moveTo>
                  <a:cubicBezTo>
                    <a:pt x="10" y="0"/>
                    <a:pt x="9" y="1"/>
                    <a:pt x="7" y="1"/>
                  </a:cubicBezTo>
                  <a:cubicBezTo>
                    <a:pt x="2" y="4"/>
                    <a:pt x="0" y="9"/>
                    <a:pt x="3" y="14"/>
                  </a:cubicBezTo>
                  <a:cubicBezTo>
                    <a:pt x="4" y="18"/>
                    <a:pt x="8" y="20"/>
                    <a:pt x="12" y="20"/>
                  </a:cubicBezTo>
                  <a:cubicBezTo>
                    <a:pt x="13" y="20"/>
                    <a:pt x="15" y="19"/>
                    <a:pt x="16" y="19"/>
                  </a:cubicBezTo>
                  <a:cubicBezTo>
                    <a:pt x="21" y="16"/>
                    <a:pt x="23" y="11"/>
                    <a:pt x="21" y="6"/>
                  </a:cubicBezTo>
                  <a:cubicBezTo>
                    <a:pt x="19" y="2"/>
                    <a:pt x="15" y="0"/>
                    <a:pt x="12"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0" name="Freeform 12"/>
            <p:cNvSpPr>
              <a:spLocks noEditPoints="1"/>
            </p:cNvSpPr>
            <p:nvPr/>
          </p:nvSpPr>
          <p:spPr bwMode="auto">
            <a:xfrm>
              <a:off x="3411538" y="2424113"/>
              <a:ext cx="1062038" cy="1203325"/>
            </a:xfrm>
            <a:custGeom>
              <a:avLst/>
              <a:gdLst>
                <a:gd name="T0" fmla="*/ 138 w 283"/>
                <a:gd name="T1" fmla="*/ 81 h 319"/>
                <a:gd name="T2" fmla="*/ 141 w 283"/>
                <a:gd name="T3" fmla="*/ 80 h 319"/>
                <a:gd name="T4" fmla="*/ 180 w 283"/>
                <a:gd name="T5" fmla="*/ 107 h 319"/>
                <a:gd name="T6" fmla="*/ 178 w 283"/>
                <a:gd name="T7" fmla="*/ 108 h 319"/>
                <a:gd name="T8" fmla="*/ 103 w 283"/>
                <a:gd name="T9" fmla="*/ 101 h 319"/>
                <a:gd name="T10" fmla="*/ 135 w 283"/>
                <a:gd name="T11" fmla="*/ 80 h 319"/>
                <a:gd name="T12" fmla="*/ 199 w 283"/>
                <a:gd name="T13" fmla="*/ 2 h 319"/>
                <a:gd name="T14" fmla="*/ 202 w 283"/>
                <a:gd name="T15" fmla="*/ 34 h 319"/>
                <a:gd name="T16" fmla="*/ 187 w 283"/>
                <a:gd name="T17" fmla="*/ 108 h 319"/>
                <a:gd name="T18" fmla="*/ 184 w 283"/>
                <a:gd name="T19" fmla="*/ 105 h 319"/>
                <a:gd name="T20" fmla="*/ 181 w 283"/>
                <a:gd name="T21" fmla="*/ 106 h 319"/>
                <a:gd name="T22" fmla="*/ 142 w 283"/>
                <a:gd name="T23" fmla="*/ 79 h 319"/>
                <a:gd name="T24" fmla="*/ 136 w 283"/>
                <a:gd name="T25" fmla="*/ 72 h 319"/>
                <a:gd name="T26" fmla="*/ 102 w 283"/>
                <a:gd name="T27" fmla="*/ 99 h 319"/>
                <a:gd name="T28" fmla="*/ 97 w 283"/>
                <a:gd name="T29" fmla="*/ 97 h 319"/>
                <a:gd name="T30" fmla="*/ 97 w 283"/>
                <a:gd name="T31" fmla="*/ 110 h 319"/>
                <a:gd name="T32" fmla="*/ 98 w 283"/>
                <a:gd name="T33" fmla="*/ 110 h 319"/>
                <a:gd name="T34" fmla="*/ 132 w 283"/>
                <a:gd name="T35" fmla="*/ 211 h 319"/>
                <a:gd name="T36" fmla="*/ 144 w 283"/>
                <a:gd name="T37" fmla="*/ 206 h 319"/>
                <a:gd name="T38" fmla="*/ 137 w 283"/>
                <a:gd name="T39" fmla="*/ 202 h 319"/>
                <a:gd name="T40" fmla="*/ 100 w 283"/>
                <a:gd name="T41" fmla="*/ 109 h 319"/>
                <a:gd name="T42" fmla="*/ 102 w 283"/>
                <a:gd name="T43" fmla="*/ 108 h 319"/>
                <a:gd name="T44" fmla="*/ 134 w 283"/>
                <a:gd name="T45" fmla="*/ 134 h 319"/>
                <a:gd name="T46" fmla="*/ 142 w 283"/>
                <a:gd name="T47" fmla="*/ 130 h 319"/>
                <a:gd name="T48" fmla="*/ 135 w 283"/>
                <a:gd name="T49" fmla="*/ 129 h 319"/>
                <a:gd name="T50" fmla="*/ 103 w 283"/>
                <a:gd name="T51" fmla="*/ 106 h 319"/>
                <a:gd name="T52" fmla="*/ 104 w 283"/>
                <a:gd name="T53" fmla="*/ 105 h 319"/>
                <a:gd name="T54" fmla="*/ 179 w 283"/>
                <a:gd name="T55" fmla="*/ 109 h 319"/>
                <a:gd name="T56" fmla="*/ 185 w 283"/>
                <a:gd name="T57" fmla="*/ 113 h 319"/>
                <a:gd name="T58" fmla="*/ 195 w 283"/>
                <a:gd name="T59" fmla="*/ 107 h 319"/>
                <a:gd name="T60" fmla="*/ 164 w 283"/>
                <a:gd name="T61" fmla="*/ 256 h 319"/>
                <a:gd name="T62" fmla="*/ 70 w 283"/>
                <a:gd name="T63" fmla="*/ 189 h 319"/>
                <a:gd name="T64" fmla="*/ 51 w 283"/>
                <a:gd name="T65" fmla="*/ 160 h 319"/>
                <a:gd name="T66" fmla="*/ 41 w 283"/>
                <a:gd name="T67" fmla="*/ 197 h 319"/>
                <a:gd name="T68" fmla="*/ 13 w 283"/>
                <a:gd name="T69" fmla="*/ 269 h 319"/>
                <a:gd name="T70" fmla="*/ 7 w 283"/>
                <a:gd name="T71" fmla="*/ 269 h 319"/>
                <a:gd name="T72" fmla="*/ 15 w 283"/>
                <a:gd name="T73" fmla="*/ 285 h 319"/>
                <a:gd name="T74" fmla="*/ 18 w 283"/>
                <a:gd name="T75" fmla="*/ 282 h 319"/>
                <a:gd name="T76" fmla="*/ 66 w 283"/>
                <a:gd name="T77" fmla="*/ 317 h 319"/>
                <a:gd name="T78" fmla="*/ 79 w 283"/>
                <a:gd name="T79" fmla="*/ 302 h 319"/>
                <a:gd name="T80" fmla="*/ 64 w 283"/>
                <a:gd name="T81" fmla="*/ 304 h 319"/>
                <a:gd name="T82" fmla="*/ 19 w 283"/>
                <a:gd name="T83" fmla="*/ 280 h 319"/>
                <a:gd name="T84" fmla="*/ 15 w 283"/>
                <a:gd name="T85" fmla="*/ 270 h 319"/>
                <a:gd name="T86" fmla="*/ 46 w 283"/>
                <a:gd name="T87" fmla="*/ 200 h 319"/>
                <a:gd name="T88" fmla="*/ 66 w 283"/>
                <a:gd name="T89" fmla="*/ 194 h 319"/>
                <a:gd name="T90" fmla="*/ 161 w 283"/>
                <a:gd name="T91" fmla="*/ 259 h 319"/>
                <a:gd name="T92" fmla="*/ 174 w 283"/>
                <a:gd name="T93" fmla="*/ 280 h 319"/>
                <a:gd name="T94" fmla="*/ 178 w 283"/>
                <a:gd name="T95" fmla="*/ 252 h 319"/>
                <a:gd name="T96" fmla="*/ 263 w 283"/>
                <a:gd name="T97" fmla="*/ 97 h 319"/>
                <a:gd name="T98" fmla="*/ 283 w 283"/>
                <a:gd name="T99" fmla="*/ 94 h 319"/>
                <a:gd name="T100" fmla="*/ 262 w 283"/>
                <a:gd name="T101" fmla="*/ 94 h 319"/>
                <a:gd name="T102" fmla="*/ 207 w 283"/>
                <a:gd name="T103" fmla="*/ 35 h 319"/>
                <a:gd name="T104" fmla="*/ 223 w 283"/>
                <a:gd name="T105" fmla="*/ 1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3" h="319">
                  <a:moveTo>
                    <a:pt x="135" y="80"/>
                  </a:moveTo>
                  <a:cubicBezTo>
                    <a:pt x="135" y="80"/>
                    <a:pt x="135" y="80"/>
                    <a:pt x="135" y="80"/>
                  </a:cubicBezTo>
                  <a:cubicBezTo>
                    <a:pt x="135" y="81"/>
                    <a:pt x="137" y="81"/>
                    <a:pt x="138" y="81"/>
                  </a:cubicBezTo>
                  <a:cubicBezTo>
                    <a:pt x="139" y="81"/>
                    <a:pt x="139" y="81"/>
                    <a:pt x="140" y="81"/>
                  </a:cubicBezTo>
                  <a:cubicBezTo>
                    <a:pt x="141" y="81"/>
                    <a:pt x="141" y="80"/>
                    <a:pt x="142" y="80"/>
                  </a:cubicBezTo>
                  <a:cubicBezTo>
                    <a:pt x="141" y="80"/>
                    <a:pt x="141" y="80"/>
                    <a:pt x="141" y="80"/>
                  </a:cubicBezTo>
                  <a:cubicBezTo>
                    <a:pt x="141" y="80"/>
                    <a:pt x="141" y="80"/>
                    <a:pt x="141" y="80"/>
                  </a:cubicBezTo>
                  <a:cubicBezTo>
                    <a:pt x="143" y="80"/>
                    <a:pt x="180" y="107"/>
                    <a:pt x="180" y="107"/>
                  </a:cubicBezTo>
                  <a:cubicBezTo>
                    <a:pt x="180" y="107"/>
                    <a:pt x="180" y="107"/>
                    <a:pt x="180" y="107"/>
                  </a:cubicBezTo>
                  <a:cubicBezTo>
                    <a:pt x="180" y="108"/>
                    <a:pt x="180" y="108"/>
                    <a:pt x="180" y="108"/>
                  </a:cubicBezTo>
                  <a:cubicBezTo>
                    <a:pt x="180" y="108"/>
                    <a:pt x="180" y="108"/>
                    <a:pt x="180" y="108"/>
                  </a:cubicBezTo>
                  <a:cubicBezTo>
                    <a:pt x="180" y="108"/>
                    <a:pt x="179" y="108"/>
                    <a:pt x="178" y="108"/>
                  </a:cubicBezTo>
                  <a:cubicBezTo>
                    <a:pt x="169" y="108"/>
                    <a:pt x="104" y="104"/>
                    <a:pt x="104" y="103"/>
                  </a:cubicBezTo>
                  <a:cubicBezTo>
                    <a:pt x="104" y="103"/>
                    <a:pt x="104" y="103"/>
                    <a:pt x="104" y="103"/>
                  </a:cubicBezTo>
                  <a:cubicBezTo>
                    <a:pt x="104" y="102"/>
                    <a:pt x="104" y="101"/>
                    <a:pt x="103" y="101"/>
                  </a:cubicBezTo>
                  <a:cubicBezTo>
                    <a:pt x="103" y="101"/>
                    <a:pt x="103" y="101"/>
                    <a:pt x="103" y="101"/>
                  </a:cubicBezTo>
                  <a:cubicBezTo>
                    <a:pt x="103" y="101"/>
                    <a:pt x="103" y="101"/>
                    <a:pt x="103" y="101"/>
                  </a:cubicBezTo>
                  <a:cubicBezTo>
                    <a:pt x="103" y="99"/>
                    <a:pt x="133" y="80"/>
                    <a:pt x="135" y="80"/>
                  </a:cubicBezTo>
                  <a:cubicBezTo>
                    <a:pt x="135" y="80"/>
                    <a:pt x="135" y="80"/>
                    <a:pt x="135" y="80"/>
                  </a:cubicBezTo>
                  <a:moveTo>
                    <a:pt x="207" y="0"/>
                  </a:moveTo>
                  <a:cubicBezTo>
                    <a:pt x="204" y="0"/>
                    <a:pt x="202" y="1"/>
                    <a:pt x="199" y="2"/>
                  </a:cubicBezTo>
                  <a:cubicBezTo>
                    <a:pt x="190" y="6"/>
                    <a:pt x="186" y="16"/>
                    <a:pt x="191" y="25"/>
                  </a:cubicBezTo>
                  <a:cubicBezTo>
                    <a:pt x="193" y="30"/>
                    <a:pt x="197" y="33"/>
                    <a:pt x="202" y="34"/>
                  </a:cubicBezTo>
                  <a:cubicBezTo>
                    <a:pt x="202" y="34"/>
                    <a:pt x="202" y="34"/>
                    <a:pt x="202" y="34"/>
                  </a:cubicBezTo>
                  <a:cubicBezTo>
                    <a:pt x="203" y="34"/>
                    <a:pt x="200" y="67"/>
                    <a:pt x="195" y="107"/>
                  </a:cubicBezTo>
                  <a:cubicBezTo>
                    <a:pt x="191" y="107"/>
                    <a:pt x="188" y="108"/>
                    <a:pt x="188" y="108"/>
                  </a:cubicBezTo>
                  <a:cubicBezTo>
                    <a:pt x="187" y="108"/>
                    <a:pt x="187" y="108"/>
                    <a:pt x="187" y="108"/>
                  </a:cubicBezTo>
                  <a:cubicBezTo>
                    <a:pt x="187" y="108"/>
                    <a:pt x="187" y="108"/>
                    <a:pt x="187" y="108"/>
                  </a:cubicBezTo>
                  <a:cubicBezTo>
                    <a:pt x="187" y="107"/>
                    <a:pt x="187" y="107"/>
                    <a:pt x="187" y="107"/>
                  </a:cubicBezTo>
                  <a:cubicBezTo>
                    <a:pt x="187" y="106"/>
                    <a:pt x="185" y="105"/>
                    <a:pt x="184" y="105"/>
                  </a:cubicBezTo>
                  <a:cubicBezTo>
                    <a:pt x="183" y="105"/>
                    <a:pt x="182" y="105"/>
                    <a:pt x="182" y="106"/>
                  </a:cubicBezTo>
                  <a:cubicBezTo>
                    <a:pt x="181" y="106"/>
                    <a:pt x="181" y="106"/>
                    <a:pt x="181" y="106"/>
                  </a:cubicBezTo>
                  <a:cubicBezTo>
                    <a:pt x="181" y="106"/>
                    <a:pt x="181" y="106"/>
                    <a:pt x="181" y="106"/>
                  </a:cubicBezTo>
                  <a:cubicBezTo>
                    <a:pt x="181" y="106"/>
                    <a:pt x="181" y="106"/>
                    <a:pt x="181" y="106"/>
                  </a:cubicBezTo>
                  <a:cubicBezTo>
                    <a:pt x="179" y="106"/>
                    <a:pt x="142" y="80"/>
                    <a:pt x="142" y="79"/>
                  </a:cubicBezTo>
                  <a:cubicBezTo>
                    <a:pt x="142" y="79"/>
                    <a:pt x="142" y="79"/>
                    <a:pt x="142" y="79"/>
                  </a:cubicBezTo>
                  <a:cubicBezTo>
                    <a:pt x="143" y="78"/>
                    <a:pt x="143" y="76"/>
                    <a:pt x="142" y="75"/>
                  </a:cubicBezTo>
                  <a:cubicBezTo>
                    <a:pt x="142" y="73"/>
                    <a:pt x="140" y="72"/>
                    <a:pt x="138" y="72"/>
                  </a:cubicBezTo>
                  <a:cubicBezTo>
                    <a:pt x="137" y="72"/>
                    <a:pt x="137" y="72"/>
                    <a:pt x="136" y="72"/>
                  </a:cubicBezTo>
                  <a:cubicBezTo>
                    <a:pt x="134" y="74"/>
                    <a:pt x="133" y="76"/>
                    <a:pt x="134" y="79"/>
                  </a:cubicBezTo>
                  <a:cubicBezTo>
                    <a:pt x="134" y="79"/>
                    <a:pt x="134" y="79"/>
                    <a:pt x="134" y="79"/>
                  </a:cubicBezTo>
                  <a:cubicBezTo>
                    <a:pt x="134" y="79"/>
                    <a:pt x="104" y="99"/>
                    <a:pt x="102" y="99"/>
                  </a:cubicBezTo>
                  <a:cubicBezTo>
                    <a:pt x="102" y="99"/>
                    <a:pt x="102" y="99"/>
                    <a:pt x="102" y="99"/>
                  </a:cubicBezTo>
                  <a:cubicBezTo>
                    <a:pt x="102" y="99"/>
                    <a:pt x="102" y="99"/>
                    <a:pt x="102" y="99"/>
                  </a:cubicBezTo>
                  <a:cubicBezTo>
                    <a:pt x="101" y="98"/>
                    <a:pt x="99" y="97"/>
                    <a:pt x="97" y="97"/>
                  </a:cubicBezTo>
                  <a:cubicBezTo>
                    <a:pt x="96" y="97"/>
                    <a:pt x="95" y="97"/>
                    <a:pt x="94" y="97"/>
                  </a:cubicBezTo>
                  <a:cubicBezTo>
                    <a:pt x="91" y="99"/>
                    <a:pt x="89" y="103"/>
                    <a:pt x="91" y="106"/>
                  </a:cubicBezTo>
                  <a:cubicBezTo>
                    <a:pt x="92" y="109"/>
                    <a:pt x="94" y="110"/>
                    <a:pt x="97" y="110"/>
                  </a:cubicBezTo>
                  <a:cubicBezTo>
                    <a:pt x="97" y="110"/>
                    <a:pt x="98" y="110"/>
                    <a:pt x="98" y="110"/>
                  </a:cubicBezTo>
                  <a:cubicBezTo>
                    <a:pt x="98" y="110"/>
                    <a:pt x="98" y="110"/>
                    <a:pt x="98" y="110"/>
                  </a:cubicBezTo>
                  <a:cubicBezTo>
                    <a:pt x="98" y="110"/>
                    <a:pt x="98" y="110"/>
                    <a:pt x="98" y="110"/>
                  </a:cubicBezTo>
                  <a:cubicBezTo>
                    <a:pt x="100" y="110"/>
                    <a:pt x="136" y="202"/>
                    <a:pt x="135" y="203"/>
                  </a:cubicBezTo>
                  <a:cubicBezTo>
                    <a:pt x="135" y="203"/>
                    <a:pt x="135" y="203"/>
                    <a:pt x="135" y="203"/>
                  </a:cubicBezTo>
                  <a:cubicBezTo>
                    <a:pt x="132" y="204"/>
                    <a:pt x="130" y="208"/>
                    <a:pt x="132" y="211"/>
                  </a:cubicBezTo>
                  <a:cubicBezTo>
                    <a:pt x="133" y="214"/>
                    <a:pt x="136" y="215"/>
                    <a:pt x="138" y="215"/>
                  </a:cubicBezTo>
                  <a:cubicBezTo>
                    <a:pt x="139" y="215"/>
                    <a:pt x="140" y="215"/>
                    <a:pt x="141" y="214"/>
                  </a:cubicBezTo>
                  <a:cubicBezTo>
                    <a:pt x="144" y="213"/>
                    <a:pt x="146" y="209"/>
                    <a:pt x="144" y="206"/>
                  </a:cubicBezTo>
                  <a:cubicBezTo>
                    <a:pt x="143" y="203"/>
                    <a:pt x="141" y="202"/>
                    <a:pt x="138" y="202"/>
                  </a:cubicBezTo>
                  <a:cubicBezTo>
                    <a:pt x="138" y="202"/>
                    <a:pt x="137" y="202"/>
                    <a:pt x="137" y="202"/>
                  </a:cubicBezTo>
                  <a:cubicBezTo>
                    <a:pt x="137" y="202"/>
                    <a:pt x="137" y="202"/>
                    <a:pt x="137" y="202"/>
                  </a:cubicBezTo>
                  <a:cubicBezTo>
                    <a:pt x="137" y="202"/>
                    <a:pt x="137" y="202"/>
                    <a:pt x="137" y="202"/>
                  </a:cubicBezTo>
                  <a:cubicBezTo>
                    <a:pt x="135" y="202"/>
                    <a:pt x="99" y="110"/>
                    <a:pt x="100" y="109"/>
                  </a:cubicBezTo>
                  <a:cubicBezTo>
                    <a:pt x="100" y="109"/>
                    <a:pt x="100" y="109"/>
                    <a:pt x="100" y="109"/>
                  </a:cubicBezTo>
                  <a:cubicBezTo>
                    <a:pt x="101" y="109"/>
                    <a:pt x="101" y="108"/>
                    <a:pt x="102" y="108"/>
                  </a:cubicBezTo>
                  <a:cubicBezTo>
                    <a:pt x="102" y="108"/>
                    <a:pt x="102" y="108"/>
                    <a:pt x="102" y="108"/>
                  </a:cubicBezTo>
                  <a:cubicBezTo>
                    <a:pt x="102" y="108"/>
                    <a:pt x="102" y="108"/>
                    <a:pt x="102" y="108"/>
                  </a:cubicBezTo>
                  <a:cubicBezTo>
                    <a:pt x="104" y="108"/>
                    <a:pt x="134" y="129"/>
                    <a:pt x="134" y="130"/>
                  </a:cubicBezTo>
                  <a:cubicBezTo>
                    <a:pt x="134" y="130"/>
                    <a:pt x="134" y="130"/>
                    <a:pt x="134" y="130"/>
                  </a:cubicBezTo>
                  <a:cubicBezTo>
                    <a:pt x="133" y="131"/>
                    <a:pt x="133" y="133"/>
                    <a:pt x="134" y="134"/>
                  </a:cubicBezTo>
                  <a:cubicBezTo>
                    <a:pt x="135" y="136"/>
                    <a:pt x="136" y="137"/>
                    <a:pt x="138" y="137"/>
                  </a:cubicBezTo>
                  <a:cubicBezTo>
                    <a:pt x="139" y="137"/>
                    <a:pt x="139" y="136"/>
                    <a:pt x="140" y="136"/>
                  </a:cubicBezTo>
                  <a:cubicBezTo>
                    <a:pt x="143" y="135"/>
                    <a:pt x="144" y="132"/>
                    <a:pt x="142" y="130"/>
                  </a:cubicBezTo>
                  <a:cubicBezTo>
                    <a:pt x="142" y="128"/>
                    <a:pt x="140" y="127"/>
                    <a:pt x="138" y="127"/>
                  </a:cubicBezTo>
                  <a:cubicBezTo>
                    <a:pt x="137" y="127"/>
                    <a:pt x="137" y="127"/>
                    <a:pt x="136" y="128"/>
                  </a:cubicBezTo>
                  <a:cubicBezTo>
                    <a:pt x="136" y="128"/>
                    <a:pt x="135" y="128"/>
                    <a:pt x="135" y="129"/>
                  </a:cubicBezTo>
                  <a:cubicBezTo>
                    <a:pt x="135" y="129"/>
                    <a:pt x="135" y="129"/>
                    <a:pt x="135" y="129"/>
                  </a:cubicBezTo>
                  <a:cubicBezTo>
                    <a:pt x="135" y="129"/>
                    <a:pt x="135" y="129"/>
                    <a:pt x="135" y="129"/>
                  </a:cubicBezTo>
                  <a:cubicBezTo>
                    <a:pt x="133" y="129"/>
                    <a:pt x="103" y="108"/>
                    <a:pt x="103" y="106"/>
                  </a:cubicBezTo>
                  <a:cubicBezTo>
                    <a:pt x="103" y="106"/>
                    <a:pt x="103" y="106"/>
                    <a:pt x="103" y="106"/>
                  </a:cubicBezTo>
                  <a:cubicBezTo>
                    <a:pt x="103" y="106"/>
                    <a:pt x="104" y="105"/>
                    <a:pt x="104" y="105"/>
                  </a:cubicBezTo>
                  <a:cubicBezTo>
                    <a:pt x="104" y="105"/>
                    <a:pt x="104" y="105"/>
                    <a:pt x="104" y="105"/>
                  </a:cubicBezTo>
                  <a:cubicBezTo>
                    <a:pt x="104" y="105"/>
                    <a:pt x="105" y="105"/>
                    <a:pt x="106" y="105"/>
                  </a:cubicBezTo>
                  <a:cubicBezTo>
                    <a:pt x="120" y="105"/>
                    <a:pt x="179" y="109"/>
                    <a:pt x="179" y="109"/>
                  </a:cubicBezTo>
                  <a:cubicBezTo>
                    <a:pt x="179" y="109"/>
                    <a:pt x="179" y="109"/>
                    <a:pt x="179" y="109"/>
                  </a:cubicBezTo>
                  <a:cubicBezTo>
                    <a:pt x="180" y="110"/>
                    <a:pt x="180" y="110"/>
                    <a:pt x="180" y="111"/>
                  </a:cubicBezTo>
                  <a:cubicBezTo>
                    <a:pt x="181" y="112"/>
                    <a:pt x="182" y="113"/>
                    <a:pt x="184" y="113"/>
                  </a:cubicBezTo>
                  <a:cubicBezTo>
                    <a:pt x="184" y="113"/>
                    <a:pt x="185" y="113"/>
                    <a:pt x="185" y="113"/>
                  </a:cubicBezTo>
                  <a:cubicBezTo>
                    <a:pt x="187" y="112"/>
                    <a:pt x="188" y="110"/>
                    <a:pt x="188" y="109"/>
                  </a:cubicBezTo>
                  <a:cubicBezTo>
                    <a:pt x="188" y="109"/>
                    <a:pt x="188" y="109"/>
                    <a:pt x="188" y="109"/>
                  </a:cubicBezTo>
                  <a:cubicBezTo>
                    <a:pt x="188" y="109"/>
                    <a:pt x="190" y="108"/>
                    <a:pt x="195" y="107"/>
                  </a:cubicBezTo>
                  <a:cubicBezTo>
                    <a:pt x="187" y="171"/>
                    <a:pt x="176" y="252"/>
                    <a:pt x="174" y="252"/>
                  </a:cubicBezTo>
                  <a:cubicBezTo>
                    <a:pt x="174" y="252"/>
                    <a:pt x="174" y="252"/>
                    <a:pt x="174" y="252"/>
                  </a:cubicBezTo>
                  <a:cubicBezTo>
                    <a:pt x="170" y="252"/>
                    <a:pt x="167" y="253"/>
                    <a:pt x="164" y="256"/>
                  </a:cubicBezTo>
                  <a:cubicBezTo>
                    <a:pt x="164" y="256"/>
                    <a:pt x="164" y="256"/>
                    <a:pt x="164" y="256"/>
                  </a:cubicBezTo>
                  <a:cubicBezTo>
                    <a:pt x="164" y="256"/>
                    <a:pt x="164" y="256"/>
                    <a:pt x="164" y="256"/>
                  </a:cubicBezTo>
                  <a:cubicBezTo>
                    <a:pt x="159" y="256"/>
                    <a:pt x="68" y="193"/>
                    <a:pt x="70" y="189"/>
                  </a:cubicBezTo>
                  <a:cubicBezTo>
                    <a:pt x="70" y="189"/>
                    <a:pt x="70" y="189"/>
                    <a:pt x="70" y="189"/>
                  </a:cubicBezTo>
                  <a:cubicBezTo>
                    <a:pt x="74" y="181"/>
                    <a:pt x="72" y="170"/>
                    <a:pt x="64" y="164"/>
                  </a:cubicBezTo>
                  <a:cubicBezTo>
                    <a:pt x="61" y="161"/>
                    <a:pt x="56" y="160"/>
                    <a:pt x="51" y="160"/>
                  </a:cubicBezTo>
                  <a:cubicBezTo>
                    <a:pt x="45" y="160"/>
                    <a:pt x="39" y="162"/>
                    <a:pt x="35" y="167"/>
                  </a:cubicBezTo>
                  <a:cubicBezTo>
                    <a:pt x="27" y="176"/>
                    <a:pt x="29" y="188"/>
                    <a:pt x="38" y="195"/>
                  </a:cubicBezTo>
                  <a:cubicBezTo>
                    <a:pt x="39" y="196"/>
                    <a:pt x="40" y="197"/>
                    <a:pt x="41" y="197"/>
                  </a:cubicBezTo>
                  <a:cubicBezTo>
                    <a:pt x="40" y="197"/>
                    <a:pt x="40" y="197"/>
                    <a:pt x="40" y="197"/>
                  </a:cubicBezTo>
                  <a:cubicBezTo>
                    <a:pt x="44" y="199"/>
                    <a:pt x="15" y="269"/>
                    <a:pt x="13" y="269"/>
                  </a:cubicBezTo>
                  <a:cubicBezTo>
                    <a:pt x="13" y="269"/>
                    <a:pt x="13" y="269"/>
                    <a:pt x="13" y="269"/>
                  </a:cubicBezTo>
                  <a:cubicBezTo>
                    <a:pt x="13" y="269"/>
                    <a:pt x="13" y="269"/>
                    <a:pt x="13" y="269"/>
                  </a:cubicBezTo>
                  <a:cubicBezTo>
                    <a:pt x="12" y="269"/>
                    <a:pt x="11" y="268"/>
                    <a:pt x="11" y="268"/>
                  </a:cubicBezTo>
                  <a:cubicBezTo>
                    <a:pt x="9" y="268"/>
                    <a:pt x="8" y="269"/>
                    <a:pt x="7" y="269"/>
                  </a:cubicBezTo>
                  <a:cubicBezTo>
                    <a:pt x="2" y="271"/>
                    <a:pt x="0" y="277"/>
                    <a:pt x="2" y="281"/>
                  </a:cubicBezTo>
                  <a:cubicBezTo>
                    <a:pt x="4" y="284"/>
                    <a:pt x="7" y="286"/>
                    <a:pt x="11" y="286"/>
                  </a:cubicBezTo>
                  <a:cubicBezTo>
                    <a:pt x="12" y="286"/>
                    <a:pt x="13" y="286"/>
                    <a:pt x="15" y="285"/>
                  </a:cubicBezTo>
                  <a:cubicBezTo>
                    <a:pt x="16" y="284"/>
                    <a:pt x="17" y="284"/>
                    <a:pt x="18" y="282"/>
                  </a:cubicBezTo>
                  <a:cubicBezTo>
                    <a:pt x="18" y="283"/>
                    <a:pt x="18" y="283"/>
                    <a:pt x="18" y="283"/>
                  </a:cubicBezTo>
                  <a:cubicBezTo>
                    <a:pt x="18" y="282"/>
                    <a:pt x="18" y="282"/>
                    <a:pt x="18" y="282"/>
                  </a:cubicBezTo>
                  <a:cubicBezTo>
                    <a:pt x="21" y="282"/>
                    <a:pt x="63" y="305"/>
                    <a:pt x="63" y="306"/>
                  </a:cubicBezTo>
                  <a:cubicBezTo>
                    <a:pt x="63" y="306"/>
                    <a:pt x="63" y="306"/>
                    <a:pt x="63" y="306"/>
                  </a:cubicBezTo>
                  <a:cubicBezTo>
                    <a:pt x="61" y="310"/>
                    <a:pt x="62" y="314"/>
                    <a:pt x="66" y="317"/>
                  </a:cubicBezTo>
                  <a:cubicBezTo>
                    <a:pt x="68" y="319"/>
                    <a:pt x="70" y="319"/>
                    <a:pt x="72" y="319"/>
                  </a:cubicBezTo>
                  <a:cubicBezTo>
                    <a:pt x="75" y="319"/>
                    <a:pt x="78" y="318"/>
                    <a:pt x="80" y="316"/>
                  </a:cubicBezTo>
                  <a:cubicBezTo>
                    <a:pt x="83" y="312"/>
                    <a:pt x="83" y="306"/>
                    <a:pt x="79" y="302"/>
                  </a:cubicBezTo>
                  <a:cubicBezTo>
                    <a:pt x="77" y="301"/>
                    <a:pt x="74" y="300"/>
                    <a:pt x="72" y="300"/>
                  </a:cubicBezTo>
                  <a:cubicBezTo>
                    <a:pt x="69" y="300"/>
                    <a:pt x="66" y="301"/>
                    <a:pt x="64" y="304"/>
                  </a:cubicBezTo>
                  <a:cubicBezTo>
                    <a:pt x="64" y="304"/>
                    <a:pt x="64" y="304"/>
                    <a:pt x="64" y="304"/>
                  </a:cubicBezTo>
                  <a:cubicBezTo>
                    <a:pt x="64" y="304"/>
                    <a:pt x="64" y="304"/>
                    <a:pt x="64" y="304"/>
                  </a:cubicBezTo>
                  <a:cubicBezTo>
                    <a:pt x="64" y="304"/>
                    <a:pt x="64" y="304"/>
                    <a:pt x="64" y="304"/>
                  </a:cubicBezTo>
                  <a:cubicBezTo>
                    <a:pt x="60" y="304"/>
                    <a:pt x="19" y="282"/>
                    <a:pt x="19" y="280"/>
                  </a:cubicBezTo>
                  <a:cubicBezTo>
                    <a:pt x="19" y="280"/>
                    <a:pt x="19" y="280"/>
                    <a:pt x="19" y="280"/>
                  </a:cubicBezTo>
                  <a:cubicBezTo>
                    <a:pt x="20" y="278"/>
                    <a:pt x="20" y="276"/>
                    <a:pt x="19" y="273"/>
                  </a:cubicBezTo>
                  <a:cubicBezTo>
                    <a:pt x="18" y="272"/>
                    <a:pt x="17" y="271"/>
                    <a:pt x="15" y="270"/>
                  </a:cubicBezTo>
                  <a:cubicBezTo>
                    <a:pt x="15" y="270"/>
                    <a:pt x="15" y="270"/>
                    <a:pt x="15" y="270"/>
                  </a:cubicBezTo>
                  <a:cubicBezTo>
                    <a:pt x="14" y="269"/>
                    <a:pt x="42" y="200"/>
                    <a:pt x="46" y="200"/>
                  </a:cubicBezTo>
                  <a:cubicBezTo>
                    <a:pt x="46" y="200"/>
                    <a:pt x="46" y="200"/>
                    <a:pt x="46" y="200"/>
                  </a:cubicBezTo>
                  <a:cubicBezTo>
                    <a:pt x="46" y="199"/>
                    <a:pt x="46" y="199"/>
                    <a:pt x="46" y="199"/>
                  </a:cubicBezTo>
                  <a:cubicBezTo>
                    <a:pt x="48" y="200"/>
                    <a:pt x="49" y="200"/>
                    <a:pt x="51" y="200"/>
                  </a:cubicBezTo>
                  <a:cubicBezTo>
                    <a:pt x="57" y="200"/>
                    <a:pt x="62" y="198"/>
                    <a:pt x="66" y="194"/>
                  </a:cubicBezTo>
                  <a:cubicBezTo>
                    <a:pt x="66" y="194"/>
                    <a:pt x="66" y="194"/>
                    <a:pt x="66" y="194"/>
                  </a:cubicBezTo>
                  <a:cubicBezTo>
                    <a:pt x="66" y="194"/>
                    <a:pt x="66" y="194"/>
                    <a:pt x="66" y="194"/>
                  </a:cubicBezTo>
                  <a:cubicBezTo>
                    <a:pt x="73" y="194"/>
                    <a:pt x="163" y="257"/>
                    <a:pt x="161" y="259"/>
                  </a:cubicBezTo>
                  <a:cubicBezTo>
                    <a:pt x="161" y="259"/>
                    <a:pt x="161" y="259"/>
                    <a:pt x="161" y="259"/>
                  </a:cubicBezTo>
                  <a:cubicBezTo>
                    <a:pt x="160" y="261"/>
                    <a:pt x="160" y="263"/>
                    <a:pt x="160" y="266"/>
                  </a:cubicBezTo>
                  <a:cubicBezTo>
                    <a:pt x="160" y="273"/>
                    <a:pt x="166" y="280"/>
                    <a:pt x="174" y="280"/>
                  </a:cubicBezTo>
                  <a:cubicBezTo>
                    <a:pt x="182" y="280"/>
                    <a:pt x="189" y="273"/>
                    <a:pt x="189" y="266"/>
                  </a:cubicBezTo>
                  <a:cubicBezTo>
                    <a:pt x="189" y="259"/>
                    <a:pt x="184" y="254"/>
                    <a:pt x="178" y="252"/>
                  </a:cubicBezTo>
                  <a:cubicBezTo>
                    <a:pt x="178" y="252"/>
                    <a:pt x="178" y="252"/>
                    <a:pt x="178" y="252"/>
                  </a:cubicBezTo>
                  <a:cubicBezTo>
                    <a:pt x="177" y="252"/>
                    <a:pt x="187" y="170"/>
                    <a:pt x="195" y="107"/>
                  </a:cubicBezTo>
                  <a:cubicBezTo>
                    <a:pt x="213" y="104"/>
                    <a:pt x="255" y="97"/>
                    <a:pt x="262" y="97"/>
                  </a:cubicBezTo>
                  <a:cubicBezTo>
                    <a:pt x="263" y="97"/>
                    <a:pt x="263" y="97"/>
                    <a:pt x="263" y="97"/>
                  </a:cubicBezTo>
                  <a:cubicBezTo>
                    <a:pt x="263" y="97"/>
                    <a:pt x="263" y="97"/>
                    <a:pt x="263" y="97"/>
                  </a:cubicBezTo>
                  <a:cubicBezTo>
                    <a:pt x="264" y="101"/>
                    <a:pt x="268" y="103"/>
                    <a:pt x="273" y="103"/>
                  </a:cubicBezTo>
                  <a:cubicBezTo>
                    <a:pt x="278" y="103"/>
                    <a:pt x="283" y="99"/>
                    <a:pt x="283" y="94"/>
                  </a:cubicBezTo>
                  <a:cubicBezTo>
                    <a:pt x="283" y="88"/>
                    <a:pt x="278" y="84"/>
                    <a:pt x="273" y="84"/>
                  </a:cubicBezTo>
                  <a:cubicBezTo>
                    <a:pt x="267" y="84"/>
                    <a:pt x="262" y="88"/>
                    <a:pt x="262" y="94"/>
                  </a:cubicBezTo>
                  <a:cubicBezTo>
                    <a:pt x="262" y="94"/>
                    <a:pt x="262" y="94"/>
                    <a:pt x="262" y="94"/>
                  </a:cubicBezTo>
                  <a:cubicBezTo>
                    <a:pt x="262" y="94"/>
                    <a:pt x="262" y="94"/>
                    <a:pt x="262" y="94"/>
                  </a:cubicBezTo>
                  <a:cubicBezTo>
                    <a:pt x="263" y="96"/>
                    <a:pt x="215" y="104"/>
                    <a:pt x="195" y="107"/>
                  </a:cubicBezTo>
                  <a:cubicBezTo>
                    <a:pt x="201" y="67"/>
                    <a:pt x="206" y="35"/>
                    <a:pt x="207" y="35"/>
                  </a:cubicBezTo>
                  <a:cubicBezTo>
                    <a:pt x="207" y="35"/>
                    <a:pt x="207" y="35"/>
                    <a:pt x="207" y="35"/>
                  </a:cubicBezTo>
                  <a:cubicBezTo>
                    <a:pt x="210" y="35"/>
                    <a:pt x="212" y="34"/>
                    <a:pt x="214" y="33"/>
                  </a:cubicBezTo>
                  <a:cubicBezTo>
                    <a:pt x="223" y="29"/>
                    <a:pt x="227" y="19"/>
                    <a:pt x="223" y="10"/>
                  </a:cubicBezTo>
                  <a:cubicBezTo>
                    <a:pt x="220" y="4"/>
                    <a:pt x="214" y="0"/>
                    <a:pt x="207"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1" name="Freeform 13"/>
            <p:cNvSpPr>
              <a:spLocks/>
            </p:cNvSpPr>
            <p:nvPr/>
          </p:nvSpPr>
          <p:spPr bwMode="auto">
            <a:xfrm>
              <a:off x="5762625" y="2805113"/>
              <a:ext cx="36513" cy="30163"/>
            </a:xfrm>
            <a:custGeom>
              <a:avLst/>
              <a:gdLst>
                <a:gd name="T0" fmla="*/ 0 w 10"/>
                <a:gd name="T1" fmla="*/ 0 h 8"/>
                <a:gd name="T2" fmla="*/ 10 w 10"/>
                <a:gd name="T3" fmla="*/ 8 h 8"/>
                <a:gd name="T4" fmla="*/ 0 w 10"/>
                <a:gd name="T5" fmla="*/ 0 h 8"/>
              </a:gdLst>
              <a:ahLst/>
              <a:cxnLst>
                <a:cxn ang="0">
                  <a:pos x="T0" y="T1"/>
                </a:cxn>
                <a:cxn ang="0">
                  <a:pos x="T2" y="T3"/>
                </a:cxn>
                <a:cxn ang="0">
                  <a:pos x="T4" y="T5"/>
                </a:cxn>
              </a:cxnLst>
              <a:rect l="0" t="0" r="r" b="b"/>
              <a:pathLst>
                <a:path w="10" h="8">
                  <a:moveTo>
                    <a:pt x="0" y="0"/>
                  </a:moveTo>
                  <a:cubicBezTo>
                    <a:pt x="3" y="3"/>
                    <a:pt x="6" y="6"/>
                    <a:pt x="10" y="8"/>
                  </a:cubicBezTo>
                  <a:cubicBezTo>
                    <a:pt x="6" y="6"/>
                    <a:pt x="3" y="3"/>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 name="Freeform 14"/>
            <p:cNvSpPr>
              <a:spLocks noEditPoints="1"/>
            </p:cNvSpPr>
            <p:nvPr/>
          </p:nvSpPr>
          <p:spPr bwMode="auto">
            <a:xfrm>
              <a:off x="5799138" y="2613025"/>
              <a:ext cx="241300" cy="293688"/>
            </a:xfrm>
            <a:custGeom>
              <a:avLst/>
              <a:gdLst>
                <a:gd name="T0" fmla="*/ 28 w 64"/>
                <a:gd name="T1" fmla="*/ 13 h 78"/>
                <a:gd name="T2" fmla="*/ 31 w 64"/>
                <a:gd name="T3" fmla="*/ 12 h 78"/>
                <a:gd name="T4" fmla="*/ 31 w 64"/>
                <a:gd name="T5" fmla="*/ 12 h 78"/>
                <a:gd name="T6" fmla="*/ 31 w 64"/>
                <a:gd name="T7" fmla="*/ 12 h 78"/>
                <a:gd name="T8" fmla="*/ 48 w 64"/>
                <a:gd name="T9" fmla="*/ 38 h 78"/>
                <a:gd name="T10" fmla="*/ 48 w 64"/>
                <a:gd name="T11" fmla="*/ 38 h 78"/>
                <a:gd name="T12" fmla="*/ 46 w 64"/>
                <a:gd name="T13" fmla="*/ 49 h 78"/>
                <a:gd name="T14" fmla="*/ 46 w 64"/>
                <a:gd name="T15" fmla="*/ 49 h 78"/>
                <a:gd name="T16" fmla="*/ 46 w 64"/>
                <a:gd name="T17" fmla="*/ 49 h 78"/>
                <a:gd name="T18" fmla="*/ 20 w 64"/>
                <a:gd name="T19" fmla="*/ 70 h 78"/>
                <a:gd name="T20" fmla="*/ 20 w 64"/>
                <a:gd name="T21" fmla="*/ 70 h 78"/>
                <a:gd name="T22" fmla="*/ 20 w 64"/>
                <a:gd name="T23" fmla="*/ 70 h 78"/>
                <a:gd name="T24" fmla="*/ 18 w 64"/>
                <a:gd name="T25" fmla="*/ 69 h 78"/>
                <a:gd name="T26" fmla="*/ 18 w 64"/>
                <a:gd name="T27" fmla="*/ 69 h 78"/>
                <a:gd name="T28" fmla="*/ 28 w 64"/>
                <a:gd name="T29" fmla="*/ 13 h 78"/>
                <a:gd name="T30" fmla="*/ 28 w 64"/>
                <a:gd name="T31" fmla="*/ 13 h 78"/>
                <a:gd name="T32" fmla="*/ 28 w 64"/>
                <a:gd name="T33" fmla="*/ 13 h 78"/>
                <a:gd name="T34" fmla="*/ 28 w 64"/>
                <a:gd name="T35" fmla="*/ 0 h 78"/>
                <a:gd name="T36" fmla="*/ 25 w 64"/>
                <a:gd name="T37" fmla="*/ 0 h 78"/>
                <a:gd name="T38" fmla="*/ 22 w 64"/>
                <a:gd name="T39" fmla="*/ 9 h 78"/>
                <a:gd name="T40" fmla="*/ 26 w 64"/>
                <a:gd name="T41" fmla="*/ 13 h 78"/>
                <a:gd name="T42" fmla="*/ 26 w 64"/>
                <a:gd name="T43" fmla="*/ 13 h 78"/>
                <a:gd name="T44" fmla="*/ 17 w 64"/>
                <a:gd name="T45" fmla="*/ 69 h 78"/>
                <a:gd name="T46" fmla="*/ 17 w 64"/>
                <a:gd name="T47" fmla="*/ 69 h 78"/>
                <a:gd name="T48" fmla="*/ 17 w 64"/>
                <a:gd name="T49" fmla="*/ 69 h 78"/>
                <a:gd name="T50" fmla="*/ 15 w 64"/>
                <a:gd name="T51" fmla="*/ 69 h 78"/>
                <a:gd name="T52" fmla="*/ 13 w 64"/>
                <a:gd name="T53" fmla="*/ 70 h 78"/>
                <a:gd name="T54" fmla="*/ 14 w 64"/>
                <a:gd name="T55" fmla="*/ 70 h 78"/>
                <a:gd name="T56" fmla="*/ 14 w 64"/>
                <a:gd name="T57" fmla="*/ 70 h 78"/>
                <a:gd name="T58" fmla="*/ 0 w 64"/>
                <a:gd name="T59" fmla="*/ 59 h 78"/>
                <a:gd name="T60" fmla="*/ 12 w 64"/>
                <a:gd name="T61" fmla="*/ 71 h 78"/>
                <a:gd name="T62" fmla="*/ 12 w 64"/>
                <a:gd name="T63" fmla="*/ 71 h 78"/>
                <a:gd name="T64" fmla="*/ 12 w 64"/>
                <a:gd name="T65" fmla="*/ 75 h 78"/>
                <a:gd name="T66" fmla="*/ 17 w 64"/>
                <a:gd name="T67" fmla="*/ 78 h 78"/>
                <a:gd name="T68" fmla="*/ 19 w 64"/>
                <a:gd name="T69" fmla="*/ 78 h 78"/>
                <a:gd name="T70" fmla="*/ 21 w 64"/>
                <a:gd name="T71" fmla="*/ 72 h 78"/>
                <a:gd name="T72" fmla="*/ 21 w 64"/>
                <a:gd name="T73" fmla="*/ 71 h 78"/>
                <a:gd name="T74" fmla="*/ 21 w 64"/>
                <a:gd name="T75" fmla="*/ 71 h 78"/>
                <a:gd name="T76" fmla="*/ 48 w 64"/>
                <a:gd name="T77" fmla="*/ 51 h 78"/>
                <a:gd name="T78" fmla="*/ 48 w 64"/>
                <a:gd name="T79" fmla="*/ 51 h 78"/>
                <a:gd name="T80" fmla="*/ 48 w 64"/>
                <a:gd name="T81" fmla="*/ 51 h 78"/>
                <a:gd name="T82" fmla="*/ 54 w 64"/>
                <a:gd name="T83" fmla="*/ 54 h 78"/>
                <a:gd name="T84" fmla="*/ 58 w 64"/>
                <a:gd name="T85" fmla="*/ 53 h 78"/>
                <a:gd name="T86" fmla="*/ 62 w 64"/>
                <a:gd name="T87" fmla="*/ 41 h 78"/>
                <a:gd name="T88" fmla="*/ 54 w 64"/>
                <a:gd name="T89" fmla="*/ 36 h 78"/>
                <a:gd name="T90" fmla="*/ 50 w 64"/>
                <a:gd name="T91" fmla="*/ 37 h 78"/>
                <a:gd name="T92" fmla="*/ 50 w 64"/>
                <a:gd name="T93" fmla="*/ 37 h 78"/>
                <a:gd name="T94" fmla="*/ 50 w 64"/>
                <a:gd name="T95" fmla="*/ 37 h 78"/>
                <a:gd name="T96" fmla="*/ 33 w 64"/>
                <a:gd name="T97" fmla="*/ 11 h 78"/>
                <a:gd name="T98" fmla="*/ 33 w 64"/>
                <a:gd name="T99" fmla="*/ 11 h 78"/>
                <a:gd name="T100" fmla="*/ 34 w 64"/>
                <a:gd name="T101" fmla="*/ 4 h 78"/>
                <a:gd name="T102" fmla="*/ 28 w 64"/>
                <a:gd name="T10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78">
                  <a:moveTo>
                    <a:pt x="28" y="13"/>
                  </a:moveTo>
                  <a:cubicBezTo>
                    <a:pt x="29" y="13"/>
                    <a:pt x="30" y="13"/>
                    <a:pt x="31" y="12"/>
                  </a:cubicBezTo>
                  <a:cubicBezTo>
                    <a:pt x="31" y="12"/>
                    <a:pt x="31" y="12"/>
                    <a:pt x="31" y="12"/>
                  </a:cubicBezTo>
                  <a:cubicBezTo>
                    <a:pt x="31" y="12"/>
                    <a:pt x="31" y="12"/>
                    <a:pt x="31" y="12"/>
                  </a:cubicBezTo>
                  <a:cubicBezTo>
                    <a:pt x="32" y="12"/>
                    <a:pt x="49" y="37"/>
                    <a:pt x="48" y="38"/>
                  </a:cubicBezTo>
                  <a:cubicBezTo>
                    <a:pt x="48" y="38"/>
                    <a:pt x="48" y="38"/>
                    <a:pt x="48" y="38"/>
                  </a:cubicBezTo>
                  <a:cubicBezTo>
                    <a:pt x="45" y="41"/>
                    <a:pt x="44" y="45"/>
                    <a:pt x="46" y="49"/>
                  </a:cubicBezTo>
                  <a:cubicBezTo>
                    <a:pt x="46" y="49"/>
                    <a:pt x="46" y="49"/>
                    <a:pt x="46" y="49"/>
                  </a:cubicBezTo>
                  <a:cubicBezTo>
                    <a:pt x="46" y="49"/>
                    <a:pt x="46" y="49"/>
                    <a:pt x="46" y="49"/>
                  </a:cubicBezTo>
                  <a:cubicBezTo>
                    <a:pt x="47" y="51"/>
                    <a:pt x="21" y="70"/>
                    <a:pt x="20" y="70"/>
                  </a:cubicBezTo>
                  <a:cubicBezTo>
                    <a:pt x="20" y="70"/>
                    <a:pt x="20" y="70"/>
                    <a:pt x="20" y="70"/>
                  </a:cubicBezTo>
                  <a:cubicBezTo>
                    <a:pt x="20" y="70"/>
                    <a:pt x="20" y="70"/>
                    <a:pt x="20" y="70"/>
                  </a:cubicBezTo>
                  <a:cubicBezTo>
                    <a:pt x="19" y="70"/>
                    <a:pt x="19" y="69"/>
                    <a:pt x="18" y="69"/>
                  </a:cubicBezTo>
                  <a:cubicBezTo>
                    <a:pt x="18" y="69"/>
                    <a:pt x="18" y="69"/>
                    <a:pt x="18" y="69"/>
                  </a:cubicBezTo>
                  <a:cubicBezTo>
                    <a:pt x="17" y="69"/>
                    <a:pt x="26" y="13"/>
                    <a:pt x="28" y="13"/>
                  </a:cubicBezTo>
                  <a:cubicBezTo>
                    <a:pt x="28" y="13"/>
                    <a:pt x="28" y="13"/>
                    <a:pt x="28" y="13"/>
                  </a:cubicBezTo>
                  <a:cubicBezTo>
                    <a:pt x="28" y="13"/>
                    <a:pt x="28" y="13"/>
                    <a:pt x="28" y="13"/>
                  </a:cubicBezTo>
                  <a:moveTo>
                    <a:pt x="28" y="0"/>
                  </a:moveTo>
                  <a:cubicBezTo>
                    <a:pt x="27" y="0"/>
                    <a:pt x="26" y="0"/>
                    <a:pt x="25" y="0"/>
                  </a:cubicBezTo>
                  <a:cubicBezTo>
                    <a:pt x="21" y="2"/>
                    <a:pt x="20" y="6"/>
                    <a:pt x="22" y="9"/>
                  </a:cubicBezTo>
                  <a:cubicBezTo>
                    <a:pt x="22" y="11"/>
                    <a:pt x="24" y="12"/>
                    <a:pt x="26" y="13"/>
                  </a:cubicBezTo>
                  <a:cubicBezTo>
                    <a:pt x="26" y="13"/>
                    <a:pt x="26" y="13"/>
                    <a:pt x="26" y="13"/>
                  </a:cubicBezTo>
                  <a:cubicBezTo>
                    <a:pt x="27" y="13"/>
                    <a:pt x="18" y="69"/>
                    <a:pt x="17" y="69"/>
                  </a:cubicBezTo>
                  <a:cubicBezTo>
                    <a:pt x="17" y="69"/>
                    <a:pt x="17" y="69"/>
                    <a:pt x="17" y="69"/>
                  </a:cubicBezTo>
                  <a:cubicBezTo>
                    <a:pt x="17" y="69"/>
                    <a:pt x="17" y="69"/>
                    <a:pt x="17" y="69"/>
                  </a:cubicBezTo>
                  <a:cubicBezTo>
                    <a:pt x="16" y="69"/>
                    <a:pt x="15" y="69"/>
                    <a:pt x="15" y="69"/>
                  </a:cubicBezTo>
                  <a:cubicBezTo>
                    <a:pt x="14" y="70"/>
                    <a:pt x="14" y="70"/>
                    <a:pt x="13" y="70"/>
                  </a:cubicBezTo>
                  <a:cubicBezTo>
                    <a:pt x="14" y="70"/>
                    <a:pt x="14" y="70"/>
                    <a:pt x="14" y="70"/>
                  </a:cubicBezTo>
                  <a:cubicBezTo>
                    <a:pt x="14" y="70"/>
                    <a:pt x="14" y="70"/>
                    <a:pt x="14" y="70"/>
                  </a:cubicBezTo>
                  <a:cubicBezTo>
                    <a:pt x="13" y="70"/>
                    <a:pt x="7" y="65"/>
                    <a:pt x="0" y="59"/>
                  </a:cubicBezTo>
                  <a:cubicBezTo>
                    <a:pt x="7" y="66"/>
                    <a:pt x="13" y="71"/>
                    <a:pt x="12" y="71"/>
                  </a:cubicBezTo>
                  <a:cubicBezTo>
                    <a:pt x="12" y="71"/>
                    <a:pt x="12" y="71"/>
                    <a:pt x="12" y="71"/>
                  </a:cubicBezTo>
                  <a:cubicBezTo>
                    <a:pt x="12" y="72"/>
                    <a:pt x="12" y="74"/>
                    <a:pt x="12" y="75"/>
                  </a:cubicBezTo>
                  <a:cubicBezTo>
                    <a:pt x="13" y="77"/>
                    <a:pt x="15" y="78"/>
                    <a:pt x="17" y="78"/>
                  </a:cubicBezTo>
                  <a:cubicBezTo>
                    <a:pt x="17" y="78"/>
                    <a:pt x="18" y="78"/>
                    <a:pt x="19" y="78"/>
                  </a:cubicBezTo>
                  <a:cubicBezTo>
                    <a:pt x="21" y="77"/>
                    <a:pt x="22" y="74"/>
                    <a:pt x="21" y="72"/>
                  </a:cubicBezTo>
                  <a:cubicBezTo>
                    <a:pt x="21" y="71"/>
                    <a:pt x="21" y="71"/>
                    <a:pt x="21" y="71"/>
                  </a:cubicBezTo>
                  <a:cubicBezTo>
                    <a:pt x="21" y="71"/>
                    <a:pt x="21" y="71"/>
                    <a:pt x="21" y="71"/>
                  </a:cubicBezTo>
                  <a:cubicBezTo>
                    <a:pt x="20" y="70"/>
                    <a:pt x="45" y="51"/>
                    <a:pt x="48" y="51"/>
                  </a:cubicBezTo>
                  <a:cubicBezTo>
                    <a:pt x="48" y="51"/>
                    <a:pt x="48" y="51"/>
                    <a:pt x="48" y="51"/>
                  </a:cubicBezTo>
                  <a:cubicBezTo>
                    <a:pt x="48" y="51"/>
                    <a:pt x="48" y="51"/>
                    <a:pt x="48" y="51"/>
                  </a:cubicBezTo>
                  <a:cubicBezTo>
                    <a:pt x="49" y="53"/>
                    <a:pt x="52" y="54"/>
                    <a:pt x="54" y="54"/>
                  </a:cubicBezTo>
                  <a:cubicBezTo>
                    <a:pt x="55" y="54"/>
                    <a:pt x="57" y="53"/>
                    <a:pt x="58" y="53"/>
                  </a:cubicBezTo>
                  <a:cubicBezTo>
                    <a:pt x="63" y="51"/>
                    <a:pt x="64" y="46"/>
                    <a:pt x="62" y="41"/>
                  </a:cubicBezTo>
                  <a:cubicBezTo>
                    <a:pt x="61" y="38"/>
                    <a:pt x="57" y="36"/>
                    <a:pt x="54" y="36"/>
                  </a:cubicBezTo>
                  <a:cubicBezTo>
                    <a:pt x="53" y="36"/>
                    <a:pt x="51" y="36"/>
                    <a:pt x="50" y="37"/>
                  </a:cubicBezTo>
                  <a:cubicBezTo>
                    <a:pt x="50" y="37"/>
                    <a:pt x="50" y="37"/>
                    <a:pt x="50" y="37"/>
                  </a:cubicBezTo>
                  <a:cubicBezTo>
                    <a:pt x="50" y="37"/>
                    <a:pt x="50" y="37"/>
                    <a:pt x="50" y="37"/>
                  </a:cubicBezTo>
                  <a:cubicBezTo>
                    <a:pt x="48" y="37"/>
                    <a:pt x="32" y="12"/>
                    <a:pt x="33" y="11"/>
                  </a:cubicBezTo>
                  <a:cubicBezTo>
                    <a:pt x="33" y="11"/>
                    <a:pt x="33" y="11"/>
                    <a:pt x="33" y="11"/>
                  </a:cubicBezTo>
                  <a:cubicBezTo>
                    <a:pt x="35" y="9"/>
                    <a:pt x="35" y="6"/>
                    <a:pt x="34" y="4"/>
                  </a:cubicBezTo>
                  <a:cubicBezTo>
                    <a:pt x="33" y="1"/>
                    <a:pt x="30" y="0"/>
                    <a:pt x="28"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 name="Freeform 15"/>
            <p:cNvSpPr>
              <a:spLocks/>
            </p:cNvSpPr>
            <p:nvPr/>
          </p:nvSpPr>
          <p:spPr bwMode="auto">
            <a:xfrm>
              <a:off x="6832600" y="3729038"/>
              <a:ext cx="30163" cy="63500"/>
            </a:xfrm>
            <a:custGeom>
              <a:avLst/>
              <a:gdLst>
                <a:gd name="T0" fmla="*/ 0 w 8"/>
                <a:gd name="T1" fmla="*/ 0 h 17"/>
                <a:gd name="T2" fmla="*/ 8 w 8"/>
                <a:gd name="T3" fmla="*/ 17 h 17"/>
                <a:gd name="T4" fmla="*/ 0 w 8"/>
                <a:gd name="T5" fmla="*/ 0 h 17"/>
              </a:gdLst>
              <a:ahLst/>
              <a:cxnLst>
                <a:cxn ang="0">
                  <a:pos x="T0" y="T1"/>
                </a:cxn>
                <a:cxn ang="0">
                  <a:pos x="T2" y="T3"/>
                </a:cxn>
                <a:cxn ang="0">
                  <a:pos x="T4" y="T5"/>
                </a:cxn>
              </a:cxnLst>
              <a:rect l="0" t="0" r="r" b="b"/>
              <a:pathLst>
                <a:path w="8" h="17">
                  <a:moveTo>
                    <a:pt x="0" y="0"/>
                  </a:moveTo>
                  <a:cubicBezTo>
                    <a:pt x="3" y="5"/>
                    <a:pt x="6" y="11"/>
                    <a:pt x="8" y="17"/>
                  </a:cubicBezTo>
                  <a:cubicBezTo>
                    <a:pt x="6" y="11"/>
                    <a:pt x="3" y="5"/>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 name="Freeform 16"/>
            <p:cNvSpPr>
              <a:spLocks/>
            </p:cNvSpPr>
            <p:nvPr/>
          </p:nvSpPr>
          <p:spPr bwMode="auto">
            <a:xfrm>
              <a:off x="6656388" y="3328988"/>
              <a:ext cx="17463" cy="3175"/>
            </a:xfrm>
            <a:custGeom>
              <a:avLst/>
              <a:gdLst>
                <a:gd name="T0" fmla="*/ 0 w 5"/>
                <a:gd name="T1" fmla="*/ 0 h 1"/>
                <a:gd name="T2" fmla="*/ 5 w 5"/>
                <a:gd name="T3" fmla="*/ 1 h 1"/>
                <a:gd name="T4" fmla="*/ 0 w 5"/>
                <a:gd name="T5" fmla="*/ 0 h 1"/>
              </a:gdLst>
              <a:ahLst/>
              <a:cxnLst>
                <a:cxn ang="0">
                  <a:pos x="T0" y="T1"/>
                </a:cxn>
                <a:cxn ang="0">
                  <a:pos x="T2" y="T3"/>
                </a:cxn>
                <a:cxn ang="0">
                  <a:pos x="T4" y="T5"/>
                </a:cxn>
              </a:cxnLst>
              <a:rect l="0" t="0" r="r" b="b"/>
              <a:pathLst>
                <a:path w="5" h="1">
                  <a:moveTo>
                    <a:pt x="0" y="0"/>
                  </a:moveTo>
                  <a:cubicBezTo>
                    <a:pt x="2" y="0"/>
                    <a:pt x="4" y="1"/>
                    <a:pt x="5" y="1"/>
                  </a:cubicBezTo>
                  <a:cubicBezTo>
                    <a:pt x="4" y="0"/>
                    <a:pt x="2" y="0"/>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 name="Freeform 17"/>
            <p:cNvSpPr>
              <a:spLocks/>
            </p:cNvSpPr>
            <p:nvPr/>
          </p:nvSpPr>
          <p:spPr bwMode="auto">
            <a:xfrm>
              <a:off x="6040438" y="3951288"/>
              <a:ext cx="44450" cy="19050"/>
            </a:xfrm>
            <a:custGeom>
              <a:avLst/>
              <a:gdLst>
                <a:gd name="T0" fmla="*/ 0 w 12"/>
                <a:gd name="T1" fmla="*/ 0 h 5"/>
                <a:gd name="T2" fmla="*/ 12 w 12"/>
                <a:gd name="T3" fmla="*/ 5 h 5"/>
                <a:gd name="T4" fmla="*/ 0 w 12"/>
                <a:gd name="T5" fmla="*/ 0 h 5"/>
              </a:gdLst>
              <a:ahLst/>
              <a:cxnLst>
                <a:cxn ang="0">
                  <a:pos x="T0" y="T1"/>
                </a:cxn>
                <a:cxn ang="0">
                  <a:pos x="T2" y="T3"/>
                </a:cxn>
                <a:cxn ang="0">
                  <a:pos x="T4" y="T5"/>
                </a:cxn>
              </a:cxnLst>
              <a:rect l="0" t="0" r="r" b="b"/>
              <a:pathLst>
                <a:path w="12" h="5">
                  <a:moveTo>
                    <a:pt x="0" y="0"/>
                  </a:moveTo>
                  <a:cubicBezTo>
                    <a:pt x="4" y="1"/>
                    <a:pt x="8" y="3"/>
                    <a:pt x="12" y="5"/>
                  </a:cubicBezTo>
                  <a:cubicBezTo>
                    <a:pt x="8" y="3"/>
                    <a:pt x="4"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 name="Freeform 18"/>
            <p:cNvSpPr>
              <a:spLocks/>
            </p:cNvSpPr>
            <p:nvPr/>
          </p:nvSpPr>
          <p:spPr bwMode="auto">
            <a:xfrm>
              <a:off x="7485063" y="3729038"/>
              <a:ext cx="11113" cy="77788"/>
            </a:xfrm>
            <a:custGeom>
              <a:avLst/>
              <a:gdLst>
                <a:gd name="T0" fmla="*/ 3 w 3"/>
                <a:gd name="T1" fmla="*/ 0 h 21"/>
                <a:gd name="T2" fmla="*/ 0 w 3"/>
                <a:gd name="T3" fmla="*/ 21 h 21"/>
                <a:gd name="T4" fmla="*/ 3 w 3"/>
                <a:gd name="T5" fmla="*/ 0 h 21"/>
              </a:gdLst>
              <a:ahLst/>
              <a:cxnLst>
                <a:cxn ang="0">
                  <a:pos x="T0" y="T1"/>
                </a:cxn>
                <a:cxn ang="0">
                  <a:pos x="T2" y="T3"/>
                </a:cxn>
                <a:cxn ang="0">
                  <a:pos x="T4" y="T5"/>
                </a:cxn>
              </a:cxnLst>
              <a:rect l="0" t="0" r="r" b="b"/>
              <a:pathLst>
                <a:path w="3" h="21">
                  <a:moveTo>
                    <a:pt x="3" y="0"/>
                  </a:moveTo>
                  <a:cubicBezTo>
                    <a:pt x="2" y="7"/>
                    <a:pt x="1" y="15"/>
                    <a:pt x="0" y="21"/>
                  </a:cubicBezTo>
                  <a:cubicBezTo>
                    <a:pt x="1" y="15"/>
                    <a:pt x="2" y="7"/>
                    <a:pt x="3"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 name="Freeform 19"/>
            <p:cNvSpPr>
              <a:spLocks noEditPoints="1"/>
            </p:cNvSpPr>
            <p:nvPr/>
          </p:nvSpPr>
          <p:spPr bwMode="auto">
            <a:xfrm>
              <a:off x="2719388" y="2635250"/>
              <a:ext cx="4916488" cy="1974850"/>
            </a:xfrm>
            <a:custGeom>
              <a:avLst/>
              <a:gdLst>
                <a:gd name="T0" fmla="*/ 893 w 1309"/>
                <a:gd name="T1" fmla="*/ 437 h 524"/>
                <a:gd name="T2" fmla="*/ 374 w 1309"/>
                <a:gd name="T3" fmla="*/ 407 h 524"/>
                <a:gd name="T4" fmla="*/ 109 w 1309"/>
                <a:gd name="T5" fmla="*/ 335 h 524"/>
                <a:gd name="T6" fmla="*/ 711 w 1309"/>
                <a:gd name="T7" fmla="*/ 231 h 524"/>
                <a:gd name="T8" fmla="*/ 511 w 1309"/>
                <a:gd name="T9" fmla="*/ 291 h 524"/>
                <a:gd name="T10" fmla="*/ 1098 w 1309"/>
                <a:gd name="T11" fmla="*/ 219 h 524"/>
                <a:gd name="T12" fmla="*/ 125 w 1309"/>
                <a:gd name="T13" fmla="*/ 212 h 524"/>
                <a:gd name="T14" fmla="*/ 774 w 1309"/>
                <a:gd name="T15" fmla="*/ 164 h 524"/>
                <a:gd name="T16" fmla="*/ 772 w 1309"/>
                <a:gd name="T17" fmla="*/ 166 h 524"/>
                <a:gd name="T18" fmla="*/ 994 w 1309"/>
                <a:gd name="T19" fmla="*/ 178 h 524"/>
                <a:gd name="T20" fmla="*/ 776 w 1309"/>
                <a:gd name="T21" fmla="*/ 159 h 524"/>
                <a:gd name="T22" fmla="*/ 776 w 1309"/>
                <a:gd name="T23" fmla="*/ 159 h 524"/>
                <a:gd name="T24" fmla="*/ 40 w 1309"/>
                <a:gd name="T25" fmla="*/ 153 h 524"/>
                <a:gd name="T26" fmla="*/ 41 w 1309"/>
                <a:gd name="T27" fmla="*/ 138 h 524"/>
                <a:gd name="T28" fmla="*/ 625 w 1309"/>
                <a:gd name="T29" fmla="*/ 165 h 524"/>
                <a:gd name="T30" fmla="*/ 523 w 1309"/>
                <a:gd name="T31" fmla="*/ 211 h 524"/>
                <a:gd name="T32" fmla="*/ 784 w 1309"/>
                <a:gd name="T33" fmla="*/ 34 h 524"/>
                <a:gd name="T34" fmla="*/ 738 w 1309"/>
                <a:gd name="T35" fmla="*/ 161 h 524"/>
                <a:gd name="T36" fmla="*/ 645 w 1309"/>
                <a:gd name="T37" fmla="*/ 268 h 524"/>
                <a:gd name="T38" fmla="*/ 686 w 1309"/>
                <a:gd name="T39" fmla="*/ 160 h 524"/>
                <a:gd name="T40" fmla="*/ 656 w 1309"/>
                <a:gd name="T41" fmla="*/ 136 h 524"/>
                <a:gd name="T42" fmla="*/ 505 w 1309"/>
                <a:gd name="T43" fmla="*/ 214 h 524"/>
                <a:gd name="T44" fmla="*/ 320 w 1309"/>
                <a:gd name="T45" fmla="*/ 318 h 524"/>
                <a:gd name="T46" fmla="*/ 85 w 1309"/>
                <a:gd name="T47" fmla="*/ 202 h 524"/>
                <a:gd name="T48" fmla="*/ 106 w 1309"/>
                <a:gd name="T49" fmla="*/ 162 h 524"/>
                <a:gd name="T50" fmla="*/ 48 w 1309"/>
                <a:gd name="T51" fmla="*/ 132 h 524"/>
                <a:gd name="T52" fmla="*/ 15 w 1309"/>
                <a:gd name="T53" fmla="*/ 168 h 524"/>
                <a:gd name="T54" fmla="*/ 55 w 1309"/>
                <a:gd name="T55" fmla="*/ 246 h 524"/>
                <a:gd name="T56" fmla="*/ 66 w 1309"/>
                <a:gd name="T57" fmla="*/ 318 h 524"/>
                <a:gd name="T58" fmla="*/ 113 w 1309"/>
                <a:gd name="T59" fmla="*/ 332 h 524"/>
                <a:gd name="T60" fmla="*/ 165 w 1309"/>
                <a:gd name="T61" fmla="*/ 300 h 524"/>
                <a:gd name="T62" fmla="*/ 375 w 1309"/>
                <a:gd name="T63" fmla="*/ 342 h 524"/>
                <a:gd name="T64" fmla="*/ 401 w 1309"/>
                <a:gd name="T65" fmla="*/ 388 h 524"/>
                <a:gd name="T66" fmla="*/ 379 w 1309"/>
                <a:gd name="T67" fmla="*/ 337 h 524"/>
                <a:gd name="T68" fmla="*/ 519 w 1309"/>
                <a:gd name="T69" fmla="*/ 309 h 524"/>
                <a:gd name="T70" fmla="*/ 641 w 1309"/>
                <a:gd name="T71" fmla="*/ 298 h 524"/>
                <a:gd name="T72" fmla="*/ 552 w 1309"/>
                <a:gd name="T73" fmla="*/ 435 h 524"/>
                <a:gd name="T74" fmla="*/ 681 w 1309"/>
                <a:gd name="T75" fmla="*/ 478 h 524"/>
                <a:gd name="T76" fmla="*/ 675 w 1309"/>
                <a:gd name="T77" fmla="*/ 489 h 524"/>
                <a:gd name="T78" fmla="*/ 758 w 1309"/>
                <a:gd name="T79" fmla="*/ 416 h 524"/>
                <a:gd name="T80" fmla="*/ 741 w 1309"/>
                <a:gd name="T81" fmla="*/ 317 h 524"/>
                <a:gd name="T82" fmla="*/ 889 w 1309"/>
                <a:gd name="T83" fmla="*/ 439 h 524"/>
                <a:gd name="T84" fmla="*/ 926 w 1309"/>
                <a:gd name="T85" fmla="*/ 363 h 524"/>
                <a:gd name="T86" fmla="*/ 871 w 1309"/>
                <a:gd name="T87" fmla="*/ 413 h 524"/>
                <a:gd name="T88" fmla="*/ 712 w 1309"/>
                <a:gd name="T89" fmla="*/ 233 h 524"/>
                <a:gd name="T90" fmla="*/ 764 w 1309"/>
                <a:gd name="T91" fmla="*/ 165 h 524"/>
                <a:gd name="T92" fmla="*/ 845 w 1309"/>
                <a:gd name="T93" fmla="*/ 209 h 524"/>
                <a:gd name="T94" fmla="*/ 912 w 1309"/>
                <a:gd name="T95" fmla="*/ 234 h 524"/>
                <a:gd name="T96" fmla="*/ 884 w 1309"/>
                <a:gd name="T97" fmla="*/ 349 h 524"/>
                <a:gd name="T98" fmla="*/ 1000 w 1309"/>
                <a:gd name="T99" fmla="*/ 192 h 524"/>
                <a:gd name="T100" fmla="*/ 1083 w 1309"/>
                <a:gd name="T101" fmla="*/ 271 h 524"/>
                <a:gd name="T102" fmla="*/ 1023 w 1309"/>
                <a:gd name="T103" fmla="*/ 286 h 524"/>
                <a:gd name="T104" fmla="*/ 1067 w 1309"/>
                <a:gd name="T105" fmla="*/ 180 h 524"/>
                <a:gd name="T106" fmla="*/ 1069 w 1309"/>
                <a:gd name="T107" fmla="*/ 194 h 524"/>
                <a:gd name="T108" fmla="*/ 1138 w 1309"/>
                <a:gd name="T109" fmla="*/ 197 h 524"/>
                <a:gd name="T110" fmla="*/ 1141 w 1309"/>
                <a:gd name="T111" fmla="*/ 192 h 524"/>
                <a:gd name="T112" fmla="*/ 1130 w 1309"/>
                <a:gd name="T113" fmla="*/ 80 h 524"/>
                <a:gd name="T114" fmla="*/ 1257 w 1309"/>
                <a:gd name="T115" fmla="*/ 243 h 524"/>
                <a:gd name="T116" fmla="*/ 1273 w 1309"/>
                <a:gd name="T117" fmla="*/ 254 h 524"/>
                <a:gd name="T118" fmla="*/ 1148 w 1309"/>
                <a:gd name="T119" fmla="*/ 135 h 524"/>
                <a:gd name="T120" fmla="*/ 1023 w 1309"/>
                <a:gd name="T121" fmla="*/ 153 h 524"/>
                <a:gd name="T122" fmla="*/ 1011 w 1309"/>
                <a:gd name="T123" fmla="*/ 101 h 524"/>
                <a:gd name="T124" fmla="*/ 848 w 1309"/>
                <a:gd name="T125" fmla="*/ 12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9" h="524">
                  <a:moveTo>
                    <a:pt x="897" y="418"/>
                  </a:moveTo>
                  <a:cubicBezTo>
                    <a:pt x="895" y="415"/>
                    <a:pt x="923" y="393"/>
                    <a:pt x="929" y="393"/>
                  </a:cubicBezTo>
                  <a:cubicBezTo>
                    <a:pt x="930" y="393"/>
                    <a:pt x="930" y="394"/>
                    <a:pt x="930" y="394"/>
                  </a:cubicBezTo>
                  <a:cubicBezTo>
                    <a:pt x="930" y="394"/>
                    <a:pt x="930" y="394"/>
                    <a:pt x="930" y="394"/>
                  </a:cubicBezTo>
                  <a:cubicBezTo>
                    <a:pt x="932" y="395"/>
                    <a:pt x="934" y="397"/>
                    <a:pt x="936" y="398"/>
                  </a:cubicBezTo>
                  <a:cubicBezTo>
                    <a:pt x="938" y="399"/>
                    <a:pt x="941" y="400"/>
                    <a:pt x="943" y="400"/>
                  </a:cubicBezTo>
                  <a:cubicBezTo>
                    <a:pt x="943" y="400"/>
                    <a:pt x="943" y="400"/>
                    <a:pt x="943" y="400"/>
                  </a:cubicBezTo>
                  <a:cubicBezTo>
                    <a:pt x="948" y="401"/>
                    <a:pt x="942" y="495"/>
                    <a:pt x="939" y="496"/>
                  </a:cubicBezTo>
                  <a:cubicBezTo>
                    <a:pt x="939" y="496"/>
                    <a:pt x="939" y="496"/>
                    <a:pt x="939" y="496"/>
                  </a:cubicBezTo>
                  <a:cubicBezTo>
                    <a:pt x="938" y="496"/>
                    <a:pt x="936" y="496"/>
                    <a:pt x="935" y="497"/>
                  </a:cubicBezTo>
                  <a:cubicBezTo>
                    <a:pt x="935" y="497"/>
                    <a:pt x="935" y="497"/>
                    <a:pt x="935" y="497"/>
                  </a:cubicBezTo>
                  <a:cubicBezTo>
                    <a:pt x="935" y="497"/>
                    <a:pt x="935" y="497"/>
                    <a:pt x="935" y="497"/>
                  </a:cubicBezTo>
                  <a:cubicBezTo>
                    <a:pt x="932" y="497"/>
                    <a:pt x="891" y="439"/>
                    <a:pt x="893" y="437"/>
                  </a:cubicBezTo>
                  <a:cubicBezTo>
                    <a:pt x="893" y="437"/>
                    <a:pt x="893" y="437"/>
                    <a:pt x="893" y="437"/>
                  </a:cubicBezTo>
                  <a:cubicBezTo>
                    <a:pt x="896" y="434"/>
                    <a:pt x="898" y="430"/>
                    <a:pt x="898" y="426"/>
                  </a:cubicBezTo>
                  <a:cubicBezTo>
                    <a:pt x="899" y="423"/>
                    <a:pt x="898" y="420"/>
                    <a:pt x="896" y="418"/>
                  </a:cubicBezTo>
                  <a:cubicBezTo>
                    <a:pt x="897" y="418"/>
                    <a:pt x="897" y="418"/>
                    <a:pt x="897" y="418"/>
                  </a:cubicBezTo>
                  <a:moveTo>
                    <a:pt x="382" y="350"/>
                  </a:moveTo>
                  <a:cubicBezTo>
                    <a:pt x="383" y="350"/>
                    <a:pt x="384" y="350"/>
                    <a:pt x="385" y="349"/>
                  </a:cubicBezTo>
                  <a:cubicBezTo>
                    <a:pt x="385" y="349"/>
                    <a:pt x="385" y="349"/>
                    <a:pt x="385" y="349"/>
                  </a:cubicBezTo>
                  <a:cubicBezTo>
                    <a:pt x="385" y="349"/>
                    <a:pt x="385" y="349"/>
                    <a:pt x="385" y="349"/>
                  </a:cubicBezTo>
                  <a:cubicBezTo>
                    <a:pt x="386" y="349"/>
                    <a:pt x="403" y="374"/>
                    <a:pt x="402" y="375"/>
                  </a:cubicBezTo>
                  <a:cubicBezTo>
                    <a:pt x="402" y="375"/>
                    <a:pt x="402" y="375"/>
                    <a:pt x="402" y="375"/>
                  </a:cubicBezTo>
                  <a:cubicBezTo>
                    <a:pt x="399" y="378"/>
                    <a:pt x="398" y="382"/>
                    <a:pt x="400" y="385"/>
                  </a:cubicBezTo>
                  <a:cubicBezTo>
                    <a:pt x="400" y="386"/>
                    <a:pt x="400" y="386"/>
                    <a:pt x="400" y="386"/>
                  </a:cubicBezTo>
                  <a:cubicBezTo>
                    <a:pt x="400" y="386"/>
                    <a:pt x="400" y="386"/>
                    <a:pt x="400" y="386"/>
                  </a:cubicBezTo>
                  <a:cubicBezTo>
                    <a:pt x="401" y="388"/>
                    <a:pt x="375" y="407"/>
                    <a:pt x="374" y="407"/>
                  </a:cubicBezTo>
                  <a:cubicBezTo>
                    <a:pt x="374" y="407"/>
                    <a:pt x="374" y="407"/>
                    <a:pt x="374" y="407"/>
                  </a:cubicBezTo>
                  <a:cubicBezTo>
                    <a:pt x="374" y="407"/>
                    <a:pt x="374" y="407"/>
                    <a:pt x="374" y="407"/>
                  </a:cubicBezTo>
                  <a:cubicBezTo>
                    <a:pt x="373" y="406"/>
                    <a:pt x="373" y="406"/>
                    <a:pt x="372" y="406"/>
                  </a:cubicBezTo>
                  <a:cubicBezTo>
                    <a:pt x="372" y="406"/>
                    <a:pt x="372" y="406"/>
                    <a:pt x="372" y="406"/>
                  </a:cubicBezTo>
                  <a:cubicBezTo>
                    <a:pt x="371" y="406"/>
                    <a:pt x="380" y="350"/>
                    <a:pt x="382" y="350"/>
                  </a:cubicBezTo>
                  <a:cubicBezTo>
                    <a:pt x="382" y="350"/>
                    <a:pt x="382" y="350"/>
                    <a:pt x="382" y="350"/>
                  </a:cubicBezTo>
                  <a:cubicBezTo>
                    <a:pt x="382" y="350"/>
                    <a:pt x="382" y="350"/>
                    <a:pt x="382" y="350"/>
                  </a:cubicBezTo>
                  <a:moveTo>
                    <a:pt x="110" y="294"/>
                  </a:moveTo>
                  <a:cubicBezTo>
                    <a:pt x="110" y="294"/>
                    <a:pt x="110" y="294"/>
                    <a:pt x="110" y="294"/>
                  </a:cubicBezTo>
                  <a:cubicBezTo>
                    <a:pt x="110" y="294"/>
                    <a:pt x="111" y="295"/>
                    <a:pt x="112" y="295"/>
                  </a:cubicBezTo>
                  <a:cubicBezTo>
                    <a:pt x="112" y="295"/>
                    <a:pt x="112" y="295"/>
                    <a:pt x="112" y="295"/>
                  </a:cubicBezTo>
                  <a:cubicBezTo>
                    <a:pt x="113" y="295"/>
                    <a:pt x="113" y="332"/>
                    <a:pt x="112" y="332"/>
                  </a:cubicBezTo>
                  <a:cubicBezTo>
                    <a:pt x="112" y="332"/>
                    <a:pt x="112" y="332"/>
                    <a:pt x="112" y="332"/>
                  </a:cubicBezTo>
                  <a:cubicBezTo>
                    <a:pt x="112" y="333"/>
                    <a:pt x="111" y="333"/>
                    <a:pt x="111" y="333"/>
                  </a:cubicBezTo>
                  <a:cubicBezTo>
                    <a:pt x="110" y="333"/>
                    <a:pt x="109" y="334"/>
                    <a:pt x="109" y="335"/>
                  </a:cubicBezTo>
                  <a:cubicBezTo>
                    <a:pt x="109" y="334"/>
                    <a:pt x="109" y="334"/>
                    <a:pt x="109" y="334"/>
                  </a:cubicBezTo>
                  <a:cubicBezTo>
                    <a:pt x="109" y="334"/>
                    <a:pt x="109" y="334"/>
                    <a:pt x="109" y="334"/>
                  </a:cubicBezTo>
                  <a:cubicBezTo>
                    <a:pt x="107" y="334"/>
                    <a:pt x="70" y="323"/>
                    <a:pt x="70" y="322"/>
                  </a:cubicBezTo>
                  <a:cubicBezTo>
                    <a:pt x="70" y="322"/>
                    <a:pt x="70" y="322"/>
                    <a:pt x="70" y="322"/>
                  </a:cubicBezTo>
                  <a:cubicBezTo>
                    <a:pt x="70" y="321"/>
                    <a:pt x="70" y="321"/>
                    <a:pt x="70" y="320"/>
                  </a:cubicBezTo>
                  <a:cubicBezTo>
                    <a:pt x="70" y="320"/>
                    <a:pt x="70" y="320"/>
                    <a:pt x="70" y="320"/>
                  </a:cubicBezTo>
                  <a:cubicBezTo>
                    <a:pt x="70" y="320"/>
                    <a:pt x="70" y="320"/>
                    <a:pt x="70" y="320"/>
                  </a:cubicBezTo>
                  <a:cubicBezTo>
                    <a:pt x="69" y="319"/>
                    <a:pt x="108" y="294"/>
                    <a:pt x="110" y="294"/>
                  </a:cubicBezTo>
                  <a:cubicBezTo>
                    <a:pt x="110" y="294"/>
                    <a:pt x="110" y="294"/>
                    <a:pt x="110" y="294"/>
                  </a:cubicBezTo>
                  <a:moveTo>
                    <a:pt x="656" y="271"/>
                  </a:moveTo>
                  <a:cubicBezTo>
                    <a:pt x="663" y="262"/>
                    <a:pt x="685" y="240"/>
                    <a:pt x="708" y="218"/>
                  </a:cubicBezTo>
                  <a:cubicBezTo>
                    <a:pt x="710" y="221"/>
                    <a:pt x="712" y="223"/>
                    <a:pt x="711" y="223"/>
                  </a:cubicBezTo>
                  <a:cubicBezTo>
                    <a:pt x="711" y="223"/>
                    <a:pt x="711" y="223"/>
                    <a:pt x="711" y="223"/>
                  </a:cubicBezTo>
                  <a:cubicBezTo>
                    <a:pt x="710" y="225"/>
                    <a:pt x="709" y="228"/>
                    <a:pt x="711" y="231"/>
                  </a:cubicBezTo>
                  <a:cubicBezTo>
                    <a:pt x="711" y="231"/>
                    <a:pt x="711" y="231"/>
                    <a:pt x="711" y="231"/>
                  </a:cubicBezTo>
                  <a:cubicBezTo>
                    <a:pt x="711" y="231"/>
                    <a:pt x="711" y="231"/>
                    <a:pt x="711" y="231"/>
                  </a:cubicBezTo>
                  <a:cubicBezTo>
                    <a:pt x="711" y="232"/>
                    <a:pt x="669" y="263"/>
                    <a:pt x="656" y="271"/>
                  </a:cubicBezTo>
                  <a:moveTo>
                    <a:pt x="516" y="214"/>
                  </a:moveTo>
                  <a:cubicBezTo>
                    <a:pt x="516" y="214"/>
                    <a:pt x="516" y="214"/>
                    <a:pt x="516" y="214"/>
                  </a:cubicBezTo>
                  <a:cubicBezTo>
                    <a:pt x="521" y="214"/>
                    <a:pt x="573" y="327"/>
                    <a:pt x="571" y="328"/>
                  </a:cubicBezTo>
                  <a:cubicBezTo>
                    <a:pt x="571" y="328"/>
                    <a:pt x="571" y="328"/>
                    <a:pt x="571" y="328"/>
                  </a:cubicBezTo>
                  <a:cubicBezTo>
                    <a:pt x="570" y="329"/>
                    <a:pt x="569" y="330"/>
                    <a:pt x="568" y="331"/>
                  </a:cubicBezTo>
                  <a:cubicBezTo>
                    <a:pt x="568" y="331"/>
                    <a:pt x="568" y="331"/>
                    <a:pt x="568" y="331"/>
                  </a:cubicBezTo>
                  <a:cubicBezTo>
                    <a:pt x="568" y="331"/>
                    <a:pt x="568" y="331"/>
                    <a:pt x="568" y="331"/>
                  </a:cubicBezTo>
                  <a:cubicBezTo>
                    <a:pt x="564" y="331"/>
                    <a:pt x="519" y="308"/>
                    <a:pt x="520" y="306"/>
                  </a:cubicBezTo>
                  <a:cubicBezTo>
                    <a:pt x="520" y="306"/>
                    <a:pt x="520" y="306"/>
                    <a:pt x="520" y="306"/>
                  </a:cubicBezTo>
                  <a:cubicBezTo>
                    <a:pt x="521" y="303"/>
                    <a:pt x="521" y="300"/>
                    <a:pt x="520" y="297"/>
                  </a:cubicBezTo>
                  <a:cubicBezTo>
                    <a:pt x="518" y="294"/>
                    <a:pt x="515" y="292"/>
                    <a:pt x="511" y="291"/>
                  </a:cubicBezTo>
                  <a:cubicBezTo>
                    <a:pt x="511" y="291"/>
                    <a:pt x="511" y="291"/>
                    <a:pt x="511" y="291"/>
                  </a:cubicBezTo>
                  <a:cubicBezTo>
                    <a:pt x="509" y="291"/>
                    <a:pt x="508" y="215"/>
                    <a:pt x="513" y="214"/>
                  </a:cubicBezTo>
                  <a:cubicBezTo>
                    <a:pt x="513" y="214"/>
                    <a:pt x="513" y="214"/>
                    <a:pt x="513" y="214"/>
                  </a:cubicBezTo>
                  <a:cubicBezTo>
                    <a:pt x="514" y="214"/>
                    <a:pt x="515" y="214"/>
                    <a:pt x="516" y="214"/>
                  </a:cubicBezTo>
                  <a:cubicBezTo>
                    <a:pt x="516" y="214"/>
                    <a:pt x="516" y="214"/>
                    <a:pt x="516" y="214"/>
                  </a:cubicBezTo>
                  <a:moveTo>
                    <a:pt x="1072" y="189"/>
                  </a:moveTo>
                  <a:cubicBezTo>
                    <a:pt x="1072" y="189"/>
                    <a:pt x="1073" y="189"/>
                    <a:pt x="1075" y="189"/>
                  </a:cubicBezTo>
                  <a:cubicBezTo>
                    <a:pt x="1088" y="189"/>
                    <a:pt x="1130" y="192"/>
                    <a:pt x="1130" y="193"/>
                  </a:cubicBezTo>
                  <a:cubicBezTo>
                    <a:pt x="1130" y="193"/>
                    <a:pt x="1130" y="193"/>
                    <a:pt x="1130" y="193"/>
                  </a:cubicBezTo>
                  <a:cubicBezTo>
                    <a:pt x="1131" y="194"/>
                    <a:pt x="1131" y="194"/>
                    <a:pt x="1131" y="195"/>
                  </a:cubicBezTo>
                  <a:cubicBezTo>
                    <a:pt x="1131" y="195"/>
                    <a:pt x="1131" y="195"/>
                    <a:pt x="1131" y="195"/>
                  </a:cubicBezTo>
                  <a:cubicBezTo>
                    <a:pt x="1132" y="196"/>
                    <a:pt x="1100" y="219"/>
                    <a:pt x="1098" y="219"/>
                  </a:cubicBezTo>
                  <a:cubicBezTo>
                    <a:pt x="1098" y="219"/>
                    <a:pt x="1098" y="219"/>
                    <a:pt x="1098" y="219"/>
                  </a:cubicBezTo>
                  <a:cubicBezTo>
                    <a:pt x="1098" y="219"/>
                    <a:pt x="1098" y="219"/>
                    <a:pt x="1098" y="219"/>
                  </a:cubicBezTo>
                  <a:cubicBezTo>
                    <a:pt x="1098" y="219"/>
                    <a:pt x="1097" y="218"/>
                    <a:pt x="1096" y="218"/>
                  </a:cubicBezTo>
                  <a:cubicBezTo>
                    <a:pt x="1095" y="218"/>
                    <a:pt x="1095" y="219"/>
                    <a:pt x="1094" y="219"/>
                  </a:cubicBezTo>
                  <a:cubicBezTo>
                    <a:pt x="1094" y="219"/>
                    <a:pt x="1094" y="219"/>
                    <a:pt x="1094" y="219"/>
                  </a:cubicBezTo>
                  <a:cubicBezTo>
                    <a:pt x="1094" y="219"/>
                    <a:pt x="1094" y="219"/>
                    <a:pt x="1094" y="219"/>
                  </a:cubicBezTo>
                  <a:cubicBezTo>
                    <a:pt x="1094" y="219"/>
                    <a:pt x="1094" y="219"/>
                    <a:pt x="1094" y="219"/>
                  </a:cubicBezTo>
                  <a:cubicBezTo>
                    <a:pt x="1093" y="219"/>
                    <a:pt x="1069" y="193"/>
                    <a:pt x="1070" y="192"/>
                  </a:cubicBezTo>
                  <a:cubicBezTo>
                    <a:pt x="1070" y="192"/>
                    <a:pt x="1070" y="192"/>
                    <a:pt x="1070" y="192"/>
                  </a:cubicBezTo>
                  <a:cubicBezTo>
                    <a:pt x="1071" y="191"/>
                    <a:pt x="1072" y="190"/>
                    <a:pt x="1072" y="189"/>
                  </a:cubicBezTo>
                  <a:cubicBezTo>
                    <a:pt x="1072" y="189"/>
                    <a:pt x="1072" y="189"/>
                    <a:pt x="1072" y="189"/>
                  </a:cubicBezTo>
                  <a:moveTo>
                    <a:pt x="76" y="193"/>
                  </a:moveTo>
                  <a:cubicBezTo>
                    <a:pt x="75" y="193"/>
                    <a:pt x="62" y="176"/>
                    <a:pt x="54" y="165"/>
                  </a:cubicBezTo>
                  <a:cubicBezTo>
                    <a:pt x="56" y="165"/>
                    <a:pt x="58" y="164"/>
                    <a:pt x="61" y="164"/>
                  </a:cubicBezTo>
                  <a:cubicBezTo>
                    <a:pt x="83" y="181"/>
                    <a:pt x="126" y="212"/>
                    <a:pt x="125" y="212"/>
                  </a:cubicBezTo>
                  <a:cubicBezTo>
                    <a:pt x="125" y="212"/>
                    <a:pt x="125" y="212"/>
                    <a:pt x="125" y="212"/>
                  </a:cubicBezTo>
                  <a:cubicBezTo>
                    <a:pt x="125" y="213"/>
                    <a:pt x="125" y="213"/>
                    <a:pt x="125" y="213"/>
                  </a:cubicBezTo>
                  <a:cubicBezTo>
                    <a:pt x="125" y="213"/>
                    <a:pt x="125" y="213"/>
                    <a:pt x="125" y="213"/>
                  </a:cubicBezTo>
                  <a:cubicBezTo>
                    <a:pt x="125" y="213"/>
                    <a:pt x="125" y="213"/>
                    <a:pt x="125" y="213"/>
                  </a:cubicBezTo>
                  <a:cubicBezTo>
                    <a:pt x="122" y="213"/>
                    <a:pt x="86" y="201"/>
                    <a:pt x="86" y="200"/>
                  </a:cubicBezTo>
                  <a:cubicBezTo>
                    <a:pt x="86" y="200"/>
                    <a:pt x="86" y="200"/>
                    <a:pt x="86" y="200"/>
                  </a:cubicBezTo>
                  <a:cubicBezTo>
                    <a:pt x="86" y="199"/>
                    <a:pt x="86" y="197"/>
                    <a:pt x="86" y="196"/>
                  </a:cubicBezTo>
                  <a:cubicBezTo>
                    <a:pt x="84" y="194"/>
                    <a:pt x="82" y="192"/>
                    <a:pt x="79" y="192"/>
                  </a:cubicBezTo>
                  <a:cubicBezTo>
                    <a:pt x="78" y="192"/>
                    <a:pt x="77" y="193"/>
                    <a:pt x="76" y="193"/>
                  </a:cubicBezTo>
                  <a:cubicBezTo>
                    <a:pt x="76" y="193"/>
                    <a:pt x="76" y="193"/>
                    <a:pt x="76" y="193"/>
                  </a:cubicBezTo>
                  <a:cubicBezTo>
                    <a:pt x="76" y="193"/>
                    <a:pt x="76" y="193"/>
                    <a:pt x="76" y="193"/>
                  </a:cubicBezTo>
                  <a:cubicBezTo>
                    <a:pt x="76" y="193"/>
                    <a:pt x="76" y="193"/>
                    <a:pt x="76" y="193"/>
                  </a:cubicBezTo>
                  <a:moveTo>
                    <a:pt x="772" y="166"/>
                  </a:moveTo>
                  <a:cubicBezTo>
                    <a:pt x="773" y="165"/>
                    <a:pt x="774" y="165"/>
                    <a:pt x="774" y="164"/>
                  </a:cubicBezTo>
                  <a:cubicBezTo>
                    <a:pt x="774" y="164"/>
                    <a:pt x="774" y="164"/>
                    <a:pt x="774" y="164"/>
                  </a:cubicBezTo>
                  <a:cubicBezTo>
                    <a:pt x="774" y="164"/>
                    <a:pt x="775" y="164"/>
                    <a:pt x="775" y="164"/>
                  </a:cubicBezTo>
                  <a:cubicBezTo>
                    <a:pt x="778" y="164"/>
                    <a:pt x="841" y="198"/>
                    <a:pt x="841" y="199"/>
                  </a:cubicBezTo>
                  <a:cubicBezTo>
                    <a:pt x="841" y="199"/>
                    <a:pt x="841" y="199"/>
                    <a:pt x="841" y="199"/>
                  </a:cubicBezTo>
                  <a:cubicBezTo>
                    <a:pt x="840" y="201"/>
                    <a:pt x="840" y="203"/>
                    <a:pt x="841" y="205"/>
                  </a:cubicBezTo>
                  <a:cubicBezTo>
                    <a:pt x="842" y="206"/>
                    <a:pt x="842" y="207"/>
                    <a:pt x="843" y="208"/>
                  </a:cubicBezTo>
                  <a:cubicBezTo>
                    <a:pt x="843" y="208"/>
                    <a:pt x="843" y="208"/>
                    <a:pt x="843" y="208"/>
                  </a:cubicBezTo>
                  <a:cubicBezTo>
                    <a:pt x="844" y="208"/>
                    <a:pt x="822" y="249"/>
                    <a:pt x="818" y="249"/>
                  </a:cubicBezTo>
                  <a:cubicBezTo>
                    <a:pt x="818" y="249"/>
                    <a:pt x="818" y="249"/>
                    <a:pt x="818" y="249"/>
                  </a:cubicBezTo>
                  <a:cubicBezTo>
                    <a:pt x="818" y="249"/>
                    <a:pt x="818" y="249"/>
                    <a:pt x="818" y="249"/>
                  </a:cubicBezTo>
                  <a:cubicBezTo>
                    <a:pt x="816" y="248"/>
                    <a:pt x="813" y="247"/>
                    <a:pt x="811" y="247"/>
                  </a:cubicBezTo>
                  <a:cubicBezTo>
                    <a:pt x="810" y="247"/>
                    <a:pt x="808" y="247"/>
                    <a:pt x="807" y="248"/>
                  </a:cubicBezTo>
                  <a:cubicBezTo>
                    <a:pt x="807" y="248"/>
                    <a:pt x="807" y="248"/>
                    <a:pt x="807" y="248"/>
                  </a:cubicBezTo>
                  <a:cubicBezTo>
                    <a:pt x="807" y="248"/>
                    <a:pt x="807" y="248"/>
                    <a:pt x="807" y="248"/>
                  </a:cubicBezTo>
                  <a:cubicBezTo>
                    <a:pt x="803" y="248"/>
                    <a:pt x="771" y="166"/>
                    <a:pt x="772" y="166"/>
                  </a:cubicBezTo>
                  <a:cubicBezTo>
                    <a:pt x="772" y="166"/>
                    <a:pt x="772" y="166"/>
                    <a:pt x="772" y="166"/>
                  </a:cubicBezTo>
                  <a:moveTo>
                    <a:pt x="54" y="165"/>
                  </a:moveTo>
                  <a:cubicBezTo>
                    <a:pt x="50" y="159"/>
                    <a:pt x="47" y="155"/>
                    <a:pt x="47" y="155"/>
                  </a:cubicBezTo>
                  <a:cubicBezTo>
                    <a:pt x="48" y="155"/>
                    <a:pt x="53" y="159"/>
                    <a:pt x="61" y="164"/>
                  </a:cubicBezTo>
                  <a:cubicBezTo>
                    <a:pt x="58" y="164"/>
                    <a:pt x="56" y="164"/>
                    <a:pt x="54" y="165"/>
                  </a:cubicBezTo>
                  <a:moveTo>
                    <a:pt x="47" y="155"/>
                  </a:moveTo>
                  <a:cubicBezTo>
                    <a:pt x="47" y="155"/>
                    <a:pt x="47" y="155"/>
                    <a:pt x="47" y="155"/>
                  </a:cubicBezTo>
                  <a:cubicBezTo>
                    <a:pt x="47" y="155"/>
                    <a:pt x="47" y="155"/>
                    <a:pt x="47" y="155"/>
                  </a:cubicBezTo>
                  <a:cubicBezTo>
                    <a:pt x="47" y="155"/>
                    <a:pt x="47" y="155"/>
                    <a:pt x="47" y="155"/>
                  </a:cubicBezTo>
                  <a:moveTo>
                    <a:pt x="872" y="144"/>
                  </a:moveTo>
                  <a:cubicBezTo>
                    <a:pt x="873" y="144"/>
                    <a:pt x="873" y="144"/>
                    <a:pt x="874" y="144"/>
                  </a:cubicBezTo>
                  <a:cubicBezTo>
                    <a:pt x="886" y="144"/>
                    <a:pt x="995" y="171"/>
                    <a:pt x="995" y="175"/>
                  </a:cubicBezTo>
                  <a:cubicBezTo>
                    <a:pt x="995" y="175"/>
                    <a:pt x="995" y="175"/>
                    <a:pt x="995" y="175"/>
                  </a:cubicBezTo>
                  <a:cubicBezTo>
                    <a:pt x="994" y="176"/>
                    <a:pt x="994" y="177"/>
                    <a:pt x="994" y="178"/>
                  </a:cubicBezTo>
                  <a:cubicBezTo>
                    <a:pt x="994" y="181"/>
                    <a:pt x="995" y="183"/>
                    <a:pt x="996" y="186"/>
                  </a:cubicBezTo>
                  <a:cubicBezTo>
                    <a:pt x="998" y="190"/>
                    <a:pt x="943" y="219"/>
                    <a:pt x="938" y="219"/>
                  </a:cubicBezTo>
                  <a:cubicBezTo>
                    <a:pt x="938" y="219"/>
                    <a:pt x="937" y="219"/>
                    <a:pt x="937" y="219"/>
                  </a:cubicBezTo>
                  <a:cubicBezTo>
                    <a:pt x="937" y="219"/>
                    <a:pt x="937" y="219"/>
                    <a:pt x="937" y="219"/>
                  </a:cubicBezTo>
                  <a:cubicBezTo>
                    <a:pt x="934" y="215"/>
                    <a:pt x="930" y="213"/>
                    <a:pt x="925" y="213"/>
                  </a:cubicBezTo>
                  <a:cubicBezTo>
                    <a:pt x="923" y="213"/>
                    <a:pt x="921" y="213"/>
                    <a:pt x="919" y="214"/>
                  </a:cubicBezTo>
                  <a:cubicBezTo>
                    <a:pt x="918" y="215"/>
                    <a:pt x="918" y="215"/>
                    <a:pt x="918" y="215"/>
                  </a:cubicBezTo>
                  <a:cubicBezTo>
                    <a:pt x="918" y="215"/>
                    <a:pt x="918" y="215"/>
                    <a:pt x="918" y="215"/>
                  </a:cubicBezTo>
                  <a:cubicBezTo>
                    <a:pt x="918" y="215"/>
                    <a:pt x="918" y="215"/>
                    <a:pt x="918" y="215"/>
                  </a:cubicBezTo>
                  <a:cubicBezTo>
                    <a:pt x="915" y="215"/>
                    <a:pt x="866" y="152"/>
                    <a:pt x="869" y="150"/>
                  </a:cubicBezTo>
                  <a:cubicBezTo>
                    <a:pt x="869" y="150"/>
                    <a:pt x="869" y="150"/>
                    <a:pt x="869" y="150"/>
                  </a:cubicBezTo>
                  <a:cubicBezTo>
                    <a:pt x="870" y="148"/>
                    <a:pt x="872" y="146"/>
                    <a:pt x="872" y="144"/>
                  </a:cubicBezTo>
                  <a:cubicBezTo>
                    <a:pt x="872" y="144"/>
                    <a:pt x="872" y="144"/>
                    <a:pt x="872" y="144"/>
                  </a:cubicBezTo>
                  <a:moveTo>
                    <a:pt x="776" y="159"/>
                  </a:moveTo>
                  <a:cubicBezTo>
                    <a:pt x="776" y="157"/>
                    <a:pt x="826" y="144"/>
                    <a:pt x="836" y="144"/>
                  </a:cubicBezTo>
                  <a:cubicBezTo>
                    <a:pt x="837" y="144"/>
                    <a:pt x="838" y="144"/>
                    <a:pt x="838" y="144"/>
                  </a:cubicBezTo>
                  <a:cubicBezTo>
                    <a:pt x="838" y="144"/>
                    <a:pt x="838" y="144"/>
                    <a:pt x="838" y="144"/>
                  </a:cubicBezTo>
                  <a:cubicBezTo>
                    <a:pt x="840" y="149"/>
                    <a:pt x="845" y="153"/>
                    <a:pt x="851" y="154"/>
                  </a:cubicBezTo>
                  <a:cubicBezTo>
                    <a:pt x="851" y="154"/>
                    <a:pt x="851" y="154"/>
                    <a:pt x="851" y="154"/>
                  </a:cubicBezTo>
                  <a:cubicBezTo>
                    <a:pt x="854" y="155"/>
                    <a:pt x="849" y="194"/>
                    <a:pt x="847" y="195"/>
                  </a:cubicBezTo>
                  <a:cubicBezTo>
                    <a:pt x="847" y="195"/>
                    <a:pt x="847" y="195"/>
                    <a:pt x="847" y="195"/>
                  </a:cubicBezTo>
                  <a:cubicBezTo>
                    <a:pt x="846" y="195"/>
                    <a:pt x="846" y="195"/>
                    <a:pt x="845" y="195"/>
                  </a:cubicBezTo>
                  <a:cubicBezTo>
                    <a:pt x="844" y="196"/>
                    <a:pt x="843" y="196"/>
                    <a:pt x="842" y="197"/>
                  </a:cubicBezTo>
                  <a:cubicBezTo>
                    <a:pt x="842" y="197"/>
                    <a:pt x="842" y="197"/>
                    <a:pt x="842" y="197"/>
                  </a:cubicBezTo>
                  <a:cubicBezTo>
                    <a:pt x="842" y="197"/>
                    <a:pt x="842" y="197"/>
                    <a:pt x="842" y="197"/>
                  </a:cubicBezTo>
                  <a:cubicBezTo>
                    <a:pt x="839" y="197"/>
                    <a:pt x="775" y="163"/>
                    <a:pt x="776" y="162"/>
                  </a:cubicBezTo>
                  <a:cubicBezTo>
                    <a:pt x="776" y="162"/>
                    <a:pt x="776" y="162"/>
                    <a:pt x="776" y="162"/>
                  </a:cubicBezTo>
                  <a:cubicBezTo>
                    <a:pt x="776" y="161"/>
                    <a:pt x="776" y="160"/>
                    <a:pt x="776" y="159"/>
                  </a:cubicBezTo>
                  <a:cubicBezTo>
                    <a:pt x="776" y="159"/>
                    <a:pt x="776" y="159"/>
                    <a:pt x="776" y="159"/>
                  </a:cubicBezTo>
                  <a:moveTo>
                    <a:pt x="48" y="137"/>
                  </a:moveTo>
                  <a:cubicBezTo>
                    <a:pt x="48" y="137"/>
                    <a:pt x="48" y="137"/>
                    <a:pt x="48" y="137"/>
                  </a:cubicBezTo>
                  <a:cubicBezTo>
                    <a:pt x="51" y="137"/>
                    <a:pt x="108" y="159"/>
                    <a:pt x="108" y="160"/>
                  </a:cubicBezTo>
                  <a:cubicBezTo>
                    <a:pt x="108" y="160"/>
                    <a:pt x="108" y="160"/>
                    <a:pt x="108" y="160"/>
                  </a:cubicBezTo>
                  <a:cubicBezTo>
                    <a:pt x="108" y="161"/>
                    <a:pt x="108" y="161"/>
                    <a:pt x="108" y="161"/>
                  </a:cubicBezTo>
                  <a:cubicBezTo>
                    <a:pt x="108" y="161"/>
                    <a:pt x="108" y="161"/>
                    <a:pt x="108" y="161"/>
                  </a:cubicBezTo>
                  <a:cubicBezTo>
                    <a:pt x="107" y="161"/>
                    <a:pt x="84" y="163"/>
                    <a:pt x="61" y="164"/>
                  </a:cubicBezTo>
                  <a:cubicBezTo>
                    <a:pt x="53" y="158"/>
                    <a:pt x="47" y="154"/>
                    <a:pt x="48" y="154"/>
                  </a:cubicBezTo>
                  <a:cubicBezTo>
                    <a:pt x="48" y="154"/>
                    <a:pt x="48" y="154"/>
                    <a:pt x="48" y="154"/>
                  </a:cubicBezTo>
                  <a:cubicBezTo>
                    <a:pt x="48" y="153"/>
                    <a:pt x="48" y="151"/>
                    <a:pt x="48" y="150"/>
                  </a:cubicBezTo>
                  <a:cubicBezTo>
                    <a:pt x="47" y="149"/>
                    <a:pt x="45" y="148"/>
                    <a:pt x="44" y="148"/>
                  </a:cubicBezTo>
                  <a:cubicBezTo>
                    <a:pt x="43" y="148"/>
                    <a:pt x="43" y="148"/>
                    <a:pt x="42" y="148"/>
                  </a:cubicBezTo>
                  <a:cubicBezTo>
                    <a:pt x="40" y="149"/>
                    <a:pt x="39" y="152"/>
                    <a:pt x="40" y="153"/>
                  </a:cubicBezTo>
                  <a:cubicBezTo>
                    <a:pt x="41" y="155"/>
                    <a:pt x="42" y="156"/>
                    <a:pt x="44" y="156"/>
                  </a:cubicBezTo>
                  <a:cubicBezTo>
                    <a:pt x="45" y="156"/>
                    <a:pt x="45" y="156"/>
                    <a:pt x="46" y="155"/>
                  </a:cubicBezTo>
                  <a:cubicBezTo>
                    <a:pt x="46" y="155"/>
                    <a:pt x="46" y="155"/>
                    <a:pt x="46" y="155"/>
                  </a:cubicBezTo>
                  <a:cubicBezTo>
                    <a:pt x="46" y="155"/>
                    <a:pt x="46" y="155"/>
                    <a:pt x="46" y="155"/>
                  </a:cubicBezTo>
                  <a:cubicBezTo>
                    <a:pt x="46" y="155"/>
                    <a:pt x="46" y="155"/>
                    <a:pt x="46" y="155"/>
                  </a:cubicBezTo>
                  <a:cubicBezTo>
                    <a:pt x="46" y="155"/>
                    <a:pt x="49" y="159"/>
                    <a:pt x="53" y="165"/>
                  </a:cubicBezTo>
                  <a:cubicBezTo>
                    <a:pt x="38" y="165"/>
                    <a:pt x="24" y="166"/>
                    <a:pt x="18" y="166"/>
                  </a:cubicBezTo>
                  <a:cubicBezTo>
                    <a:pt x="16" y="166"/>
                    <a:pt x="15" y="166"/>
                    <a:pt x="15" y="166"/>
                  </a:cubicBezTo>
                  <a:cubicBezTo>
                    <a:pt x="15" y="166"/>
                    <a:pt x="15" y="166"/>
                    <a:pt x="15" y="166"/>
                  </a:cubicBezTo>
                  <a:cubicBezTo>
                    <a:pt x="14" y="165"/>
                    <a:pt x="14" y="165"/>
                    <a:pt x="14" y="164"/>
                  </a:cubicBezTo>
                  <a:cubicBezTo>
                    <a:pt x="13" y="163"/>
                    <a:pt x="13" y="163"/>
                    <a:pt x="13" y="163"/>
                  </a:cubicBezTo>
                  <a:cubicBezTo>
                    <a:pt x="13" y="163"/>
                    <a:pt x="13" y="163"/>
                    <a:pt x="13" y="163"/>
                  </a:cubicBezTo>
                  <a:cubicBezTo>
                    <a:pt x="13" y="162"/>
                    <a:pt x="40" y="138"/>
                    <a:pt x="41" y="138"/>
                  </a:cubicBezTo>
                  <a:cubicBezTo>
                    <a:pt x="41" y="138"/>
                    <a:pt x="41" y="138"/>
                    <a:pt x="41" y="138"/>
                  </a:cubicBezTo>
                  <a:cubicBezTo>
                    <a:pt x="41" y="138"/>
                    <a:pt x="41" y="138"/>
                    <a:pt x="41" y="138"/>
                  </a:cubicBezTo>
                  <a:cubicBezTo>
                    <a:pt x="42" y="139"/>
                    <a:pt x="43" y="139"/>
                    <a:pt x="44" y="139"/>
                  </a:cubicBezTo>
                  <a:cubicBezTo>
                    <a:pt x="45" y="139"/>
                    <a:pt x="45" y="139"/>
                    <a:pt x="46" y="139"/>
                  </a:cubicBezTo>
                  <a:cubicBezTo>
                    <a:pt x="47" y="138"/>
                    <a:pt x="48" y="138"/>
                    <a:pt x="48" y="137"/>
                  </a:cubicBezTo>
                  <a:cubicBezTo>
                    <a:pt x="48" y="137"/>
                    <a:pt x="48" y="137"/>
                    <a:pt x="48" y="137"/>
                  </a:cubicBezTo>
                  <a:moveTo>
                    <a:pt x="586" y="70"/>
                  </a:moveTo>
                  <a:cubicBezTo>
                    <a:pt x="586" y="70"/>
                    <a:pt x="586" y="70"/>
                    <a:pt x="586" y="70"/>
                  </a:cubicBezTo>
                  <a:cubicBezTo>
                    <a:pt x="588" y="70"/>
                    <a:pt x="590" y="71"/>
                    <a:pt x="592" y="71"/>
                  </a:cubicBezTo>
                  <a:cubicBezTo>
                    <a:pt x="594" y="71"/>
                    <a:pt x="596" y="70"/>
                    <a:pt x="598" y="70"/>
                  </a:cubicBezTo>
                  <a:cubicBezTo>
                    <a:pt x="597" y="70"/>
                    <a:pt x="597" y="70"/>
                    <a:pt x="597" y="70"/>
                  </a:cubicBezTo>
                  <a:cubicBezTo>
                    <a:pt x="597" y="70"/>
                    <a:pt x="597" y="70"/>
                    <a:pt x="598" y="70"/>
                  </a:cubicBezTo>
                  <a:cubicBezTo>
                    <a:pt x="601" y="70"/>
                    <a:pt x="642" y="138"/>
                    <a:pt x="637" y="142"/>
                  </a:cubicBezTo>
                  <a:cubicBezTo>
                    <a:pt x="637" y="142"/>
                    <a:pt x="637" y="142"/>
                    <a:pt x="637" y="142"/>
                  </a:cubicBezTo>
                  <a:cubicBezTo>
                    <a:pt x="630" y="147"/>
                    <a:pt x="625" y="156"/>
                    <a:pt x="625" y="165"/>
                  </a:cubicBezTo>
                  <a:cubicBezTo>
                    <a:pt x="625" y="179"/>
                    <a:pt x="634" y="190"/>
                    <a:pt x="648" y="194"/>
                  </a:cubicBezTo>
                  <a:cubicBezTo>
                    <a:pt x="653" y="195"/>
                    <a:pt x="643" y="267"/>
                    <a:pt x="640" y="268"/>
                  </a:cubicBezTo>
                  <a:cubicBezTo>
                    <a:pt x="640" y="268"/>
                    <a:pt x="640" y="268"/>
                    <a:pt x="640" y="268"/>
                  </a:cubicBezTo>
                  <a:cubicBezTo>
                    <a:pt x="632" y="268"/>
                    <a:pt x="625" y="274"/>
                    <a:pt x="625" y="283"/>
                  </a:cubicBezTo>
                  <a:cubicBezTo>
                    <a:pt x="625" y="286"/>
                    <a:pt x="626" y="288"/>
                    <a:pt x="628" y="291"/>
                  </a:cubicBezTo>
                  <a:cubicBezTo>
                    <a:pt x="628" y="291"/>
                    <a:pt x="628" y="291"/>
                    <a:pt x="628" y="291"/>
                  </a:cubicBezTo>
                  <a:cubicBezTo>
                    <a:pt x="629" y="293"/>
                    <a:pt x="586" y="329"/>
                    <a:pt x="583" y="329"/>
                  </a:cubicBezTo>
                  <a:cubicBezTo>
                    <a:pt x="583" y="329"/>
                    <a:pt x="583" y="329"/>
                    <a:pt x="583" y="329"/>
                  </a:cubicBezTo>
                  <a:cubicBezTo>
                    <a:pt x="583" y="329"/>
                    <a:pt x="583" y="329"/>
                    <a:pt x="583" y="329"/>
                  </a:cubicBezTo>
                  <a:cubicBezTo>
                    <a:pt x="581" y="328"/>
                    <a:pt x="579" y="327"/>
                    <a:pt x="576" y="327"/>
                  </a:cubicBezTo>
                  <a:cubicBezTo>
                    <a:pt x="576" y="327"/>
                    <a:pt x="575" y="327"/>
                    <a:pt x="574" y="327"/>
                  </a:cubicBezTo>
                  <a:cubicBezTo>
                    <a:pt x="574" y="327"/>
                    <a:pt x="574" y="327"/>
                    <a:pt x="574" y="327"/>
                  </a:cubicBezTo>
                  <a:cubicBezTo>
                    <a:pt x="574" y="327"/>
                    <a:pt x="574" y="327"/>
                    <a:pt x="574" y="327"/>
                  </a:cubicBezTo>
                  <a:cubicBezTo>
                    <a:pt x="572" y="327"/>
                    <a:pt x="518" y="213"/>
                    <a:pt x="523" y="211"/>
                  </a:cubicBezTo>
                  <a:cubicBezTo>
                    <a:pt x="523" y="211"/>
                    <a:pt x="523" y="211"/>
                    <a:pt x="523" y="211"/>
                  </a:cubicBezTo>
                  <a:cubicBezTo>
                    <a:pt x="530" y="206"/>
                    <a:pt x="535" y="199"/>
                    <a:pt x="535" y="190"/>
                  </a:cubicBezTo>
                  <a:cubicBezTo>
                    <a:pt x="535" y="182"/>
                    <a:pt x="531" y="175"/>
                    <a:pt x="525" y="171"/>
                  </a:cubicBezTo>
                  <a:cubicBezTo>
                    <a:pt x="525" y="171"/>
                    <a:pt x="525" y="171"/>
                    <a:pt x="525" y="171"/>
                  </a:cubicBezTo>
                  <a:cubicBezTo>
                    <a:pt x="521" y="168"/>
                    <a:pt x="583" y="70"/>
                    <a:pt x="586" y="70"/>
                  </a:cubicBezTo>
                  <a:cubicBezTo>
                    <a:pt x="586" y="70"/>
                    <a:pt x="586" y="70"/>
                    <a:pt x="586" y="70"/>
                  </a:cubicBezTo>
                  <a:moveTo>
                    <a:pt x="678" y="145"/>
                  </a:moveTo>
                  <a:cubicBezTo>
                    <a:pt x="674" y="141"/>
                    <a:pt x="762" y="34"/>
                    <a:pt x="767" y="34"/>
                  </a:cubicBezTo>
                  <a:cubicBezTo>
                    <a:pt x="767" y="34"/>
                    <a:pt x="767" y="34"/>
                    <a:pt x="767" y="34"/>
                  </a:cubicBezTo>
                  <a:cubicBezTo>
                    <a:pt x="767" y="34"/>
                    <a:pt x="767" y="34"/>
                    <a:pt x="767" y="34"/>
                  </a:cubicBezTo>
                  <a:cubicBezTo>
                    <a:pt x="770" y="35"/>
                    <a:pt x="773" y="36"/>
                    <a:pt x="776" y="36"/>
                  </a:cubicBezTo>
                  <a:cubicBezTo>
                    <a:pt x="779" y="36"/>
                    <a:pt x="781" y="35"/>
                    <a:pt x="784" y="34"/>
                  </a:cubicBezTo>
                  <a:cubicBezTo>
                    <a:pt x="784" y="34"/>
                    <a:pt x="784" y="34"/>
                    <a:pt x="784" y="34"/>
                  </a:cubicBezTo>
                  <a:cubicBezTo>
                    <a:pt x="784" y="34"/>
                    <a:pt x="784" y="34"/>
                    <a:pt x="784" y="34"/>
                  </a:cubicBezTo>
                  <a:cubicBezTo>
                    <a:pt x="788" y="34"/>
                    <a:pt x="846" y="121"/>
                    <a:pt x="843" y="124"/>
                  </a:cubicBezTo>
                  <a:cubicBezTo>
                    <a:pt x="843" y="123"/>
                    <a:pt x="843" y="123"/>
                    <a:pt x="843" y="123"/>
                  </a:cubicBezTo>
                  <a:cubicBezTo>
                    <a:pt x="839" y="127"/>
                    <a:pt x="837" y="132"/>
                    <a:pt x="837" y="137"/>
                  </a:cubicBezTo>
                  <a:cubicBezTo>
                    <a:pt x="837" y="138"/>
                    <a:pt x="837" y="138"/>
                    <a:pt x="837" y="139"/>
                  </a:cubicBezTo>
                  <a:cubicBezTo>
                    <a:pt x="837" y="139"/>
                    <a:pt x="837" y="139"/>
                    <a:pt x="837" y="139"/>
                  </a:cubicBezTo>
                  <a:cubicBezTo>
                    <a:pt x="837" y="142"/>
                    <a:pt x="781" y="156"/>
                    <a:pt x="776" y="156"/>
                  </a:cubicBezTo>
                  <a:cubicBezTo>
                    <a:pt x="776" y="156"/>
                    <a:pt x="775" y="156"/>
                    <a:pt x="775" y="156"/>
                  </a:cubicBezTo>
                  <a:cubicBezTo>
                    <a:pt x="775" y="156"/>
                    <a:pt x="775" y="156"/>
                    <a:pt x="775" y="156"/>
                  </a:cubicBezTo>
                  <a:cubicBezTo>
                    <a:pt x="775" y="156"/>
                    <a:pt x="775" y="156"/>
                    <a:pt x="775" y="156"/>
                  </a:cubicBezTo>
                  <a:cubicBezTo>
                    <a:pt x="774" y="153"/>
                    <a:pt x="771" y="152"/>
                    <a:pt x="768" y="152"/>
                  </a:cubicBezTo>
                  <a:cubicBezTo>
                    <a:pt x="767" y="152"/>
                    <a:pt x="766" y="152"/>
                    <a:pt x="765" y="153"/>
                  </a:cubicBezTo>
                  <a:cubicBezTo>
                    <a:pt x="763" y="154"/>
                    <a:pt x="761" y="156"/>
                    <a:pt x="761" y="158"/>
                  </a:cubicBezTo>
                  <a:cubicBezTo>
                    <a:pt x="761" y="158"/>
                    <a:pt x="761" y="158"/>
                    <a:pt x="761" y="158"/>
                  </a:cubicBezTo>
                  <a:cubicBezTo>
                    <a:pt x="761" y="159"/>
                    <a:pt x="751" y="160"/>
                    <a:pt x="738" y="161"/>
                  </a:cubicBezTo>
                  <a:cubicBezTo>
                    <a:pt x="744" y="161"/>
                    <a:pt x="749" y="161"/>
                    <a:pt x="753" y="161"/>
                  </a:cubicBezTo>
                  <a:cubicBezTo>
                    <a:pt x="758" y="161"/>
                    <a:pt x="761" y="161"/>
                    <a:pt x="761" y="161"/>
                  </a:cubicBezTo>
                  <a:cubicBezTo>
                    <a:pt x="761" y="161"/>
                    <a:pt x="761" y="161"/>
                    <a:pt x="761" y="161"/>
                  </a:cubicBezTo>
                  <a:cubicBezTo>
                    <a:pt x="761" y="161"/>
                    <a:pt x="761" y="162"/>
                    <a:pt x="761" y="162"/>
                  </a:cubicBezTo>
                  <a:cubicBezTo>
                    <a:pt x="762" y="163"/>
                    <a:pt x="762" y="163"/>
                    <a:pt x="762" y="164"/>
                  </a:cubicBezTo>
                  <a:cubicBezTo>
                    <a:pt x="762" y="164"/>
                    <a:pt x="762" y="164"/>
                    <a:pt x="762" y="164"/>
                  </a:cubicBezTo>
                  <a:cubicBezTo>
                    <a:pt x="763" y="164"/>
                    <a:pt x="736" y="191"/>
                    <a:pt x="708" y="218"/>
                  </a:cubicBezTo>
                  <a:cubicBezTo>
                    <a:pt x="706" y="216"/>
                    <a:pt x="704" y="214"/>
                    <a:pt x="702" y="212"/>
                  </a:cubicBezTo>
                  <a:cubicBezTo>
                    <a:pt x="704" y="214"/>
                    <a:pt x="706" y="216"/>
                    <a:pt x="707" y="218"/>
                  </a:cubicBezTo>
                  <a:cubicBezTo>
                    <a:pt x="680" y="244"/>
                    <a:pt x="652" y="270"/>
                    <a:pt x="650" y="270"/>
                  </a:cubicBezTo>
                  <a:cubicBezTo>
                    <a:pt x="650" y="270"/>
                    <a:pt x="650" y="270"/>
                    <a:pt x="650" y="270"/>
                  </a:cubicBezTo>
                  <a:cubicBezTo>
                    <a:pt x="650" y="270"/>
                    <a:pt x="650" y="270"/>
                    <a:pt x="650" y="270"/>
                  </a:cubicBezTo>
                  <a:cubicBezTo>
                    <a:pt x="649" y="269"/>
                    <a:pt x="647" y="269"/>
                    <a:pt x="645" y="268"/>
                  </a:cubicBezTo>
                  <a:cubicBezTo>
                    <a:pt x="645" y="268"/>
                    <a:pt x="645" y="268"/>
                    <a:pt x="645" y="268"/>
                  </a:cubicBezTo>
                  <a:cubicBezTo>
                    <a:pt x="642" y="267"/>
                    <a:pt x="650" y="195"/>
                    <a:pt x="656" y="195"/>
                  </a:cubicBezTo>
                  <a:cubicBezTo>
                    <a:pt x="656" y="195"/>
                    <a:pt x="656" y="195"/>
                    <a:pt x="656" y="195"/>
                  </a:cubicBezTo>
                  <a:cubicBezTo>
                    <a:pt x="663" y="194"/>
                    <a:pt x="669" y="192"/>
                    <a:pt x="674" y="189"/>
                  </a:cubicBezTo>
                  <a:cubicBezTo>
                    <a:pt x="674" y="189"/>
                    <a:pt x="674" y="189"/>
                    <a:pt x="674" y="189"/>
                  </a:cubicBezTo>
                  <a:cubicBezTo>
                    <a:pt x="674" y="189"/>
                    <a:pt x="674" y="189"/>
                    <a:pt x="674" y="189"/>
                  </a:cubicBezTo>
                  <a:cubicBezTo>
                    <a:pt x="677" y="189"/>
                    <a:pt x="683" y="194"/>
                    <a:pt x="690" y="200"/>
                  </a:cubicBezTo>
                  <a:cubicBezTo>
                    <a:pt x="683" y="192"/>
                    <a:pt x="678" y="186"/>
                    <a:pt x="679" y="184"/>
                  </a:cubicBezTo>
                  <a:cubicBezTo>
                    <a:pt x="679" y="184"/>
                    <a:pt x="679" y="184"/>
                    <a:pt x="679" y="184"/>
                  </a:cubicBezTo>
                  <a:cubicBezTo>
                    <a:pt x="683" y="179"/>
                    <a:pt x="686" y="174"/>
                    <a:pt x="686" y="168"/>
                  </a:cubicBezTo>
                  <a:cubicBezTo>
                    <a:pt x="686" y="168"/>
                    <a:pt x="686" y="168"/>
                    <a:pt x="686" y="168"/>
                  </a:cubicBezTo>
                  <a:cubicBezTo>
                    <a:pt x="686" y="165"/>
                    <a:pt x="701" y="163"/>
                    <a:pt x="718" y="162"/>
                  </a:cubicBezTo>
                  <a:cubicBezTo>
                    <a:pt x="713" y="162"/>
                    <a:pt x="709" y="162"/>
                    <a:pt x="705" y="162"/>
                  </a:cubicBezTo>
                  <a:cubicBezTo>
                    <a:pt x="694" y="162"/>
                    <a:pt x="686" y="161"/>
                    <a:pt x="686" y="160"/>
                  </a:cubicBezTo>
                  <a:cubicBezTo>
                    <a:pt x="686" y="160"/>
                    <a:pt x="686" y="160"/>
                    <a:pt x="686" y="160"/>
                  </a:cubicBezTo>
                  <a:cubicBezTo>
                    <a:pt x="685" y="154"/>
                    <a:pt x="682" y="149"/>
                    <a:pt x="678" y="145"/>
                  </a:cubicBezTo>
                  <a:cubicBezTo>
                    <a:pt x="678" y="145"/>
                    <a:pt x="678" y="145"/>
                    <a:pt x="678" y="145"/>
                  </a:cubicBezTo>
                  <a:moveTo>
                    <a:pt x="789" y="31"/>
                  </a:moveTo>
                  <a:cubicBezTo>
                    <a:pt x="789" y="31"/>
                    <a:pt x="789" y="31"/>
                    <a:pt x="789" y="31"/>
                  </a:cubicBezTo>
                  <a:cubicBezTo>
                    <a:pt x="789" y="31"/>
                    <a:pt x="789" y="31"/>
                    <a:pt x="789" y="31"/>
                  </a:cubicBezTo>
                  <a:cubicBezTo>
                    <a:pt x="789" y="31"/>
                    <a:pt x="789" y="31"/>
                    <a:pt x="789" y="31"/>
                  </a:cubicBezTo>
                  <a:moveTo>
                    <a:pt x="776" y="0"/>
                  </a:moveTo>
                  <a:cubicBezTo>
                    <a:pt x="766" y="0"/>
                    <a:pt x="757" y="8"/>
                    <a:pt x="757" y="18"/>
                  </a:cubicBezTo>
                  <a:cubicBezTo>
                    <a:pt x="757" y="23"/>
                    <a:pt x="759" y="27"/>
                    <a:pt x="763" y="30"/>
                  </a:cubicBezTo>
                  <a:cubicBezTo>
                    <a:pt x="762" y="30"/>
                    <a:pt x="762" y="30"/>
                    <a:pt x="762" y="30"/>
                  </a:cubicBezTo>
                  <a:cubicBezTo>
                    <a:pt x="765" y="33"/>
                    <a:pt x="678" y="140"/>
                    <a:pt x="671" y="140"/>
                  </a:cubicBezTo>
                  <a:cubicBezTo>
                    <a:pt x="671" y="140"/>
                    <a:pt x="671" y="140"/>
                    <a:pt x="671" y="140"/>
                  </a:cubicBezTo>
                  <a:cubicBezTo>
                    <a:pt x="671" y="140"/>
                    <a:pt x="671" y="140"/>
                    <a:pt x="671" y="140"/>
                  </a:cubicBezTo>
                  <a:cubicBezTo>
                    <a:pt x="666" y="137"/>
                    <a:pt x="661" y="136"/>
                    <a:pt x="656" y="136"/>
                  </a:cubicBezTo>
                  <a:cubicBezTo>
                    <a:pt x="652" y="136"/>
                    <a:pt x="648" y="136"/>
                    <a:pt x="645" y="138"/>
                  </a:cubicBezTo>
                  <a:cubicBezTo>
                    <a:pt x="645" y="138"/>
                    <a:pt x="645" y="138"/>
                    <a:pt x="644" y="138"/>
                  </a:cubicBezTo>
                  <a:cubicBezTo>
                    <a:pt x="638" y="138"/>
                    <a:pt x="600" y="69"/>
                    <a:pt x="602" y="67"/>
                  </a:cubicBezTo>
                  <a:cubicBezTo>
                    <a:pt x="602" y="68"/>
                    <a:pt x="602" y="68"/>
                    <a:pt x="602" y="68"/>
                  </a:cubicBezTo>
                  <a:cubicBezTo>
                    <a:pt x="606" y="65"/>
                    <a:pt x="608" y="60"/>
                    <a:pt x="608" y="56"/>
                  </a:cubicBezTo>
                  <a:cubicBezTo>
                    <a:pt x="608" y="47"/>
                    <a:pt x="601" y="41"/>
                    <a:pt x="592" y="41"/>
                  </a:cubicBezTo>
                  <a:cubicBezTo>
                    <a:pt x="584" y="41"/>
                    <a:pt x="576" y="47"/>
                    <a:pt x="576" y="56"/>
                  </a:cubicBezTo>
                  <a:cubicBezTo>
                    <a:pt x="576" y="60"/>
                    <a:pt x="579" y="64"/>
                    <a:pt x="582" y="67"/>
                  </a:cubicBezTo>
                  <a:cubicBezTo>
                    <a:pt x="582" y="67"/>
                    <a:pt x="582" y="67"/>
                    <a:pt x="582" y="67"/>
                  </a:cubicBezTo>
                  <a:cubicBezTo>
                    <a:pt x="584" y="69"/>
                    <a:pt x="525" y="167"/>
                    <a:pt x="519" y="167"/>
                  </a:cubicBezTo>
                  <a:cubicBezTo>
                    <a:pt x="519" y="167"/>
                    <a:pt x="519" y="167"/>
                    <a:pt x="519" y="167"/>
                  </a:cubicBezTo>
                  <a:cubicBezTo>
                    <a:pt x="516" y="166"/>
                    <a:pt x="512" y="165"/>
                    <a:pt x="509" y="165"/>
                  </a:cubicBezTo>
                  <a:cubicBezTo>
                    <a:pt x="495" y="165"/>
                    <a:pt x="483" y="176"/>
                    <a:pt x="483" y="190"/>
                  </a:cubicBezTo>
                  <a:cubicBezTo>
                    <a:pt x="483" y="202"/>
                    <a:pt x="493" y="213"/>
                    <a:pt x="505" y="214"/>
                  </a:cubicBezTo>
                  <a:cubicBezTo>
                    <a:pt x="505" y="214"/>
                    <a:pt x="505" y="214"/>
                    <a:pt x="505" y="214"/>
                  </a:cubicBezTo>
                  <a:cubicBezTo>
                    <a:pt x="510" y="215"/>
                    <a:pt x="509" y="291"/>
                    <a:pt x="507" y="291"/>
                  </a:cubicBezTo>
                  <a:cubicBezTo>
                    <a:pt x="507" y="291"/>
                    <a:pt x="507" y="291"/>
                    <a:pt x="507" y="291"/>
                  </a:cubicBezTo>
                  <a:cubicBezTo>
                    <a:pt x="506" y="291"/>
                    <a:pt x="505" y="291"/>
                    <a:pt x="504" y="292"/>
                  </a:cubicBezTo>
                  <a:cubicBezTo>
                    <a:pt x="500" y="294"/>
                    <a:pt x="497" y="298"/>
                    <a:pt x="497" y="302"/>
                  </a:cubicBezTo>
                  <a:cubicBezTo>
                    <a:pt x="497" y="302"/>
                    <a:pt x="497" y="302"/>
                    <a:pt x="497" y="302"/>
                  </a:cubicBezTo>
                  <a:cubicBezTo>
                    <a:pt x="497" y="304"/>
                    <a:pt x="361" y="319"/>
                    <a:pt x="345" y="319"/>
                  </a:cubicBezTo>
                  <a:cubicBezTo>
                    <a:pt x="343" y="319"/>
                    <a:pt x="343" y="319"/>
                    <a:pt x="343" y="319"/>
                  </a:cubicBezTo>
                  <a:cubicBezTo>
                    <a:pt x="343" y="319"/>
                    <a:pt x="343" y="319"/>
                    <a:pt x="343" y="319"/>
                  </a:cubicBezTo>
                  <a:cubicBezTo>
                    <a:pt x="343" y="318"/>
                    <a:pt x="342" y="318"/>
                    <a:pt x="342" y="317"/>
                  </a:cubicBezTo>
                  <a:cubicBezTo>
                    <a:pt x="340" y="313"/>
                    <a:pt x="336" y="311"/>
                    <a:pt x="331" y="311"/>
                  </a:cubicBezTo>
                  <a:cubicBezTo>
                    <a:pt x="330" y="311"/>
                    <a:pt x="328" y="311"/>
                    <a:pt x="326" y="312"/>
                  </a:cubicBezTo>
                  <a:cubicBezTo>
                    <a:pt x="323" y="313"/>
                    <a:pt x="321" y="315"/>
                    <a:pt x="320" y="318"/>
                  </a:cubicBezTo>
                  <a:cubicBezTo>
                    <a:pt x="320" y="318"/>
                    <a:pt x="320" y="318"/>
                    <a:pt x="320" y="318"/>
                  </a:cubicBezTo>
                  <a:cubicBezTo>
                    <a:pt x="320" y="318"/>
                    <a:pt x="320" y="318"/>
                    <a:pt x="320" y="318"/>
                  </a:cubicBezTo>
                  <a:cubicBezTo>
                    <a:pt x="310" y="318"/>
                    <a:pt x="180" y="290"/>
                    <a:pt x="180" y="287"/>
                  </a:cubicBezTo>
                  <a:cubicBezTo>
                    <a:pt x="180" y="287"/>
                    <a:pt x="180" y="287"/>
                    <a:pt x="180" y="287"/>
                  </a:cubicBezTo>
                  <a:cubicBezTo>
                    <a:pt x="180" y="283"/>
                    <a:pt x="178" y="279"/>
                    <a:pt x="175" y="276"/>
                  </a:cubicBezTo>
                  <a:cubicBezTo>
                    <a:pt x="172" y="273"/>
                    <a:pt x="169" y="272"/>
                    <a:pt x="165" y="272"/>
                  </a:cubicBezTo>
                  <a:cubicBezTo>
                    <a:pt x="161" y="272"/>
                    <a:pt x="157" y="274"/>
                    <a:pt x="154" y="277"/>
                  </a:cubicBezTo>
                  <a:cubicBezTo>
                    <a:pt x="154" y="278"/>
                    <a:pt x="153" y="279"/>
                    <a:pt x="153" y="280"/>
                  </a:cubicBezTo>
                  <a:cubicBezTo>
                    <a:pt x="153" y="280"/>
                    <a:pt x="153" y="280"/>
                    <a:pt x="153" y="280"/>
                  </a:cubicBezTo>
                  <a:cubicBezTo>
                    <a:pt x="153" y="280"/>
                    <a:pt x="152" y="280"/>
                    <a:pt x="152" y="280"/>
                  </a:cubicBezTo>
                  <a:cubicBezTo>
                    <a:pt x="148" y="280"/>
                    <a:pt x="124" y="272"/>
                    <a:pt x="103" y="265"/>
                  </a:cubicBezTo>
                  <a:cubicBezTo>
                    <a:pt x="94" y="241"/>
                    <a:pt x="82" y="205"/>
                    <a:pt x="83" y="205"/>
                  </a:cubicBezTo>
                  <a:cubicBezTo>
                    <a:pt x="82" y="205"/>
                    <a:pt x="82" y="205"/>
                    <a:pt x="82" y="205"/>
                  </a:cubicBezTo>
                  <a:cubicBezTo>
                    <a:pt x="84" y="204"/>
                    <a:pt x="85" y="203"/>
                    <a:pt x="85" y="202"/>
                  </a:cubicBezTo>
                  <a:cubicBezTo>
                    <a:pt x="85" y="202"/>
                    <a:pt x="85" y="202"/>
                    <a:pt x="85" y="202"/>
                  </a:cubicBezTo>
                  <a:cubicBezTo>
                    <a:pt x="85" y="202"/>
                    <a:pt x="86" y="202"/>
                    <a:pt x="86" y="202"/>
                  </a:cubicBezTo>
                  <a:cubicBezTo>
                    <a:pt x="90" y="202"/>
                    <a:pt x="125" y="213"/>
                    <a:pt x="125" y="214"/>
                  </a:cubicBezTo>
                  <a:cubicBezTo>
                    <a:pt x="125" y="214"/>
                    <a:pt x="125" y="214"/>
                    <a:pt x="125" y="214"/>
                  </a:cubicBezTo>
                  <a:cubicBezTo>
                    <a:pt x="125" y="215"/>
                    <a:pt x="125" y="216"/>
                    <a:pt x="125" y="217"/>
                  </a:cubicBezTo>
                  <a:cubicBezTo>
                    <a:pt x="126" y="218"/>
                    <a:pt x="128" y="219"/>
                    <a:pt x="130" y="219"/>
                  </a:cubicBezTo>
                  <a:cubicBezTo>
                    <a:pt x="130" y="219"/>
                    <a:pt x="131" y="219"/>
                    <a:pt x="132" y="219"/>
                  </a:cubicBezTo>
                  <a:cubicBezTo>
                    <a:pt x="134" y="218"/>
                    <a:pt x="135" y="215"/>
                    <a:pt x="134" y="213"/>
                  </a:cubicBezTo>
                  <a:cubicBezTo>
                    <a:pt x="133" y="211"/>
                    <a:pt x="131" y="210"/>
                    <a:pt x="130" y="210"/>
                  </a:cubicBezTo>
                  <a:cubicBezTo>
                    <a:pt x="129" y="210"/>
                    <a:pt x="128" y="210"/>
                    <a:pt x="128" y="210"/>
                  </a:cubicBezTo>
                  <a:cubicBezTo>
                    <a:pt x="127" y="211"/>
                    <a:pt x="127" y="211"/>
                    <a:pt x="126" y="211"/>
                  </a:cubicBezTo>
                  <a:cubicBezTo>
                    <a:pt x="126" y="211"/>
                    <a:pt x="126" y="211"/>
                    <a:pt x="126" y="211"/>
                  </a:cubicBezTo>
                  <a:cubicBezTo>
                    <a:pt x="126" y="211"/>
                    <a:pt x="126" y="211"/>
                    <a:pt x="126" y="211"/>
                  </a:cubicBezTo>
                  <a:cubicBezTo>
                    <a:pt x="125" y="211"/>
                    <a:pt x="83" y="181"/>
                    <a:pt x="61" y="164"/>
                  </a:cubicBezTo>
                  <a:cubicBezTo>
                    <a:pt x="81" y="163"/>
                    <a:pt x="100" y="162"/>
                    <a:pt x="106" y="162"/>
                  </a:cubicBezTo>
                  <a:cubicBezTo>
                    <a:pt x="107" y="162"/>
                    <a:pt x="108" y="162"/>
                    <a:pt x="108" y="162"/>
                  </a:cubicBezTo>
                  <a:cubicBezTo>
                    <a:pt x="108" y="162"/>
                    <a:pt x="108" y="162"/>
                    <a:pt x="108" y="162"/>
                  </a:cubicBezTo>
                  <a:cubicBezTo>
                    <a:pt x="108" y="163"/>
                    <a:pt x="108" y="163"/>
                    <a:pt x="108" y="163"/>
                  </a:cubicBezTo>
                  <a:cubicBezTo>
                    <a:pt x="109" y="165"/>
                    <a:pt x="111" y="166"/>
                    <a:pt x="112" y="166"/>
                  </a:cubicBezTo>
                  <a:cubicBezTo>
                    <a:pt x="113" y="166"/>
                    <a:pt x="114" y="166"/>
                    <a:pt x="114" y="165"/>
                  </a:cubicBezTo>
                  <a:cubicBezTo>
                    <a:pt x="117" y="164"/>
                    <a:pt x="118" y="162"/>
                    <a:pt x="117" y="159"/>
                  </a:cubicBezTo>
                  <a:cubicBezTo>
                    <a:pt x="116" y="158"/>
                    <a:pt x="114" y="157"/>
                    <a:pt x="112" y="157"/>
                  </a:cubicBezTo>
                  <a:cubicBezTo>
                    <a:pt x="112" y="157"/>
                    <a:pt x="111" y="157"/>
                    <a:pt x="110" y="157"/>
                  </a:cubicBezTo>
                  <a:cubicBezTo>
                    <a:pt x="109" y="158"/>
                    <a:pt x="109" y="158"/>
                    <a:pt x="108" y="159"/>
                  </a:cubicBezTo>
                  <a:cubicBezTo>
                    <a:pt x="108" y="159"/>
                    <a:pt x="108" y="159"/>
                    <a:pt x="108" y="159"/>
                  </a:cubicBezTo>
                  <a:cubicBezTo>
                    <a:pt x="108" y="159"/>
                    <a:pt x="108" y="159"/>
                    <a:pt x="108" y="159"/>
                  </a:cubicBezTo>
                  <a:cubicBezTo>
                    <a:pt x="106" y="159"/>
                    <a:pt x="49" y="136"/>
                    <a:pt x="49" y="135"/>
                  </a:cubicBezTo>
                  <a:cubicBezTo>
                    <a:pt x="49" y="136"/>
                    <a:pt x="49" y="136"/>
                    <a:pt x="49" y="136"/>
                  </a:cubicBezTo>
                  <a:cubicBezTo>
                    <a:pt x="49" y="135"/>
                    <a:pt x="49" y="133"/>
                    <a:pt x="48" y="132"/>
                  </a:cubicBezTo>
                  <a:cubicBezTo>
                    <a:pt x="48" y="131"/>
                    <a:pt x="46" y="130"/>
                    <a:pt x="44" y="130"/>
                  </a:cubicBezTo>
                  <a:cubicBezTo>
                    <a:pt x="43" y="130"/>
                    <a:pt x="43" y="130"/>
                    <a:pt x="42" y="130"/>
                  </a:cubicBezTo>
                  <a:cubicBezTo>
                    <a:pt x="40" y="131"/>
                    <a:pt x="39" y="134"/>
                    <a:pt x="40" y="136"/>
                  </a:cubicBezTo>
                  <a:cubicBezTo>
                    <a:pt x="40" y="137"/>
                    <a:pt x="40" y="137"/>
                    <a:pt x="40" y="137"/>
                  </a:cubicBezTo>
                  <a:cubicBezTo>
                    <a:pt x="40" y="137"/>
                    <a:pt x="40" y="137"/>
                    <a:pt x="40" y="137"/>
                  </a:cubicBezTo>
                  <a:cubicBezTo>
                    <a:pt x="41" y="138"/>
                    <a:pt x="14" y="162"/>
                    <a:pt x="12" y="162"/>
                  </a:cubicBezTo>
                  <a:cubicBezTo>
                    <a:pt x="12" y="162"/>
                    <a:pt x="12" y="162"/>
                    <a:pt x="12" y="162"/>
                  </a:cubicBezTo>
                  <a:cubicBezTo>
                    <a:pt x="12" y="162"/>
                    <a:pt x="12" y="162"/>
                    <a:pt x="12" y="162"/>
                  </a:cubicBezTo>
                  <a:cubicBezTo>
                    <a:pt x="11" y="161"/>
                    <a:pt x="9" y="161"/>
                    <a:pt x="8" y="161"/>
                  </a:cubicBezTo>
                  <a:cubicBezTo>
                    <a:pt x="7" y="161"/>
                    <a:pt x="6" y="161"/>
                    <a:pt x="5" y="161"/>
                  </a:cubicBezTo>
                  <a:cubicBezTo>
                    <a:pt x="1" y="163"/>
                    <a:pt x="0" y="167"/>
                    <a:pt x="2" y="170"/>
                  </a:cubicBezTo>
                  <a:cubicBezTo>
                    <a:pt x="3" y="172"/>
                    <a:pt x="5" y="174"/>
                    <a:pt x="8" y="174"/>
                  </a:cubicBezTo>
                  <a:cubicBezTo>
                    <a:pt x="9" y="174"/>
                    <a:pt x="10" y="174"/>
                    <a:pt x="11" y="173"/>
                  </a:cubicBezTo>
                  <a:cubicBezTo>
                    <a:pt x="13" y="172"/>
                    <a:pt x="14" y="170"/>
                    <a:pt x="15" y="168"/>
                  </a:cubicBezTo>
                  <a:cubicBezTo>
                    <a:pt x="15" y="168"/>
                    <a:pt x="15" y="168"/>
                    <a:pt x="15" y="168"/>
                  </a:cubicBezTo>
                  <a:cubicBezTo>
                    <a:pt x="15" y="167"/>
                    <a:pt x="33" y="166"/>
                    <a:pt x="53" y="165"/>
                  </a:cubicBezTo>
                  <a:cubicBezTo>
                    <a:pt x="62" y="176"/>
                    <a:pt x="75" y="194"/>
                    <a:pt x="74" y="194"/>
                  </a:cubicBezTo>
                  <a:cubicBezTo>
                    <a:pt x="75" y="194"/>
                    <a:pt x="75" y="194"/>
                    <a:pt x="75" y="194"/>
                  </a:cubicBezTo>
                  <a:cubicBezTo>
                    <a:pt x="72" y="196"/>
                    <a:pt x="72" y="199"/>
                    <a:pt x="73" y="202"/>
                  </a:cubicBezTo>
                  <a:cubicBezTo>
                    <a:pt x="74" y="204"/>
                    <a:pt x="77" y="206"/>
                    <a:pt x="79" y="206"/>
                  </a:cubicBezTo>
                  <a:cubicBezTo>
                    <a:pt x="80" y="206"/>
                    <a:pt x="80" y="206"/>
                    <a:pt x="81" y="206"/>
                  </a:cubicBezTo>
                  <a:cubicBezTo>
                    <a:pt x="81" y="206"/>
                    <a:pt x="81" y="206"/>
                    <a:pt x="81" y="206"/>
                  </a:cubicBezTo>
                  <a:cubicBezTo>
                    <a:pt x="81" y="206"/>
                    <a:pt x="81" y="206"/>
                    <a:pt x="81" y="206"/>
                  </a:cubicBezTo>
                  <a:cubicBezTo>
                    <a:pt x="81" y="206"/>
                    <a:pt x="94" y="241"/>
                    <a:pt x="103" y="265"/>
                  </a:cubicBezTo>
                  <a:cubicBezTo>
                    <a:pt x="91" y="261"/>
                    <a:pt x="79" y="257"/>
                    <a:pt x="73" y="254"/>
                  </a:cubicBezTo>
                  <a:cubicBezTo>
                    <a:pt x="74" y="251"/>
                    <a:pt x="72" y="247"/>
                    <a:pt x="70" y="245"/>
                  </a:cubicBezTo>
                  <a:cubicBezTo>
                    <a:pt x="68" y="244"/>
                    <a:pt x="65" y="243"/>
                    <a:pt x="63" y="243"/>
                  </a:cubicBezTo>
                  <a:cubicBezTo>
                    <a:pt x="60" y="243"/>
                    <a:pt x="57" y="244"/>
                    <a:pt x="55" y="246"/>
                  </a:cubicBezTo>
                  <a:cubicBezTo>
                    <a:pt x="52" y="251"/>
                    <a:pt x="52" y="257"/>
                    <a:pt x="57" y="260"/>
                  </a:cubicBezTo>
                  <a:cubicBezTo>
                    <a:pt x="59" y="262"/>
                    <a:pt x="61" y="262"/>
                    <a:pt x="63" y="262"/>
                  </a:cubicBezTo>
                  <a:cubicBezTo>
                    <a:pt x="66" y="262"/>
                    <a:pt x="69" y="261"/>
                    <a:pt x="71" y="259"/>
                  </a:cubicBezTo>
                  <a:cubicBezTo>
                    <a:pt x="72" y="258"/>
                    <a:pt x="72" y="257"/>
                    <a:pt x="73" y="256"/>
                  </a:cubicBezTo>
                  <a:cubicBezTo>
                    <a:pt x="79" y="258"/>
                    <a:pt x="91" y="261"/>
                    <a:pt x="103" y="265"/>
                  </a:cubicBezTo>
                  <a:cubicBezTo>
                    <a:pt x="108" y="278"/>
                    <a:pt x="111" y="288"/>
                    <a:pt x="111" y="288"/>
                  </a:cubicBezTo>
                  <a:cubicBezTo>
                    <a:pt x="111" y="288"/>
                    <a:pt x="111" y="288"/>
                    <a:pt x="111" y="288"/>
                  </a:cubicBezTo>
                  <a:cubicBezTo>
                    <a:pt x="109" y="289"/>
                    <a:pt x="108" y="291"/>
                    <a:pt x="109" y="293"/>
                  </a:cubicBezTo>
                  <a:cubicBezTo>
                    <a:pt x="109" y="293"/>
                    <a:pt x="109" y="293"/>
                    <a:pt x="109" y="293"/>
                  </a:cubicBezTo>
                  <a:cubicBezTo>
                    <a:pt x="109" y="293"/>
                    <a:pt x="109" y="293"/>
                    <a:pt x="109" y="293"/>
                  </a:cubicBezTo>
                  <a:cubicBezTo>
                    <a:pt x="109" y="293"/>
                    <a:pt x="70" y="319"/>
                    <a:pt x="69" y="319"/>
                  </a:cubicBezTo>
                  <a:cubicBezTo>
                    <a:pt x="69" y="319"/>
                    <a:pt x="69" y="319"/>
                    <a:pt x="69" y="319"/>
                  </a:cubicBezTo>
                  <a:cubicBezTo>
                    <a:pt x="69" y="319"/>
                    <a:pt x="69" y="319"/>
                    <a:pt x="69" y="319"/>
                  </a:cubicBezTo>
                  <a:cubicBezTo>
                    <a:pt x="68" y="319"/>
                    <a:pt x="67" y="318"/>
                    <a:pt x="66" y="318"/>
                  </a:cubicBezTo>
                  <a:cubicBezTo>
                    <a:pt x="66" y="318"/>
                    <a:pt x="66" y="318"/>
                    <a:pt x="65" y="318"/>
                  </a:cubicBezTo>
                  <a:cubicBezTo>
                    <a:pt x="63" y="319"/>
                    <a:pt x="63" y="321"/>
                    <a:pt x="63" y="323"/>
                  </a:cubicBezTo>
                  <a:cubicBezTo>
                    <a:pt x="64" y="324"/>
                    <a:pt x="65" y="325"/>
                    <a:pt x="67" y="325"/>
                  </a:cubicBezTo>
                  <a:cubicBezTo>
                    <a:pt x="67" y="325"/>
                    <a:pt x="67" y="324"/>
                    <a:pt x="68" y="324"/>
                  </a:cubicBezTo>
                  <a:cubicBezTo>
                    <a:pt x="69" y="324"/>
                    <a:pt x="69" y="323"/>
                    <a:pt x="69" y="323"/>
                  </a:cubicBezTo>
                  <a:cubicBezTo>
                    <a:pt x="69" y="323"/>
                    <a:pt x="69" y="323"/>
                    <a:pt x="69" y="323"/>
                  </a:cubicBezTo>
                  <a:cubicBezTo>
                    <a:pt x="69" y="323"/>
                    <a:pt x="69" y="323"/>
                    <a:pt x="70" y="323"/>
                  </a:cubicBezTo>
                  <a:cubicBezTo>
                    <a:pt x="71" y="323"/>
                    <a:pt x="109" y="335"/>
                    <a:pt x="109" y="336"/>
                  </a:cubicBezTo>
                  <a:cubicBezTo>
                    <a:pt x="109" y="335"/>
                    <a:pt x="109" y="335"/>
                    <a:pt x="109" y="335"/>
                  </a:cubicBezTo>
                  <a:cubicBezTo>
                    <a:pt x="108" y="336"/>
                    <a:pt x="109" y="337"/>
                    <a:pt x="109" y="338"/>
                  </a:cubicBezTo>
                  <a:cubicBezTo>
                    <a:pt x="110" y="339"/>
                    <a:pt x="111" y="340"/>
                    <a:pt x="112" y="340"/>
                  </a:cubicBezTo>
                  <a:cubicBezTo>
                    <a:pt x="113" y="340"/>
                    <a:pt x="114" y="340"/>
                    <a:pt x="114" y="340"/>
                  </a:cubicBezTo>
                  <a:cubicBezTo>
                    <a:pt x="116" y="339"/>
                    <a:pt x="117" y="336"/>
                    <a:pt x="116" y="335"/>
                  </a:cubicBezTo>
                  <a:cubicBezTo>
                    <a:pt x="115" y="333"/>
                    <a:pt x="114" y="333"/>
                    <a:pt x="113" y="332"/>
                  </a:cubicBezTo>
                  <a:cubicBezTo>
                    <a:pt x="113" y="332"/>
                    <a:pt x="113" y="332"/>
                    <a:pt x="113" y="332"/>
                  </a:cubicBezTo>
                  <a:cubicBezTo>
                    <a:pt x="112" y="332"/>
                    <a:pt x="112" y="295"/>
                    <a:pt x="113" y="295"/>
                  </a:cubicBezTo>
                  <a:cubicBezTo>
                    <a:pt x="113" y="295"/>
                    <a:pt x="113" y="295"/>
                    <a:pt x="113" y="295"/>
                  </a:cubicBezTo>
                  <a:cubicBezTo>
                    <a:pt x="113" y="295"/>
                    <a:pt x="114" y="295"/>
                    <a:pt x="114" y="295"/>
                  </a:cubicBezTo>
                  <a:cubicBezTo>
                    <a:pt x="116" y="294"/>
                    <a:pt x="117" y="291"/>
                    <a:pt x="116" y="290"/>
                  </a:cubicBezTo>
                  <a:cubicBezTo>
                    <a:pt x="115" y="288"/>
                    <a:pt x="114" y="287"/>
                    <a:pt x="112" y="287"/>
                  </a:cubicBezTo>
                  <a:cubicBezTo>
                    <a:pt x="112" y="287"/>
                    <a:pt x="112" y="287"/>
                    <a:pt x="112" y="287"/>
                  </a:cubicBezTo>
                  <a:cubicBezTo>
                    <a:pt x="112" y="287"/>
                    <a:pt x="112" y="287"/>
                    <a:pt x="112" y="287"/>
                  </a:cubicBezTo>
                  <a:cubicBezTo>
                    <a:pt x="112" y="287"/>
                    <a:pt x="112" y="287"/>
                    <a:pt x="112" y="287"/>
                  </a:cubicBezTo>
                  <a:cubicBezTo>
                    <a:pt x="112" y="287"/>
                    <a:pt x="108" y="278"/>
                    <a:pt x="103" y="265"/>
                  </a:cubicBezTo>
                  <a:cubicBezTo>
                    <a:pt x="126" y="273"/>
                    <a:pt x="151" y="282"/>
                    <a:pt x="151" y="284"/>
                  </a:cubicBezTo>
                  <a:cubicBezTo>
                    <a:pt x="151" y="284"/>
                    <a:pt x="151" y="284"/>
                    <a:pt x="151" y="284"/>
                  </a:cubicBezTo>
                  <a:cubicBezTo>
                    <a:pt x="150" y="289"/>
                    <a:pt x="152" y="294"/>
                    <a:pt x="156" y="297"/>
                  </a:cubicBezTo>
                  <a:cubicBezTo>
                    <a:pt x="159" y="299"/>
                    <a:pt x="162" y="300"/>
                    <a:pt x="165" y="300"/>
                  </a:cubicBezTo>
                  <a:cubicBezTo>
                    <a:pt x="170" y="300"/>
                    <a:pt x="174" y="299"/>
                    <a:pt x="177" y="295"/>
                  </a:cubicBezTo>
                  <a:cubicBezTo>
                    <a:pt x="178" y="294"/>
                    <a:pt x="178" y="293"/>
                    <a:pt x="179" y="291"/>
                  </a:cubicBezTo>
                  <a:cubicBezTo>
                    <a:pt x="179" y="291"/>
                    <a:pt x="179" y="291"/>
                    <a:pt x="179" y="291"/>
                  </a:cubicBezTo>
                  <a:cubicBezTo>
                    <a:pt x="179" y="291"/>
                    <a:pt x="179" y="291"/>
                    <a:pt x="180" y="291"/>
                  </a:cubicBezTo>
                  <a:cubicBezTo>
                    <a:pt x="191" y="291"/>
                    <a:pt x="320" y="319"/>
                    <a:pt x="319" y="321"/>
                  </a:cubicBezTo>
                  <a:cubicBezTo>
                    <a:pt x="319" y="321"/>
                    <a:pt x="319" y="321"/>
                    <a:pt x="319" y="321"/>
                  </a:cubicBezTo>
                  <a:cubicBezTo>
                    <a:pt x="319" y="323"/>
                    <a:pt x="320" y="325"/>
                    <a:pt x="321" y="327"/>
                  </a:cubicBezTo>
                  <a:cubicBezTo>
                    <a:pt x="323" y="331"/>
                    <a:pt x="327" y="333"/>
                    <a:pt x="331" y="333"/>
                  </a:cubicBezTo>
                  <a:cubicBezTo>
                    <a:pt x="333" y="333"/>
                    <a:pt x="335" y="333"/>
                    <a:pt x="336" y="332"/>
                  </a:cubicBezTo>
                  <a:cubicBezTo>
                    <a:pt x="339" y="331"/>
                    <a:pt x="340" y="330"/>
                    <a:pt x="341" y="328"/>
                  </a:cubicBezTo>
                  <a:cubicBezTo>
                    <a:pt x="341" y="328"/>
                    <a:pt x="341" y="328"/>
                    <a:pt x="341" y="328"/>
                  </a:cubicBezTo>
                  <a:cubicBezTo>
                    <a:pt x="342" y="328"/>
                    <a:pt x="342" y="328"/>
                    <a:pt x="342" y="328"/>
                  </a:cubicBezTo>
                  <a:cubicBezTo>
                    <a:pt x="347" y="328"/>
                    <a:pt x="375" y="340"/>
                    <a:pt x="375" y="342"/>
                  </a:cubicBezTo>
                  <a:cubicBezTo>
                    <a:pt x="375" y="342"/>
                    <a:pt x="375" y="342"/>
                    <a:pt x="375" y="342"/>
                  </a:cubicBezTo>
                  <a:cubicBezTo>
                    <a:pt x="375" y="343"/>
                    <a:pt x="375" y="345"/>
                    <a:pt x="375" y="346"/>
                  </a:cubicBezTo>
                  <a:cubicBezTo>
                    <a:pt x="376" y="348"/>
                    <a:pt x="378" y="349"/>
                    <a:pt x="380" y="350"/>
                  </a:cubicBezTo>
                  <a:cubicBezTo>
                    <a:pt x="380" y="350"/>
                    <a:pt x="380" y="350"/>
                    <a:pt x="380" y="350"/>
                  </a:cubicBezTo>
                  <a:cubicBezTo>
                    <a:pt x="381" y="350"/>
                    <a:pt x="371" y="406"/>
                    <a:pt x="370" y="406"/>
                  </a:cubicBezTo>
                  <a:cubicBezTo>
                    <a:pt x="371" y="406"/>
                    <a:pt x="371" y="406"/>
                    <a:pt x="371" y="406"/>
                  </a:cubicBezTo>
                  <a:cubicBezTo>
                    <a:pt x="371" y="406"/>
                    <a:pt x="371" y="406"/>
                    <a:pt x="370" y="406"/>
                  </a:cubicBezTo>
                  <a:cubicBezTo>
                    <a:pt x="370" y="406"/>
                    <a:pt x="369" y="406"/>
                    <a:pt x="368" y="406"/>
                  </a:cubicBezTo>
                  <a:cubicBezTo>
                    <a:pt x="366" y="407"/>
                    <a:pt x="365" y="410"/>
                    <a:pt x="366" y="412"/>
                  </a:cubicBezTo>
                  <a:cubicBezTo>
                    <a:pt x="367" y="414"/>
                    <a:pt x="369" y="415"/>
                    <a:pt x="370" y="415"/>
                  </a:cubicBezTo>
                  <a:cubicBezTo>
                    <a:pt x="371" y="415"/>
                    <a:pt x="372" y="415"/>
                    <a:pt x="373" y="414"/>
                  </a:cubicBezTo>
                  <a:cubicBezTo>
                    <a:pt x="375" y="413"/>
                    <a:pt x="376" y="411"/>
                    <a:pt x="375" y="408"/>
                  </a:cubicBezTo>
                  <a:cubicBezTo>
                    <a:pt x="375" y="408"/>
                    <a:pt x="375" y="408"/>
                    <a:pt x="375" y="408"/>
                  </a:cubicBezTo>
                  <a:cubicBezTo>
                    <a:pt x="375" y="408"/>
                    <a:pt x="375" y="408"/>
                    <a:pt x="375" y="408"/>
                  </a:cubicBezTo>
                  <a:cubicBezTo>
                    <a:pt x="374" y="407"/>
                    <a:pt x="399" y="388"/>
                    <a:pt x="401" y="388"/>
                  </a:cubicBezTo>
                  <a:cubicBezTo>
                    <a:pt x="402" y="388"/>
                    <a:pt x="402" y="388"/>
                    <a:pt x="402" y="388"/>
                  </a:cubicBezTo>
                  <a:cubicBezTo>
                    <a:pt x="402" y="388"/>
                    <a:pt x="402" y="388"/>
                    <a:pt x="402" y="388"/>
                  </a:cubicBezTo>
                  <a:cubicBezTo>
                    <a:pt x="403" y="390"/>
                    <a:pt x="406" y="390"/>
                    <a:pt x="408" y="390"/>
                  </a:cubicBezTo>
                  <a:cubicBezTo>
                    <a:pt x="409" y="390"/>
                    <a:pt x="411" y="390"/>
                    <a:pt x="412" y="390"/>
                  </a:cubicBezTo>
                  <a:cubicBezTo>
                    <a:pt x="416" y="388"/>
                    <a:pt x="418" y="382"/>
                    <a:pt x="416" y="378"/>
                  </a:cubicBezTo>
                  <a:cubicBezTo>
                    <a:pt x="415" y="375"/>
                    <a:pt x="411" y="373"/>
                    <a:pt x="408" y="373"/>
                  </a:cubicBezTo>
                  <a:cubicBezTo>
                    <a:pt x="407" y="373"/>
                    <a:pt x="405" y="373"/>
                    <a:pt x="404" y="374"/>
                  </a:cubicBezTo>
                  <a:cubicBezTo>
                    <a:pt x="404" y="374"/>
                    <a:pt x="404" y="374"/>
                    <a:pt x="404" y="374"/>
                  </a:cubicBezTo>
                  <a:cubicBezTo>
                    <a:pt x="404" y="374"/>
                    <a:pt x="404" y="374"/>
                    <a:pt x="404" y="374"/>
                  </a:cubicBezTo>
                  <a:cubicBezTo>
                    <a:pt x="402" y="374"/>
                    <a:pt x="385" y="349"/>
                    <a:pt x="386" y="348"/>
                  </a:cubicBezTo>
                  <a:cubicBezTo>
                    <a:pt x="386" y="348"/>
                    <a:pt x="386" y="348"/>
                    <a:pt x="386" y="348"/>
                  </a:cubicBezTo>
                  <a:cubicBezTo>
                    <a:pt x="389" y="346"/>
                    <a:pt x="389" y="343"/>
                    <a:pt x="388" y="340"/>
                  </a:cubicBezTo>
                  <a:cubicBezTo>
                    <a:pt x="387" y="338"/>
                    <a:pt x="384" y="337"/>
                    <a:pt x="382" y="337"/>
                  </a:cubicBezTo>
                  <a:cubicBezTo>
                    <a:pt x="381" y="337"/>
                    <a:pt x="380" y="337"/>
                    <a:pt x="379" y="337"/>
                  </a:cubicBezTo>
                  <a:cubicBezTo>
                    <a:pt x="378" y="338"/>
                    <a:pt x="377" y="339"/>
                    <a:pt x="376" y="340"/>
                  </a:cubicBezTo>
                  <a:cubicBezTo>
                    <a:pt x="376" y="340"/>
                    <a:pt x="376" y="340"/>
                    <a:pt x="376" y="340"/>
                  </a:cubicBezTo>
                  <a:cubicBezTo>
                    <a:pt x="376" y="340"/>
                    <a:pt x="376" y="340"/>
                    <a:pt x="376" y="340"/>
                  </a:cubicBezTo>
                  <a:cubicBezTo>
                    <a:pt x="373" y="340"/>
                    <a:pt x="342" y="327"/>
                    <a:pt x="343" y="325"/>
                  </a:cubicBezTo>
                  <a:cubicBezTo>
                    <a:pt x="343" y="325"/>
                    <a:pt x="343" y="325"/>
                    <a:pt x="343" y="325"/>
                  </a:cubicBezTo>
                  <a:cubicBezTo>
                    <a:pt x="343" y="324"/>
                    <a:pt x="343" y="323"/>
                    <a:pt x="343" y="322"/>
                  </a:cubicBezTo>
                  <a:cubicBezTo>
                    <a:pt x="343" y="322"/>
                    <a:pt x="343" y="322"/>
                    <a:pt x="343" y="322"/>
                  </a:cubicBezTo>
                  <a:cubicBezTo>
                    <a:pt x="343" y="320"/>
                    <a:pt x="479" y="305"/>
                    <a:pt x="496" y="305"/>
                  </a:cubicBezTo>
                  <a:cubicBezTo>
                    <a:pt x="497" y="305"/>
                    <a:pt x="497" y="305"/>
                    <a:pt x="497" y="305"/>
                  </a:cubicBezTo>
                  <a:cubicBezTo>
                    <a:pt x="497" y="305"/>
                    <a:pt x="497" y="305"/>
                    <a:pt x="497" y="305"/>
                  </a:cubicBezTo>
                  <a:cubicBezTo>
                    <a:pt x="498" y="306"/>
                    <a:pt x="498" y="306"/>
                    <a:pt x="498" y="307"/>
                  </a:cubicBezTo>
                  <a:cubicBezTo>
                    <a:pt x="500" y="311"/>
                    <a:pt x="504" y="314"/>
                    <a:pt x="509" y="314"/>
                  </a:cubicBezTo>
                  <a:cubicBezTo>
                    <a:pt x="511" y="314"/>
                    <a:pt x="512" y="313"/>
                    <a:pt x="514" y="313"/>
                  </a:cubicBezTo>
                  <a:cubicBezTo>
                    <a:pt x="516" y="312"/>
                    <a:pt x="517" y="311"/>
                    <a:pt x="519" y="309"/>
                  </a:cubicBezTo>
                  <a:cubicBezTo>
                    <a:pt x="519" y="309"/>
                    <a:pt x="519" y="309"/>
                    <a:pt x="519" y="309"/>
                  </a:cubicBezTo>
                  <a:cubicBezTo>
                    <a:pt x="519" y="309"/>
                    <a:pt x="519" y="309"/>
                    <a:pt x="519" y="309"/>
                  </a:cubicBezTo>
                  <a:cubicBezTo>
                    <a:pt x="523" y="309"/>
                    <a:pt x="568" y="332"/>
                    <a:pt x="567" y="333"/>
                  </a:cubicBezTo>
                  <a:cubicBezTo>
                    <a:pt x="567" y="333"/>
                    <a:pt x="567" y="333"/>
                    <a:pt x="567" y="333"/>
                  </a:cubicBezTo>
                  <a:cubicBezTo>
                    <a:pt x="566" y="336"/>
                    <a:pt x="566" y="338"/>
                    <a:pt x="567" y="341"/>
                  </a:cubicBezTo>
                  <a:cubicBezTo>
                    <a:pt x="569" y="344"/>
                    <a:pt x="573" y="346"/>
                    <a:pt x="576" y="346"/>
                  </a:cubicBezTo>
                  <a:cubicBezTo>
                    <a:pt x="578" y="346"/>
                    <a:pt x="579" y="346"/>
                    <a:pt x="581" y="345"/>
                  </a:cubicBezTo>
                  <a:cubicBezTo>
                    <a:pt x="586" y="343"/>
                    <a:pt x="588" y="337"/>
                    <a:pt x="586" y="332"/>
                  </a:cubicBezTo>
                  <a:cubicBezTo>
                    <a:pt x="585" y="331"/>
                    <a:pt x="585" y="331"/>
                    <a:pt x="585" y="331"/>
                  </a:cubicBezTo>
                  <a:cubicBezTo>
                    <a:pt x="585" y="331"/>
                    <a:pt x="585" y="331"/>
                    <a:pt x="585" y="331"/>
                  </a:cubicBezTo>
                  <a:cubicBezTo>
                    <a:pt x="584" y="330"/>
                    <a:pt x="626" y="294"/>
                    <a:pt x="631" y="294"/>
                  </a:cubicBezTo>
                  <a:cubicBezTo>
                    <a:pt x="631" y="294"/>
                    <a:pt x="631" y="294"/>
                    <a:pt x="631" y="294"/>
                  </a:cubicBezTo>
                  <a:cubicBezTo>
                    <a:pt x="631" y="294"/>
                    <a:pt x="631" y="294"/>
                    <a:pt x="631" y="294"/>
                  </a:cubicBezTo>
                  <a:cubicBezTo>
                    <a:pt x="634" y="296"/>
                    <a:pt x="637" y="298"/>
                    <a:pt x="641" y="298"/>
                  </a:cubicBezTo>
                  <a:cubicBezTo>
                    <a:pt x="647" y="298"/>
                    <a:pt x="653" y="294"/>
                    <a:pt x="655" y="289"/>
                  </a:cubicBezTo>
                  <a:cubicBezTo>
                    <a:pt x="655" y="289"/>
                    <a:pt x="655" y="289"/>
                    <a:pt x="655" y="289"/>
                  </a:cubicBezTo>
                  <a:cubicBezTo>
                    <a:pt x="655" y="289"/>
                    <a:pt x="656" y="289"/>
                    <a:pt x="656" y="289"/>
                  </a:cubicBezTo>
                  <a:cubicBezTo>
                    <a:pt x="666" y="289"/>
                    <a:pt x="737" y="308"/>
                    <a:pt x="737" y="310"/>
                  </a:cubicBezTo>
                  <a:cubicBezTo>
                    <a:pt x="737" y="310"/>
                    <a:pt x="737" y="310"/>
                    <a:pt x="737" y="310"/>
                  </a:cubicBezTo>
                  <a:cubicBezTo>
                    <a:pt x="737" y="311"/>
                    <a:pt x="737" y="312"/>
                    <a:pt x="738" y="314"/>
                  </a:cubicBezTo>
                  <a:cubicBezTo>
                    <a:pt x="738" y="314"/>
                    <a:pt x="739" y="315"/>
                    <a:pt x="739" y="316"/>
                  </a:cubicBezTo>
                  <a:cubicBezTo>
                    <a:pt x="739" y="316"/>
                    <a:pt x="739" y="316"/>
                    <a:pt x="739" y="316"/>
                  </a:cubicBezTo>
                  <a:cubicBezTo>
                    <a:pt x="740" y="317"/>
                    <a:pt x="692" y="378"/>
                    <a:pt x="689" y="378"/>
                  </a:cubicBezTo>
                  <a:cubicBezTo>
                    <a:pt x="689" y="378"/>
                    <a:pt x="689" y="378"/>
                    <a:pt x="689" y="378"/>
                  </a:cubicBezTo>
                  <a:cubicBezTo>
                    <a:pt x="687" y="377"/>
                    <a:pt x="684" y="376"/>
                    <a:pt x="682" y="376"/>
                  </a:cubicBezTo>
                  <a:cubicBezTo>
                    <a:pt x="674" y="376"/>
                    <a:pt x="667" y="382"/>
                    <a:pt x="667" y="390"/>
                  </a:cubicBezTo>
                  <a:cubicBezTo>
                    <a:pt x="667" y="391"/>
                    <a:pt x="667" y="392"/>
                    <a:pt x="668" y="393"/>
                  </a:cubicBezTo>
                  <a:cubicBezTo>
                    <a:pt x="668" y="396"/>
                    <a:pt x="559" y="435"/>
                    <a:pt x="552" y="435"/>
                  </a:cubicBezTo>
                  <a:cubicBezTo>
                    <a:pt x="552" y="435"/>
                    <a:pt x="552" y="435"/>
                    <a:pt x="552" y="435"/>
                  </a:cubicBezTo>
                  <a:cubicBezTo>
                    <a:pt x="552" y="435"/>
                    <a:pt x="552" y="435"/>
                    <a:pt x="552" y="435"/>
                  </a:cubicBezTo>
                  <a:cubicBezTo>
                    <a:pt x="550" y="431"/>
                    <a:pt x="545" y="429"/>
                    <a:pt x="540" y="429"/>
                  </a:cubicBezTo>
                  <a:cubicBezTo>
                    <a:pt x="533" y="429"/>
                    <a:pt x="527" y="434"/>
                    <a:pt x="527" y="442"/>
                  </a:cubicBezTo>
                  <a:cubicBezTo>
                    <a:pt x="527" y="449"/>
                    <a:pt x="533" y="455"/>
                    <a:pt x="540" y="455"/>
                  </a:cubicBezTo>
                  <a:cubicBezTo>
                    <a:pt x="548" y="455"/>
                    <a:pt x="554" y="449"/>
                    <a:pt x="554" y="442"/>
                  </a:cubicBezTo>
                  <a:cubicBezTo>
                    <a:pt x="554" y="441"/>
                    <a:pt x="554" y="440"/>
                    <a:pt x="553" y="439"/>
                  </a:cubicBezTo>
                  <a:cubicBezTo>
                    <a:pt x="553" y="436"/>
                    <a:pt x="661" y="397"/>
                    <a:pt x="669" y="397"/>
                  </a:cubicBezTo>
                  <a:cubicBezTo>
                    <a:pt x="669" y="397"/>
                    <a:pt x="669" y="397"/>
                    <a:pt x="669" y="397"/>
                  </a:cubicBezTo>
                  <a:cubicBezTo>
                    <a:pt x="669" y="397"/>
                    <a:pt x="669" y="397"/>
                    <a:pt x="669" y="397"/>
                  </a:cubicBezTo>
                  <a:cubicBezTo>
                    <a:pt x="671" y="401"/>
                    <a:pt x="675" y="403"/>
                    <a:pt x="680" y="404"/>
                  </a:cubicBezTo>
                  <a:cubicBezTo>
                    <a:pt x="680" y="404"/>
                    <a:pt x="680" y="404"/>
                    <a:pt x="680" y="404"/>
                  </a:cubicBezTo>
                  <a:cubicBezTo>
                    <a:pt x="683" y="404"/>
                    <a:pt x="682" y="478"/>
                    <a:pt x="681" y="478"/>
                  </a:cubicBezTo>
                  <a:cubicBezTo>
                    <a:pt x="681" y="478"/>
                    <a:pt x="681" y="478"/>
                    <a:pt x="681" y="478"/>
                  </a:cubicBezTo>
                  <a:cubicBezTo>
                    <a:pt x="680" y="478"/>
                    <a:pt x="679" y="479"/>
                    <a:pt x="679" y="479"/>
                  </a:cubicBezTo>
                  <a:cubicBezTo>
                    <a:pt x="676" y="480"/>
                    <a:pt x="674" y="483"/>
                    <a:pt x="674" y="486"/>
                  </a:cubicBezTo>
                  <a:cubicBezTo>
                    <a:pt x="674" y="486"/>
                    <a:pt x="674" y="486"/>
                    <a:pt x="674" y="486"/>
                  </a:cubicBezTo>
                  <a:cubicBezTo>
                    <a:pt x="674" y="488"/>
                    <a:pt x="615" y="505"/>
                    <a:pt x="607" y="505"/>
                  </a:cubicBezTo>
                  <a:cubicBezTo>
                    <a:pt x="607" y="505"/>
                    <a:pt x="606" y="505"/>
                    <a:pt x="606" y="505"/>
                  </a:cubicBezTo>
                  <a:cubicBezTo>
                    <a:pt x="606" y="505"/>
                    <a:pt x="606" y="505"/>
                    <a:pt x="606" y="505"/>
                  </a:cubicBezTo>
                  <a:cubicBezTo>
                    <a:pt x="604" y="501"/>
                    <a:pt x="599" y="498"/>
                    <a:pt x="594" y="498"/>
                  </a:cubicBezTo>
                  <a:cubicBezTo>
                    <a:pt x="592" y="498"/>
                    <a:pt x="590" y="498"/>
                    <a:pt x="588" y="499"/>
                  </a:cubicBezTo>
                  <a:cubicBezTo>
                    <a:pt x="582" y="502"/>
                    <a:pt x="579" y="510"/>
                    <a:pt x="582" y="516"/>
                  </a:cubicBezTo>
                  <a:cubicBezTo>
                    <a:pt x="584" y="521"/>
                    <a:pt x="589" y="524"/>
                    <a:pt x="594" y="524"/>
                  </a:cubicBezTo>
                  <a:cubicBezTo>
                    <a:pt x="596" y="524"/>
                    <a:pt x="598" y="523"/>
                    <a:pt x="600" y="523"/>
                  </a:cubicBezTo>
                  <a:cubicBezTo>
                    <a:pt x="605" y="520"/>
                    <a:pt x="608" y="515"/>
                    <a:pt x="608" y="509"/>
                  </a:cubicBezTo>
                  <a:cubicBezTo>
                    <a:pt x="608" y="509"/>
                    <a:pt x="608" y="509"/>
                    <a:pt x="608" y="509"/>
                  </a:cubicBezTo>
                  <a:cubicBezTo>
                    <a:pt x="607" y="507"/>
                    <a:pt x="670" y="489"/>
                    <a:pt x="675" y="489"/>
                  </a:cubicBezTo>
                  <a:cubicBezTo>
                    <a:pt x="675" y="489"/>
                    <a:pt x="675" y="489"/>
                    <a:pt x="675" y="489"/>
                  </a:cubicBezTo>
                  <a:cubicBezTo>
                    <a:pt x="675" y="489"/>
                    <a:pt x="675" y="489"/>
                    <a:pt x="675" y="489"/>
                  </a:cubicBezTo>
                  <a:cubicBezTo>
                    <a:pt x="676" y="491"/>
                    <a:pt x="679" y="493"/>
                    <a:pt x="682" y="493"/>
                  </a:cubicBezTo>
                  <a:cubicBezTo>
                    <a:pt x="683" y="493"/>
                    <a:pt x="684" y="493"/>
                    <a:pt x="685" y="492"/>
                  </a:cubicBezTo>
                  <a:cubicBezTo>
                    <a:pt x="689" y="490"/>
                    <a:pt x="690" y="486"/>
                    <a:pt x="689" y="482"/>
                  </a:cubicBezTo>
                  <a:cubicBezTo>
                    <a:pt x="688" y="480"/>
                    <a:pt x="685" y="479"/>
                    <a:pt x="683" y="478"/>
                  </a:cubicBezTo>
                  <a:cubicBezTo>
                    <a:pt x="683" y="478"/>
                    <a:pt x="683" y="478"/>
                    <a:pt x="683" y="478"/>
                  </a:cubicBezTo>
                  <a:cubicBezTo>
                    <a:pt x="682" y="478"/>
                    <a:pt x="681" y="404"/>
                    <a:pt x="684" y="404"/>
                  </a:cubicBezTo>
                  <a:cubicBezTo>
                    <a:pt x="684" y="404"/>
                    <a:pt x="684" y="404"/>
                    <a:pt x="684" y="404"/>
                  </a:cubicBezTo>
                  <a:cubicBezTo>
                    <a:pt x="689" y="403"/>
                    <a:pt x="693" y="400"/>
                    <a:pt x="695" y="396"/>
                  </a:cubicBezTo>
                  <a:cubicBezTo>
                    <a:pt x="695" y="396"/>
                    <a:pt x="695" y="396"/>
                    <a:pt x="695" y="396"/>
                  </a:cubicBezTo>
                  <a:cubicBezTo>
                    <a:pt x="695" y="396"/>
                    <a:pt x="695" y="396"/>
                    <a:pt x="696" y="396"/>
                  </a:cubicBezTo>
                  <a:cubicBezTo>
                    <a:pt x="704" y="396"/>
                    <a:pt x="759" y="413"/>
                    <a:pt x="758" y="416"/>
                  </a:cubicBezTo>
                  <a:cubicBezTo>
                    <a:pt x="758" y="416"/>
                    <a:pt x="758" y="416"/>
                    <a:pt x="758" y="416"/>
                  </a:cubicBezTo>
                  <a:cubicBezTo>
                    <a:pt x="758" y="417"/>
                    <a:pt x="758" y="418"/>
                    <a:pt x="758" y="419"/>
                  </a:cubicBezTo>
                  <a:cubicBezTo>
                    <a:pt x="758" y="429"/>
                    <a:pt x="766" y="437"/>
                    <a:pt x="776" y="437"/>
                  </a:cubicBezTo>
                  <a:cubicBezTo>
                    <a:pt x="786" y="437"/>
                    <a:pt x="795" y="429"/>
                    <a:pt x="795" y="419"/>
                  </a:cubicBezTo>
                  <a:cubicBezTo>
                    <a:pt x="795" y="409"/>
                    <a:pt x="786" y="401"/>
                    <a:pt x="776" y="401"/>
                  </a:cubicBezTo>
                  <a:cubicBezTo>
                    <a:pt x="769" y="401"/>
                    <a:pt x="763" y="405"/>
                    <a:pt x="760" y="411"/>
                  </a:cubicBezTo>
                  <a:cubicBezTo>
                    <a:pt x="760" y="411"/>
                    <a:pt x="760" y="411"/>
                    <a:pt x="760" y="411"/>
                  </a:cubicBezTo>
                  <a:cubicBezTo>
                    <a:pt x="760" y="411"/>
                    <a:pt x="759" y="411"/>
                    <a:pt x="759" y="411"/>
                  </a:cubicBezTo>
                  <a:cubicBezTo>
                    <a:pt x="749" y="411"/>
                    <a:pt x="696" y="395"/>
                    <a:pt x="696" y="392"/>
                  </a:cubicBezTo>
                  <a:cubicBezTo>
                    <a:pt x="696" y="392"/>
                    <a:pt x="696" y="392"/>
                    <a:pt x="696" y="392"/>
                  </a:cubicBezTo>
                  <a:cubicBezTo>
                    <a:pt x="696" y="391"/>
                    <a:pt x="696" y="391"/>
                    <a:pt x="696" y="390"/>
                  </a:cubicBezTo>
                  <a:cubicBezTo>
                    <a:pt x="696" y="386"/>
                    <a:pt x="695" y="383"/>
                    <a:pt x="692" y="380"/>
                  </a:cubicBezTo>
                  <a:cubicBezTo>
                    <a:pt x="692" y="380"/>
                    <a:pt x="692" y="380"/>
                    <a:pt x="692" y="380"/>
                  </a:cubicBezTo>
                  <a:cubicBezTo>
                    <a:pt x="690" y="378"/>
                    <a:pt x="739" y="317"/>
                    <a:pt x="741" y="317"/>
                  </a:cubicBezTo>
                  <a:cubicBezTo>
                    <a:pt x="741" y="317"/>
                    <a:pt x="741" y="317"/>
                    <a:pt x="741" y="317"/>
                  </a:cubicBezTo>
                  <a:cubicBezTo>
                    <a:pt x="741" y="317"/>
                    <a:pt x="741" y="317"/>
                    <a:pt x="741" y="317"/>
                  </a:cubicBezTo>
                  <a:cubicBezTo>
                    <a:pt x="742" y="318"/>
                    <a:pt x="743" y="318"/>
                    <a:pt x="745" y="318"/>
                  </a:cubicBezTo>
                  <a:cubicBezTo>
                    <a:pt x="746" y="318"/>
                    <a:pt x="747" y="318"/>
                    <a:pt x="748" y="317"/>
                  </a:cubicBezTo>
                  <a:cubicBezTo>
                    <a:pt x="748" y="317"/>
                    <a:pt x="749" y="316"/>
                    <a:pt x="750" y="316"/>
                  </a:cubicBezTo>
                  <a:cubicBezTo>
                    <a:pt x="749" y="316"/>
                    <a:pt x="749" y="316"/>
                    <a:pt x="749" y="316"/>
                  </a:cubicBezTo>
                  <a:cubicBezTo>
                    <a:pt x="749" y="316"/>
                    <a:pt x="750" y="316"/>
                    <a:pt x="750" y="316"/>
                  </a:cubicBezTo>
                  <a:cubicBezTo>
                    <a:pt x="752" y="316"/>
                    <a:pt x="870" y="414"/>
                    <a:pt x="868" y="417"/>
                  </a:cubicBezTo>
                  <a:cubicBezTo>
                    <a:pt x="868" y="417"/>
                    <a:pt x="868" y="417"/>
                    <a:pt x="868" y="417"/>
                  </a:cubicBezTo>
                  <a:cubicBezTo>
                    <a:pt x="867" y="419"/>
                    <a:pt x="866" y="421"/>
                    <a:pt x="866" y="424"/>
                  </a:cubicBezTo>
                  <a:cubicBezTo>
                    <a:pt x="865" y="433"/>
                    <a:pt x="872" y="440"/>
                    <a:pt x="881" y="441"/>
                  </a:cubicBezTo>
                  <a:cubicBezTo>
                    <a:pt x="882" y="441"/>
                    <a:pt x="882" y="441"/>
                    <a:pt x="882" y="441"/>
                  </a:cubicBezTo>
                  <a:cubicBezTo>
                    <a:pt x="885" y="441"/>
                    <a:pt x="887" y="440"/>
                    <a:pt x="889" y="439"/>
                  </a:cubicBezTo>
                  <a:cubicBezTo>
                    <a:pt x="889" y="439"/>
                    <a:pt x="889" y="439"/>
                    <a:pt x="889" y="439"/>
                  </a:cubicBezTo>
                  <a:cubicBezTo>
                    <a:pt x="889" y="439"/>
                    <a:pt x="889" y="439"/>
                    <a:pt x="889" y="439"/>
                  </a:cubicBezTo>
                  <a:cubicBezTo>
                    <a:pt x="893" y="439"/>
                    <a:pt x="933" y="497"/>
                    <a:pt x="931" y="499"/>
                  </a:cubicBezTo>
                  <a:cubicBezTo>
                    <a:pt x="931" y="499"/>
                    <a:pt x="931" y="499"/>
                    <a:pt x="931" y="499"/>
                  </a:cubicBezTo>
                  <a:cubicBezTo>
                    <a:pt x="929" y="501"/>
                    <a:pt x="927" y="504"/>
                    <a:pt x="927" y="508"/>
                  </a:cubicBezTo>
                  <a:cubicBezTo>
                    <a:pt x="926" y="515"/>
                    <a:pt x="932" y="522"/>
                    <a:pt x="940" y="522"/>
                  </a:cubicBezTo>
                  <a:cubicBezTo>
                    <a:pt x="940" y="522"/>
                    <a:pt x="940" y="522"/>
                    <a:pt x="941" y="522"/>
                  </a:cubicBezTo>
                  <a:cubicBezTo>
                    <a:pt x="948" y="522"/>
                    <a:pt x="954" y="516"/>
                    <a:pt x="954" y="509"/>
                  </a:cubicBezTo>
                  <a:cubicBezTo>
                    <a:pt x="955" y="503"/>
                    <a:pt x="950" y="497"/>
                    <a:pt x="944" y="496"/>
                  </a:cubicBezTo>
                  <a:cubicBezTo>
                    <a:pt x="944" y="496"/>
                    <a:pt x="944" y="496"/>
                    <a:pt x="944" y="496"/>
                  </a:cubicBezTo>
                  <a:cubicBezTo>
                    <a:pt x="941" y="495"/>
                    <a:pt x="946" y="401"/>
                    <a:pt x="951" y="401"/>
                  </a:cubicBezTo>
                  <a:cubicBezTo>
                    <a:pt x="951" y="401"/>
                    <a:pt x="951" y="401"/>
                    <a:pt x="951" y="401"/>
                  </a:cubicBezTo>
                  <a:cubicBezTo>
                    <a:pt x="959" y="400"/>
                    <a:pt x="967" y="395"/>
                    <a:pt x="971" y="388"/>
                  </a:cubicBezTo>
                  <a:cubicBezTo>
                    <a:pt x="978" y="376"/>
                    <a:pt x="973" y="361"/>
                    <a:pt x="960" y="354"/>
                  </a:cubicBezTo>
                  <a:cubicBezTo>
                    <a:pt x="957" y="352"/>
                    <a:pt x="952" y="351"/>
                    <a:pt x="948" y="351"/>
                  </a:cubicBezTo>
                  <a:cubicBezTo>
                    <a:pt x="940" y="351"/>
                    <a:pt x="931" y="355"/>
                    <a:pt x="926" y="363"/>
                  </a:cubicBezTo>
                  <a:cubicBezTo>
                    <a:pt x="926" y="363"/>
                    <a:pt x="926" y="363"/>
                    <a:pt x="926" y="363"/>
                  </a:cubicBezTo>
                  <a:cubicBezTo>
                    <a:pt x="926" y="363"/>
                    <a:pt x="926" y="363"/>
                    <a:pt x="925" y="363"/>
                  </a:cubicBezTo>
                  <a:cubicBezTo>
                    <a:pt x="921" y="363"/>
                    <a:pt x="909" y="359"/>
                    <a:pt x="896" y="354"/>
                  </a:cubicBezTo>
                  <a:cubicBezTo>
                    <a:pt x="911" y="360"/>
                    <a:pt x="924" y="367"/>
                    <a:pt x="923" y="369"/>
                  </a:cubicBezTo>
                  <a:cubicBezTo>
                    <a:pt x="923" y="369"/>
                    <a:pt x="923" y="369"/>
                    <a:pt x="923" y="369"/>
                  </a:cubicBezTo>
                  <a:cubicBezTo>
                    <a:pt x="921" y="376"/>
                    <a:pt x="922" y="382"/>
                    <a:pt x="926" y="388"/>
                  </a:cubicBezTo>
                  <a:cubicBezTo>
                    <a:pt x="926" y="388"/>
                    <a:pt x="926" y="388"/>
                    <a:pt x="926" y="388"/>
                  </a:cubicBezTo>
                  <a:cubicBezTo>
                    <a:pt x="928" y="392"/>
                    <a:pt x="898" y="414"/>
                    <a:pt x="894" y="414"/>
                  </a:cubicBezTo>
                  <a:cubicBezTo>
                    <a:pt x="893" y="414"/>
                    <a:pt x="893" y="414"/>
                    <a:pt x="893" y="413"/>
                  </a:cubicBezTo>
                  <a:cubicBezTo>
                    <a:pt x="893" y="413"/>
                    <a:pt x="893" y="413"/>
                    <a:pt x="893" y="413"/>
                  </a:cubicBezTo>
                  <a:cubicBezTo>
                    <a:pt x="890" y="411"/>
                    <a:pt x="887" y="410"/>
                    <a:pt x="883" y="409"/>
                  </a:cubicBezTo>
                  <a:cubicBezTo>
                    <a:pt x="883" y="409"/>
                    <a:pt x="882" y="409"/>
                    <a:pt x="882" y="409"/>
                  </a:cubicBezTo>
                  <a:cubicBezTo>
                    <a:pt x="878" y="409"/>
                    <a:pt x="874" y="411"/>
                    <a:pt x="871" y="413"/>
                  </a:cubicBezTo>
                  <a:cubicBezTo>
                    <a:pt x="871" y="413"/>
                    <a:pt x="871" y="413"/>
                    <a:pt x="871" y="413"/>
                  </a:cubicBezTo>
                  <a:cubicBezTo>
                    <a:pt x="871" y="413"/>
                    <a:pt x="871" y="413"/>
                    <a:pt x="871" y="413"/>
                  </a:cubicBezTo>
                  <a:cubicBezTo>
                    <a:pt x="867" y="413"/>
                    <a:pt x="750" y="316"/>
                    <a:pt x="751" y="314"/>
                  </a:cubicBezTo>
                  <a:cubicBezTo>
                    <a:pt x="751" y="314"/>
                    <a:pt x="751" y="314"/>
                    <a:pt x="751" y="314"/>
                  </a:cubicBezTo>
                  <a:cubicBezTo>
                    <a:pt x="752" y="312"/>
                    <a:pt x="753" y="310"/>
                    <a:pt x="752" y="307"/>
                  </a:cubicBezTo>
                  <a:cubicBezTo>
                    <a:pt x="750" y="305"/>
                    <a:pt x="747" y="303"/>
                    <a:pt x="745" y="303"/>
                  </a:cubicBezTo>
                  <a:cubicBezTo>
                    <a:pt x="744" y="303"/>
                    <a:pt x="742" y="303"/>
                    <a:pt x="741" y="304"/>
                  </a:cubicBezTo>
                  <a:cubicBezTo>
                    <a:pt x="740" y="305"/>
                    <a:pt x="738" y="306"/>
                    <a:pt x="738" y="307"/>
                  </a:cubicBezTo>
                  <a:cubicBezTo>
                    <a:pt x="738" y="307"/>
                    <a:pt x="738" y="307"/>
                    <a:pt x="738" y="307"/>
                  </a:cubicBezTo>
                  <a:cubicBezTo>
                    <a:pt x="738" y="307"/>
                    <a:pt x="738" y="307"/>
                    <a:pt x="737" y="307"/>
                  </a:cubicBezTo>
                  <a:cubicBezTo>
                    <a:pt x="732" y="307"/>
                    <a:pt x="656" y="287"/>
                    <a:pt x="657" y="284"/>
                  </a:cubicBezTo>
                  <a:cubicBezTo>
                    <a:pt x="657" y="285"/>
                    <a:pt x="657" y="285"/>
                    <a:pt x="657" y="285"/>
                  </a:cubicBezTo>
                  <a:cubicBezTo>
                    <a:pt x="657" y="284"/>
                    <a:pt x="657" y="283"/>
                    <a:pt x="657" y="283"/>
                  </a:cubicBezTo>
                  <a:cubicBezTo>
                    <a:pt x="657" y="280"/>
                    <a:pt x="656" y="278"/>
                    <a:pt x="655" y="275"/>
                  </a:cubicBezTo>
                  <a:cubicBezTo>
                    <a:pt x="653" y="273"/>
                    <a:pt x="710" y="233"/>
                    <a:pt x="712" y="233"/>
                  </a:cubicBezTo>
                  <a:cubicBezTo>
                    <a:pt x="712" y="233"/>
                    <a:pt x="712" y="233"/>
                    <a:pt x="712" y="233"/>
                  </a:cubicBezTo>
                  <a:cubicBezTo>
                    <a:pt x="712" y="233"/>
                    <a:pt x="712" y="233"/>
                    <a:pt x="712" y="233"/>
                  </a:cubicBezTo>
                  <a:cubicBezTo>
                    <a:pt x="714" y="234"/>
                    <a:pt x="716" y="235"/>
                    <a:pt x="718" y="235"/>
                  </a:cubicBezTo>
                  <a:cubicBezTo>
                    <a:pt x="719" y="235"/>
                    <a:pt x="720" y="235"/>
                    <a:pt x="721" y="234"/>
                  </a:cubicBezTo>
                  <a:cubicBezTo>
                    <a:pt x="725" y="233"/>
                    <a:pt x="726" y="228"/>
                    <a:pt x="724" y="225"/>
                  </a:cubicBezTo>
                  <a:cubicBezTo>
                    <a:pt x="723" y="222"/>
                    <a:pt x="720" y="220"/>
                    <a:pt x="718" y="220"/>
                  </a:cubicBezTo>
                  <a:cubicBezTo>
                    <a:pt x="716" y="220"/>
                    <a:pt x="715" y="221"/>
                    <a:pt x="714" y="221"/>
                  </a:cubicBezTo>
                  <a:cubicBezTo>
                    <a:pt x="713" y="222"/>
                    <a:pt x="713" y="222"/>
                    <a:pt x="713" y="222"/>
                  </a:cubicBezTo>
                  <a:cubicBezTo>
                    <a:pt x="713" y="222"/>
                    <a:pt x="713" y="222"/>
                    <a:pt x="713" y="222"/>
                  </a:cubicBezTo>
                  <a:cubicBezTo>
                    <a:pt x="713" y="222"/>
                    <a:pt x="713" y="222"/>
                    <a:pt x="713" y="222"/>
                  </a:cubicBezTo>
                  <a:cubicBezTo>
                    <a:pt x="713" y="222"/>
                    <a:pt x="711" y="220"/>
                    <a:pt x="708" y="218"/>
                  </a:cubicBezTo>
                  <a:cubicBezTo>
                    <a:pt x="735" y="191"/>
                    <a:pt x="763" y="165"/>
                    <a:pt x="764" y="165"/>
                  </a:cubicBezTo>
                  <a:cubicBezTo>
                    <a:pt x="764" y="165"/>
                    <a:pt x="764" y="165"/>
                    <a:pt x="764" y="165"/>
                  </a:cubicBezTo>
                  <a:cubicBezTo>
                    <a:pt x="764" y="165"/>
                    <a:pt x="764" y="165"/>
                    <a:pt x="764" y="165"/>
                  </a:cubicBezTo>
                  <a:cubicBezTo>
                    <a:pt x="765" y="166"/>
                    <a:pt x="767" y="167"/>
                    <a:pt x="768" y="167"/>
                  </a:cubicBezTo>
                  <a:cubicBezTo>
                    <a:pt x="769" y="167"/>
                    <a:pt x="769" y="167"/>
                    <a:pt x="770" y="166"/>
                  </a:cubicBezTo>
                  <a:cubicBezTo>
                    <a:pt x="770" y="167"/>
                    <a:pt x="770" y="167"/>
                    <a:pt x="770" y="167"/>
                  </a:cubicBezTo>
                  <a:cubicBezTo>
                    <a:pt x="770" y="167"/>
                    <a:pt x="770" y="167"/>
                    <a:pt x="770" y="167"/>
                  </a:cubicBezTo>
                  <a:cubicBezTo>
                    <a:pt x="772" y="167"/>
                    <a:pt x="805" y="248"/>
                    <a:pt x="802" y="250"/>
                  </a:cubicBezTo>
                  <a:cubicBezTo>
                    <a:pt x="802" y="250"/>
                    <a:pt x="802" y="250"/>
                    <a:pt x="802" y="250"/>
                  </a:cubicBezTo>
                  <a:cubicBezTo>
                    <a:pt x="793" y="254"/>
                    <a:pt x="790" y="265"/>
                    <a:pt x="794" y="273"/>
                  </a:cubicBezTo>
                  <a:cubicBezTo>
                    <a:pt x="797" y="280"/>
                    <a:pt x="804" y="284"/>
                    <a:pt x="811" y="284"/>
                  </a:cubicBezTo>
                  <a:cubicBezTo>
                    <a:pt x="814" y="284"/>
                    <a:pt x="817" y="283"/>
                    <a:pt x="819" y="282"/>
                  </a:cubicBezTo>
                  <a:cubicBezTo>
                    <a:pt x="829" y="278"/>
                    <a:pt x="833" y="267"/>
                    <a:pt x="828" y="258"/>
                  </a:cubicBezTo>
                  <a:cubicBezTo>
                    <a:pt x="827" y="255"/>
                    <a:pt x="825" y="253"/>
                    <a:pt x="822" y="251"/>
                  </a:cubicBezTo>
                  <a:cubicBezTo>
                    <a:pt x="823" y="251"/>
                    <a:pt x="823" y="251"/>
                    <a:pt x="823" y="251"/>
                  </a:cubicBezTo>
                  <a:cubicBezTo>
                    <a:pt x="820" y="249"/>
                    <a:pt x="844" y="209"/>
                    <a:pt x="845" y="209"/>
                  </a:cubicBezTo>
                  <a:cubicBezTo>
                    <a:pt x="845" y="209"/>
                    <a:pt x="845" y="209"/>
                    <a:pt x="845" y="209"/>
                  </a:cubicBezTo>
                  <a:cubicBezTo>
                    <a:pt x="845" y="209"/>
                    <a:pt x="845" y="209"/>
                    <a:pt x="845" y="209"/>
                  </a:cubicBezTo>
                  <a:cubicBezTo>
                    <a:pt x="846" y="209"/>
                    <a:pt x="847" y="209"/>
                    <a:pt x="848" y="209"/>
                  </a:cubicBezTo>
                  <a:cubicBezTo>
                    <a:pt x="849" y="209"/>
                    <a:pt x="850" y="209"/>
                    <a:pt x="851" y="208"/>
                  </a:cubicBezTo>
                  <a:cubicBezTo>
                    <a:pt x="855" y="207"/>
                    <a:pt x="857" y="202"/>
                    <a:pt x="855" y="199"/>
                  </a:cubicBezTo>
                  <a:cubicBezTo>
                    <a:pt x="854" y="197"/>
                    <a:pt x="852" y="195"/>
                    <a:pt x="850" y="195"/>
                  </a:cubicBezTo>
                  <a:cubicBezTo>
                    <a:pt x="850" y="195"/>
                    <a:pt x="850" y="195"/>
                    <a:pt x="850" y="195"/>
                  </a:cubicBezTo>
                  <a:cubicBezTo>
                    <a:pt x="849" y="194"/>
                    <a:pt x="852" y="155"/>
                    <a:pt x="856" y="155"/>
                  </a:cubicBezTo>
                  <a:cubicBezTo>
                    <a:pt x="856" y="155"/>
                    <a:pt x="856" y="155"/>
                    <a:pt x="856" y="155"/>
                  </a:cubicBezTo>
                  <a:cubicBezTo>
                    <a:pt x="859" y="155"/>
                    <a:pt x="862" y="154"/>
                    <a:pt x="864" y="153"/>
                  </a:cubicBezTo>
                  <a:cubicBezTo>
                    <a:pt x="864" y="153"/>
                    <a:pt x="864" y="153"/>
                    <a:pt x="864" y="153"/>
                  </a:cubicBezTo>
                  <a:cubicBezTo>
                    <a:pt x="864" y="153"/>
                    <a:pt x="864" y="153"/>
                    <a:pt x="864" y="153"/>
                  </a:cubicBezTo>
                  <a:cubicBezTo>
                    <a:pt x="869" y="153"/>
                    <a:pt x="917" y="215"/>
                    <a:pt x="914" y="217"/>
                  </a:cubicBezTo>
                  <a:cubicBezTo>
                    <a:pt x="915" y="217"/>
                    <a:pt x="915" y="217"/>
                    <a:pt x="915" y="217"/>
                  </a:cubicBezTo>
                  <a:cubicBezTo>
                    <a:pt x="910" y="222"/>
                    <a:pt x="909" y="228"/>
                    <a:pt x="912" y="234"/>
                  </a:cubicBezTo>
                  <a:cubicBezTo>
                    <a:pt x="913" y="236"/>
                    <a:pt x="914" y="238"/>
                    <a:pt x="916" y="239"/>
                  </a:cubicBezTo>
                  <a:cubicBezTo>
                    <a:pt x="915" y="239"/>
                    <a:pt x="915" y="239"/>
                    <a:pt x="915" y="239"/>
                  </a:cubicBezTo>
                  <a:cubicBezTo>
                    <a:pt x="918" y="241"/>
                    <a:pt x="860" y="330"/>
                    <a:pt x="858" y="330"/>
                  </a:cubicBezTo>
                  <a:cubicBezTo>
                    <a:pt x="858" y="330"/>
                    <a:pt x="858" y="330"/>
                    <a:pt x="858" y="330"/>
                  </a:cubicBezTo>
                  <a:cubicBezTo>
                    <a:pt x="858" y="330"/>
                    <a:pt x="858" y="330"/>
                    <a:pt x="858" y="330"/>
                  </a:cubicBezTo>
                  <a:cubicBezTo>
                    <a:pt x="857" y="329"/>
                    <a:pt x="856" y="329"/>
                    <a:pt x="855" y="329"/>
                  </a:cubicBezTo>
                  <a:cubicBezTo>
                    <a:pt x="854" y="329"/>
                    <a:pt x="853" y="329"/>
                    <a:pt x="852" y="330"/>
                  </a:cubicBezTo>
                  <a:cubicBezTo>
                    <a:pt x="848" y="332"/>
                    <a:pt x="847" y="336"/>
                    <a:pt x="848" y="340"/>
                  </a:cubicBezTo>
                  <a:cubicBezTo>
                    <a:pt x="850" y="342"/>
                    <a:pt x="852" y="344"/>
                    <a:pt x="855" y="344"/>
                  </a:cubicBezTo>
                  <a:cubicBezTo>
                    <a:pt x="856" y="344"/>
                    <a:pt x="858" y="344"/>
                    <a:pt x="859" y="343"/>
                  </a:cubicBezTo>
                  <a:cubicBezTo>
                    <a:pt x="860" y="343"/>
                    <a:pt x="861" y="342"/>
                    <a:pt x="862" y="341"/>
                  </a:cubicBezTo>
                  <a:cubicBezTo>
                    <a:pt x="862" y="341"/>
                    <a:pt x="862" y="341"/>
                    <a:pt x="862" y="341"/>
                  </a:cubicBezTo>
                  <a:cubicBezTo>
                    <a:pt x="862" y="341"/>
                    <a:pt x="862" y="341"/>
                    <a:pt x="862" y="341"/>
                  </a:cubicBezTo>
                  <a:cubicBezTo>
                    <a:pt x="863" y="341"/>
                    <a:pt x="873" y="344"/>
                    <a:pt x="884" y="349"/>
                  </a:cubicBezTo>
                  <a:cubicBezTo>
                    <a:pt x="872" y="344"/>
                    <a:pt x="863" y="339"/>
                    <a:pt x="863" y="338"/>
                  </a:cubicBezTo>
                  <a:cubicBezTo>
                    <a:pt x="863" y="338"/>
                    <a:pt x="863" y="338"/>
                    <a:pt x="863" y="338"/>
                  </a:cubicBezTo>
                  <a:cubicBezTo>
                    <a:pt x="863" y="337"/>
                    <a:pt x="863" y="335"/>
                    <a:pt x="862" y="333"/>
                  </a:cubicBezTo>
                  <a:cubicBezTo>
                    <a:pt x="862" y="332"/>
                    <a:pt x="861" y="332"/>
                    <a:pt x="860" y="331"/>
                  </a:cubicBezTo>
                  <a:cubicBezTo>
                    <a:pt x="860" y="331"/>
                    <a:pt x="860" y="331"/>
                    <a:pt x="860" y="331"/>
                  </a:cubicBezTo>
                  <a:cubicBezTo>
                    <a:pt x="859" y="330"/>
                    <a:pt x="916" y="241"/>
                    <a:pt x="919" y="241"/>
                  </a:cubicBezTo>
                  <a:cubicBezTo>
                    <a:pt x="919" y="241"/>
                    <a:pt x="919" y="241"/>
                    <a:pt x="919" y="241"/>
                  </a:cubicBezTo>
                  <a:cubicBezTo>
                    <a:pt x="919" y="241"/>
                    <a:pt x="919" y="241"/>
                    <a:pt x="919" y="241"/>
                  </a:cubicBezTo>
                  <a:cubicBezTo>
                    <a:pt x="921" y="242"/>
                    <a:pt x="923" y="242"/>
                    <a:pt x="925" y="242"/>
                  </a:cubicBezTo>
                  <a:cubicBezTo>
                    <a:pt x="928" y="242"/>
                    <a:pt x="930" y="242"/>
                    <a:pt x="932" y="241"/>
                  </a:cubicBezTo>
                  <a:cubicBezTo>
                    <a:pt x="939" y="238"/>
                    <a:pt x="942" y="230"/>
                    <a:pt x="940" y="223"/>
                  </a:cubicBezTo>
                  <a:cubicBezTo>
                    <a:pt x="940" y="223"/>
                    <a:pt x="940" y="223"/>
                    <a:pt x="940" y="223"/>
                  </a:cubicBezTo>
                  <a:cubicBezTo>
                    <a:pt x="939" y="220"/>
                    <a:pt x="990" y="192"/>
                    <a:pt x="999" y="192"/>
                  </a:cubicBezTo>
                  <a:cubicBezTo>
                    <a:pt x="999" y="192"/>
                    <a:pt x="999" y="192"/>
                    <a:pt x="1000" y="192"/>
                  </a:cubicBezTo>
                  <a:cubicBezTo>
                    <a:pt x="1000" y="192"/>
                    <a:pt x="1000" y="192"/>
                    <a:pt x="1000" y="192"/>
                  </a:cubicBezTo>
                  <a:cubicBezTo>
                    <a:pt x="1003" y="196"/>
                    <a:pt x="1008" y="200"/>
                    <a:pt x="1013" y="201"/>
                  </a:cubicBezTo>
                  <a:cubicBezTo>
                    <a:pt x="1013" y="201"/>
                    <a:pt x="1013" y="201"/>
                    <a:pt x="1013" y="201"/>
                  </a:cubicBezTo>
                  <a:cubicBezTo>
                    <a:pt x="1018" y="202"/>
                    <a:pt x="1008" y="276"/>
                    <a:pt x="1004" y="276"/>
                  </a:cubicBezTo>
                  <a:cubicBezTo>
                    <a:pt x="1004" y="276"/>
                    <a:pt x="1004" y="276"/>
                    <a:pt x="1004" y="276"/>
                  </a:cubicBezTo>
                  <a:cubicBezTo>
                    <a:pt x="993" y="277"/>
                    <a:pt x="984" y="286"/>
                    <a:pt x="984" y="297"/>
                  </a:cubicBezTo>
                  <a:cubicBezTo>
                    <a:pt x="984" y="308"/>
                    <a:pt x="994" y="317"/>
                    <a:pt x="1005" y="317"/>
                  </a:cubicBezTo>
                  <a:cubicBezTo>
                    <a:pt x="1017" y="317"/>
                    <a:pt x="1026" y="308"/>
                    <a:pt x="1026" y="297"/>
                  </a:cubicBezTo>
                  <a:cubicBezTo>
                    <a:pt x="1026" y="295"/>
                    <a:pt x="1026" y="293"/>
                    <a:pt x="1025" y="291"/>
                  </a:cubicBezTo>
                  <a:cubicBezTo>
                    <a:pt x="1025" y="291"/>
                    <a:pt x="1025" y="291"/>
                    <a:pt x="1025" y="291"/>
                  </a:cubicBezTo>
                  <a:cubicBezTo>
                    <a:pt x="1024" y="287"/>
                    <a:pt x="1073" y="268"/>
                    <a:pt x="1076" y="268"/>
                  </a:cubicBezTo>
                  <a:cubicBezTo>
                    <a:pt x="1076" y="268"/>
                    <a:pt x="1076" y="268"/>
                    <a:pt x="1076" y="268"/>
                  </a:cubicBezTo>
                  <a:cubicBezTo>
                    <a:pt x="1076" y="268"/>
                    <a:pt x="1076" y="268"/>
                    <a:pt x="1076" y="268"/>
                  </a:cubicBezTo>
                  <a:cubicBezTo>
                    <a:pt x="1078" y="270"/>
                    <a:pt x="1080" y="271"/>
                    <a:pt x="1083" y="271"/>
                  </a:cubicBezTo>
                  <a:cubicBezTo>
                    <a:pt x="1083" y="271"/>
                    <a:pt x="1084" y="271"/>
                    <a:pt x="1085" y="271"/>
                  </a:cubicBezTo>
                  <a:cubicBezTo>
                    <a:pt x="1085" y="271"/>
                    <a:pt x="1085" y="271"/>
                    <a:pt x="1085" y="271"/>
                  </a:cubicBezTo>
                  <a:cubicBezTo>
                    <a:pt x="1085" y="271"/>
                    <a:pt x="1085" y="271"/>
                    <a:pt x="1085" y="271"/>
                  </a:cubicBezTo>
                  <a:cubicBezTo>
                    <a:pt x="1085" y="271"/>
                    <a:pt x="1090" y="279"/>
                    <a:pt x="1095" y="290"/>
                  </a:cubicBezTo>
                  <a:cubicBezTo>
                    <a:pt x="1090" y="279"/>
                    <a:pt x="1087" y="270"/>
                    <a:pt x="1087" y="270"/>
                  </a:cubicBezTo>
                  <a:cubicBezTo>
                    <a:pt x="1087" y="270"/>
                    <a:pt x="1087" y="270"/>
                    <a:pt x="1087" y="270"/>
                  </a:cubicBezTo>
                  <a:cubicBezTo>
                    <a:pt x="1090" y="268"/>
                    <a:pt x="1091" y="264"/>
                    <a:pt x="1090" y="261"/>
                  </a:cubicBezTo>
                  <a:cubicBezTo>
                    <a:pt x="1088" y="258"/>
                    <a:pt x="1086" y="257"/>
                    <a:pt x="1083" y="257"/>
                  </a:cubicBezTo>
                  <a:cubicBezTo>
                    <a:pt x="1082" y="257"/>
                    <a:pt x="1080" y="257"/>
                    <a:pt x="1079" y="257"/>
                  </a:cubicBezTo>
                  <a:cubicBezTo>
                    <a:pt x="1076" y="259"/>
                    <a:pt x="1074" y="262"/>
                    <a:pt x="1075" y="266"/>
                  </a:cubicBezTo>
                  <a:cubicBezTo>
                    <a:pt x="1075" y="266"/>
                    <a:pt x="1075" y="266"/>
                    <a:pt x="1075" y="266"/>
                  </a:cubicBezTo>
                  <a:cubicBezTo>
                    <a:pt x="1076" y="267"/>
                    <a:pt x="1032" y="286"/>
                    <a:pt x="1024" y="286"/>
                  </a:cubicBezTo>
                  <a:cubicBezTo>
                    <a:pt x="1024" y="286"/>
                    <a:pt x="1023" y="286"/>
                    <a:pt x="1023" y="286"/>
                  </a:cubicBezTo>
                  <a:cubicBezTo>
                    <a:pt x="1023" y="286"/>
                    <a:pt x="1023" y="286"/>
                    <a:pt x="1023" y="286"/>
                  </a:cubicBezTo>
                  <a:cubicBezTo>
                    <a:pt x="1020" y="282"/>
                    <a:pt x="1016" y="279"/>
                    <a:pt x="1011" y="277"/>
                  </a:cubicBezTo>
                  <a:cubicBezTo>
                    <a:pt x="1011" y="277"/>
                    <a:pt x="1011" y="277"/>
                    <a:pt x="1011" y="277"/>
                  </a:cubicBezTo>
                  <a:cubicBezTo>
                    <a:pt x="1007" y="276"/>
                    <a:pt x="1016" y="202"/>
                    <a:pt x="1021" y="202"/>
                  </a:cubicBezTo>
                  <a:cubicBezTo>
                    <a:pt x="1021" y="202"/>
                    <a:pt x="1021" y="202"/>
                    <a:pt x="1021" y="202"/>
                  </a:cubicBezTo>
                  <a:cubicBezTo>
                    <a:pt x="1031" y="201"/>
                    <a:pt x="1040" y="195"/>
                    <a:pt x="1044" y="186"/>
                  </a:cubicBezTo>
                  <a:cubicBezTo>
                    <a:pt x="1044" y="184"/>
                    <a:pt x="1046" y="184"/>
                    <a:pt x="1048" y="184"/>
                  </a:cubicBezTo>
                  <a:cubicBezTo>
                    <a:pt x="1048" y="184"/>
                    <a:pt x="1048" y="184"/>
                    <a:pt x="1048" y="184"/>
                  </a:cubicBezTo>
                  <a:cubicBezTo>
                    <a:pt x="1046" y="183"/>
                    <a:pt x="1045" y="182"/>
                    <a:pt x="1045" y="180"/>
                  </a:cubicBezTo>
                  <a:cubicBezTo>
                    <a:pt x="1045" y="180"/>
                    <a:pt x="1045" y="180"/>
                    <a:pt x="1045" y="180"/>
                  </a:cubicBezTo>
                  <a:cubicBezTo>
                    <a:pt x="1045" y="179"/>
                    <a:pt x="1045" y="178"/>
                    <a:pt x="1045" y="178"/>
                  </a:cubicBezTo>
                  <a:cubicBezTo>
                    <a:pt x="1045" y="172"/>
                    <a:pt x="1043" y="167"/>
                    <a:pt x="1040" y="163"/>
                  </a:cubicBezTo>
                  <a:cubicBezTo>
                    <a:pt x="1040" y="163"/>
                    <a:pt x="1040" y="163"/>
                    <a:pt x="1040" y="163"/>
                  </a:cubicBezTo>
                  <a:cubicBezTo>
                    <a:pt x="1037" y="159"/>
                    <a:pt x="1115" y="80"/>
                    <a:pt x="1121" y="78"/>
                  </a:cubicBezTo>
                  <a:cubicBezTo>
                    <a:pt x="1120" y="84"/>
                    <a:pt x="1068" y="180"/>
                    <a:pt x="1067" y="180"/>
                  </a:cubicBezTo>
                  <a:cubicBezTo>
                    <a:pt x="1067" y="180"/>
                    <a:pt x="1067" y="180"/>
                    <a:pt x="1067" y="180"/>
                  </a:cubicBezTo>
                  <a:cubicBezTo>
                    <a:pt x="1067" y="180"/>
                    <a:pt x="1067" y="180"/>
                    <a:pt x="1067" y="180"/>
                  </a:cubicBezTo>
                  <a:cubicBezTo>
                    <a:pt x="1066" y="180"/>
                    <a:pt x="1065" y="180"/>
                    <a:pt x="1064" y="180"/>
                  </a:cubicBezTo>
                  <a:cubicBezTo>
                    <a:pt x="1061" y="180"/>
                    <a:pt x="1059" y="182"/>
                    <a:pt x="1058" y="184"/>
                  </a:cubicBezTo>
                  <a:cubicBezTo>
                    <a:pt x="1058" y="184"/>
                    <a:pt x="1058" y="184"/>
                    <a:pt x="1058" y="184"/>
                  </a:cubicBezTo>
                  <a:cubicBezTo>
                    <a:pt x="1057" y="185"/>
                    <a:pt x="1056" y="185"/>
                    <a:pt x="1055" y="185"/>
                  </a:cubicBezTo>
                  <a:cubicBezTo>
                    <a:pt x="1054" y="185"/>
                    <a:pt x="1054" y="185"/>
                    <a:pt x="1053" y="185"/>
                  </a:cubicBezTo>
                  <a:cubicBezTo>
                    <a:pt x="1055" y="186"/>
                    <a:pt x="1057" y="187"/>
                    <a:pt x="1057" y="187"/>
                  </a:cubicBezTo>
                  <a:cubicBezTo>
                    <a:pt x="1057" y="187"/>
                    <a:pt x="1057" y="187"/>
                    <a:pt x="1057" y="187"/>
                  </a:cubicBezTo>
                  <a:cubicBezTo>
                    <a:pt x="1057" y="187"/>
                    <a:pt x="1057" y="187"/>
                    <a:pt x="1057" y="187"/>
                  </a:cubicBezTo>
                  <a:cubicBezTo>
                    <a:pt x="1057" y="191"/>
                    <a:pt x="1060" y="195"/>
                    <a:pt x="1064" y="195"/>
                  </a:cubicBezTo>
                  <a:cubicBezTo>
                    <a:pt x="1066" y="195"/>
                    <a:pt x="1067" y="194"/>
                    <a:pt x="1069" y="194"/>
                  </a:cubicBezTo>
                  <a:cubicBezTo>
                    <a:pt x="1069" y="194"/>
                    <a:pt x="1069" y="194"/>
                    <a:pt x="1069" y="194"/>
                  </a:cubicBezTo>
                  <a:cubicBezTo>
                    <a:pt x="1069" y="194"/>
                    <a:pt x="1069" y="194"/>
                    <a:pt x="1069" y="194"/>
                  </a:cubicBezTo>
                  <a:cubicBezTo>
                    <a:pt x="1070" y="194"/>
                    <a:pt x="1093" y="219"/>
                    <a:pt x="1093" y="220"/>
                  </a:cubicBezTo>
                  <a:cubicBezTo>
                    <a:pt x="1093" y="220"/>
                    <a:pt x="1093" y="220"/>
                    <a:pt x="1093" y="220"/>
                  </a:cubicBezTo>
                  <a:cubicBezTo>
                    <a:pt x="1092" y="221"/>
                    <a:pt x="1091" y="222"/>
                    <a:pt x="1092" y="224"/>
                  </a:cubicBezTo>
                  <a:cubicBezTo>
                    <a:pt x="1093" y="225"/>
                    <a:pt x="1094" y="226"/>
                    <a:pt x="1096" y="226"/>
                  </a:cubicBezTo>
                  <a:cubicBezTo>
                    <a:pt x="1096" y="226"/>
                    <a:pt x="1097" y="226"/>
                    <a:pt x="1097" y="226"/>
                  </a:cubicBezTo>
                  <a:cubicBezTo>
                    <a:pt x="1099" y="225"/>
                    <a:pt x="1100" y="222"/>
                    <a:pt x="1099" y="221"/>
                  </a:cubicBezTo>
                  <a:cubicBezTo>
                    <a:pt x="1099" y="220"/>
                    <a:pt x="1099" y="220"/>
                    <a:pt x="1099" y="220"/>
                  </a:cubicBezTo>
                  <a:cubicBezTo>
                    <a:pt x="1099" y="220"/>
                    <a:pt x="1099" y="220"/>
                    <a:pt x="1099" y="220"/>
                  </a:cubicBezTo>
                  <a:cubicBezTo>
                    <a:pt x="1099" y="220"/>
                    <a:pt x="1130" y="196"/>
                    <a:pt x="1132" y="196"/>
                  </a:cubicBezTo>
                  <a:cubicBezTo>
                    <a:pt x="1132" y="196"/>
                    <a:pt x="1132" y="196"/>
                    <a:pt x="1132" y="196"/>
                  </a:cubicBezTo>
                  <a:cubicBezTo>
                    <a:pt x="1132" y="196"/>
                    <a:pt x="1132" y="196"/>
                    <a:pt x="1132" y="196"/>
                  </a:cubicBezTo>
                  <a:cubicBezTo>
                    <a:pt x="1133" y="197"/>
                    <a:pt x="1134" y="197"/>
                    <a:pt x="1136" y="197"/>
                  </a:cubicBezTo>
                  <a:cubicBezTo>
                    <a:pt x="1136" y="197"/>
                    <a:pt x="1137" y="197"/>
                    <a:pt x="1138" y="197"/>
                  </a:cubicBezTo>
                  <a:cubicBezTo>
                    <a:pt x="1138" y="197"/>
                    <a:pt x="1138" y="197"/>
                    <a:pt x="1138" y="197"/>
                  </a:cubicBezTo>
                  <a:cubicBezTo>
                    <a:pt x="1138" y="197"/>
                    <a:pt x="1138" y="197"/>
                    <a:pt x="1138" y="197"/>
                  </a:cubicBezTo>
                  <a:cubicBezTo>
                    <a:pt x="1139" y="197"/>
                    <a:pt x="1171" y="245"/>
                    <a:pt x="1169" y="247"/>
                  </a:cubicBezTo>
                  <a:cubicBezTo>
                    <a:pt x="1169" y="247"/>
                    <a:pt x="1169" y="247"/>
                    <a:pt x="1169" y="247"/>
                  </a:cubicBezTo>
                  <a:cubicBezTo>
                    <a:pt x="1164" y="251"/>
                    <a:pt x="1162" y="258"/>
                    <a:pt x="1165" y="264"/>
                  </a:cubicBezTo>
                  <a:cubicBezTo>
                    <a:pt x="1168" y="269"/>
                    <a:pt x="1173" y="272"/>
                    <a:pt x="1179" y="272"/>
                  </a:cubicBezTo>
                  <a:cubicBezTo>
                    <a:pt x="1181" y="272"/>
                    <a:pt x="1183" y="272"/>
                    <a:pt x="1185" y="271"/>
                  </a:cubicBezTo>
                  <a:cubicBezTo>
                    <a:pt x="1193" y="268"/>
                    <a:pt x="1196" y="259"/>
                    <a:pt x="1192" y="252"/>
                  </a:cubicBezTo>
                  <a:cubicBezTo>
                    <a:pt x="1190" y="246"/>
                    <a:pt x="1184" y="243"/>
                    <a:pt x="1179" y="243"/>
                  </a:cubicBezTo>
                  <a:cubicBezTo>
                    <a:pt x="1177" y="243"/>
                    <a:pt x="1175" y="244"/>
                    <a:pt x="1173" y="245"/>
                  </a:cubicBezTo>
                  <a:cubicBezTo>
                    <a:pt x="1173" y="245"/>
                    <a:pt x="1173" y="245"/>
                    <a:pt x="1173" y="245"/>
                  </a:cubicBezTo>
                  <a:cubicBezTo>
                    <a:pt x="1173" y="245"/>
                    <a:pt x="1173" y="245"/>
                    <a:pt x="1173" y="245"/>
                  </a:cubicBezTo>
                  <a:cubicBezTo>
                    <a:pt x="1169" y="245"/>
                    <a:pt x="1138" y="197"/>
                    <a:pt x="1139" y="196"/>
                  </a:cubicBezTo>
                  <a:cubicBezTo>
                    <a:pt x="1139" y="196"/>
                    <a:pt x="1139" y="196"/>
                    <a:pt x="1139" y="196"/>
                  </a:cubicBezTo>
                  <a:cubicBezTo>
                    <a:pt x="1140" y="195"/>
                    <a:pt x="1141" y="194"/>
                    <a:pt x="1141" y="192"/>
                  </a:cubicBezTo>
                  <a:cubicBezTo>
                    <a:pt x="1141" y="190"/>
                    <a:pt x="1139" y="187"/>
                    <a:pt x="1136" y="187"/>
                  </a:cubicBezTo>
                  <a:cubicBezTo>
                    <a:pt x="1133" y="187"/>
                    <a:pt x="1131" y="189"/>
                    <a:pt x="1131" y="191"/>
                  </a:cubicBezTo>
                  <a:cubicBezTo>
                    <a:pt x="1131" y="191"/>
                    <a:pt x="1131" y="191"/>
                    <a:pt x="1131" y="191"/>
                  </a:cubicBezTo>
                  <a:cubicBezTo>
                    <a:pt x="1131" y="191"/>
                    <a:pt x="1130" y="191"/>
                    <a:pt x="1129" y="191"/>
                  </a:cubicBezTo>
                  <a:cubicBezTo>
                    <a:pt x="1119" y="191"/>
                    <a:pt x="1072" y="188"/>
                    <a:pt x="1072" y="187"/>
                  </a:cubicBezTo>
                  <a:cubicBezTo>
                    <a:pt x="1072" y="187"/>
                    <a:pt x="1072" y="187"/>
                    <a:pt x="1072" y="187"/>
                  </a:cubicBezTo>
                  <a:cubicBezTo>
                    <a:pt x="1072" y="185"/>
                    <a:pt x="1071" y="183"/>
                    <a:pt x="1069" y="181"/>
                  </a:cubicBezTo>
                  <a:cubicBezTo>
                    <a:pt x="1069" y="182"/>
                    <a:pt x="1069" y="182"/>
                    <a:pt x="1069" y="182"/>
                  </a:cubicBezTo>
                  <a:cubicBezTo>
                    <a:pt x="1068" y="181"/>
                    <a:pt x="1122" y="80"/>
                    <a:pt x="1125" y="80"/>
                  </a:cubicBezTo>
                  <a:cubicBezTo>
                    <a:pt x="1125" y="80"/>
                    <a:pt x="1125" y="80"/>
                    <a:pt x="1125" y="80"/>
                  </a:cubicBezTo>
                  <a:cubicBezTo>
                    <a:pt x="1125" y="80"/>
                    <a:pt x="1125" y="80"/>
                    <a:pt x="1125" y="80"/>
                  </a:cubicBezTo>
                  <a:cubicBezTo>
                    <a:pt x="1126" y="80"/>
                    <a:pt x="1127" y="80"/>
                    <a:pt x="1129" y="80"/>
                  </a:cubicBezTo>
                  <a:cubicBezTo>
                    <a:pt x="1129" y="80"/>
                    <a:pt x="1130" y="80"/>
                    <a:pt x="1130" y="80"/>
                  </a:cubicBezTo>
                  <a:cubicBezTo>
                    <a:pt x="1130" y="80"/>
                    <a:pt x="1130" y="80"/>
                    <a:pt x="1130" y="80"/>
                  </a:cubicBezTo>
                  <a:cubicBezTo>
                    <a:pt x="1130" y="80"/>
                    <a:pt x="1130" y="80"/>
                    <a:pt x="1130" y="80"/>
                  </a:cubicBezTo>
                  <a:cubicBezTo>
                    <a:pt x="1133" y="80"/>
                    <a:pt x="1146" y="135"/>
                    <a:pt x="1143" y="136"/>
                  </a:cubicBezTo>
                  <a:cubicBezTo>
                    <a:pt x="1143" y="136"/>
                    <a:pt x="1143" y="136"/>
                    <a:pt x="1143" y="136"/>
                  </a:cubicBezTo>
                  <a:cubicBezTo>
                    <a:pt x="1143" y="136"/>
                    <a:pt x="1142" y="136"/>
                    <a:pt x="1142" y="137"/>
                  </a:cubicBezTo>
                  <a:cubicBezTo>
                    <a:pt x="1133" y="141"/>
                    <a:pt x="1129" y="151"/>
                    <a:pt x="1133" y="160"/>
                  </a:cubicBezTo>
                  <a:cubicBezTo>
                    <a:pt x="1136" y="167"/>
                    <a:pt x="1143" y="171"/>
                    <a:pt x="1150" y="171"/>
                  </a:cubicBezTo>
                  <a:cubicBezTo>
                    <a:pt x="1153" y="171"/>
                    <a:pt x="1155" y="170"/>
                    <a:pt x="1158" y="169"/>
                  </a:cubicBezTo>
                  <a:cubicBezTo>
                    <a:pt x="1161" y="168"/>
                    <a:pt x="1163" y="166"/>
                    <a:pt x="1164" y="164"/>
                  </a:cubicBezTo>
                  <a:cubicBezTo>
                    <a:pt x="1164" y="164"/>
                    <a:pt x="1164" y="164"/>
                    <a:pt x="1164" y="164"/>
                  </a:cubicBezTo>
                  <a:cubicBezTo>
                    <a:pt x="1164" y="164"/>
                    <a:pt x="1165" y="164"/>
                    <a:pt x="1165" y="164"/>
                  </a:cubicBezTo>
                  <a:cubicBezTo>
                    <a:pt x="1171" y="164"/>
                    <a:pt x="1256" y="212"/>
                    <a:pt x="1254" y="217"/>
                  </a:cubicBezTo>
                  <a:cubicBezTo>
                    <a:pt x="1253" y="220"/>
                    <a:pt x="1252" y="224"/>
                    <a:pt x="1252" y="228"/>
                  </a:cubicBezTo>
                  <a:cubicBezTo>
                    <a:pt x="1252" y="233"/>
                    <a:pt x="1254" y="238"/>
                    <a:pt x="1257" y="243"/>
                  </a:cubicBezTo>
                  <a:cubicBezTo>
                    <a:pt x="1257" y="243"/>
                    <a:pt x="1257" y="243"/>
                    <a:pt x="1257" y="243"/>
                  </a:cubicBezTo>
                  <a:cubicBezTo>
                    <a:pt x="1259" y="247"/>
                    <a:pt x="1178" y="318"/>
                    <a:pt x="1154" y="334"/>
                  </a:cubicBezTo>
                  <a:cubicBezTo>
                    <a:pt x="1151" y="326"/>
                    <a:pt x="1143" y="320"/>
                    <a:pt x="1134" y="320"/>
                  </a:cubicBezTo>
                  <a:cubicBezTo>
                    <a:pt x="1126" y="320"/>
                    <a:pt x="1120" y="324"/>
                    <a:pt x="1116" y="329"/>
                  </a:cubicBezTo>
                  <a:cubicBezTo>
                    <a:pt x="1113" y="324"/>
                    <a:pt x="1108" y="316"/>
                    <a:pt x="1103" y="307"/>
                  </a:cubicBezTo>
                  <a:cubicBezTo>
                    <a:pt x="1109" y="319"/>
                    <a:pt x="1113" y="329"/>
                    <a:pt x="1113" y="334"/>
                  </a:cubicBezTo>
                  <a:cubicBezTo>
                    <a:pt x="1112" y="336"/>
                    <a:pt x="1112" y="339"/>
                    <a:pt x="1112" y="341"/>
                  </a:cubicBezTo>
                  <a:cubicBezTo>
                    <a:pt x="1112" y="353"/>
                    <a:pt x="1122" y="363"/>
                    <a:pt x="1134" y="363"/>
                  </a:cubicBezTo>
                  <a:cubicBezTo>
                    <a:pt x="1146" y="363"/>
                    <a:pt x="1156" y="353"/>
                    <a:pt x="1156" y="341"/>
                  </a:cubicBezTo>
                  <a:cubicBezTo>
                    <a:pt x="1156" y="341"/>
                    <a:pt x="1156" y="341"/>
                    <a:pt x="1156" y="341"/>
                  </a:cubicBezTo>
                  <a:cubicBezTo>
                    <a:pt x="1169" y="323"/>
                    <a:pt x="1255" y="249"/>
                    <a:pt x="1262" y="249"/>
                  </a:cubicBezTo>
                  <a:cubicBezTo>
                    <a:pt x="1262" y="249"/>
                    <a:pt x="1263" y="249"/>
                    <a:pt x="1263" y="249"/>
                  </a:cubicBezTo>
                  <a:cubicBezTo>
                    <a:pt x="1263" y="249"/>
                    <a:pt x="1263" y="249"/>
                    <a:pt x="1263" y="249"/>
                  </a:cubicBezTo>
                  <a:cubicBezTo>
                    <a:pt x="1266" y="251"/>
                    <a:pt x="1269" y="253"/>
                    <a:pt x="1273" y="254"/>
                  </a:cubicBezTo>
                  <a:cubicBezTo>
                    <a:pt x="1273" y="254"/>
                    <a:pt x="1273" y="254"/>
                    <a:pt x="1273" y="254"/>
                  </a:cubicBezTo>
                  <a:cubicBezTo>
                    <a:pt x="1275" y="255"/>
                    <a:pt x="1274" y="272"/>
                    <a:pt x="1272" y="290"/>
                  </a:cubicBezTo>
                  <a:cubicBezTo>
                    <a:pt x="1275" y="272"/>
                    <a:pt x="1278" y="255"/>
                    <a:pt x="1281" y="255"/>
                  </a:cubicBezTo>
                  <a:cubicBezTo>
                    <a:pt x="1281" y="255"/>
                    <a:pt x="1281" y="255"/>
                    <a:pt x="1281" y="255"/>
                  </a:cubicBezTo>
                  <a:cubicBezTo>
                    <a:pt x="1297" y="255"/>
                    <a:pt x="1309" y="243"/>
                    <a:pt x="1309" y="228"/>
                  </a:cubicBezTo>
                  <a:cubicBezTo>
                    <a:pt x="1309" y="212"/>
                    <a:pt x="1297" y="200"/>
                    <a:pt x="1281" y="200"/>
                  </a:cubicBezTo>
                  <a:cubicBezTo>
                    <a:pt x="1272" y="200"/>
                    <a:pt x="1264" y="204"/>
                    <a:pt x="1258" y="210"/>
                  </a:cubicBezTo>
                  <a:cubicBezTo>
                    <a:pt x="1258" y="210"/>
                    <a:pt x="1258" y="210"/>
                    <a:pt x="1258" y="210"/>
                  </a:cubicBezTo>
                  <a:cubicBezTo>
                    <a:pt x="1248" y="210"/>
                    <a:pt x="1166" y="163"/>
                    <a:pt x="1167" y="159"/>
                  </a:cubicBezTo>
                  <a:cubicBezTo>
                    <a:pt x="1167" y="159"/>
                    <a:pt x="1167" y="159"/>
                    <a:pt x="1167" y="159"/>
                  </a:cubicBezTo>
                  <a:cubicBezTo>
                    <a:pt x="1169" y="155"/>
                    <a:pt x="1169" y="150"/>
                    <a:pt x="1167" y="145"/>
                  </a:cubicBezTo>
                  <a:cubicBezTo>
                    <a:pt x="1164" y="139"/>
                    <a:pt x="1157" y="135"/>
                    <a:pt x="1150" y="135"/>
                  </a:cubicBezTo>
                  <a:cubicBezTo>
                    <a:pt x="1149" y="135"/>
                    <a:pt x="1149" y="135"/>
                    <a:pt x="1148" y="135"/>
                  </a:cubicBezTo>
                  <a:cubicBezTo>
                    <a:pt x="1149" y="135"/>
                    <a:pt x="1149" y="135"/>
                    <a:pt x="1149" y="135"/>
                  </a:cubicBezTo>
                  <a:cubicBezTo>
                    <a:pt x="1149" y="135"/>
                    <a:pt x="1149" y="135"/>
                    <a:pt x="1148" y="135"/>
                  </a:cubicBezTo>
                  <a:cubicBezTo>
                    <a:pt x="1145" y="135"/>
                    <a:pt x="1132" y="80"/>
                    <a:pt x="1134" y="79"/>
                  </a:cubicBezTo>
                  <a:cubicBezTo>
                    <a:pt x="1134" y="79"/>
                    <a:pt x="1134" y="79"/>
                    <a:pt x="1134" y="79"/>
                  </a:cubicBezTo>
                  <a:cubicBezTo>
                    <a:pt x="1135" y="79"/>
                    <a:pt x="1135" y="79"/>
                    <a:pt x="1135" y="79"/>
                  </a:cubicBezTo>
                  <a:cubicBezTo>
                    <a:pt x="1141" y="76"/>
                    <a:pt x="1144" y="68"/>
                    <a:pt x="1141" y="62"/>
                  </a:cubicBezTo>
                  <a:cubicBezTo>
                    <a:pt x="1139" y="57"/>
                    <a:pt x="1134" y="54"/>
                    <a:pt x="1129" y="54"/>
                  </a:cubicBezTo>
                  <a:cubicBezTo>
                    <a:pt x="1127" y="54"/>
                    <a:pt x="1125" y="55"/>
                    <a:pt x="1123" y="56"/>
                  </a:cubicBezTo>
                  <a:cubicBezTo>
                    <a:pt x="1116" y="59"/>
                    <a:pt x="1113" y="66"/>
                    <a:pt x="1117" y="73"/>
                  </a:cubicBezTo>
                  <a:cubicBezTo>
                    <a:pt x="1117" y="74"/>
                    <a:pt x="1118" y="74"/>
                    <a:pt x="1118" y="75"/>
                  </a:cubicBezTo>
                  <a:cubicBezTo>
                    <a:pt x="1118" y="75"/>
                    <a:pt x="1118" y="75"/>
                    <a:pt x="1118" y="75"/>
                  </a:cubicBezTo>
                  <a:cubicBezTo>
                    <a:pt x="1120" y="77"/>
                    <a:pt x="1041" y="158"/>
                    <a:pt x="1035" y="158"/>
                  </a:cubicBezTo>
                  <a:cubicBezTo>
                    <a:pt x="1034" y="158"/>
                    <a:pt x="1034" y="158"/>
                    <a:pt x="1034" y="158"/>
                  </a:cubicBezTo>
                  <a:cubicBezTo>
                    <a:pt x="1034" y="158"/>
                    <a:pt x="1034" y="158"/>
                    <a:pt x="1034" y="158"/>
                  </a:cubicBezTo>
                  <a:cubicBezTo>
                    <a:pt x="1031" y="155"/>
                    <a:pt x="1027" y="154"/>
                    <a:pt x="1023" y="153"/>
                  </a:cubicBezTo>
                  <a:cubicBezTo>
                    <a:pt x="1023" y="153"/>
                    <a:pt x="1023" y="153"/>
                    <a:pt x="1023" y="153"/>
                  </a:cubicBezTo>
                  <a:cubicBezTo>
                    <a:pt x="1018" y="153"/>
                    <a:pt x="1019" y="84"/>
                    <a:pt x="1022" y="84"/>
                  </a:cubicBezTo>
                  <a:cubicBezTo>
                    <a:pt x="1022" y="84"/>
                    <a:pt x="1022" y="84"/>
                    <a:pt x="1022" y="84"/>
                  </a:cubicBezTo>
                  <a:cubicBezTo>
                    <a:pt x="1028" y="83"/>
                    <a:pt x="1033" y="77"/>
                    <a:pt x="1033" y="71"/>
                  </a:cubicBezTo>
                  <a:cubicBezTo>
                    <a:pt x="1033" y="64"/>
                    <a:pt x="1027" y="58"/>
                    <a:pt x="1020" y="58"/>
                  </a:cubicBezTo>
                  <a:cubicBezTo>
                    <a:pt x="1015" y="58"/>
                    <a:pt x="1011" y="60"/>
                    <a:pt x="1009" y="63"/>
                  </a:cubicBezTo>
                  <a:cubicBezTo>
                    <a:pt x="1009" y="63"/>
                    <a:pt x="1009" y="63"/>
                    <a:pt x="1009" y="63"/>
                  </a:cubicBezTo>
                  <a:cubicBezTo>
                    <a:pt x="1009" y="63"/>
                    <a:pt x="1009" y="63"/>
                    <a:pt x="1008" y="63"/>
                  </a:cubicBezTo>
                  <a:cubicBezTo>
                    <a:pt x="1006" y="63"/>
                    <a:pt x="1000" y="60"/>
                    <a:pt x="994" y="57"/>
                  </a:cubicBezTo>
                  <a:cubicBezTo>
                    <a:pt x="1001" y="61"/>
                    <a:pt x="1008" y="65"/>
                    <a:pt x="1007" y="66"/>
                  </a:cubicBezTo>
                  <a:cubicBezTo>
                    <a:pt x="1007" y="66"/>
                    <a:pt x="1007" y="66"/>
                    <a:pt x="1007" y="66"/>
                  </a:cubicBezTo>
                  <a:cubicBezTo>
                    <a:pt x="1007" y="68"/>
                    <a:pt x="1006" y="69"/>
                    <a:pt x="1006" y="71"/>
                  </a:cubicBezTo>
                  <a:cubicBezTo>
                    <a:pt x="1006" y="76"/>
                    <a:pt x="1010" y="81"/>
                    <a:pt x="1014" y="83"/>
                  </a:cubicBezTo>
                  <a:cubicBezTo>
                    <a:pt x="1014" y="83"/>
                    <a:pt x="1014" y="83"/>
                    <a:pt x="1014" y="83"/>
                  </a:cubicBezTo>
                  <a:cubicBezTo>
                    <a:pt x="1016" y="83"/>
                    <a:pt x="1013" y="92"/>
                    <a:pt x="1011" y="101"/>
                  </a:cubicBezTo>
                  <a:cubicBezTo>
                    <a:pt x="1013" y="93"/>
                    <a:pt x="1016" y="85"/>
                    <a:pt x="1018" y="84"/>
                  </a:cubicBezTo>
                  <a:cubicBezTo>
                    <a:pt x="1020" y="87"/>
                    <a:pt x="1021" y="153"/>
                    <a:pt x="1016" y="153"/>
                  </a:cubicBezTo>
                  <a:cubicBezTo>
                    <a:pt x="1016" y="153"/>
                    <a:pt x="1016" y="153"/>
                    <a:pt x="1016" y="153"/>
                  </a:cubicBezTo>
                  <a:cubicBezTo>
                    <a:pt x="1016" y="153"/>
                    <a:pt x="1016" y="153"/>
                    <a:pt x="1016" y="153"/>
                  </a:cubicBezTo>
                  <a:cubicBezTo>
                    <a:pt x="1016" y="153"/>
                    <a:pt x="1016" y="153"/>
                    <a:pt x="1016" y="153"/>
                  </a:cubicBezTo>
                  <a:cubicBezTo>
                    <a:pt x="1014" y="153"/>
                    <a:pt x="1012" y="151"/>
                    <a:pt x="1011" y="147"/>
                  </a:cubicBezTo>
                  <a:cubicBezTo>
                    <a:pt x="1012" y="151"/>
                    <a:pt x="1012" y="154"/>
                    <a:pt x="1010" y="155"/>
                  </a:cubicBezTo>
                  <a:cubicBezTo>
                    <a:pt x="1004" y="157"/>
                    <a:pt x="999" y="162"/>
                    <a:pt x="996" y="168"/>
                  </a:cubicBezTo>
                  <a:cubicBezTo>
                    <a:pt x="996" y="168"/>
                    <a:pt x="996" y="168"/>
                    <a:pt x="994" y="168"/>
                  </a:cubicBezTo>
                  <a:cubicBezTo>
                    <a:pt x="978" y="168"/>
                    <a:pt x="874" y="142"/>
                    <a:pt x="874" y="139"/>
                  </a:cubicBezTo>
                  <a:cubicBezTo>
                    <a:pt x="874" y="139"/>
                    <a:pt x="874" y="139"/>
                    <a:pt x="874" y="139"/>
                  </a:cubicBezTo>
                  <a:cubicBezTo>
                    <a:pt x="874" y="138"/>
                    <a:pt x="874" y="138"/>
                    <a:pt x="874" y="137"/>
                  </a:cubicBezTo>
                  <a:cubicBezTo>
                    <a:pt x="874" y="127"/>
                    <a:pt x="866" y="119"/>
                    <a:pt x="855" y="119"/>
                  </a:cubicBezTo>
                  <a:cubicBezTo>
                    <a:pt x="853" y="119"/>
                    <a:pt x="850" y="120"/>
                    <a:pt x="848" y="121"/>
                  </a:cubicBezTo>
                  <a:cubicBezTo>
                    <a:pt x="848" y="120"/>
                    <a:pt x="848" y="120"/>
                    <a:pt x="848" y="120"/>
                  </a:cubicBezTo>
                  <a:cubicBezTo>
                    <a:pt x="848" y="121"/>
                    <a:pt x="848" y="121"/>
                    <a:pt x="848" y="121"/>
                  </a:cubicBezTo>
                  <a:cubicBezTo>
                    <a:pt x="843" y="121"/>
                    <a:pt x="786" y="34"/>
                    <a:pt x="789" y="31"/>
                  </a:cubicBezTo>
                  <a:cubicBezTo>
                    <a:pt x="789" y="31"/>
                    <a:pt x="789" y="31"/>
                    <a:pt x="789" y="31"/>
                  </a:cubicBezTo>
                  <a:cubicBezTo>
                    <a:pt x="791" y="31"/>
                    <a:pt x="800" y="38"/>
                    <a:pt x="810" y="45"/>
                  </a:cubicBezTo>
                  <a:cubicBezTo>
                    <a:pt x="800" y="37"/>
                    <a:pt x="791" y="29"/>
                    <a:pt x="792" y="28"/>
                  </a:cubicBezTo>
                  <a:cubicBezTo>
                    <a:pt x="792" y="28"/>
                    <a:pt x="792" y="28"/>
                    <a:pt x="792" y="28"/>
                  </a:cubicBezTo>
                  <a:cubicBezTo>
                    <a:pt x="794" y="25"/>
                    <a:pt x="795" y="22"/>
                    <a:pt x="795" y="18"/>
                  </a:cubicBezTo>
                  <a:cubicBezTo>
                    <a:pt x="795" y="8"/>
                    <a:pt x="787" y="0"/>
                    <a:pt x="776"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8" name="Freeform 20"/>
            <p:cNvSpPr>
              <a:spLocks/>
            </p:cNvSpPr>
            <p:nvPr/>
          </p:nvSpPr>
          <p:spPr bwMode="auto">
            <a:xfrm>
              <a:off x="6035675" y="2900363"/>
              <a:ext cx="52388" cy="41275"/>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cubicBezTo>
                    <a:pt x="9" y="4"/>
                    <a:pt x="4" y="8"/>
                    <a:pt x="0" y="11"/>
                  </a:cubicBezTo>
                  <a:cubicBezTo>
                    <a:pt x="4" y="8"/>
                    <a:pt x="10" y="4"/>
                    <a:pt x="14"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9" name="Freeform 21"/>
            <p:cNvSpPr>
              <a:spLocks noEditPoints="1"/>
            </p:cNvSpPr>
            <p:nvPr/>
          </p:nvSpPr>
          <p:spPr bwMode="auto">
            <a:xfrm>
              <a:off x="5457825" y="2247900"/>
              <a:ext cx="1231900" cy="652463"/>
            </a:xfrm>
            <a:custGeom>
              <a:avLst/>
              <a:gdLst>
                <a:gd name="T0" fmla="*/ 294 w 328"/>
                <a:gd name="T1" fmla="*/ 53 h 173"/>
                <a:gd name="T2" fmla="*/ 290 w 328"/>
                <a:gd name="T3" fmla="*/ 68 h 173"/>
                <a:gd name="T4" fmla="*/ 237 w 328"/>
                <a:gd name="T5" fmla="*/ 89 h 173"/>
                <a:gd name="T6" fmla="*/ 255 w 328"/>
                <a:gd name="T7" fmla="*/ 21 h 173"/>
                <a:gd name="T8" fmla="*/ 257 w 328"/>
                <a:gd name="T9" fmla="*/ 22 h 173"/>
                <a:gd name="T10" fmla="*/ 257 w 328"/>
                <a:gd name="T11" fmla="*/ 0 h 173"/>
                <a:gd name="T12" fmla="*/ 252 w 328"/>
                <a:gd name="T13" fmla="*/ 20 h 173"/>
                <a:gd name="T14" fmla="*/ 230 w 328"/>
                <a:gd name="T15" fmla="*/ 84 h 173"/>
                <a:gd name="T16" fmla="*/ 225 w 328"/>
                <a:gd name="T17" fmla="*/ 84 h 173"/>
                <a:gd name="T18" fmla="*/ 213 w 328"/>
                <a:gd name="T19" fmla="*/ 59 h 173"/>
                <a:gd name="T20" fmla="*/ 199 w 328"/>
                <a:gd name="T21" fmla="*/ 34 h 173"/>
                <a:gd name="T22" fmla="*/ 185 w 328"/>
                <a:gd name="T23" fmla="*/ 44 h 173"/>
                <a:gd name="T24" fmla="*/ 104 w 328"/>
                <a:gd name="T25" fmla="*/ 22 h 173"/>
                <a:gd name="T26" fmla="*/ 88 w 328"/>
                <a:gd name="T27" fmla="*/ 38 h 173"/>
                <a:gd name="T28" fmla="*/ 16 w 328"/>
                <a:gd name="T29" fmla="*/ 52 h 173"/>
                <a:gd name="T30" fmla="*/ 6 w 328"/>
                <a:gd name="T31" fmla="*/ 48 h 173"/>
                <a:gd name="T32" fmla="*/ 12 w 328"/>
                <a:gd name="T33" fmla="*/ 61 h 173"/>
                <a:gd name="T34" fmla="*/ 86 w 328"/>
                <a:gd name="T35" fmla="*/ 42 h 173"/>
                <a:gd name="T36" fmla="*/ 104 w 328"/>
                <a:gd name="T37" fmla="*/ 54 h 173"/>
                <a:gd name="T38" fmla="*/ 128 w 328"/>
                <a:gd name="T39" fmla="*/ 41 h 173"/>
                <a:gd name="T40" fmla="*/ 192 w 328"/>
                <a:gd name="T41" fmla="*/ 53 h 173"/>
                <a:gd name="T42" fmla="*/ 210 w 328"/>
                <a:gd name="T43" fmla="*/ 60 h 173"/>
                <a:gd name="T44" fmla="*/ 222 w 328"/>
                <a:gd name="T45" fmla="*/ 86 h 173"/>
                <a:gd name="T46" fmla="*/ 222 w 328"/>
                <a:gd name="T47" fmla="*/ 101 h 173"/>
                <a:gd name="T48" fmla="*/ 205 w 328"/>
                <a:gd name="T49" fmla="*/ 130 h 173"/>
                <a:gd name="T50" fmla="*/ 178 w 328"/>
                <a:gd name="T51" fmla="*/ 162 h 173"/>
                <a:gd name="T52" fmla="*/ 181 w 328"/>
                <a:gd name="T53" fmla="*/ 166 h 173"/>
                <a:gd name="T54" fmla="*/ 198 w 328"/>
                <a:gd name="T55" fmla="*/ 172 h 173"/>
                <a:gd name="T56" fmla="*/ 226 w 328"/>
                <a:gd name="T57" fmla="*/ 150 h 173"/>
                <a:gd name="T58" fmla="*/ 211 w 328"/>
                <a:gd name="T59" fmla="*/ 132 h 173"/>
                <a:gd name="T60" fmla="*/ 225 w 328"/>
                <a:gd name="T61" fmla="*/ 103 h 173"/>
                <a:gd name="T62" fmla="*/ 230 w 328"/>
                <a:gd name="T63" fmla="*/ 103 h 173"/>
                <a:gd name="T64" fmla="*/ 244 w 328"/>
                <a:gd name="T65" fmla="*/ 146 h 173"/>
                <a:gd name="T66" fmla="*/ 242 w 328"/>
                <a:gd name="T67" fmla="*/ 149 h 173"/>
                <a:gd name="T68" fmla="*/ 242 w 328"/>
                <a:gd name="T69" fmla="*/ 151 h 173"/>
                <a:gd name="T70" fmla="*/ 248 w 328"/>
                <a:gd name="T71" fmla="*/ 154 h 173"/>
                <a:gd name="T72" fmla="*/ 250 w 328"/>
                <a:gd name="T73" fmla="*/ 153 h 173"/>
                <a:gd name="T74" fmla="*/ 251 w 328"/>
                <a:gd name="T75" fmla="*/ 152 h 173"/>
                <a:gd name="T76" fmla="*/ 246 w 328"/>
                <a:gd name="T77" fmla="*/ 146 h 173"/>
                <a:gd name="T78" fmla="*/ 232 w 328"/>
                <a:gd name="T79" fmla="*/ 102 h 173"/>
                <a:gd name="T80" fmla="*/ 238 w 328"/>
                <a:gd name="T81" fmla="*/ 92 h 173"/>
                <a:gd name="T82" fmla="*/ 292 w 328"/>
                <a:gd name="T83" fmla="*/ 72 h 173"/>
                <a:gd name="T84" fmla="*/ 324 w 328"/>
                <a:gd name="T85" fmla="*/ 57 h 173"/>
                <a:gd name="T86" fmla="*/ 297 w 328"/>
                <a:gd name="T87" fmla="*/ 50 h 173"/>
                <a:gd name="T88" fmla="*/ 266 w 328"/>
                <a:gd name="T89" fmla="*/ 17 h 173"/>
                <a:gd name="T90" fmla="*/ 257 w 328"/>
                <a:gd name="T9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173">
                  <a:moveTo>
                    <a:pt x="263" y="20"/>
                  </a:moveTo>
                  <a:cubicBezTo>
                    <a:pt x="263" y="20"/>
                    <a:pt x="263" y="20"/>
                    <a:pt x="263" y="20"/>
                  </a:cubicBezTo>
                  <a:cubicBezTo>
                    <a:pt x="266" y="20"/>
                    <a:pt x="296" y="51"/>
                    <a:pt x="294" y="53"/>
                  </a:cubicBezTo>
                  <a:cubicBezTo>
                    <a:pt x="294" y="53"/>
                    <a:pt x="294" y="53"/>
                    <a:pt x="294" y="53"/>
                  </a:cubicBezTo>
                  <a:cubicBezTo>
                    <a:pt x="290" y="57"/>
                    <a:pt x="289" y="63"/>
                    <a:pt x="290" y="68"/>
                  </a:cubicBezTo>
                  <a:cubicBezTo>
                    <a:pt x="290" y="68"/>
                    <a:pt x="290" y="68"/>
                    <a:pt x="290" y="68"/>
                  </a:cubicBezTo>
                  <a:cubicBezTo>
                    <a:pt x="291" y="71"/>
                    <a:pt x="242" y="89"/>
                    <a:pt x="237" y="89"/>
                  </a:cubicBezTo>
                  <a:cubicBezTo>
                    <a:pt x="237" y="89"/>
                    <a:pt x="237" y="89"/>
                    <a:pt x="237" y="89"/>
                  </a:cubicBezTo>
                  <a:cubicBezTo>
                    <a:pt x="237" y="89"/>
                    <a:pt x="237" y="89"/>
                    <a:pt x="237" y="89"/>
                  </a:cubicBezTo>
                  <a:cubicBezTo>
                    <a:pt x="236" y="87"/>
                    <a:pt x="234" y="86"/>
                    <a:pt x="233" y="85"/>
                  </a:cubicBezTo>
                  <a:cubicBezTo>
                    <a:pt x="233" y="85"/>
                    <a:pt x="233" y="85"/>
                    <a:pt x="233" y="85"/>
                  </a:cubicBezTo>
                  <a:cubicBezTo>
                    <a:pt x="231" y="84"/>
                    <a:pt x="253" y="21"/>
                    <a:pt x="255" y="21"/>
                  </a:cubicBezTo>
                  <a:cubicBezTo>
                    <a:pt x="255" y="21"/>
                    <a:pt x="255" y="21"/>
                    <a:pt x="255" y="21"/>
                  </a:cubicBezTo>
                  <a:cubicBezTo>
                    <a:pt x="255" y="21"/>
                    <a:pt x="255" y="21"/>
                    <a:pt x="255" y="21"/>
                  </a:cubicBezTo>
                  <a:cubicBezTo>
                    <a:pt x="256" y="21"/>
                    <a:pt x="256" y="22"/>
                    <a:pt x="257" y="22"/>
                  </a:cubicBezTo>
                  <a:cubicBezTo>
                    <a:pt x="259" y="22"/>
                    <a:pt x="261" y="21"/>
                    <a:pt x="263" y="20"/>
                  </a:cubicBezTo>
                  <a:cubicBezTo>
                    <a:pt x="263" y="20"/>
                    <a:pt x="263" y="20"/>
                    <a:pt x="263" y="20"/>
                  </a:cubicBezTo>
                  <a:moveTo>
                    <a:pt x="257" y="0"/>
                  </a:moveTo>
                  <a:cubicBezTo>
                    <a:pt x="251" y="0"/>
                    <a:pt x="246" y="5"/>
                    <a:pt x="246" y="11"/>
                  </a:cubicBezTo>
                  <a:cubicBezTo>
                    <a:pt x="246" y="15"/>
                    <a:pt x="248" y="19"/>
                    <a:pt x="252" y="20"/>
                  </a:cubicBezTo>
                  <a:cubicBezTo>
                    <a:pt x="252" y="20"/>
                    <a:pt x="252" y="20"/>
                    <a:pt x="252" y="20"/>
                  </a:cubicBezTo>
                  <a:cubicBezTo>
                    <a:pt x="254" y="21"/>
                    <a:pt x="232" y="84"/>
                    <a:pt x="230" y="84"/>
                  </a:cubicBezTo>
                  <a:cubicBezTo>
                    <a:pt x="230" y="84"/>
                    <a:pt x="230" y="84"/>
                    <a:pt x="230" y="84"/>
                  </a:cubicBezTo>
                  <a:cubicBezTo>
                    <a:pt x="230" y="84"/>
                    <a:pt x="230" y="84"/>
                    <a:pt x="230" y="84"/>
                  </a:cubicBezTo>
                  <a:cubicBezTo>
                    <a:pt x="229" y="84"/>
                    <a:pt x="229" y="84"/>
                    <a:pt x="228" y="84"/>
                  </a:cubicBezTo>
                  <a:cubicBezTo>
                    <a:pt x="227" y="84"/>
                    <a:pt x="226" y="84"/>
                    <a:pt x="225" y="85"/>
                  </a:cubicBezTo>
                  <a:cubicBezTo>
                    <a:pt x="225" y="84"/>
                    <a:pt x="225" y="84"/>
                    <a:pt x="225" y="84"/>
                  </a:cubicBezTo>
                  <a:cubicBezTo>
                    <a:pt x="225" y="85"/>
                    <a:pt x="225" y="85"/>
                    <a:pt x="225" y="85"/>
                  </a:cubicBezTo>
                  <a:cubicBezTo>
                    <a:pt x="223" y="85"/>
                    <a:pt x="211" y="60"/>
                    <a:pt x="214" y="59"/>
                  </a:cubicBezTo>
                  <a:cubicBezTo>
                    <a:pt x="213" y="59"/>
                    <a:pt x="213" y="59"/>
                    <a:pt x="213" y="59"/>
                  </a:cubicBezTo>
                  <a:cubicBezTo>
                    <a:pt x="220" y="55"/>
                    <a:pt x="222" y="47"/>
                    <a:pt x="219" y="41"/>
                  </a:cubicBezTo>
                  <a:cubicBezTo>
                    <a:pt x="216" y="36"/>
                    <a:pt x="211" y="33"/>
                    <a:pt x="205" y="33"/>
                  </a:cubicBezTo>
                  <a:cubicBezTo>
                    <a:pt x="203" y="33"/>
                    <a:pt x="201" y="33"/>
                    <a:pt x="199" y="34"/>
                  </a:cubicBezTo>
                  <a:cubicBezTo>
                    <a:pt x="195" y="36"/>
                    <a:pt x="192" y="39"/>
                    <a:pt x="191" y="43"/>
                  </a:cubicBezTo>
                  <a:cubicBezTo>
                    <a:pt x="191" y="43"/>
                    <a:pt x="191" y="43"/>
                    <a:pt x="191" y="43"/>
                  </a:cubicBezTo>
                  <a:cubicBezTo>
                    <a:pt x="191" y="44"/>
                    <a:pt x="189" y="44"/>
                    <a:pt x="185" y="44"/>
                  </a:cubicBezTo>
                  <a:cubicBezTo>
                    <a:pt x="168" y="44"/>
                    <a:pt x="121" y="39"/>
                    <a:pt x="121" y="37"/>
                  </a:cubicBezTo>
                  <a:cubicBezTo>
                    <a:pt x="121" y="37"/>
                    <a:pt x="121" y="37"/>
                    <a:pt x="121" y="37"/>
                  </a:cubicBezTo>
                  <a:cubicBezTo>
                    <a:pt x="121" y="28"/>
                    <a:pt x="114" y="22"/>
                    <a:pt x="104" y="22"/>
                  </a:cubicBezTo>
                  <a:cubicBezTo>
                    <a:pt x="95" y="22"/>
                    <a:pt x="88" y="29"/>
                    <a:pt x="88" y="38"/>
                  </a:cubicBezTo>
                  <a:cubicBezTo>
                    <a:pt x="88" y="38"/>
                    <a:pt x="88" y="38"/>
                    <a:pt x="88" y="38"/>
                  </a:cubicBezTo>
                  <a:cubicBezTo>
                    <a:pt x="88" y="38"/>
                    <a:pt x="88" y="38"/>
                    <a:pt x="88" y="38"/>
                  </a:cubicBezTo>
                  <a:cubicBezTo>
                    <a:pt x="88" y="41"/>
                    <a:pt x="24" y="52"/>
                    <a:pt x="17" y="52"/>
                  </a:cubicBezTo>
                  <a:cubicBezTo>
                    <a:pt x="16" y="52"/>
                    <a:pt x="16" y="52"/>
                    <a:pt x="16" y="52"/>
                  </a:cubicBezTo>
                  <a:cubicBezTo>
                    <a:pt x="16" y="52"/>
                    <a:pt x="16" y="52"/>
                    <a:pt x="16" y="52"/>
                  </a:cubicBezTo>
                  <a:cubicBezTo>
                    <a:pt x="16" y="51"/>
                    <a:pt x="16" y="51"/>
                    <a:pt x="16" y="51"/>
                  </a:cubicBezTo>
                  <a:cubicBezTo>
                    <a:pt x="14" y="48"/>
                    <a:pt x="12" y="47"/>
                    <a:pt x="9" y="47"/>
                  </a:cubicBezTo>
                  <a:cubicBezTo>
                    <a:pt x="8" y="47"/>
                    <a:pt x="7" y="47"/>
                    <a:pt x="6" y="48"/>
                  </a:cubicBezTo>
                  <a:cubicBezTo>
                    <a:pt x="2" y="49"/>
                    <a:pt x="0" y="54"/>
                    <a:pt x="2" y="57"/>
                  </a:cubicBezTo>
                  <a:cubicBezTo>
                    <a:pt x="3" y="60"/>
                    <a:pt x="6" y="61"/>
                    <a:pt x="9" y="61"/>
                  </a:cubicBezTo>
                  <a:cubicBezTo>
                    <a:pt x="10" y="61"/>
                    <a:pt x="11" y="61"/>
                    <a:pt x="12" y="61"/>
                  </a:cubicBezTo>
                  <a:cubicBezTo>
                    <a:pt x="15" y="60"/>
                    <a:pt x="17" y="57"/>
                    <a:pt x="16" y="54"/>
                  </a:cubicBezTo>
                  <a:cubicBezTo>
                    <a:pt x="16" y="54"/>
                    <a:pt x="16" y="54"/>
                    <a:pt x="16" y="54"/>
                  </a:cubicBezTo>
                  <a:cubicBezTo>
                    <a:pt x="16" y="53"/>
                    <a:pt x="73" y="42"/>
                    <a:pt x="86" y="42"/>
                  </a:cubicBezTo>
                  <a:cubicBezTo>
                    <a:pt x="87" y="42"/>
                    <a:pt x="88" y="43"/>
                    <a:pt x="89" y="43"/>
                  </a:cubicBezTo>
                  <a:cubicBezTo>
                    <a:pt x="88" y="43"/>
                    <a:pt x="88" y="43"/>
                    <a:pt x="88" y="43"/>
                  </a:cubicBezTo>
                  <a:cubicBezTo>
                    <a:pt x="91" y="49"/>
                    <a:pt x="97" y="54"/>
                    <a:pt x="104" y="54"/>
                  </a:cubicBezTo>
                  <a:cubicBezTo>
                    <a:pt x="112" y="54"/>
                    <a:pt x="119" y="49"/>
                    <a:pt x="121" y="42"/>
                  </a:cubicBezTo>
                  <a:cubicBezTo>
                    <a:pt x="121" y="42"/>
                    <a:pt x="121" y="42"/>
                    <a:pt x="121" y="42"/>
                  </a:cubicBezTo>
                  <a:cubicBezTo>
                    <a:pt x="121" y="41"/>
                    <a:pt x="124" y="41"/>
                    <a:pt x="128" y="41"/>
                  </a:cubicBezTo>
                  <a:cubicBezTo>
                    <a:pt x="145" y="41"/>
                    <a:pt x="191" y="46"/>
                    <a:pt x="191" y="48"/>
                  </a:cubicBezTo>
                  <a:cubicBezTo>
                    <a:pt x="191" y="48"/>
                    <a:pt x="191" y="48"/>
                    <a:pt x="191" y="48"/>
                  </a:cubicBezTo>
                  <a:cubicBezTo>
                    <a:pt x="191" y="49"/>
                    <a:pt x="191" y="51"/>
                    <a:pt x="192" y="53"/>
                  </a:cubicBezTo>
                  <a:cubicBezTo>
                    <a:pt x="195" y="58"/>
                    <a:pt x="200" y="61"/>
                    <a:pt x="205" y="61"/>
                  </a:cubicBezTo>
                  <a:cubicBezTo>
                    <a:pt x="207" y="61"/>
                    <a:pt x="208" y="61"/>
                    <a:pt x="210" y="60"/>
                  </a:cubicBezTo>
                  <a:cubicBezTo>
                    <a:pt x="210" y="60"/>
                    <a:pt x="210" y="60"/>
                    <a:pt x="210" y="60"/>
                  </a:cubicBezTo>
                  <a:cubicBezTo>
                    <a:pt x="210" y="60"/>
                    <a:pt x="210" y="60"/>
                    <a:pt x="210" y="60"/>
                  </a:cubicBezTo>
                  <a:cubicBezTo>
                    <a:pt x="213" y="60"/>
                    <a:pt x="224" y="85"/>
                    <a:pt x="222" y="86"/>
                  </a:cubicBezTo>
                  <a:cubicBezTo>
                    <a:pt x="222" y="86"/>
                    <a:pt x="222" y="86"/>
                    <a:pt x="222" y="86"/>
                  </a:cubicBezTo>
                  <a:cubicBezTo>
                    <a:pt x="218" y="88"/>
                    <a:pt x="217" y="94"/>
                    <a:pt x="219" y="98"/>
                  </a:cubicBezTo>
                  <a:cubicBezTo>
                    <a:pt x="220" y="99"/>
                    <a:pt x="221" y="101"/>
                    <a:pt x="222" y="101"/>
                  </a:cubicBezTo>
                  <a:cubicBezTo>
                    <a:pt x="222" y="101"/>
                    <a:pt x="222" y="101"/>
                    <a:pt x="222" y="101"/>
                  </a:cubicBezTo>
                  <a:cubicBezTo>
                    <a:pt x="223" y="103"/>
                    <a:pt x="210" y="130"/>
                    <a:pt x="206" y="130"/>
                  </a:cubicBezTo>
                  <a:cubicBezTo>
                    <a:pt x="206" y="130"/>
                    <a:pt x="205" y="130"/>
                    <a:pt x="205" y="130"/>
                  </a:cubicBezTo>
                  <a:cubicBezTo>
                    <a:pt x="205" y="130"/>
                    <a:pt x="205" y="130"/>
                    <a:pt x="205" y="130"/>
                  </a:cubicBezTo>
                  <a:cubicBezTo>
                    <a:pt x="203" y="129"/>
                    <a:pt x="201" y="128"/>
                    <a:pt x="198" y="128"/>
                  </a:cubicBezTo>
                  <a:cubicBezTo>
                    <a:pt x="185" y="128"/>
                    <a:pt x="175" y="138"/>
                    <a:pt x="175" y="150"/>
                  </a:cubicBezTo>
                  <a:cubicBezTo>
                    <a:pt x="175" y="155"/>
                    <a:pt x="176" y="159"/>
                    <a:pt x="178" y="162"/>
                  </a:cubicBezTo>
                  <a:cubicBezTo>
                    <a:pt x="178" y="162"/>
                    <a:pt x="178" y="162"/>
                    <a:pt x="178" y="162"/>
                  </a:cubicBezTo>
                  <a:cubicBezTo>
                    <a:pt x="179" y="163"/>
                    <a:pt x="174" y="168"/>
                    <a:pt x="168" y="173"/>
                  </a:cubicBezTo>
                  <a:cubicBezTo>
                    <a:pt x="174" y="169"/>
                    <a:pt x="179" y="166"/>
                    <a:pt x="181" y="166"/>
                  </a:cubicBezTo>
                  <a:cubicBezTo>
                    <a:pt x="182" y="166"/>
                    <a:pt x="182" y="166"/>
                    <a:pt x="182" y="166"/>
                  </a:cubicBezTo>
                  <a:cubicBezTo>
                    <a:pt x="182" y="166"/>
                    <a:pt x="182" y="166"/>
                    <a:pt x="182" y="166"/>
                  </a:cubicBezTo>
                  <a:cubicBezTo>
                    <a:pt x="186" y="170"/>
                    <a:pt x="192" y="172"/>
                    <a:pt x="198" y="172"/>
                  </a:cubicBezTo>
                  <a:cubicBezTo>
                    <a:pt x="210" y="172"/>
                    <a:pt x="219" y="164"/>
                    <a:pt x="221" y="153"/>
                  </a:cubicBezTo>
                  <a:cubicBezTo>
                    <a:pt x="221" y="153"/>
                    <a:pt x="221" y="153"/>
                    <a:pt x="221" y="153"/>
                  </a:cubicBezTo>
                  <a:cubicBezTo>
                    <a:pt x="221" y="151"/>
                    <a:pt x="223" y="151"/>
                    <a:pt x="226" y="150"/>
                  </a:cubicBezTo>
                  <a:cubicBezTo>
                    <a:pt x="223" y="150"/>
                    <a:pt x="221" y="149"/>
                    <a:pt x="221" y="148"/>
                  </a:cubicBezTo>
                  <a:cubicBezTo>
                    <a:pt x="221" y="148"/>
                    <a:pt x="221" y="148"/>
                    <a:pt x="221" y="148"/>
                  </a:cubicBezTo>
                  <a:cubicBezTo>
                    <a:pt x="220" y="141"/>
                    <a:pt x="216" y="136"/>
                    <a:pt x="211" y="132"/>
                  </a:cubicBezTo>
                  <a:cubicBezTo>
                    <a:pt x="211" y="132"/>
                    <a:pt x="211" y="132"/>
                    <a:pt x="211" y="132"/>
                  </a:cubicBezTo>
                  <a:cubicBezTo>
                    <a:pt x="207" y="130"/>
                    <a:pt x="223" y="103"/>
                    <a:pt x="225" y="103"/>
                  </a:cubicBezTo>
                  <a:cubicBezTo>
                    <a:pt x="225" y="103"/>
                    <a:pt x="225" y="103"/>
                    <a:pt x="225" y="103"/>
                  </a:cubicBezTo>
                  <a:cubicBezTo>
                    <a:pt x="225" y="103"/>
                    <a:pt x="225" y="103"/>
                    <a:pt x="225" y="103"/>
                  </a:cubicBezTo>
                  <a:cubicBezTo>
                    <a:pt x="226" y="103"/>
                    <a:pt x="227" y="103"/>
                    <a:pt x="228" y="103"/>
                  </a:cubicBezTo>
                  <a:cubicBezTo>
                    <a:pt x="229" y="103"/>
                    <a:pt x="229" y="103"/>
                    <a:pt x="230" y="103"/>
                  </a:cubicBezTo>
                  <a:cubicBezTo>
                    <a:pt x="230" y="103"/>
                    <a:pt x="230" y="103"/>
                    <a:pt x="230" y="103"/>
                  </a:cubicBezTo>
                  <a:cubicBezTo>
                    <a:pt x="230" y="103"/>
                    <a:pt x="230" y="103"/>
                    <a:pt x="230" y="103"/>
                  </a:cubicBezTo>
                  <a:cubicBezTo>
                    <a:pt x="232" y="103"/>
                    <a:pt x="245" y="146"/>
                    <a:pt x="244" y="146"/>
                  </a:cubicBezTo>
                  <a:cubicBezTo>
                    <a:pt x="244" y="146"/>
                    <a:pt x="244" y="146"/>
                    <a:pt x="244" y="146"/>
                  </a:cubicBezTo>
                  <a:cubicBezTo>
                    <a:pt x="243" y="147"/>
                    <a:pt x="242" y="148"/>
                    <a:pt x="242" y="150"/>
                  </a:cubicBezTo>
                  <a:cubicBezTo>
                    <a:pt x="242" y="149"/>
                    <a:pt x="242" y="149"/>
                    <a:pt x="242" y="149"/>
                  </a:cubicBezTo>
                  <a:cubicBezTo>
                    <a:pt x="242" y="150"/>
                    <a:pt x="240" y="150"/>
                    <a:pt x="237" y="150"/>
                  </a:cubicBezTo>
                  <a:cubicBezTo>
                    <a:pt x="240" y="151"/>
                    <a:pt x="242" y="151"/>
                    <a:pt x="242" y="151"/>
                  </a:cubicBezTo>
                  <a:cubicBezTo>
                    <a:pt x="242" y="151"/>
                    <a:pt x="242" y="151"/>
                    <a:pt x="242" y="151"/>
                  </a:cubicBezTo>
                  <a:cubicBezTo>
                    <a:pt x="242" y="151"/>
                    <a:pt x="242" y="152"/>
                    <a:pt x="242" y="152"/>
                  </a:cubicBezTo>
                  <a:cubicBezTo>
                    <a:pt x="243" y="154"/>
                    <a:pt x="245" y="155"/>
                    <a:pt x="246" y="155"/>
                  </a:cubicBezTo>
                  <a:cubicBezTo>
                    <a:pt x="247" y="155"/>
                    <a:pt x="248" y="155"/>
                    <a:pt x="248" y="154"/>
                  </a:cubicBezTo>
                  <a:cubicBezTo>
                    <a:pt x="249" y="154"/>
                    <a:pt x="250" y="154"/>
                    <a:pt x="250" y="153"/>
                  </a:cubicBezTo>
                  <a:cubicBezTo>
                    <a:pt x="250" y="153"/>
                    <a:pt x="250" y="153"/>
                    <a:pt x="250" y="153"/>
                  </a:cubicBezTo>
                  <a:cubicBezTo>
                    <a:pt x="250" y="153"/>
                    <a:pt x="250" y="153"/>
                    <a:pt x="250" y="153"/>
                  </a:cubicBezTo>
                  <a:cubicBezTo>
                    <a:pt x="251" y="153"/>
                    <a:pt x="256" y="155"/>
                    <a:pt x="262" y="158"/>
                  </a:cubicBezTo>
                  <a:cubicBezTo>
                    <a:pt x="256" y="155"/>
                    <a:pt x="251" y="152"/>
                    <a:pt x="251" y="152"/>
                  </a:cubicBezTo>
                  <a:cubicBezTo>
                    <a:pt x="251" y="152"/>
                    <a:pt x="251" y="152"/>
                    <a:pt x="251" y="152"/>
                  </a:cubicBezTo>
                  <a:cubicBezTo>
                    <a:pt x="251" y="151"/>
                    <a:pt x="251" y="150"/>
                    <a:pt x="251" y="148"/>
                  </a:cubicBezTo>
                  <a:cubicBezTo>
                    <a:pt x="250" y="147"/>
                    <a:pt x="248" y="146"/>
                    <a:pt x="246" y="146"/>
                  </a:cubicBezTo>
                  <a:cubicBezTo>
                    <a:pt x="246" y="146"/>
                    <a:pt x="246" y="146"/>
                    <a:pt x="246" y="146"/>
                  </a:cubicBezTo>
                  <a:cubicBezTo>
                    <a:pt x="246" y="146"/>
                    <a:pt x="246" y="146"/>
                    <a:pt x="246" y="146"/>
                  </a:cubicBezTo>
                  <a:cubicBezTo>
                    <a:pt x="246" y="146"/>
                    <a:pt x="246" y="146"/>
                    <a:pt x="246" y="146"/>
                  </a:cubicBezTo>
                  <a:cubicBezTo>
                    <a:pt x="245" y="146"/>
                    <a:pt x="231" y="103"/>
                    <a:pt x="232" y="102"/>
                  </a:cubicBezTo>
                  <a:cubicBezTo>
                    <a:pt x="232" y="102"/>
                    <a:pt x="232" y="102"/>
                    <a:pt x="232" y="102"/>
                  </a:cubicBezTo>
                  <a:cubicBezTo>
                    <a:pt x="237" y="101"/>
                    <a:pt x="239" y="96"/>
                    <a:pt x="238" y="92"/>
                  </a:cubicBezTo>
                  <a:cubicBezTo>
                    <a:pt x="238" y="92"/>
                    <a:pt x="238" y="92"/>
                    <a:pt x="238" y="92"/>
                  </a:cubicBezTo>
                  <a:cubicBezTo>
                    <a:pt x="237" y="90"/>
                    <a:pt x="283" y="72"/>
                    <a:pt x="291" y="72"/>
                  </a:cubicBezTo>
                  <a:cubicBezTo>
                    <a:pt x="292" y="72"/>
                    <a:pt x="292" y="72"/>
                    <a:pt x="292" y="73"/>
                  </a:cubicBezTo>
                  <a:cubicBezTo>
                    <a:pt x="292" y="72"/>
                    <a:pt x="292" y="72"/>
                    <a:pt x="292" y="72"/>
                  </a:cubicBezTo>
                  <a:cubicBezTo>
                    <a:pt x="295" y="78"/>
                    <a:pt x="301" y="81"/>
                    <a:pt x="308" y="81"/>
                  </a:cubicBezTo>
                  <a:cubicBezTo>
                    <a:pt x="310" y="81"/>
                    <a:pt x="313" y="81"/>
                    <a:pt x="315" y="80"/>
                  </a:cubicBezTo>
                  <a:cubicBezTo>
                    <a:pt x="324" y="76"/>
                    <a:pt x="328" y="65"/>
                    <a:pt x="324" y="57"/>
                  </a:cubicBezTo>
                  <a:cubicBezTo>
                    <a:pt x="321" y="51"/>
                    <a:pt x="314" y="47"/>
                    <a:pt x="308" y="47"/>
                  </a:cubicBezTo>
                  <a:cubicBezTo>
                    <a:pt x="305" y="47"/>
                    <a:pt x="302" y="47"/>
                    <a:pt x="300" y="49"/>
                  </a:cubicBezTo>
                  <a:cubicBezTo>
                    <a:pt x="299" y="49"/>
                    <a:pt x="298" y="49"/>
                    <a:pt x="297" y="50"/>
                  </a:cubicBezTo>
                  <a:cubicBezTo>
                    <a:pt x="298" y="50"/>
                    <a:pt x="298" y="50"/>
                    <a:pt x="298" y="50"/>
                  </a:cubicBezTo>
                  <a:cubicBezTo>
                    <a:pt x="298" y="50"/>
                    <a:pt x="297" y="50"/>
                    <a:pt x="297" y="50"/>
                  </a:cubicBezTo>
                  <a:cubicBezTo>
                    <a:pt x="293" y="50"/>
                    <a:pt x="264" y="19"/>
                    <a:pt x="266" y="17"/>
                  </a:cubicBezTo>
                  <a:cubicBezTo>
                    <a:pt x="266" y="17"/>
                    <a:pt x="266" y="17"/>
                    <a:pt x="266" y="17"/>
                  </a:cubicBezTo>
                  <a:cubicBezTo>
                    <a:pt x="267" y="16"/>
                    <a:pt x="268" y="13"/>
                    <a:pt x="268" y="11"/>
                  </a:cubicBezTo>
                  <a:cubicBezTo>
                    <a:pt x="268" y="5"/>
                    <a:pt x="263" y="0"/>
                    <a:pt x="257"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0" name="Freeform 22"/>
            <p:cNvSpPr>
              <a:spLocks/>
            </p:cNvSpPr>
            <p:nvPr/>
          </p:nvSpPr>
          <p:spPr bwMode="auto">
            <a:xfrm>
              <a:off x="7312025" y="3098800"/>
              <a:ext cx="12700" cy="26988"/>
            </a:xfrm>
            <a:custGeom>
              <a:avLst/>
              <a:gdLst>
                <a:gd name="T0" fmla="*/ 0 w 3"/>
                <a:gd name="T1" fmla="*/ 0 h 7"/>
                <a:gd name="T2" fmla="*/ 3 w 3"/>
                <a:gd name="T3" fmla="*/ 7 h 7"/>
                <a:gd name="T4" fmla="*/ 0 w 3"/>
                <a:gd name="T5" fmla="*/ 0 h 7"/>
              </a:gdLst>
              <a:ahLst/>
              <a:cxnLst>
                <a:cxn ang="0">
                  <a:pos x="T0" y="T1"/>
                </a:cxn>
                <a:cxn ang="0">
                  <a:pos x="T2" y="T3"/>
                </a:cxn>
                <a:cxn ang="0">
                  <a:pos x="T4" y="T5"/>
                </a:cxn>
              </a:cxnLst>
              <a:rect l="0" t="0" r="r" b="b"/>
              <a:pathLst>
                <a:path w="3" h="7">
                  <a:moveTo>
                    <a:pt x="0" y="0"/>
                  </a:moveTo>
                  <a:cubicBezTo>
                    <a:pt x="1" y="2"/>
                    <a:pt x="2" y="4"/>
                    <a:pt x="3" y="7"/>
                  </a:cubicBezTo>
                  <a:cubicBezTo>
                    <a:pt x="2" y="4"/>
                    <a:pt x="1" y="2"/>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1" name="Freeform 23"/>
            <p:cNvSpPr>
              <a:spLocks/>
            </p:cNvSpPr>
            <p:nvPr/>
          </p:nvSpPr>
          <p:spPr bwMode="auto">
            <a:xfrm>
              <a:off x="6307138" y="2813050"/>
              <a:ext cx="41275" cy="3175"/>
            </a:xfrm>
            <a:custGeom>
              <a:avLst/>
              <a:gdLst>
                <a:gd name="T0" fmla="*/ 5 w 11"/>
                <a:gd name="T1" fmla="*/ 0 h 1"/>
                <a:gd name="T2" fmla="*/ 0 w 11"/>
                <a:gd name="T3" fmla="*/ 0 h 1"/>
                <a:gd name="T4" fmla="*/ 5 w 11"/>
                <a:gd name="T5" fmla="*/ 1 h 1"/>
                <a:gd name="T6" fmla="*/ 11 w 11"/>
                <a:gd name="T7" fmla="*/ 0 h 1"/>
                <a:gd name="T8" fmla="*/ 5 w 11"/>
                <a:gd name="T9" fmla="*/ 0 h 1"/>
              </a:gdLst>
              <a:ahLst/>
              <a:cxnLst>
                <a:cxn ang="0">
                  <a:pos x="T0" y="T1"/>
                </a:cxn>
                <a:cxn ang="0">
                  <a:pos x="T2" y="T3"/>
                </a:cxn>
                <a:cxn ang="0">
                  <a:pos x="T4" y="T5"/>
                </a:cxn>
                <a:cxn ang="0">
                  <a:pos x="T6" y="T7"/>
                </a:cxn>
                <a:cxn ang="0">
                  <a:pos x="T8" y="T9"/>
                </a:cxn>
              </a:cxnLst>
              <a:rect l="0" t="0" r="r" b="b"/>
              <a:pathLst>
                <a:path w="11" h="1">
                  <a:moveTo>
                    <a:pt x="5" y="0"/>
                  </a:moveTo>
                  <a:cubicBezTo>
                    <a:pt x="4" y="0"/>
                    <a:pt x="2" y="0"/>
                    <a:pt x="0" y="0"/>
                  </a:cubicBezTo>
                  <a:cubicBezTo>
                    <a:pt x="2" y="1"/>
                    <a:pt x="4" y="1"/>
                    <a:pt x="5" y="1"/>
                  </a:cubicBezTo>
                  <a:cubicBezTo>
                    <a:pt x="7" y="1"/>
                    <a:pt x="9" y="0"/>
                    <a:pt x="11" y="0"/>
                  </a:cubicBezTo>
                  <a:cubicBezTo>
                    <a:pt x="9" y="0"/>
                    <a:pt x="7" y="0"/>
                    <a:pt x="5"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2" name="Freeform 24"/>
            <p:cNvSpPr>
              <a:spLocks/>
            </p:cNvSpPr>
            <p:nvPr/>
          </p:nvSpPr>
          <p:spPr bwMode="auto">
            <a:xfrm>
              <a:off x="6442075" y="2843213"/>
              <a:ext cx="11113" cy="7938"/>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2"/>
                    <a:pt x="1"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3" name="Freeform 25"/>
            <p:cNvSpPr>
              <a:spLocks/>
            </p:cNvSpPr>
            <p:nvPr/>
          </p:nvSpPr>
          <p:spPr bwMode="auto">
            <a:xfrm>
              <a:off x="6502400" y="3136900"/>
              <a:ext cx="14288" cy="52388"/>
            </a:xfrm>
            <a:custGeom>
              <a:avLst/>
              <a:gdLst>
                <a:gd name="T0" fmla="*/ 0 w 4"/>
                <a:gd name="T1" fmla="*/ 0 h 14"/>
                <a:gd name="T2" fmla="*/ 4 w 4"/>
                <a:gd name="T3" fmla="*/ 14 h 14"/>
                <a:gd name="T4" fmla="*/ 0 w 4"/>
                <a:gd name="T5" fmla="*/ 0 h 14"/>
              </a:gdLst>
              <a:ahLst/>
              <a:cxnLst>
                <a:cxn ang="0">
                  <a:pos x="T0" y="T1"/>
                </a:cxn>
                <a:cxn ang="0">
                  <a:pos x="T2" y="T3"/>
                </a:cxn>
                <a:cxn ang="0">
                  <a:pos x="T4" y="T5"/>
                </a:cxn>
              </a:cxnLst>
              <a:rect l="0" t="0" r="r" b="b"/>
              <a:pathLst>
                <a:path w="4" h="14">
                  <a:moveTo>
                    <a:pt x="0" y="0"/>
                  </a:moveTo>
                  <a:cubicBezTo>
                    <a:pt x="1" y="4"/>
                    <a:pt x="2" y="9"/>
                    <a:pt x="4" y="14"/>
                  </a:cubicBezTo>
                  <a:cubicBezTo>
                    <a:pt x="3" y="9"/>
                    <a:pt x="1"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4" name="Freeform 26"/>
            <p:cNvSpPr>
              <a:spLocks noEditPoints="1"/>
            </p:cNvSpPr>
            <p:nvPr/>
          </p:nvSpPr>
          <p:spPr bwMode="auto">
            <a:xfrm>
              <a:off x="5980113" y="2941638"/>
              <a:ext cx="528638" cy="195263"/>
            </a:xfrm>
            <a:custGeom>
              <a:avLst/>
              <a:gdLst>
                <a:gd name="T0" fmla="*/ 95 w 141"/>
                <a:gd name="T1" fmla="*/ 22 h 52"/>
                <a:gd name="T2" fmla="*/ 101 w 141"/>
                <a:gd name="T3" fmla="*/ 23 h 52"/>
                <a:gd name="T4" fmla="*/ 103 w 141"/>
                <a:gd name="T5" fmla="*/ 22 h 52"/>
                <a:gd name="T6" fmla="*/ 133 w 141"/>
                <a:gd name="T7" fmla="*/ 41 h 52"/>
                <a:gd name="T8" fmla="*/ 132 w 141"/>
                <a:gd name="T9" fmla="*/ 42 h 52"/>
                <a:gd name="T10" fmla="*/ 70 w 141"/>
                <a:gd name="T11" fmla="*/ 45 h 52"/>
                <a:gd name="T12" fmla="*/ 65 w 141"/>
                <a:gd name="T13" fmla="*/ 45 h 52"/>
                <a:gd name="T14" fmla="*/ 64 w 141"/>
                <a:gd name="T15" fmla="*/ 43 h 52"/>
                <a:gd name="T16" fmla="*/ 95 w 141"/>
                <a:gd name="T17" fmla="*/ 22 h 52"/>
                <a:gd name="T18" fmla="*/ 15 w 141"/>
                <a:gd name="T19" fmla="*/ 0 h 52"/>
                <a:gd name="T20" fmla="*/ 7 w 141"/>
                <a:gd name="T21" fmla="*/ 6 h 52"/>
                <a:gd name="T22" fmla="*/ 4 w 141"/>
                <a:gd name="T23" fmla="*/ 5 h 52"/>
                <a:gd name="T24" fmla="*/ 1 w 141"/>
                <a:gd name="T25" fmla="*/ 10 h 52"/>
                <a:gd name="T26" fmla="*/ 6 w 141"/>
                <a:gd name="T27" fmla="*/ 12 h 52"/>
                <a:gd name="T28" fmla="*/ 7 w 141"/>
                <a:gd name="T29" fmla="*/ 11 h 52"/>
                <a:gd name="T30" fmla="*/ 52 w 141"/>
                <a:gd name="T31" fmla="*/ 43 h 52"/>
                <a:gd name="T32" fmla="*/ 52 w 141"/>
                <a:gd name="T33" fmla="*/ 49 h 52"/>
                <a:gd name="T34" fmla="*/ 61 w 141"/>
                <a:gd name="T35" fmla="*/ 52 h 52"/>
                <a:gd name="T36" fmla="*/ 65 w 141"/>
                <a:gd name="T37" fmla="*/ 47 h 52"/>
                <a:gd name="T38" fmla="*/ 132 w 141"/>
                <a:gd name="T39" fmla="*/ 43 h 52"/>
                <a:gd name="T40" fmla="*/ 133 w 141"/>
                <a:gd name="T41" fmla="*/ 44 h 52"/>
                <a:gd name="T42" fmla="*/ 137 w 141"/>
                <a:gd name="T43" fmla="*/ 46 h 52"/>
                <a:gd name="T44" fmla="*/ 137 w 141"/>
                <a:gd name="T45" fmla="*/ 46 h 52"/>
                <a:gd name="T46" fmla="*/ 138 w 141"/>
                <a:gd name="T47" fmla="*/ 46 h 52"/>
                <a:gd name="T48" fmla="*/ 140 w 141"/>
                <a:gd name="T49" fmla="*/ 41 h 52"/>
                <a:gd name="T50" fmla="*/ 138 w 141"/>
                <a:gd name="T51" fmla="*/ 39 h 52"/>
                <a:gd name="T52" fmla="*/ 137 w 141"/>
                <a:gd name="T53" fmla="*/ 39 h 52"/>
                <a:gd name="T54" fmla="*/ 137 w 141"/>
                <a:gd name="T55" fmla="*/ 39 h 52"/>
                <a:gd name="T56" fmla="*/ 135 w 141"/>
                <a:gd name="T57" fmla="*/ 39 h 52"/>
                <a:gd name="T58" fmla="*/ 133 w 141"/>
                <a:gd name="T59" fmla="*/ 40 h 52"/>
                <a:gd name="T60" fmla="*/ 103 w 141"/>
                <a:gd name="T61" fmla="*/ 21 h 52"/>
                <a:gd name="T62" fmla="*/ 103 w 141"/>
                <a:gd name="T63" fmla="*/ 17 h 52"/>
                <a:gd name="T64" fmla="*/ 97 w 141"/>
                <a:gd name="T65" fmla="*/ 15 h 52"/>
                <a:gd name="T66" fmla="*/ 95 w 141"/>
                <a:gd name="T67" fmla="*/ 21 h 52"/>
                <a:gd name="T68" fmla="*/ 63 w 141"/>
                <a:gd name="T69" fmla="*/ 41 h 52"/>
                <a:gd name="T70" fmla="*/ 58 w 141"/>
                <a:gd name="T71" fmla="*/ 39 h 52"/>
                <a:gd name="T72" fmla="*/ 53 w 141"/>
                <a:gd name="T73" fmla="*/ 41 h 52"/>
                <a:gd name="T74" fmla="*/ 53 w 141"/>
                <a:gd name="T75" fmla="*/ 41 h 52"/>
                <a:gd name="T76" fmla="*/ 8 w 141"/>
                <a:gd name="T77" fmla="*/ 10 h 52"/>
                <a:gd name="T78" fmla="*/ 8 w 141"/>
                <a:gd name="T79" fmla="*/ 7 h 52"/>
                <a:gd name="T80" fmla="*/ 15 w 141"/>
                <a:gd name="T8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52">
                  <a:moveTo>
                    <a:pt x="96" y="22"/>
                  </a:moveTo>
                  <a:cubicBezTo>
                    <a:pt x="95" y="22"/>
                    <a:pt x="95" y="22"/>
                    <a:pt x="95" y="22"/>
                  </a:cubicBezTo>
                  <a:cubicBezTo>
                    <a:pt x="96" y="23"/>
                    <a:pt x="98" y="24"/>
                    <a:pt x="99" y="24"/>
                  </a:cubicBezTo>
                  <a:cubicBezTo>
                    <a:pt x="100" y="24"/>
                    <a:pt x="100" y="23"/>
                    <a:pt x="101" y="23"/>
                  </a:cubicBezTo>
                  <a:cubicBezTo>
                    <a:pt x="102" y="23"/>
                    <a:pt x="102" y="23"/>
                    <a:pt x="103" y="22"/>
                  </a:cubicBezTo>
                  <a:cubicBezTo>
                    <a:pt x="103" y="22"/>
                    <a:pt x="103" y="22"/>
                    <a:pt x="103" y="22"/>
                  </a:cubicBezTo>
                  <a:cubicBezTo>
                    <a:pt x="103" y="22"/>
                    <a:pt x="103" y="22"/>
                    <a:pt x="103" y="22"/>
                  </a:cubicBezTo>
                  <a:cubicBezTo>
                    <a:pt x="104" y="22"/>
                    <a:pt x="133" y="40"/>
                    <a:pt x="133" y="41"/>
                  </a:cubicBezTo>
                  <a:cubicBezTo>
                    <a:pt x="133" y="41"/>
                    <a:pt x="133" y="41"/>
                    <a:pt x="133" y="41"/>
                  </a:cubicBezTo>
                  <a:cubicBezTo>
                    <a:pt x="132" y="41"/>
                    <a:pt x="132" y="42"/>
                    <a:pt x="132" y="42"/>
                  </a:cubicBezTo>
                  <a:cubicBezTo>
                    <a:pt x="132" y="42"/>
                    <a:pt x="132" y="42"/>
                    <a:pt x="132" y="42"/>
                  </a:cubicBezTo>
                  <a:cubicBezTo>
                    <a:pt x="132" y="43"/>
                    <a:pt x="86" y="45"/>
                    <a:pt x="70" y="45"/>
                  </a:cubicBezTo>
                  <a:cubicBezTo>
                    <a:pt x="67" y="45"/>
                    <a:pt x="65" y="45"/>
                    <a:pt x="65" y="45"/>
                  </a:cubicBezTo>
                  <a:cubicBezTo>
                    <a:pt x="65" y="45"/>
                    <a:pt x="65" y="45"/>
                    <a:pt x="65" y="45"/>
                  </a:cubicBezTo>
                  <a:cubicBezTo>
                    <a:pt x="65" y="44"/>
                    <a:pt x="64" y="43"/>
                    <a:pt x="64" y="43"/>
                  </a:cubicBezTo>
                  <a:cubicBezTo>
                    <a:pt x="64" y="43"/>
                    <a:pt x="64" y="43"/>
                    <a:pt x="64" y="43"/>
                  </a:cubicBezTo>
                  <a:cubicBezTo>
                    <a:pt x="64" y="43"/>
                    <a:pt x="64" y="43"/>
                    <a:pt x="64" y="43"/>
                  </a:cubicBezTo>
                  <a:cubicBezTo>
                    <a:pt x="64" y="42"/>
                    <a:pt x="94" y="22"/>
                    <a:pt x="95" y="22"/>
                  </a:cubicBezTo>
                  <a:cubicBezTo>
                    <a:pt x="96" y="22"/>
                    <a:pt x="96" y="22"/>
                    <a:pt x="96" y="22"/>
                  </a:cubicBezTo>
                  <a:moveTo>
                    <a:pt x="15" y="0"/>
                  </a:moveTo>
                  <a:cubicBezTo>
                    <a:pt x="11" y="3"/>
                    <a:pt x="8" y="6"/>
                    <a:pt x="7" y="6"/>
                  </a:cubicBezTo>
                  <a:cubicBezTo>
                    <a:pt x="7" y="6"/>
                    <a:pt x="7" y="6"/>
                    <a:pt x="7" y="6"/>
                  </a:cubicBezTo>
                  <a:cubicBezTo>
                    <a:pt x="7" y="6"/>
                    <a:pt x="7" y="6"/>
                    <a:pt x="7" y="6"/>
                  </a:cubicBezTo>
                  <a:cubicBezTo>
                    <a:pt x="6" y="5"/>
                    <a:pt x="5" y="5"/>
                    <a:pt x="4" y="5"/>
                  </a:cubicBezTo>
                  <a:cubicBezTo>
                    <a:pt x="4" y="5"/>
                    <a:pt x="3" y="5"/>
                    <a:pt x="3" y="5"/>
                  </a:cubicBezTo>
                  <a:cubicBezTo>
                    <a:pt x="1" y="6"/>
                    <a:pt x="0" y="8"/>
                    <a:pt x="1" y="10"/>
                  </a:cubicBezTo>
                  <a:cubicBezTo>
                    <a:pt x="1" y="12"/>
                    <a:pt x="3" y="12"/>
                    <a:pt x="4" y="12"/>
                  </a:cubicBezTo>
                  <a:cubicBezTo>
                    <a:pt x="5" y="12"/>
                    <a:pt x="6" y="12"/>
                    <a:pt x="6" y="12"/>
                  </a:cubicBezTo>
                  <a:cubicBezTo>
                    <a:pt x="7" y="12"/>
                    <a:pt x="7" y="12"/>
                    <a:pt x="7" y="11"/>
                  </a:cubicBezTo>
                  <a:cubicBezTo>
                    <a:pt x="7" y="11"/>
                    <a:pt x="7" y="11"/>
                    <a:pt x="7" y="11"/>
                  </a:cubicBezTo>
                  <a:cubicBezTo>
                    <a:pt x="7" y="11"/>
                    <a:pt x="7" y="11"/>
                    <a:pt x="7" y="11"/>
                  </a:cubicBezTo>
                  <a:cubicBezTo>
                    <a:pt x="9" y="11"/>
                    <a:pt x="52" y="42"/>
                    <a:pt x="52" y="43"/>
                  </a:cubicBezTo>
                  <a:cubicBezTo>
                    <a:pt x="52" y="43"/>
                    <a:pt x="52" y="43"/>
                    <a:pt x="52" y="43"/>
                  </a:cubicBezTo>
                  <a:cubicBezTo>
                    <a:pt x="51" y="44"/>
                    <a:pt x="51" y="47"/>
                    <a:pt x="52" y="49"/>
                  </a:cubicBezTo>
                  <a:cubicBezTo>
                    <a:pt x="53" y="51"/>
                    <a:pt x="55" y="52"/>
                    <a:pt x="58" y="52"/>
                  </a:cubicBezTo>
                  <a:cubicBezTo>
                    <a:pt x="59" y="52"/>
                    <a:pt x="60" y="52"/>
                    <a:pt x="61" y="52"/>
                  </a:cubicBezTo>
                  <a:cubicBezTo>
                    <a:pt x="63" y="51"/>
                    <a:pt x="65" y="49"/>
                    <a:pt x="65" y="46"/>
                  </a:cubicBezTo>
                  <a:cubicBezTo>
                    <a:pt x="65" y="47"/>
                    <a:pt x="65" y="47"/>
                    <a:pt x="65" y="47"/>
                  </a:cubicBezTo>
                  <a:cubicBezTo>
                    <a:pt x="65" y="45"/>
                    <a:pt x="117" y="43"/>
                    <a:pt x="129" y="43"/>
                  </a:cubicBezTo>
                  <a:cubicBezTo>
                    <a:pt x="131" y="43"/>
                    <a:pt x="132" y="43"/>
                    <a:pt x="132" y="43"/>
                  </a:cubicBezTo>
                  <a:cubicBezTo>
                    <a:pt x="132" y="43"/>
                    <a:pt x="132" y="43"/>
                    <a:pt x="132" y="43"/>
                  </a:cubicBezTo>
                  <a:cubicBezTo>
                    <a:pt x="133" y="44"/>
                    <a:pt x="133" y="44"/>
                    <a:pt x="133" y="44"/>
                  </a:cubicBezTo>
                  <a:cubicBezTo>
                    <a:pt x="133" y="46"/>
                    <a:pt x="135" y="46"/>
                    <a:pt x="136" y="46"/>
                  </a:cubicBezTo>
                  <a:cubicBezTo>
                    <a:pt x="136" y="46"/>
                    <a:pt x="137" y="46"/>
                    <a:pt x="137" y="46"/>
                  </a:cubicBezTo>
                  <a:cubicBezTo>
                    <a:pt x="137" y="46"/>
                    <a:pt x="137" y="46"/>
                    <a:pt x="137" y="46"/>
                  </a:cubicBezTo>
                  <a:cubicBezTo>
                    <a:pt x="137" y="46"/>
                    <a:pt x="137" y="46"/>
                    <a:pt x="137" y="46"/>
                  </a:cubicBezTo>
                  <a:cubicBezTo>
                    <a:pt x="137" y="46"/>
                    <a:pt x="138" y="49"/>
                    <a:pt x="139" y="52"/>
                  </a:cubicBezTo>
                  <a:cubicBezTo>
                    <a:pt x="138" y="48"/>
                    <a:pt x="138" y="46"/>
                    <a:pt x="138" y="46"/>
                  </a:cubicBezTo>
                  <a:cubicBezTo>
                    <a:pt x="138" y="46"/>
                    <a:pt x="138" y="46"/>
                    <a:pt x="138" y="46"/>
                  </a:cubicBezTo>
                  <a:cubicBezTo>
                    <a:pt x="140" y="45"/>
                    <a:pt x="141" y="43"/>
                    <a:pt x="140" y="41"/>
                  </a:cubicBezTo>
                  <a:cubicBezTo>
                    <a:pt x="140" y="40"/>
                    <a:pt x="139" y="39"/>
                    <a:pt x="138" y="39"/>
                  </a:cubicBezTo>
                  <a:cubicBezTo>
                    <a:pt x="138" y="39"/>
                    <a:pt x="138" y="39"/>
                    <a:pt x="138" y="39"/>
                  </a:cubicBezTo>
                  <a:cubicBezTo>
                    <a:pt x="138" y="39"/>
                    <a:pt x="139" y="33"/>
                    <a:pt x="141" y="25"/>
                  </a:cubicBezTo>
                  <a:cubicBezTo>
                    <a:pt x="139" y="33"/>
                    <a:pt x="137" y="39"/>
                    <a:pt x="137" y="39"/>
                  </a:cubicBezTo>
                  <a:cubicBezTo>
                    <a:pt x="137" y="39"/>
                    <a:pt x="137" y="39"/>
                    <a:pt x="137" y="39"/>
                  </a:cubicBezTo>
                  <a:cubicBezTo>
                    <a:pt x="137" y="39"/>
                    <a:pt x="137" y="39"/>
                    <a:pt x="137" y="39"/>
                  </a:cubicBezTo>
                  <a:cubicBezTo>
                    <a:pt x="137" y="39"/>
                    <a:pt x="136" y="39"/>
                    <a:pt x="136" y="39"/>
                  </a:cubicBezTo>
                  <a:cubicBezTo>
                    <a:pt x="136" y="39"/>
                    <a:pt x="135" y="39"/>
                    <a:pt x="135" y="39"/>
                  </a:cubicBezTo>
                  <a:cubicBezTo>
                    <a:pt x="134" y="39"/>
                    <a:pt x="134" y="40"/>
                    <a:pt x="133" y="40"/>
                  </a:cubicBezTo>
                  <a:cubicBezTo>
                    <a:pt x="133" y="40"/>
                    <a:pt x="133" y="40"/>
                    <a:pt x="133" y="40"/>
                  </a:cubicBezTo>
                  <a:cubicBezTo>
                    <a:pt x="133" y="40"/>
                    <a:pt x="133" y="40"/>
                    <a:pt x="133" y="40"/>
                  </a:cubicBezTo>
                  <a:cubicBezTo>
                    <a:pt x="132" y="40"/>
                    <a:pt x="103" y="22"/>
                    <a:pt x="103" y="21"/>
                  </a:cubicBezTo>
                  <a:cubicBezTo>
                    <a:pt x="103" y="21"/>
                    <a:pt x="103" y="21"/>
                    <a:pt x="103" y="21"/>
                  </a:cubicBezTo>
                  <a:cubicBezTo>
                    <a:pt x="104" y="20"/>
                    <a:pt x="104" y="18"/>
                    <a:pt x="103" y="17"/>
                  </a:cubicBezTo>
                  <a:cubicBezTo>
                    <a:pt x="103" y="15"/>
                    <a:pt x="101" y="14"/>
                    <a:pt x="99" y="14"/>
                  </a:cubicBezTo>
                  <a:cubicBezTo>
                    <a:pt x="98" y="14"/>
                    <a:pt x="98" y="15"/>
                    <a:pt x="97" y="15"/>
                  </a:cubicBezTo>
                  <a:cubicBezTo>
                    <a:pt x="95" y="16"/>
                    <a:pt x="94" y="19"/>
                    <a:pt x="95" y="21"/>
                  </a:cubicBezTo>
                  <a:cubicBezTo>
                    <a:pt x="95" y="21"/>
                    <a:pt x="95" y="21"/>
                    <a:pt x="95" y="21"/>
                  </a:cubicBezTo>
                  <a:cubicBezTo>
                    <a:pt x="95" y="22"/>
                    <a:pt x="65" y="41"/>
                    <a:pt x="63" y="41"/>
                  </a:cubicBezTo>
                  <a:cubicBezTo>
                    <a:pt x="63" y="41"/>
                    <a:pt x="63" y="41"/>
                    <a:pt x="63" y="41"/>
                  </a:cubicBezTo>
                  <a:cubicBezTo>
                    <a:pt x="63" y="41"/>
                    <a:pt x="63" y="41"/>
                    <a:pt x="63" y="41"/>
                  </a:cubicBezTo>
                  <a:cubicBezTo>
                    <a:pt x="62" y="40"/>
                    <a:pt x="60" y="39"/>
                    <a:pt x="58" y="39"/>
                  </a:cubicBezTo>
                  <a:cubicBezTo>
                    <a:pt x="57" y="39"/>
                    <a:pt x="56" y="39"/>
                    <a:pt x="55" y="40"/>
                  </a:cubicBezTo>
                  <a:cubicBezTo>
                    <a:pt x="54" y="40"/>
                    <a:pt x="54" y="41"/>
                    <a:pt x="53" y="41"/>
                  </a:cubicBezTo>
                  <a:cubicBezTo>
                    <a:pt x="53" y="41"/>
                    <a:pt x="53" y="41"/>
                    <a:pt x="53" y="41"/>
                  </a:cubicBezTo>
                  <a:cubicBezTo>
                    <a:pt x="53" y="41"/>
                    <a:pt x="53" y="41"/>
                    <a:pt x="53" y="41"/>
                  </a:cubicBezTo>
                  <a:cubicBezTo>
                    <a:pt x="51" y="41"/>
                    <a:pt x="8" y="11"/>
                    <a:pt x="8" y="10"/>
                  </a:cubicBezTo>
                  <a:cubicBezTo>
                    <a:pt x="8" y="10"/>
                    <a:pt x="8" y="10"/>
                    <a:pt x="8" y="10"/>
                  </a:cubicBezTo>
                  <a:cubicBezTo>
                    <a:pt x="9" y="9"/>
                    <a:pt x="9" y="8"/>
                    <a:pt x="8" y="7"/>
                  </a:cubicBezTo>
                  <a:cubicBezTo>
                    <a:pt x="8" y="7"/>
                    <a:pt x="8" y="7"/>
                    <a:pt x="8" y="7"/>
                  </a:cubicBezTo>
                  <a:cubicBezTo>
                    <a:pt x="8" y="7"/>
                    <a:pt x="8" y="7"/>
                    <a:pt x="8" y="7"/>
                  </a:cubicBezTo>
                  <a:cubicBezTo>
                    <a:pt x="8" y="6"/>
                    <a:pt x="11" y="4"/>
                    <a:pt x="15"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5" name="Freeform 27"/>
            <p:cNvSpPr>
              <a:spLocks/>
            </p:cNvSpPr>
            <p:nvPr/>
          </p:nvSpPr>
          <p:spPr bwMode="auto">
            <a:xfrm>
              <a:off x="6508750" y="3016250"/>
              <a:ext cx="7938" cy="19050"/>
            </a:xfrm>
            <a:custGeom>
              <a:avLst/>
              <a:gdLst>
                <a:gd name="T0" fmla="*/ 2 w 2"/>
                <a:gd name="T1" fmla="*/ 0 h 5"/>
                <a:gd name="T2" fmla="*/ 0 w 2"/>
                <a:gd name="T3" fmla="*/ 5 h 5"/>
                <a:gd name="T4" fmla="*/ 2 w 2"/>
                <a:gd name="T5" fmla="*/ 0 h 5"/>
              </a:gdLst>
              <a:ahLst/>
              <a:cxnLst>
                <a:cxn ang="0">
                  <a:pos x="T0" y="T1"/>
                </a:cxn>
                <a:cxn ang="0">
                  <a:pos x="T2" y="T3"/>
                </a:cxn>
                <a:cxn ang="0">
                  <a:pos x="T4" y="T5"/>
                </a:cxn>
              </a:cxnLst>
              <a:rect l="0" t="0" r="r" b="b"/>
              <a:pathLst>
                <a:path w="2" h="5">
                  <a:moveTo>
                    <a:pt x="2" y="0"/>
                  </a:moveTo>
                  <a:cubicBezTo>
                    <a:pt x="1" y="2"/>
                    <a:pt x="1" y="4"/>
                    <a:pt x="0" y="5"/>
                  </a:cubicBezTo>
                  <a:cubicBezTo>
                    <a:pt x="1" y="4"/>
                    <a:pt x="1" y="2"/>
                    <a:pt x="2"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grpSp>
    </p:spTree>
    <p:extLst>
      <p:ext uri="{BB962C8B-B14F-4D97-AF65-F5344CB8AC3E}">
        <p14:creationId xmlns:p14="http://schemas.microsoft.com/office/powerpoint/2010/main" val="2836449605"/>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41116298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109" y="1151335"/>
            <a:ext cx="4041775" cy="479822"/>
          </a:xfrm>
        </p:spPr>
        <p:txBody>
          <a:bodyPr anchor="b"/>
          <a:lstStyle>
            <a:lvl1pPr marL="0" indent="0">
              <a:buNone/>
              <a:defRPr sz="2400" b="1"/>
            </a:lvl1pPr>
            <a:lvl2pPr marL="456269" indent="0">
              <a:buNone/>
              <a:defRPr sz="2000" b="1"/>
            </a:lvl2pPr>
            <a:lvl3pPr marL="912644" indent="0">
              <a:buNone/>
              <a:defRPr sz="1800" b="1"/>
            </a:lvl3pPr>
            <a:lvl4pPr marL="1368948" indent="0">
              <a:buNone/>
              <a:defRPr sz="1600" b="1"/>
            </a:lvl4pPr>
            <a:lvl5pPr marL="1825286" indent="0">
              <a:buNone/>
              <a:defRPr sz="1600" b="1"/>
            </a:lvl5pPr>
            <a:lvl6pPr marL="2281554" indent="0">
              <a:buNone/>
              <a:defRPr sz="1600" b="1"/>
            </a:lvl6pPr>
            <a:lvl7pPr marL="2737820" indent="0">
              <a:buNone/>
              <a:defRPr sz="1600" b="1"/>
            </a:lvl7pPr>
            <a:lvl8pPr marL="3194165" indent="0">
              <a:buNone/>
              <a:defRPr sz="1600" b="1"/>
            </a:lvl8pPr>
            <a:lvl9pPr marL="3650488"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10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Only bg">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grpSp>
        <p:nvGrpSpPr>
          <p:cNvPr id="11" name="Group 10"/>
          <p:cNvGrpSpPr>
            <a:grpSpLocks noChangeAspect="1"/>
          </p:cNvGrpSpPr>
          <p:nvPr userDrawn="1"/>
        </p:nvGrpSpPr>
        <p:grpSpPr>
          <a:xfrm>
            <a:off x="182880" y="1419279"/>
            <a:ext cx="8778240" cy="3072690"/>
            <a:chOff x="2719388" y="2247900"/>
            <a:chExt cx="6748462" cy="2362200"/>
          </a:xfrm>
          <a:solidFill>
            <a:schemeClr val="tx2">
              <a:lumMod val="85000"/>
            </a:schemeClr>
          </a:solidFill>
        </p:grpSpPr>
        <p:sp>
          <p:nvSpPr>
            <p:cNvPr id="12" name="Freeform 5"/>
            <p:cNvSpPr>
              <a:spLocks/>
            </p:cNvSpPr>
            <p:nvPr/>
          </p:nvSpPr>
          <p:spPr bwMode="auto">
            <a:xfrm>
              <a:off x="5416550" y="3241675"/>
              <a:ext cx="74613" cy="4763"/>
            </a:xfrm>
            <a:custGeom>
              <a:avLst/>
              <a:gdLst>
                <a:gd name="T0" fmla="*/ 20 w 20"/>
                <a:gd name="T1" fmla="*/ 0 h 1"/>
                <a:gd name="T2" fmla="*/ 0 w 20"/>
                <a:gd name="T3" fmla="*/ 1 h 1"/>
                <a:gd name="T4" fmla="*/ 20 w 20"/>
                <a:gd name="T5" fmla="*/ 0 h 1"/>
              </a:gdLst>
              <a:ahLst/>
              <a:cxnLst>
                <a:cxn ang="0">
                  <a:pos x="T0" y="T1"/>
                </a:cxn>
                <a:cxn ang="0">
                  <a:pos x="T2" y="T3"/>
                </a:cxn>
                <a:cxn ang="0">
                  <a:pos x="T4" y="T5"/>
                </a:cxn>
              </a:cxnLst>
              <a:rect l="0" t="0" r="r" b="b"/>
              <a:pathLst>
                <a:path w="20" h="1">
                  <a:moveTo>
                    <a:pt x="20" y="0"/>
                  </a:moveTo>
                  <a:cubicBezTo>
                    <a:pt x="14" y="0"/>
                    <a:pt x="6" y="0"/>
                    <a:pt x="0" y="1"/>
                  </a:cubicBezTo>
                  <a:cubicBezTo>
                    <a:pt x="6" y="1"/>
                    <a:pt x="14" y="0"/>
                    <a:pt x="2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 name="Freeform 6"/>
            <p:cNvSpPr>
              <a:spLocks/>
            </p:cNvSpPr>
            <p:nvPr/>
          </p:nvSpPr>
          <p:spPr bwMode="auto">
            <a:xfrm>
              <a:off x="5311775" y="3389313"/>
              <a:ext cx="44450" cy="46038"/>
            </a:xfrm>
            <a:custGeom>
              <a:avLst/>
              <a:gdLst>
                <a:gd name="T0" fmla="*/ 0 w 12"/>
                <a:gd name="T1" fmla="*/ 0 h 12"/>
                <a:gd name="T2" fmla="*/ 12 w 12"/>
                <a:gd name="T3" fmla="*/ 12 h 12"/>
                <a:gd name="T4" fmla="*/ 0 w 12"/>
                <a:gd name="T5" fmla="*/ 0 h 12"/>
              </a:gdLst>
              <a:ahLst/>
              <a:cxnLst>
                <a:cxn ang="0">
                  <a:pos x="T0" y="T1"/>
                </a:cxn>
                <a:cxn ang="0">
                  <a:pos x="T2" y="T3"/>
                </a:cxn>
                <a:cxn ang="0">
                  <a:pos x="T4" y="T5"/>
                </a:cxn>
              </a:cxnLst>
              <a:rect l="0" t="0" r="r" b="b"/>
              <a:pathLst>
                <a:path w="12" h="12">
                  <a:moveTo>
                    <a:pt x="0" y="0"/>
                  </a:moveTo>
                  <a:cubicBezTo>
                    <a:pt x="4" y="4"/>
                    <a:pt x="8" y="8"/>
                    <a:pt x="12" y="12"/>
                  </a:cubicBezTo>
                  <a:cubicBezTo>
                    <a:pt x="8" y="8"/>
                    <a:pt x="4"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 name="Oval 7"/>
            <p:cNvSpPr>
              <a:spLocks noChangeArrowheads="1"/>
            </p:cNvSpPr>
            <p:nvPr/>
          </p:nvSpPr>
          <p:spPr bwMode="auto">
            <a:xfrm>
              <a:off x="4608513" y="3027363"/>
              <a:ext cx="117475" cy="112713"/>
            </a:xfrm>
            <a:prstGeom prst="ellipse">
              <a:avLst/>
            </a:pr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 name="Freeform 8"/>
            <p:cNvSpPr>
              <a:spLocks noEditPoints="1"/>
            </p:cNvSpPr>
            <p:nvPr/>
          </p:nvSpPr>
          <p:spPr bwMode="auto">
            <a:xfrm>
              <a:off x="7437438" y="3773488"/>
              <a:ext cx="720725" cy="381000"/>
            </a:xfrm>
            <a:custGeom>
              <a:avLst/>
              <a:gdLst>
                <a:gd name="T0" fmla="*/ 78 w 192"/>
                <a:gd name="T1" fmla="*/ 24 h 101"/>
                <a:gd name="T2" fmla="*/ 80 w 192"/>
                <a:gd name="T3" fmla="*/ 24 h 101"/>
                <a:gd name="T4" fmla="*/ 86 w 192"/>
                <a:gd name="T5" fmla="*/ 32 h 101"/>
                <a:gd name="T6" fmla="*/ 65 w 192"/>
                <a:gd name="T7" fmla="*/ 74 h 101"/>
                <a:gd name="T8" fmla="*/ 65 w 192"/>
                <a:gd name="T9" fmla="*/ 74 h 101"/>
                <a:gd name="T10" fmla="*/ 54 w 192"/>
                <a:gd name="T11" fmla="*/ 75 h 101"/>
                <a:gd name="T12" fmla="*/ 52 w 192"/>
                <a:gd name="T13" fmla="*/ 77 h 101"/>
                <a:gd name="T14" fmla="*/ 14 w 192"/>
                <a:gd name="T15" fmla="*/ 43 h 101"/>
                <a:gd name="T16" fmla="*/ 15 w 192"/>
                <a:gd name="T17" fmla="*/ 39 h 101"/>
                <a:gd name="T18" fmla="*/ 96 w 192"/>
                <a:gd name="T19" fmla="*/ 0 h 101"/>
                <a:gd name="T20" fmla="*/ 78 w 192"/>
                <a:gd name="T21" fmla="*/ 19 h 101"/>
                <a:gd name="T22" fmla="*/ 15 w 192"/>
                <a:gd name="T23" fmla="*/ 37 h 101"/>
                <a:gd name="T24" fmla="*/ 15 w 192"/>
                <a:gd name="T25" fmla="*/ 37 h 101"/>
                <a:gd name="T26" fmla="*/ 10 w 192"/>
                <a:gd name="T27" fmla="*/ 33 h 101"/>
                <a:gd name="T28" fmla="*/ 13 w 192"/>
                <a:gd name="T29" fmla="*/ 9 h 101"/>
                <a:gd name="T30" fmla="*/ 8 w 192"/>
                <a:gd name="T31" fmla="*/ 33 h 101"/>
                <a:gd name="T32" fmla="*/ 2 w 192"/>
                <a:gd name="T33" fmla="*/ 42 h 101"/>
                <a:gd name="T34" fmla="*/ 11 w 192"/>
                <a:gd name="T35" fmla="*/ 45 h 101"/>
                <a:gd name="T36" fmla="*/ 12 w 192"/>
                <a:gd name="T37" fmla="*/ 45 h 101"/>
                <a:gd name="T38" fmla="*/ 49 w 192"/>
                <a:gd name="T39" fmla="*/ 79 h 101"/>
                <a:gd name="T40" fmla="*/ 48 w 192"/>
                <a:gd name="T41" fmla="*/ 93 h 101"/>
                <a:gd name="T42" fmla="*/ 66 w 192"/>
                <a:gd name="T43" fmla="*/ 99 h 101"/>
                <a:gd name="T44" fmla="*/ 69 w 192"/>
                <a:gd name="T45" fmla="*/ 76 h 101"/>
                <a:gd name="T46" fmla="*/ 91 w 192"/>
                <a:gd name="T47" fmla="*/ 34 h 101"/>
                <a:gd name="T48" fmla="*/ 91 w 192"/>
                <a:gd name="T49" fmla="*/ 34 h 101"/>
                <a:gd name="T50" fmla="*/ 104 w 192"/>
                <a:gd name="T51" fmla="*/ 33 h 101"/>
                <a:gd name="T52" fmla="*/ 109 w 192"/>
                <a:gd name="T53" fmla="*/ 30 h 101"/>
                <a:gd name="T54" fmla="*/ 178 w 192"/>
                <a:gd name="T55" fmla="*/ 78 h 101"/>
                <a:gd name="T56" fmla="*/ 178 w 192"/>
                <a:gd name="T57" fmla="*/ 83 h 101"/>
                <a:gd name="T58" fmla="*/ 187 w 192"/>
                <a:gd name="T59" fmla="*/ 87 h 101"/>
                <a:gd name="T60" fmla="*/ 184 w 192"/>
                <a:gd name="T61" fmla="*/ 74 h 101"/>
                <a:gd name="T62" fmla="*/ 179 w 192"/>
                <a:gd name="T63" fmla="*/ 76 h 101"/>
                <a:gd name="T64" fmla="*/ 179 w 192"/>
                <a:gd name="T65" fmla="*/ 76 h 101"/>
                <a:gd name="T66" fmla="*/ 112 w 192"/>
                <a:gd name="T67" fmla="*/ 26 h 101"/>
                <a:gd name="T68" fmla="*/ 96 w 192"/>
                <a:gd name="T6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01">
                  <a:moveTo>
                    <a:pt x="15" y="39"/>
                  </a:moveTo>
                  <a:cubicBezTo>
                    <a:pt x="15" y="38"/>
                    <a:pt x="68" y="24"/>
                    <a:pt x="78" y="24"/>
                  </a:cubicBezTo>
                  <a:cubicBezTo>
                    <a:pt x="79" y="24"/>
                    <a:pt x="80" y="24"/>
                    <a:pt x="80" y="24"/>
                  </a:cubicBezTo>
                  <a:cubicBezTo>
                    <a:pt x="80" y="24"/>
                    <a:pt x="80" y="24"/>
                    <a:pt x="80" y="24"/>
                  </a:cubicBezTo>
                  <a:cubicBezTo>
                    <a:pt x="80" y="25"/>
                    <a:pt x="80" y="25"/>
                    <a:pt x="80" y="25"/>
                  </a:cubicBezTo>
                  <a:cubicBezTo>
                    <a:pt x="81" y="28"/>
                    <a:pt x="84" y="30"/>
                    <a:pt x="86" y="32"/>
                  </a:cubicBezTo>
                  <a:cubicBezTo>
                    <a:pt x="86" y="31"/>
                    <a:pt x="86" y="31"/>
                    <a:pt x="86" y="31"/>
                  </a:cubicBezTo>
                  <a:cubicBezTo>
                    <a:pt x="89" y="33"/>
                    <a:pt x="68" y="74"/>
                    <a:pt x="65" y="74"/>
                  </a:cubicBezTo>
                  <a:cubicBezTo>
                    <a:pt x="65" y="74"/>
                    <a:pt x="65" y="74"/>
                    <a:pt x="65" y="74"/>
                  </a:cubicBezTo>
                  <a:cubicBezTo>
                    <a:pt x="65" y="74"/>
                    <a:pt x="65" y="74"/>
                    <a:pt x="65" y="74"/>
                  </a:cubicBezTo>
                  <a:cubicBezTo>
                    <a:pt x="63" y="74"/>
                    <a:pt x="62" y="74"/>
                    <a:pt x="60" y="74"/>
                  </a:cubicBezTo>
                  <a:cubicBezTo>
                    <a:pt x="58" y="74"/>
                    <a:pt x="56" y="74"/>
                    <a:pt x="54" y="75"/>
                  </a:cubicBezTo>
                  <a:cubicBezTo>
                    <a:pt x="53" y="76"/>
                    <a:pt x="53" y="76"/>
                    <a:pt x="52" y="77"/>
                  </a:cubicBezTo>
                  <a:cubicBezTo>
                    <a:pt x="52" y="77"/>
                    <a:pt x="52" y="77"/>
                    <a:pt x="52" y="77"/>
                  </a:cubicBezTo>
                  <a:cubicBezTo>
                    <a:pt x="52" y="77"/>
                    <a:pt x="52" y="77"/>
                    <a:pt x="52" y="77"/>
                  </a:cubicBezTo>
                  <a:cubicBezTo>
                    <a:pt x="48" y="77"/>
                    <a:pt x="13" y="44"/>
                    <a:pt x="14" y="43"/>
                  </a:cubicBezTo>
                  <a:cubicBezTo>
                    <a:pt x="14" y="43"/>
                    <a:pt x="14" y="43"/>
                    <a:pt x="14" y="43"/>
                  </a:cubicBezTo>
                  <a:cubicBezTo>
                    <a:pt x="15" y="42"/>
                    <a:pt x="15" y="40"/>
                    <a:pt x="15" y="39"/>
                  </a:cubicBezTo>
                  <a:cubicBezTo>
                    <a:pt x="15" y="39"/>
                    <a:pt x="15" y="39"/>
                    <a:pt x="15" y="39"/>
                  </a:cubicBezTo>
                  <a:moveTo>
                    <a:pt x="96" y="0"/>
                  </a:moveTo>
                  <a:cubicBezTo>
                    <a:pt x="94" y="0"/>
                    <a:pt x="91" y="1"/>
                    <a:pt x="89" y="2"/>
                  </a:cubicBezTo>
                  <a:cubicBezTo>
                    <a:pt x="81" y="5"/>
                    <a:pt x="78" y="12"/>
                    <a:pt x="78" y="19"/>
                  </a:cubicBezTo>
                  <a:cubicBezTo>
                    <a:pt x="78" y="19"/>
                    <a:pt x="78" y="19"/>
                    <a:pt x="78" y="19"/>
                  </a:cubicBezTo>
                  <a:cubicBezTo>
                    <a:pt x="79" y="23"/>
                    <a:pt x="20" y="37"/>
                    <a:pt x="15" y="37"/>
                  </a:cubicBezTo>
                  <a:cubicBezTo>
                    <a:pt x="15" y="37"/>
                    <a:pt x="15" y="37"/>
                    <a:pt x="15" y="37"/>
                  </a:cubicBezTo>
                  <a:cubicBezTo>
                    <a:pt x="15" y="37"/>
                    <a:pt x="15" y="37"/>
                    <a:pt x="15" y="37"/>
                  </a:cubicBezTo>
                  <a:cubicBezTo>
                    <a:pt x="14" y="37"/>
                    <a:pt x="14" y="37"/>
                    <a:pt x="14" y="37"/>
                  </a:cubicBezTo>
                  <a:cubicBezTo>
                    <a:pt x="14" y="35"/>
                    <a:pt x="12" y="34"/>
                    <a:pt x="10" y="33"/>
                  </a:cubicBezTo>
                  <a:cubicBezTo>
                    <a:pt x="10" y="33"/>
                    <a:pt x="10" y="33"/>
                    <a:pt x="10" y="33"/>
                  </a:cubicBezTo>
                  <a:cubicBezTo>
                    <a:pt x="10" y="33"/>
                    <a:pt x="11" y="22"/>
                    <a:pt x="13" y="9"/>
                  </a:cubicBezTo>
                  <a:cubicBezTo>
                    <a:pt x="11" y="22"/>
                    <a:pt x="9" y="33"/>
                    <a:pt x="8" y="33"/>
                  </a:cubicBezTo>
                  <a:cubicBezTo>
                    <a:pt x="8" y="33"/>
                    <a:pt x="8" y="33"/>
                    <a:pt x="8" y="33"/>
                  </a:cubicBezTo>
                  <a:cubicBezTo>
                    <a:pt x="7" y="33"/>
                    <a:pt x="6" y="33"/>
                    <a:pt x="5" y="34"/>
                  </a:cubicBezTo>
                  <a:cubicBezTo>
                    <a:pt x="2" y="35"/>
                    <a:pt x="0" y="39"/>
                    <a:pt x="2" y="42"/>
                  </a:cubicBezTo>
                  <a:cubicBezTo>
                    <a:pt x="3" y="45"/>
                    <a:pt x="6" y="46"/>
                    <a:pt x="8" y="46"/>
                  </a:cubicBezTo>
                  <a:cubicBezTo>
                    <a:pt x="9" y="46"/>
                    <a:pt x="10" y="46"/>
                    <a:pt x="11" y="45"/>
                  </a:cubicBezTo>
                  <a:cubicBezTo>
                    <a:pt x="12" y="45"/>
                    <a:pt x="12" y="45"/>
                    <a:pt x="12" y="45"/>
                  </a:cubicBezTo>
                  <a:cubicBezTo>
                    <a:pt x="12" y="45"/>
                    <a:pt x="12" y="45"/>
                    <a:pt x="12" y="45"/>
                  </a:cubicBezTo>
                  <a:cubicBezTo>
                    <a:pt x="12" y="45"/>
                    <a:pt x="12" y="45"/>
                    <a:pt x="12" y="45"/>
                  </a:cubicBezTo>
                  <a:cubicBezTo>
                    <a:pt x="14" y="45"/>
                    <a:pt x="51" y="77"/>
                    <a:pt x="49" y="79"/>
                  </a:cubicBezTo>
                  <a:cubicBezTo>
                    <a:pt x="49" y="79"/>
                    <a:pt x="49" y="79"/>
                    <a:pt x="49" y="79"/>
                  </a:cubicBezTo>
                  <a:cubicBezTo>
                    <a:pt x="46" y="83"/>
                    <a:pt x="46" y="88"/>
                    <a:pt x="48" y="93"/>
                  </a:cubicBezTo>
                  <a:cubicBezTo>
                    <a:pt x="50" y="98"/>
                    <a:pt x="55" y="101"/>
                    <a:pt x="60" y="101"/>
                  </a:cubicBezTo>
                  <a:cubicBezTo>
                    <a:pt x="62" y="101"/>
                    <a:pt x="65" y="100"/>
                    <a:pt x="66" y="99"/>
                  </a:cubicBezTo>
                  <a:cubicBezTo>
                    <a:pt x="73" y="96"/>
                    <a:pt x="76" y="88"/>
                    <a:pt x="73" y="81"/>
                  </a:cubicBezTo>
                  <a:cubicBezTo>
                    <a:pt x="72" y="79"/>
                    <a:pt x="70" y="78"/>
                    <a:pt x="69" y="76"/>
                  </a:cubicBezTo>
                  <a:cubicBezTo>
                    <a:pt x="69" y="76"/>
                    <a:pt x="69" y="76"/>
                    <a:pt x="69" y="76"/>
                  </a:cubicBezTo>
                  <a:cubicBezTo>
                    <a:pt x="66" y="75"/>
                    <a:pt x="87" y="34"/>
                    <a:pt x="91" y="34"/>
                  </a:cubicBezTo>
                  <a:cubicBezTo>
                    <a:pt x="91" y="34"/>
                    <a:pt x="91" y="34"/>
                    <a:pt x="91" y="34"/>
                  </a:cubicBezTo>
                  <a:cubicBezTo>
                    <a:pt x="91" y="34"/>
                    <a:pt x="91" y="34"/>
                    <a:pt x="91" y="34"/>
                  </a:cubicBezTo>
                  <a:cubicBezTo>
                    <a:pt x="92" y="34"/>
                    <a:pt x="94" y="35"/>
                    <a:pt x="96" y="35"/>
                  </a:cubicBezTo>
                  <a:cubicBezTo>
                    <a:pt x="99" y="35"/>
                    <a:pt x="101" y="34"/>
                    <a:pt x="104" y="33"/>
                  </a:cubicBezTo>
                  <a:cubicBezTo>
                    <a:pt x="106" y="32"/>
                    <a:pt x="107" y="31"/>
                    <a:pt x="109" y="29"/>
                  </a:cubicBezTo>
                  <a:cubicBezTo>
                    <a:pt x="109" y="30"/>
                    <a:pt x="109" y="30"/>
                    <a:pt x="109" y="30"/>
                  </a:cubicBezTo>
                  <a:cubicBezTo>
                    <a:pt x="109" y="30"/>
                    <a:pt x="109" y="29"/>
                    <a:pt x="109" y="29"/>
                  </a:cubicBezTo>
                  <a:cubicBezTo>
                    <a:pt x="115" y="29"/>
                    <a:pt x="179" y="76"/>
                    <a:pt x="178" y="78"/>
                  </a:cubicBezTo>
                  <a:cubicBezTo>
                    <a:pt x="178" y="78"/>
                    <a:pt x="178" y="78"/>
                    <a:pt x="178" y="78"/>
                  </a:cubicBezTo>
                  <a:cubicBezTo>
                    <a:pt x="177" y="79"/>
                    <a:pt x="177" y="82"/>
                    <a:pt x="178" y="83"/>
                  </a:cubicBezTo>
                  <a:cubicBezTo>
                    <a:pt x="179" y="86"/>
                    <a:pt x="182" y="87"/>
                    <a:pt x="184" y="87"/>
                  </a:cubicBezTo>
                  <a:cubicBezTo>
                    <a:pt x="185" y="87"/>
                    <a:pt x="186" y="87"/>
                    <a:pt x="187" y="87"/>
                  </a:cubicBezTo>
                  <a:cubicBezTo>
                    <a:pt x="191" y="85"/>
                    <a:pt x="192" y="81"/>
                    <a:pt x="190" y="78"/>
                  </a:cubicBezTo>
                  <a:cubicBezTo>
                    <a:pt x="189" y="75"/>
                    <a:pt x="187" y="74"/>
                    <a:pt x="184" y="74"/>
                  </a:cubicBezTo>
                  <a:cubicBezTo>
                    <a:pt x="183" y="74"/>
                    <a:pt x="182" y="74"/>
                    <a:pt x="181" y="75"/>
                  </a:cubicBezTo>
                  <a:cubicBezTo>
                    <a:pt x="181" y="75"/>
                    <a:pt x="180" y="75"/>
                    <a:pt x="179" y="76"/>
                  </a:cubicBezTo>
                  <a:cubicBezTo>
                    <a:pt x="179" y="76"/>
                    <a:pt x="179" y="76"/>
                    <a:pt x="179" y="76"/>
                  </a:cubicBezTo>
                  <a:cubicBezTo>
                    <a:pt x="179" y="76"/>
                    <a:pt x="179" y="76"/>
                    <a:pt x="179" y="76"/>
                  </a:cubicBezTo>
                  <a:cubicBezTo>
                    <a:pt x="177" y="76"/>
                    <a:pt x="110" y="29"/>
                    <a:pt x="112" y="26"/>
                  </a:cubicBezTo>
                  <a:cubicBezTo>
                    <a:pt x="112" y="26"/>
                    <a:pt x="112" y="26"/>
                    <a:pt x="112" y="26"/>
                  </a:cubicBezTo>
                  <a:cubicBezTo>
                    <a:pt x="115" y="21"/>
                    <a:pt x="115" y="15"/>
                    <a:pt x="112" y="10"/>
                  </a:cubicBezTo>
                  <a:cubicBezTo>
                    <a:pt x="109" y="4"/>
                    <a:pt x="103" y="0"/>
                    <a:pt x="96"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 name="Freeform 9"/>
            <p:cNvSpPr>
              <a:spLocks noEditPoints="1"/>
            </p:cNvSpPr>
            <p:nvPr/>
          </p:nvSpPr>
          <p:spPr bwMode="auto">
            <a:xfrm>
              <a:off x="6915150" y="2703513"/>
              <a:ext cx="2552700" cy="1103313"/>
            </a:xfrm>
            <a:custGeom>
              <a:avLst/>
              <a:gdLst>
                <a:gd name="T0" fmla="*/ 305 w 680"/>
                <a:gd name="T1" fmla="*/ 180 h 293"/>
                <a:gd name="T2" fmla="*/ 476 w 680"/>
                <a:gd name="T3" fmla="*/ 198 h 293"/>
                <a:gd name="T4" fmla="*/ 671 w 680"/>
                <a:gd name="T5" fmla="*/ 164 h 293"/>
                <a:gd name="T6" fmla="*/ 639 w 680"/>
                <a:gd name="T7" fmla="*/ 163 h 293"/>
                <a:gd name="T8" fmla="*/ 176 w 680"/>
                <a:gd name="T9" fmla="*/ 124 h 293"/>
                <a:gd name="T10" fmla="*/ 137 w 680"/>
                <a:gd name="T11" fmla="*/ 142 h 293"/>
                <a:gd name="T12" fmla="*/ 210 w 680"/>
                <a:gd name="T13" fmla="*/ 112 h 293"/>
                <a:gd name="T14" fmla="*/ 209 w 680"/>
                <a:gd name="T15" fmla="*/ 112 h 293"/>
                <a:gd name="T16" fmla="*/ 302 w 680"/>
                <a:gd name="T17" fmla="*/ 177 h 293"/>
                <a:gd name="T18" fmla="*/ 501 w 680"/>
                <a:gd name="T19" fmla="*/ 103 h 293"/>
                <a:gd name="T20" fmla="*/ 447 w 680"/>
                <a:gd name="T21" fmla="*/ 82 h 293"/>
                <a:gd name="T22" fmla="*/ 431 w 680"/>
                <a:gd name="T23" fmla="*/ 75 h 293"/>
                <a:gd name="T24" fmla="*/ 272 w 680"/>
                <a:gd name="T25" fmla="*/ 100 h 293"/>
                <a:gd name="T26" fmla="*/ 176 w 680"/>
                <a:gd name="T27" fmla="*/ 124 h 293"/>
                <a:gd name="T28" fmla="*/ 165 w 680"/>
                <a:gd name="T29" fmla="*/ 74 h 293"/>
                <a:gd name="T30" fmla="*/ 209 w 680"/>
                <a:gd name="T31" fmla="*/ 110 h 293"/>
                <a:gd name="T32" fmla="*/ 1 w 680"/>
                <a:gd name="T33" fmla="*/ 9 h 293"/>
                <a:gd name="T34" fmla="*/ 112 w 680"/>
                <a:gd name="T35" fmla="*/ 136 h 293"/>
                <a:gd name="T36" fmla="*/ 172 w 680"/>
                <a:gd name="T37" fmla="*/ 142 h 293"/>
                <a:gd name="T38" fmla="*/ 187 w 680"/>
                <a:gd name="T39" fmla="*/ 142 h 293"/>
                <a:gd name="T40" fmla="*/ 251 w 680"/>
                <a:gd name="T41" fmla="*/ 143 h 293"/>
                <a:gd name="T42" fmla="*/ 266 w 680"/>
                <a:gd name="T43" fmla="*/ 103 h 293"/>
                <a:gd name="T44" fmla="*/ 298 w 680"/>
                <a:gd name="T45" fmla="*/ 202 h 293"/>
                <a:gd name="T46" fmla="*/ 361 w 680"/>
                <a:gd name="T47" fmla="*/ 264 h 293"/>
                <a:gd name="T48" fmla="*/ 313 w 680"/>
                <a:gd name="T49" fmla="*/ 172 h 293"/>
                <a:gd name="T50" fmla="*/ 443 w 680"/>
                <a:gd name="T51" fmla="*/ 83 h 293"/>
                <a:gd name="T52" fmla="*/ 364 w 680"/>
                <a:gd name="T53" fmla="*/ 184 h 293"/>
                <a:gd name="T54" fmla="*/ 399 w 680"/>
                <a:gd name="T55" fmla="*/ 155 h 293"/>
                <a:gd name="T56" fmla="*/ 358 w 680"/>
                <a:gd name="T57" fmla="*/ 180 h 293"/>
                <a:gd name="T58" fmla="*/ 430 w 680"/>
                <a:gd name="T59" fmla="*/ 184 h 293"/>
                <a:gd name="T60" fmla="*/ 436 w 680"/>
                <a:gd name="T61" fmla="*/ 180 h 293"/>
                <a:gd name="T62" fmla="*/ 469 w 680"/>
                <a:gd name="T63" fmla="*/ 199 h 293"/>
                <a:gd name="T64" fmla="*/ 518 w 680"/>
                <a:gd name="T65" fmla="*/ 271 h 293"/>
                <a:gd name="T66" fmla="*/ 522 w 680"/>
                <a:gd name="T67" fmla="*/ 268 h 293"/>
                <a:gd name="T68" fmla="*/ 480 w 680"/>
                <a:gd name="T69" fmla="*/ 199 h 293"/>
                <a:gd name="T70" fmla="*/ 548 w 680"/>
                <a:gd name="T71" fmla="*/ 166 h 293"/>
                <a:gd name="T72" fmla="*/ 585 w 680"/>
                <a:gd name="T73" fmla="*/ 189 h 293"/>
                <a:gd name="T74" fmla="*/ 586 w 680"/>
                <a:gd name="T75" fmla="*/ 184 h 293"/>
                <a:gd name="T76" fmla="*/ 586 w 680"/>
                <a:gd name="T77" fmla="*/ 135 h 293"/>
                <a:gd name="T78" fmla="*/ 593 w 680"/>
                <a:gd name="T79" fmla="*/ 135 h 293"/>
                <a:gd name="T80" fmla="*/ 639 w 680"/>
                <a:gd name="T81" fmla="*/ 165 h 293"/>
                <a:gd name="T82" fmla="*/ 593 w 680"/>
                <a:gd name="T83" fmla="*/ 258 h 293"/>
                <a:gd name="T84" fmla="*/ 592 w 680"/>
                <a:gd name="T85" fmla="*/ 270 h 293"/>
                <a:gd name="T86" fmla="*/ 675 w 680"/>
                <a:gd name="T87" fmla="*/ 169 h 293"/>
                <a:gd name="T88" fmla="*/ 671 w 680"/>
                <a:gd name="T89" fmla="*/ 163 h 293"/>
                <a:gd name="T90" fmla="*/ 585 w 680"/>
                <a:gd name="T91" fmla="*/ 134 h 293"/>
                <a:gd name="T92" fmla="*/ 541 w 680"/>
                <a:gd name="T93" fmla="*/ 159 h 293"/>
                <a:gd name="T94" fmla="*/ 519 w 680"/>
                <a:gd name="T95" fmla="*/ 102 h 293"/>
                <a:gd name="T96" fmla="*/ 454 w 680"/>
                <a:gd name="T97" fmla="*/ 75 h 293"/>
                <a:gd name="T98" fmla="*/ 277 w 680"/>
                <a:gd name="T99" fmla="*/ 88 h 293"/>
                <a:gd name="T100" fmla="*/ 260 w 680"/>
                <a:gd name="T101" fmla="*/ 102 h 293"/>
                <a:gd name="T102" fmla="*/ 245 w 680"/>
                <a:gd name="T103" fmla="*/ 146 h 293"/>
                <a:gd name="T104" fmla="*/ 211 w 680"/>
                <a:gd name="T105" fmla="*/ 113 h 293"/>
                <a:gd name="T106" fmla="*/ 211 w 680"/>
                <a:gd name="T107" fmla="*/ 105 h 293"/>
                <a:gd name="T108" fmla="*/ 168 w 680"/>
                <a:gd name="T109" fmla="*/ 55 h 293"/>
                <a:gd name="T110" fmla="*/ 122 w 680"/>
                <a:gd name="T111" fmla="*/ 132 h 293"/>
                <a:gd name="T112" fmla="*/ 115 w 680"/>
                <a:gd name="T113" fmla="*/ 133 h 293"/>
                <a:gd name="T114" fmla="*/ 98 w 680"/>
                <a:gd name="T115" fmla="*/ 90 h 293"/>
                <a:gd name="T116" fmla="*/ 102 w 680"/>
                <a:gd name="T117" fmla="*/ 84 h 293"/>
                <a:gd name="T118" fmla="*/ 13 w 680"/>
                <a:gd name="T119" fmla="*/ 1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0" h="293">
                  <a:moveTo>
                    <a:pt x="305" y="180"/>
                  </a:moveTo>
                  <a:cubicBezTo>
                    <a:pt x="304" y="180"/>
                    <a:pt x="307" y="177"/>
                    <a:pt x="313" y="173"/>
                  </a:cubicBezTo>
                  <a:cubicBezTo>
                    <a:pt x="333" y="207"/>
                    <a:pt x="354" y="243"/>
                    <a:pt x="355" y="247"/>
                  </a:cubicBezTo>
                  <a:cubicBezTo>
                    <a:pt x="350" y="244"/>
                    <a:pt x="302" y="199"/>
                    <a:pt x="304" y="197"/>
                  </a:cubicBezTo>
                  <a:cubicBezTo>
                    <a:pt x="304" y="197"/>
                    <a:pt x="304" y="197"/>
                    <a:pt x="304" y="197"/>
                  </a:cubicBezTo>
                  <a:cubicBezTo>
                    <a:pt x="307" y="193"/>
                    <a:pt x="308" y="187"/>
                    <a:pt x="305" y="182"/>
                  </a:cubicBezTo>
                  <a:cubicBezTo>
                    <a:pt x="305" y="181"/>
                    <a:pt x="305" y="181"/>
                    <a:pt x="305" y="180"/>
                  </a:cubicBezTo>
                  <a:cubicBezTo>
                    <a:pt x="305" y="180"/>
                    <a:pt x="305" y="180"/>
                    <a:pt x="305" y="180"/>
                  </a:cubicBezTo>
                  <a:moveTo>
                    <a:pt x="473" y="198"/>
                  </a:moveTo>
                  <a:cubicBezTo>
                    <a:pt x="472" y="198"/>
                    <a:pt x="469" y="187"/>
                    <a:pt x="465" y="171"/>
                  </a:cubicBezTo>
                  <a:cubicBezTo>
                    <a:pt x="473" y="170"/>
                    <a:pt x="481" y="169"/>
                    <a:pt x="489" y="168"/>
                  </a:cubicBezTo>
                  <a:cubicBezTo>
                    <a:pt x="483" y="184"/>
                    <a:pt x="477" y="198"/>
                    <a:pt x="476" y="198"/>
                  </a:cubicBezTo>
                  <a:cubicBezTo>
                    <a:pt x="476" y="198"/>
                    <a:pt x="476" y="198"/>
                    <a:pt x="476" y="198"/>
                  </a:cubicBezTo>
                  <a:cubicBezTo>
                    <a:pt x="476" y="198"/>
                    <a:pt x="476" y="198"/>
                    <a:pt x="476" y="198"/>
                  </a:cubicBezTo>
                  <a:cubicBezTo>
                    <a:pt x="475" y="198"/>
                    <a:pt x="475" y="198"/>
                    <a:pt x="474" y="198"/>
                  </a:cubicBezTo>
                  <a:cubicBezTo>
                    <a:pt x="473" y="198"/>
                    <a:pt x="473" y="198"/>
                    <a:pt x="473" y="198"/>
                  </a:cubicBezTo>
                  <a:cubicBezTo>
                    <a:pt x="473" y="198"/>
                    <a:pt x="473" y="198"/>
                    <a:pt x="473" y="198"/>
                  </a:cubicBezTo>
                  <a:cubicBezTo>
                    <a:pt x="473" y="198"/>
                    <a:pt x="473" y="198"/>
                    <a:pt x="473" y="198"/>
                  </a:cubicBezTo>
                  <a:moveTo>
                    <a:pt x="632" y="162"/>
                  </a:moveTo>
                  <a:cubicBezTo>
                    <a:pt x="631" y="162"/>
                    <a:pt x="596" y="137"/>
                    <a:pt x="594" y="134"/>
                  </a:cubicBezTo>
                  <a:cubicBezTo>
                    <a:pt x="598" y="135"/>
                    <a:pt x="671" y="163"/>
                    <a:pt x="671" y="164"/>
                  </a:cubicBezTo>
                  <a:cubicBezTo>
                    <a:pt x="671" y="164"/>
                    <a:pt x="671" y="164"/>
                    <a:pt x="671" y="164"/>
                  </a:cubicBezTo>
                  <a:cubicBezTo>
                    <a:pt x="671" y="164"/>
                    <a:pt x="671" y="164"/>
                    <a:pt x="671" y="164"/>
                  </a:cubicBezTo>
                  <a:cubicBezTo>
                    <a:pt x="671" y="164"/>
                    <a:pt x="671" y="164"/>
                    <a:pt x="671" y="164"/>
                  </a:cubicBezTo>
                  <a:cubicBezTo>
                    <a:pt x="671" y="164"/>
                    <a:pt x="663" y="165"/>
                    <a:pt x="655" y="165"/>
                  </a:cubicBezTo>
                  <a:cubicBezTo>
                    <a:pt x="647" y="165"/>
                    <a:pt x="639" y="164"/>
                    <a:pt x="639" y="164"/>
                  </a:cubicBezTo>
                  <a:cubicBezTo>
                    <a:pt x="639" y="164"/>
                    <a:pt x="639" y="164"/>
                    <a:pt x="639" y="164"/>
                  </a:cubicBezTo>
                  <a:cubicBezTo>
                    <a:pt x="639" y="164"/>
                    <a:pt x="639" y="163"/>
                    <a:pt x="639" y="163"/>
                  </a:cubicBezTo>
                  <a:cubicBezTo>
                    <a:pt x="638" y="162"/>
                    <a:pt x="636" y="161"/>
                    <a:pt x="635" y="161"/>
                  </a:cubicBezTo>
                  <a:cubicBezTo>
                    <a:pt x="634" y="161"/>
                    <a:pt x="634" y="161"/>
                    <a:pt x="633" y="161"/>
                  </a:cubicBezTo>
                  <a:cubicBezTo>
                    <a:pt x="633" y="161"/>
                    <a:pt x="632" y="162"/>
                    <a:pt x="632" y="162"/>
                  </a:cubicBezTo>
                  <a:cubicBezTo>
                    <a:pt x="632" y="162"/>
                    <a:pt x="632" y="162"/>
                    <a:pt x="632" y="162"/>
                  </a:cubicBezTo>
                  <a:cubicBezTo>
                    <a:pt x="632" y="162"/>
                    <a:pt x="632" y="162"/>
                    <a:pt x="632" y="162"/>
                  </a:cubicBezTo>
                  <a:moveTo>
                    <a:pt x="137" y="142"/>
                  </a:moveTo>
                  <a:cubicBezTo>
                    <a:pt x="136" y="141"/>
                    <a:pt x="157" y="132"/>
                    <a:pt x="176" y="124"/>
                  </a:cubicBezTo>
                  <a:cubicBezTo>
                    <a:pt x="176" y="130"/>
                    <a:pt x="177" y="134"/>
                    <a:pt x="176" y="134"/>
                  </a:cubicBezTo>
                  <a:cubicBezTo>
                    <a:pt x="176" y="134"/>
                    <a:pt x="176" y="134"/>
                    <a:pt x="176" y="134"/>
                  </a:cubicBezTo>
                  <a:cubicBezTo>
                    <a:pt x="175" y="134"/>
                    <a:pt x="175" y="134"/>
                    <a:pt x="175" y="134"/>
                  </a:cubicBezTo>
                  <a:cubicBezTo>
                    <a:pt x="173" y="136"/>
                    <a:pt x="172" y="138"/>
                    <a:pt x="171" y="140"/>
                  </a:cubicBezTo>
                  <a:cubicBezTo>
                    <a:pt x="171" y="140"/>
                    <a:pt x="171" y="140"/>
                    <a:pt x="171" y="140"/>
                  </a:cubicBezTo>
                  <a:cubicBezTo>
                    <a:pt x="171" y="141"/>
                    <a:pt x="152" y="143"/>
                    <a:pt x="143" y="143"/>
                  </a:cubicBezTo>
                  <a:cubicBezTo>
                    <a:pt x="139" y="143"/>
                    <a:pt x="137" y="143"/>
                    <a:pt x="137" y="142"/>
                  </a:cubicBezTo>
                  <a:cubicBezTo>
                    <a:pt x="137" y="142"/>
                    <a:pt x="137" y="142"/>
                    <a:pt x="137" y="142"/>
                  </a:cubicBezTo>
                  <a:cubicBezTo>
                    <a:pt x="137" y="142"/>
                    <a:pt x="137" y="142"/>
                    <a:pt x="137" y="142"/>
                  </a:cubicBezTo>
                  <a:cubicBezTo>
                    <a:pt x="137" y="142"/>
                    <a:pt x="137" y="142"/>
                    <a:pt x="137" y="142"/>
                  </a:cubicBezTo>
                  <a:moveTo>
                    <a:pt x="209" y="112"/>
                  </a:moveTo>
                  <a:cubicBezTo>
                    <a:pt x="209" y="112"/>
                    <a:pt x="209" y="112"/>
                    <a:pt x="209" y="112"/>
                  </a:cubicBezTo>
                  <a:cubicBezTo>
                    <a:pt x="210" y="112"/>
                    <a:pt x="210" y="112"/>
                    <a:pt x="210" y="112"/>
                  </a:cubicBezTo>
                  <a:cubicBezTo>
                    <a:pt x="210" y="112"/>
                    <a:pt x="210" y="112"/>
                    <a:pt x="210" y="112"/>
                  </a:cubicBezTo>
                  <a:cubicBezTo>
                    <a:pt x="210" y="113"/>
                    <a:pt x="185" y="135"/>
                    <a:pt x="183" y="135"/>
                  </a:cubicBezTo>
                  <a:cubicBezTo>
                    <a:pt x="183" y="135"/>
                    <a:pt x="183" y="135"/>
                    <a:pt x="183" y="135"/>
                  </a:cubicBezTo>
                  <a:cubicBezTo>
                    <a:pt x="183" y="135"/>
                    <a:pt x="183" y="135"/>
                    <a:pt x="183" y="135"/>
                  </a:cubicBezTo>
                  <a:cubicBezTo>
                    <a:pt x="181" y="134"/>
                    <a:pt x="180" y="134"/>
                    <a:pt x="178" y="134"/>
                  </a:cubicBezTo>
                  <a:cubicBezTo>
                    <a:pt x="178" y="134"/>
                    <a:pt x="178" y="134"/>
                    <a:pt x="178" y="134"/>
                  </a:cubicBezTo>
                  <a:cubicBezTo>
                    <a:pt x="178" y="134"/>
                    <a:pt x="177" y="130"/>
                    <a:pt x="176" y="124"/>
                  </a:cubicBezTo>
                  <a:cubicBezTo>
                    <a:pt x="193" y="118"/>
                    <a:pt x="208" y="112"/>
                    <a:pt x="209" y="112"/>
                  </a:cubicBezTo>
                  <a:cubicBezTo>
                    <a:pt x="209" y="112"/>
                    <a:pt x="209" y="112"/>
                    <a:pt x="209" y="112"/>
                  </a:cubicBezTo>
                  <a:moveTo>
                    <a:pt x="289" y="173"/>
                  </a:moveTo>
                  <a:cubicBezTo>
                    <a:pt x="286" y="173"/>
                    <a:pt x="269" y="109"/>
                    <a:pt x="270" y="102"/>
                  </a:cubicBezTo>
                  <a:cubicBezTo>
                    <a:pt x="273" y="106"/>
                    <a:pt x="292" y="138"/>
                    <a:pt x="312" y="171"/>
                  </a:cubicBezTo>
                  <a:cubicBezTo>
                    <a:pt x="306" y="174"/>
                    <a:pt x="302" y="177"/>
                    <a:pt x="302" y="177"/>
                  </a:cubicBezTo>
                  <a:cubicBezTo>
                    <a:pt x="302" y="177"/>
                    <a:pt x="302" y="177"/>
                    <a:pt x="302" y="177"/>
                  </a:cubicBezTo>
                  <a:cubicBezTo>
                    <a:pt x="302" y="177"/>
                    <a:pt x="302" y="177"/>
                    <a:pt x="302" y="177"/>
                  </a:cubicBezTo>
                  <a:cubicBezTo>
                    <a:pt x="299" y="174"/>
                    <a:pt x="295" y="173"/>
                    <a:pt x="291" y="173"/>
                  </a:cubicBezTo>
                  <a:cubicBezTo>
                    <a:pt x="290" y="173"/>
                    <a:pt x="290" y="173"/>
                    <a:pt x="289" y="173"/>
                  </a:cubicBezTo>
                  <a:cubicBezTo>
                    <a:pt x="289" y="173"/>
                    <a:pt x="289" y="173"/>
                    <a:pt x="289" y="173"/>
                  </a:cubicBezTo>
                  <a:cubicBezTo>
                    <a:pt x="289" y="173"/>
                    <a:pt x="289" y="173"/>
                    <a:pt x="289" y="173"/>
                  </a:cubicBezTo>
                  <a:moveTo>
                    <a:pt x="452" y="78"/>
                  </a:moveTo>
                  <a:cubicBezTo>
                    <a:pt x="452" y="78"/>
                    <a:pt x="452" y="78"/>
                    <a:pt x="453" y="78"/>
                  </a:cubicBezTo>
                  <a:cubicBezTo>
                    <a:pt x="457" y="78"/>
                    <a:pt x="501" y="101"/>
                    <a:pt x="501" y="103"/>
                  </a:cubicBezTo>
                  <a:cubicBezTo>
                    <a:pt x="501" y="103"/>
                    <a:pt x="501" y="103"/>
                    <a:pt x="501" y="103"/>
                  </a:cubicBezTo>
                  <a:cubicBezTo>
                    <a:pt x="500" y="105"/>
                    <a:pt x="500" y="108"/>
                    <a:pt x="501" y="110"/>
                  </a:cubicBezTo>
                  <a:cubicBezTo>
                    <a:pt x="502" y="112"/>
                    <a:pt x="504" y="113"/>
                    <a:pt x="506" y="114"/>
                  </a:cubicBezTo>
                  <a:cubicBezTo>
                    <a:pt x="506" y="114"/>
                    <a:pt x="506" y="114"/>
                    <a:pt x="506" y="114"/>
                  </a:cubicBezTo>
                  <a:cubicBezTo>
                    <a:pt x="507" y="115"/>
                    <a:pt x="497" y="144"/>
                    <a:pt x="489" y="168"/>
                  </a:cubicBezTo>
                  <a:cubicBezTo>
                    <a:pt x="481" y="169"/>
                    <a:pt x="473" y="170"/>
                    <a:pt x="465" y="171"/>
                  </a:cubicBezTo>
                  <a:cubicBezTo>
                    <a:pt x="457" y="137"/>
                    <a:pt x="445" y="83"/>
                    <a:pt x="447" y="82"/>
                  </a:cubicBezTo>
                  <a:cubicBezTo>
                    <a:pt x="447" y="82"/>
                    <a:pt x="447" y="82"/>
                    <a:pt x="447" y="82"/>
                  </a:cubicBezTo>
                  <a:cubicBezTo>
                    <a:pt x="448" y="82"/>
                    <a:pt x="448" y="82"/>
                    <a:pt x="448" y="82"/>
                  </a:cubicBezTo>
                  <a:cubicBezTo>
                    <a:pt x="450" y="81"/>
                    <a:pt x="451" y="80"/>
                    <a:pt x="452" y="78"/>
                  </a:cubicBezTo>
                  <a:cubicBezTo>
                    <a:pt x="452" y="78"/>
                    <a:pt x="452" y="78"/>
                    <a:pt x="452" y="78"/>
                  </a:cubicBezTo>
                  <a:moveTo>
                    <a:pt x="277" y="92"/>
                  </a:moveTo>
                  <a:cubicBezTo>
                    <a:pt x="277" y="90"/>
                    <a:pt x="413" y="74"/>
                    <a:pt x="429" y="74"/>
                  </a:cubicBezTo>
                  <a:cubicBezTo>
                    <a:pt x="431" y="74"/>
                    <a:pt x="431" y="74"/>
                    <a:pt x="431" y="75"/>
                  </a:cubicBezTo>
                  <a:cubicBezTo>
                    <a:pt x="431" y="75"/>
                    <a:pt x="431" y="75"/>
                    <a:pt x="431" y="75"/>
                  </a:cubicBezTo>
                  <a:cubicBezTo>
                    <a:pt x="431" y="75"/>
                    <a:pt x="432" y="76"/>
                    <a:pt x="432" y="76"/>
                  </a:cubicBezTo>
                  <a:cubicBezTo>
                    <a:pt x="432" y="77"/>
                    <a:pt x="432" y="77"/>
                    <a:pt x="432" y="77"/>
                  </a:cubicBezTo>
                  <a:cubicBezTo>
                    <a:pt x="432" y="77"/>
                    <a:pt x="432" y="77"/>
                    <a:pt x="432" y="77"/>
                  </a:cubicBezTo>
                  <a:cubicBezTo>
                    <a:pt x="433" y="79"/>
                    <a:pt x="343" y="149"/>
                    <a:pt x="312" y="170"/>
                  </a:cubicBezTo>
                  <a:cubicBezTo>
                    <a:pt x="291" y="135"/>
                    <a:pt x="272" y="101"/>
                    <a:pt x="272" y="100"/>
                  </a:cubicBezTo>
                  <a:cubicBezTo>
                    <a:pt x="272" y="100"/>
                    <a:pt x="272" y="100"/>
                    <a:pt x="272" y="100"/>
                  </a:cubicBezTo>
                  <a:cubicBezTo>
                    <a:pt x="275" y="98"/>
                    <a:pt x="277" y="95"/>
                    <a:pt x="277" y="92"/>
                  </a:cubicBezTo>
                  <a:cubicBezTo>
                    <a:pt x="277" y="92"/>
                    <a:pt x="277" y="92"/>
                    <a:pt x="277" y="92"/>
                  </a:cubicBezTo>
                  <a:moveTo>
                    <a:pt x="165" y="74"/>
                  </a:moveTo>
                  <a:cubicBezTo>
                    <a:pt x="165" y="74"/>
                    <a:pt x="165" y="74"/>
                    <a:pt x="165" y="74"/>
                  </a:cubicBezTo>
                  <a:cubicBezTo>
                    <a:pt x="166" y="74"/>
                    <a:pt x="167" y="74"/>
                    <a:pt x="168" y="74"/>
                  </a:cubicBezTo>
                  <a:cubicBezTo>
                    <a:pt x="168" y="74"/>
                    <a:pt x="168" y="74"/>
                    <a:pt x="168" y="74"/>
                  </a:cubicBezTo>
                  <a:cubicBezTo>
                    <a:pt x="169" y="74"/>
                    <a:pt x="174" y="107"/>
                    <a:pt x="176" y="124"/>
                  </a:cubicBezTo>
                  <a:cubicBezTo>
                    <a:pt x="158" y="131"/>
                    <a:pt x="139" y="139"/>
                    <a:pt x="135" y="139"/>
                  </a:cubicBezTo>
                  <a:cubicBezTo>
                    <a:pt x="135" y="139"/>
                    <a:pt x="135" y="138"/>
                    <a:pt x="135" y="138"/>
                  </a:cubicBezTo>
                  <a:cubicBezTo>
                    <a:pt x="135" y="138"/>
                    <a:pt x="135" y="138"/>
                    <a:pt x="135" y="138"/>
                  </a:cubicBezTo>
                  <a:cubicBezTo>
                    <a:pt x="134" y="137"/>
                    <a:pt x="133" y="135"/>
                    <a:pt x="131" y="134"/>
                  </a:cubicBezTo>
                  <a:cubicBezTo>
                    <a:pt x="131" y="134"/>
                    <a:pt x="131" y="134"/>
                    <a:pt x="131" y="134"/>
                  </a:cubicBezTo>
                  <a:cubicBezTo>
                    <a:pt x="129" y="133"/>
                    <a:pt x="163" y="74"/>
                    <a:pt x="165" y="74"/>
                  </a:cubicBezTo>
                  <a:cubicBezTo>
                    <a:pt x="165" y="74"/>
                    <a:pt x="165" y="74"/>
                    <a:pt x="165" y="74"/>
                  </a:cubicBezTo>
                  <a:moveTo>
                    <a:pt x="171" y="74"/>
                  </a:moveTo>
                  <a:cubicBezTo>
                    <a:pt x="172" y="74"/>
                    <a:pt x="173" y="73"/>
                    <a:pt x="174" y="72"/>
                  </a:cubicBezTo>
                  <a:cubicBezTo>
                    <a:pt x="174" y="72"/>
                    <a:pt x="174" y="72"/>
                    <a:pt x="174" y="72"/>
                  </a:cubicBezTo>
                  <a:cubicBezTo>
                    <a:pt x="174" y="72"/>
                    <a:pt x="174" y="72"/>
                    <a:pt x="174" y="72"/>
                  </a:cubicBezTo>
                  <a:cubicBezTo>
                    <a:pt x="177" y="72"/>
                    <a:pt x="210" y="106"/>
                    <a:pt x="210" y="107"/>
                  </a:cubicBezTo>
                  <a:cubicBezTo>
                    <a:pt x="210" y="107"/>
                    <a:pt x="210" y="107"/>
                    <a:pt x="210" y="107"/>
                  </a:cubicBezTo>
                  <a:cubicBezTo>
                    <a:pt x="209" y="108"/>
                    <a:pt x="209" y="109"/>
                    <a:pt x="209" y="110"/>
                  </a:cubicBezTo>
                  <a:cubicBezTo>
                    <a:pt x="209" y="110"/>
                    <a:pt x="209" y="110"/>
                    <a:pt x="209" y="110"/>
                  </a:cubicBezTo>
                  <a:cubicBezTo>
                    <a:pt x="209" y="111"/>
                    <a:pt x="193" y="117"/>
                    <a:pt x="176" y="124"/>
                  </a:cubicBezTo>
                  <a:cubicBezTo>
                    <a:pt x="174" y="107"/>
                    <a:pt x="170" y="74"/>
                    <a:pt x="171" y="74"/>
                  </a:cubicBezTo>
                  <a:cubicBezTo>
                    <a:pt x="171" y="74"/>
                    <a:pt x="171" y="74"/>
                    <a:pt x="171" y="74"/>
                  </a:cubicBezTo>
                  <a:moveTo>
                    <a:pt x="8" y="0"/>
                  </a:moveTo>
                  <a:cubicBezTo>
                    <a:pt x="7" y="0"/>
                    <a:pt x="6" y="0"/>
                    <a:pt x="5" y="0"/>
                  </a:cubicBezTo>
                  <a:cubicBezTo>
                    <a:pt x="1" y="2"/>
                    <a:pt x="0" y="6"/>
                    <a:pt x="1" y="9"/>
                  </a:cubicBezTo>
                  <a:cubicBezTo>
                    <a:pt x="3" y="12"/>
                    <a:pt x="5" y="13"/>
                    <a:pt x="8" y="13"/>
                  </a:cubicBezTo>
                  <a:cubicBezTo>
                    <a:pt x="9" y="13"/>
                    <a:pt x="10" y="13"/>
                    <a:pt x="11" y="12"/>
                  </a:cubicBezTo>
                  <a:cubicBezTo>
                    <a:pt x="11" y="12"/>
                    <a:pt x="11" y="12"/>
                    <a:pt x="11" y="12"/>
                  </a:cubicBezTo>
                  <a:cubicBezTo>
                    <a:pt x="11" y="12"/>
                    <a:pt x="11" y="12"/>
                    <a:pt x="11" y="12"/>
                  </a:cubicBezTo>
                  <a:cubicBezTo>
                    <a:pt x="11" y="12"/>
                    <a:pt x="11" y="12"/>
                    <a:pt x="11" y="12"/>
                  </a:cubicBezTo>
                  <a:cubicBezTo>
                    <a:pt x="13" y="12"/>
                    <a:pt x="114" y="134"/>
                    <a:pt x="112" y="136"/>
                  </a:cubicBezTo>
                  <a:cubicBezTo>
                    <a:pt x="112" y="136"/>
                    <a:pt x="112" y="136"/>
                    <a:pt x="112" y="136"/>
                  </a:cubicBezTo>
                  <a:cubicBezTo>
                    <a:pt x="108" y="140"/>
                    <a:pt x="107" y="146"/>
                    <a:pt x="109" y="152"/>
                  </a:cubicBezTo>
                  <a:cubicBezTo>
                    <a:pt x="112" y="157"/>
                    <a:pt x="117" y="160"/>
                    <a:pt x="122" y="160"/>
                  </a:cubicBezTo>
                  <a:cubicBezTo>
                    <a:pt x="125" y="160"/>
                    <a:pt x="127" y="159"/>
                    <a:pt x="129" y="158"/>
                  </a:cubicBezTo>
                  <a:cubicBezTo>
                    <a:pt x="134" y="156"/>
                    <a:pt x="137" y="151"/>
                    <a:pt x="137" y="146"/>
                  </a:cubicBezTo>
                  <a:cubicBezTo>
                    <a:pt x="137" y="146"/>
                    <a:pt x="137" y="146"/>
                    <a:pt x="137" y="146"/>
                  </a:cubicBezTo>
                  <a:cubicBezTo>
                    <a:pt x="137" y="144"/>
                    <a:pt x="160" y="142"/>
                    <a:pt x="168" y="142"/>
                  </a:cubicBezTo>
                  <a:cubicBezTo>
                    <a:pt x="170" y="142"/>
                    <a:pt x="172" y="142"/>
                    <a:pt x="172" y="142"/>
                  </a:cubicBezTo>
                  <a:cubicBezTo>
                    <a:pt x="172" y="142"/>
                    <a:pt x="172" y="142"/>
                    <a:pt x="172" y="142"/>
                  </a:cubicBezTo>
                  <a:cubicBezTo>
                    <a:pt x="172" y="143"/>
                    <a:pt x="172" y="143"/>
                    <a:pt x="172" y="143"/>
                  </a:cubicBezTo>
                  <a:cubicBezTo>
                    <a:pt x="173" y="146"/>
                    <a:pt x="176" y="147"/>
                    <a:pt x="178" y="147"/>
                  </a:cubicBezTo>
                  <a:cubicBezTo>
                    <a:pt x="179" y="147"/>
                    <a:pt x="180" y="147"/>
                    <a:pt x="181" y="146"/>
                  </a:cubicBezTo>
                  <a:cubicBezTo>
                    <a:pt x="183" y="146"/>
                    <a:pt x="184" y="144"/>
                    <a:pt x="185" y="142"/>
                  </a:cubicBezTo>
                  <a:cubicBezTo>
                    <a:pt x="185" y="142"/>
                    <a:pt x="185" y="142"/>
                    <a:pt x="185" y="142"/>
                  </a:cubicBezTo>
                  <a:cubicBezTo>
                    <a:pt x="185" y="142"/>
                    <a:pt x="186" y="142"/>
                    <a:pt x="187" y="142"/>
                  </a:cubicBezTo>
                  <a:cubicBezTo>
                    <a:pt x="197" y="142"/>
                    <a:pt x="245" y="147"/>
                    <a:pt x="245" y="147"/>
                  </a:cubicBezTo>
                  <a:cubicBezTo>
                    <a:pt x="245" y="147"/>
                    <a:pt x="245" y="147"/>
                    <a:pt x="245" y="147"/>
                  </a:cubicBezTo>
                  <a:cubicBezTo>
                    <a:pt x="245" y="148"/>
                    <a:pt x="245" y="148"/>
                    <a:pt x="245" y="149"/>
                  </a:cubicBezTo>
                  <a:cubicBezTo>
                    <a:pt x="246" y="150"/>
                    <a:pt x="247" y="151"/>
                    <a:pt x="249" y="151"/>
                  </a:cubicBezTo>
                  <a:cubicBezTo>
                    <a:pt x="250" y="151"/>
                    <a:pt x="250" y="151"/>
                    <a:pt x="251" y="151"/>
                  </a:cubicBezTo>
                  <a:cubicBezTo>
                    <a:pt x="253" y="150"/>
                    <a:pt x="254" y="147"/>
                    <a:pt x="253" y="145"/>
                  </a:cubicBezTo>
                  <a:cubicBezTo>
                    <a:pt x="252" y="144"/>
                    <a:pt x="251" y="144"/>
                    <a:pt x="251" y="143"/>
                  </a:cubicBezTo>
                  <a:cubicBezTo>
                    <a:pt x="251" y="143"/>
                    <a:pt x="251" y="143"/>
                    <a:pt x="251" y="143"/>
                  </a:cubicBezTo>
                  <a:cubicBezTo>
                    <a:pt x="250" y="143"/>
                    <a:pt x="261" y="103"/>
                    <a:pt x="264" y="103"/>
                  </a:cubicBezTo>
                  <a:cubicBezTo>
                    <a:pt x="264" y="103"/>
                    <a:pt x="264" y="103"/>
                    <a:pt x="264" y="103"/>
                  </a:cubicBezTo>
                  <a:cubicBezTo>
                    <a:pt x="263" y="103"/>
                    <a:pt x="263" y="103"/>
                    <a:pt x="263" y="103"/>
                  </a:cubicBezTo>
                  <a:cubicBezTo>
                    <a:pt x="264" y="103"/>
                    <a:pt x="265" y="103"/>
                    <a:pt x="265" y="103"/>
                  </a:cubicBezTo>
                  <a:cubicBezTo>
                    <a:pt x="265" y="103"/>
                    <a:pt x="266" y="103"/>
                    <a:pt x="266" y="103"/>
                  </a:cubicBezTo>
                  <a:cubicBezTo>
                    <a:pt x="266" y="103"/>
                    <a:pt x="266" y="103"/>
                    <a:pt x="266" y="103"/>
                  </a:cubicBezTo>
                  <a:cubicBezTo>
                    <a:pt x="266" y="103"/>
                    <a:pt x="266" y="103"/>
                    <a:pt x="266" y="103"/>
                  </a:cubicBezTo>
                  <a:cubicBezTo>
                    <a:pt x="269" y="103"/>
                    <a:pt x="288" y="173"/>
                    <a:pt x="285" y="174"/>
                  </a:cubicBezTo>
                  <a:cubicBezTo>
                    <a:pt x="285" y="174"/>
                    <a:pt x="285" y="174"/>
                    <a:pt x="285" y="174"/>
                  </a:cubicBezTo>
                  <a:cubicBezTo>
                    <a:pt x="284" y="174"/>
                    <a:pt x="284" y="174"/>
                    <a:pt x="284" y="174"/>
                  </a:cubicBezTo>
                  <a:cubicBezTo>
                    <a:pt x="276" y="178"/>
                    <a:pt x="273" y="187"/>
                    <a:pt x="277" y="194"/>
                  </a:cubicBezTo>
                  <a:cubicBezTo>
                    <a:pt x="279" y="200"/>
                    <a:pt x="285" y="203"/>
                    <a:pt x="291" y="203"/>
                  </a:cubicBezTo>
                  <a:cubicBezTo>
                    <a:pt x="293" y="203"/>
                    <a:pt x="295" y="203"/>
                    <a:pt x="298" y="202"/>
                  </a:cubicBezTo>
                  <a:cubicBezTo>
                    <a:pt x="299" y="201"/>
                    <a:pt x="300" y="201"/>
                    <a:pt x="300" y="200"/>
                  </a:cubicBezTo>
                  <a:cubicBezTo>
                    <a:pt x="300" y="200"/>
                    <a:pt x="300" y="200"/>
                    <a:pt x="300" y="200"/>
                  </a:cubicBezTo>
                  <a:cubicBezTo>
                    <a:pt x="300" y="200"/>
                    <a:pt x="300" y="200"/>
                    <a:pt x="301" y="200"/>
                  </a:cubicBezTo>
                  <a:cubicBezTo>
                    <a:pt x="305" y="200"/>
                    <a:pt x="354" y="247"/>
                    <a:pt x="353" y="249"/>
                  </a:cubicBezTo>
                  <a:cubicBezTo>
                    <a:pt x="353" y="249"/>
                    <a:pt x="353" y="249"/>
                    <a:pt x="353" y="249"/>
                  </a:cubicBezTo>
                  <a:cubicBezTo>
                    <a:pt x="351" y="252"/>
                    <a:pt x="351" y="255"/>
                    <a:pt x="352" y="258"/>
                  </a:cubicBezTo>
                  <a:cubicBezTo>
                    <a:pt x="354" y="262"/>
                    <a:pt x="357" y="264"/>
                    <a:pt x="361" y="264"/>
                  </a:cubicBezTo>
                  <a:cubicBezTo>
                    <a:pt x="363" y="264"/>
                    <a:pt x="364" y="264"/>
                    <a:pt x="366" y="263"/>
                  </a:cubicBezTo>
                  <a:cubicBezTo>
                    <a:pt x="371" y="261"/>
                    <a:pt x="373" y="255"/>
                    <a:pt x="370" y="250"/>
                  </a:cubicBezTo>
                  <a:cubicBezTo>
                    <a:pt x="369" y="247"/>
                    <a:pt x="365" y="245"/>
                    <a:pt x="361" y="245"/>
                  </a:cubicBezTo>
                  <a:cubicBezTo>
                    <a:pt x="360" y="245"/>
                    <a:pt x="359" y="245"/>
                    <a:pt x="358" y="245"/>
                  </a:cubicBezTo>
                  <a:cubicBezTo>
                    <a:pt x="358" y="245"/>
                    <a:pt x="358" y="245"/>
                    <a:pt x="358" y="245"/>
                  </a:cubicBezTo>
                  <a:cubicBezTo>
                    <a:pt x="358" y="245"/>
                    <a:pt x="358" y="245"/>
                    <a:pt x="358" y="245"/>
                  </a:cubicBezTo>
                  <a:cubicBezTo>
                    <a:pt x="357" y="245"/>
                    <a:pt x="334" y="209"/>
                    <a:pt x="313" y="172"/>
                  </a:cubicBezTo>
                  <a:cubicBezTo>
                    <a:pt x="341" y="149"/>
                    <a:pt x="431" y="80"/>
                    <a:pt x="435" y="80"/>
                  </a:cubicBezTo>
                  <a:cubicBezTo>
                    <a:pt x="435" y="80"/>
                    <a:pt x="435" y="80"/>
                    <a:pt x="435" y="80"/>
                  </a:cubicBezTo>
                  <a:cubicBezTo>
                    <a:pt x="435" y="80"/>
                    <a:pt x="435" y="80"/>
                    <a:pt x="435" y="80"/>
                  </a:cubicBezTo>
                  <a:cubicBezTo>
                    <a:pt x="437" y="82"/>
                    <a:pt x="440" y="83"/>
                    <a:pt x="443" y="83"/>
                  </a:cubicBezTo>
                  <a:cubicBezTo>
                    <a:pt x="443" y="83"/>
                    <a:pt x="443" y="83"/>
                    <a:pt x="443" y="83"/>
                  </a:cubicBezTo>
                  <a:cubicBezTo>
                    <a:pt x="443" y="83"/>
                    <a:pt x="443" y="83"/>
                    <a:pt x="443" y="83"/>
                  </a:cubicBezTo>
                  <a:cubicBezTo>
                    <a:pt x="443" y="83"/>
                    <a:pt x="443" y="83"/>
                    <a:pt x="443" y="83"/>
                  </a:cubicBezTo>
                  <a:cubicBezTo>
                    <a:pt x="445" y="83"/>
                    <a:pt x="458" y="137"/>
                    <a:pt x="465" y="171"/>
                  </a:cubicBezTo>
                  <a:cubicBezTo>
                    <a:pt x="419" y="178"/>
                    <a:pt x="369" y="185"/>
                    <a:pt x="365" y="185"/>
                  </a:cubicBezTo>
                  <a:cubicBezTo>
                    <a:pt x="365" y="185"/>
                    <a:pt x="365" y="185"/>
                    <a:pt x="365" y="185"/>
                  </a:cubicBezTo>
                  <a:cubicBezTo>
                    <a:pt x="365" y="185"/>
                    <a:pt x="365" y="185"/>
                    <a:pt x="365" y="185"/>
                  </a:cubicBezTo>
                  <a:cubicBezTo>
                    <a:pt x="364" y="184"/>
                    <a:pt x="364" y="184"/>
                    <a:pt x="364" y="184"/>
                  </a:cubicBezTo>
                  <a:cubicBezTo>
                    <a:pt x="364" y="184"/>
                    <a:pt x="364" y="184"/>
                    <a:pt x="364" y="184"/>
                  </a:cubicBezTo>
                  <a:cubicBezTo>
                    <a:pt x="364" y="184"/>
                    <a:pt x="364" y="184"/>
                    <a:pt x="364" y="184"/>
                  </a:cubicBezTo>
                  <a:cubicBezTo>
                    <a:pt x="364" y="183"/>
                    <a:pt x="394" y="163"/>
                    <a:pt x="396" y="163"/>
                  </a:cubicBezTo>
                  <a:cubicBezTo>
                    <a:pt x="396" y="163"/>
                    <a:pt x="396" y="163"/>
                    <a:pt x="396" y="163"/>
                  </a:cubicBezTo>
                  <a:cubicBezTo>
                    <a:pt x="396" y="163"/>
                    <a:pt x="396" y="163"/>
                    <a:pt x="396" y="163"/>
                  </a:cubicBezTo>
                  <a:cubicBezTo>
                    <a:pt x="397" y="164"/>
                    <a:pt x="398" y="165"/>
                    <a:pt x="399" y="165"/>
                  </a:cubicBezTo>
                  <a:cubicBezTo>
                    <a:pt x="400" y="165"/>
                    <a:pt x="401" y="164"/>
                    <a:pt x="401" y="164"/>
                  </a:cubicBezTo>
                  <a:cubicBezTo>
                    <a:pt x="404" y="163"/>
                    <a:pt x="405" y="160"/>
                    <a:pt x="404" y="158"/>
                  </a:cubicBezTo>
                  <a:cubicBezTo>
                    <a:pt x="403" y="156"/>
                    <a:pt x="401" y="155"/>
                    <a:pt x="399" y="155"/>
                  </a:cubicBezTo>
                  <a:cubicBezTo>
                    <a:pt x="398" y="155"/>
                    <a:pt x="398" y="156"/>
                    <a:pt x="397" y="156"/>
                  </a:cubicBezTo>
                  <a:cubicBezTo>
                    <a:pt x="395" y="157"/>
                    <a:pt x="394" y="160"/>
                    <a:pt x="395" y="162"/>
                  </a:cubicBezTo>
                  <a:cubicBezTo>
                    <a:pt x="395" y="162"/>
                    <a:pt x="395" y="162"/>
                    <a:pt x="395" y="162"/>
                  </a:cubicBezTo>
                  <a:cubicBezTo>
                    <a:pt x="395" y="163"/>
                    <a:pt x="365" y="182"/>
                    <a:pt x="363" y="182"/>
                  </a:cubicBezTo>
                  <a:cubicBezTo>
                    <a:pt x="363" y="182"/>
                    <a:pt x="363" y="182"/>
                    <a:pt x="363" y="182"/>
                  </a:cubicBezTo>
                  <a:cubicBezTo>
                    <a:pt x="363" y="182"/>
                    <a:pt x="363" y="182"/>
                    <a:pt x="363" y="182"/>
                  </a:cubicBezTo>
                  <a:cubicBezTo>
                    <a:pt x="362" y="181"/>
                    <a:pt x="360" y="180"/>
                    <a:pt x="358" y="180"/>
                  </a:cubicBezTo>
                  <a:cubicBezTo>
                    <a:pt x="357" y="180"/>
                    <a:pt x="356" y="180"/>
                    <a:pt x="355" y="181"/>
                  </a:cubicBezTo>
                  <a:cubicBezTo>
                    <a:pt x="352" y="182"/>
                    <a:pt x="350" y="186"/>
                    <a:pt x="352" y="190"/>
                  </a:cubicBezTo>
                  <a:cubicBezTo>
                    <a:pt x="353" y="192"/>
                    <a:pt x="356" y="193"/>
                    <a:pt x="358" y="193"/>
                  </a:cubicBezTo>
                  <a:cubicBezTo>
                    <a:pt x="359" y="193"/>
                    <a:pt x="360" y="193"/>
                    <a:pt x="361" y="193"/>
                  </a:cubicBezTo>
                  <a:cubicBezTo>
                    <a:pt x="363" y="192"/>
                    <a:pt x="365" y="190"/>
                    <a:pt x="365" y="187"/>
                  </a:cubicBezTo>
                  <a:cubicBezTo>
                    <a:pt x="365" y="188"/>
                    <a:pt x="365" y="188"/>
                    <a:pt x="365" y="188"/>
                  </a:cubicBezTo>
                  <a:cubicBezTo>
                    <a:pt x="365" y="186"/>
                    <a:pt x="417" y="184"/>
                    <a:pt x="430" y="184"/>
                  </a:cubicBezTo>
                  <a:cubicBezTo>
                    <a:pt x="431" y="184"/>
                    <a:pt x="432" y="184"/>
                    <a:pt x="432" y="184"/>
                  </a:cubicBezTo>
                  <a:cubicBezTo>
                    <a:pt x="432" y="184"/>
                    <a:pt x="432" y="184"/>
                    <a:pt x="432" y="184"/>
                  </a:cubicBezTo>
                  <a:cubicBezTo>
                    <a:pt x="433" y="185"/>
                    <a:pt x="433" y="185"/>
                    <a:pt x="433" y="185"/>
                  </a:cubicBezTo>
                  <a:cubicBezTo>
                    <a:pt x="433" y="187"/>
                    <a:pt x="435" y="187"/>
                    <a:pt x="436" y="187"/>
                  </a:cubicBezTo>
                  <a:cubicBezTo>
                    <a:pt x="437" y="187"/>
                    <a:pt x="438" y="187"/>
                    <a:pt x="438" y="187"/>
                  </a:cubicBezTo>
                  <a:cubicBezTo>
                    <a:pt x="440" y="186"/>
                    <a:pt x="441" y="184"/>
                    <a:pt x="440" y="182"/>
                  </a:cubicBezTo>
                  <a:cubicBezTo>
                    <a:pt x="439" y="180"/>
                    <a:pt x="438" y="180"/>
                    <a:pt x="436" y="180"/>
                  </a:cubicBezTo>
                  <a:cubicBezTo>
                    <a:pt x="436" y="180"/>
                    <a:pt x="435" y="180"/>
                    <a:pt x="435" y="180"/>
                  </a:cubicBezTo>
                  <a:cubicBezTo>
                    <a:pt x="433" y="181"/>
                    <a:pt x="432" y="182"/>
                    <a:pt x="432" y="183"/>
                  </a:cubicBezTo>
                  <a:cubicBezTo>
                    <a:pt x="432" y="183"/>
                    <a:pt x="432" y="183"/>
                    <a:pt x="432" y="183"/>
                  </a:cubicBezTo>
                  <a:cubicBezTo>
                    <a:pt x="432" y="184"/>
                    <a:pt x="387" y="186"/>
                    <a:pt x="370" y="186"/>
                  </a:cubicBezTo>
                  <a:cubicBezTo>
                    <a:pt x="370" y="186"/>
                    <a:pt x="370" y="186"/>
                    <a:pt x="370" y="186"/>
                  </a:cubicBezTo>
                  <a:cubicBezTo>
                    <a:pt x="383" y="183"/>
                    <a:pt x="425" y="177"/>
                    <a:pt x="465" y="171"/>
                  </a:cubicBezTo>
                  <a:cubicBezTo>
                    <a:pt x="468" y="187"/>
                    <a:pt x="470" y="198"/>
                    <a:pt x="469" y="199"/>
                  </a:cubicBezTo>
                  <a:cubicBezTo>
                    <a:pt x="469" y="199"/>
                    <a:pt x="469" y="199"/>
                    <a:pt x="469" y="199"/>
                  </a:cubicBezTo>
                  <a:cubicBezTo>
                    <a:pt x="464" y="201"/>
                    <a:pt x="460" y="205"/>
                    <a:pt x="460" y="211"/>
                  </a:cubicBezTo>
                  <a:cubicBezTo>
                    <a:pt x="460" y="218"/>
                    <a:pt x="466" y="224"/>
                    <a:pt x="474" y="224"/>
                  </a:cubicBezTo>
                  <a:cubicBezTo>
                    <a:pt x="476" y="224"/>
                    <a:pt x="478" y="223"/>
                    <a:pt x="480" y="222"/>
                  </a:cubicBezTo>
                  <a:cubicBezTo>
                    <a:pt x="480" y="222"/>
                    <a:pt x="480" y="222"/>
                    <a:pt x="480" y="222"/>
                  </a:cubicBezTo>
                  <a:cubicBezTo>
                    <a:pt x="480" y="222"/>
                    <a:pt x="480" y="222"/>
                    <a:pt x="480" y="222"/>
                  </a:cubicBezTo>
                  <a:cubicBezTo>
                    <a:pt x="483" y="222"/>
                    <a:pt x="520" y="269"/>
                    <a:pt x="518" y="271"/>
                  </a:cubicBezTo>
                  <a:cubicBezTo>
                    <a:pt x="518" y="271"/>
                    <a:pt x="518" y="271"/>
                    <a:pt x="518" y="271"/>
                  </a:cubicBezTo>
                  <a:cubicBezTo>
                    <a:pt x="514" y="275"/>
                    <a:pt x="513" y="281"/>
                    <a:pt x="516" y="286"/>
                  </a:cubicBezTo>
                  <a:cubicBezTo>
                    <a:pt x="518" y="290"/>
                    <a:pt x="523" y="293"/>
                    <a:pt x="528" y="293"/>
                  </a:cubicBezTo>
                  <a:cubicBezTo>
                    <a:pt x="530" y="293"/>
                    <a:pt x="532" y="293"/>
                    <a:pt x="534" y="292"/>
                  </a:cubicBezTo>
                  <a:cubicBezTo>
                    <a:pt x="540" y="289"/>
                    <a:pt x="543" y="281"/>
                    <a:pt x="540" y="275"/>
                  </a:cubicBezTo>
                  <a:cubicBezTo>
                    <a:pt x="538" y="270"/>
                    <a:pt x="533" y="267"/>
                    <a:pt x="528" y="267"/>
                  </a:cubicBezTo>
                  <a:cubicBezTo>
                    <a:pt x="526" y="267"/>
                    <a:pt x="524" y="268"/>
                    <a:pt x="522" y="268"/>
                  </a:cubicBezTo>
                  <a:cubicBezTo>
                    <a:pt x="521" y="269"/>
                    <a:pt x="521" y="269"/>
                    <a:pt x="521" y="269"/>
                  </a:cubicBezTo>
                  <a:cubicBezTo>
                    <a:pt x="522" y="269"/>
                    <a:pt x="522" y="269"/>
                    <a:pt x="522" y="269"/>
                  </a:cubicBezTo>
                  <a:cubicBezTo>
                    <a:pt x="522" y="269"/>
                    <a:pt x="522" y="269"/>
                    <a:pt x="521" y="269"/>
                  </a:cubicBezTo>
                  <a:cubicBezTo>
                    <a:pt x="518" y="269"/>
                    <a:pt x="482" y="222"/>
                    <a:pt x="484" y="220"/>
                  </a:cubicBezTo>
                  <a:cubicBezTo>
                    <a:pt x="483" y="220"/>
                    <a:pt x="483" y="220"/>
                    <a:pt x="483" y="220"/>
                  </a:cubicBezTo>
                  <a:cubicBezTo>
                    <a:pt x="486" y="218"/>
                    <a:pt x="487" y="214"/>
                    <a:pt x="487" y="211"/>
                  </a:cubicBezTo>
                  <a:cubicBezTo>
                    <a:pt x="487" y="206"/>
                    <a:pt x="484" y="201"/>
                    <a:pt x="480" y="199"/>
                  </a:cubicBezTo>
                  <a:cubicBezTo>
                    <a:pt x="480" y="199"/>
                    <a:pt x="480" y="199"/>
                    <a:pt x="480" y="199"/>
                  </a:cubicBezTo>
                  <a:cubicBezTo>
                    <a:pt x="479" y="199"/>
                    <a:pt x="483" y="184"/>
                    <a:pt x="489" y="168"/>
                  </a:cubicBezTo>
                  <a:cubicBezTo>
                    <a:pt x="516" y="164"/>
                    <a:pt x="539" y="161"/>
                    <a:pt x="541" y="161"/>
                  </a:cubicBezTo>
                  <a:cubicBezTo>
                    <a:pt x="542" y="161"/>
                    <a:pt x="542" y="161"/>
                    <a:pt x="542" y="161"/>
                  </a:cubicBezTo>
                  <a:cubicBezTo>
                    <a:pt x="542" y="161"/>
                    <a:pt x="542" y="161"/>
                    <a:pt x="542" y="161"/>
                  </a:cubicBezTo>
                  <a:cubicBezTo>
                    <a:pt x="542" y="162"/>
                    <a:pt x="542" y="162"/>
                    <a:pt x="542" y="162"/>
                  </a:cubicBezTo>
                  <a:cubicBezTo>
                    <a:pt x="543" y="164"/>
                    <a:pt x="546" y="166"/>
                    <a:pt x="548" y="166"/>
                  </a:cubicBezTo>
                  <a:cubicBezTo>
                    <a:pt x="549" y="166"/>
                    <a:pt x="550" y="165"/>
                    <a:pt x="551" y="165"/>
                  </a:cubicBezTo>
                  <a:cubicBezTo>
                    <a:pt x="552" y="165"/>
                    <a:pt x="553" y="164"/>
                    <a:pt x="553" y="164"/>
                  </a:cubicBezTo>
                  <a:cubicBezTo>
                    <a:pt x="553" y="164"/>
                    <a:pt x="553" y="164"/>
                    <a:pt x="553" y="164"/>
                  </a:cubicBezTo>
                  <a:cubicBezTo>
                    <a:pt x="553" y="164"/>
                    <a:pt x="553" y="164"/>
                    <a:pt x="553" y="164"/>
                  </a:cubicBezTo>
                  <a:cubicBezTo>
                    <a:pt x="555" y="164"/>
                    <a:pt x="586" y="185"/>
                    <a:pt x="585" y="185"/>
                  </a:cubicBezTo>
                  <a:cubicBezTo>
                    <a:pt x="585" y="185"/>
                    <a:pt x="585" y="185"/>
                    <a:pt x="585" y="185"/>
                  </a:cubicBezTo>
                  <a:cubicBezTo>
                    <a:pt x="584" y="187"/>
                    <a:pt x="584" y="188"/>
                    <a:pt x="585" y="189"/>
                  </a:cubicBezTo>
                  <a:cubicBezTo>
                    <a:pt x="586" y="191"/>
                    <a:pt x="588" y="192"/>
                    <a:pt x="589" y="192"/>
                  </a:cubicBezTo>
                  <a:cubicBezTo>
                    <a:pt x="590" y="192"/>
                    <a:pt x="591" y="192"/>
                    <a:pt x="591" y="192"/>
                  </a:cubicBezTo>
                  <a:cubicBezTo>
                    <a:pt x="594" y="191"/>
                    <a:pt x="595" y="188"/>
                    <a:pt x="594" y="186"/>
                  </a:cubicBezTo>
                  <a:cubicBezTo>
                    <a:pt x="593" y="184"/>
                    <a:pt x="591" y="183"/>
                    <a:pt x="589" y="183"/>
                  </a:cubicBezTo>
                  <a:cubicBezTo>
                    <a:pt x="589" y="183"/>
                    <a:pt x="588" y="183"/>
                    <a:pt x="587" y="183"/>
                  </a:cubicBezTo>
                  <a:cubicBezTo>
                    <a:pt x="587" y="184"/>
                    <a:pt x="586" y="184"/>
                    <a:pt x="586" y="184"/>
                  </a:cubicBezTo>
                  <a:cubicBezTo>
                    <a:pt x="586" y="184"/>
                    <a:pt x="586" y="184"/>
                    <a:pt x="586" y="184"/>
                  </a:cubicBezTo>
                  <a:cubicBezTo>
                    <a:pt x="586" y="184"/>
                    <a:pt x="586" y="184"/>
                    <a:pt x="586" y="184"/>
                  </a:cubicBezTo>
                  <a:cubicBezTo>
                    <a:pt x="584" y="184"/>
                    <a:pt x="554" y="163"/>
                    <a:pt x="554" y="162"/>
                  </a:cubicBezTo>
                  <a:cubicBezTo>
                    <a:pt x="554" y="162"/>
                    <a:pt x="554" y="162"/>
                    <a:pt x="554" y="162"/>
                  </a:cubicBezTo>
                  <a:cubicBezTo>
                    <a:pt x="555" y="160"/>
                    <a:pt x="556" y="158"/>
                    <a:pt x="555" y="156"/>
                  </a:cubicBezTo>
                  <a:cubicBezTo>
                    <a:pt x="555" y="156"/>
                    <a:pt x="555" y="156"/>
                    <a:pt x="555" y="156"/>
                  </a:cubicBezTo>
                  <a:cubicBezTo>
                    <a:pt x="555" y="156"/>
                    <a:pt x="555" y="156"/>
                    <a:pt x="555" y="156"/>
                  </a:cubicBezTo>
                  <a:cubicBezTo>
                    <a:pt x="554" y="155"/>
                    <a:pt x="584" y="135"/>
                    <a:pt x="586" y="135"/>
                  </a:cubicBezTo>
                  <a:cubicBezTo>
                    <a:pt x="586" y="135"/>
                    <a:pt x="586" y="135"/>
                    <a:pt x="586" y="135"/>
                  </a:cubicBezTo>
                  <a:cubicBezTo>
                    <a:pt x="586" y="135"/>
                    <a:pt x="586" y="135"/>
                    <a:pt x="586" y="135"/>
                  </a:cubicBezTo>
                  <a:cubicBezTo>
                    <a:pt x="587" y="136"/>
                    <a:pt x="588" y="137"/>
                    <a:pt x="589" y="137"/>
                  </a:cubicBezTo>
                  <a:cubicBezTo>
                    <a:pt x="590" y="137"/>
                    <a:pt x="591" y="137"/>
                    <a:pt x="591" y="136"/>
                  </a:cubicBezTo>
                  <a:cubicBezTo>
                    <a:pt x="592" y="136"/>
                    <a:pt x="592" y="136"/>
                    <a:pt x="593" y="135"/>
                  </a:cubicBezTo>
                  <a:cubicBezTo>
                    <a:pt x="593" y="135"/>
                    <a:pt x="593" y="135"/>
                    <a:pt x="593" y="135"/>
                  </a:cubicBezTo>
                  <a:cubicBezTo>
                    <a:pt x="593" y="135"/>
                    <a:pt x="593" y="135"/>
                    <a:pt x="593" y="135"/>
                  </a:cubicBezTo>
                  <a:cubicBezTo>
                    <a:pt x="594" y="135"/>
                    <a:pt x="632" y="162"/>
                    <a:pt x="631" y="163"/>
                  </a:cubicBezTo>
                  <a:cubicBezTo>
                    <a:pt x="631" y="163"/>
                    <a:pt x="631" y="163"/>
                    <a:pt x="631" y="163"/>
                  </a:cubicBezTo>
                  <a:cubicBezTo>
                    <a:pt x="631" y="164"/>
                    <a:pt x="631" y="165"/>
                    <a:pt x="631" y="166"/>
                  </a:cubicBezTo>
                  <a:cubicBezTo>
                    <a:pt x="632" y="168"/>
                    <a:pt x="633" y="169"/>
                    <a:pt x="635" y="169"/>
                  </a:cubicBezTo>
                  <a:cubicBezTo>
                    <a:pt x="635" y="169"/>
                    <a:pt x="636" y="168"/>
                    <a:pt x="637" y="168"/>
                  </a:cubicBezTo>
                  <a:cubicBezTo>
                    <a:pt x="638" y="168"/>
                    <a:pt x="639" y="166"/>
                    <a:pt x="639" y="165"/>
                  </a:cubicBezTo>
                  <a:cubicBezTo>
                    <a:pt x="639" y="165"/>
                    <a:pt x="639" y="165"/>
                    <a:pt x="639" y="165"/>
                  </a:cubicBezTo>
                  <a:cubicBezTo>
                    <a:pt x="639" y="165"/>
                    <a:pt x="647" y="165"/>
                    <a:pt x="655" y="165"/>
                  </a:cubicBezTo>
                  <a:cubicBezTo>
                    <a:pt x="663" y="165"/>
                    <a:pt x="671" y="165"/>
                    <a:pt x="671" y="165"/>
                  </a:cubicBezTo>
                  <a:cubicBezTo>
                    <a:pt x="671" y="165"/>
                    <a:pt x="671" y="165"/>
                    <a:pt x="671" y="165"/>
                  </a:cubicBezTo>
                  <a:cubicBezTo>
                    <a:pt x="671" y="166"/>
                    <a:pt x="671" y="166"/>
                    <a:pt x="671" y="166"/>
                  </a:cubicBezTo>
                  <a:cubicBezTo>
                    <a:pt x="671" y="167"/>
                    <a:pt x="672" y="167"/>
                    <a:pt x="672" y="167"/>
                  </a:cubicBezTo>
                  <a:cubicBezTo>
                    <a:pt x="672" y="167"/>
                    <a:pt x="672" y="167"/>
                    <a:pt x="672" y="167"/>
                  </a:cubicBezTo>
                  <a:cubicBezTo>
                    <a:pt x="672" y="168"/>
                    <a:pt x="595" y="258"/>
                    <a:pt x="593" y="258"/>
                  </a:cubicBezTo>
                  <a:cubicBezTo>
                    <a:pt x="593" y="258"/>
                    <a:pt x="593" y="258"/>
                    <a:pt x="593" y="258"/>
                  </a:cubicBezTo>
                  <a:cubicBezTo>
                    <a:pt x="593" y="258"/>
                    <a:pt x="593" y="258"/>
                    <a:pt x="593" y="258"/>
                  </a:cubicBezTo>
                  <a:cubicBezTo>
                    <a:pt x="592" y="258"/>
                    <a:pt x="591" y="257"/>
                    <a:pt x="589" y="257"/>
                  </a:cubicBezTo>
                  <a:cubicBezTo>
                    <a:pt x="588" y="257"/>
                    <a:pt x="587" y="258"/>
                    <a:pt x="586" y="258"/>
                  </a:cubicBezTo>
                  <a:cubicBezTo>
                    <a:pt x="583" y="260"/>
                    <a:pt x="582" y="264"/>
                    <a:pt x="583" y="267"/>
                  </a:cubicBezTo>
                  <a:cubicBezTo>
                    <a:pt x="584" y="269"/>
                    <a:pt x="587" y="271"/>
                    <a:pt x="589" y="271"/>
                  </a:cubicBezTo>
                  <a:cubicBezTo>
                    <a:pt x="590" y="271"/>
                    <a:pt x="591" y="270"/>
                    <a:pt x="592" y="270"/>
                  </a:cubicBezTo>
                  <a:cubicBezTo>
                    <a:pt x="596" y="268"/>
                    <a:pt x="597" y="264"/>
                    <a:pt x="596" y="261"/>
                  </a:cubicBezTo>
                  <a:cubicBezTo>
                    <a:pt x="595" y="261"/>
                    <a:pt x="595" y="260"/>
                    <a:pt x="595" y="260"/>
                  </a:cubicBezTo>
                  <a:cubicBezTo>
                    <a:pt x="595" y="260"/>
                    <a:pt x="595" y="260"/>
                    <a:pt x="595" y="260"/>
                  </a:cubicBezTo>
                  <a:cubicBezTo>
                    <a:pt x="594" y="259"/>
                    <a:pt x="672" y="168"/>
                    <a:pt x="673" y="168"/>
                  </a:cubicBezTo>
                  <a:cubicBezTo>
                    <a:pt x="673" y="168"/>
                    <a:pt x="673" y="168"/>
                    <a:pt x="673" y="168"/>
                  </a:cubicBezTo>
                  <a:cubicBezTo>
                    <a:pt x="673" y="168"/>
                    <a:pt x="673" y="168"/>
                    <a:pt x="673" y="168"/>
                  </a:cubicBezTo>
                  <a:cubicBezTo>
                    <a:pt x="673" y="168"/>
                    <a:pt x="674" y="169"/>
                    <a:pt x="675" y="169"/>
                  </a:cubicBezTo>
                  <a:cubicBezTo>
                    <a:pt x="675" y="169"/>
                    <a:pt x="676" y="168"/>
                    <a:pt x="677" y="168"/>
                  </a:cubicBezTo>
                  <a:cubicBezTo>
                    <a:pt x="679" y="167"/>
                    <a:pt x="680" y="165"/>
                    <a:pt x="679" y="163"/>
                  </a:cubicBezTo>
                  <a:cubicBezTo>
                    <a:pt x="678" y="162"/>
                    <a:pt x="676" y="161"/>
                    <a:pt x="675" y="161"/>
                  </a:cubicBezTo>
                  <a:cubicBezTo>
                    <a:pt x="674" y="161"/>
                    <a:pt x="674" y="161"/>
                    <a:pt x="673" y="161"/>
                  </a:cubicBezTo>
                  <a:cubicBezTo>
                    <a:pt x="672" y="161"/>
                    <a:pt x="672" y="162"/>
                    <a:pt x="671" y="163"/>
                  </a:cubicBezTo>
                  <a:cubicBezTo>
                    <a:pt x="671" y="163"/>
                    <a:pt x="671" y="163"/>
                    <a:pt x="671" y="163"/>
                  </a:cubicBezTo>
                  <a:cubicBezTo>
                    <a:pt x="671" y="163"/>
                    <a:pt x="671" y="163"/>
                    <a:pt x="671" y="163"/>
                  </a:cubicBezTo>
                  <a:cubicBezTo>
                    <a:pt x="669" y="163"/>
                    <a:pt x="594" y="134"/>
                    <a:pt x="594" y="133"/>
                  </a:cubicBezTo>
                  <a:cubicBezTo>
                    <a:pt x="594" y="133"/>
                    <a:pt x="594" y="133"/>
                    <a:pt x="594" y="133"/>
                  </a:cubicBezTo>
                  <a:cubicBezTo>
                    <a:pt x="594" y="132"/>
                    <a:pt x="594" y="131"/>
                    <a:pt x="594" y="130"/>
                  </a:cubicBezTo>
                  <a:cubicBezTo>
                    <a:pt x="593" y="129"/>
                    <a:pt x="591" y="128"/>
                    <a:pt x="589" y="128"/>
                  </a:cubicBezTo>
                  <a:cubicBezTo>
                    <a:pt x="589" y="128"/>
                    <a:pt x="588" y="128"/>
                    <a:pt x="587" y="128"/>
                  </a:cubicBezTo>
                  <a:cubicBezTo>
                    <a:pt x="585" y="129"/>
                    <a:pt x="584" y="132"/>
                    <a:pt x="585" y="134"/>
                  </a:cubicBezTo>
                  <a:cubicBezTo>
                    <a:pt x="585" y="134"/>
                    <a:pt x="585" y="134"/>
                    <a:pt x="585" y="134"/>
                  </a:cubicBezTo>
                  <a:cubicBezTo>
                    <a:pt x="585" y="135"/>
                    <a:pt x="556" y="154"/>
                    <a:pt x="553" y="154"/>
                  </a:cubicBezTo>
                  <a:cubicBezTo>
                    <a:pt x="553" y="154"/>
                    <a:pt x="553" y="154"/>
                    <a:pt x="553" y="154"/>
                  </a:cubicBezTo>
                  <a:cubicBezTo>
                    <a:pt x="553" y="154"/>
                    <a:pt x="553" y="154"/>
                    <a:pt x="553" y="154"/>
                  </a:cubicBezTo>
                  <a:cubicBezTo>
                    <a:pt x="552" y="153"/>
                    <a:pt x="550" y="152"/>
                    <a:pt x="548" y="152"/>
                  </a:cubicBezTo>
                  <a:cubicBezTo>
                    <a:pt x="547" y="152"/>
                    <a:pt x="546" y="153"/>
                    <a:pt x="545" y="153"/>
                  </a:cubicBezTo>
                  <a:cubicBezTo>
                    <a:pt x="543" y="154"/>
                    <a:pt x="541" y="156"/>
                    <a:pt x="541" y="159"/>
                  </a:cubicBezTo>
                  <a:cubicBezTo>
                    <a:pt x="541" y="159"/>
                    <a:pt x="541" y="159"/>
                    <a:pt x="541" y="159"/>
                  </a:cubicBezTo>
                  <a:cubicBezTo>
                    <a:pt x="541" y="159"/>
                    <a:pt x="518" y="163"/>
                    <a:pt x="489" y="167"/>
                  </a:cubicBezTo>
                  <a:cubicBezTo>
                    <a:pt x="497" y="144"/>
                    <a:pt x="507" y="115"/>
                    <a:pt x="509" y="115"/>
                  </a:cubicBezTo>
                  <a:cubicBezTo>
                    <a:pt x="509" y="115"/>
                    <a:pt x="509" y="115"/>
                    <a:pt x="509" y="115"/>
                  </a:cubicBezTo>
                  <a:cubicBezTo>
                    <a:pt x="509" y="115"/>
                    <a:pt x="509" y="115"/>
                    <a:pt x="509" y="115"/>
                  </a:cubicBezTo>
                  <a:cubicBezTo>
                    <a:pt x="509" y="115"/>
                    <a:pt x="510" y="115"/>
                    <a:pt x="510" y="115"/>
                  </a:cubicBezTo>
                  <a:cubicBezTo>
                    <a:pt x="512" y="115"/>
                    <a:pt x="513" y="115"/>
                    <a:pt x="515" y="115"/>
                  </a:cubicBezTo>
                  <a:cubicBezTo>
                    <a:pt x="520" y="112"/>
                    <a:pt x="522" y="107"/>
                    <a:pt x="519" y="102"/>
                  </a:cubicBezTo>
                  <a:cubicBezTo>
                    <a:pt x="518" y="98"/>
                    <a:pt x="514" y="96"/>
                    <a:pt x="510" y="96"/>
                  </a:cubicBezTo>
                  <a:cubicBezTo>
                    <a:pt x="509" y="96"/>
                    <a:pt x="507" y="97"/>
                    <a:pt x="506" y="97"/>
                  </a:cubicBezTo>
                  <a:cubicBezTo>
                    <a:pt x="504" y="98"/>
                    <a:pt x="503" y="99"/>
                    <a:pt x="502" y="100"/>
                  </a:cubicBezTo>
                  <a:cubicBezTo>
                    <a:pt x="502" y="100"/>
                    <a:pt x="502" y="100"/>
                    <a:pt x="502" y="100"/>
                  </a:cubicBezTo>
                  <a:cubicBezTo>
                    <a:pt x="502" y="100"/>
                    <a:pt x="502" y="100"/>
                    <a:pt x="502" y="100"/>
                  </a:cubicBezTo>
                  <a:cubicBezTo>
                    <a:pt x="498" y="100"/>
                    <a:pt x="453" y="77"/>
                    <a:pt x="454" y="75"/>
                  </a:cubicBezTo>
                  <a:cubicBezTo>
                    <a:pt x="454" y="75"/>
                    <a:pt x="454" y="75"/>
                    <a:pt x="454" y="75"/>
                  </a:cubicBezTo>
                  <a:cubicBezTo>
                    <a:pt x="455" y="73"/>
                    <a:pt x="455" y="69"/>
                    <a:pt x="453" y="67"/>
                  </a:cubicBezTo>
                  <a:cubicBezTo>
                    <a:pt x="451" y="62"/>
                    <a:pt x="447" y="60"/>
                    <a:pt x="443" y="60"/>
                  </a:cubicBezTo>
                  <a:cubicBezTo>
                    <a:pt x="441" y="60"/>
                    <a:pt x="439" y="60"/>
                    <a:pt x="438" y="61"/>
                  </a:cubicBezTo>
                  <a:cubicBezTo>
                    <a:pt x="433" y="63"/>
                    <a:pt x="431" y="67"/>
                    <a:pt x="431" y="71"/>
                  </a:cubicBezTo>
                  <a:cubicBezTo>
                    <a:pt x="431" y="71"/>
                    <a:pt x="431" y="71"/>
                    <a:pt x="431" y="71"/>
                  </a:cubicBezTo>
                  <a:cubicBezTo>
                    <a:pt x="431" y="73"/>
                    <a:pt x="295" y="88"/>
                    <a:pt x="278" y="88"/>
                  </a:cubicBezTo>
                  <a:cubicBezTo>
                    <a:pt x="277" y="88"/>
                    <a:pt x="277" y="88"/>
                    <a:pt x="277" y="88"/>
                  </a:cubicBezTo>
                  <a:cubicBezTo>
                    <a:pt x="277" y="88"/>
                    <a:pt x="277" y="88"/>
                    <a:pt x="277" y="88"/>
                  </a:cubicBezTo>
                  <a:cubicBezTo>
                    <a:pt x="276" y="88"/>
                    <a:pt x="276" y="87"/>
                    <a:pt x="276" y="86"/>
                  </a:cubicBezTo>
                  <a:cubicBezTo>
                    <a:pt x="274" y="82"/>
                    <a:pt x="270" y="80"/>
                    <a:pt x="265" y="80"/>
                  </a:cubicBezTo>
                  <a:cubicBezTo>
                    <a:pt x="263" y="80"/>
                    <a:pt x="262" y="80"/>
                    <a:pt x="260" y="81"/>
                  </a:cubicBezTo>
                  <a:cubicBezTo>
                    <a:pt x="254" y="84"/>
                    <a:pt x="251" y="90"/>
                    <a:pt x="254" y="96"/>
                  </a:cubicBezTo>
                  <a:cubicBezTo>
                    <a:pt x="256" y="99"/>
                    <a:pt x="258" y="101"/>
                    <a:pt x="260" y="102"/>
                  </a:cubicBezTo>
                  <a:cubicBezTo>
                    <a:pt x="260" y="102"/>
                    <a:pt x="260" y="102"/>
                    <a:pt x="260" y="102"/>
                  </a:cubicBezTo>
                  <a:cubicBezTo>
                    <a:pt x="262" y="103"/>
                    <a:pt x="250" y="143"/>
                    <a:pt x="249" y="143"/>
                  </a:cubicBezTo>
                  <a:cubicBezTo>
                    <a:pt x="249" y="143"/>
                    <a:pt x="249" y="143"/>
                    <a:pt x="249" y="143"/>
                  </a:cubicBezTo>
                  <a:cubicBezTo>
                    <a:pt x="249" y="143"/>
                    <a:pt x="249" y="143"/>
                    <a:pt x="249" y="143"/>
                  </a:cubicBezTo>
                  <a:cubicBezTo>
                    <a:pt x="249" y="143"/>
                    <a:pt x="249" y="143"/>
                    <a:pt x="249" y="143"/>
                  </a:cubicBezTo>
                  <a:cubicBezTo>
                    <a:pt x="248" y="143"/>
                    <a:pt x="248" y="143"/>
                    <a:pt x="247" y="143"/>
                  </a:cubicBezTo>
                  <a:cubicBezTo>
                    <a:pt x="246" y="144"/>
                    <a:pt x="245" y="145"/>
                    <a:pt x="245" y="146"/>
                  </a:cubicBezTo>
                  <a:cubicBezTo>
                    <a:pt x="245" y="146"/>
                    <a:pt x="245" y="146"/>
                    <a:pt x="245" y="146"/>
                  </a:cubicBezTo>
                  <a:cubicBezTo>
                    <a:pt x="245" y="146"/>
                    <a:pt x="245" y="146"/>
                    <a:pt x="244" y="146"/>
                  </a:cubicBezTo>
                  <a:cubicBezTo>
                    <a:pt x="237" y="146"/>
                    <a:pt x="185" y="141"/>
                    <a:pt x="185" y="140"/>
                  </a:cubicBezTo>
                  <a:cubicBezTo>
                    <a:pt x="185" y="140"/>
                    <a:pt x="185" y="140"/>
                    <a:pt x="185" y="140"/>
                  </a:cubicBezTo>
                  <a:cubicBezTo>
                    <a:pt x="185" y="139"/>
                    <a:pt x="185" y="138"/>
                    <a:pt x="184" y="138"/>
                  </a:cubicBezTo>
                  <a:cubicBezTo>
                    <a:pt x="184" y="137"/>
                    <a:pt x="184" y="137"/>
                    <a:pt x="184" y="137"/>
                  </a:cubicBezTo>
                  <a:cubicBezTo>
                    <a:pt x="184" y="137"/>
                    <a:pt x="184" y="137"/>
                    <a:pt x="184" y="137"/>
                  </a:cubicBezTo>
                  <a:cubicBezTo>
                    <a:pt x="183" y="136"/>
                    <a:pt x="209" y="113"/>
                    <a:pt x="211" y="113"/>
                  </a:cubicBezTo>
                  <a:cubicBezTo>
                    <a:pt x="211" y="113"/>
                    <a:pt x="211" y="113"/>
                    <a:pt x="211" y="113"/>
                  </a:cubicBezTo>
                  <a:cubicBezTo>
                    <a:pt x="210" y="113"/>
                    <a:pt x="210" y="113"/>
                    <a:pt x="210" y="113"/>
                  </a:cubicBezTo>
                  <a:cubicBezTo>
                    <a:pt x="211" y="114"/>
                    <a:pt x="212" y="114"/>
                    <a:pt x="214" y="114"/>
                  </a:cubicBezTo>
                  <a:cubicBezTo>
                    <a:pt x="214" y="114"/>
                    <a:pt x="215" y="114"/>
                    <a:pt x="216" y="114"/>
                  </a:cubicBezTo>
                  <a:cubicBezTo>
                    <a:pt x="218" y="113"/>
                    <a:pt x="219" y="110"/>
                    <a:pt x="218" y="107"/>
                  </a:cubicBezTo>
                  <a:cubicBezTo>
                    <a:pt x="217" y="106"/>
                    <a:pt x="215" y="105"/>
                    <a:pt x="214" y="105"/>
                  </a:cubicBezTo>
                  <a:cubicBezTo>
                    <a:pt x="213" y="105"/>
                    <a:pt x="212" y="105"/>
                    <a:pt x="211" y="105"/>
                  </a:cubicBezTo>
                  <a:cubicBezTo>
                    <a:pt x="211" y="106"/>
                    <a:pt x="211" y="106"/>
                    <a:pt x="211" y="106"/>
                  </a:cubicBezTo>
                  <a:cubicBezTo>
                    <a:pt x="211" y="106"/>
                    <a:pt x="211" y="106"/>
                    <a:pt x="211" y="106"/>
                  </a:cubicBezTo>
                  <a:cubicBezTo>
                    <a:pt x="211" y="106"/>
                    <a:pt x="211" y="106"/>
                    <a:pt x="211" y="106"/>
                  </a:cubicBezTo>
                  <a:cubicBezTo>
                    <a:pt x="209" y="106"/>
                    <a:pt x="175" y="72"/>
                    <a:pt x="176" y="70"/>
                  </a:cubicBezTo>
                  <a:cubicBezTo>
                    <a:pt x="176" y="70"/>
                    <a:pt x="176" y="70"/>
                    <a:pt x="176" y="70"/>
                  </a:cubicBezTo>
                  <a:cubicBezTo>
                    <a:pt x="177" y="69"/>
                    <a:pt x="178" y="67"/>
                    <a:pt x="178" y="65"/>
                  </a:cubicBezTo>
                  <a:cubicBezTo>
                    <a:pt x="178" y="59"/>
                    <a:pt x="174" y="55"/>
                    <a:pt x="168" y="55"/>
                  </a:cubicBezTo>
                  <a:cubicBezTo>
                    <a:pt x="163" y="55"/>
                    <a:pt x="158" y="59"/>
                    <a:pt x="158" y="65"/>
                  </a:cubicBezTo>
                  <a:cubicBezTo>
                    <a:pt x="158" y="68"/>
                    <a:pt x="160" y="70"/>
                    <a:pt x="162" y="72"/>
                  </a:cubicBezTo>
                  <a:cubicBezTo>
                    <a:pt x="162" y="72"/>
                    <a:pt x="162" y="72"/>
                    <a:pt x="162" y="72"/>
                  </a:cubicBezTo>
                  <a:cubicBezTo>
                    <a:pt x="164" y="73"/>
                    <a:pt x="131" y="132"/>
                    <a:pt x="127" y="132"/>
                  </a:cubicBezTo>
                  <a:cubicBezTo>
                    <a:pt x="127" y="132"/>
                    <a:pt x="127" y="132"/>
                    <a:pt x="127" y="132"/>
                  </a:cubicBezTo>
                  <a:cubicBezTo>
                    <a:pt x="127" y="132"/>
                    <a:pt x="127" y="132"/>
                    <a:pt x="127" y="132"/>
                  </a:cubicBezTo>
                  <a:cubicBezTo>
                    <a:pt x="126" y="132"/>
                    <a:pt x="124" y="132"/>
                    <a:pt x="122" y="132"/>
                  </a:cubicBezTo>
                  <a:cubicBezTo>
                    <a:pt x="121" y="132"/>
                    <a:pt x="120" y="132"/>
                    <a:pt x="119" y="132"/>
                  </a:cubicBezTo>
                  <a:cubicBezTo>
                    <a:pt x="119" y="132"/>
                    <a:pt x="119" y="132"/>
                    <a:pt x="119" y="132"/>
                  </a:cubicBezTo>
                  <a:cubicBezTo>
                    <a:pt x="119" y="132"/>
                    <a:pt x="119" y="132"/>
                    <a:pt x="119" y="132"/>
                  </a:cubicBezTo>
                  <a:cubicBezTo>
                    <a:pt x="118" y="132"/>
                    <a:pt x="113" y="122"/>
                    <a:pt x="109" y="112"/>
                  </a:cubicBezTo>
                  <a:cubicBezTo>
                    <a:pt x="113" y="122"/>
                    <a:pt x="117" y="133"/>
                    <a:pt x="115" y="133"/>
                  </a:cubicBezTo>
                  <a:cubicBezTo>
                    <a:pt x="116" y="133"/>
                    <a:pt x="116" y="133"/>
                    <a:pt x="116" y="133"/>
                  </a:cubicBezTo>
                  <a:cubicBezTo>
                    <a:pt x="115" y="133"/>
                    <a:pt x="115" y="133"/>
                    <a:pt x="115" y="133"/>
                  </a:cubicBezTo>
                  <a:cubicBezTo>
                    <a:pt x="115" y="133"/>
                    <a:pt x="115" y="133"/>
                    <a:pt x="115" y="133"/>
                  </a:cubicBezTo>
                  <a:cubicBezTo>
                    <a:pt x="115" y="133"/>
                    <a:pt x="115" y="133"/>
                    <a:pt x="115" y="133"/>
                  </a:cubicBezTo>
                  <a:cubicBezTo>
                    <a:pt x="112" y="133"/>
                    <a:pt x="26" y="30"/>
                    <a:pt x="14" y="13"/>
                  </a:cubicBezTo>
                  <a:cubicBezTo>
                    <a:pt x="28" y="23"/>
                    <a:pt x="95" y="83"/>
                    <a:pt x="95" y="84"/>
                  </a:cubicBezTo>
                  <a:cubicBezTo>
                    <a:pt x="95" y="84"/>
                    <a:pt x="95" y="84"/>
                    <a:pt x="95" y="84"/>
                  </a:cubicBezTo>
                  <a:cubicBezTo>
                    <a:pt x="94" y="85"/>
                    <a:pt x="94" y="86"/>
                    <a:pt x="95" y="88"/>
                  </a:cubicBezTo>
                  <a:cubicBezTo>
                    <a:pt x="95" y="89"/>
                    <a:pt x="97" y="90"/>
                    <a:pt x="98" y="90"/>
                  </a:cubicBezTo>
                  <a:cubicBezTo>
                    <a:pt x="99" y="90"/>
                    <a:pt x="99" y="90"/>
                    <a:pt x="99" y="90"/>
                  </a:cubicBezTo>
                  <a:cubicBezTo>
                    <a:pt x="99" y="90"/>
                    <a:pt x="99" y="90"/>
                    <a:pt x="99" y="90"/>
                  </a:cubicBezTo>
                  <a:cubicBezTo>
                    <a:pt x="99" y="90"/>
                    <a:pt x="99" y="90"/>
                    <a:pt x="99" y="90"/>
                  </a:cubicBezTo>
                  <a:cubicBezTo>
                    <a:pt x="100" y="90"/>
                    <a:pt x="103" y="97"/>
                    <a:pt x="106" y="105"/>
                  </a:cubicBezTo>
                  <a:cubicBezTo>
                    <a:pt x="103" y="97"/>
                    <a:pt x="100" y="90"/>
                    <a:pt x="101" y="90"/>
                  </a:cubicBezTo>
                  <a:cubicBezTo>
                    <a:pt x="100" y="90"/>
                    <a:pt x="100" y="90"/>
                    <a:pt x="100" y="90"/>
                  </a:cubicBezTo>
                  <a:cubicBezTo>
                    <a:pt x="102" y="89"/>
                    <a:pt x="103" y="86"/>
                    <a:pt x="102" y="84"/>
                  </a:cubicBezTo>
                  <a:cubicBezTo>
                    <a:pt x="102" y="83"/>
                    <a:pt x="100" y="82"/>
                    <a:pt x="98" y="82"/>
                  </a:cubicBezTo>
                  <a:cubicBezTo>
                    <a:pt x="98" y="82"/>
                    <a:pt x="97" y="82"/>
                    <a:pt x="97" y="83"/>
                  </a:cubicBezTo>
                  <a:cubicBezTo>
                    <a:pt x="96" y="83"/>
                    <a:pt x="96" y="83"/>
                    <a:pt x="96" y="83"/>
                  </a:cubicBezTo>
                  <a:cubicBezTo>
                    <a:pt x="96" y="83"/>
                    <a:pt x="96" y="83"/>
                    <a:pt x="96" y="83"/>
                  </a:cubicBezTo>
                  <a:cubicBezTo>
                    <a:pt x="96" y="83"/>
                    <a:pt x="96" y="83"/>
                    <a:pt x="96" y="83"/>
                  </a:cubicBezTo>
                  <a:cubicBezTo>
                    <a:pt x="95" y="83"/>
                    <a:pt x="13" y="11"/>
                    <a:pt x="13" y="10"/>
                  </a:cubicBezTo>
                  <a:cubicBezTo>
                    <a:pt x="13" y="10"/>
                    <a:pt x="13" y="10"/>
                    <a:pt x="13" y="10"/>
                  </a:cubicBezTo>
                  <a:cubicBezTo>
                    <a:pt x="15" y="8"/>
                    <a:pt x="15" y="6"/>
                    <a:pt x="14" y="3"/>
                  </a:cubicBezTo>
                  <a:cubicBezTo>
                    <a:pt x="13" y="1"/>
                    <a:pt x="10" y="0"/>
                    <a:pt x="8"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 name="Freeform 10"/>
            <p:cNvSpPr>
              <a:spLocks noEditPoints="1"/>
            </p:cNvSpPr>
            <p:nvPr/>
          </p:nvSpPr>
          <p:spPr bwMode="auto">
            <a:xfrm>
              <a:off x="6415088" y="4025900"/>
              <a:ext cx="315913" cy="323850"/>
            </a:xfrm>
            <a:custGeom>
              <a:avLst/>
              <a:gdLst>
                <a:gd name="T0" fmla="*/ 14 w 84"/>
                <a:gd name="T1" fmla="*/ 43 h 86"/>
                <a:gd name="T2" fmla="*/ 45 w 84"/>
                <a:gd name="T3" fmla="*/ 13 h 86"/>
                <a:gd name="T4" fmla="*/ 45 w 84"/>
                <a:gd name="T5" fmla="*/ 13 h 86"/>
                <a:gd name="T6" fmla="*/ 45 w 84"/>
                <a:gd name="T7" fmla="*/ 13 h 86"/>
                <a:gd name="T8" fmla="*/ 49 w 84"/>
                <a:gd name="T9" fmla="*/ 14 h 86"/>
                <a:gd name="T10" fmla="*/ 52 w 84"/>
                <a:gd name="T11" fmla="*/ 14 h 86"/>
                <a:gd name="T12" fmla="*/ 52 w 84"/>
                <a:gd name="T13" fmla="*/ 14 h 86"/>
                <a:gd name="T14" fmla="*/ 52 w 84"/>
                <a:gd name="T15" fmla="*/ 14 h 86"/>
                <a:gd name="T16" fmla="*/ 76 w 84"/>
                <a:gd name="T17" fmla="*/ 49 h 86"/>
                <a:gd name="T18" fmla="*/ 76 w 84"/>
                <a:gd name="T19" fmla="*/ 49 h 86"/>
                <a:gd name="T20" fmla="*/ 74 w 84"/>
                <a:gd name="T21" fmla="*/ 53 h 86"/>
                <a:gd name="T22" fmla="*/ 74 w 84"/>
                <a:gd name="T23" fmla="*/ 55 h 86"/>
                <a:gd name="T24" fmla="*/ 74 w 84"/>
                <a:gd name="T25" fmla="*/ 55 h 86"/>
                <a:gd name="T26" fmla="*/ 42 w 84"/>
                <a:gd name="T27" fmla="*/ 80 h 86"/>
                <a:gd name="T28" fmla="*/ 42 w 84"/>
                <a:gd name="T29" fmla="*/ 80 h 86"/>
                <a:gd name="T30" fmla="*/ 42 w 84"/>
                <a:gd name="T31" fmla="*/ 80 h 86"/>
                <a:gd name="T32" fmla="*/ 39 w 84"/>
                <a:gd name="T33" fmla="*/ 79 h 86"/>
                <a:gd name="T34" fmla="*/ 37 w 84"/>
                <a:gd name="T35" fmla="*/ 79 h 86"/>
                <a:gd name="T36" fmla="*/ 37 w 84"/>
                <a:gd name="T37" fmla="*/ 79 h 86"/>
                <a:gd name="T38" fmla="*/ 37 w 84"/>
                <a:gd name="T39" fmla="*/ 79 h 86"/>
                <a:gd name="T40" fmla="*/ 37 w 84"/>
                <a:gd name="T41" fmla="*/ 79 h 86"/>
                <a:gd name="T42" fmla="*/ 14 w 84"/>
                <a:gd name="T43" fmla="*/ 52 h 86"/>
                <a:gd name="T44" fmla="*/ 14 w 84"/>
                <a:gd name="T45" fmla="*/ 52 h 86"/>
                <a:gd name="T46" fmla="*/ 15 w 84"/>
                <a:gd name="T47" fmla="*/ 48 h 86"/>
                <a:gd name="T48" fmla="*/ 14 w 84"/>
                <a:gd name="T49" fmla="*/ 43 h 86"/>
                <a:gd name="T50" fmla="*/ 14 w 84"/>
                <a:gd name="T51" fmla="*/ 43 h 86"/>
                <a:gd name="T52" fmla="*/ 49 w 84"/>
                <a:gd name="T53" fmla="*/ 0 h 86"/>
                <a:gd name="T54" fmla="*/ 46 w 84"/>
                <a:gd name="T55" fmla="*/ 0 h 86"/>
                <a:gd name="T56" fmla="*/ 42 w 84"/>
                <a:gd name="T57" fmla="*/ 10 h 86"/>
                <a:gd name="T58" fmla="*/ 43 w 84"/>
                <a:gd name="T59" fmla="*/ 11 h 86"/>
                <a:gd name="T60" fmla="*/ 43 w 84"/>
                <a:gd name="T61" fmla="*/ 11 h 86"/>
                <a:gd name="T62" fmla="*/ 12 w 84"/>
                <a:gd name="T63" fmla="*/ 42 h 86"/>
                <a:gd name="T64" fmla="*/ 12 w 84"/>
                <a:gd name="T65" fmla="*/ 42 h 86"/>
                <a:gd name="T66" fmla="*/ 12 w 84"/>
                <a:gd name="T67" fmla="*/ 42 h 86"/>
                <a:gd name="T68" fmla="*/ 8 w 84"/>
                <a:gd name="T69" fmla="*/ 40 h 86"/>
                <a:gd name="T70" fmla="*/ 0 w 84"/>
                <a:gd name="T71" fmla="*/ 48 h 86"/>
                <a:gd name="T72" fmla="*/ 8 w 84"/>
                <a:gd name="T73" fmla="*/ 55 h 86"/>
                <a:gd name="T74" fmla="*/ 12 w 84"/>
                <a:gd name="T75" fmla="*/ 54 h 86"/>
                <a:gd name="T76" fmla="*/ 12 w 84"/>
                <a:gd name="T77" fmla="*/ 54 h 86"/>
                <a:gd name="T78" fmla="*/ 12 w 84"/>
                <a:gd name="T79" fmla="*/ 54 h 86"/>
                <a:gd name="T80" fmla="*/ 36 w 84"/>
                <a:gd name="T81" fmla="*/ 80 h 86"/>
                <a:gd name="T82" fmla="*/ 36 w 84"/>
                <a:gd name="T83" fmla="*/ 80 h 86"/>
                <a:gd name="T84" fmla="*/ 35 w 84"/>
                <a:gd name="T85" fmla="*/ 84 h 86"/>
                <a:gd name="T86" fmla="*/ 39 w 84"/>
                <a:gd name="T87" fmla="*/ 86 h 86"/>
                <a:gd name="T88" fmla="*/ 41 w 84"/>
                <a:gd name="T89" fmla="*/ 86 h 86"/>
                <a:gd name="T90" fmla="*/ 43 w 84"/>
                <a:gd name="T91" fmla="*/ 81 h 86"/>
                <a:gd name="T92" fmla="*/ 42 w 84"/>
                <a:gd name="T93" fmla="*/ 81 h 86"/>
                <a:gd name="T94" fmla="*/ 42 w 84"/>
                <a:gd name="T95" fmla="*/ 81 h 86"/>
                <a:gd name="T96" fmla="*/ 75 w 84"/>
                <a:gd name="T97" fmla="*/ 56 h 86"/>
                <a:gd name="T98" fmla="*/ 75 w 84"/>
                <a:gd name="T99" fmla="*/ 56 h 86"/>
                <a:gd name="T100" fmla="*/ 75 w 84"/>
                <a:gd name="T101" fmla="*/ 56 h 86"/>
                <a:gd name="T102" fmla="*/ 79 w 84"/>
                <a:gd name="T103" fmla="*/ 58 h 86"/>
                <a:gd name="T104" fmla="*/ 84 w 84"/>
                <a:gd name="T105" fmla="*/ 53 h 86"/>
                <a:gd name="T106" fmla="*/ 79 w 84"/>
                <a:gd name="T107" fmla="*/ 48 h 86"/>
                <a:gd name="T108" fmla="*/ 77 w 84"/>
                <a:gd name="T109" fmla="*/ 48 h 86"/>
                <a:gd name="T110" fmla="*/ 77 w 84"/>
                <a:gd name="T111" fmla="*/ 48 h 86"/>
                <a:gd name="T112" fmla="*/ 54 w 84"/>
                <a:gd name="T113" fmla="*/ 13 h 86"/>
                <a:gd name="T114" fmla="*/ 54 w 84"/>
                <a:gd name="T115" fmla="*/ 13 h 86"/>
                <a:gd name="T116" fmla="*/ 56 w 84"/>
                <a:gd name="T117" fmla="*/ 4 h 86"/>
                <a:gd name="T118" fmla="*/ 49 w 84"/>
                <a:gd name="T11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6">
                  <a:moveTo>
                    <a:pt x="14" y="43"/>
                  </a:moveTo>
                  <a:cubicBezTo>
                    <a:pt x="13" y="42"/>
                    <a:pt x="43" y="13"/>
                    <a:pt x="45" y="13"/>
                  </a:cubicBezTo>
                  <a:cubicBezTo>
                    <a:pt x="45" y="13"/>
                    <a:pt x="45" y="13"/>
                    <a:pt x="45" y="13"/>
                  </a:cubicBezTo>
                  <a:cubicBezTo>
                    <a:pt x="45" y="13"/>
                    <a:pt x="45" y="13"/>
                    <a:pt x="45" y="13"/>
                  </a:cubicBezTo>
                  <a:cubicBezTo>
                    <a:pt x="46" y="14"/>
                    <a:pt x="48" y="14"/>
                    <a:pt x="49" y="14"/>
                  </a:cubicBezTo>
                  <a:cubicBezTo>
                    <a:pt x="50" y="14"/>
                    <a:pt x="51" y="14"/>
                    <a:pt x="52" y="14"/>
                  </a:cubicBezTo>
                  <a:cubicBezTo>
                    <a:pt x="52" y="14"/>
                    <a:pt x="52" y="14"/>
                    <a:pt x="52" y="14"/>
                  </a:cubicBezTo>
                  <a:cubicBezTo>
                    <a:pt x="52" y="14"/>
                    <a:pt x="52" y="14"/>
                    <a:pt x="52" y="14"/>
                  </a:cubicBezTo>
                  <a:cubicBezTo>
                    <a:pt x="54" y="14"/>
                    <a:pt x="76" y="48"/>
                    <a:pt x="76" y="49"/>
                  </a:cubicBezTo>
                  <a:cubicBezTo>
                    <a:pt x="76" y="49"/>
                    <a:pt x="76" y="49"/>
                    <a:pt x="76" y="49"/>
                  </a:cubicBezTo>
                  <a:cubicBezTo>
                    <a:pt x="75" y="50"/>
                    <a:pt x="74" y="51"/>
                    <a:pt x="74" y="53"/>
                  </a:cubicBezTo>
                  <a:cubicBezTo>
                    <a:pt x="74" y="54"/>
                    <a:pt x="74" y="54"/>
                    <a:pt x="74" y="55"/>
                  </a:cubicBezTo>
                  <a:cubicBezTo>
                    <a:pt x="74" y="55"/>
                    <a:pt x="74" y="55"/>
                    <a:pt x="74" y="55"/>
                  </a:cubicBezTo>
                  <a:cubicBezTo>
                    <a:pt x="75" y="56"/>
                    <a:pt x="43" y="80"/>
                    <a:pt x="42" y="80"/>
                  </a:cubicBezTo>
                  <a:cubicBezTo>
                    <a:pt x="42" y="80"/>
                    <a:pt x="42" y="80"/>
                    <a:pt x="42" y="80"/>
                  </a:cubicBezTo>
                  <a:cubicBezTo>
                    <a:pt x="42" y="80"/>
                    <a:pt x="42" y="80"/>
                    <a:pt x="42" y="80"/>
                  </a:cubicBezTo>
                  <a:cubicBezTo>
                    <a:pt x="41" y="79"/>
                    <a:pt x="40" y="79"/>
                    <a:pt x="39" y="79"/>
                  </a:cubicBezTo>
                  <a:cubicBezTo>
                    <a:pt x="38" y="79"/>
                    <a:pt x="38" y="79"/>
                    <a:pt x="37" y="79"/>
                  </a:cubicBezTo>
                  <a:cubicBezTo>
                    <a:pt x="37" y="79"/>
                    <a:pt x="37" y="79"/>
                    <a:pt x="37" y="79"/>
                  </a:cubicBezTo>
                  <a:cubicBezTo>
                    <a:pt x="37" y="79"/>
                    <a:pt x="37" y="79"/>
                    <a:pt x="37" y="79"/>
                  </a:cubicBezTo>
                  <a:cubicBezTo>
                    <a:pt x="37" y="79"/>
                    <a:pt x="37" y="79"/>
                    <a:pt x="37" y="79"/>
                  </a:cubicBezTo>
                  <a:cubicBezTo>
                    <a:pt x="36" y="79"/>
                    <a:pt x="13" y="54"/>
                    <a:pt x="14" y="52"/>
                  </a:cubicBezTo>
                  <a:cubicBezTo>
                    <a:pt x="14" y="52"/>
                    <a:pt x="14" y="52"/>
                    <a:pt x="14" y="52"/>
                  </a:cubicBezTo>
                  <a:cubicBezTo>
                    <a:pt x="15" y="51"/>
                    <a:pt x="15" y="49"/>
                    <a:pt x="15" y="48"/>
                  </a:cubicBezTo>
                  <a:cubicBezTo>
                    <a:pt x="15" y="46"/>
                    <a:pt x="15" y="44"/>
                    <a:pt x="14" y="43"/>
                  </a:cubicBezTo>
                  <a:cubicBezTo>
                    <a:pt x="14" y="43"/>
                    <a:pt x="14" y="43"/>
                    <a:pt x="14" y="43"/>
                  </a:cubicBezTo>
                  <a:moveTo>
                    <a:pt x="49" y="0"/>
                  </a:moveTo>
                  <a:cubicBezTo>
                    <a:pt x="48" y="0"/>
                    <a:pt x="47" y="0"/>
                    <a:pt x="46" y="0"/>
                  </a:cubicBezTo>
                  <a:cubicBezTo>
                    <a:pt x="42" y="2"/>
                    <a:pt x="41" y="7"/>
                    <a:pt x="42" y="10"/>
                  </a:cubicBezTo>
                  <a:cubicBezTo>
                    <a:pt x="43" y="11"/>
                    <a:pt x="43" y="11"/>
                    <a:pt x="43" y="11"/>
                  </a:cubicBezTo>
                  <a:cubicBezTo>
                    <a:pt x="43" y="11"/>
                    <a:pt x="43" y="11"/>
                    <a:pt x="43" y="11"/>
                  </a:cubicBezTo>
                  <a:cubicBezTo>
                    <a:pt x="44" y="13"/>
                    <a:pt x="14" y="42"/>
                    <a:pt x="12" y="42"/>
                  </a:cubicBezTo>
                  <a:cubicBezTo>
                    <a:pt x="12" y="42"/>
                    <a:pt x="12" y="42"/>
                    <a:pt x="12" y="42"/>
                  </a:cubicBezTo>
                  <a:cubicBezTo>
                    <a:pt x="12" y="42"/>
                    <a:pt x="12" y="42"/>
                    <a:pt x="12" y="42"/>
                  </a:cubicBezTo>
                  <a:cubicBezTo>
                    <a:pt x="11" y="41"/>
                    <a:pt x="9" y="40"/>
                    <a:pt x="8" y="40"/>
                  </a:cubicBezTo>
                  <a:cubicBezTo>
                    <a:pt x="4" y="40"/>
                    <a:pt x="0" y="44"/>
                    <a:pt x="0" y="48"/>
                  </a:cubicBezTo>
                  <a:cubicBezTo>
                    <a:pt x="0" y="52"/>
                    <a:pt x="4" y="55"/>
                    <a:pt x="8" y="55"/>
                  </a:cubicBezTo>
                  <a:cubicBezTo>
                    <a:pt x="9" y="55"/>
                    <a:pt x="11" y="55"/>
                    <a:pt x="12" y="54"/>
                  </a:cubicBezTo>
                  <a:cubicBezTo>
                    <a:pt x="12" y="54"/>
                    <a:pt x="12" y="54"/>
                    <a:pt x="12" y="54"/>
                  </a:cubicBezTo>
                  <a:cubicBezTo>
                    <a:pt x="12" y="54"/>
                    <a:pt x="12" y="54"/>
                    <a:pt x="12" y="54"/>
                  </a:cubicBezTo>
                  <a:cubicBezTo>
                    <a:pt x="14" y="54"/>
                    <a:pt x="36" y="79"/>
                    <a:pt x="36" y="80"/>
                  </a:cubicBezTo>
                  <a:cubicBezTo>
                    <a:pt x="36" y="80"/>
                    <a:pt x="36" y="80"/>
                    <a:pt x="36" y="80"/>
                  </a:cubicBezTo>
                  <a:cubicBezTo>
                    <a:pt x="35" y="81"/>
                    <a:pt x="35" y="83"/>
                    <a:pt x="35" y="84"/>
                  </a:cubicBezTo>
                  <a:cubicBezTo>
                    <a:pt x="36" y="85"/>
                    <a:pt x="37" y="86"/>
                    <a:pt x="39" y="86"/>
                  </a:cubicBezTo>
                  <a:cubicBezTo>
                    <a:pt x="40" y="86"/>
                    <a:pt x="40" y="86"/>
                    <a:pt x="41" y="86"/>
                  </a:cubicBezTo>
                  <a:cubicBezTo>
                    <a:pt x="43" y="85"/>
                    <a:pt x="44" y="83"/>
                    <a:pt x="43" y="81"/>
                  </a:cubicBezTo>
                  <a:cubicBezTo>
                    <a:pt x="42" y="81"/>
                    <a:pt x="42" y="81"/>
                    <a:pt x="42" y="81"/>
                  </a:cubicBezTo>
                  <a:cubicBezTo>
                    <a:pt x="42" y="81"/>
                    <a:pt x="42" y="81"/>
                    <a:pt x="42" y="81"/>
                  </a:cubicBezTo>
                  <a:cubicBezTo>
                    <a:pt x="42" y="80"/>
                    <a:pt x="74" y="56"/>
                    <a:pt x="75" y="56"/>
                  </a:cubicBezTo>
                  <a:cubicBezTo>
                    <a:pt x="75" y="56"/>
                    <a:pt x="75" y="56"/>
                    <a:pt x="75" y="56"/>
                  </a:cubicBezTo>
                  <a:cubicBezTo>
                    <a:pt x="75" y="56"/>
                    <a:pt x="75" y="56"/>
                    <a:pt x="75" y="56"/>
                  </a:cubicBezTo>
                  <a:cubicBezTo>
                    <a:pt x="76" y="57"/>
                    <a:pt x="78" y="58"/>
                    <a:pt x="79" y="58"/>
                  </a:cubicBezTo>
                  <a:cubicBezTo>
                    <a:pt x="82" y="58"/>
                    <a:pt x="84" y="55"/>
                    <a:pt x="84" y="53"/>
                  </a:cubicBezTo>
                  <a:cubicBezTo>
                    <a:pt x="84" y="50"/>
                    <a:pt x="82" y="48"/>
                    <a:pt x="79" y="48"/>
                  </a:cubicBezTo>
                  <a:cubicBezTo>
                    <a:pt x="78" y="48"/>
                    <a:pt x="78" y="48"/>
                    <a:pt x="77" y="48"/>
                  </a:cubicBezTo>
                  <a:cubicBezTo>
                    <a:pt x="77" y="48"/>
                    <a:pt x="77" y="48"/>
                    <a:pt x="77" y="48"/>
                  </a:cubicBezTo>
                  <a:cubicBezTo>
                    <a:pt x="76" y="48"/>
                    <a:pt x="53" y="14"/>
                    <a:pt x="54" y="13"/>
                  </a:cubicBezTo>
                  <a:cubicBezTo>
                    <a:pt x="54" y="13"/>
                    <a:pt x="54" y="13"/>
                    <a:pt x="54" y="13"/>
                  </a:cubicBezTo>
                  <a:cubicBezTo>
                    <a:pt x="57" y="11"/>
                    <a:pt x="58" y="7"/>
                    <a:pt x="56" y="4"/>
                  </a:cubicBezTo>
                  <a:cubicBezTo>
                    <a:pt x="55" y="1"/>
                    <a:pt x="52" y="0"/>
                    <a:pt x="49"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8" name="Freeform 11"/>
            <p:cNvSpPr>
              <a:spLocks/>
            </p:cNvSpPr>
            <p:nvPr/>
          </p:nvSpPr>
          <p:spPr bwMode="auto">
            <a:xfrm>
              <a:off x="4856163" y="2439988"/>
              <a:ext cx="87313" cy="74613"/>
            </a:xfrm>
            <a:custGeom>
              <a:avLst/>
              <a:gdLst>
                <a:gd name="T0" fmla="*/ 12 w 23"/>
                <a:gd name="T1" fmla="*/ 0 h 20"/>
                <a:gd name="T2" fmla="*/ 7 w 23"/>
                <a:gd name="T3" fmla="*/ 1 h 20"/>
                <a:gd name="T4" fmla="*/ 3 w 23"/>
                <a:gd name="T5" fmla="*/ 14 h 20"/>
                <a:gd name="T6" fmla="*/ 12 w 23"/>
                <a:gd name="T7" fmla="*/ 20 h 20"/>
                <a:gd name="T8" fmla="*/ 16 w 23"/>
                <a:gd name="T9" fmla="*/ 19 h 20"/>
                <a:gd name="T10" fmla="*/ 21 w 23"/>
                <a:gd name="T11" fmla="*/ 6 h 20"/>
                <a:gd name="T12" fmla="*/ 12 w 2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3" h="20">
                  <a:moveTo>
                    <a:pt x="12" y="0"/>
                  </a:moveTo>
                  <a:cubicBezTo>
                    <a:pt x="10" y="0"/>
                    <a:pt x="9" y="1"/>
                    <a:pt x="7" y="1"/>
                  </a:cubicBezTo>
                  <a:cubicBezTo>
                    <a:pt x="2" y="4"/>
                    <a:pt x="0" y="9"/>
                    <a:pt x="3" y="14"/>
                  </a:cubicBezTo>
                  <a:cubicBezTo>
                    <a:pt x="4" y="18"/>
                    <a:pt x="8" y="20"/>
                    <a:pt x="12" y="20"/>
                  </a:cubicBezTo>
                  <a:cubicBezTo>
                    <a:pt x="13" y="20"/>
                    <a:pt x="15" y="19"/>
                    <a:pt x="16" y="19"/>
                  </a:cubicBezTo>
                  <a:cubicBezTo>
                    <a:pt x="21" y="16"/>
                    <a:pt x="23" y="11"/>
                    <a:pt x="21" y="6"/>
                  </a:cubicBezTo>
                  <a:cubicBezTo>
                    <a:pt x="19" y="2"/>
                    <a:pt x="15" y="0"/>
                    <a:pt x="12"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9" name="Freeform 12"/>
            <p:cNvSpPr>
              <a:spLocks noEditPoints="1"/>
            </p:cNvSpPr>
            <p:nvPr/>
          </p:nvSpPr>
          <p:spPr bwMode="auto">
            <a:xfrm>
              <a:off x="3411538" y="2424113"/>
              <a:ext cx="1062038" cy="1203325"/>
            </a:xfrm>
            <a:custGeom>
              <a:avLst/>
              <a:gdLst>
                <a:gd name="T0" fmla="*/ 138 w 283"/>
                <a:gd name="T1" fmla="*/ 81 h 319"/>
                <a:gd name="T2" fmla="*/ 141 w 283"/>
                <a:gd name="T3" fmla="*/ 80 h 319"/>
                <a:gd name="T4" fmla="*/ 180 w 283"/>
                <a:gd name="T5" fmla="*/ 107 h 319"/>
                <a:gd name="T6" fmla="*/ 178 w 283"/>
                <a:gd name="T7" fmla="*/ 108 h 319"/>
                <a:gd name="T8" fmla="*/ 103 w 283"/>
                <a:gd name="T9" fmla="*/ 101 h 319"/>
                <a:gd name="T10" fmla="*/ 135 w 283"/>
                <a:gd name="T11" fmla="*/ 80 h 319"/>
                <a:gd name="T12" fmla="*/ 199 w 283"/>
                <a:gd name="T13" fmla="*/ 2 h 319"/>
                <a:gd name="T14" fmla="*/ 202 w 283"/>
                <a:gd name="T15" fmla="*/ 34 h 319"/>
                <a:gd name="T16" fmla="*/ 187 w 283"/>
                <a:gd name="T17" fmla="*/ 108 h 319"/>
                <a:gd name="T18" fmla="*/ 184 w 283"/>
                <a:gd name="T19" fmla="*/ 105 h 319"/>
                <a:gd name="T20" fmla="*/ 181 w 283"/>
                <a:gd name="T21" fmla="*/ 106 h 319"/>
                <a:gd name="T22" fmla="*/ 142 w 283"/>
                <a:gd name="T23" fmla="*/ 79 h 319"/>
                <a:gd name="T24" fmla="*/ 136 w 283"/>
                <a:gd name="T25" fmla="*/ 72 h 319"/>
                <a:gd name="T26" fmla="*/ 102 w 283"/>
                <a:gd name="T27" fmla="*/ 99 h 319"/>
                <a:gd name="T28" fmla="*/ 97 w 283"/>
                <a:gd name="T29" fmla="*/ 97 h 319"/>
                <a:gd name="T30" fmla="*/ 97 w 283"/>
                <a:gd name="T31" fmla="*/ 110 h 319"/>
                <a:gd name="T32" fmla="*/ 98 w 283"/>
                <a:gd name="T33" fmla="*/ 110 h 319"/>
                <a:gd name="T34" fmla="*/ 132 w 283"/>
                <a:gd name="T35" fmla="*/ 211 h 319"/>
                <a:gd name="T36" fmla="*/ 144 w 283"/>
                <a:gd name="T37" fmla="*/ 206 h 319"/>
                <a:gd name="T38" fmla="*/ 137 w 283"/>
                <a:gd name="T39" fmla="*/ 202 h 319"/>
                <a:gd name="T40" fmla="*/ 100 w 283"/>
                <a:gd name="T41" fmla="*/ 109 h 319"/>
                <a:gd name="T42" fmla="*/ 102 w 283"/>
                <a:gd name="T43" fmla="*/ 108 h 319"/>
                <a:gd name="T44" fmla="*/ 134 w 283"/>
                <a:gd name="T45" fmla="*/ 134 h 319"/>
                <a:gd name="T46" fmla="*/ 142 w 283"/>
                <a:gd name="T47" fmla="*/ 130 h 319"/>
                <a:gd name="T48" fmla="*/ 135 w 283"/>
                <a:gd name="T49" fmla="*/ 129 h 319"/>
                <a:gd name="T50" fmla="*/ 103 w 283"/>
                <a:gd name="T51" fmla="*/ 106 h 319"/>
                <a:gd name="T52" fmla="*/ 104 w 283"/>
                <a:gd name="T53" fmla="*/ 105 h 319"/>
                <a:gd name="T54" fmla="*/ 179 w 283"/>
                <a:gd name="T55" fmla="*/ 109 h 319"/>
                <a:gd name="T56" fmla="*/ 185 w 283"/>
                <a:gd name="T57" fmla="*/ 113 h 319"/>
                <a:gd name="T58" fmla="*/ 195 w 283"/>
                <a:gd name="T59" fmla="*/ 107 h 319"/>
                <a:gd name="T60" fmla="*/ 164 w 283"/>
                <a:gd name="T61" fmla="*/ 256 h 319"/>
                <a:gd name="T62" fmla="*/ 70 w 283"/>
                <a:gd name="T63" fmla="*/ 189 h 319"/>
                <a:gd name="T64" fmla="*/ 51 w 283"/>
                <a:gd name="T65" fmla="*/ 160 h 319"/>
                <a:gd name="T66" fmla="*/ 41 w 283"/>
                <a:gd name="T67" fmla="*/ 197 h 319"/>
                <a:gd name="T68" fmla="*/ 13 w 283"/>
                <a:gd name="T69" fmla="*/ 269 h 319"/>
                <a:gd name="T70" fmla="*/ 7 w 283"/>
                <a:gd name="T71" fmla="*/ 269 h 319"/>
                <a:gd name="T72" fmla="*/ 15 w 283"/>
                <a:gd name="T73" fmla="*/ 285 h 319"/>
                <a:gd name="T74" fmla="*/ 18 w 283"/>
                <a:gd name="T75" fmla="*/ 282 h 319"/>
                <a:gd name="T76" fmla="*/ 66 w 283"/>
                <a:gd name="T77" fmla="*/ 317 h 319"/>
                <a:gd name="T78" fmla="*/ 79 w 283"/>
                <a:gd name="T79" fmla="*/ 302 h 319"/>
                <a:gd name="T80" fmla="*/ 64 w 283"/>
                <a:gd name="T81" fmla="*/ 304 h 319"/>
                <a:gd name="T82" fmla="*/ 19 w 283"/>
                <a:gd name="T83" fmla="*/ 280 h 319"/>
                <a:gd name="T84" fmla="*/ 15 w 283"/>
                <a:gd name="T85" fmla="*/ 270 h 319"/>
                <a:gd name="T86" fmla="*/ 46 w 283"/>
                <a:gd name="T87" fmla="*/ 200 h 319"/>
                <a:gd name="T88" fmla="*/ 66 w 283"/>
                <a:gd name="T89" fmla="*/ 194 h 319"/>
                <a:gd name="T90" fmla="*/ 161 w 283"/>
                <a:gd name="T91" fmla="*/ 259 h 319"/>
                <a:gd name="T92" fmla="*/ 174 w 283"/>
                <a:gd name="T93" fmla="*/ 280 h 319"/>
                <a:gd name="T94" fmla="*/ 178 w 283"/>
                <a:gd name="T95" fmla="*/ 252 h 319"/>
                <a:gd name="T96" fmla="*/ 263 w 283"/>
                <a:gd name="T97" fmla="*/ 97 h 319"/>
                <a:gd name="T98" fmla="*/ 283 w 283"/>
                <a:gd name="T99" fmla="*/ 94 h 319"/>
                <a:gd name="T100" fmla="*/ 262 w 283"/>
                <a:gd name="T101" fmla="*/ 94 h 319"/>
                <a:gd name="T102" fmla="*/ 207 w 283"/>
                <a:gd name="T103" fmla="*/ 35 h 319"/>
                <a:gd name="T104" fmla="*/ 223 w 283"/>
                <a:gd name="T105" fmla="*/ 1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3" h="319">
                  <a:moveTo>
                    <a:pt x="135" y="80"/>
                  </a:moveTo>
                  <a:cubicBezTo>
                    <a:pt x="135" y="80"/>
                    <a:pt x="135" y="80"/>
                    <a:pt x="135" y="80"/>
                  </a:cubicBezTo>
                  <a:cubicBezTo>
                    <a:pt x="135" y="81"/>
                    <a:pt x="137" y="81"/>
                    <a:pt x="138" y="81"/>
                  </a:cubicBezTo>
                  <a:cubicBezTo>
                    <a:pt x="139" y="81"/>
                    <a:pt x="139" y="81"/>
                    <a:pt x="140" y="81"/>
                  </a:cubicBezTo>
                  <a:cubicBezTo>
                    <a:pt x="141" y="81"/>
                    <a:pt x="141" y="80"/>
                    <a:pt x="142" y="80"/>
                  </a:cubicBezTo>
                  <a:cubicBezTo>
                    <a:pt x="141" y="80"/>
                    <a:pt x="141" y="80"/>
                    <a:pt x="141" y="80"/>
                  </a:cubicBezTo>
                  <a:cubicBezTo>
                    <a:pt x="141" y="80"/>
                    <a:pt x="141" y="80"/>
                    <a:pt x="141" y="80"/>
                  </a:cubicBezTo>
                  <a:cubicBezTo>
                    <a:pt x="143" y="80"/>
                    <a:pt x="180" y="107"/>
                    <a:pt x="180" y="107"/>
                  </a:cubicBezTo>
                  <a:cubicBezTo>
                    <a:pt x="180" y="107"/>
                    <a:pt x="180" y="107"/>
                    <a:pt x="180" y="107"/>
                  </a:cubicBezTo>
                  <a:cubicBezTo>
                    <a:pt x="180" y="108"/>
                    <a:pt x="180" y="108"/>
                    <a:pt x="180" y="108"/>
                  </a:cubicBezTo>
                  <a:cubicBezTo>
                    <a:pt x="180" y="108"/>
                    <a:pt x="180" y="108"/>
                    <a:pt x="180" y="108"/>
                  </a:cubicBezTo>
                  <a:cubicBezTo>
                    <a:pt x="180" y="108"/>
                    <a:pt x="179" y="108"/>
                    <a:pt x="178" y="108"/>
                  </a:cubicBezTo>
                  <a:cubicBezTo>
                    <a:pt x="169" y="108"/>
                    <a:pt x="104" y="104"/>
                    <a:pt x="104" y="103"/>
                  </a:cubicBezTo>
                  <a:cubicBezTo>
                    <a:pt x="104" y="103"/>
                    <a:pt x="104" y="103"/>
                    <a:pt x="104" y="103"/>
                  </a:cubicBezTo>
                  <a:cubicBezTo>
                    <a:pt x="104" y="102"/>
                    <a:pt x="104" y="101"/>
                    <a:pt x="103" y="101"/>
                  </a:cubicBezTo>
                  <a:cubicBezTo>
                    <a:pt x="103" y="101"/>
                    <a:pt x="103" y="101"/>
                    <a:pt x="103" y="101"/>
                  </a:cubicBezTo>
                  <a:cubicBezTo>
                    <a:pt x="103" y="101"/>
                    <a:pt x="103" y="101"/>
                    <a:pt x="103" y="101"/>
                  </a:cubicBezTo>
                  <a:cubicBezTo>
                    <a:pt x="103" y="99"/>
                    <a:pt x="133" y="80"/>
                    <a:pt x="135" y="80"/>
                  </a:cubicBezTo>
                  <a:cubicBezTo>
                    <a:pt x="135" y="80"/>
                    <a:pt x="135" y="80"/>
                    <a:pt x="135" y="80"/>
                  </a:cubicBezTo>
                  <a:moveTo>
                    <a:pt x="207" y="0"/>
                  </a:moveTo>
                  <a:cubicBezTo>
                    <a:pt x="204" y="0"/>
                    <a:pt x="202" y="1"/>
                    <a:pt x="199" y="2"/>
                  </a:cubicBezTo>
                  <a:cubicBezTo>
                    <a:pt x="190" y="6"/>
                    <a:pt x="186" y="16"/>
                    <a:pt x="191" y="25"/>
                  </a:cubicBezTo>
                  <a:cubicBezTo>
                    <a:pt x="193" y="30"/>
                    <a:pt x="197" y="33"/>
                    <a:pt x="202" y="34"/>
                  </a:cubicBezTo>
                  <a:cubicBezTo>
                    <a:pt x="202" y="34"/>
                    <a:pt x="202" y="34"/>
                    <a:pt x="202" y="34"/>
                  </a:cubicBezTo>
                  <a:cubicBezTo>
                    <a:pt x="203" y="34"/>
                    <a:pt x="200" y="67"/>
                    <a:pt x="195" y="107"/>
                  </a:cubicBezTo>
                  <a:cubicBezTo>
                    <a:pt x="191" y="107"/>
                    <a:pt x="188" y="108"/>
                    <a:pt x="188" y="108"/>
                  </a:cubicBezTo>
                  <a:cubicBezTo>
                    <a:pt x="187" y="108"/>
                    <a:pt x="187" y="108"/>
                    <a:pt x="187" y="108"/>
                  </a:cubicBezTo>
                  <a:cubicBezTo>
                    <a:pt x="187" y="108"/>
                    <a:pt x="187" y="108"/>
                    <a:pt x="187" y="108"/>
                  </a:cubicBezTo>
                  <a:cubicBezTo>
                    <a:pt x="187" y="107"/>
                    <a:pt x="187" y="107"/>
                    <a:pt x="187" y="107"/>
                  </a:cubicBezTo>
                  <a:cubicBezTo>
                    <a:pt x="187" y="106"/>
                    <a:pt x="185" y="105"/>
                    <a:pt x="184" y="105"/>
                  </a:cubicBezTo>
                  <a:cubicBezTo>
                    <a:pt x="183" y="105"/>
                    <a:pt x="182" y="105"/>
                    <a:pt x="182" y="106"/>
                  </a:cubicBezTo>
                  <a:cubicBezTo>
                    <a:pt x="181" y="106"/>
                    <a:pt x="181" y="106"/>
                    <a:pt x="181" y="106"/>
                  </a:cubicBezTo>
                  <a:cubicBezTo>
                    <a:pt x="181" y="106"/>
                    <a:pt x="181" y="106"/>
                    <a:pt x="181" y="106"/>
                  </a:cubicBezTo>
                  <a:cubicBezTo>
                    <a:pt x="181" y="106"/>
                    <a:pt x="181" y="106"/>
                    <a:pt x="181" y="106"/>
                  </a:cubicBezTo>
                  <a:cubicBezTo>
                    <a:pt x="179" y="106"/>
                    <a:pt x="142" y="80"/>
                    <a:pt x="142" y="79"/>
                  </a:cubicBezTo>
                  <a:cubicBezTo>
                    <a:pt x="142" y="79"/>
                    <a:pt x="142" y="79"/>
                    <a:pt x="142" y="79"/>
                  </a:cubicBezTo>
                  <a:cubicBezTo>
                    <a:pt x="143" y="78"/>
                    <a:pt x="143" y="76"/>
                    <a:pt x="142" y="75"/>
                  </a:cubicBezTo>
                  <a:cubicBezTo>
                    <a:pt x="142" y="73"/>
                    <a:pt x="140" y="72"/>
                    <a:pt x="138" y="72"/>
                  </a:cubicBezTo>
                  <a:cubicBezTo>
                    <a:pt x="137" y="72"/>
                    <a:pt x="137" y="72"/>
                    <a:pt x="136" y="72"/>
                  </a:cubicBezTo>
                  <a:cubicBezTo>
                    <a:pt x="134" y="74"/>
                    <a:pt x="133" y="76"/>
                    <a:pt x="134" y="79"/>
                  </a:cubicBezTo>
                  <a:cubicBezTo>
                    <a:pt x="134" y="79"/>
                    <a:pt x="134" y="79"/>
                    <a:pt x="134" y="79"/>
                  </a:cubicBezTo>
                  <a:cubicBezTo>
                    <a:pt x="134" y="79"/>
                    <a:pt x="104" y="99"/>
                    <a:pt x="102" y="99"/>
                  </a:cubicBezTo>
                  <a:cubicBezTo>
                    <a:pt x="102" y="99"/>
                    <a:pt x="102" y="99"/>
                    <a:pt x="102" y="99"/>
                  </a:cubicBezTo>
                  <a:cubicBezTo>
                    <a:pt x="102" y="99"/>
                    <a:pt x="102" y="99"/>
                    <a:pt x="102" y="99"/>
                  </a:cubicBezTo>
                  <a:cubicBezTo>
                    <a:pt x="101" y="98"/>
                    <a:pt x="99" y="97"/>
                    <a:pt x="97" y="97"/>
                  </a:cubicBezTo>
                  <a:cubicBezTo>
                    <a:pt x="96" y="97"/>
                    <a:pt x="95" y="97"/>
                    <a:pt x="94" y="97"/>
                  </a:cubicBezTo>
                  <a:cubicBezTo>
                    <a:pt x="91" y="99"/>
                    <a:pt x="89" y="103"/>
                    <a:pt x="91" y="106"/>
                  </a:cubicBezTo>
                  <a:cubicBezTo>
                    <a:pt x="92" y="109"/>
                    <a:pt x="94" y="110"/>
                    <a:pt x="97" y="110"/>
                  </a:cubicBezTo>
                  <a:cubicBezTo>
                    <a:pt x="97" y="110"/>
                    <a:pt x="98" y="110"/>
                    <a:pt x="98" y="110"/>
                  </a:cubicBezTo>
                  <a:cubicBezTo>
                    <a:pt x="98" y="110"/>
                    <a:pt x="98" y="110"/>
                    <a:pt x="98" y="110"/>
                  </a:cubicBezTo>
                  <a:cubicBezTo>
                    <a:pt x="98" y="110"/>
                    <a:pt x="98" y="110"/>
                    <a:pt x="98" y="110"/>
                  </a:cubicBezTo>
                  <a:cubicBezTo>
                    <a:pt x="100" y="110"/>
                    <a:pt x="136" y="202"/>
                    <a:pt x="135" y="203"/>
                  </a:cubicBezTo>
                  <a:cubicBezTo>
                    <a:pt x="135" y="203"/>
                    <a:pt x="135" y="203"/>
                    <a:pt x="135" y="203"/>
                  </a:cubicBezTo>
                  <a:cubicBezTo>
                    <a:pt x="132" y="204"/>
                    <a:pt x="130" y="208"/>
                    <a:pt x="132" y="211"/>
                  </a:cubicBezTo>
                  <a:cubicBezTo>
                    <a:pt x="133" y="214"/>
                    <a:pt x="136" y="215"/>
                    <a:pt x="138" y="215"/>
                  </a:cubicBezTo>
                  <a:cubicBezTo>
                    <a:pt x="139" y="215"/>
                    <a:pt x="140" y="215"/>
                    <a:pt x="141" y="214"/>
                  </a:cubicBezTo>
                  <a:cubicBezTo>
                    <a:pt x="144" y="213"/>
                    <a:pt x="146" y="209"/>
                    <a:pt x="144" y="206"/>
                  </a:cubicBezTo>
                  <a:cubicBezTo>
                    <a:pt x="143" y="203"/>
                    <a:pt x="141" y="202"/>
                    <a:pt x="138" y="202"/>
                  </a:cubicBezTo>
                  <a:cubicBezTo>
                    <a:pt x="138" y="202"/>
                    <a:pt x="137" y="202"/>
                    <a:pt x="137" y="202"/>
                  </a:cubicBezTo>
                  <a:cubicBezTo>
                    <a:pt x="137" y="202"/>
                    <a:pt x="137" y="202"/>
                    <a:pt x="137" y="202"/>
                  </a:cubicBezTo>
                  <a:cubicBezTo>
                    <a:pt x="137" y="202"/>
                    <a:pt x="137" y="202"/>
                    <a:pt x="137" y="202"/>
                  </a:cubicBezTo>
                  <a:cubicBezTo>
                    <a:pt x="135" y="202"/>
                    <a:pt x="99" y="110"/>
                    <a:pt x="100" y="109"/>
                  </a:cubicBezTo>
                  <a:cubicBezTo>
                    <a:pt x="100" y="109"/>
                    <a:pt x="100" y="109"/>
                    <a:pt x="100" y="109"/>
                  </a:cubicBezTo>
                  <a:cubicBezTo>
                    <a:pt x="101" y="109"/>
                    <a:pt x="101" y="108"/>
                    <a:pt x="102" y="108"/>
                  </a:cubicBezTo>
                  <a:cubicBezTo>
                    <a:pt x="102" y="108"/>
                    <a:pt x="102" y="108"/>
                    <a:pt x="102" y="108"/>
                  </a:cubicBezTo>
                  <a:cubicBezTo>
                    <a:pt x="102" y="108"/>
                    <a:pt x="102" y="108"/>
                    <a:pt x="102" y="108"/>
                  </a:cubicBezTo>
                  <a:cubicBezTo>
                    <a:pt x="104" y="108"/>
                    <a:pt x="134" y="129"/>
                    <a:pt x="134" y="130"/>
                  </a:cubicBezTo>
                  <a:cubicBezTo>
                    <a:pt x="134" y="130"/>
                    <a:pt x="134" y="130"/>
                    <a:pt x="134" y="130"/>
                  </a:cubicBezTo>
                  <a:cubicBezTo>
                    <a:pt x="133" y="131"/>
                    <a:pt x="133" y="133"/>
                    <a:pt x="134" y="134"/>
                  </a:cubicBezTo>
                  <a:cubicBezTo>
                    <a:pt x="135" y="136"/>
                    <a:pt x="136" y="137"/>
                    <a:pt x="138" y="137"/>
                  </a:cubicBezTo>
                  <a:cubicBezTo>
                    <a:pt x="139" y="137"/>
                    <a:pt x="139" y="136"/>
                    <a:pt x="140" y="136"/>
                  </a:cubicBezTo>
                  <a:cubicBezTo>
                    <a:pt x="143" y="135"/>
                    <a:pt x="144" y="132"/>
                    <a:pt x="142" y="130"/>
                  </a:cubicBezTo>
                  <a:cubicBezTo>
                    <a:pt x="142" y="128"/>
                    <a:pt x="140" y="127"/>
                    <a:pt x="138" y="127"/>
                  </a:cubicBezTo>
                  <a:cubicBezTo>
                    <a:pt x="137" y="127"/>
                    <a:pt x="137" y="127"/>
                    <a:pt x="136" y="128"/>
                  </a:cubicBezTo>
                  <a:cubicBezTo>
                    <a:pt x="136" y="128"/>
                    <a:pt x="135" y="128"/>
                    <a:pt x="135" y="129"/>
                  </a:cubicBezTo>
                  <a:cubicBezTo>
                    <a:pt x="135" y="129"/>
                    <a:pt x="135" y="129"/>
                    <a:pt x="135" y="129"/>
                  </a:cubicBezTo>
                  <a:cubicBezTo>
                    <a:pt x="135" y="129"/>
                    <a:pt x="135" y="129"/>
                    <a:pt x="135" y="129"/>
                  </a:cubicBezTo>
                  <a:cubicBezTo>
                    <a:pt x="133" y="129"/>
                    <a:pt x="103" y="108"/>
                    <a:pt x="103" y="106"/>
                  </a:cubicBezTo>
                  <a:cubicBezTo>
                    <a:pt x="103" y="106"/>
                    <a:pt x="103" y="106"/>
                    <a:pt x="103" y="106"/>
                  </a:cubicBezTo>
                  <a:cubicBezTo>
                    <a:pt x="103" y="106"/>
                    <a:pt x="104" y="105"/>
                    <a:pt x="104" y="105"/>
                  </a:cubicBezTo>
                  <a:cubicBezTo>
                    <a:pt x="104" y="105"/>
                    <a:pt x="104" y="105"/>
                    <a:pt x="104" y="105"/>
                  </a:cubicBezTo>
                  <a:cubicBezTo>
                    <a:pt x="104" y="105"/>
                    <a:pt x="105" y="105"/>
                    <a:pt x="106" y="105"/>
                  </a:cubicBezTo>
                  <a:cubicBezTo>
                    <a:pt x="120" y="105"/>
                    <a:pt x="179" y="109"/>
                    <a:pt x="179" y="109"/>
                  </a:cubicBezTo>
                  <a:cubicBezTo>
                    <a:pt x="179" y="109"/>
                    <a:pt x="179" y="109"/>
                    <a:pt x="179" y="109"/>
                  </a:cubicBezTo>
                  <a:cubicBezTo>
                    <a:pt x="180" y="110"/>
                    <a:pt x="180" y="110"/>
                    <a:pt x="180" y="111"/>
                  </a:cubicBezTo>
                  <a:cubicBezTo>
                    <a:pt x="181" y="112"/>
                    <a:pt x="182" y="113"/>
                    <a:pt x="184" y="113"/>
                  </a:cubicBezTo>
                  <a:cubicBezTo>
                    <a:pt x="184" y="113"/>
                    <a:pt x="185" y="113"/>
                    <a:pt x="185" y="113"/>
                  </a:cubicBezTo>
                  <a:cubicBezTo>
                    <a:pt x="187" y="112"/>
                    <a:pt x="188" y="110"/>
                    <a:pt x="188" y="109"/>
                  </a:cubicBezTo>
                  <a:cubicBezTo>
                    <a:pt x="188" y="109"/>
                    <a:pt x="188" y="109"/>
                    <a:pt x="188" y="109"/>
                  </a:cubicBezTo>
                  <a:cubicBezTo>
                    <a:pt x="188" y="109"/>
                    <a:pt x="190" y="108"/>
                    <a:pt x="195" y="107"/>
                  </a:cubicBezTo>
                  <a:cubicBezTo>
                    <a:pt x="187" y="171"/>
                    <a:pt x="176" y="252"/>
                    <a:pt x="174" y="252"/>
                  </a:cubicBezTo>
                  <a:cubicBezTo>
                    <a:pt x="174" y="252"/>
                    <a:pt x="174" y="252"/>
                    <a:pt x="174" y="252"/>
                  </a:cubicBezTo>
                  <a:cubicBezTo>
                    <a:pt x="170" y="252"/>
                    <a:pt x="167" y="253"/>
                    <a:pt x="164" y="256"/>
                  </a:cubicBezTo>
                  <a:cubicBezTo>
                    <a:pt x="164" y="256"/>
                    <a:pt x="164" y="256"/>
                    <a:pt x="164" y="256"/>
                  </a:cubicBezTo>
                  <a:cubicBezTo>
                    <a:pt x="164" y="256"/>
                    <a:pt x="164" y="256"/>
                    <a:pt x="164" y="256"/>
                  </a:cubicBezTo>
                  <a:cubicBezTo>
                    <a:pt x="159" y="256"/>
                    <a:pt x="68" y="193"/>
                    <a:pt x="70" y="189"/>
                  </a:cubicBezTo>
                  <a:cubicBezTo>
                    <a:pt x="70" y="189"/>
                    <a:pt x="70" y="189"/>
                    <a:pt x="70" y="189"/>
                  </a:cubicBezTo>
                  <a:cubicBezTo>
                    <a:pt x="74" y="181"/>
                    <a:pt x="72" y="170"/>
                    <a:pt x="64" y="164"/>
                  </a:cubicBezTo>
                  <a:cubicBezTo>
                    <a:pt x="61" y="161"/>
                    <a:pt x="56" y="160"/>
                    <a:pt x="51" y="160"/>
                  </a:cubicBezTo>
                  <a:cubicBezTo>
                    <a:pt x="45" y="160"/>
                    <a:pt x="39" y="162"/>
                    <a:pt x="35" y="167"/>
                  </a:cubicBezTo>
                  <a:cubicBezTo>
                    <a:pt x="27" y="176"/>
                    <a:pt x="29" y="188"/>
                    <a:pt x="38" y="195"/>
                  </a:cubicBezTo>
                  <a:cubicBezTo>
                    <a:pt x="39" y="196"/>
                    <a:pt x="40" y="197"/>
                    <a:pt x="41" y="197"/>
                  </a:cubicBezTo>
                  <a:cubicBezTo>
                    <a:pt x="40" y="197"/>
                    <a:pt x="40" y="197"/>
                    <a:pt x="40" y="197"/>
                  </a:cubicBezTo>
                  <a:cubicBezTo>
                    <a:pt x="44" y="199"/>
                    <a:pt x="15" y="269"/>
                    <a:pt x="13" y="269"/>
                  </a:cubicBezTo>
                  <a:cubicBezTo>
                    <a:pt x="13" y="269"/>
                    <a:pt x="13" y="269"/>
                    <a:pt x="13" y="269"/>
                  </a:cubicBezTo>
                  <a:cubicBezTo>
                    <a:pt x="13" y="269"/>
                    <a:pt x="13" y="269"/>
                    <a:pt x="13" y="269"/>
                  </a:cubicBezTo>
                  <a:cubicBezTo>
                    <a:pt x="12" y="269"/>
                    <a:pt x="11" y="268"/>
                    <a:pt x="11" y="268"/>
                  </a:cubicBezTo>
                  <a:cubicBezTo>
                    <a:pt x="9" y="268"/>
                    <a:pt x="8" y="269"/>
                    <a:pt x="7" y="269"/>
                  </a:cubicBezTo>
                  <a:cubicBezTo>
                    <a:pt x="2" y="271"/>
                    <a:pt x="0" y="277"/>
                    <a:pt x="2" y="281"/>
                  </a:cubicBezTo>
                  <a:cubicBezTo>
                    <a:pt x="4" y="284"/>
                    <a:pt x="7" y="286"/>
                    <a:pt x="11" y="286"/>
                  </a:cubicBezTo>
                  <a:cubicBezTo>
                    <a:pt x="12" y="286"/>
                    <a:pt x="13" y="286"/>
                    <a:pt x="15" y="285"/>
                  </a:cubicBezTo>
                  <a:cubicBezTo>
                    <a:pt x="16" y="284"/>
                    <a:pt x="17" y="284"/>
                    <a:pt x="18" y="282"/>
                  </a:cubicBezTo>
                  <a:cubicBezTo>
                    <a:pt x="18" y="283"/>
                    <a:pt x="18" y="283"/>
                    <a:pt x="18" y="283"/>
                  </a:cubicBezTo>
                  <a:cubicBezTo>
                    <a:pt x="18" y="282"/>
                    <a:pt x="18" y="282"/>
                    <a:pt x="18" y="282"/>
                  </a:cubicBezTo>
                  <a:cubicBezTo>
                    <a:pt x="21" y="282"/>
                    <a:pt x="63" y="305"/>
                    <a:pt x="63" y="306"/>
                  </a:cubicBezTo>
                  <a:cubicBezTo>
                    <a:pt x="63" y="306"/>
                    <a:pt x="63" y="306"/>
                    <a:pt x="63" y="306"/>
                  </a:cubicBezTo>
                  <a:cubicBezTo>
                    <a:pt x="61" y="310"/>
                    <a:pt x="62" y="314"/>
                    <a:pt x="66" y="317"/>
                  </a:cubicBezTo>
                  <a:cubicBezTo>
                    <a:pt x="68" y="319"/>
                    <a:pt x="70" y="319"/>
                    <a:pt x="72" y="319"/>
                  </a:cubicBezTo>
                  <a:cubicBezTo>
                    <a:pt x="75" y="319"/>
                    <a:pt x="78" y="318"/>
                    <a:pt x="80" y="316"/>
                  </a:cubicBezTo>
                  <a:cubicBezTo>
                    <a:pt x="83" y="312"/>
                    <a:pt x="83" y="306"/>
                    <a:pt x="79" y="302"/>
                  </a:cubicBezTo>
                  <a:cubicBezTo>
                    <a:pt x="77" y="301"/>
                    <a:pt x="74" y="300"/>
                    <a:pt x="72" y="300"/>
                  </a:cubicBezTo>
                  <a:cubicBezTo>
                    <a:pt x="69" y="300"/>
                    <a:pt x="66" y="301"/>
                    <a:pt x="64" y="304"/>
                  </a:cubicBezTo>
                  <a:cubicBezTo>
                    <a:pt x="64" y="304"/>
                    <a:pt x="64" y="304"/>
                    <a:pt x="64" y="304"/>
                  </a:cubicBezTo>
                  <a:cubicBezTo>
                    <a:pt x="64" y="304"/>
                    <a:pt x="64" y="304"/>
                    <a:pt x="64" y="304"/>
                  </a:cubicBezTo>
                  <a:cubicBezTo>
                    <a:pt x="64" y="304"/>
                    <a:pt x="64" y="304"/>
                    <a:pt x="64" y="304"/>
                  </a:cubicBezTo>
                  <a:cubicBezTo>
                    <a:pt x="60" y="304"/>
                    <a:pt x="19" y="282"/>
                    <a:pt x="19" y="280"/>
                  </a:cubicBezTo>
                  <a:cubicBezTo>
                    <a:pt x="19" y="280"/>
                    <a:pt x="19" y="280"/>
                    <a:pt x="19" y="280"/>
                  </a:cubicBezTo>
                  <a:cubicBezTo>
                    <a:pt x="20" y="278"/>
                    <a:pt x="20" y="276"/>
                    <a:pt x="19" y="273"/>
                  </a:cubicBezTo>
                  <a:cubicBezTo>
                    <a:pt x="18" y="272"/>
                    <a:pt x="17" y="271"/>
                    <a:pt x="15" y="270"/>
                  </a:cubicBezTo>
                  <a:cubicBezTo>
                    <a:pt x="15" y="270"/>
                    <a:pt x="15" y="270"/>
                    <a:pt x="15" y="270"/>
                  </a:cubicBezTo>
                  <a:cubicBezTo>
                    <a:pt x="14" y="269"/>
                    <a:pt x="42" y="200"/>
                    <a:pt x="46" y="200"/>
                  </a:cubicBezTo>
                  <a:cubicBezTo>
                    <a:pt x="46" y="200"/>
                    <a:pt x="46" y="200"/>
                    <a:pt x="46" y="200"/>
                  </a:cubicBezTo>
                  <a:cubicBezTo>
                    <a:pt x="46" y="199"/>
                    <a:pt x="46" y="199"/>
                    <a:pt x="46" y="199"/>
                  </a:cubicBezTo>
                  <a:cubicBezTo>
                    <a:pt x="48" y="200"/>
                    <a:pt x="49" y="200"/>
                    <a:pt x="51" y="200"/>
                  </a:cubicBezTo>
                  <a:cubicBezTo>
                    <a:pt x="57" y="200"/>
                    <a:pt x="62" y="198"/>
                    <a:pt x="66" y="194"/>
                  </a:cubicBezTo>
                  <a:cubicBezTo>
                    <a:pt x="66" y="194"/>
                    <a:pt x="66" y="194"/>
                    <a:pt x="66" y="194"/>
                  </a:cubicBezTo>
                  <a:cubicBezTo>
                    <a:pt x="66" y="194"/>
                    <a:pt x="66" y="194"/>
                    <a:pt x="66" y="194"/>
                  </a:cubicBezTo>
                  <a:cubicBezTo>
                    <a:pt x="73" y="194"/>
                    <a:pt x="163" y="257"/>
                    <a:pt x="161" y="259"/>
                  </a:cubicBezTo>
                  <a:cubicBezTo>
                    <a:pt x="161" y="259"/>
                    <a:pt x="161" y="259"/>
                    <a:pt x="161" y="259"/>
                  </a:cubicBezTo>
                  <a:cubicBezTo>
                    <a:pt x="160" y="261"/>
                    <a:pt x="160" y="263"/>
                    <a:pt x="160" y="266"/>
                  </a:cubicBezTo>
                  <a:cubicBezTo>
                    <a:pt x="160" y="273"/>
                    <a:pt x="166" y="280"/>
                    <a:pt x="174" y="280"/>
                  </a:cubicBezTo>
                  <a:cubicBezTo>
                    <a:pt x="182" y="280"/>
                    <a:pt x="189" y="273"/>
                    <a:pt x="189" y="266"/>
                  </a:cubicBezTo>
                  <a:cubicBezTo>
                    <a:pt x="189" y="259"/>
                    <a:pt x="184" y="254"/>
                    <a:pt x="178" y="252"/>
                  </a:cubicBezTo>
                  <a:cubicBezTo>
                    <a:pt x="178" y="252"/>
                    <a:pt x="178" y="252"/>
                    <a:pt x="178" y="252"/>
                  </a:cubicBezTo>
                  <a:cubicBezTo>
                    <a:pt x="177" y="252"/>
                    <a:pt x="187" y="170"/>
                    <a:pt x="195" y="107"/>
                  </a:cubicBezTo>
                  <a:cubicBezTo>
                    <a:pt x="213" y="104"/>
                    <a:pt x="255" y="97"/>
                    <a:pt x="262" y="97"/>
                  </a:cubicBezTo>
                  <a:cubicBezTo>
                    <a:pt x="263" y="97"/>
                    <a:pt x="263" y="97"/>
                    <a:pt x="263" y="97"/>
                  </a:cubicBezTo>
                  <a:cubicBezTo>
                    <a:pt x="263" y="97"/>
                    <a:pt x="263" y="97"/>
                    <a:pt x="263" y="97"/>
                  </a:cubicBezTo>
                  <a:cubicBezTo>
                    <a:pt x="264" y="101"/>
                    <a:pt x="268" y="103"/>
                    <a:pt x="273" y="103"/>
                  </a:cubicBezTo>
                  <a:cubicBezTo>
                    <a:pt x="278" y="103"/>
                    <a:pt x="283" y="99"/>
                    <a:pt x="283" y="94"/>
                  </a:cubicBezTo>
                  <a:cubicBezTo>
                    <a:pt x="283" y="88"/>
                    <a:pt x="278" y="84"/>
                    <a:pt x="273" y="84"/>
                  </a:cubicBezTo>
                  <a:cubicBezTo>
                    <a:pt x="267" y="84"/>
                    <a:pt x="262" y="88"/>
                    <a:pt x="262" y="94"/>
                  </a:cubicBezTo>
                  <a:cubicBezTo>
                    <a:pt x="262" y="94"/>
                    <a:pt x="262" y="94"/>
                    <a:pt x="262" y="94"/>
                  </a:cubicBezTo>
                  <a:cubicBezTo>
                    <a:pt x="262" y="94"/>
                    <a:pt x="262" y="94"/>
                    <a:pt x="262" y="94"/>
                  </a:cubicBezTo>
                  <a:cubicBezTo>
                    <a:pt x="263" y="96"/>
                    <a:pt x="215" y="104"/>
                    <a:pt x="195" y="107"/>
                  </a:cubicBezTo>
                  <a:cubicBezTo>
                    <a:pt x="201" y="67"/>
                    <a:pt x="206" y="35"/>
                    <a:pt x="207" y="35"/>
                  </a:cubicBezTo>
                  <a:cubicBezTo>
                    <a:pt x="207" y="35"/>
                    <a:pt x="207" y="35"/>
                    <a:pt x="207" y="35"/>
                  </a:cubicBezTo>
                  <a:cubicBezTo>
                    <a:pt x="210" y="35"/>
                    <a:pt x="212" y="34"/>
                    <a:pt x="214" y="33"/>
                  </a:cubicBezTo>
                  <a:cubicBezTo>
                    <a:pt x="223" y="29"/>
                    <a:pt x="227" y="19"/>
                    <a:pt x="223" y="10"/>
                  </a:cubicBezTo>
                  <a:cubicBezTo>
                    <a:pt x="220" y="4"/>
                    <a:pt x="214" y="0"/>
                    <a:pt x="207"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0" name="Freeform 13"/>
            <p:cNvSpPr>
              <a:spLocks/>
            </p:cNvSpPr>
            <p:nvPr/>
          </p:nvSpPr>
          <p:spPr bwMode="auto">
            <a:xfrm>
              <a:off x="5762625" y="2805113"/>
              <a:ext cx="36513" cy="30163"/>
            </a:xfrm>
            <a:custGeom>
              <a:avLst/>
              <a:gdLst>
                <a:gd name="T0" fmla="*/ 0 w 10"/>
                <a:gd name="T1" fmla="*/ 0 h 8"/>
                <a:gd name="T2" fmla="*/ 10 w 10"/>
                <a:gd name="T3" fmla="*/ 8 h 8"/>
                <a:gd name="T4" fmla="*/ 0 w 10"/>
                <a:gd name="T5" fmla="*/ 0 h 8"/>
              </a:gdLst>
              <a:ahLst/>
              <a:cxnLst>
                <a:cxn ang="0">
                  <a:pos x="T0" y="T1"/>
                </a:cxn>
                <a:cxn ang="0">
                  <a:pos x="T2" y="T3"/>
                </a:cxn>
                <a:cxn ang="0">
                  <a:pos x="T4" y="T5"/>
                </a:cxn>
              </a:cxnLst>
              <a:rect l="0" t="0" r="r" b="b"/>
              <a:pathLst>
                <a:path w="10" h="8">
                  <a:moveTo>
                    <a:pt x="0" y="0"/>
                  </a:moveTo>
                  <a:cubicBezTo>
                    <a:pt x="3" y="3"/>
                    <a:pt x="6" y="6"/>
                    <a:pt x="10" y="8"/>
                  </a:cubicBezTo>
                  <a:cubicBezTo>
                    <a:pt x="6" y="6"/>
                    <a:pt x="3" y="3"/>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1" name="Freeform 14"/>
            <p:cNvSpPr>
              <a:spLocks noEditPoints="1"/>
            </p:cNvSpPr>
            <p:nvPr/>
          </p:nvSpPr>
          <p:spPr bwMode="auto">
            <a:xfrm>
              <a:off x="5799138" y="2613025"/>
              <a:ext cx="241300" cy="293688"/>
            </a:xfrm>
            <a:custGeom>
              <a:avLst/>
              <a:gdLst>
                <a:gd name="T0" fmla="*/ 28 w 64"/>
                <a:gd name="T1" fmla="*/ 13 h 78"/>
                <a:gd name="T2" fmla="*/ 31 w 64"/>
                <a:gd name="T3" fmla="*/ 12 h 78"/>
                <a:gd name="T4" fmla="*/ 31 w 64"/>
                <a:gd name="T5" fmla="*/ 12 h 78"/>
                <a:gd name="T6" fmla="*/ 31 w 64"/>
                <a:gd name="T7" fmla="*/ 12 h 78"/>
                <a:gd name="T8" fmla="*/ 48 w 64"/>
                <a:gd name="T9" fmla="*/ 38 h 78"/>
                <a:gd name="T10" fmla="*/ 48 w 64"/>
                <a:gd name="T11" fmla="*/ 38 h 78"/>
                <a:gd name="T12" fmla="*/ 46 w 64"/>
                <a:gd name="T13" fmla="*/ 49 h 78"/>
                <a:gd name="T14" fmla="*/ 46 w 64"/>
                <a:gd name="T15" fmla="*/ 49 h 78"/>
                <a:gd name="T16" fmla="*/ 46 w 64"/>
                <a:gd name="T17" fmla="*/ 49 h 78"/>
                <a:gd name="T18" fmla="*/ 20 w 64"/>
                <a:gd name="T19" fmla="*/ 70 h 78"/>
                <a:gd name="T20" fmla="*/ 20 w 64"/>
                <a:gd name="T21" fmla="*/ 70 h 78"/>
                <a:gd name="T22" fmla="*/ 20 w 64"/>
                <a:gd name="T23" fmla="*/ 70 h 78"/>
                <a:gd name="T24" fmla="*/ 18 w 64"/>
                <a:gd name="T25" fmla="*/ 69 h 78"/>
                <a:gd name="T26" fmla="*/ 18 w 64"/>
                <a:gd name="T27" fmla="*/ 69 h 78"/>
                <a:gd name="T28" fmla="*/ 28 w 64"/>
                <a:gd name="T29" fmla="*/ 13 h 78"/>
                <a:gd name="T30" fmla="*/ 28 w 64"/>
                <a:gd name="T31" fmla="*/ 13 h 78"/>
                <a:gd name="T32" fmla="*/ 28 w 64"/>
                <a:gd name="T33" fmla="*/ 13 h 78"/>
                <a:gd name="T34" fmla="*/ 28 w 64"/>
                <a:gd name="T35" fmla="*/ 0 h 78"/>
                <a:gd name="T36" fmla="*/ 25 w 64"/>
                <a:gd name="T37" fmla="*/ 0 h 78"/>
                <a:gd name="T38" fmla="*/ 22 w 64"/>
                <a:gd name="T39" fmla="*/ 9 h 78"/>
                <a:gd name="T40" fmla="*/ 26 w 64"/>
                <a:gd name="T41" fmla="*/ 13 h 78"/>
                <a:gd name="T42" fmla="*/ 26 w 64"/>
                <a:gd name="T43" fmla="*/ 13 h 78"/>
                <a:gd name="T44" fmla="*/ 17 w 64"/>
                <a:gd name="T45" fmla="*/ 69 h 78"/>
                <a:gd name="T46" fmla="*/ 17 w 64"/>
                <a:gd name="T47" fmla="*/ 69 h 78"/>
                <a:gd name="T48" fmla="*/ 17 w 64"/>
                <a:gd name="T49" fmla="*/ 69 h 78"/>
                <a:gd name="T50" fmla="*/ 15 w 64"/>
                <a:gd name="T51" fmla="*/ 69 h 78"/>
                <a:gd name="T52" fmla="*/ 13 w 64"/>
                <a:gd name="T53" fmla="*/ 70 h 78"/>
                <a:gd name="T54" fmla="*/ 14 w 64"/>
                <a:gd name="T55" fmla="*/ 70 h 78"/>
                <a:gd name="T56" fmla="*/ 14 w 64"/>
                <a:gd name="T57" fmla="*/ 70 h 78"/>
                <a:gd name="T58" fmla="*/ 0 w 64"/>
                <a:gd name="T59" fmla="*/ 59 h 78"/>
                <a:gd name="T60" fmla="*/ 12 w 64"/>
                <a:gd name="T61" fmla="*/ 71 h 78"/>
                <a:gd name="T62" fmla="*/ 12 w 64"/>
                <a:gd name="T63" fmla="*/ 71 h 78"/>
                <a:gd name="T64" fmla="*/ 12 w 64"/>
                <a:gd name="T65" fmla="*/ 75 h 78"/>
                <a:gd name="T66" fmla="*/ 17 w 64"/>
                <a:gd name="T67" fmla="*/ 78 h 78"/>
                <a:gd name="T68" fmla="*/ 19 w 64"/>
                <a:gd name="T69" fmla="*/ 78 h 78"/>
                <a:gd name="T70" fmla="*/ 21 w 64"/>
                <a:gd name="T71" fmla="*/ 72 h 78"/>
                <a:gd name="T72" fmla="*/ 21 w 64"/>
                <a:gd name="T73" fmla="*/ 71 h 78"/>
                <a:gd name="T74" fmla="*/ 21 w 64"/>
                <a:gd name="T75" fmla="*/ 71 h 78"/>
                <a:gd name="T76" fmla="*/ 48 w 64"/>
                <a:gd name="T77" fmla="*/ 51 h 78"/>
                <a:gd name="T78" fmla="*/ 48 w 64"/>
                <a:gd name="T79" fmla="*/ 51 h 78"/>
                <a:gd name="T80" fmla="*/ 48 w 64"/>
                <a:gd name="T81" fmla="*/ 51 h 78"/>
                <a:gd name="T82" fmla="*/ 54 w 64"/>
                <a:gd name="T83" fmla="*/ 54 h 78"/>
                <a:gd name="T84" fmla="*/ 58 w 64"/>
                <a:gd name="T85" fmla="*/ 53 h 78"/>
                <a:gd name="T86" fmla="*/ 62 w 64"/>
                <a:gd name="T87" fmla="*/ 41 h 78"/>
                <a:gd name="T88" fmla="*/ 54 w 64"/>
                <a:gd name="T89" fmla="*/ 36 h 78"/>
                <a:gd name="T90" fmla="*/ 50 w 64"/>
                <a:gd name="T91" fmla="*/ 37 h 78"/>
                <a:gd name="T92" fmla="*/ 50 w 64"/>
                <a:gd name="T93" fmla="*/ 37 h 78"/>
                <a:gd name="T94" fmla="*/ 50 w 64"/>
                <a:gd name="T95" fmla="*/ 37 h 78"/>
                <a:gd name="T96" fmla="*/ 33 w 64"/>
                <a:gd name="T97" fmla="*/ 11 h 78"/>
                <a:gd name="T98" fmla="*/ 33 w 64"/>
                <a:gd name="T99" fmla="*/ 11 h 78"/>
                <a:gd name="T100" fmla="*/ 34 w 64"/>
                <a:gd name="T101" fmla="*/ 4 h 78"/>
                <a:gd name="T102" fmla="*/ 28 w 64"/>
                <a:gd name="T10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78">
                  <a:moveTo>
                    <a:pt x="28" y="13"/>
                  </a:moveTo>
                  <a:cubicBezTo>
                    <a:pt x="29" y="13"/>
                    <a:pt x="30" y="13"/>
                    <a:pt x="31" y="12"/>
                  </a:cubicBezTo>
                  <a:cubicBezTo>
                    <a:pt x="31" y="12"/>
                    <a:pt x="31" y="12"/>
                    <a:pt x="31" y="12"/>
                  </a:cubicBezTo>
                  <a:cubicBezTo>
                    <a:pt x="31" y="12"/>
                    <a:pt x="31" y="12"/>
                    <a:pt x="31" y="12"/>
                  </a:cubicBezTo>
                  <a:cubicBezTo>
                    <a:pt x="32" y="12"/>
                    <a:pt x="49" y="37"/>
                    <a:pt x="48" y="38"/>
                  </a:cubicBezTo>
                  <a:cubicBezTo>
                    <a:pt x="48" y="38"/>
                    <a:pt x="48" y="38"/>
                    <a:pt x="48" y="38"/>
                  </a:cubicBezTo>
                  <a:cubicBezTo>
                    <a:pt x="45" y="41"/>
                    <a:pt x="44" y="45"/>
                    <a:pt x="46" y="49"/>
                  </a:cubicBezTo>
                  <a:cubicBezTo>
                    <a:pt x="46" y="49"/>
                    <a:pt x="46" y="49"/>
                    <a:pt x="46" y="49"/>
                  </a:cubicBezTo>
                  <a:cubicBezTo>
                    <a:pt x="46" y="49"/>
                    <a:pt x="46" y="49"/>
                    <a:pt x="46" y="49"/>
                  </a:cubicBezTo>
                  <a:cubicBezTo>
                    <a:pt x="47" y="51"/>
                    <a:pt x="21" y="70"/>
                    <a:pt x="20" y="70"/>
                  </a:cubicBezTo>
                  <a:cubicBezTo>
                    <a:pt x="20" y="70"/>
                    <a:pt x="20" y="70"/>
                    <a:pt x="20" y="70"/>
                  </a:cubicBezTo>
                  <a:cubicBezTo>
                    <a:pt x="20" y="70"/>
                    <a:pt x="20" y="70"/>
                    <a:pt x="20" y="70"/>
                  </a:cubicBezTo>
                  <a:cubicBezTo>
                    <a:pt x="19" y="70"/>
                    <a:pt x="19" y="69"/>
                    <a:pt x="18" y="69"/>
                  </a:cubicBezTo>
                  <a:cubicBezTo>
                    <a:pt x="18" y="69"/>
                    <a:pt x="18" y="69"/>
                    <a:pt x="18" y="69"/>
                  </a:cubicBezTo>
                  <a:cubicBezTo>
                    <a:pt x="17" y="69"/>
                    <a:pt x="26" y="13"/>
                    <a:pt x="28" y="13"/>
                  </a:cubicBezTo>
                  <a:cubicBezTo>
                    <a:pt x="28" y="13"/>
                    <a:pt x="28" y="13"/>
                    <a:pt x="28" y="13"/>
                  </a:cubicBezTo>
                  <a:cubicBezTo>
                    <a:pt x="28" y="13"/>
                    <a:pt x="28" y="13"/>
                    <a:pt x="28" y="13"/>
                  </a:cubicBezTo>
                  <a:moveTo>
                    <a:pt x="28" y="0"/>
                  </a:moveTo>
                  <a:cubicBezTo>
                    <a:pt x="27" y="0"/>
                    <a:pt x="26" y="0"/>
                    <a:pt x="25" y="0"/>
                  </a:cubicBezTo>
                  <a:cubicBezTo>
                    <a:pt x="21" y="2"/>
                    <a:pt x="20" y="6"/>
                    <a:pt x="22" y="9"/>
                  </a:cubicBezTo>
                  <a:cubicBezTo>
                    <a:pt x="22" y="11"/>
                    <a:pt x="24" y="12"/>
                    <a:pt x="26" y="13"/>
                  </a:cubicBezTo>
                  <a:cubicBezTo>
                    <a:pt x="26" y="13"/>
                    <a:pt x="26" y="13"/>
                    <a:pt x="26" y="13"/>
                  </a:cubicBezTo>
                  <a:cubicBezTo>
                    <a:pt x="27" y="13"/>
                    <a:pt x="18" y="69"/>
                    <a:pt x="17" y="69"/>
                  </a:cubicBezTo>
                  <a:cubicBezTo>
                    <a:pt x="17" y="69"/>
                    <a:pt x="17" y="69"/>
                    <a:pt x="17" y="69"/>
                  </a:cubicBezTo>
                  <a:cubicBezTo>
                    <a:pt x="17" y="69"/>
                    <a:pt x="17" y="69"/>
                    <a:pt x="17" y="69"/>
                  </a:cubicBezTo>
                  <a:cubicBezTo>
                    <a:pt x="16" y="69"/>
                    <a:pt x="15" y="69"/>
                    <a:pt x="15" y="69"/>
                  </a:cubicBezTo>
                  <a:cubicBezTo>
                    <a:pt x="14" y="70"/>
                    <a:pt x="14" y="70"/>
                    <a:pt x="13" y="70"/>
                  </a:cubicBezTo>
                  <a:cubicBezTo>
                    <a:pt x="14" y="70"/>
                    <a:pt x="14" y="70"/>
                    <a:pt x="14" y="70"/>
                  </a:cubicBezTo>
                  <a:cubicBezTo>
                    <a:pt x="14" y="70"/>
                    <a:pt x="14" y="70"/>
                    <a:pt x="14" y="70"/>
                  </a:cubicBezTo>
                  <a:cubicBezTo>
                    <a:pt x="13" y="70"/>
                    <a:pt x="7" y="65"/>
                    <a:pt x="0" y="59"/>
                  </a:cubicBezTo>
                  <a:cubicBezTo>
                    <a:pt x="7" y="66"/>
                    <a:pt x="13" y="71"/>
                    <a:pt x="12" y="71"/>
                  </a:cubicBezTo>
                  <a:cubicBezTo>
                    <a:pt x="12" y="71"/>
                    <a:pt x="12" y="71"/>
                    <a:pt x="12" y="71"/>
                  </a:cubicBezTo>
                  <a:cubicBezTo>
                    <a:pt x="12" y="72"/>
                    <a:pt x="12" y="74"/>
                    <a:pt x="12" y="75"/>
                  </a:cubicBezTo>
                  <a:cubicBezTo>
                    <a:pt x="13" y="77"/>
                    <a:pt x="15" y="78"/>
                    <a:pt x="17" y="78"/>
                  </a:cubicBezTo>
                  <a:cubicBezTo>
                    <a:pt x="17" y="78"/>
                    <a:pt x="18" y="78"/>
                    <a:pt x="19" y="78"/>
                  </a:cubicBezTo>
                  <a:cubicBezTo>
                    <a:pt x="21" y="77"/>
                    <a:pt x="22" y="74"/>
                    <a:pt x="21" y="72"/>
                  </a:cubicBezTo>
                  <a:cubicBezTo>
                    <a:pt x="21" y="71"/>
                    <a:pt x="21" y="71"/>
                    <a:pt x="21" y="71"/>
                  </a:cubicBezTo>
                  <a:cubicBezTo>
                    <a:pt x="21" y="71"/>
                    <a:pt x="21" y="71"/>
                    <a:pt x="21" y="71"/>
                  </a:cubicBezTo>
                  <a:cubicBezTo>
                    <a:pt x="20" y="70"/>
                    <a:pt x="45" y="51"/>
                    <a:pt x="48" y="51"/>
                  </a:cubicBezTo>
                  <a:cubicBezTo>
                    <a:pt x="48" y="51"/>
                    <a:pt x="48" y="51"/>
                    <a:pt x="48" y="51"/>
                  </a:cubicBezTo>
                  <a:cubicBezTo>
                    <a:pt x="48" y="51"/>
                    <a:pt x="48" y="51"/>
                    <a:pt x="48" y="51"/>
                  </a:cubicBezTo>
                  <a:cubicBezTo>
                    <a:pt x="49" y="53"/>
                    <a:pt x="52" y="54"/>
                    <a:pt x="54" y="54"/>
                  </a:cubicBezTo>
                  <a:cubicBezTo>
                    <a:pt x="55" y="54"/>
                    <a:pt x="57" y="53"/>
                    <a:pt x="58" y="53"/>
                  </a:cubicBezTo>
                  <a:cubicBezTo>
                    <a:pt x="63" y="51"/>
                    <a:pt x="64" y="46"/>
                    <a:pt x="62" y="41"/>
                  </a:cubicBezTo>
                  <a:cubicBezTo>
                    <a:pt x="61" y="38"/>
                    <a:pt x="57" y="36"/>
                    <a:pt x="54" y="36"/>
                  </a:cubicBezTo>
                  <a:cubicBezTo>
                    <a:pt x="53" y="36"/>
                    <a:pt x="51" y="36"/>
                    <a:pt x="50" y="37"/>
                  </a:cubicBezTo>
                  <a:cubicBezTo>
                    <a:pt x="50" y="37"/>
                    <a:pt x="50" y="37"/>
                    <a:pt x="50" y="37"/>
                  </a:cubicBezTo>
                  <a:cubicBezTo>
                    <a:pt x="50" y="37"/>
                    <a:pt x="50" y="37"/>
                    <a:pt x="50" y="37"/>
                  </a:cubicBezTo>
                  <a:cubicBezTo>
                    <a:pt x="48" y="37"/>
                    <a:pt x="32" y="12"/>
                    <a:pt x="33" y="11"/>
                  </a:cubicBezTo>
                  <a:cubicBezTo>
                    <a:pt x="33" y="11"/>
                    <a:pt x="33" y="11"/>
                    <a:pt x="33" y="11"/>
                  </a:cubicBezTo>
                  <a:cubicBezTo>
                    <a:pt x="35" y="9"/>
                    <a:pt x="35" y="6"/>
                    <a:pt x="34" y="4"/>
                  </a:cubicBezTo>
                  <a:cubicBezTo>
                    <a:pt x="33" y="1"/>
                    <a:pt x="30" y="0"/>
                    <a:pt x="28"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2" name="Freeform 15"/>
            <p:cNvSpPr>
              <a:spLocks/>
            </p:cNvSpPr>
            <p:nvPr/>
          </p:nvSpPr>
          <p:spPr bwMode="auto">
            <a:xfrm>
              <a:off x="6832600" y="3729038"/>
              <a:ext cx="30163" cy="63500"/>
            </a:xfrm>
            <a:custGeom>
              <a:avLst/>
              <a:gdLst>
                <a:gd name="T0" fmla="*/ 0 w 8"/>
                <a:gd name="T1" fmla="*/ 0 h 17"/>
                <a:gd name="T2" fmla="*/ 8 w 8"/>
                <a:gd name="T3" fmla="*/ 17 h 17"/>
                <a:gd name="T4" fmla="*/ 0 w 8"/>
                <a:gd name="T5" fmla="*/ 0 h 17"/>
              </a:gdLst>
              <a:ahLst/>
              <a:cxnLst>
                <a:cxn ang="0">
                  <a:pos x="T0" y="T1"/>
                </a:cxn>
                <a:cxn ang="0">
                  <a:pos x="T2" y="T3"/>
                </a:cxn>
                <a:cxn ang="0">
                  <a:pos x="T4" y="T5"/>
                </a:cxn>
              </a:cxnLst>
              <a:rect l="0" t="0" r="r" b="b"/>
              <a:pathLst>
                <a:path w="8" h="17">
                  <a:moveTo>
                    <a:pt x="0" y="0"/>
                  </a:moveTo>
                  <a:cubicBezTo>
                    <a:pt x="3" y="5"/>
                    <a:pt x="6" y="11"/>
                    <a:pt x="8" y="17"/>
                  </a:cubicBezTo>
                  <a:cubicBezTo>
                    <a:pt x="6" y="11"/>
                    <a:pt x="3" y="5"/>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3" name="Freeform 16"/>
            <p:cNvSpPr>
              <a:spLocks/>
            </p:cNvSpPr>
            <p:nvPr/>
          </p:nvSpPr>
          <p:spPr bwMode="auto">
            <a:xfrm>
              <a:off x="6656388" y="3328988"/>
              <a:ext cx="17463" cy="3175"/>
            </a:xfrm>
            <a:custGeom>
              <a:avLst/>
              <a:gdLst>
                <a:gd name="T0" fmla="*/ 0 w 5"/>
                <a:gd name="T1" fmla="*/ 0 h 1"/>
                <a:gd name="T2" fmla="*/ 5 w 5"/>
                <a:gd name="T3" fmla="*/ 1 h 1"/>
                <a:gd name="T4" fmla="*/ 0 w 5"/>
                <a:gd name="T5" fmla="*/ 0 h 1"/>
              </a:gdLst>
              <a:ahLst/>
              <a:cxnLst>
                <a:cxn ang="0">
                  <a:pos x="T0" y="T1"/>
                </a:cxn>
                <a:cxn ang="0">
                  <a:pos x="T2" y="T3"/>
                </a:cxn>
                <a:cxn ang="0">
                  <a:pos x="T4" y="T5"/>
                </a:cxn>
              </a:cxnLst>
              <a:rect l="0" t="0" r="r" b="b"/>
              <a:pathLst>
                <a:path w="5" h="1">
                  <a:moveTo>
                    <a:pt x="0" y="0"/>
                  </a:moveTo>
                  <a:cubicBezTo>
                    <a:pt x="2" y="0"/>
                    <a:pt x="4" y="1"/>
                    <a:pt x="5" y="1"/>
                  </a:cubicBezTo>
                  <a:cubicBezTo>
                    <a:pt x="4" y="0"/>
                    <a:pt x="2" y="0"/>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4" name="Freeform 17"/>
            <p:cNvSpPr>
              <a:spLocks/>
            </p:cNvSpPr>
            <p:nvPr/>
          </p:nvSpPr>
          <p:spPr bwMode="auto">
            <a:xfrm>
              <a:off x="6040438" y="3951288"/>
              <a:ext cx="44450" cy="19050"/>
            </a:xfrm>
            <a:custGeom>
              <a:avLst/>
              <a:gdLst>
                <a:gd name="T0" fmla="*/ 0 w 12"/>
                <a:gd name="T1" fmla="*/ 0 h 5"/>
                <a:gd name="T2" fmla="*/ 12 w 12"/>
                <a:gd name="T3" fmla="*/ 5 h 5"/>
                <a:gd name="T4" fmla="*/ 0 w 12"/>
                <a:gd name="T5" fmla="*/ 0 h 5"/>
              </a:gdLst>
              <a:ahLst/>
              <a:cxnLst>
                <a:cxn ang="0">
                  <a:pos x="T0" y="T1"/>
                </a:cxn>
                <a:cxn ang="0">
                  <a:pos x="T2" y="T3"/>
                </a:cxn>
                <a:cxn ang="0">
                  <a:pos x="T4" y="T5"/>
                </a:cxn>
              </a:cxnLst>
              <a:rect l="0" t="0" r="r" b="b"/>
              <a:pathLst>
                <a:path w="12" h="5">
                  <a:moveTo>
                    <a:pt x="0" y="0"/>
                  </a:moveTo>
                  <a:cubicBezTo>
                    <a:pt x="4" y="1"/>
                    <a:pt x="8" y="3"/>
                    <a:pt x="12" y="5"/>
                  </a:cubicBezTo>
                  <a:cubicBezTo>
                    <a:pt x="8" y="3"/>
                    <a:pt x="4"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5" name="Freeform 18"/>
            <p:cNvSpPr>
              <a:spLocks/>
            </p:cNvSpPr>
            <p:nvPr/>
          </p:nvSpPr>
          <p:spPr bwMode="auto">
            <a:xfrm>
              <a:off x="7485063" y="3729038"/>
              <a:ext cx="11113" cy="77788"/>
            </a:xfrm>
            <a:custGeom>
              <a:avLst/>
              <a:gdLst>
                <a:gd name="T0" fmla="*/ 3 w 3"/>
                <a:gd name="T1" fmla="*/ 0 h 21"/>
                <a:gd name="T2" fmla="*/ 0 w 3"/>
                <a:gd name="T3" fmla="*/ 21 h 21"/>
                <a:gd name="T4" fmla="*/ 3 w 3"/>
                <a:gd name="T5" fmla="*/ 0 h 21"/>
              </a:gdLst>
              <a:ahLst/>
              <a:cxnLst>
                <a:cxn ang="0">
                  <a:pos x="T0" y="T1"/>
                </a:cxn>
                <a:cxn ang="0">
                  <a:pos x="T2" y="T3"/>
                </a:cxn>
                <a:cxn ang="0">
                  <a:pos x="T4" y="T5"/>
                </a:cxn>
              </a:cxnLst>
              <a:rect l="0" t="0" r="r" b="b"/>
              <a:pathLst>
                <a:path w="3" h="21">
                  <a:moveTo>
                    <a:pt x="3" y="0"/>
                  </a:moveTo>
                  <a:cubicBezTo>
                    <a:pt x="2" y="7"/>
                    <a:pt x="1" y="15"/>
                    <a:pt x="0" y="21"/>
                  </a:cubicBezTo>
                  <a:cubicBezTo>
                    <a:pt x="1" y="15"/>
                    <a:pt x="2" y="7"/>
                    <a:pt x="3"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6" name="Freeform 19"/>
            <p:cNvSpPr>
              <a:spLocks noEditPoints="1"/>
            </p:cNvSpPr>
            <p:nvPr/>
          </p:nvSpPr>
          <p:spPr bwMode="auto">
            <a:xfrm>
              <a:off x="2719388" y="2635250"/>
              <a:ext cx="4916488" cy="1974850"/>
            </a:xfrm>
            <a:custGeom>
              <a:avLst/>
              <a:gdLst>
                <a:gd name="T0" fmla="*/ 893 w 1309"/>
                <a:gd name="T1" fmla="*/ 437 h 524"/>
                <a:gd name="T2" fmla="*/ 374 w 1309"/>
                <a:gd name="T3" fmla="*/ 407 h 524"/>
                <a:gd name="T4" fmla="*/ 109 w 1309"/>
                <a:gd name="T5" fmla="*/ 335 h 524"/>
                <a:gd name="T6" fmla="*/ 711 w 1309"/>
                <a:gd name="T7" fmla="*/ 231 h 524"/>
                <a:gd name="T8" fmla="*/ 511 w 1309"/>
                <a:gd name="T9" fmla="*/ 291 h 524"/>
                <a:gd name="T10" fmla="*/ 1098 w 1309"/>
                <a:gd name="T11" fmla="*/ 219 h 524"/>
                <a:gd name="T12" fmla="*/ 125 w 1309"/>
                <a:gd name="T13" fmla="*/ 212 h 524"/>
                <a:gd name="T14" fmla="*/ 774 w 1309"/>
                <a:gd name="T15" fmla="*/ 164 h 524"/>
                <a:gd name="T16" fmla="*/ 772 w 1309"/>
                <a:gd name="T17" fmla="*/ 166 h 524"/>
                <a:gd name="T18" fmla="*/ 994 w 1309"/>
                <a:gd name="T19" fmla="*/ 178 h 524"/>
                <a:gd name="T20" fmla="*/ 776 w 1309"/>
                <a:gd name="T21" fmla="*/ 159 h 524"/>
                <a:gd name="T22" fmla="*/ 776 w 1309"/>
                <a:gd name="T23" fmla="*/ 159 h 524"/>
                <a:gd name="T24" fmla="*/ 40 w 1309"/>
                <a:gd name="T25" fmla="*/ 153 h 524"/>
                <a:gd name="T26" fmla="*/ 41 w 1309"/>
                <a:gd name="T27" fmla="*/ 138 h 524"/>
                <a:gd name="T28" fmla="*/ 625 w 1309"/>
                <a:gd name="T29" fmla="*/ 165 h 524"/>
                <a:gd name="T30" fmla="*/ 523 w 1309"/>
                <a:gd name="T31" fmla="*/ 211 h 524"/>
                <a:gd name="T32" fmla="*/ 784 w 1309"/>
                <a:gd name="T33" fmla="*/ 34 h 524"/>
                <a:gd name="T34" fmla="*/ 738 w 1309"/>
                <a:gd name="T35" fmla="*/ 161 h 524"/>
                <a:gd name="T36" fmla="*/ 645 w 1309"/>
                <a:gd name="T37" fmla="*/ 268 h 524"/>
                <a:gd name="T38" fmla="*/ 686 w 1309"/>
                <a:gd name="T39" fmla="*/ 160 h 524"/>
                <a:gd name="T40" fmla="*/ 656 w 1309"/>
                <a:gd name="T41" fmla="*/ 136 h 524"/>
                <a:gd name="T42" fmla="*/ 505 w 1309"/>
                <a:gd name="T43" fmla="*/ 214 h 524"/>
                <a:gd name="T44" fmla="*/ 320 w 1309"/>
                <a:gd name="T45" fmla="*/ 318 h 524"/>
                <a:gd name="T46" fmla="*/ 85 w 1309"/>
                <a:gd name="T47" fmla="*/ 202 h 524"/>
                <a:gd name="T48" fmla="*/ 106 w 1309"/>
                <a:gd name="T49" fmla="*/ 162 h 524"/>
                <a:gd name="T50" fmla="*/ 48 w 1309"/>
                <a:gd name="T51" fmla="*/ 132 h 524"/>
                <a:gd name="T52" fmla="*/ 15 w 1309"/>
                <a:gd name="T53" fmla="*/ 168 h 524"/>
                <a:gd name="T54" fmla="*/ 55 w 1309"/>
                <a:gd name="T55" fmla="*/ 246 h 524"/>
                <a:gd name="T56" fmla="*/ 66 w 1309"/>
                <a:gd name="T57" fmla="*/ 318 h 524"/>
                <a:gd name="T58" fmla="*/ 113 w 1309"/>
                <a:gd name="T59" fmla="*/ 332 h 524"/>
                <a:gd name="T60" fmla="*/ 165 w 1309"/>
                <a:gd name="T61" fmla="*/ 300 h 524"/>
                <a:gd name="T62" fmla="*/ 375 w 1309"/>
                <a:gd name="T63" fmla="*/ 342 h 524"/>
                <a:gd name="T64" fmla="*/ 401 w 1309"/>
                <a:gd name="T65" fmla="*/ 388 h 524"/>
                <a:gd name="T66" fmla="*/ 379 w 1309"/>
                <a:gd name="T67" fmla="*/ 337 h 524"/>
                <a:gd name="T68" fmla="*/ 519 w 1309"/>
                <a:gd name="T69" fmla="*/ 309 h 524"/>
                <a:gd name="T70" fmla="*/ 641 w 1309"/>
                <a:gd name="T71" fmla="*/ 298 h 524"/>
                <a:gd name="T72" fmla="*/ 552 w 1309"/>
                <a:gd name="T73" fmla="*/ 435 h 524"/>
                <a:gd name="T74" fmla="*/ 681 w 1309"/>
                <a:gd name="T75" fmla="*/ 478 h 524"/>
                <a:gd name="T76" fmla="*/ 675 w 1309"/>
                <a:gd name="T77" fmla="*/ 489 h 524"/>
                <a:gd name="T78" fmla="*/ 758 w 1309"/>
                <a:gd name="T79" fmla="*/ 416 h 524"/>
                <a:gd name="T80" fmla="*/ 741 w 1309"/>
                <a:gd name="T81" fmla="*/ 317 h 524"/>
                <a:gd name="T82" fmla="*/ 889 w 1309"/>
                <a:gd name="T83" fmla="*/ 439 h 524"/>
                <a:gd name="T84" fmla="*/ 926 w 1309"/>
                <a:gd name="T85" fmla="*/ 363 h 524"/>
                <a:gd name="T86" fmla="*/ 871 w 1309"/>
                <a:gd name="T87" fmla="*/ 413 h 524"/>
                <a:gd name="T88" fmla="*/ 712 w 1309"/>
                <a:gd name="T89" fmla="*/ 233 h 524"/>
                <a:gd name="T90" fmla="*/ 764 w 1309"/>
                <a:gd name="T91" fmla="*/ 165 h 524"/>
                <a:gd name="T92" fmla="*/ 845 w 1309"/>
                <a:gd name="T93" fmla="*/ 209 h 524"/>
                <a:gd name="T94" fmla="*/ 912 w 1309"/>
                <a:gd name="T95" fmla="*/ 234 h 524"/>
                <a:gd name="T96" fmla="*/ 884 w 1309"/>
                <a:gd name="T97" fmla="*/ 349 h 524"/>
                <a:gd name="T98" fmla="*/ 1000 w 1309"/>
                <a:gd name="T99" fmla="*/ 192 h 524"/>
                <a:gd name="T100" fmla="*/ 1083 w 1309"/>
                <a:gd name="T101" fmla="*/ 271 h 524"/>
                <a:gd name="T102" fmla="*/ 1023 w 1309"/>
                <a:gd name="T103" fmla="*/ 286 h 524"/>
                <a:gd name="T104" fmla="*/ 1067 w 1309"/>
                <a:gd name="T105" fmla="*/ 180 h 524"/>
                <a:gd name="T106" fmla="*/ 1069 w 1309"/>
                <a:gd name="T107" fmla="*/ 194 h 524"/>
                <a:gd name="T108" fmla="*/ 1138 w 1309"/>
                <a:gd name="T109" fmla="*/ 197 h 524"/>
                <a:gd name="T110" fmla="*/ 1141 w 1309"/>
                <a:gd name="T111" fmla="*/ 192 h 524"/>
                <a:gd name="T112" fmla="*/ 1130 w 1309"/>
                <a:gd name="T113" fmla="*/ 80 h 524"/>
                <a:gd name="T114" fmla="*/ 1257 w 1309"/>
                <a:gd name="T115" fmla="*/ 243 h 524"/>
                <a:gd name="T116" fmla="*/ 1273 w 1309"/>
                <a:gd name="T117" fmla="*/ 254 h 524"/>
                <a:gd name="T118" fmla="*/ 1148 w 1309"/>
                <a:gd name="T119" fmla="*/ 135 h 524"/>
                <a:gd name="T120" fmla="*/ 1023 w 1309"/>
                <a:gd name="T121" fmla="*/ 153 h 524"/>
                <a:gd name="T122" fmla="*/ 1011 w 1309"/>
                <a:gd name="T123" fmla="*/ 101 h 524"/>
                <a:gd name="T124" fmla="*/ 848 w 1309"/>
                <a:gd name="T125" fmla="*/ 12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9" h="524">
                  <a:moveTo>
                    <a:pt x="897" y="418"/>
                  </a:moveTo>
                  <a:cubicBezTo>
                    <a:pt x="895" y="415"/>
                    <a:pt x="923" y="393"/>
                    <a:pt x="929" y="393"/>
                  </a:cubicBezTo>
                  <a:cubicBezTo>
                    <a:pt x="930" y="393"/>
                    <a:pt x="930" y="394"/>
                    <a:pt x="930" y="394"/>
                  </a:cubicBezTo>
                  <a:cubicBezTo>
                    <a:pt x="930" y="394"/>
                    <a:pt x="930" y="394"/>
                    <a:pt x="930" y="394"/>
                  </a:cubicBezTo>
                  <a:cubicBezTo>
                    <a:pt x="932" y="395"/>
                    <a:pt x="934" y="397"/>
                    <a:pt x="936" y="398"/>
                  </a:cubicBezTo>
                  <a:cubicBezTo>
                    <a:pt x="938" y="399"/>
                    <a:pt x="941" y="400"/>
                    <a:pt x="943" y="400"/>
                  </a:cubicBezTo>
                  <a:cubicBezTo>
                    <a:pt x="943" y="400"/>
                    <a:pt x="943" y="400"/>
                    <a:pt x="943" y="400"/>
                  </a:cubicBezTo>
                  <a:cubicBezTo>
                    <a:pt x="948" y="401"/>
                    <a:pt x="942" y="495"/>
                    <a:pt x="939" y="496"/>
                  </a:cubicBezTo>
                  <a:cubicBezTo>
                    <a:pt x="939" y="496"/>
                    <a:pt x="939" y="496"/>
                    <a:pt x="939" y="496"/>
                  </a:cubicBezTo>
                  <a:cubicBezTo>
                    <a:pt x="938" y="496"/>
                    <a:pt x="936" y="496"/>
                    <a:pt x="935" y="497"/>
                  </a:cubicBezTo>
                  <a:cubicBezTo>
                    <a:pt x="935" y="497"/>
                    <a:pt x="935" y="497"/>
                    <a:pt x="935" y="497"/>
                  </a:cubicBezTo>
                  <a:cubicBezTo>
                    <a:pt x="935" y="497"/>
                    <a:pt x="935" y="497"/>
                    <a:pt x="935" y="497"/>
                  </a:cubicBezTo>
                  <a:cubicBezTo>
                    <a:pt x="932" y="497"/>
                    <a:pt x="891" y="439"/>
                    <a:pt x="893" y="437"/>
                  </a:cubicBezTo>
                  <a:cubicBezTo>
                    <a:pt x="893" y="437"/>
                    <a:pt x="893" y="437"/>
                    <a:pt x="893" y="437"/>
                  </a:cubicBezTo>
                  <a:cubicBezTo>
                    <a:pt x="896" y="434"/>
                    <a:pt x="898" y="430"/>
                    <a:pt x="898" y="426"/>
                  </a:cubicBezTo>
                  <a:cubicBezTo>
                    <a:pt x="899" y="423"/>
                    <a:pt x="898" y="420"/>
                    <a:pt x="896" y="418"/>
                  </a:cubicBezTo>
                  <a:cubicBezTo>
                    <a:pt x="897" y="418"/>
                    <a:pt x="897" y="418"/>
                    <a:pt x="897" y="418"/>
                  </a:cubicBezTo>
                  <a:moveTo>
                    <a:pt x="382" y="350"/>
                  </a:moveTo>
                  <a:cubicBezTo>
                    <a:pt x="383" y="350"/>
                    <a:pt x="384" y="350"/>
                    <a:pt x="385" y="349"/>
                  </a:cubicBezTo>
                  <a:cubicBezTo>
                    <a:pt x="385" y="349"/>
                    <a:pt x="385" y="349"/>
                    <a:pt x="385" y="349"/>
                  </a:cubicBezTo>
                  <a:cubicBezTo>
                    <a:pt x="385" y="349"/>
                    <a:pt x="385" y="349"/>
                    <a:pt x="385" y="349"/>
                  </a:cubicBezTo>
                  <a:cubicBezTo>
                    <a:pt x="386" y="349"/>
                    <a:pt x="403" y="374"/>
                    <a:pt x="402" y="375"/>
                  </a:cubicBezTo>
                  <a:cubicBezTo>
                    <a:pt x="402" y="375"/>
                    <a:pt x="402" y="375"/>
                    <a:pt x="402" y="375"/>
                  </a:cubicBezTo>
                  <a:cubicBezTo>
                    <a:pt x="399" y="378"/>
                    <a:pt x="398" y="382"/>
                    <a:pt x="400" y="385"/>
                  </a:cubicBezTo>
                  <a:cubicBezTo>
                    <a:pt x="400" y="386"/>
                    <a:pt x="400" y="386"/>
                    <a:pt x="400" y="386"/>
                  </a:cubicBezTo>
                  <a:cubicBezTo>
                    <a:pt x="400" y="386"/>
                    <a:pt x="400" y="386"/>
                    <a:pt x="400" y="386"/>
                  </a:cubicBezTo>
                  <a:cubicBezTo>
                    <a:pt x="401" y="388"/>
                    <a:pt x="375" y="407"/>
                    <a:pt x="374" y="407"/>
                  </a:cubicBezTo>
                  <a:cubicBezTo>
                    <a:pt x="374" y="407"/>
                    <a:pt x="374" y="407"/>
                    <a:pt x="374" y="407"/>
                  </a:cubicBezTo>
                  <a:cubicBezTo>
                    <a:pt x="374" y="407"/>
                    <a:pt x="374" y="407"/>
                    <a:pt x="374" y="407"/>
                  </a:cubicBezTo>
                  <a:cubicBezTo>
                    <a:pt x="373" y="406"/>
                    <a:pt x="373" y="406"/>
                    <a:pt x="372" y="406"/>
                  </a:cubicBezTo>
                  <a:cubicBezTo>
                    <a:pt x="372" y="406"/>
                    <a:pt x="372" y="406"/>
                    <a:pt x="372" y="406"/>
                  </a:cubicBezTo>
                  <a:cubicBezTo>
                    <a:pt x="371" y="406"/>
                    <a:pt x="380" y="350"/>
                    <a:pt x="382" y="350"/>
                  </a:cubicBezTo>
                  <a:cubicBezTo>
                    <a:pt x="382" y="350"/>
                    <a:pt x="382" y="350"/>
                    <a:pt x="382" y="350"/>
                  </a:cubicBezTo>
                  <a:cubicBezTo>
                    <a:pt x="382" y="350"/>
                    <a:pt x="382" y="350"/>
                    <a:pt x="382" y="350"/>
                  </a:cubicBezTo>
                  <a:moveTo>
                    <a:pt x="110" y="294"/>
                  </a:moveTo>
                  <a:cubicBezTo>
                    <a:pt x="110" y="294"/>
                    <a:pt x="110" y="294"/>
                    <a:pt x="110" y="294"/>
                  </a:cubicBezTo>
                  <a:cubicBezTo>
                    <a:pt x="110" y="294"/>
                    <a:pt x="111" y="295"/>
                    <a:pt x="112" y="295"/>
                  </a:cubicBezTo>
                  <a:cubicBezTo>
                    <a:pt x="112" y="295"/>
                    <a:pt x="112" y="295"/>
                    <a:pt x="112" y="295"/>
                  </a:cubicBezTo>
                  <a:cubicBezTo>
                    <a:pt x="113" y="295"/>
                    <a:pt x="113" y="332"/>
                    <a:pt x="112" y="332"/>
                  </a:cubicBezTo>
                  <a:cubicBezTo>
                    <a:pt x="112" y="332"/>
                    <a:pt x="112" y="332"/>
                    <a:pt x="112" y="332"/>
                  </a:cubicBezTo>
                  <a:cubicBezTo>
                    <a:pt x="112" y="333"/>
                    <a:pt x="111" y="333"/>
                    <a:pt x="111" y="333"/>
                  </a:cubicBezTo>
                  <a:cubicBezTo>
                    <a:pt x="110" y="333"/>
                    <a:pt x="109" y="334"/>
                    <a:pt x="109" y="335"/>
                  </a:cubicBezTo>
                  <a:cubicBezTo>
                    <a:pt x="109" y="334"/>
                    <a:pt x="109" y="334"/>
                    <a:pt x="109" y="334"/>
                  </a:cubicBezTo>
                  <a:cubicBezTo>
                    <a:pt x="109" y="334"/>
                    <a:pt x="109" y="334"/>
                    <a:pt x="109" y="334"/>
                  </a:cubicBezTo>
                  <a:cubicBezTo>
                    <a:pt x="107" y="334"/>
                    <a:pt x="70" y="323"/>
                    <a:pt x="70" y="322"/>
                  </a:cubicBezTo>
                  <a:cubicBezTo>
                    <a:pt x="70" y="322"/>
                    <a:pt x="70" y="322"/>
                    <a:pt x="70" y="322"/>
                  </a:cubicBezTo>
                  <a:cubicBezTo>
                    <a:pt x="70" y="321"/>
                    <a:pt x="70" y="321"/>
                    <a:pt x="70" y="320"/>
                  </a:cubicBezTo>
                  <a:cubicBezTo>
                    <a:pt x="70" y="320"/>
                    <a:pt x="70" y="320"/>
                    <a:pt x="70" y="320"/>
                  </a:cubicBezTo>
                  <a:cubicBezTo>
                    <a:pt x="70" y="320"/>
                    <a:pt x="70" y="320"/>
                    <a:pt x="70" y="320"/>
                  </a:cubicBezTo>
                  <a:cubicBezTo>
                    <a:pt x="69" y="319"/>
                    <a:pt x="108" y="294"/>
                    <a:pt x="110" y="294"/>
                  </a:cubicBezTo>
                  <a:cubicBezTo>
                    <a:pt x="110" y="294"/>
                    <a:pt x="110" y="294"/>
                    <a:pt x="110" y="294"/>
                  </a:cubicBezTo>
                  <a:moveTo>
                    <a:pt x="656" y="271"/>
                  </a:moveTo>
                  <a:cubicBezTo>
                    <a:pt x="663" y="262"/>
                    <a:pt x="685" y="240"/>
                    <a:pt x="708" y="218"/>
                  </a:cubicBezTo>
                  <a:cubicBezTo>
                    <a:pt x="710" y="221"/>
                    <a:pt x="712" y="223"/>
                    <a:pt x="711" y="223"/>
                  </a:cubicBezTo>
                  <a:cubicBezTo>
                    <a:pt x="711" y="223"/>
                    <a:pt x="711" y="223"/>
                    <a:pt x="711" y="223"/>
                  </a:cubicBezTo>
                  <a:cubicBezTo>
                    <a:pt x="710" y="225"/>
                    <a:pt x="709" y="228"/>
                    <a:pt x="711" y="231"/>
                  </a:cubicBezTo>
                  <a:cubicBezTo>
                    <a:pt x="711" y="231"/>
                    <a:pt x="711" y="231"/>
                    <a:pt x="711" y="231"/>
                  </a:cubicBezTo>
                  <a:cubicBezTo>
                    <a:pt x="711" y="231"/>
                    <a:pt x="711" y="231"/>
                    <a:pt x="711" y="231"/>
                  </a:cubicBezTo>
                  <a:cubicBezTo>
                    <a:pt x="711" y="232"/>
                    <a:pt x="669" y="263"/>
                    <a:pt x="656" y="271"/>
                  </a:cubicBezTo>
                  <a:moveTo>
                    <a:pt x="516" y="214"/>
                  </a:moveTo>
                  <a:cubicBezTo>
                    <a:pt x="516" y="214"/>
                    <a:pt x="516" y="214"/>
                    <a:pt x="516" y="214"/>
                  </a:cubicBezTo>
                  <a:cubicBezTo>
                    <a:pt x="521" y="214"/>
                    <a:pt x="573" y="327"/>
                    <a:pt x="571" y="328"/>
                  </a:cubicBezTo>
                  <a:cubicBezTo>
                    <a:pt x="571" y="328"/>
                    <a:pt x="571" y="328"/>
                    <a:pt x="571" y="328"/>
                  </a:cubicBezTo>
                  <a:cubicBezTo>
                    <a:pt x="570" y="329"/>
                    <a:pt x="569" y="330"/>
                    <a:pt x="568" y="331"/>
                  </a:cubicBezTo>
                  <a:cubicBezTo>
                    <a:pt x="568" y="331"/>
                    <a:pt x="568" y="331"/>
                    <a:pt x="568" y="331"/>
                  </a:cubicBezTo>
                  <a:cubicBezTo>
                    <a:pt x="568" y="331"/>
                    <a:pt x="568" y="331"/>
                    <a:pt x="568" y="331"/>
                  </a:cubicBezTo>
                  <a:cubicBezTo>
                    <a:pt x="564" y="331"/>
                    <a:pt x="519" y="308"/>
                    <a:pt x="520" y="306"/>
                  </a:cubicBezTo>
                  <a:cubicBezTo>
                    <a:pt x="520" y="306"/>
                    <a:pt x="520" y="306"/>
                    <a:pt x="520" y="306"/>
                  </a:cubicBezTo>
                  <a:cubicBezTo>
                    <a:pt x="521" y="303"/>
                    <a:pt x="521" y="300"/>
                    <a:pt x="520" y="297"/>
                  </a:cubicBezTo>
                  <a:cubicBezTo>
                    <a:pt x="518" y="294"/>
                    <a:pt x="515" y="292"/>
                    <a:pt x="511" y="291"/>
                  </a:cubicBezTo>
                  <a:cubicBezTo>
                    <a:pt x="511" y="291"/>
                    <a:pt x="511" y="291"/>
                    <a:pt x="511" y="291"/>
                  </a:cubicBezTo>
                  <a:cubicBezTo>
                    <a:pt x="509" y="291"/>
                    <a:pt x="508" y="215"/>
                    <a:pt x="513" y="214"/>
                  </a:cubicBezTo>
                  <a:cubicBezTo>
                    <a:pt x="513" y="214"/>
                    <a:pt x="513" y="214"/>
                    <a:pt x="513" y="214"/>
                  </a:cubicBezTo>
                  <a:cubicBezTo>
                    <a:pt x="514" y="214"/>
                    <a:pt x="515" y="214"/>
                    <a:pt x="516" y="214"/>
                  </a:cubicBezTo>
                  <a:cubicBezTo>
                    <a:pt x="516" y="214"/>
                    <a:pt x="516" y="214"/>
                    <a:pt x="516" y="214"/>
                  </a:cubicBezTo>
                  <a:moveTo>
                    <a:pt x="1072" y="189"/>
                  </a:moveTo>
                  <a:cubicBezTo>
                    <a:pt x="1072" y="189"/>
                    <a:pt x="1073" y="189"/>
                    <a:pt x="1075" y="189"/>
                  </a:cubicBezTo>
                  <a:cubicBezTo>
                    <a:pt x="1088" y="189"/>
                    <a:pt x="1130" y="192"/>
                    <a:pt x="1130" y="193"/>
                  </a:cubicBezTo>
                  <a:cubicBezTo>
                    <a:pt x="1130" y="193"/>
                    <a:pt x="1130" y="193"/>
                    <a:pt x="1130" y="193"/>
                  </a:cubicBezTo>
                  <a:cubicBezTo>
                    <a:pt x="1131" y="194"/>
                    <a:pt x="1131" y="194"/>
                    <a:pt x="1131" y="195"/>
                  </a:cubicBezTo>
                  <a:cubicBezTo>
                    <a:pt x="1131" y="195"/>
                    <a:pt x="1131" y="195"/>
                    <a:pt x="1131" y="195"/>
                  </a:cubicBezTo>
                  <a:cubicBezTo>
                    <a:pt x="1132" y="196"/>
                    <a:pt x="1100" y="219"/>
                    <a:pt x="1098" y="219"/>
                  </a:cubicBezTo>
                  <a:cubicBezTo>
                    <a:pt x="1098" y="219"/>
                    <a:pt x="1098" y="219"/>
                    <a:pt x="1098" y="219"/>
                  </a:cubicBezTo>
                  <a:cubicBezTo>
                    <a:pt x="1098" y="219"/>
                    <a:pt x="1098" y="219"/>
                    <a:pt x="1098" y="219"/>
                  </a:cubicBezTo>
                  <a:cubicBezTo>
                    <a:pt x="1098" y="219"/>
                    <a:pt x="1097" y="218"/>
                    <a:pt x="1096" y="218"/>
                  </a:cubicBezTo>
                  <a:cubicBezTo>
                    <a:pt x="1095" y="218"/>
                    <a:pt x="1095" y="219"/>
                    <a:pt x="1094" y="219"/>
                  </a:cubicBezTo>
                  <a:cubicBezTo>
                    <a:pt x="1094" y="219"/>
                    <a:pt x="1094" y="219"/>
                    <a:pt x="1094" y="219"/>
                  </a:cubicBezTo>
                  <a:cubicBezTo>
                    <a:pt x="1094" y="219"/>
                    <a:pt x="1094" y="219"/>
                    <a:pt x="1094" y="219"/>
                  </a:cubicBezTo>
                  <a:cubicBezTo>
                    <a:pt x="1094" y="219"/>
                    <a:pt x="1094" y="219"/>
                    <a:pt x="1094" y="219"/>
                  </a:cubicBezTo>
                  <a:cubicBezTo>
                    <a:pt x="1093" y="219"/>
                    <a:pt x="1069" y="193"/>
                    <a:pt x="1070" y="192"/>
                  </a:cubicBezTo>
                  <a:cubicBezTo>
                    <a:pt x="1070" y="192"/>
                    <a:pt x="1070" y="192"/>
                    <a:pt x="1070" y="192"/>
                  </a:cubicBezTo>
                  <a:cubicBezTo>
                    <a:pt x="1071" y="191"/>
                    <a:pt x="1072" y="190"/>
                    <a:pt x="1072" y="189"/>
                  </a:cubicBezTo>
                  <a:cubicBezTo>
                    <a:pt x="1072" y="189"/>
                    <a:pt x="1072" y="189"/>
                    <a:pt x="1072" y="189"/>
                  </a:cubicBezTo>
                  <a:moveTo>
                    <a:pt x="76" y="193"/>
                  </a:moveTo>
                  <a:cubicBezTo>
                    <a:pt x="75" y="193"/>
                    <a:pt x="62" y="176"/>
                    <a:pt x="54" y="165"/>
                  </a:cubicBezTo>
                  <a:cubicBezTo>
                    <a:pt x="56" y="165"/>
                    <a:pt x="58" y="164"/>
                    <a:pt x="61" y="164"/>
                  </a:cubicBezTo>
                  <a:cubicBezTo>
                    <a:pt x="83" y="181"/>
                    <a:pt x="126" y="212"/>
                    <a:pt x="125" y="212"/>
                  </a:cubicBezTo>
                  <a:cubicBezTo>
                    <a:pt x="125" y="212"/>
                    <a:pt x="125" y="212"/>
                    <a:pt x="125" y="212"/>
                  </a:cubicBezTo>
                  <a:cubicBezTo>
                    <a:pt x="125" y="213"/>
                    <a:pt x="125" y="213"/>
                    <a:pt x="125" y="213"/>
                  </a:cubicBezTo>
                  <a:cubicBezTo>
                    <a:pt x="125" y="213"/>
                    <a:pt x="125" y="213"/>
                    <a:pt x="125" y="213"/>
                  </a:cubicBezTo>
                  <a:cubicBezTo>
                    <a:pt x="125" y="213"/>
                    <a:pt x="125" y="213"/>
                    <a:pt x="125" y="213"/>
                  </a:cubicBezTo>
                  <a:cubicBezTo>
                    <a:pt x="122" y="213"/>
                    <a:pt x="86" y="201"/>
                    <a:pt x="86" y="200"/>
                  </a:cubicBezTo>
                  <a:cubicBezTo>
                    <a:pt x="86" y="200"/>
                    <a:pt x="86" y="200"/>
                    <a:pt x="86" y="200"/>
                  </a:cubicBezTo>
                  <a:cubicBezTo>
                    <a:pt x="86" y="199"/>
                    <a:pt x="86" y="197"/>
                    <a:pt x="86" y="196"/>
                  </a:cubicBezTo>
                  <a:cubicBezTo>
                    <a:pt x="84" y="194"/>
                    <a:pt x="82" y="192"/>
                    <a:pt x="79" y="192"/>
                  </a:cubicBezTo>
                  <a:cubicBezTo>
                    <a:pt x="78" y="192"/>
                    <a:pt x="77" y="193"/>
                    <a:pt x="76" y="193"/>
                  </a:cubicBezTo>
                  <a:cubicBezTo>
                    <a:pt x="76" y="193"/>
                    <a:pt x="76" y="193"/>
                    <a:pt x="76" y="193"/>
                  </a:cubicBezTo>
                  <a:cubicBezTo>
                    <a:pt x="76" y="193"/>
                    <a:pt x="76" y="193"/>
                    <a:pt x="76" y="193"/>
                  </a:cubicBezTo>
                  <a:cubicBezTo>
                    <a:pt x="76" y="193"/>
                    <a:pt x="76" y="193"/>
                    <a:pt x="76" y="193"/>
                  </a:cubicBezTo>
                  <a:moveTo>
                    <a:pt x="772" y="166"/>
                  </a:moveTo>
                  <a:cubicBezTo>
                    <a:pt x="773" y="165"/>
                    <a:pt x="774" y="165"/>
                    <a:pt x="774" y="164"/>
                  </a:cubicBezTo>
                  <a:cubicBezTo>
                    <a:pt x="774" y="164"/>
                    <a:pt x="774" y="164"/>
                    <a:pt x="774" y="164"/>
                  </a:cubicBezTo>
                  <a:cubicBezTo>
                    <a:pt x="774" y="164"/>
                    <a:pt x="775" y="164"/>
                    <a:pt x="775" y="164"/>
                  </a:cubicBezTo>
                  <a:cubicBezTo>
                    <a:pt x="778" y="164"/>
                    <a:pt x="841" y="198"/>
                    <a:pt x="841" y="199"/>
                  </a:cubicBezTo>
                  <a:cubicBezTo>
                    <a:pt x="841" y="199"/>
                    <a:pt x="841" y="199"/>
                    <a:pt x="841" y="199"/>
                  </a:cubicBezTo>
                  <a:cubicBezTo>
                    <a:pt x="840" y="201"/>
                    <a:pt x="840" y="203"/>
                    <a:pt x="841" y="205"/>
                  </a:cubicBezTo>
                  <a:cubicBezTo>
                    <a:pt x="842" y="206"/>
                    <a:pt x="842" y="207"/>
                    <a:pt x="843" y="208"/>
                  </a:cubicBezTo>
                  <a:cubicBezTo>
                    <a:pt x="843" y="208"/>
                    <a:pt x="843" y="208"/>
                    <a:pt x="843" y="208"/>
                  </a:cubicBezTo>
                  <a:cubicBezTo>
                    <a:pt x="844" y="208"/>
                    <a:pt x="822" y="249"/>
                    <a:pt x="818" y="249"/>
                  </a:cubicBezTo>
                  <a:cubicBezTo>
                    <a:pt x="818" y="249"/>
                    <a:pt x="818" y="249"/>
                    <a:pt x="818" y="249"/>
                  </a:cubicBezTo>
                  <a:cubicBezTo>
                    <a:pt x="818" y="249"/>
                    <a:pt x="818" y="249"/>
                    <a:pt x="818" y="249"/>
                  </a:cubicBezTo>
                  <a:cubicBezTo>
                    <a:pt x="816" y="248"/>
                    <a:pt x="813" y="247"/>
                    <a:pt x="811" y="247"/>
                  </a:cubicBezTo>
                  <a:cubicBezTo>
                    <a:pt x="810" y="247"/>
                    <a:pt x="808" y="247"/>
                    <a:pt x="807" y="248"/>
                  </a:cubicBezTo>
                  <a:cubicBezTo>
                    <a:pt x="807" y="248"/>
                    <a:pt x="807" y="248"/>
                    <a:pt x="807" y="248"/>
                  </a:cubicBezTo>
                  <a:cubicBezTo>
                    <a:pt x="807" y="248"/>
                    <a:pt x="807" y="248"/>
                    <a:pt x="807" y="248"/>
                  </a:cubicBezTo>
                  <a:cubicBezTo>
                    <a:pt x="803" y="248"/>
                    <a:pt x="771" y="166"/>
                    <a:pt x="772" y="166"/>
                  </a:cubicBezTo>
                  <a:cubicBezTo>
                    <a:pt x="772" y="166"/>
                    <a:pt x="772" y="166"/>
                    <a:pt x="772" y="166"/>
                  </a:cubicBezTo>
                  <a:moveTo>
                    <a:pt x="54" y="165"/>
                  </a:moveTo>
                  <a:cubicBezTo>
                    <a:pt x="50" y="159"/>
                    <a:pt x="47" y="155"/>
                    <a:pt x="47" y="155"/>
                  </a:cubicBezTo>
                  <a:cubicBezTo>
                    <a:pt x="48" y="155"/>
                    <a:pt x="53" y="159"/>
                    <a:pt x="61" y="164"/>
                  </a:cubicBezTo>
                  <a:cubicBezTo>
                    <a:pt x="58" y="164"/>
                    <a:pt x="56" y="164"/>
                    <a:pt x="54" y="165"/>
                  </a:cubicBezTo>
                  <a:moveTo>
                    <a:pt x="47" y="155"/>
                  </a:moveTo>
                  <a:cubicBezTo>
                    <a:pt x="47" y="155"/>
                    <a:pt x="47" y="155"/>
                    <a:pt x="47" y="155"/>
                  </a:cubicBezTo>
                  <a:cubicBezTo>
                    <a:pt x="47" y="155"/>
                    <a:pt x="47" y="155"/>
                    <a:pt x="47" y="155"/>
                  </a:cubicBezTo>
                  <a:cubicBezTo>
                    <a:pt x="47" y="155"/>
                    <a:pt x="47" y="155"/>
                    <a:pt x="47" y="155"/>
                  </a:cubicBezTo>
                  <a:moveTo>
                    <a:pt x="872" y="144"/>
                  </a:moveTo>
                  <a:cubicBezTo>
                    <a:pt x="873" y="144"/>
                    <a:pt x="873" y="144"/>
                    <a:pt x="874" y="144"/>
                  </a:cubicBezTo>
                  <a:cubicBezTo>
                    <a:pt x="886" y="144"/>
                    <a:pt x="995" y="171"/>
                    <a:pt x="995" y="175"/>
                  </a:cubicBezTo>
                  <a:cubicBezTo>
                    <a:pt x="995" y="175"/>
                    <a:pt x="995" y="175"/>
                    <a:pt x="995" y="175"/>
                  </a:cubicBezTo>
                  <a:cubicBezTo>
                    <a:pt x="994" y="176"/>
                    <a:pt x="994" y="177"/>
                    <a:pt x="994" y="178"/>
                  </a:cubicBezTo>
                  <a:cubicBezTo>
                    <a:pt x="994" y="181"/>
                    <a:pt x="995" y="183"/>
                    <a:pt x="996" y="186"/>
                  </a:cubicBezTo>
                  <a:cubicBezTo>
                    <a:pt x="998" y="190"/>
                    <a:pt x="943" y="219"/>
                    <a:pt x="938" y="219"/>
                  </a:cubicBezTo>
                  <a:cubicBezTo>
                    <a:pt x="938" y="219"/>
                    <a:pt x="937" y="219"/>
                    <a:pt x="937" y="219"/>
                  </a:cubicBezTo>
                  <a:cubicBezTo>
                    <a:pt x="937" y="219"/>
                    <a:pt x="937" y="219"/>
                    <a:pt x="937" y="219"/>
                  </a:cubicBezTo>
                  <a:cubicBezTo>
                    <a:pt x="934" y="215"/>
                    <a:pt x="930" y="213"/>
                    <a:pt x="925" y="213"/>
                  </a:cubicBezTo>
                  <a:cubicBezTo>
                    <a:pt x="923" y="213"/>
                    <a:pt x="921" y="213"/>
                    <a:pt x="919" y="214"/>
                  </a:cubicBezTo>
                  <a:cubicBezTo>
                    <a:pt x="918" y="215"/>
                    <a:pt x="918" y="215"/>
                    <a:pt x="918" y="215"/>
                  </a:cubicBezTo>
                  <a:cubicBezTo>
                    <a:pt x="918" y="215"/>
                    <a:pt x="918" y="215"/>
                    <a:pt x="918" y="215"/>
                  </a:cubicBezTo>
                  <a:cubicBezTo>
                    <a:pt x="918" y="215"/>
                    <a:pt x="918" y="215"/>
                    <a:pt x="918" y="215"/>
                  </a:cubicBezTo>
                  <a:cubicBezTo>
                    <a:pt x="915" y="215"/>
                    <a:pt x="866" y="152"/>
                    <a:pt x="869" y="150"/>
                  </a:cubicBezTo>
                  <a:cubicBezTo>
                    <a:pt x="869" y="150"/>
                    <a:pt x="869" y="150"/>
                    <a:pt x="869" y="150"/>
                  </a:cubicBezTo>
                  <a:cubicBezTo>
                    <a:pt x="870" y="148"/>
                    <a:pt x="872" y="146"/>
                    <a:pt x="872" y="144"/>
                  </a:cubicBezTo>
                  <a:cubicBezTo>
                    <a:pt x="872" y="144"/>
                    <a:pt x="872" y="144"/>
                    <a:pt x="872" y="144"/>
                  </a:cubicBezTo>
                  <a:moveTo>
                    <a:pt x="776" y="159"/>
                  </a:moveTo>
                  <a:cubicBezTo>
                    <a:pt x="776" y="157"/>
                    <a:pt x="826" y="144"/>
                    <a:pt x="836" y="144"/>
                  </a:cubicBezTo>
                  <a:cubicBezTo>
                    <a:pt x="837" y="144"/>
                    <a:pt x="838" y="144"/>
                    <a:pt x="838" y="144"/>
                  </a:cubicBezTo>
                  <a:cubicBezTo>
                    <a:pt x="838" y="144"/>
                    <a:pt x="838" y="144"/>
                    <a:pt x="838" y="144"/>
                  </a:cubicBezTo>
                  <a:cubicBezTo>
                    <a:pt x="840" y="149"/>
                    <a:pt x="845" y="153"/>
                    <a:pt x="851" y="154"/>
                  </a:cubicBezTo>
                  <a:cubicBezTo>
                    <a:pt x="851" y="154"/>
                    <a:pt x="851" y="154"/>
                    <a:pt x="851" y="154"/>
                  </a:cubicBezTo>
                  <a:cubicBezTo>
                    <a:pt x="854" y="155"/>
                    <a:pt x="849" y="194"/>
                    <a:pt x="847" y="195"/>
                  </a:cubicBezTo>
                  <a:cubicBezTo>
                    <a:pt x="847" y="195"/>
                    <a:pt x="847" y="195"/>
                    <a:pt x="847" y="195"/>
                  </a:cubicBezTo>
                  <a:cubicBezTo>
                    <a:pt x="846" y="195"/>
                    <a:pt x="846" y="195"/>
                    <a:pt x="845" y="195"/>
                  </a:cubicBezTo>
                  <a:cubicBezTo>
                    <a:pt x="844" y="196"/>
                    <a:pt x="843" y="196"/>
                    <a:pt x="842" y="197"/>
                  </a:cubicBezTo>
                  <a:cubicBezTo>
                    <a:pt x="842" y="197"/>
                    <a:pt x="842" y="197"/>
                    <a:pt x="842" y="197"/>
                  </a:cubicBezTo>
                  <a:cubicBezTo>
                    <a:pt x="842" y="197"/>
                    <a:pt x="842" y="197"/>
                    <a:pt x="842" y="197"/>
                  </a:cubicBezTo>
                  <a:cubicBezTo>
                    <a:pt x="839" y="197"/>
                    <a:pt x="775" y="163"/>
                    <a:pt x="776" y="162"/>
                  </a:cubicBezTo>
                  <a:cubicBezTo>
                    <a:pt x="776" y="162"/>
                    <a:pt x="776" y="162"/>
                    <a:pt x="776" y="162"/>
                  </a:cubicBezTo>
                  <a:cubicBezTo>
                    <a:pt x="776" y="161"/>
                    <a:pt x="776" y="160"/>
                    <a:pt x="776" y="159"/>
                  </a:cubicBezTo>
                  <a:cubicBezTo>
                    <a:pt x="776" y="159"/>
                    <a:pt x="776" y="159"/>
                    <a:pt x="776" y="159"/>
                  </a:cubicBezTo>
                  <a:moveTo>
                    <a:pt x="48" y="137"/>
                  </a:moveTo>
                  <a:cubicBezTo>
                    <a:pt x="48" y="137"/>
                    <a:pt x="48" y="137"/>
                    <a:pt x="48" y="137"/>
                  </a:cubicBezTo>
                  <a:cubicBezTo>
                    <a:pt x="51" y="137"/>
                    <a:pt x="108" y="159"/>
                    <a:pt x="108" y="160"/>
                  </a:cubicBezTo>
                  <a:cubicBezTo>
                    <a:pt x="108" y="160"/>
                    <a:pt x="108" y="160"/>
                    <a:pt x="108" y="160"/>
                  </a:cubicBezTo>
                  <a:cubicBezTo>
                    <a:pt x="108" y="161"/>
                    <a:pt x="108" y="161"/>
                    <a:pt x="108" y="161"/>
                  </a:cubicBezTo>
                  <a:cubicBezTo>
                    <a:pt x="108" y="161"/>
                    <a:pt x="108" y="161"/>
                    <a:pt x="108" y="161"/>
                  </a:cubicBezTo>
                  <a:cubicBezTo>
                    <a:pt x="107" y="161"/>
                    <a:pt x="84" y="163"/>
                    <a:pt x="61" y="164"/>
                  </a:cubicBezTo>
                  <a:cubicBezTo>
                    <a:pt x="53" y="158"/>
                    <a:pt x="47" y="154"/>
                    <a:pt x="48" y="154"/>
                  </a:cubicBezTo>
                  <a:cubicBezTo>
                    <a:pt x="48" y="154"/>
                    <a:pt x="48" y="154"/>
                    <a:pt x="48" y="154"/>
                  </a:cubicBezTo>
                  <a:cubicBezTo>
                    <a:pt x="48" y="153"/>
                    <a:pt x="48" y="151"/>
                    <a:pt x="48" y="150"/>
                  </a:cubicBezTo>
                  <a:cubicBezTo>
                    <a:pt x="47" y="149"/>
                    <a:pt x="45" y="148"/>
                    <a:pt x="44" y="148"/>
                  </a:cubicBezTo>
                  <a:cubicBezTo>
                    <a:pt x="43" y="148"/>
                    <a:pt x="43" y="148"/>
                    <a:pt x="42" y="148"/>
                  </a:cubicBezTo>
                  <a:cubicBezTo>
                    <a:pt x="40" y="149"/>
                    <a:pt x="39" y="152"/>
                    <a:pt x="40" y="153"/>
                  </a:cubicBezTo>
                  <a:cubicBezTo>
                    <a:pt x="41" y="155"/>
                    <a:pt x="42" y="156"/>
                    <a:pt x="44" y="156"/>
                  </a:cubicBezTo>
                  <a:cubicBezTo>
                    <a:pt x="45" y="156"/>
                    <a:pt x="45" y="156"/>
                    <a:pt x="46" y="155"/>
                  </a:cubicBezTo>
                  <a:cubicBezTo>
                    <a:pt x="46" y="155"/>
                    <a:pt x="46" y="155"/>
                    <a:pt x="46" y="155"/>
                  </a:cubicBezTo>
                  <a:cubicBezTo>
                    <a:pt x="46" y="155"/>
                    <a:pt x="46" y="155"/>
                    <a:pt x="46" y="155"/>
                  </a:cubicBezTo>
                  <a:cubicBezTo>
                    <a:pt x="46" y="155"/>
                    <a:pt x="46" y="155"/>
                    <a:pt x="46" y="155"/>
                  </a:cubicBezTo>
                  <a:cubicBezTo>
                    <a:pt x="46" y="155"/>
                    <a:pt x="49" y="159"/>
                    <a:pt x="53" y="165"/>
                  </a:cubicBezTo>
                  <a:cubicBezTo>
                    <a:pt x="38" y="165"/>
                    <a:pt x="24" y="166"/>
                    <a:pt x="18" y="166"/>
                  </a:cubicBezTo>
                  <a:cubicBezTo>
                    <a:pt x="16" y="166"/>
                    <a:pt x="15" y="166"/>
                    <a:pt x="15" y="166"/>
                  </a:cubicBezTo>
                  <a:cubicBezTo>
                    <a:pt x="15" y="166"/>
                    <a:pt x="15" y="166"/>
                    <a:pt x="15" y="166"/>
                  </a:cubicBezTo>
                  <a:cubicBezTo>
                    <a:pt x="14" y="165"/>
                    <a:pt x="14" y="165"/>
                    <a:pt x="14" y="164"/>
                  </a:cubicBezTo>
                  <a:cubicBezTo>
                    <a:pt x="13" y="163"/>
                    <a:pt x="13" y="163"/>
                    <a:pt x="13" y="163"/>
                  </a:cubicBezTo>
                  <a:cubicBezTo>
                    <a:pt x="13" y="163"/>
                    <a:pt x="13" y="163"/>
                    <a:pt x="13" y="163"/>
                  </a:cubicBezTo>
                  <a:cubicBezTo>
                    <a:pt x="13" y="162"/>
                    <a:pt x="40" y="138"/>
                    <a:pt x="41" y="138"/>
                  </a:cubicBezTo>
                  <a:cubicBezTo>
                    <a:pt x="41" y="138"/>
                    <a:pt x="41" y="138"/>
                    <a:pt x="41" y="138"/>
                  </a:cubicBezTo>
                  <a:cubicBezTo>
                    <a:pt x="41" y="138"/>
                    <a:pt x="41" y="138"/>
                    <a:pt x="41" y="138"/>
                  </a:cubicBezTo>
                  <a:cubicBezTo>
                    <a:pt x="42" y="139"/>
                    <a:pt x="43" y="139"/>
                    <a:pt x="44" y="139"/>
                  </a:cubicBezTo>
                  <a:cubicBezTo>
                    <a:pt x="45" y="139"/>
                    <a:pt x="45" y="139"/>
                    <a:pt x="46" y="139"/>
                  </a:cubicBezTo>
                  <a:cubicBezTo>
                    <a:pt x="47" y="138"/>
                    <a:pt x="48" y="138"/>
                    <a:pt x="48" y="137"/>
                  </a:cubicBezTo>
                  <a:cubicBezTo>
                    <a:pt x="48" y="137"/>
                    <a:pt x="48" y="137"/>
                    <a:pt x="48" y="137"/>
                  </a:cubicBezTo>
                  <a:moveTo>
                    <a:pt x="586" y="70"/>
                  </a:moveTo>
                  <a:cubicBezTo>
                    <a:pt x="586" y="70"/>
                    <a:pt x="586" y="70"/>
                    <a:pt x="586" y="70"/>
                  </a:cubicBezTo>
                  <a:cubicBezTo>
                    <a:pt x="588" y="70"/>
                    <a:pt x="590" y="71"/>
                    <a:pt x="592" y="71"/>
                  </a:cubicBezTo>
                  <a:cubicBezTo>
                    <a:pt x="594" y="71"/>
                    <a:pt x="596" y="70"/>
                    <a:pt x="598" y="70"/>
                  </a:cubicBezTo>
                  <a:cubicBezTo>
                    <a:pt x="597" y="70"/>
                    <a:pt x="597" y="70"/>
                    <a:pt x="597" y="70"/>
                  </a:cubicBezTo>
                  <a:cubicBezTo>
                    <a:pt x="597" y="70"/>
                    <a:pt x="597" y="70"/>
                    <a:pt x="598" y="70"/>
                  </a:cubicBezTo>
                  <a:cubicBezTo>
                    <a:pt x="601" y="70"/>
                    <a:pt x="642" y="138"/>
                    <a:pt x="637" y="142"/>
                  </a:cubicBezTo>
                  <a:cubicBezTo>
                    <a:pt x="637" y="142"/>
                    <a:pt x="637" y="142"/>
                    <a:pt x="637" y="142"/>
                  </a:cubicBezTo>
                  <a:cubicBezTo>
                    <a:pt x="630" y="147"/>
                    <a:pt x="625" y="156"/>
                    <a:pt x="625" y="165"/>
                  </a:cubicBezTo>
                  <a:cubicBezTo>
                    <a:pt x="625" y="179"/>
                    <a:pt x="634" y="190"/>
                    <a:pt x="648" y="194"/>
                  </a:cubicBezTo>
                  <a:cubicBezTo>
                    <a:pt x="653" y="195"/>
                    <a:pt x="643" y="267"/>
                    <a:pt x="640" y="268"/>
                  </a:cubicBezTo>
                  <a:cubicBezTo>
                    <a:pt x="640" y="268"/>
                    <a:pt x="640" y="268"/>
                    <a:pt x="640" y="268"/>
                  </a:cubicBezTo>
                  <a:cubicBezTo>
                    <a:pt x="632" y="268"/>
                    <a:pt x="625" y="274"/>
                    <a:pt x="625" y="283"/>
                  </a:cubicBezTo>
                  <a:cubicBezTo>
                    <a:pt x="625" y="286"/>
                    <a:pt x="626" y="288"/>
                    <a:pt x="628" y="291"/>
                  </a:cubicBezTo>
                  <a:cubicBezTo>
                    <a:pt x="628" y="291"/>
                    <a:pt x="628" y="291"/>
                    <a:pt x="628" y="291"/>
                  </a:cubicBezTo>
                  <a:cubicBezTo>
                    <a:pt x="629" y="293"/>
                    <a:pt x="586" y="329"/>
                    <a:pt x="583" y="329"/>
                  </a:cubicBezTo>
                  <a:cubicBezTo>
                    <a:pt x="583" y="329"/>
                    <a:pt x="583" y="329"/>
                    <a:pt x="583" y="329"/>
                  </a:cubicBezTo>
                  <a:cubicBezTo>
                    <a:pt x="583" y="329"/>
                    <a:pt x="583" y="329"/>
                    <a:pt x="583" y="329"/>
                  </a:cubicBezTo>
                  <a:cubicBezTo>
                    <a:pt x="581" y="328"/>
                    <a:pt x="579" y="327"/>
                    <a:pt x="576" y="327"/>
                  </a:cubicBezTo>
                  <a:cubicBezTo>
                    <a:pt x="576" y="327"/>
                    <a:pt x="575" y="327"/>
                    <a:pt x="574" y="327"/>
                  </a:cubicBezTo>
                  <a:cubicBezTo>
                    <a:pt x="574" y="327"/>
                    <a:pt x="574" y="327"/>
                    <a:pt x="574" y="327"/>
                  </a:cubicBezTo>
                  <a:cubicBezTo>
                    <a:pt x="574" y="327"/>
                    <a:pt x="574" y="327"/>
                    <a:pt x="574" y="327"/>
                  </a:cubicBezTo>
                  <a:cubicBezTo>
                    <a:pt x="572" y="327"/>
                    <a:pt x="518" y="213"/>
                    <a:pt x="523" y="211"/>
                  </a:cubicBezTo>
                  <a:cubicBezTo>
                    <a:pt x="523" y="211"/>
                    <a:pt x="523" y="211"/>
                    <a:pt x="523" y="211"/>
                  </a:cubicBezTo>
                  <a:cubicBezTo>
                    <a:pt x="530" y="206"/>
                    <a:pt x="535" y="199"/>
                    <a:pt x="535" y="190"/>
                  </a:cubicBezTo>
                  <a:cubicBezTo>
                    <a:pt x="535" y="182"/>
                    <a:pt x="531" y="175"/>
                    <a:pt x="525" y="171"/>
                  </a:cubicBezTo>
                  <a:cubicBezTo>
                    <a:pt x="525" y="171"/>
                    <a:pt x="525" y="171"/>
                    <a:pt x="525" y="171"/>
                  </a:cubicBezTo>
                  <a:cubicBezTo>
                    <a:pt x="521" y="168"/>
                    <a:pt x="583" y="70"/>
                    <a:pt x="586" y="70"/>
                  </a:cubicBezTo>
                  <a:cubicBezTo>
                    <a:pt x="586" y="70"/>
                    <a:pt x="586" y="70"/>
                    <a:pt x="586" y="70"/>
                  </a:cubicBezTo>
                  <a:moveTo>
                    <a:pt x="678" y="145"/>
                  </a:moveTo>
                  <a:cubicBezTo>
                    <a:pt x="674" y="141"/>
                    <a:pt x="762" y="34"/>
                    <a:pt x="767" y="34"/>
                  </a:cubicBezTo>
                  <a:cubicBezTo>
                    <a:pt x="767" y="34"/>
                    <a:pt x="767" y="34"/>
                    <a:pt x="767" y="34"/>
                  </a:cubicBezTo>
                  <a:cubicBezTo>
                    <a:pt x="767" y="34"/>
                    <a:pt x="767" y="34"/>
                    <a:pt x="767" y="34"/>
                  </a:cubicBezTo>
                  <a:cubicBezTo>
                    <a:pt x="770" y="35"/>
                    <a:pt x="773" y="36"/>
                    <a:pt x="776" y="36"/>
                  </a:cubicBezTo>
                  <a:cubicBezTo>
                    <a:pt x="779" y="36"/>
                    <a:pt x="781" y="35"/>
                    <a:pt x="784" y="34"/>
                  </a:cubicBezTo>
                  <a:cubicBezTo>
                    <a:pt x="784" y="34"/>
                    <a:pt x="784" y="34"/>
                    <a:pt x="784" y="34"/>
                  </a:cubicBezTo>
                  <a:cubicBezTo>
                    <a:pt x="784" y="34"/>
                    <a:pt x="784" y="34"/>
                    <a:pt x="784" y="34"/>
                  </a:cubicBezTo>
                  <a:cubicBezTo>
                    <a:pt x="788" y="34"/>
                    <a:pt x="846" y="121"/>
                    <a:pt x="843" y="124"/>
                  </a:cubicBezTo>
                  <a:cubicBezTo>
                    <a:pt x="843" y="123"/>
                    <a:pt x="843" y="123"/>
                    <a:pt x="843" y="123"/>
                  </a:cubicBezTo>
                  <a:cubicBezTo>
                    <a:pt x="839" y="127"/>
                    <a:pt x="837" y="132"/>
                    <a:pt x="837" y="137"/>
                  </a:cubicBezTo>
                  <a:cubicBezTo>
                    <a:pt x="837" y="138"/>
                    <a:pt x="837" y="138"/>
                    <a:pt x="837" y="139"/>
                  </a:cubicBezTo>
                  <a:cubicBezTo>
                    <a:pt x="837" y="139"/>
                    <a:pt x="837" y="139"/>
                    <a:pt x="837" y="139"/>
                  </a:cubicBezTo>
                  <a:cubicBezTo>
                    <a:pt x="837" y="142"/>
                    <a:pt x="781" y="156"/>
                    <a:pt x="776" y="156"/>
                  </a:cubicBezTo>
                  <a:cubicBezTo>
                    <a:pt x="776" y="156"/>
                    <a:pt x="775" y="156"/>
                    <a:pt x="775" y="156"/>
                  </a:cubicBezTo>
                  <a:cubicBezTo>
                    <a:pt x="775" y="156"/>
                    <a:pt x="775" y="156"/>
                    <a:pt x="775" y="156"/>
                  </a:cubicBezTo>
                  <a:cubicBezTo>
                    <a:pt x="775" y="156"/>
                    <a:pt x="775" y="156"/>
                    <a:pt x="775" y="156"/>
                  </a:cubicBezTo>
                  <a:cubicBezTo>
                    <a:pt x="774" y="153"/>
                    <a:pt x="771" y="152"/>
                    <a:pt x="768" y="152"/>
                  </a:cubicBezTo>
                  <a:cubicBezTo>
                    <a:pt x="767" y="152"/>
                    <a:pt x="766" y="152"/>
                    <a:pt x="765" y="153"/>
                  </a:cubicBezTo>
                  <a:cubicBezTo>
                    <a:pt x="763" y="154"/>
                    <a:pt x="761" y="156"/>
                    <a:pt x="761" y="158"/>
                  </a:cubicBezTo>
                  <a:cubicBezTo>
                    <a:pt x="761" y="158"/>
                    <a:pt x="761" y="158"/>
                    <a:pt x="761" y="158"/>
                  </a:cubicBezTo>
                  <a:cubicBezTo>
                    <a:pt x="761" y="159"/>
                    <a:pt x="751" y="160"/>
                    <a:pt x="738" y="161"/>
                  </a:cubicBezTo>
                  <a:cubicBezTo>
                    <a:pt x="744" y="161"/>
                    <a:pt x="749" y="161"/>
                    <a:pt x="753" y="161"/>
                  </a:cubicBezTo>
                  <a:cubicBezTo>
                    <a:pt x="758" y="161"/>
                    <a:pt x="761" y="161"/>
                    <a:pt x="761" y="161"/>
                  </a:cubicBezTo>
                  <a:cubicBezTo>
                    <a:pt x="761" y="161"/>
                    <a:pt x="761" y="161"/>
                    <a:pt x="761" y="161"/>
                  </a:cubicBezTo>
                  <a:cubicBezTo>
                    <a:pt x="761" y="161"/>
                    <a:pt x="761" y="162"/>
                    <a:pt x="761" y="162"/>
                  </a:cubicBezTo>
                  <a:cubicBezTo>
                    <a:pt x="762" y="163"/>
                    <a:pt x="762" y="163"/>
                    <a:pt x="762" y="164"/>
                  </a:cubicBezTo>
                  <a:cubicBezTo>
                    <a:pt x="762" y="164"/>
                    <a:pt x="762" y="164"/>
                    <a:pt x="762" y="164"/>
                  </a:cubicBezTo>
                  <a:cubicBezTo>
                    <a:pt x="763" y="164"/>
                    <a:pt x="736" y="191"/>
                    <a:pt x="708" y="218"/>
                  </a:cubicBezTo>
                  <a:cubicBezTo>
                    <a:pt x="706" y="216"/>
                    <a:pt x="704" y="214"/>
                    <a:pt x="702" y="212"/>
                  </a:cubicBezTo>
                  <a:cubicBezTo>
                    <a:pt x="704" y="214"/>
                    <a:pt x="706" y="216"/>
                    <a:pt x="707" y="218"/>
                  </a:cubicBezTo>
                  <a:cubicBezTo>
                    <a:pt x="680" y="244"/>
                    <a:pt x="652" y="270"/>
                    <a:pt x="650" y="270"/>
                  </a:cubicBezTo>
                  <a:cubicBezTo>
                    <a:pt x="650" y="270"/>
                    <a:pt x="650" y="270"/>
                    <a:pt x="650" y="270"/>
                  </a:cubicBezTo>
                  <a:cubicBezTo>
                    <a:pt x="650" y="270"/>
                    <a:pt x="650" y="270"/>
                    <a:pt x="650" y="270"/>
                  </a:cubicBezTo>
                  <a:cubicBezTo>
                    <a:pt x="649" y="269"/>
                    <a:pt x="647" y="269"/>
                    <a:pt x="645" y="268"/>
                  </a:cubicBezTo>
                  <a:cubicBezTo>
                    <a:pt x="645" y="268"/>
                    <a:pt x="645" y="268"/>
                    <a:pt x="645" y="268"/>
                  </a:cubicBezTo>
                  <a:cubicBezTo>
                    <a:pt x="642" y="267"/>
                    <a:pt x="650" y="195"/>
                    <a:pt x="656" y="195"/>
                  </a:cubicBezTo>
                  <a:cubicBezTo>
                    <a:pt x="656" y="195"/>
                    <a:pt x="656" y="195"/>
                    <a:pt x="656" y="195"/>
                  </a:cubicBezTo>
                  <a:cubicBezTo>
                    <a:pt x="663" y="194"/>
                    <a:pt x="669" y="192"/>
                    <a:pt x="674" y="189"/>
                  </a:cubicBezTo>
                  <a:cubicBezTo>
                    <a:pt x="674" y="189"/>
                    <a:pt x="674" y="189"/>
                    <a:pt x="674" y="189"/>
                  </a:cubicBezTo>
                  <a:cubicBezTo>
                    <a:pt x="674" y="189"/>
                    <a:pt x="674" y="189"/>
                    <a:pt x="674" y="189"/>
                  </a:cubicBezTo>
                  <a:cubicBezTo>
                    <a:pt x="677" y="189"/>
                    <a:pt x="683" y="194"/>
                    <a:pt x="690" y="200"/>
                  </a:cubicBezTo>
                  <a:cubicBezTo>
                    <a:pt x="683" y="192"/>
                    <a:pt x="678" y="186"/>
                    <a:pt x="679" y="184"/>
                  </a:cubicBezTo>
                  <a:cubicBezTo>
                    <a:pt x="679" y="184"/>
                    <a:pt x="679" y="184"/>
                    <a:pt x="679" y="184"/>
                  </a:cubicBezTo>
                  <a:cubicBezTo>
                    <a:pt x="683" y="179"/>
                    <a:pt x="686" y="174"/>
                    <a:pt x="686" y="168"/>
                  </a:cubicBezTo>
                  <a:cubicBezTo>
                    <a:pt x="686" y="168"/>
                    <a:pt x="686" y="168"/>
                    <a:pt x="686" y="168"/>
                  </a:cubicBezTo>
                  <a:cubicBezTo>
                    <a:pt x="686" y="165"/>
                    <a:pt x="701" y="163"/>
                    <a:pt x="718" y="162"/>
                  </a:cubicBezTo>
                  <a:cubicBezTo>
                    <a:pt x="713" y="162"/>
                    <a:pt x="709" y="162"/>
                    <a:pt x="705" y="162"/>
                  </a:cubicBezTo>
                  <a:cubicBezTo>
                    <a:pt x="694" y="162"/>
                    <a:pt x="686" y="161"/>
                    <a:pt x="686" y="160"/>
                  </a:cubicBezTo>
                  <a:cubicBezTo>
                    <a:pt x="686" y="160"/>
                    <a:pt x="686" y="160"/>
                    <a:pt x="686" y="160"/>
                  </a:cubicBezTo>
                  <a:cubicBezTo>
                    <a:pt x="685" y="154"/>
                    <a:pt x="682" y="149"/>
                    <a:pt x="678" y="145"/>
                  </a:cubicBezTo>
                  <a:cubicBezTo>
                    <a:pt x="678" y="145"/>
                    <a:pt x="678" y="145"/>
                    <a:pt x="678" y="145"/>
                  </a:cubicBezTo>
                  <a:moveTo>
                    <a:pt x="789" y="31"/>
                  </a:moveTo>
                  <a:cubicBezTo>
                    <a:pt x="789" y="31"/>
                    <a:pt x="789" y="31"/>
                    <a:pt x="789" y="31"/>
                  </a:cubicBezTo>
                  <a:cubicBezTo>
                    <a:pt x="789" y="31"/>
                    <a:pt x="789" y="31"/>
                    <a:pt x="789" y="31"/>
                  </a:cubicBezTo>
                  <a:cubicBezTo>
                    <a:pt x="789" y="31"/>
                    <a:pt x="789" y="31"/>
                    <a:pt x="789" y="31"/>
                  </a:cubicBezTo>
                  <a:moveTo>
                    <a:pt x="776" y="0"/>
                  </a:moveTo>
                  <a:cubicBezTo>
                    <a:pt x="766" y="0"/>
                    <a:pt x="757" y="8"/>
                    <a:pt x="757" y="18"/>
                  </a:cubicBezTo>
                  <a:cubicBezTo>
                    <a:pt x="757" y="23"/>
                    <a:pt x="759" y="27"/>
                    <a:pt x="763" y="30"/>
                  </a:cubicBezTo>
                  <a:cubicBezTo>
                    <a:pt x="762" y="30"/>
                    <a:pt x="762" y="30"/>
                    <a:pt x="762" y="30"/>
                  </a:cubicBezTo>
                  <a:cubicBezTo>
                    <a:pt x="765" y="33"/>
                    <a:pt x="678" y="140"/>
                    <a:pt x="671" y="140"/>
                  </a:cubicBezTo>
                  <a:cubicBezTo>
                    <a:pt x="671" y="140"/>
                    <a:pt x="671" y="140"/>
                    <a:pt x="671" y="140"/>
                  </a:cubicBezTo>
                  <a:cubicBezTo>
                    <a:pt x="671" y="140"/>
                    <a:pt x="671" y="140"/>
                    <a:pt x="671" y="140"/>
                  </a:cubicBezTo>
                  <a:cubicBezTo>
                    <a:pt x="666" y="137"/>
                    <a:pt x="661" y="136"/>
                    <a:pt x="656" y="136"/>
                  </a:cubicBezTo>
                  <a:cubicBezTo>
                    <a:pt x="652" y="136"/>
                    <a:pt x="648" y="136"/>
                    <a:pt x="645" y="138"/>
                  </a:cubicBezTo>
                  <a:cubicBezTo>
                    <a:pt x="645" y="138"/>
                    <a:pt x="645" y="138"/>
                    <a:pt x="644" y="138"/>
                  </a:cubicBezTo>
                  <a:cubicBezTo>
                    <a:pt x="638" y="138"/>
                    <a:pt x="600" y="69"/>
                    <a:pt x="602" y="67"/>
                  </a:cubicBezTo>
                  <a:cubicBezTo>
                    <a:pt x="602" y="68"/>
                    <a:pt x="602" y="68"/>
                    <a:pt x="602" y="68"/>
                  </a:cubicBezTo>
                  <a:cubicBezTo>
                    <a:pt x="606" y="65"/>
                    <a:pt x="608" y="60"/>
                    <a:pt x="608" y="56"/>
                  </a:cubicBezTo>
                  <a:cubicBezTo>
                    <a:pt x="608" y="47"/>
                    <a:pt x="601" y="41"/>
                    <a:pt x="592" y="41"/>
                  </a:cubicBezTo>
                  <a:cubicBezTo>
                    <a:pt x="584" y="41"/>
                    <a:pt x="576" y="47"/>
                    <a:pt x="576" y="56"/>
                  </a:cubicBezTo>
                  <a:cubicBezTo>
                    <a:pt x="576" y="60"/>
                    <a:pt x="579" y="64"/>
                    <a:pt x="582" y="67"/>
                  </a:cubicBezTo>
                  <a:cubicBezTo>
                    <a:pt x="582" y="67"/>
                    <a:pt x="582" y="67"/>
                    <a:pt x="582" y="67"/>
                  </a:cubicBezTo>
                  <a:cubicBezTo>
                    <a:pt x="584" y="69"/>
                    <a:pt x="525" y="167"/>
                    <a:pt x="519" y="167"/>
                  </a:cubicBezTo>
                  <a:cubicBezTo>
                    <a:pt x="519" y="167"/>
                    <a:pt x="519" y="167"/>
                    <a:pt x="519" y="167"/>
                  </a:cubicBezTo>
                  <a:cubicBezTo>
                    <a:pt x="516" y="166"/>
                    <a:pt x="512" y="165"/>
                    <a:pt x="509" y="165"/>
                  </a:cubicBezTo>
                  <a:cubicBezTo>
                    <a:pt x="495" y="165"/>
                    <a:pt x="483" y="176"/>
                    <a:pt x="483" y="190"/>
                  </a:cubicBezTo>
                  <a:cubicBezTo>
                    <a:pt x="483" y="202"/>
                    <a:pt x="493" y="213"/>
                    <a:pt x="505" y="214"/>
                  </a:cubicBezTo>
                  <a:cubicBezTo>
                    <a:pt x="505" y="214"/>
                    <a:pt x="505" y="214"/>
                    <a:pt x="505" y="214"/>
                  </a:cubicBezTo>
                  <a:cubicBezTo>
                    <a:pt x="510" y="215"/>
                    <a:pt x="509" y="291"/>
                    <a:pt x="507" y="291"/>
                  </a:cubicBezTo>
                  <a:cubicBezTo>
                    <a:pt x="507" y="291"/>
                    <a:pt x="507" y="291"/>
                    <a:pt x="507" y="291"/>
                  </a:cubicBezTo>
                  <a:cubicBezTo>
                    <a:pt x="506" y="291"/>
                    <a:pt x="505" y="291"/>
                    <a:pt x="504" y="292"/>
                  </a:cubicBezTo>
                  <a:cubicBezTo>
                    <a:pt x="500" y="294"/>
                    <a:pt x="497" y="298"/>
                    <a:pt x="497" y="302"/>
                  </a:cubicBezTo>
                  <a:cubicBezTo>
                    <a:pt x="497" y="302"/>
                    <a:pt x="497" y="302"/>
                    <a:pt x="497" y="302"/>
                  </a:cubicBezTo>
                  <a:cubicBezTo>
                    <a:pt x="497" y="304"/>
                    <a:pt x="361" y="319"/>
                    <a:pt x="345" y="319"/>
                  </a:cubicBezTo>
                  <a:cubicBezTo>
                    <a:pt x="343" y="319"/>
                    <a:pt x="343" y="319"/>
                    <a:pt x="343" y="319"/>
                  </a:cubicBezTo>
                  <a:cubicBezTo>
                    <a:pt x="343" y="319"/>
                    <a:pt x="343" y="319"/>
                    <a:pt x="343" y="319"/>
                  </a:cubicBezTo>
                  <a:cubicBezTo>
                    <a:pt x="343" y="318"/>
                    <a:pt x="342" y="318"/>
                    <a:pt x="342" y="317"/>
                  </a:cubicBezTo>
                  <a:cubicBezTo>
                    <a:pt x="340" y="313"/>
                    <a:pt x="336" y="311"/>
                    <a:pt x="331" y="311"/>
                  </a:cubicBezTo>
                  <a:cubicBezTo>
                    <a:pt x="330" y="311"/>
                    <a:pt x="328" y="311"/>
                    <a:pt x="326" y="312"/>
                  </a:cubicBezTo>
                  <a:cubicBezTo>
                    <a:pt x="323" y="313"/>
                    <a:pt x="321" y="315"/>
                    <a:pt x="320" y="318"/>
                  </a:cubicBezTo>
                  <a:cubicBezTo>
                    <a:pt x="320" y="318"/>
                    <a:pt x="320" y="318"/>
                    <a:pt x="320" y="318"/>
                  </a:cubicBezTo>
                  <a:cubicBezTo>
                    <a:pt x="320" y="318"/>
                    <a:pt x="320" y="318"/>
                    <a:pt x="320" y="318"/>
                  </a:cubicBezTo>
                  <a:cubicBezTo>
                    <a:pt x="310" y="318"/>
                    <a:pt x="180" y="290"/>
                    <a:pt x="180" y="287"/>
                  </a:cubicBezTo>
                  <a:cubicBezTo>
                    <a:pt x="180" y="287"/>
                    <a:pt x="180" y="287"/>
                    <a:pt x="180" y="287"/>
                  </a:cubicBezTo>
                  <a:cubicBezTo>
                    <a:pt x="180" y="283"/>
                    <a:pt x="178" y="279"/>
                    <a:pt x="175" y="276"/>
                  </a:cubicBezTo>
                  <a:cubicBezTo>
                    <a:pt x="172" y="273"/>
                    <a:pt x="169" y="272"/>
                    <a:pt x="165" y="272"/>
                  </a:cubicBezTo>
                  <a:cubicBezTo>
                    <a:pt x="161" y="272"/>
                    <a:pt x="157" y="274"/>
                    <a:pt x="154" y="277"/>
                  </a:cubicBezTo>
                  <a:cubicBezTo>
                    <a:pt x="154" y="278"/>
                    <a:pt x="153" y="279"/>
                    <a:pt x="153" y="280"/>
                  </a:cubicBezTo>
                  <a:cubicBezTo>
                    <a:pt x="153" y="280"/>
                    <a:pt x="153" y="280"/>
                    <a:pt x="153" y="280"/>
                  </a:cubicBezTo>
                  <a:cubicBezTo>
                    <a:pt x="153" y="280"/>
                    <a:pt x="152" y="280"/>
                    <a:pt x="152" y="280"/>
                  </a:cubicBezTo>
                  <a:cubicBezTo>
                    <a:pt x="148" y="280"/>
                    <a:pt x="124" y="272"/>
                    <a:pt x="103" y="265"/>
                  </a:cubicBezTo>
                  <a:cubicBezTo>
                    <a:pt x="94" y="241"/>
                    <a:pt x="82" y="205"/>
                    <a:pt x="83" y="205"/>
                  </a:cubicBezTo>
                  <a:cubicBezTo>
                    <a:pt x="82" y="205"/>
                    <a:pt x="82" y="205"/>
                    <a:pt x="82" y="205"/>
                  </a:cubicBezTo>
                  <a:cubicBezTo>
                    <a:pt x="84" y="204"/>
                    <a:pt x="85" y="203"/>
                    <a:pt x="85" y="202"/>
                  </a:cubicBezTo>
                  <a:cubicBezTo>
                    <a:pt x="85" y="202"/>
                    <a:pt x="85" y="202"/>
                    <a:pt x="85" y="202"/>
                  </a:cubicBezTo>
                  <a:cubicBezTo>
                    <a:pt x="85" y="202"/>
                    <a:pt x="86" y="202"/>
                    <a:pt x="86" y="202"/>
                  </a:cubicBezTo>
                  <a:cubicBezTo>
                    <a:pt x="90" y="202"/>
                    <a:pt x="125" y="213"/>
                    <a:pt x="125" y="214"/>
                  </a:cubicBezTo>
                  <a:cubicBezTo>
                    <a:pt x="125" y="214"/>
                    <a:pt x="125" y="214"/>
                    <a:pt x="125" y="214"/>
                  </a:cubicBezTo>
                  <a:cubicBezTo>
                    <a:pt x="125" y="215"/>
                    <a:pt x="125" y="216"/>
                    <a:pt x="125" y="217"/>
                  </a:cubicBezTo>
                  <a:cubicBezTo>
                    <a:pt x="126" y="218"/>
                    <a:pt x="128" y="219"/>
                    <a:pt x="130" y="219"/>
                  </a:cubicBezTo>
                  <a:cubicBezTo>
                    <a:pt x="130" y="219"/>
                    <a:pt x="131" y="219"/>
                    <a:pt x="132" y="219"/>
                  </a:cubicBezTo>
                  <a:cubicBezTo>
                    <a:pt x="134" y="218"/>
                    <a:pt x="135" y="215"/>
                    <a:pt x="134" y="213"/>
                  </a:cubicBezTo>
                  <a:cubicBezTo>
                    <a:pt x="133" y="211"/>
                    <a:pt x="131" y="210"/>
                    <a:pt x="130" y="210"/>
                  </a:cubicBezTo>
                  <a:cubicBezTo>
                    <a:pt x="129" y="210"/>
                    <a:pt x="128" y="210"/>
                    <a:pt x="128" y="210"/>
                  </a:cubicBezTo>
                  <a:cubicBezTo>
                    <a:pt x="127" y="211"/>
                    <a:pt x="127" y="211"/>
                    <a:pt x="126" y="211"/>
                  </a:cubicBezTo>
                  <a:cubicBezTo>
                    <a:pt x="126" y="211"/>
                    <a:pt x="126" y="211"/>
                    <a:pt x="126" y="211"/>
                  </a:cubicBezTo>
                  <a:cubicBezTo>
                    <a:pt x="126" y="211"/>
                    <a:pt x="126" y="211"/>
                    <a:pt x="126" y="211"/>
                  </a:cubicBezTo>
                  <a:cubicBezTo>
                    <a:pt x="125" y="211"/>
                    <a:pt x="83" y="181"/>
                    <a:pt x="61" y="164"/>
                  </a:cubicBezTo>
                  <a:cubicBezTo>
                    <a:pt x="81" y="163"/>
                    <a:pt x="100" y="162"/>
                    <a:pt x="106" y="162"/>
                  </a:cubicBezTo>
                  <a:cubicBezTo>
                    <a:pt x="107" y="162"/>
                    <a:pt x="108" y="162"/>
                    <a:pt x="108" y="162"/>
                  </a:cubicBezTo>
                  <a:cubicBezTo>
                    <a:pt x="108" y="162"/>
                    <a:pt x="108" y="162"/>
                    <a:pt x="108" y="162"/>
                  </a:cubicBezTo>
                  <a:cubicBezTo>
                    <a:pt x="108" y="163"/>
                    <a:pt x="108" y="163"/>
                    <a:pt x="108" y="163"/>
                  </a:cubicBezTo>
                  <a:cubicBezTo>
                    <a:pt x="109" y="165"/>
                    <a:pt x="111" y="166"/>
                    <a:pt x="112" y="166"/>
                  </a:cubicBezTo>
                  <a:cubicBezTo>
                    <a:pt x="113" y="166"/>
                    <a:pt x="114" y="166"/>
                    <a:pt x="114" y="165"/>
                  </a:cubicBezTo>
                  <a:cubicBezTo>
                    <a:pt x="117" y="164"/>
                    <a:pt x="118" y="162"/>
                    <a:pt x="117" y="159"/>
                  </a:cubicBezTo>
                  <a:cubicBezTo>
                    <a:pt x="116" y="158"/>
                    <a:pt x="114" y="157"/>
                    <a:pt x="112" y="157"/>
                  </a:cubicBezTo>
                  <a:cubicBezTo>
                    <a:pt x="112" y="157"/>
                    <a:pt x="111" y="157"/>
                    <a:pt x="110" y="157"/>
                  </a:cubicBezTo>
                  <a:cubicBezTo>
                    <a:pt x="109" y="158"/>
                    <a:pt x="109" y="158"/>
                    <a:pt x="108" y="159"/>
                  </a:cubicBezTo>
                  <a:cubicBezTo>
                    <a:pt x="108" y="159"/>
                    <a:pt x="108" y="159"/>
                    <a:pt x="108" y="159"/>
                  </a:cubicBezTo>
                  <a:cubicBezTo>
                    <a:pt x="108" y="159"/>
                    <a:pt x="108" y="159"/>
                    <a:pt x="108" y="159"/>
                  </a:cubicBezTo>
                  <a:cubicBezTo>
                    <a:pt x="106" y="159"/>
                    <a:pt x="49" y="136"/>
                    <a:pt x="49" y="135"/>
                  </a:cubicBezTo>
                  <a:cubicBezTo>
                    <a:pt x="49" y="136"/>
                    <a:pt x="49" y="136"/>
                    <a:pt x="49" y="136"/>
                  </a:cubicBezTo>
                  <a:cubicBezTo>
                    <a:pt x="49" y="135"/>
                    <a:pt x="49" y="133"/>
                    <a:pt x="48" y="132"/>
                  </a:cubicBezTo>
                  <a:cubicBezTo>
                    <a:pt x="48" y="131"/>
                    <a:pt x="46" y="130"/>
                    <a:pt x="44" y="130"/>
                  </a:cubicBezTo>
                  <a:cubicBezTo>
                    <a:pt x="43" y="130"/>
                    <a:pt x="43" y="130"/>
                    <a:pt x="42" y="130"/>
                  </a:cubicBezTo>
                  <a:cubicBezTo>
                    <a:pt x="40" y="131"/>
                    <a:pt x="39" y="134"/>
                    <a:pt x="40" y="136"/>
                  </a:cubicBezTo>
                  <a:cubicBezTo>
                    <a:pt x="40" y="137"/>
                    <a:pt x="40" y="137"/>
                    <a:pt x="40" y="137"/>
                  </a:cubicBezTo>
                  <a:cubicBezTo>
                    <a:pt x="40" y="137"/>
                    <a:pt x="40" y="137"/>
                    <a:pt x="40" y="137"/>
                  </a:cubicBezTo>
                  <a:cubicBezTo>
                    <a:pt x="41" y="138"/>
                    <a:pt x="14" y="162"/>
                    <a:pt x="12" y="162"/>
                  </a:cubicBezTo>
                  <a:cubicBezTo>
                    <a:pt x="12" y="162"/>
                    <a:pt x="12" y="162"/>
                    <a:pt x="12" y="162"/>
                  </a:cubicBezTo>
                  <a:cubicBezTo>
                    <a:pt x="12" y="162"/>
                    <a:pt x="12" y="162"/>
                    <a:pt x="12" y="162"/>
                  </a:cubicBezTo>
                  <a:cubicBezTo>
                    <a:pt x="11" y="161"/>
                    <a:pt x="9" y="161"/>
                    <a:pt x="8" y="161"/>
                  </a:cubicBezTo>
                  <a:cubicBezTo>
                    <a:pt x="7" y="161"/>
                    <a:pt x="6" y="161"/>
                    <a:pt x="5" y="161"/>
                  </a:cubicBezTo>
                  <a:cubicBezTo>
                    <a:pt x="1" y="163"/>
                    <a:pt x="0" y="167"/>
                    <a:pt x="2" y="170"/>
                  </a:cubicBezTo>
                  <a:cubicBezTo>
                    <a:pt x="3" y="172"/>
                    <a:pt x="5" y="174"/>
                    <a:pt x="8" y="174"/>
                  </a:cubicBezTo>
                  <a:cubicBezTo>
                    <a:pt x="9" y="174"/>
                    <a:pt x="10" y="174"/>
                    <a:pt x="11" y="173"/>
                  </a:cubicBezTo>
                  <a:cubicBezTo>
                    <a:pt x="13" y="172"/>
                    <a:pt x="14" y="170"/>
                    <a:pt x="15" y="168"/>
                  </a:cubicBezTo>
                  <a:cubicBezTo>
                    <a:pt x="15" y="168"/>
                    <a:pt x="15" y="168"/>
                    <a:pt x="15" y="168"/>
                  </a:cubicBezTo>
                  <a:cubicBezTo>
                    <a:pt x="15" y="167"/>
                    <a:pt x="33" y="166"/>
                    <a:pt x="53" y="165"/>
                  </a:cubicBezTo>
                  <a:cubicBezTo>
                    <a:pt x="62" y="176"/>
                    <a:pt x="75" y="194"/>
                    <a:pt x="74" y="194"/>
                  </a:cubicBezTo>
                  <a:cubicBezTo>
                    <a:pt x="75" y="194"/>
                    <a:pt x="75" y="194"/>
                    <a:pt x="75" y="194"/>
                  </a:cubicBezTo>
                  <a:cubicBezTo>
                    <a:pt x="72" y="196"/>
                    <a:pt x="72" y="199"/>
                    <a:pt x="73" y="202"/>
                  </a:cubicBezTo>
                  <a:cubicBezTo>
                    <a:pt x="74" y="204"/>
                    <a:pt x="77" y="206"/>
                    <a:pt x="79" y="206"/>
                  </a:cubicBezTo>
                  <a:cubicBezTo>
                    <a:pt x="80" y="206"/>
                    <a:pt x="80" y="206"/>
                    <a:pt x="81" y="206"/>
                  </a:cubicBezTo>
                  <a:cubicBezTo>
                    <a:pt x="81" y="206"/>
                    <a:pt x="81" y="206"/>
                    <a:pt x="81" y="206"/>
                  </a:cubicBezTo>
                  <a:cubicBezTo>
                    <a:pt x="81" y="206"/>
                    <a:pt x="81" y="206"/>
                    <a:pt x="81" y="206"/>
                  </a:cubicBezTo>
                  <a:cubicBezTo>
                    <a:pt x="81" y="206"/>
                    <a:pt x="94" y="241"/>
                    <a:pt x="103" y="265"/>
                  </a:cubicBezTo>
                  <a:cubicBezTo>
                    <a:pt x="91" y="261"/>
                    <a:pt x="79" y="257"/>
                    <a:pt x="73" y="254"/>
                  </a:cubicBezTo>
                  <a:cubicBezTo>
                    <a:pt x="74" y="251"/>
                    <a:pt x="72" y="247"/>
                    <a:pt x="70" y="245"/>
                  </a:cubicBezTo>
                  <a:cubicBezTo>
                    <a:pt x="68" y="244"/>
                    <a:pt x="65" y="243"/>
                    <a:pt x="63" y="243"/>
                  </a:cubicBezTo>
                  <a:cubicBezTo>
                    <a:pt x="60" y="243"/>
                    <a:pt x="57" y="244"/>
                    <a:pt x="55" y="246"/>
                  </a:cubicBezTo>
                  <a:cubicBezTo>
                    <a:pt x="52" y="251"/>
                    <a:pt x="52" y="257"/>
                    <a:pt x="57" y="260"/>
                  </a:cubicBezTo>
                  <a:cubicBezTo>
                    <a:pt x="59" y="262"/>
                    <a:pt x="61" y="262"/>
                    <a:pt x="63" y="262"/>
                  </a:cubicBezTo>
                  <a:cubicBezTo>
                    <a:pt x="66" y="262"/>
                    <a:pt x="69" y="261"/>
                    <a:pt x="71" y="259"/>
                  </a:cubicBezTo>
                  <a:cubicBezTo>
                    <a:pt x="72" y="258"/>
                    <a:pt x="72" y="257"/>
                    <a:pt x="73" y="256"/>
                  </a:cubicBezTo>
                  <a:cubicBezTo>
                    <a:pt x="79" y="258"/>
                    <a:pt x="91" y="261"/>
                    <a:pt x="103" y="265"/>
                  </a:cubicBezTo>
                  <a:cubicBezTo>
                    <a:pt x="108" y="278"/>
                    <a:pt x="111" y="288"/>
                    <a:pt x="111" y="288"/>
                  </a:cubicBezTo>
                  <a:cubicBezTo>
                    <a:pt x="111" y="288"/>
                    <a:pt x="111" y="288"/>
                    <a:pt x="111" y="288"/>
                  </a:cubicBezTo>
                  <a:cubicBezTo>
                    <a:pt x="109" y="289"/>
                    <a:pt x="108" y="291"/>
                    <a:pt x="109" y="293"/>
                  </a:cubicBezTo>
                  <a:cubicBezTo>
                    <a:pt x="109" y="293"/>
                    <a:pt x="109" y="293"/>
                    <a:pt x="109" y="293"/>
                  </a:cubicBezTo>
                  <a:cubicBezTo>
                    <a:pt x="109" y="293"/>
                    <a:pt x="109" y="293"/>
                    <a:pt x="109" y="293"/>
                  </a:cubicBezTo>
                  <a:cubicBezTo>
                    <a:pt x="109" y="293"/>
                    <a:pt x="70" y="319"/>
                    <a:pt x="69" y="319"/>
                  </a:cubicBezTo>
                  <a:cubicBezTo>
                    <a:pt x="69" y="319"/>
                    <a:pt x="69" y="319"/>
                    <a:pt x="69" y="319"/>
                  </a:cubicBezTo>
                  <a:cubicBezTo>
                    <a:pt x="69" y="319"/>
                    <a:pt x="69" y="319"/>
                    <a:pt x="69" y="319"/>
                  </a:cubicBezTo>
                  <a:cubicBezTo>
                    <a:pt x="68" y="319"/>
                    <a:pt x="67" y="318"/>
                    <a:pt x="66" y="318"/>
                  </a:cubicBezTo>
                  <a:cubicBezTo>
                    <a:pt x="66" y="318"/>
                    <a:pt x="66" y="318"/>
                    <a:pt x="65" y="318"/>
                  </a:cubicBezTo>
                  <a:cubicBezTo>
                    <a:pt x="63" y="319"/>
                    <a:pt x="63" y="321"/>
                    <a:pt x="63" y="323"/>
                  </a:cubicBezTo>
                  <a:cubicBezTo>
                    <a:pt x="64" y="324"/>
                    <a:pt x="65" y="325"/>
                    <a:pt x="67" y="325"/>
                  </a:cubicBezTo>
                  <a:cubicBezTo>
                    <a:pt x="67" y="325"/>
                    <a:pt x="67" y="324"/>
                    <a:pt x="68" y="324"/>
                  </a:cubicBezTo>
                  <a:cubicBezTo>
                    <a:pt x="69" y="324"/>
                    <a:pt x="69" y="323"/>
                    <a:pt x="69" y="323"/>
                  </a:cubicBezTo>
                  <a:cubicBezTo>
                    <a:pt x="69" y="323"/>
                    <a:pt x="69" y="323"/>
                    <a:pt x="69" y="323"/>
                  </a:cubicBezTo>
                  <a:cubicBezTo>
                    <a:pt x="69" y="323"/>
                    <a:pt x="69" y="323"/>
                    <a:pt x="70" y="323"/>
                  </a:cubicBezTo>
                  <a:cubicBezTo>
                    <a:pt x="71" y="323"/>
                    <a:pt x="109" y="335"/>
                    <a:pt x="109" y="336"/>
                  </a:cubicBezTo>
                  <a:cubicBezTo>
                    <a:pt x="109" y="335"/>
                    <a:pt x="109" y="335"/>
                    <a:pt x="109" y="335"/>
                  </a:cubicBezTo>
                  <a:cubicBezTo>
                    <a:pt x="108" y="336"/>
                    <a:pt x="109" y="337"/>
                    <a:pt x="109" y="338"/>
                  </a:cubicBezTo>
                  <a:cubicBezTo>
                    <a:pt x="110" y="339"/>
                    <a:pt x="111" y="340"/>
                    <a:pt x="112" y="340"/>
                  </a:cubicBezTo>
                  <a:cubicBezTo>
                    <a:pt x="113" y="340"/>
                    <a:pt x="114" y="340"/>
                    <a:pt x="114" y="340"/>
                  </a:cubicBezTo>
                  <a:cubicBezTo>
                    <a:pt x="116" y="339"/>
                    <a:pt x="117" y="336"/>
                    <a:pt x="116" y="335"/>
                  </a:cubicBezTo>
                  <a:cubicBezTo>
                    <a:pt x="115" y="333"/>
                    <a:pt x="114" y="333"/>
                    <a:pt x="113" y="332"/>
                  </a:cubicBezTo>
                  <a:cubicBezTo>
                    <a:pt x="113" y="332"/>
                    <a:pt x="113" y="332"/>
                    <a:pt x="113" y="332"/>
                  </a:cubicBezTo>
                  <a:cubicBezTo>
                    <a:pt x="112" y="332"/>
                    <a:pt x="112" y="295"/>
                    <a:pt x="113" y="295"/>
                  </a:cubicBezTo>
                  <a:cubicBezTo>
                    <a:pt x="113" y="295"/>
                    <a:pt x="113" y="295"/>
                    <a:pt x="113" y="295"/>
                  </a:cubicBezTo>
                  <a:cubicBezTo>
                    <a:pt x="113" y="295"/>
                    <a:pt x="114" y="295"/>
                    <a:pt x="114" y="295"/>
                  </a:cubicBezTo>
                  <a:cubicBezTo>
                    <a:pt x="116" y="294"/>
                    <a:pt x="117" y="291"/>
                    <a:pt x="116" y="290"/>
                  </a:cubicBezTo>
                  <a:cubicBezTo>
                    <a:pt x="115" y="288"/>
                    <a:pt x="114" y="287"/>
                    <a:pt x="112" y="287"/>
                  </a:cubicBezTo>
                  <a:cubicBezTo>
                    <a:pt x="112" y="287"/>
                    <a:pt x="112" y="287"/>
                    <a:pt x="112" y="287"/>
                  </a:cubicBezTo>
                  <a:cubicBezTo>
                    <a:pt x="112" y="287"/>
                    <a:pt x="112" y="287"/>
                    <a:pt x="112" y="287"/>
                  </a:cubicBezTo>
                  <a:cubicBezTo>
                    <a:pt x="112" y="287"/>
                    <a:pt x="112" y="287"/>
                    <a:pt x="112" y="287"/>
                  </a:cubicBezTo>
                  <a:cubicBezTo>
                    <a:pt x="112" y="287"/>
                    <a:pt x="108" y="278"/>
                    <a:pt x="103" y="265"/>
                  </a:cubicBezTo>
                  <a:cubicBezTo>
                    <a:pt x="126" y="273"/>
                    <a:pt x="151" y="282"/>
                    <a:pt x="151" y="284"/>
                  </a:cubicBezTo>
                  <a:cubicBezTo>
                    <a:pt x="151" y="284"/>
                    <a:pt x="151" y="284"/>
                    <a:pt x="151" y="284"/>
                  </a:cubicBezTo>
                  <a:cubicBezTo>
                    <a:pt x="150" y="289"/>
                    <a:pt x="152" y="294"/>
                    <a:pt x="156" y="297"/>
                  </a:cubicBezTo>
                  <a:cubicBezTo>
                    <a:pt x="159" y="299"/>
                    <a:pt x="162" y="300"/>
                    <a:pt x="165" y="300"/>
                  </a:cubicBezTo>
                  <a:cubicBezTo>
                    <a:pt x="170" y="300"/>
                    <a:pt x="174" y="299"/>
                    <a:pt x="177" y="295"/>
                  </a:cubicBezTo>
                  <a:cubicBezTo>
                    <a:pt x="178" y="294"/>
                    <a:pt x="178" y="293"/>
                    <a:pt x="179" y="291"/>
                  </a:cubicBezTo>
                  <a:cubicBezTo>
                    <a:pt x="179" y="291"/>
                    <a:pt x="179" y="291"/>
                    <a:pt x="179" y="291"/>
                  </a:cubicBezTo>
                  <a:cubicBezTo>
                    <a:pt x="179" y="291"/>
                    <a:pt x="179" y="291"/>
                    <a:pt x="180" y="291"/>
                  </a:cubicBezTo>
                  <a:cubicBezTo>
                    <a:pt x="191" y="291"/>
                    <a:pt x="320" y="319"/>
                    <a:pt x="319" y="321"/>
                  </a:cubicBezTo>
                  <a:cubicBezTo>
                    <a:pt x="319" y="321"/>
                    <a:pt x="319" y="321"/>
                    <a:pt x="319" y="321"/>
                  </a:cubicBezTo>
                  <a:cubicBezTo>
                    <a:pt x="319" y="323"/>
                    <a:pt x="320" y="325"/>
                    <a:pt x="321" y="327"/>
                  </a:cubicBezTo>
                  <a:cubicBezTo>
                    <a:pt x="323" y="331"/>
                    <a:pt x="327" y="333"/>
                    <a:pt x="331" y="333"/>
                  </a:cubicBezTo>
                  <a:cubicBezTo>
                    <a:pt x="333" y="333"/>
                    <a:pt x="335" y="333"/>
                    <a:pt x="336" y="332"/>
                  </a:cubicBezTo>
                  <a:cubicBezTo>
                    <a:pt x="339" y="331"/>
                    <a:pt x="340" y="330"/>
                    <a:pt x="341" y="328"/>
                  </a:cubicBezTo>
                  <a:cubicBezTo>
                    <a:pt x="341" y="328"/>
                    <a:pt x="341" y="328"/>
                    <a:pt x="341" y="328"/>
                  </a:cubicBezTo>
                  <a:cubicBezTo>
                    <a:pt x="342" y="328"/>
                    <a:pt x="342" y="328"/>
                    <a:pt x="342" y="328"/>
                  </a:cubicBezTo>
                  <a:cubicBezTo>
                    <a:pt x="347" y="328"/>
                    <a:pt x="375" y="340"/>
                    <a:pt x="375" y="342"/>
                  </a:cubicBezTo>
                  <a:cubicBezTo>
                    <a:pt x="375" y="342"/>
                    <a:pt x="375" y="342"/>
                    <a:pt x="375" y="342"/>
                  </a:cubicBezTo>
                  <a:cubicBezTo>
                    <a:pt x="375" y="343"/>
                    <a:pt x="375" y="345"/>
                    <a:pt x="375" y="346"/>
                  </a:cubicBezTo>
                  <a:cubicBezTo>
                    <a:pt x="376" y="348"/>
                    <a:pt x="378" y="349"/>
                    <a:pt x="380" y="350"/>
                  </a:cubicBezTo>
                  <a:cubicBezTo>
                    <a:pt x="380" y="350"/>
                    <a:pt x="380" y="350"/>
                    <a:pt x="380" y="350"/>
                  </a:cubicBezTo>
                  <a:cubicBezTo>
                    <a:pt x="381" y="350"/>
                    <a:pt x="371" y="406"/>
                    <a:pt x="370" y="406"/>
                  </a:cubicBezTo>
                  <a:cubicBezTo>
                    <a:pt x="371" y="406"/>
                    <a:pt x="371" y="406"/>
                    <a:pt x="371" y="406"/>
                  </a:cubicBezTo>
                  <a:cubicBezTo>
                    <a:pt x="371" y="406"/>
                    <a:pt x="371" y="406"/>
                    <a:pt x="370" y="406"/>
                  </a:cubicBezTo>
                  <a:cubicBezTo>
                    <a:pt x="370" y="406"/>
                    <a:pt x="369" y="406"/>
                    <a:pt x="368" y="406"/>
                  </a:cubicBezTo>
                  <a:cubicBezTo>
                    <a:pt x="366" y="407"/>
                    <a:pt x="365" y="410"/>
                    <a:pt x="366" y="412"/>
                  </a:cubicBezTo>
                  <a:cubicBezTo>
                    <a:pt x="367" y="414"/>
                    <a:pt x="369" y="415"/>
                    <a:pt x="370" y="415"/>
                  </a:cubicBezTo>
                  <a:cubicBezTo>
                    <a:pt x="371" y="415"/>
                    <a:pt x="372" y="415"/>
                    <a:pt x="373" y="414"/>
                  </a:cubicBezTo>
                  <a:cubicBezTo>
                    <a:pt x="375" y="413"/>
                    <a:pt x="376" y="411"/>
                    <a:pt x="375" y="408"/>
                  </a:cubicBezTo>
                  <a:cubicBezTo>
                    <a:pt x="375" y="408"/>
                    <a:pt x="375" y="408"/>
                    <a:pt x="375" y="408"/>
                  </a:cubicBezTo>
                  <a:cubicBezTo>
                    <a:pt x="375" y="408"/>
                    <a:pt x="375" y="408"/>
                    <a:pt x="375" y="408"/>
                  </a:cubicBezTo>
                  <a:cubicBezTo>
                    <a:pt x="374" y="407"/>
                    <a:pt x="399" y="388"/>
                    <a:pt x="401" y="388"/>
                  </a:cubicBezTo>
                  <a:cubicBezTo>
                    <a:pt x="402" y="388"/>
                    <a:pt x="402" y="388"/>
                    <a:pt x="402" y="388"/>
                  </a:cubicBezTo>
                  <a:cubicBezTo>
                    <a:pt x="402" y="388"/>
                    <a:pt x="402" y="388"/>
                    <a:pt x="402" y="388"/>
                  </a:cubicBezTo>
                  <a:cubicBezTo>
                    <a:pt x="403" y="390"/>
                    <a:pt x="406" y="390"/>
                    <a:pt x="408" y="390"/>
                  </a:cubicBezTo>
                  <a:cubicBezTo>
                    <a:pt x="409" y="390"/>
                    <a:pt x="411" y="390"/>
                    <a:pt x="412" y="390"/>
                  </a:cubicBezTo>
                  <a:cubicBezTo>
                    <a:pt x="416" y="388"/>
                    <a:pt x="418" y="382"/>
                    <a:pt x="416" y="378"/>
                  </a:cubicBezTo>
                  <a:cubicBezTo>
                    <a:pt x="415" y="375"/>
                    <a:pt x="411" y="373"/>
                    <a:pt x="408" y="373"/>
                  </a:cubicBezTo>
                  <a:cubicBezTo>
                    <a:pt x="407" y="373"/>
                    <a:pt x="405" y="373"/>
                    <a:pt x="404" y="374"/>
                  </a:cubicBezTo>
                  <a:cubicBezTo>
                    <a:pt x="404" y="374"/>
                    <a:pt x="404" y="374"/>
                    <a:pt x="404" y="374"/>
                  </a:cubicBezTo>
                  <a:cubicBezTo>
                    <a:pt x="404" y="374"/>
                    <a:pt x="404" y="374"/>
                    <a:pt x="404" y="374"/>
                  </a:cubicBezTo>
                  <a:cubicBezTo>
                    <a:pt x="402" y="374"/>
                    <a:pt x="385" y="349"/>
                    <a:pt x="386" y="348"/>
                  </a:cubicBezTo>
                  <a:cubicBezTo>
                    <a:pt x="386" y="348"/>
                    <a:pt x="386" y="348"/>
                    <a:pt x="386" y="348"/>
                  </a:cubicBezTo>
                  <a:cubicBezTo>
                    <a:pt x="389" y="346"/>
                    <a:pt x="389" y="343"/>
                    <a:pt x="388" y="340"/>
                  </a:cubicBezTo>
                  <a:cubicBezTo>
                    <a:pt x="387" y="338"/>
                    <a:pt x="384" y="337"/>
                    <a:pt x="382" y="337"/>
                  </a:cubicBezTo>
                  <a:cubicBezTo>
                    <a:pt x="381" y="337"/>
                    <a:pt x="380" y="337"/>
                    <a:pt x="379" y="337"/>
                  </a:cubicBezTo>
                  <a:cubicBezTo>
                    <a:pt x="378" y="338"/>
                    <a:pt x="377" y="339"/>
                    <a:pt x="376" y="340"/>
                  </a:cubicBezTo>
                  <a:cubicBezTo>
                    <a:pt x="376" y="340"/>
                    <a:pt x="376" y="340"/>
                    <a:pt x="376" y="340"/>
                  </a:cubicBezTo>
                  <a:cubicBezTo>
                    <a:pt x="376" y="340"/>
                    <a:pt x="376" y="340"/>
                    <a:pt x="376" y="340"/>
                  </a:cubicBezTo>
                  <a:cubicBezTo>
                    <a:pt x="373" y="340"/>
                    <a:pt x="342" y="327"/>
                    <a:pt x="343" y="325"/>
                  </a:cubicBezTo>
                  <a:cubicBezTo>
                    <a:pt x="343" y="325"/>
                    <a:pt x="343" y="325"/>
                    <a:pt x="343" y="325"/>
                  </a:cubicBezTo>
                  <a:cubicBezTo>
                    <a:pt x="343" y="324"/>
                    <a:pt x="343" y="323"/>
                    <a:pt x="343" y="322"/>
                  </a:cubicBezTo>
                  <a:cubicBezTo>
                    <a:pt x="343" y="322"/>
                    <a:pt x="343" y="322"/>
                    <a:pt x="343" y="322"/>
                  </a:cubicBezTo>
                  <a:cubicBezTo>
                    <a:pt x="343" y="320"/>
                    <a:pt x="479" y="305"/>
                    <a:pt x="496" y="305"/>
                  </a:cubicBezTo>
                  <a:cubicBezTo>
                    <a:pt x="497" y="305"/>
                    <a:pt x="497" y="305"/>
                    <a:pt x="497" y="305"/>
                  </a:cubicBezTo>
                  <a:cubicBezTo>
                    <a:pt x="497" y="305"/>
                    <a:pt x="497" y="305"/>
                    <a:pt x="497" y="305"/>
                  </a:cubicBezTo>
                  <a:cubicBezTo>
                    <a:pt x="498" y="306"/>
                    <a:pt x="498" y="306"/>
                    <a:pt x="498" y="307"/>
                  </a:cubicBezTo>
                  <a:cubicBezTo>
                    <a:pt x="500" y="311"/>
                    <a:pt x="504" y="314"/>
                    <a:pt x="509" y="314"/>
                  </a:cubicBezTo>
                  <a:cubicBezTo>
                    <a:pt x="511" y="314"/>
                    <a:pt x="512" y="313"/>
                    <a:pt x="514" y="313"/>
                  </a:cubicBezTo>
                  <a:cubicBezTo>
                    <a:pt x="516" y="312"/>
                    <a:pt x="517" y="311"/>
                    <a:pt x="519" y="309"/>
                  </a:cubicBezTo>
                  <a:cubicBezTo>
                    <a:pt x="519" y="309"/>
                    <a:pt x="519" y="309"/>
                    <a:pt x="519" y="309"/>
                  </a:cubicBezTo>
                  <a:cubicBezTo>
                    <a:pt x="519" y="309"/>
                    <a:pt x="519" y="309"/>
                    <a:pt x="519" y="309"/>
                  </a:cubicBezTo>
                  <a:cubicBezTo>
                    <a:pt x="523" y="309"/>
                    <a:pt x="568" y="332"/>
                    <a:pt x="567" y="333"/>
                  </a:cubicBezTo>
                  <a:cubicBezTo>
                    <a:pt x="567" y="333"/>
                    <a:pt x="567" y="333"/>
                    <a:pt x="567" y="333"/>
                  </a:cubicBezTo>
                  <a:cubicBezTo>
                    <a:pt x="566" y="336"/>
                    <a:pt x="566" y="338"/>
                    <a:pt x="567" y="341"/>
                  </a:cubicBezTo>
                  <a:cubicBezTo>
                    <a:pt x="569" y="344"/>
                    <a:pt x="573" y="346"/>
                    <a:pt x="576" y="346"/>
                  </a:cubicBezTo>
                  <a:cubicBezTo>
                    <a:pt x="578" y="346"/>
                    <a:pt x="579" y="346"/>
                    <a:pt x="581" y="345"/>
                  </a:cubicBezTo>
                  <a:cubicBezTo>
                    <a:pt x="586" y="343"/>
                    <a:pt x="588" y="337"/>
                    <a:pt x="586" y="332"/>
                  </a:cubicBezTo>
                  <a:cubicBezTo>
                    <a:pt x="585" y="331"/>
                    <a:pt x="585" y="331"/>
                    <a:pt x="585" y="331"/>
                  </a:cubicBezTo>
                  <a:cubicBezTo>
                    <a:pt x="585" y="331"/>
                    <a:pt x="585" y="331"/>
                    <a:pt x="585" y="331"/>
                  </a:cubicBezTo>
                  <a:cubicBezTo>
                    <a:pt x="584" y="330"/>
                    <a:pt x="626" y="294"/>
                    <a:pt x="631" y="294"/>
                  </a:cubicBezTo>
                  <a:cubicBezTo>
                    <a:pt x="631" y="294"/>
                    <a:pt x="631" y="294"/>
                    <a:pt x="631" y="294"/>
                  </a:cubicBezTo>
                  <a:cubicBezTo>
                    <a:pt x="631" y="294"/>
                    <a:pt x="631" y="294"/>
                    <a:pt x="631" y="294"/>
                  </a:cubicBezTo>
                  <a:cubicBezTo>
                    <a:pt x="634" y="296"/>
                    <a:pt x="637" y="298"/>
                    <a:pt x="641" y="298"/>
                  </a:cubicBezTo>
                  <a:cubicBezTo>
                    <a:pt x="647" y="298"/>
                    <a:pt x="653" y="294"/>
                    <a:pt x="655" y="289"/>
                  </a:cubicBezTo>
                  <a:cubicBezTo>
                    <a:pt x="655" y="289"/>
                    <a:pt x="655" y="289"/>
                    <a:pt x="655" y="289"/>
                  </a:cubicBezTo>
                  <a:cubicBezTo>
                    <a:pt x="655" y="289"/>
                    <a:pt x="656" y="289"/>
                    <a:pt x="656" y="289"/>
                  </a:cubicBezTo>
                  <a:cubicBezTo>
                    <a:pt x="666" y="289"/>
                    <a:pt x="737" y="308"/>
                    <a:pt x="737" y="310"/>
                  </a:cubicBezTo>
                  <a:cubicBezTo>
                    <a:pt x="737" y="310"/>
                    <a:pt x="737" y="310"/>
                    <a:pt x="737" y="310"/>
                  </a:cubicBezTo>
                  <a:cubicBezTo>
                    <a:pt x="737" y="311"/>
                    <a:pt x="737" y="312"/>
                    <a:pt x="738" y="314"/>
                  </a:cubicBezTo>
                  <a:cubicBezTo>
                    <a:pt x="738" y="314"/>
                    <a:pt x="739" y="315"/>
                    <a:pt x="739" y="316"/>
                  </a:cubicBezTo>
                  <a:cubicBezTo>
                    <a:pt x="739" y="316"/>
                    <a:pt x="739" y="316"/>
                    <a:pt x="739" y="316"/>
                  </a:cubicBezTo>
                  <a:cubicBezTo>
                    <a:pt x="740" y="317"/>
                    <a:pt x="692" y="378"/>
                    <a:pt x="689" y="378"/>
                  </a:cubicBezTo>
                  <a:cubicBezTo>
                    <a:pt x="689" y="378"/>
                    <a:pt x="689" y="378"/>
                    <a:pt x="689" y="378"/>
                  </a:cubicBezTo>
                  <a:cubicBezTo>
                    <a:pt x="687" y="377"/>
                    <a:pt x="684" y="376"/>
                    <a:pt x="682" y="376"/>
                  </a:cubicBezTo>
                  <a:cubicBezTo>
                    <a:pt x="674" y="376"/>
                    <a:pt x="667" y="382"/>
                    <a:pt x="667" y="390"/>
                  </a:cubicBezTo>
                  <a:cubicBezTo>
                    <a:pt x="667" y="391"/>
                    <a:pt x="667" y="392"/>
                    <a:pt x="668" y="393"/>
                  </a:cubicBezTo>
                  <a:cubicBezTo>
                    <a:pt x="668" y="396"/>
                    <a:pt x="559" y="435"/>
                    <a:pt x="552" y="435"/>
                  </a:cubicBezTo>
                  <a:cubicBezTo>
                    <a:pt x="552" y="435"/>
                    <a:pt x="552" y="435"/>
                    <a:pt x="552" y="435"/>
                  </a:cubicBezTo>
                  <a:cubicBezTo>
                    <a:pt x="552" y="435"/>
                    <a:pt x="552" y="435"/>
                    <a:pt x="552" y="435"/>
                  </a:cubicBezTo>
                  <a:cubicBezTo>
                    <a:pt x="550" y="431"/>
                    <a:pt x="545" y="429"/>
                    <a:pt x="540" y="429"/>
                  </a:cubicBezTo>
                  <a:cubicBezTo>
                    <a:pt x="533" y="429"/>
                    <a:pt x="527" y="434"/>
                    <a:pt x="527" y="442"/>
                  </a:cubicBezTo>
                  <a:cubicBezTo>
                    <a:pt x="527" y="449"/>
                    <a:pt x="533" y="455"/>
                    <a:pt x="540" y="455"/>
                  </a:cubicBezTo>
                  <a:cubicBezTo>
                    <a:pt x="548" y="455"/>
                    <a:pt x="554" y="449"/>
                    <a:pt x="554" y="442"/>
                  </a:cubicBezTo>
                  <a:cubicBezTo>
                    <a:pt x="554" y="441"/>
                    <a:pt x="554" y="440"/>
                    <a:pt x="553" y="439"/>
                  </a:cubicBezTo>
                  <a:cubicBezTo>
                    <a:pt x="553" y="436"/>
                    <a:pt x="661" y="397"/>
                    <a:pt x="669" y="397"/>
                  </a:cubicBezTo>
                  <a:cubicBezTo>
                    <a:pt x="669" y="397"/>
                    <a:pt x="669" y="397"/>
                    <a:pt x="669" y="397"/>
                  </a:cubicBezTo>
                  <a:cubicBezTo>
                    <a:pt x="669" y="397"/>
                    <a:pt x="669" y="397"/>
                    <a:pt x="669" y="397"/>
                  </a:cubicBezTo>
                  <a:cubicBezTo>
                    <a:pt x="671" y="401"/>
                    <a:pt x="675" y="403"/>
                    <a:pt x="680" y="404"/>
                  </a:cubicBezTo>
                  <a:cubicBezTo>
                    <a:pt x="680" y="404"/>
                    <a:pt x="680" y="404"/>
                    <a:pt x="680" y="404"/>
                  </a:cubicBezTo>
                  <a:cubicBezTo>
                    <a:pt x="683" y="404"/>
                    <a:pt x="682" y="478"/>
                    <a:pt x="681" y="478"/>
                  </a:cubicBezTo>
                  <a:cubicBezTo>
                    <a:pt x="681" y="478"/>
                    <a:pt x="681" y="478"/>
                    <a:pt x="681" y="478"/>
                  </a:cubicBezTo>
                  <a:cubicBezTo>
                    <a:pt x="680" y="478"/>
                    <a:pt x="679" y="479"/>
                    <a:pt x="679" y="479"/>
                  </a:cubicBezTo>
                  <a:cubicBezTo>
                    <a:pt x="676" y="480"/>
                    <a:pt x="674" y="483"/>
                    <a:pt x="674" y="486"/>
                  </a:cubicBezTo>
                  <a:cubicBezTo>
                    <a:pt x="674" y="486"/>
                    <a:pt x="674" y="486"/>
                    <a:pt x="674" y="486"/>
                  </a:cubicBezTo>
                  <a:cubicBezTo>
                    <a:pt x="674" y="488"/>
                    <a:pt x="615" y="505"/>
                    <a:pt x="607" y="505"/>
                  </a:cubicBezTo>
                  <a:cubicBezTo>
                    <a:pt x="607" y="505"/>
                    <a:pt x="606" y="505"/>
                    <a:pt x="606" y="505"/>
                  </a:cubicBezTo>
                  <a:cubicBezTo>
                    <a:pt x="606" y="505"/>
                    <a:pt x="606" y="505"/>
                    <a:pt x="606" y="505"/>
                  </a:cubicBezTo>
                  <a:cubicBezTo>
                    <a:pt x="604" y="501"/>
                    <a:pt x="599" y="498"/>
                    <a:pt x="594" y="498"/>
                  </a:cubicBezTo>
                  <a:cubicBezTo>
                    <a:pt x="592" y="498"/>
                    <a:pt x="590" y="498"/>
                    <a:pt x="588" y="499"/>
                  </a:cubicBezTo>
                  <a:cubicBezTo>
                    <a:pt x="582" y="502"/>
                    <a:pt x="579" y="510"/>
                    <a:pt x="582" y="516"/>
                  </a:cubicBezTo>
                  <a:cubicBezTo>
                    <a:pt x="584" y="521"/>
                    <a:pt x="589" y="524"/>
                    <a:pt x="594" y="524"/>
                  </a:cubicBezTo>
                  <a:cubicBezTo>
                    <a:pt x="596" y="524"/>
                    <a:pt x="598" y="523"/>
                    <a:pt x="600" y="523"/>
                  </a:cubicBezTo>
                  <a:cubicBezTo>
                    <a:pt x="605" y="520"/>
                    <a:pt x="608" y="515"/>
                    <a:pt x="608" y="509"/>
                  </a:cubicBezTo>
                  <a:cubicBezTo>
                    <a:pt x="608" y="509"/>
                    <a:pt x="608" y="509"/>
                    <a:pt x="608" y="509"/>
                  </a:cubicBezTo>
                  <a:cubicBezTo>
                    <a:pt x="607" y="507"/>
                    <a:pt x="670" y="489"/>
                    <a:pt x="675" y="489"/>
                  </a:cubicBezTo>
                  <a:cubicBezTo>
                    <a:pt x="675" y="489"/>
                    <a:pt x="675" y="489"/>
                    <a:pt x="675" y="489"/>
                  </a:cubicBezTo>
                  <a:cubicBezTo>
                    <a:pt x="675" y="489"/>
                    <a:pt x="675" y="489"/>
                    <a:pt x="675" y="489"/>
                  </a:cubicBezTo>
                  <a:cubicBezTo>
                    <a:pt x="676" y="491"/>
                    <a:pt x="679" y="493"/>
                    <a:pt x="682" y="493"/>
                  </a:cubicBezTo>
                  <a:cubicBezTo>
                    <a:pt x="683" y="493"/>
                    <a:pt x="684" y="493"/>
                    <a:pt x="685" y="492"/>
                  </a:cubicBezTo>
                  <a:cubicBezTo>
                    <a:pt x="689" y="490"/>
                    <a:pt x="690" y="486"/>
                    <a:pt x="689" y="482"/>
                  </a:cubicBezTo>
                  <a:cubicBezTo>
                    <a:pt x="688" y="480"/>
                    <a:pt x="685" y="479"/>
                    <a:pt x="683" y="478"/>
                  </a:cubicBezTo>
                  <a:cubicBezTo>
                    <a:pt x="683" y="478"/>
                    <a:pt x="683" y="478"/>
                    <a:pt x="683" y="478"/>
                  </a:cubicBezTo>
                  <a:cubicBezTo>
                    <a:pt x="682" y="478"/>
                    <a:pt x="681" y="404"/>
                    <a:pt x="684" y="404"/>
                  </a:cubicBezTo>
                  <a:cubicBezTo>
                    <a:pt x="684" y="404"/>
                    <a:pt x="684" y="404"/>
                    <a:pt x="684" y="404"/>
                  </a:cubicBezTo>
                  <a:cubicBezTo>
                    <a:pt x="689" y="403"/>
                    <a:pt x="693" y="400"/>
                    <a:pt x="695" y="396"/>
                  </a:cubicBezTo>
                  <a:cubicBezTo>
                    <a:pt x="695" y="396"/>
                    <a:pt x="695" y="396"/>
                    <a:pt x="695" y="396"/>
                  </a:cubicBezTo>
                  <a:cubicBezTo>
                    <a:pt x="695" y="396"/>
                    <a:pt x="695" y="396"/>
                    <a:pt x="696" y="396"/>
                  </a:cubicBezTo>
                  <a:cubicBezTo>
                    <a:pt x="704" y="396"/>
                    <a:pt x="759" y="413"/>
                    <a:pt x="758" y="416"/>
                  </a:cubicBezTo>
                  <a:cubicBezTo>
                    <a:pt x="758" y="416"/>
                    <a:pt x="758" y="416"/>
                    <a:pt x="758" y="416"/>
                  </a:cubicBezTo>
                  <a:cubicBezTo>
                    <a:pt x="758" y="417"/>
                    <a:pt x="758" y="418"/>
                    <a:pt x="758" y="419"/>
                  </a:cubicBezTo>
                  <a:cubicBezTo>
                    <a:pt x="758" y="429"/>
                    <a:pt x="766" y="437"/>
                    <a:pt x="776" y="437"/>
                  </a:cubicBezTo>
                  <a:cubicBezTo>
                    <a:pt x="786" y="437"/>
                    <a:pt x="795" y="429"/>
                    <a:pt x="795" y="419"/>
                  </a:cubicBezTo>
                  <a:cubicBezTo>
                    <a:pt x="795" y="409"/>
                    <a:pt x="786" y="401"/>
                    <a:pt x="776" y="401"/>
                  </a:cubicBezTo>
                  <a:cubicBezTo>
                    <a:pt x="769" y="401"/>
                    <a:pt x="763" y="405"/>
                    <a:pt x="760" y="411"/>
                  </a:cubicBezTo>
                  <a:cubicBezTo>
                    <a:pt x="760" y="411"/>
                    <a:pt x="760" y="411"/>
                    <a:pt x="760" y="411"/>
                  </a:cubicBezTo>
                  <a:cubicBezTo>
                    <a:pt x="760" y="411"/>
                    <a:pt x="759" y="411"/>
                    <a:pt x="759" y="411"/>
                  </a:cubicBezTo>
                  <a:cubicBezTo>
                    <a:pt x="749" y="411"/>
                    <a:pt x="696" y="395"/>
                    <a:pt x="696" y="392"/>
                  </a:cubicBezTo>
                  <a:cubicBezTo>
                    <a:pt x="696" y="392"/>
                    <a:pt x="696" y="392"/>
                    <a:pt x="696" y="392"/>
                  </a:cubicBezTo>
                  <a:cubicBezTo>
                    <a:pt x="696" y="391"/>
                    <a:pt x="696" y="391"/>
                    <a:pt x="696" y="390"/>
                  </a:cubicBezTo>
                  <a:cubicBezTo>
                    <a:pt x="696" y="386"/>
                    <a:pt x="695" y="383"/>
                    <a:pt x="692" y="380"/>
                  </a:cubicBezTo>
                  <a:cubicBezTo>
                    <a:pt x="692" y="380"/>
                    <a:pt x="692" y="380"/>
                    <a:pt x="692" y="380"/>
                  </a:cubicBezTo>
                  <a:cubicBezTo>
                    <a:pt x="690" y="378"/>
                    <a:pt x="739" y="317"/>
                    <a:pt x="741" y="317"/>
                  </a:cubicBezTo>
                  <a:cubicBezTo>
                    <a:pt x="741" y="317"/>
                    <a:pt x="741" y="317"/>
                    <a:pt x="741" y="317"/>
                  </a:cubicBezTo>
                  <a:cubicBezTo>
                    <a:pt x="741" y="317"/>
                    <a:pt x="741" y="317"/>
                    <a:pt x="741" y="317"/>
                  </a:cubicBezTo>
                  <a:cubicBezTo>
                    <a:pt x="742" y="318"/>
                    <a:pt x="743" y="318"/>
                    <a:pt x="745" y="318"/>
                  </a:cubicBezTo>
                  <a:cubicBezTo>
                    <a:pt x="746" y="318"/>
                    <a:pt x="747" y="318"/>
                    <a:pt x="748" y="317"/>
                  </a:cubicBezTo>
                  <a:cubicBezTo>
                    <a:pt x="748" y="317"/>
                    <a:pt x="749" y="316"/>
                    <a:pt x="750" y="316"/>
                  </a:cubicBezTo>
                  <a:cubicBezTo>
                    <a:pt x="749" y="316"/>
                    <a:pt x="749" y="316"/>
                    <a:pt x="749" y="316"/>
                  </a:cubicBezTo>
                  <a:cubicBezTo>
                    <a:pt x="749" y="316"/>
                    <a:pt x="750" y="316"/>
                    <a:pt x="750" y="316"/>
                  </a:cubicBezTo>
                  <a:cubicBezTo>
                    <a:pt x="752" y="316"/>
                    <a:pt x="870" y="414"/>
                    <a:pt x="868" y="417"/>
                  </a:cubicBezTo>
                  <a:cubicBezTo>
                    <a:pt x="868" y="417"/>
                    <a:pt x="868" y="417"/>
                    <a:pt x="868" y="417"/>
                  </a:cubicBezTo>
                  <a:cubicBezTo>
                    <a:pt x="867" y="419"/>
                    <a:pt x="866" y="421"/>
                    <a:pt x="866" y="424"/>
                  </a:cubicBezTo>
                  <a:cubicBezTo>
                    <a:pt x="865" y="433"/>
                    <a:pt x="872" y="440"/>
                    <a:pt x="881" y="441"/>
                  </a:cubicBezTo>
                  <a:cubicBezTo>
                    <a:pt x="882" y="441"/>
                    <a:pt x="882" y="441"/>
                    <a:pt x="882" y="441"/>
                  </a:cubicBezTo>
                  <a:cubicBezTo>
                    <a:pt x="885" y="441"/>
                    <a:pt x="887" y="440"/>
                    <a:pt x="889" y="439"/>
                  </a:cubicBezTo>
                  <a:cubicBezTo>
                    <a:pt x="889" y="439"/>
                    <a:pt x="889" y="439"/>
                    <a:pt x="889" y="439"/>
                  </a:cubicBezTo>
                  <a:cubicBezTo>
                    <a:pt x="889" y="439"/>
                    <a:pt x="889" y="439"/>
                    <a:pt x="889" y="439"/>
                  </a:cubicBezTo>
                  <a:cubicBezTo>
                    <a:pt x="893" y="439"/>
                    <a:pt x="933" y="497"/>
                    <a:pt x="931" y="499"/>
                  </a:cubicBezTo>
                  <a:cubicBezTo>
                    <a:pt x="931" y="499"/>
                    <a:pt x="931" y="499"/>
                    <a:pt x="931" y="499"/>
                  </a:cubicBezTo>
                  <a:cubicBezTo>
                    <a:pt x="929" y="501"/>
                    <a:pt x="927" y="504"/>
                    <a:pt x="927" y="508"/>
                  </a:cubicBezTo>
                  <a:cubicBezTo>
                    <a:pt x="926" y="515"/>
                    <a:pt x="932" y="522"/>
                    <a:pt x="940" y="522"/>
                  </a:cubicBezTo>
                  <a:cubicBezTo>
                    <a:pt x="940" y="522"/>
                    <a:pt x="940" y="522"/>
                    <a:pt x="941" y="522"/>
                  </a:cubicBezTo>
                  <a:cubicBezTo>
                    <a:pt x="948" y="522"/>
                    <a:pt x="954" y="516"/>
                    <a:pt x="954" y="509"/>
                  </a:cubicBezTo>
                  <a:cubicBezTo>
                    <a:pt x="955" y="503"/>
                    <a:pt x="950" y="497"/>
                    <a:pt x="944" y="496"/>
                  </a:cubicBezTo>
                  <a:cubicBezTo>
                    <a:pt x="944" y="496"/>
                    <a:pt x="944" y="496"/>
                    <a:pt x="944" y="496"/>
                  </a:cubicBezTo>
                  <a:cubicBezTo>
                    <a:pt x="941" y="495"/>
                    <a:pt x="946" y="401"/>
                    <a:pt x="951" y="401"/>
                  </a:cubicBezTo>
                  <a:cubicBezTo>
                    <a:pt x="951" y="401"/>
                    <a:pt x="951" y="401"/>
                    <a:pt x="951" y="401"/>
                  </a:cubicBezTo>
                  <a:cubicBezTo>
                    <a:pt x="959" y="400"/>
                    <a:pt x="967" y="395"/>
                    <a:pt x="971" y="388"/>
                  </a:cubicBezTo>
                  <a:cubicBezTo>
                    <a:pt x="978" y="376"/>
                    <a:pt x="973" y="361"/>
                    <a:pt x="960" y="354"/>
                  </a:cubicBezTo>
                  <a:cubicBezTo>
                    <a:pt x="957" y="352"/>
                    <a:pt x="952" y="351"/>
                    <a:pt x="948" y="351"/>
                  </a:cubicBezTo>
                  <a:cubicBezTo>
                    <a:pt x="940" y="351"/>
                    <a:pt x="931" y="355"/>
                    <a:pt x="926" y="363"/>
                  </a:cubicBezTo>
                  <a:cubicBezTo>
                    <a:pt x="926" y="363"/>
                    <a:pt x="926" y="363"/>
                    <a:pt x="926" y="363"/>
                  </a:cubicBezTo>
                  <a:cubicBezTo>
                    <a:pt x="926" y="363"/>
                    <a:pt x="926" y="363"/>
                    <a:pt x="925" y="363"/>
                  </a:cubicBezTo>
                  <a:cubicBezTo>
                    <a:pt x="921" y="363"/>
                    <a:pt x="909" y="359"/>
                    <a:pt x="896" y="354"/>
                  </a:cubicBezTo>
                  <a:cubicBezTo>
                    <a:pt x="911" y="360"/>
                    <a:pt x="924" y="367"/>
                    <a:pt x="923" y="369"/>
                  </a:cubicBezTo>
                  <a:cubicBezTo>
                    <a:pt x="923" y="369"/>
                    <a:pt x="923" y="369"/>
                    <a:pt x="923" y="369"/>
                  </a:cubicBezTo>
                  <a:cubicBezTo>
                    <a:pt x="921" y="376"/>
                    <a:pt x="922" y="382"/>
                    <a:pt x="926" y="388"/>
                  </a:cubicBezTo>
                  <a:cubicBezTo>
                    <a:pt x="926" y="388"/>
                    <a:pt x="926" y="388"/>
                    <a:pt x="926" y="388"/>
                  </a:cubicBezTo>
                  <a:cubicBezTo>
                    <a:pt x="928" y="392"/>
                    <a:pt x="898" y="414"/>
                    <a:pt x="894" y="414"/>
                  </a:cubicBezTo>
                  <a:cubicBezTo>
                    <a:pt x="893" y="414"/>
                    <a:pt x="893" y="414"/>
                    <a:pt x="893" y="413"/>
                  </a:cubicBezTo>
                  <a:cubicBezTo>
                    <a:pt x="893" y="413"/>
                    <a:pt x="893" y="413"/>
                    <a:pt x="893" y="413"/>
                  </a:cubicBezTo>
                  <a:cubicBezTo>
                    <a:pt x="890" y="411"/>
                    <a:pt x="887" y="410"/>
                    <a:pt x="883" y="409"/>
                  </a:cubicBezTo>
                  <a:cubicBezTo>
                    <a:pt x="883" y="409"/>
                    <a:pt x="882" y="409"/>
                    <a:pt x="882" y="409"/>
                  </a:cubicBezTo>
                  <a:cubicBezTo>
                    <a:pt x="878" y="409"/>
                    <a:pt x="874" y="411"/>
                    <a:pt x="871" y="413"/>
                  </a:cubicBezTo>
                  <a:cubicBezTo>
                    <a:pt x="871" y="413"/>
                    <a:pt x="871" y="413"/>
                    <a:pt x="871" y="413"/>
                  </a:cubicBezTo>
                  <a:cubicBezTo>
                    <a:pt x="871" y="413"/>
                    <a:pt x="871" y="413"/>
                    <a:pt x="871" y="413"/>
                  </a:cubicBezTo>
                  <a:cubicBezTo>
                    <a:pt x="867" y="413"/>
                    <a:pt x="750" y="316"/>
                    <a:pt x="751" y="314"/>
                  </a:cubicBezTo>
                  <a:cubicBezTo>
                    <a:pt x="751" y="314"/>
                    <a:pt x="751" y="314"/>
                    <a:pt x="751" y="314"/>
                  </a:cubicBezTo>
                  <a:cubicBezTo>
                    <a:pt x="752" y="312"/>
                    <a:pt x="753" y="310"/>
                    <a:pt x="752" y="307"/>
                  </a:cubicBezTo>
                  <a:cubicBezTo>
                    <a:pt x="750" y="305"/>
                    <a:pt x="747" y="303"/>
                    <a:pt x="745" y="303"/>
                  </a:cubicBezTo>
                  <a:cubicBezTo>
                    <a:pt x="744" y="303"/>
                    <a:pt x="742" y="303"/>
                    <a:pt x="741" y="304"/>
                  </a:cubicBezTo>
                  <a:cubicBezTo>
                    <a:pt x="740" y="305"/>
                    <a:pt x="738" y="306"/>
                    <a:pt x="738" y="307"/>
                  </a:cubicBezTo>
                  <a:cubicBezTo>
                    <a:pt x="738" y="307"/>
                    <a:pt x="738" y="307"/>
                    <a:pt x="738" y="307"/>
                  </a:cubicBezTo>
                  <a:cubicBezTo>
                    <a:pt x="738" y="307"/>
                    <a:pt x="738" y="307"/>
                    <a:pt x="737" y="307"/>
                  </a:cubicBezTo>
                  <a:cubicBezTo>
                    <a:pt x="732" y="307"/>
                    <a:pt x="656" y="287"/>
                    <a:pt x="657" y="284"/>
                  </a:cubicBezTo>
                  <a:cubicBezTo>
                    <a:pt x="657" y="285"/>
                    <a:pt x="657" y="285"/>
                    <a:pt x="657" y="285"/>
                  </a:cubicBezTo>
                  <a:cubicBezTo>
                    <a:pt x="657" y="284"/>
                    <a:pt x="657" y="283"/>
                    <a:pt x="657" y="283"/>
                  </a:cubicBezTo>
                  <a:cubicBezTo>
                    <a:pt x="657" y="280"/>
                    <a:pt x="656" y="278"/>
                    <a:pt x="655" y="275"/>
                  </a:cubicBezTo>
                  <a:cubicBezTo>
                    <a:pt x="653" y="273"/>
                    <a:pt x="710" y="233"/>
                    <a:pt x="712" y="233"/>
                  </a:cubicBezTo>
                  <a:cubicBezTo>
                    <a:pt x="712" y="233"/>
                    <a:pt x="712" y="233"/>
                    <a:pt x="712" y="233"/>
                  </a:cubicBezTo>
                  <a:cubicBezTo>
                    <a:pt x="712" y="233"/>
                    <a:pt x="712" y="233"/>
                    <a:pt x="712" y="233"/>
                  </a:cubicBezTo>
                  <a:cubicBezTo>
                    <a:pt x="714" y="234"/>
                    <a:pt x="716" y="235"/>
                    <a:pt x="718" y="235"/>
                  </a:cubicBezTo>
                  <a:cubicBezTo>
                    <a:pt x="719" y="235"/>
                    <a:pt x="720" y="235"/>
                    <a:pt x="721" y="234"/>
                  </a:cubicBezTo>
                  <a:cubicBezTo>
                    <a:pt x="725" y="233"/>
                    <a:pt x="726" y="228"/>
                    <a:pt x="724" y="225"/>
                  </a:cubicBezTo>
                  <a:cubicBezTo>
                    <a:pt x="723" y="222"/>
                    <a:pt x="720" y="220"/>
                    <a:pt x="718" y="220"/>
                  </a:cubicBezTo>
                  <a:cubicBezTo>
                    <a:pt x="716" y="220"/>
                    <a:pt x="715" y="221"/>
                    <a:pt x="714" y="221"/>
                  </a:cubicBezTo>
                  <a:cubicBezTo>
                    <a:pt x="713" y="222"/>
                    <a:pt x="713" y="222"/>
                    <a:pt x="713" y="222"/>
                  </a:cubicBezTo>
                  <a:cubicBezTo>
                    <a:pt x="713" y="222"/>
                    <a:pt x="713" y="222"/>
                    <a:pt x="713" y="222"/>
                  </a:cubicBezTo>
                  <a:cubicBezTo>
                    <a:pt x="713" y="222"/>
                    <a:pt x="713" y="222"/>
                    <a:pt x="713" y="222"/>
                  </a:cubicBezTo>
                  <a:cubicBezTo>
                    <a:pt x="713" y="222"/>
                    <a:pt x="711" y="220"/>
                    <a:pt x="708" y="218"/>
                  </a:cubicBezTo>
                  <a:cubicBezTo>
                    <a:pt x="735" y="191"/>
                    <a:pt x="763" y="165"/>
                    <a:pt x="764" y="165"/>
                  </a:cubicBezTo>
                  <a:cubicBezTo>
                    <a:pt x="764" y="165"/>
                    <a:pt x="764" y="165"/>
                    <a:pt x="764" y="165"/>
                  </a:cubicBezTo>
                  <a:cubicBezTo>
                    <a:pt x="764" y="165"/>
                    <a:pt x="764" y="165"/>
                    <a:pt x="764" y="165"/>
                  </a:cubicBezTo>
                  <a:cubicBezTo>
                    <a:pt x="765" y="166"/>
                    <a:pt x="767" y="167"/>
                    <a:pt x="768" y="167"/>
                  </a:cubicBezTo>
                  <a:cubicBezTo>
                    <a:pt x="769" y="167"/>
                    <a:pt x="769" y="167"/>
                    <a:pt x="770" y="166"/>
                  </a:cubicBezTo>
                  <a:cubicBezTo>
                    <a:pt x="770" y="167"/>
                    <a:pt x="770" y="167"/>
                    <a:pt x="770" y="167"/>
                  </a:cubicBezTo>
                  <a:cubicBezTo>
                    <a:pt x="770" y="167"/>
                    <a:pt x="770" y="167"/>
                    <a:pt x="770" y="167"/>
                  </a:cubicBezTo>
                  <a:cubicBezTo>
                    <a:pt x="772" y="167"/>
                    <a:pt x="805" y="248"/>
                    <a:pt x="802" y="250"/>
                  </a:cubicBezTo>
                  <a:cubicBezTo>
                    <a:pt x="802" y="250"/>
                    <a:pt x="802" y="250"/>
                    <a:pt x="802" y="250"/>
                  </a:cubicBezTo>
                  <a:cubicBezTo>
                    <a:pt x="793" y="254"/>
                    <a:pt x="790" y="265"/>
                    <a:pt x="794" y="273"/>
                  </a:cubicBezTo>
                  <a:cubicBezTo>
                    <a:pt x="797" y="280"/>
                    <a:pt x="804" y="284"/>
                    <a:pt x="811" y="284"/>
                  </a:cubicBezTo>
                  <a:cubicBezTo>
                    <a:pt x="814" y="284"/>
                    <a:pt x="817" y="283"/>
                    <a:pt x="819" y="282"/>
                  </a:cubicBezTo>
                  <a:cubicBezTo>
                    <a:pt x="829" y="278"/>
                    <a:pt x="833" y="267"/>
                    <a:pt x="828" y="258"/>
                  </a:cubicBezTo>
                  <a:cubicBezTo>
                    <a:pt x="827" y="255"/>
                    <a:pt x="825" y="253"/>
                    <a:pt x="822" y="251"/>
                  </a:cubicBezTo>
                  <a:cubicBezTo>
                    <a:pt x="823" y="251"/>
                    <a:pt x="823" y="251"/>
                    <a:pt x="823" y="251"/>
                  </a:cubicBezTo>
                  <a:cubicBezTo>
                    <a:pt x="820" y="249"/>
                    <a:pt x="844" y="209"/>
                    <a:pt x="845" y="209"/>
                  </a:cubicBezTo>
                  <a:cubicBezTo>
                    <a:pt x="845" y="209"/>
                    <a:pt x="845" y="209"/>
                    <a:pt x="845" y="209"/>
                  </a:cubicBezTo>
                  <a:cubicBezTo>
                    <a:pt x="845" y="209"/>
                    <a:pt x="845" y="209"/>
                    <a:pt x="845" y="209"/>
                  </a:cubicBezTo>
                  <a:cubicBezTo>
                    <a:pt x="846" y="209"/>
                    <a:pt x="847" y="209"/>
                    <a:pt x="848" y="209"/>
                  </a:cubicBezTo>
                  <a:cubicBezTo>
                    <a:pt x="849" y="209"/>
                    <a:pt x="850" y="209"/>
                    <a:pt x="851" y="208"/>
                  </a:cubicBezTo>
                  <a:cubicBezTo>
                    <a:pt x="855" y="207"/>
                    <a:pt x="857" y="202"/>
                    <a:pt x="855" y="199"/>
                  </a:cubicBezTo>
                  <a:cubicBezTo>
                    <a:pt x="854" y="197"/>
                    <a:pt x="852" y="195"/>
                    <a:pt x="850" y="195"/>
                  </a:cubicBezTo>
                  <a:cubicBezTo>
                    <a:pt x="850" y="195"/>
                    <a:pt x="850" y="195"/>
                    <a:pt x="850" y="195"/>
                  </a:cubicBezTo>
                  <a:cubicBezTo>
                    <a:pt x="849" y="194"/>
                    <a:pt x="852" y="155"/>
                    <a:pt x="856" y="155"/>
                  </a:cubicBezTo>
                  <a:cubicBezTo>
                    <a:pt x="856" y="155"/>
                    <a:pt x="856" y="155"/>
                    <a:pt x="856" y="155"/>
                  </a:cubicBezTo>
                  <a:cubicBezTo>
                    <a:pt x="859" y="155"/>
                    <a:pt x="862" y="154"/>
                    <a:pt x="864" y="153"/>
                  </a:cubicBezTo>
                  <a:cubicBezTo>
                    <a:pt x="864" y="153"/>
                    <a:pt x="864" y="153"/>
                    <a:pt x="864" y="153"/>
                  </a:cubicBezTo>
                  <a:cubicBezTo>
                    <a:pt x="864" y="153"/>
                    <a:pt x="864" y="153"/>
                    <a:pt x="864" y="153"/>
                  </a:cubicBezTo>
                  <a:cubicBezTo>
                    <a:pt x="869" y="153"/>
                    <a:pt x="917" y="215"/>
                    <a:pt x="914" y="217"/>
                  </a:cubicBezTo>
                  <a:cubicBezTo>
                    <a:pt x="915" y="217"/>
                    <a:pt x="915" y="217"/>
                    <a:pt x="915" y="217"/>
                  </a:cubicBezTo>
                  <a:cubicBezTo>
                    <a:pt x="910" y="222"/>
                    <a:pt x="909" y="228"/>
                    <a:pt x="912" y="234"/>
                  </a:cubicBezTo>
                  <a:cubicBezTo>
                    <a:pt x="913" y="236"/>
                    <a:pt x="914" y="238"/>
                    <a:pt x="916" y="239"/>
                  </a:cubicBezTo>
                  <a:cubicBezTo>
                    <a:pt x="915" y="239"/>
                    <a:pt x="915" y="239"/>
                    <a:pt x="915" y="239"/>
                  </a:cubicBezTo>
                  <a:cubicBezTo>
                    <a:pt x="918" y="241"/>
                    <a:pt x="860" y="330"/>
                    <a:pt x="858" y="330"/>
                  </a:cubicBezTo>
                  <a:cubicBezTo>
                    <a:pt x="858" y="330"/>
                    <a:pt x="858" y="330"/>
                    <a:pt x="858" y="330"/>
                  </a:cubicBezTo>
                  <a:cubicBezTo>
                    <a:pt x="858" y="330"/>
                    <a:pt x="858" y="330"/>
                    <a:pt x="858" y="330"/>
                  </a:cubicBezTo>
                  <a:cubicBezTo>
                    <a:pt x="857" y="329"/>
                    <a:pt x="856" y="329"/>
                    <a:pt x="855" y="329"/>
                  </a:cubicBezTo>
                  <a:cubicBezTo>
                    <a:pt x="854" y="329"/>
                    <a:pt x="853" y="329"/>
                    <a:pt x="852" y="330"/>
                  </a:cubicBezTo>
                  <a:cubicBezTo>
                    <a:pt x="848" y="332"/>
                    <a:pt x="847" y="336"/>
                    <a:pt x="848" y="340"/>
                  </a:cubicBezTo>
                  <a:cubicBezTo>
                    <a:pt x="850" y="342"/>
                    <a:pt x="852" y="344"/>
                    <a:pt x="855" y="344"/>
                  </a:cubicBezTo>
                  <a:cubicBezTo>
                    <a:pt x="856" y="344"/>
                    <a:pt x="858" y="344"/>
                    <a:pt x="859" y="343"/>
                  </a:cubicBezTo>
                  <a:cubicBezTo>
                    <a:pt x="860" y="343"/>
                    <a:pt x="861" y="342"/>
                    <a:pt x="862" y="341"/>
                  </a:cubicBezTo>
                  <a:cubicBezTo>
                    <a:pt x="862" y="341"/>
                    <a:pt x="862" y="341"/>
                    <a:pt x="862" y="341"/>
                  </a:cubicBezTo>
                  <a:cubicBezTo>
                    <a:pt x="862" y="341"/>
                    <a:pt x="862" y="341"/>
                    <a:pt x="862" y="341"/>
                  </a:cubicBezTo>
                  <a:cubicBezTo>
                    <a:pt x="863" y="341"/>
                    <a:pt x="873" y="344"/>
                    <a:pt x="884" y="349"/>
                  </a:cubicBezTo>
                  <a:cubicBezTo>
                    <a:pt x="872" y="344"/>
                    <a:pt x="863" y="339"/>
                    <a:pt x="863" y="338"/>
                  </a:cubicBezTo>
                  <a:cubicBezTo>
                    <a:pt x="863" y="338"/>
                    <a:pt x="863" y="338"/>
                    <a:pt x="863" y="338"/>
                  </a:cubicBezTo>
                  <a:cubicBezTo>
                    <a:pt x="863" y="337"/>
                    <a:pt x="863" y="335"/>
                    <a:pt x="862" y="333"/>
                  </a:cubicBezTo>
                  <a:cubicBezTo>
                    <a:pt x="862" y="332"/>
                    <a:pt x="861" y="332"/>
                    <a:pt x="860" y="331"/>
                  </a:cubicBezTo>
                  <a:cubicBezTo>
                    <a:pt x="860" y="331"/>
                    <a:pt x="860" y="331"/>
                    <a:pt x="860" y="331"/>
                  </a:cubicBezTo>
                  <a:cubicBezTo>
                    <a:pt x="859" y="330"/>
                    <a:pt x="916" y="241"/>
                    <a:pt x="919" y="241"/>
                  </a:cubicBezTo>
                  <a:cubicBezTo>
                    <a:pt x="919" y="241"/>
                    <a:pt x="919" y="241"/>
                    <a:pt x="919" y="241"/>
                  </a:cubicBezTo>
                  <a:cubicBezTo>
                    <a:pt x="919" y="241"/>
                    <a:pt x="919" y="241"/>
                    <a:pt x="919" y="241"/>
                  </a:cubicBezTo>
                  <a:cubicBezTo>
                    <a:pt x="921" y="242"/>
                    <a:pt x="923" y="242"/>
                    <a:pt x="925" y="242"/>
                  </a:cubicBezTo>
                  <a:cubicBezTo>
                    <a:pt x="928" y="242"/>
                    <a:pt x="930" y="242"/>
                    <a:pt x="932" y="241"/>
                  </a:cubicBezTo>
                  <a:cubicBezTo>
                    <a:pt x="939" y="238"/>
                    <a:pt x="942" y="230"/>
                    <a:pt x="940" y="223"/>
                  </a:cubicBezTo>
                  <a:cubicBezTo>
                    <a:pt x="940" y="223"/>
                    <a:pt x="940" y="223"/>
                    <a:pt x="940" y="223"/>
                  </a:cubicBezTo>
                  <a:cubicBezTo>
                    <a:pt x="939" y="220"/>
                    <a:pt x="990" y="192"/>
                    <a:pt x="999" y="192"/>
                  </a:cubicBezTo>
                  <a:cubicBezTo>
                    <a:pt x="999" y="192"/>
                    <a:pt x="999" y="192"/>
                    <a:pt x="1000" y="192"/>
                  </a:cubicBezTo>
                  <a:cubicBezTo>
                    <a:pt x="1000" y="192"/>
                    <a:pt x="1000" y="192"/>
                    <a:pt x="1000" y="192"/>
                  </a:cubicBezTo>
                  <a:cubicBezTo>
                    <a:pt x="1003" y="196"/>
                    <a:pt x="1008" y="200"/>
                    <a:pt x="1013" y="201"/>
                  </a:cubicBezTo>
                  <a:cubicBezTo>
                    <a:pt x="1013" y="201"/>
                    <a:pt x="1013" y="201"/>
                    <a:pt x="1013" y="201"/>
                  </a:cubicBezTo>
                  <a:cubicBezTo>
                    <a:pt x="1018" y="202"/>
                    <a:pt x="1008" y="276"/>
                    <a:pt x="1004" y="276"/>
                  </a:cubicBezTo>
                  <a:cubicBezTo>
                    <a:pt x="1004" y="276"/>
                    <a:pt x="1004" y="276"/>
                    <a:pt x="1004" y="276"/>
                  </a:cubicBezTo>
                  <a:cubicBezTo>
                    <a:pt x="993" y="277"/>
                    <a:pt x="984" y="286"/>
                    <a:pt x="984" y="297"/>
                  </a:cubicBezTo>
                  <a:cubicBezTo>
                    <a:pt x="984" y="308"/>
                    <a:pt x="994" y="317"/>
                    <a:pt x="1005" y="317"/>
                  </a:cubicBezTo>
                  <a:cubicBezTo>
                    <a:pt x="1017" y="317"/>
                    <a:pt x="1026" y="308"/>
                    <a:pt x="1026" y="297"/>
                  </a:cubicBezTo>
                  <a:cubicBezTo>
                    <a:pt x="1026" y="295"/>
                    <a:pt x="1026" y="293"/>
                    <a:pt x="1025" y="291"/>
                  </a:cubicBezTo>
                  <a:cubicBezTo>
                    <a:pt x="1025" y="291"/>
                    <a:pt x="1025" y="291"/>
                    <a:pt x="1025" y="291"/>
                  </a:cubicBezTo>
                  <a:cubicBezTo>
                    <a:pt x="1024" y="287"/>
                    <a:pt x="1073" y="268"/>
                    <a:pt x="1076" y="268"/>
                  </a:cubicBezTo>
                  <a:cubicBezTo>
                    <a:pt x="1076" y="268"/>
                    <a:pt x="1076" y="268"/>
                    <a:pt x="1076" y="268"/>
                  </a:cubicBezTo>
                  <a:cubicBezTo>
                    <a:pt x="1076" y="268"/>
                    <a:pt x="1076" y="268"/>
                    <a:pt x="1076" y="268"/>
                  </a:cubicBezTo>
                  <a:cubicBezTo>
                    <a:pt x="1078" y="270"/>
                    <a:pt x="1080" y="271"/>
                    <a:pt x="1083" y="271"/>
                  </a:cubicBezTo>
                  <a:cubicBezTo>
                    <a:pt x="1083" y="271"/>
                    <a:pt x="1084" y="271"/>
                    <a:pt x="1085" y="271"/>
                  </a:cubicBezTo>
                  <a:cubicBezTo>
                    <a:pt x="1085" y="271"/>
                    <a:pt x="1085" y="271"/>
                    <a:pt x="1085" y="271"/>
                  </a:cubicBezTo>
                  <a:cubicBezTo>
                    <a:pt x="1085" y="271"/>
                    <a:pt x="1085" y="271"/>
                    <a:pt x="1085" y="271"/>
                  </a:cubicBezTo>
                  <a:cubicBezTo>
                    <a:pt x="1085" y="271"/>
                    <a:pt x="1090" y="279"/>
                    <a:pt x="1095" y="290"/>
                  </a:cubicBezTo>
                  <a:cubicBezTo>
                    <a:pt x="1090" y="279"/>
                    <a:pt x="1087" y="270"/>
                    <a:pt x="1087" y="270"/>
                  </a:cubicBezTo>
                  <a:cubicBezTo>
                    <a:pt x="1087" y="270"/>
                    <a:pt x="1087" y="270"/>
                    <a:pt x="1087" y="270"/>
                  </a:cubicBezTo>
                  <a:cubicBezTo>
                    <a:pt x="1090" y="268"/>
                    <a:pt x="1091" y="264"/>
                    <a:pt x="1090" y="261"/>
                  </a:cubicBezTo>
                  <a:cubicBezTo>
                    <a:pt x="1088" y="258"/>
                    <a:pt x="1086" y="257"/>
                    <a:pt x="1083" y="257"/>
                  </a:cubicBezTo>
                  <a:cubicBezTo>
                    <a:pt x="1082" y="257"/>
                    <a:pt x="1080" y="257"/>
                    <a:pt x="1079" y="257"/>
                  </a:cubicBezTo>
                  <a:cubicBezTo>
                    <a:pt x="1076" y="259"/>
                    <a:pt x="1074" y="262"/>
                    <a:pt x="1075" y="266"/>
                  </a:cubicBezTo>
                  <a:cubicBezTo>
                    <a:pt x="1075" y="266"/>
                    <a:pt x="1075" y="266"/>
                    <a:pt x="1075" y="266"/>
                  </a:cubicBezTo>
                  <a:cubicBezTo>
                    <a:pt x="1076" y="267"/>
                    <a:pt x="1032" y="286"/>
                    <a:pt x="1024" y="286"/>
                  </a:cubicBezTo>
                  <a:cubicBezTo>
                    <a:pt x="1024" y="286"/>
                    <a:pt x="1023" y="286"/>
                    <a:pt x="1023" y="286"/>
                  </a:cubicBezTo>
                  <a:cubicBezTo>
                    <a:pt x="1023" y="286"/>
                    <a:pt x="1023" y="286"/>
                    <a:pt x="1023" y="286"/>
                  </a:cubicBezTo>
                  <a:cubicBezTo>
                    <a:pt x="1020" y="282"/>
                    <a:pt x="1016" y="279"/>
                    <a:pt x="1011" y="277"/>
                  </a:cubicBezTo>
                  <a:cubicBezTo>
                    <a:pt x="1011" y="277"/>
                    <a:pt x="1011" y="277"/>
                    <a:pt x="1011" y="277"/>
                  </a:cubicBezTo>
                  <a:cubicBezTo>
                    <a:pt x="1007" y="276"/>
                    <a:pt x="1016" y="202"/>
                    <a:pt x="1021" y="202"/>
                  </a:cubicBezTo>
                  <a:cubicBezTo>
                    <a:pt x="1021" y="202"/>
                    <a:pt x="1021" y="202"/>
                    <a:pt x="1021" y="202"/>
                  </a:cubicBezTo>
                  <a:cubicBezTo>
                    <a:pt x="1031" y="201"/>
                    <a:pt x="1040" y="195"/>
                    <a:pt x="1044" y="186"/>
                  </a:cubicBezTo>
                  <a:cubicBezTo>
                    <a:pt x="1044" y="184"/>
                    <a:pt x="1046" y="184"/>
                    <a:pt x="1048" y="184"/>
                  </a:cubicBezTo>
                  <a:cubicBezTo>
                    <a:pt x="1048" y="184"/>
                    <a:pt x="1048" y="184"/>
                    <a:pt x="1048" y="184"/>
                  </a:cubicBezTo>
                  <a:cubicBezTo>
                    <a:pt x="1046" y="183"/>
                    <a:pt x="1045" y="182"/>
                    <a:pt x="1045" y="180"/>
                  </a:cubicBezTo>
                  <a:cubicBezTo>
                    <a:pt x="1045" y="180"/>
                    <a:pt x="1045" y="180"/>
                    <a:pt x="1045" y="180"/>
                  </a:cubicBezTo>
                  <a:cubicBezTo>
                    <a:pt x="1045" y="179"/>
                    <a:pt x="1045" y="178"/>
                    <a:pt x="1045" y="178"/>
                  </a:cubicBezTo>
                  <a:cubicBezTo>
                    <a:pt x="1045" y="172"/>
                    <a:pt x="1043" y="167"/>
                    <a:pt x="1040" y="163"/>
                  </a:cubicBezTo>
                  <a:cubicBezTo>
                    <a:pt x="1040" y="163"/>
                    <a:pt x="1040" y="163"/>
                    <a:pt x="1040" y="163"/>
                  </a:cubicBezTo>
                  <a:cubicBezTo>
                    <a:pt x="1037" y="159"/>
                    <a:pt x="1115" y="80"/>
                    <a:pt x="1121" y="78"/>
                  </a:cubicBezTo>
                  <a:cubicBezTo>
                    <a:pt x="1120" y="84"/>
                    <a:pt x="1068" y="180"/>
                    <a:pt x="1067" y="180"/>
                  </a:cubicBezTo>
                  <a:cubicBezTo>
                    <a:pt x="1067" y="180"/>
                    <a:pt x="1067" y="180"/>
                    <a:pt x="1067" y="180"/>
                  </a:cubicBezTo>
                  <a:cubicBezTo>
                    <a:pt x="1067" y="180"/>
                    <a:pt x="1067" y="180"/>
                    <a:pt x="1067" y="180"/>
                  </a:cubicBezTo>
                  <a:cubicBezTo>
                    <a:pt x="1066" y="180"/>
                    <a:pt x="1065" y="180"/>
                    <a:pt x="1064" y="180"/>
                  </a:cubicBezTo>
                  <a:cubicBezTo>
                    <a:pt x="1061" y="180"/>
                    <a:pt x="1059" y="182"/>
                    <a:pt x="1058" y="184"/>
                  </a:cubicBezTo>
                  <a:cubicBezTo>
                    <a:pt x="1058" y="184"/>
                    <a:pt x="1058" y="184"/>
                    <a:pt x="1058" y="184"/>
                  </a:cubicBezTo>
                  <a:cubicBezTo>
                    <a:pt x="1057" y="185"/>
                    <a:pt x="1056" y="185"/>
                    <a:pt x="1055" y="185"/>
                  </a:cubicBezTo>
                  <a:cubicBezTo>
                    <a:pt x="1054" y="185"/>
                    <a:pt x="1054" y="185"/>
                    <a:pt x="1053" y="185"/>
                  </a:cubicBezTo>
                  <a:cubicBezTo>
                    <a:pt x="1055" y="186"/>
                    <a:pt x="1057" y="187"/>
                    <a:pt x="1057" y="187"/>
                  </a:cubicBezTo>
                  <a:cubicBezTo>
                    <a:pt x="1057" y="187"/>
                    <a:pt x="1057" y="187"/>
                    <a:pt x="1057" y="187"/>
                  </a:cubicBezTo>
                  <a:cubicBezTo>
                    <a:pt x="1057" y="187"/>
                    <a:pt x="1057" y="187"/>
                    <a:pt x="1057" y="187"/>
                  </a:cubicBezTo>
                  <a:cubicBezTo>
                    <a:pt x="1057" y="191"/>
                    <a:pt x="1060" y="195"/>
                    <a:pt x="1064" y="195"/>
                  </a:cubicBezTo>
                  <a:cubicBezTo>
                    <a:pt x="1066" y="195"/>
                    <a:pt x="1067" y="194"/>
                    <a:pt x="1069" y="194"/>
                  </a:cubicBezTo>
                  <a:cubicBezTo>
                    <a:pt x="1069" y="194"/>
                    <a:pt x="1069" y="194"/>
                    <a:pt x="1069" y="194"/>
                  </a:cubicBezTo>
                  <a:cubicBezTo>
                    <a:pt x="1069" y="194"/>
                    <a:pt x="1069" y="194"/>
                    <a:pt x="1069" y="194"/>
                  </a:cubicBezTo>
                  <a:cubicBezTo>
                    <a:pt x="1070" y="194"/>
                    <a:pt x="1093" y="219"/>
                    <a:pt x="1093" y="220"/>
                  </a:cubicBezTo>
                  <a:cubicBezTo>
                    <a:pt x="1093" y="220"/>
                    <a:pt x="1093" y="220"/>
                    <a:pt x="1093" y="220"/>
                  </a:cubicBezTo>
                  <a:cubicBezTo>
                    <a:pt x="1092" y="221"/>
                    <a:pt x="1091" y="222"/>
                    <a:pt x="1092" y="224"/>
                  </a:cubicBezTo>
                  <a:cubicBezTo>
                    <a:pt x="1093" y="225"/>
                    <a:pt x="1094" y="226"/>
                    <a:pt x="1096" y="226"/>
                  </a:cubicBezTo>
                  <a:cubicBezTo>
                    <a:pt x="1096" y="226"/>
                    <a:pt x="1097" y="226"/>
                    <a:pt x="1097" y="226"/>
                  </a:cubicBezTo>
                  <a:cubicBezTo>
                    <a:pt x="1099" y="225"/>
                    <a:pt x="1100" y="222"/>
                    <a:pt x="1099" y="221"/>
                  </a:cubicBezTo>
                  <a:cubicBezTo>
                    <a:pt x="1099" y="220"/>
                    <a:pt x="1099" y="220"/>
                    <a:pt x="1099" y="220"/>
                  </a:cubicBezTo>
                  <a:cubicBezTo>
                    <a:pt x="1099" y="220"/>
                    <a:pt x="1099" y="220"/>
                    <a:pt x="1099" y="220"/>
                  </a:cubicBezTo>
                  <a:cubicBezTo>
                    <a:pt x="1099" y="220"/>
                    <a:pt x="1130" y="196"/>
                    <a:pt x="1132" y="196"/>
                  </a:cubicBezTo>
                  <a:cubicBezTo>
                    <a:pt x="1132" y="196"/>
                    <a:pt x="1132" y="196"/>
                    <a:pt x="1132" y="196"/>
                  </a:cubicBezTo>
                  <a:cubicBezTo>
                    <a:pt x="1132" y="196"/>
                    <a:pt x="1132" y="196"/>
                    <a:pt x="1132" y="196"/>
                  </a:cubicBezTo>
                  <a:cubicBezTo>
                    <a:pt x="1133" y="197"/>
                    <a:pt x="1134" y="197"/>
                    <a:pt x="1136" y="197"/>
                  </a:cubicBezTo>
                  <a:cubicBezTo>
                    <a:pt x="1136" y="197"/>
                    <a:pt x="1137" y="197"/>
                    <a:pt x="1138" y="197"/>
                  </a:cubicBezTo>
                  <a:cubicBezTo>
                    <a:pt x="1138" y="197"/>
                    <a:pt x="1138" y="197"/>
                    <a:pt x="1138" y="197"/>
                  </a:cubicBezTo>
                  <a:cubicBezTo>
                    <a:pt x="1138" y="197"/>
                    <a:pt x="1138" y="197"/>
                    <a:pt x="1138" y="197"/>
                  </a:cubicBezTo>
                  <a:cubicBezTo>
                    <a:pt x="1139" y="197"/>
                    <a:pt x="1171" y="245"/>
                    <a:pt x="1169" y="247"/>
                  </a:cubicBezTo>
                  <a:cubicBezTo>
                    <a:pt x="1169" y="247"/>
                    <a:pt x="1169" y="247"/>
                    <a:pt x="1169" y="247"/>
                  </a:cubicBezTo>
                  <a:cubicBezTo>
                    <a:pt x="1164" y="251"/>
                    <a:pt x="1162" y="258"/>
                    <a:pt x="1165" y="264"/>
                  </a:cubicBezTo>
                  <a:cubicBezTo>
                    <a:pt x="1168" y="269"/>
                    <a:pt x="1173" y="272"/>
                    <a:pt x="1179" y="272"/>
                  </a:cubicBezTo>
                  <a:cubicBezTo>
                    <a:pt x="1181" y="272"/>
                    <a:pt x="1183" y="272"/>
                    <a:pt x="1185" y="271"/>
                  </a:cubicBezTo>
                  <a:cubicBezTo>
                    <a:pt x="1193" y="268"/>
                    <a:pt x="1196" y="259"/>
                    <a:pt x="1192" y="252"/>
                  </a:cubicBezTo>
                  <a:cubicBezTo>
                    <a:pt x="1190" y="246"/>
                    <a:pt x="1184" y="243"/>
                    <a:pt x="1179" y="243"/>
                  </a:cubicBezTo>
                  <a:cubicBezTo>
                    <a:pt x="1177" y="243"/>
                    <a:pt x="1175" y="244"/>
                    <a:pt x="1173" y="245"/>
                  </a:cubicBezTo>
                  <a:cubicBezTo>
                    <a:pt x="1173" y="245"/>
                    <a:pt x="1173" y="245"/>
                    <a:pt x="1173" y="245"/>
                  </a:cubicBezTo>
                  <a:cubicBezTo>
                    <a:pt x="1173" y="245"/>
                    <a:pt x="1173" y="245"/>
                    <a:pt x="1173" y="245"/>
                  </a:cubicBezTo>
                  <a:cubicBezTo>
                    <a:pt x="1169" y="245"/>
                    <a:pt x="1138" y="197"/>
                    <a:pt x="1139" y="196"/>
                  </a:cubicBezTo>
                  <a:cubicBezTo>
                    <a:pt x="1139" y="196"/>
                    <a:pt x="1139" y="196"/>
                    <a:pt x="1139" y="196"/>
                  </a:cubicBezTo>
                  <a:cubicBezTo>
                    <a:pt x="1140" y="195"/>
                    <a:pt x="1141" y="194"/>
                    <a:pt x="1141" y="192"/>
                  </a:cubicBezTo>
                  <a:cubicBezTo>
                    <a:pt x="1141" y="190"/>
                    <a:pt x="1139" y="187"/>
                    <a:pt x="1136" y="187"/>
                  </a:cubicBezTo>
                  <a:cubicBezTo>
                    <a:pt x="1133" y="187"/>
                    <a:pt x="1131" y="189"/>
                    <a:pt x="1131" y="191"/>
                  </a:cubicBezTo>
                  <a:cubicBezTo>
                    <a:pt x="1131" y="191"/>
                    <a:pt x="1131" y="191"/>
                    <a:pt x="1131" y="191"/>
                  </a:cubicBezTo>
                  <a:cubicBezTo>
                    <a:pt x="1131" y="191"/>
                    <a:pt x="1130" y="191"/>
                    <a:pt x="1129" y="191"/>
                  </a:cubicBezTo>
                  <a:cubicBezTo>
                    <a:pt x="1119" y="191"/>
                    <a:pt x="1072" y="188"/>
                    <a:pt x="1072" y="187"/>
                  </a:cubicBezTo>
                  <a:cubicBezTo>
                    <a:pt x="1072" y="187"/>
                    <a:pt x="1072" y="187"/>
                    <a:pt x="1072" y="187"/>
                  </a:cubicBezTo>
                  <a:cubicBezTo>
                    <a:pt x="1072" y="185"/>
                    <a:pt x="1071" y="183"/>
                    <a:pt x="1069" y="181"/>
                  </a:cubicBezTo>
                  <a:cubicBezTo>
                    <a:pt x="1069" y="182"/>
                    <a:pt x="1069" y="182"/>
                    <a:pt x="1069" y="182"/>
                  </a:cubicBezTo>
                  <a:cubicBezTo>
                    <a:pt x="1068" y="181"/>
                    <a:pt x="1122" y="80"/>
                    <a:pt x="1125" y="80"/>
                  </a:cubicBezTo>
                  <a:cubicBezTo>
                    <a:pt x="1125" y="80"/>
                    <a:pt x="1125" y="80"/>
                    <a:pt x="1125" y="80"/>
                  </a:cubicBezTo>
                  <a:cubicBezTo>
                    <a:pt x="1125" y="80"/>
                    <a:pt x="1125" y="80"/>
                    <a:pt x="1125" y="80"/>
                  </a:cubicBezTo>
                  <a:cubicBezTo>
                    <a:pt x="1126" y="80"/>
                    <a:pt x="1127" y="80"/>
                    <a:pt x="1129" y="80"/>
                  </a:cubicBezTo>
                  <a:cubicBezTo>
                    <a:pt x="1129" y="80"/>
                    <a:pt x="1130" y="80"/>
                    <a:pt x="1130" y="80"/>
                  </a:cubicBezTo>
                  <a:cubicBezTo>
                    <a:pt x="1130" y="80"/>
                    <a:pt x="1130" y="80"/>
                    <a:pt x="1130" y="80"/>
                  </a:cubicBezTo>
                  <a:cubicBezTo>
                    <a:pt x="1130" y="80"/>
                    <a:pt x="1130" y="80"/>
                    <a:pt x="1130" y="80"/>
                  </a:cubicBezTo>
                  <a:cubicBezTo>
                    <a:pt x="1133" y="80"/>
                    <a:pt x="1146" y="135"/>
                    <a:pt x="1143" y="136"/>
                  </a:cubicBezTo>
                  <a:cubicBezTo>
                    <a:pt x="1143" y="136"/>
                    <a:pt x="1143" y="136"/>
                    <a:pt x="1143" y="136"/>
                  </a:cubicBezTo>
                  <a:cubicBezTo>
                    <a:pt x="1143" y="136"/>
                    <a:pt x="1142" y="136"/>
                    <a:pt x="1142" y="137"/>
                  </a:cubicBezTo>
                  <a:cubicBezTo>
                    <a:pt x="1133" y="141"/>
                    <a:pt x="1129" y="151"/>
                    <a:pt x="1133" y="160"/>
                  </a:cubicBezTo>
                  <a:cubicBezTo>
                    <a:pt x="1136" y="167"/>
                    <a:pt x="1143" y="171"/>
                    <a:pt x="1150" y="171"/>
                  </a:cubicBezTo>
                  <a:cubicBezTo>
                    <a:pt x="1153" y="171"/>
                    <a:pt x="1155" y="170"/>
                    <a:pt x="1158" y="169"/>
                  </a:cubicBezTo>
                  <a:cubicBezTo>
                    <a:pt x="1161" y="168"/>
                    <a:pt x="1163" y="166"/>
                    <a:pt x="1164" y="164"/>
                  </a:cubicBezTo>
                  <a:cubicBezTo>
                    <a:pt x="1164" y="164"/>
                    <a:pt x="1164" y="164"/>
                    <a:pt x="1164" y="164"/>
                  </a:cubicBezTo>
                  <a:cubicBezTo>
                    <a:pt x="1164" y="164"/>
                    <a:pt x="1165" y="164"/>
                    <a:pt x="1165" y="164"/>
                  </a:cubicBezTo>
                  <a:cubicBezTo>
                    <a:pt x="1171" y="164"/>
                    <a:pt x="1256" y="212"/>
                    <a:pt x="1254" y="217"/>
                  </a:cubicBezTo>
                  <a:cubicBezTo>
                    <a:pt x="1253" y="220"/>
                    <a:pt x="1252" y="224"/>
                    <a:pt x="1252" y="228"/>
                  </a:cubicBezTo>
                  <a:cubicBezTo>
                    <a:pt x="1252" y="233"/>
                    <a:pt x="1254" y="238"/>
                    <a:pt x="1257" y="243"/>
                  </a:cubicBezTo>
                  <a:cubicBezTo>
                    <a:pt x="1257" y="243"/>
                    <a:pt x="1257" y="243"/>
                    <a:pt x="1257" y="243"/>
                  </a:cubicBezTo>
                  <a:cubicBezTo>
                    <a:pt x="1259" y="247"/>
                    <a:pt x="1178" y="318"/>
                    <a:pt x="1154" y="334"/>
                  </a:cubicBezTo>
                  <a:cubicBezTo>
                    <a:pt x="1151" y="326"/>
                    <a:pt x="1143" y="320"/>
                    <a:pt x="1134" y="320"/>
                  </a:cubicBezTo>
                  <a:cubicBezTo>
                    <a:pt x="1126" y="320"/>
                    <a:pt x="1120" y="324"/>
                    <a:pt x="1116" y="329"/>
                  </a:cubicBezTo>
                  <a:cubicBezTo>
                    <a:pt x="1113" y="324"/>
                    <a:pt x="1108" y="316"/>
                    <a:pt x="1103" y="307"/>
                  </a:cubicBezTo>
                  <a:cubicBezTo>
                    <a:pt x="1109" y="319"/>
                    <a:pt x="1113" y="329"/>
                    <a:pt x="1113" y="334"/>
                  </a:cubicBezTo>
                  <a:cubicBezTo>
                    <a:pt x="1112" y="336"/>
                    <a:pt x="1112" y="339"/>
                    <a:pt x="1112" y="341"/>
                  </a:cubicBezTo>
                  <a:cubicBezTo>
                    <a:pt x="1112" y="353"/>
                    <a:pt x="1122" y="363"/>
                    <a:pt x="1134" y="363"/>
                  </a:cubicBezTo>
                  <a:cubicBezTo>
                    <a:pt x="1146" y="363"/>
                    <a:pt x="1156" y="353"/>
                    <a:pt x="1156" y="341"/>
                  </a:cubicBezTo>
                  <a:cubicBezTo>
                    <a:pt x="1156" y="341"/>
                    <a:pt x="1156" y="341"/>
                    <a:pt x="1156" y="341"/>
                  </a:cubicBezTo>
                  <a:cubicBezTo>
                    <a:pt x="1169" y="323"/>
                    <a:pt x="1255" y="249"/>
                    <a:pt x="1262" y="249"/>
                  </a:cubicBezTo>
                  <a:cubicBezTo>
                    <a:pt x="1262" y="249"/>
                    <a:pt x="1263" y="249"/>
                    <a:pt x="1263" y="249"/>
                  </a:cubicBezTo>
                  <a:cubicBezTo>
                    <a:pt x="1263" y="249"/>
                    <a:pt x="1263" y="249"/>
                    <a:pt x="1263" y="249"/>
                  </a:cubicBezTo>
                  <a:cubicBezTo>
                    <a:pt x="1266" y="251"/>
                    <a:pt x="1269" y="253"/>
                    <a:pt x="1273" y="254"/>
                  </a:cubicBezTo>
                  <a:cubicBezTo>
                    <a:pt x="1273" y="254"/>
                    <a:pt x="1273" y="254"/>
                    <a:pt x="1273" y="254"/>
                  </a:cubicBezTo>
                  <a:cubicBezTo>
                    <a:pt x="1275" y="255"/>
                    <a:pt x="1274" y="272"/>
                    <a:pt x="1272" y="290"/>
                  </a:cubicBezTo>
                  <a:cubicBezTo>
                    <a:pt x="1275" y="272"/>
                    <a:pt x="1278" y="255"/>
                    <a:pt x="1281" y="255"/>
                  </a:cubicBezTo>
                  <a:cubicBezTo>
                    <a:pt x="1281" y="255"/>
                    <a:pt x="1281" y="255"/>
                    <a:pt x="1281" y="255"/>
                  </a:cubicBezTo>
                  <a:cubicBezTo>
                    <a:pt x="1297" y="255"/>
                    <a:pt x="1309" y="243"/>
                    <a:pt x="1309" y="228"/>
                  </a:cubicBezTo>
                  <a:cubicBezTo>
                    <a:pt x="1309" y="212"/>
                    <a:pt x="1297" y="200"/>
                    <a:pt x="1281" y="200"/>
                  </a:cubicBezTo>
                  <a:cubicBezTo>
                    <a:pt x="1272" y="200"/>
                    <a:pt x="1264" y="204"/>
                    <a:pt x="1258" y="210"/>
                  </a:cubicBezTo>
                  <a:cubicBezTo>
                    <a:pt x="1258" y="210"/>
                    <a:pt x="1258" y="210"/>
                    <a:pt x="1258" y="210"/>
                  </a:cubicBezTo>
                  <a:cubicBezTo>
                    <a:pt x="1248" y="210"/>
                    <a:pt x="1166" y="163"/>
                    <a:pt x="1167" y="159"/>
                  </a:cubicBezTo>
                  <a:cubicBezTo>
                    <a:pt x="1167" y="159"/>
                    <a:pt x="1167" y="159"/>
                    <a:pt x="1167" y="159"/>
                  </a:cubicBezTo>
                  <a:cubicBezTo>
                    <a:pt x="1169" y="155"/>
                    <a:pt x="1169" y="150"/>
                    <a:pt x="1167" y="145"/>
                  </a:cubicBezTo>
                  <a:cubicBezTo>
                    <a:pt x="1164" y="139"/>
                    <a:pt x="1157" y="135"/>
                    <a:pt x="1150" y="135"/>
                  </a:cubicBezTo>
                  <a:cubicBezTo>
                    <a:pt x="1149" y="135"/>
                    <a:pt x="1149" y="135"/>
                    <a:pt x="1148" y="135"/>
                  </a:cubicBezTo>
                  <a:cubicBezTo>
                    <a:pt x="1149" y="135"/>
                    <a:pt x="1149" y="135"/>
                    <a:pt x="1149" y="135"/>
                  </a:cubicBezTo>
                  <a:cubicBezTo>
                    <a:pt x="1149" y="135"/>
                    <a:pt x="1149" y="135"/>
                    <a:pt x="1148" y="135"/>
                  </a:cubicBezTo>
                  <a:cubicBezTo>
                    <a:pt x="1145" y="135"/>
                    <a:pt x="1132" y="80"/>
                    <a:pt x="1134" y="79"/>
                  </a:cubicBezTo>
                  <a:cubicBezTo>
                    <a:pt x="1134" y="79"/>
                    <a:pt x="1134" y="79"/>
                    <a:pt x="1134" y="79"/>
                  </a:cubicBezTo>
                  <a:cubicBezTo>
                    <a:pt x="1135" y="79"/>
                    <a:pt x="1135" y="79"/>
                    <a:pt x="1135" y="79"/>
                  </a:cubicBezTo>
                  <a:cubicBezTo>
                    <a:pt x="1141" y="76"/>
                    <a:pt x="1144" y="68"/>
                    <a:pt x="1141" y="62"/>
                  </a:cubicBezTo>
                  <a:cubicBezTo>
                    <a:pt x="1139" y="57"/>
                    <a:pt x="1134" y="54"/>
                    <a:pt x="1129" y="54"/>
                  </a:cubicBezTo>
                  <a:cubicBezTo>
                    <a:pt x="1127" y="54"/>
                    <a:pt x="1125" y="55"/>
                    <a:pt x="1123" y="56"/>
                  </a:cubicBezTo>
                  <a:cubicBezTo>
                    <a:pt x="1116" y="59"/>
                    <a:pt x="1113" y="66"/>
                    <a:pt x="1117" y="73"/>
                  </a:cubicBezTo>
                  <a:cubicBezTo>
                    <a:pt x="1117" y="74"/>
                    <a:pt x="1118" y="74"/>
                    <a:pt x="1118" y="75"/>
                  </a:cubicBezTo>
                  <a:cubicBezTo>
                    <a:pt x="1118" y="75"/>
                    <a:pt x="1118" y="75"/>
                    <a:pt x="1118" y="75"/>
                  </a:cubicBezTo>
                  <a:cubicBezTo>
                    <a:pt x="1120" y="77"/>
                    <a:pt x="1041" y="158"/>
                    <a:pt x="1035" y="158"/>
                  </a:cubicBezTo>
                  <a:cubicBezTo>
                    <a:pt x="1034" y="158"/>
                    <a:pt x="1034" y="158"/>
                    <a:pt x="1034" y="158"/>
                  </a:cubicBezTo>
                  <a:cubicBezTo>
                    <a:pt x="1034" y="158"/>
                    <a:pt x="1034" y="158"/>
                    <a:pt x="1034" y="158"/>
                  </a:cubicBezTo>
                  <a:cubicBezTo>
                    <a:pt x="1031" y="155"/>
                    <a:pt x="1027" y="154"/>
                    <a:pt x="1023" y="153"/>
                  </a:cubicBezTo>
                  <a:cubicBezTo>
                    <a:pt x="1023" y="153"/>
                    <a:pt x="1023" y="153"/>
                    <a:pt x="1023" y="153"/>
                  </a:cubicBezTo>
                  <a:cubicBezTo>
                    <a:pt x="1018" y="153"/>
                    <a:pt x="1019" y="84"/>
                    <a:pt x="1022" y="84"/>
                  </a:cubicBezTo>
                  <a:cubicBezTo>
                    <a:pt x="1022" y="84"/>
                    <a:pt x="1022" y="84"/>
                    <a:pt x="1022" y="84"/>
                  </a:cubicBezTo>
                  <a:cubicBezTo>
                    <a:pt x="1028" y="83"/>
                    <a:pt x="1033" y="77"/>
                    <a:pt x="1033" y="71"/>
                  </a:cubicBezTo>
                  <a:cubicBezTo>
                    <a:pt x="1033" y="64"/>
                    <a:pt x="1027" y="58"/>
                    <a:pt x="1020" y="58"/>
                  </a:cubicBezTo>
                  <a:cubicBezTo>
                    <a:pt x="1015" y="58"/>
                    <a:pt x="1011" y="60"/>
                    <a:pt x="1009" y="63"/>
                  </a:cubicBezTo>
                  <a:cubicBezTo>
                    <a:pt x="1009" y="63"/>
                    <a:pt x="1009" y="63"/>
                    <a:pt x="1009" y="63"/>
                  </a:cubicBezTo>
                  <a:cubicBezTo>
                    <a:pt x="1009" y="63"/>
                    <a:pt x="1009" y="63"/>
                    <a:pt x="1008" y="63"/>
                  </a:cubicBezTo>
                  <a:cubicBezTo>
                    <a:pt x="1006" y="63"/>
                    <a:pt x="1000" y="60"/>
                    <a:pt x="994" y="57"/>
                  </a:cubicBezTo>
                  <a:cubicBezTo>
                    <a:pt x="1001" y="61"/>
                    <a:pt x="1008" y="65"/>
                    <a:pt x="1007" y="66"/>
                  </a:cubicBezTo>
                  <a:cubicBezTo>
                    <a:pt x="1007" y="66"/>
                    <a:pt x="1007" y="66"/>
                    <a:pt x="1007" y="66"/>
                  </a:cubicBezTo>
                  <a:cubicBezTo>
                    <a:pt x="1007" y="68"/>
                    <a:pt x="1006" y="69"/>
                    <a:pt x="1006" y="71"/>
                  </a:cubicBezTo>
                  <a:cubicBezTo>
                    <a:pt x="1006" y="76"/>
                    <a:pt x="1010" y="81"/>
                    <a:pt x="1014" y="83"/>
                  </a:cubicBezTo>
                  <a:cubicBezTo>
                    <a:pt x="1014" y="83"/>
                    <a:pt x="1014" y="83"/>
                    <a:pt x="1014" y="83"/>
                  </a:cubicBezTo>
                  <a:cubicBezTo>
                    <a:pt x="1016" y="83"/>
                    <a:pt x="1013" y="92"/>
                    <a:pt x="1011" y="101"/>
                  </a:cubicBezTo>
                  <a:cubicBezTo>
                    <a:pt x="1013" y="93"/>
                    <a:pt x="1016" y="85"/>
                    <a:pt x="1018" y="84"/>
                  </a:cubicBezTo>
                  <a:cubicBezTo>
                    <a:pt x="1020" y="87"/>
                    <a:pt x="1021" y="153"/>
                    <a:pt x="1016" y="153"/>
                  </a:cubicBezTo>
                  <a:cubicBezTo>
                    <a:pt x="1016" y="153"/>
                    <a:pt x="1016" y="153"/>
                    <a:pt x="1016" y="153"/>
                  </a:cubicBezTo>
                  <a:cubicBezTo>
                    <a:pt x="1016" y="153"/>
                    <a:pt x="1016" y="153"/>
                    <a:pt x="1016" y="153"/>
                  </a:cubicBezTo>
                  <a:cubicBezTo>
                    <a:pt x="1016" y="153"/>
                    <a:pt x="1016" y="153"/>
                    <a:pt x="1016" y="153"/>
                  </a:cubicBezTo>
                  <a:cubicBezTo>
                    <a:pt x="1014" y="153"/>
                    <a:pt x="1012" y="151"/>
                    <a:pt x="1011" y="147"/>
                  </a:cubicBezTo>
                  <a:cubicBezTo>
                    <a:pt x="1012" y="151"/>
                    <a:pt x="1012" y="154"/>
                    <a:pt x="1010" y="155"/>
                  </a:cubicBezTo>
                  <a:cubicBezTo>
                    <a:pt x="1004" y="157"/>
                    <a:pt x="999" y="162"/>
                    <a:pt x="996" y="168"/>
                  </a:cubicBezTo>
                  <a:cubicBezTo>
                    <a:pt x="996" y="168"/>
                    <a:pt x="996" y="168"/>
                    <a:pt x="994" y="168"/>
                  </a:cubicBezTo>
                  <a:cubicBezTo>
                    <a:pt x="978" y="168"/>
                    <a:pt x="874" y="142"/>
                    <a:pt x="874" y="139"/>
                  </a:cubicBezTo>
                  <a:cubicBezTo>
                    <a:pt x="874" y="139"/>
                    <a:pt x="874" y="139"/>
                    <a:pt x="874" y="139"/>
                  </a:cubicBezTo>
                  <a:cubicBezTo>
                    <a:pt x="874" y="138"/>
                    <a:pt x="874" y="138"/>
                    <a:pt x="874" y="137"/>
                  </a:cubicBezTo>
                  <a:cubicBezTo>
                    <a:pt x="874" y="127"/>
                    <a:pt x="866" y="119"/>
                    <a:pt x="855" y="119"/>
                  </a:cubicBezTo>
                  <a:cubicBezTo>
                    <a:pt x="853" y="119"/>
                    <a:pt x="850" y="120"/>
                    <a:pt x="848" y="121"/>
                  </a:cubicBezTo>
                  <a:cubicBezTo>
                    <a:pt x="848" y="120"/>
                    <a:pt x="848" y="120"/>
                    <a:pt x="848" y="120"/>
                  </a:cubicBezTo>
                  <a:cubicBezTo>
                    <a:pt x="848" y="121"/>
                    <a:pt x="848" y="121"/>
                    <a:pt x="848" y="121"/>
                  </a:cubicBezTo>
                  <a:cubicBezTo>
                    <a:pt x="843" y="121"/>
                    <a:pt x="786" y="34"/>
                    <a:pt x="789" y="31"/>
                  </a:cubicBezTo>
                  <a:cubicBezTo>
                    <a:pt x="789" y="31"/>
                    <a:pt x="789" y="31"/>
                    <a:pt x="789" y="31"/>
                  </a:cubicBezTo>
                  <a:cubicBezTo>
                    <a:pt x="791" y="31"/>
                    <a:pt x="800" y="38"/>
                    <a:pt x="810" y="45"/>
                  </a:cubicBezTo>
                  <a:cubicBezTo>
                    <a:pt x="800" y="37"/>
                    <a:pt x="791" y="29"/>
                    <a:pt x="792" y="28"/>
                  </a:cubicBezTo>
                  <a:cubicBezTo>
                    <a:pt x="792" y="28"/>
                    <a:pt x="792" y="28"/>
                    <a:pt x="792" y="28"/>
                  </a:cubicBezTo>
                  <a:cubicBezTo>
                    <a:pt x="794" y="25"/>
                    <a:pt x="795" y="22"/>
                    <a:pt x="795" y="18"/>
                  </a:cubicBezTo>
                  <a:cubicBezTo>
                    <a:pt x="795" y="8"/>
                    <a:pt x="787" y="0"/>
                    <a:pt x="776"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7" name="Freeform 20"/>
            <p:cNvSpPr>
              <a:spLocks/>
            </p:cNvSpPr>
            <p:nvPr/>
          </p:nvSpPr>
          <p:spPr bwMode="auto">
            <a:xfrm>
              <a:off x="6035675" y="2900363"/>
              <a:ext cx="52388" cy="41275"/>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cubicBezTo>
                    <a:pt x="9" y="4"/>
                    <a:pt x="4" y="8"/>
                    <a:pt x="0" y="11"/>
                  </a:cubicBezTo>
                  <a:cubicBezTo>
                    <a:pt x="4" y="8"/>
                    <a:pt x="10" y="4"/>
                    <a:pt x="14"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8" name="Freeform 21"/>
            <p:cNvSpPr>
              <a:spLocks noEditPoints="1"/>
            </p:cNvSpPr>
            <p:nvPr/>
          </p:nvSpPr>
          <p:spPr bwMode="auto">
            <a:xfrm>
              <a:off x="5457825" y="2247900"/>
              <a:ext cx="1231900" cy="652463"/>
            </a:xfrm>
            <a:custGeom>
              <a:avLst/>
              <a:gdLst>
                <a:gd name="T0" fmla="*/ 294 w 328"/>
                <a:gd name="T1" fmla="*/ 53 h 173"/>
                <a:gd name="T2" fmla="*/ 290 w 328"/>
                <a:gd name="T3" fmla="*/ 68 h 173"/>
                <a:gd name="T4" fmla="*/ 237 w 328"/>
                <a:gd name="T5" fmla="*/ 89 h 173"/>
                <a:gd name="T6" fmla="*/ 255 w 328"/>
                <a:gd name="T7" fmla="*/ 21 h 173"/>
                <a:gd name="T8" fmla="*/ 257 w 328"/>
                <a:gd name="T9" fmla="*/ 22 h 173"/>
                <a:gd name="T10" fmla="*/ 257 w 328"/>
                <a:gd name="T11" fmla="*/ 0 h 173"/>
                <a:gd name="T12" fmla="*/ 252 w 328"/>
                <a:gd name="T13" fmla="*/ 20 h 173"/>
                <a:gd name="T14" fmla="*/ 230 w 328"/>
                <a:gd name="T15" fmla="*/ 84 h 173"/>
                <a:gd name="T16" fmla="*/ 225 w 328"/>
                <a:gd name="T17" fmla="*/ 84 h 173"/>
                <a:gd name="T18" fmla="*/ 213 w 328"/>
                <a:gd name="T19" fmla="*/ 59 h 173"/>
                <a:gd name="T20" fmla="*/ 199 w 328"/>
                <a:gd name="T21" fmla="*/ 34 h 173"/>
                <a:gd name="T22" fmla="*/ 185 w 328"/>
                <a:gd name="T23" fmla="*/ 44 h 173"/>
                <a:gd name="T24" fmla="*/ 104 w 328"/>
                <a:gd name="T25" fmla="*/ 22 h 173"/>
                <a:gd name="T26" fmla="*/ 88 w 328"/>
                <a:gd name="T27" fmla="*/ 38 h 173"/>
                <a:gd name="T28" fmla="*/ 16 w 328"/>
                <a:gd name="T29" fmla="*/ 52 h 173"/>
                <a:gd name="T30" fmla="*/ 6 w 328"/>
                <a:gd name="T31" fmla="*/ 48 h 173"/>
                <a:gd name="T32" fmla="*/ 12 w 328"/>
                <a:gd name="T33" fmla="*/ 61 h 173"/>
                <a:gd name="T34" fmla="*/ 86 w 328"/>
                <a:gd name="T35" fmla="*/ 42 h 173"/>
                <a:gd name="T36" fmla="*/ 104 w 328"/>
                <a:gd name="T37" fmla="*/ 54 h 173"/>
                <a:gd name="T38" fmla="*/ 128 w 328"/>
                <a:gd name="T39" fmla="*/ 41 h 173"/>
                <a:gd name="T40" fmla="*/ 192 w 328"/>
                <a:gd name="T41" fmla="*/ 53 h 173"/>
                <a:gd name="T42" fmla="*/ 210 w 328"/>
                <a:gd name="T43" fmla="*/ 60 h 173"/>
                <a:gd name="T44" fmla="*/ 222 w 328"/>
                <a:gd name="T45" fmla="*/ 86 h 173"/>
                <a:gd name="T46" fmla="*/ 222 w 328"/>
                <a:gd name="T47" fmla="*/ 101 h 173"/>
                <a:gd name="T48" fmla="*/ 205 w 328"/>
                <a:gd name="T49" fmla="*/ 130 h 173"/>
                <a:gd name="T50" fmla="*/ 178 w 328"/>
                <a:gd name="T51" fmla="*/ 162 h 173"/>
                <a:gd name="T52" fmla="*/ 181 w 328"/>
                <a:gd name="T53" fmla="*/ 166 h 173"/>
                <a:gd name="T54" fmla="*/ 198 w 328"/>
                <a:gd name="T55" fmla="*/ 172 h 173"/>
                <a:gd name="T56" fmla="*/ 226 w 328"/>
                <a:gd name="T57" fmla="*/ 150 h 173"/>
                <a:gd name="T58" fmla="*/ 211 w 328"/>
                <a:gd name="T59" fmla="*/ 132 h 173"/>
                <a:gd name="T60" fmla="*/ 225 w 328"/>
                <a:gd name="T61" fmla="*/ 103 h 173"/>
                <a:gd name="T62" fmla="*/ 230 w 328"/>
                <a:gd name="T63" fmla="*/ 103 h 173"/>
                <a:gd name="T64" fmla="*/ 244 w 328"/>
                <a:gd name="T65" fmla="*/ 146 h 173"/>
                <a:gd name="T66" fmla="*/ 242 w 328"/>
                <a:gd name="T67" fmla="*/ 149 h 173"/>
                <a:gd name="T68" fmla="*/ 242 w 328"/>
                <a:gd name="T69" fmla="*/ 151 h 173"/>
                <a:gd name="T70" fmla="*/ 248 w 328"/>
                <a:gd name="T71" fmla="*/ 154 h 173"/>
                <a:gd name="T72" fmla="*/ 250 w 328"/>
                <a:gd name="T73" fmla="*/ 153 h 173"/>
                <a:gd name="T74" fmla="*/ 251 w 328"/>
                <a:gd name="T75" fmla="*/ 152 h 173"/>
                <a:gd name="T76" fmla="*/ 246 w 328"/>
                <a:gd name="T77" fmla="*/ 146 h 173"/>
                <a:gd name="T78" fmla="*/ 232 w 328"/>
                <a:gd name="T79" fmla="*/ 102 h 173"/>
                <a:gd name="T80" fmla="*/ 238 w 328"/>
                <a:gd name="T81" fmla="*/ 92 h 173"/>
                <a:gd name="T82" fmla="*/ 292 w 328"/>
                <a:gd name="T83" fmla="*/ 72 h 173"/>
                <a:gd name="T84" fmla="*/ 324 w 328"/>
                <a:gd name="T85" fmla="*/ 57 h 173"/>
                <a:gd name="T86" fmla="*/ 297 w 328"/>
                <a:gd name="T87" fmla="*/ 50 h 173"/>
                <a:gd name="T88" fmla="*/ 266 w 328"/>
                <a:gd name="T89" fmla="*/ 17 h 173"/>
                <a:gd name="T90" fmla="*/ 257 w 328"/>
                <a:gd name="T9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173">
                  <a:moveTo>
                    <a:pt x="263" y="20"/>
                  </a:moveTo>
                  <a:cubicBezTo>
                    <a:pt x="263" y="20"/>
                    <a:pt x="263" y="20"/>
                    <a:pt x="263" y="20"/>
                  </a:cubicBezTo>
                  <a:cubicBezTo>
                    <a:pt x="266" y="20"/>
                    <a:pt x="296" y="51"/>
                    <a:pt x="294" y="53"/>
                  </a:cubicBezTo>
                  <a:cubicBezTo>
                    <a:pt x="294" y="53"/>
                    <a:pt x="294" y="53"/>
                    <a:pt x="294" y="53"/>
                  </a:cubicBezTo>
                  <a:cubicBezTo>
                    <a:pt x="290" y="57"/>
                    <a:pt x="289" y="63"/>
                    <a:pt x="290" y="68"/>
                  </a:cubicBezTo>
                  <a:cubicBezTo>
                    <a:pt x="290" y="68"/>
                    <a:pt x="290" y="68"/>
                    <a:pt x="290" y="68"/>
                  </a:cubicBezTo>
                  <a:cubicBezTo>
                    <a:pt x="291" y="71"/>
                    <a:pt x="242" y="89"/>
                    <a:pt x="237" y="89"/>
                  </a:cubicBezTo>
                  <a:cubicBezTo>
                    <a:pt x="237" y="89"/>
                    <a:pt x="237" y="89"/>
                    <a:pt x="237" y="89"/>
                  </a:cubicBezTo>
                  <a:cubicBezTo>
                    <a:pt x="237" y="89"/>
                    <a:pt x="237" y="89"/>
                    <a:pt x="237" y="89"/>
                  </a:cubicBezTo>
                  <a:cubicBezTo>
                    <a:pt x="236" y="87"/>
                    <a:pt x="234" y="86"/>
                    <a:pt x="233" y="85"/>
                  </a:cubicBezTo>
                  <a:cubicBezTo>
                    <a:pt x="233" y="85"/>
                    <a:pt x="233" y="85"/>
                    <a:pt x="233" y="85"/>
                  </a:cubicBezTo>
                  <a:cubicBezTo>
                    <a:pt x="231" y="84"/>
                    <a:pt x="253" y="21"/>
                    <a:pt x="255" y="21"/>
                  </a:cubicBezTo>
                  <a:cubicBezTo>
                    <a:pt x="255" y="21"/>
                    <a:pt x="255" y="21"/>
                    <a:pt x="255" y="21"/>
                  </a:cubicBezTo>
                  <a:cubicBezTo>
                    <a:pt x="255" y="21"/>
                    <a:pt x="255" y="21"/>
                    <a:pt x="255" y="21"/>
                  </a:cubicBezTo>
                  <a:cubicBezTo>
                    <a:pt x="256" y="21"/>
                    <a:pt x="256" y="22"/>
                    <a:pt x="257" y="22"/>
                  </a:cubicBezTo>
                  <a:cubicBezTo>
                    <a:pt x="259" y="22"/>
                    <a:pt x="261" y="21"/>
                    <a:pt x="263" y="20"/>
                  </a:cubicBezTo>
                  <a:cubicBezTo>
                    <a:pt x="263" y="20"/>
                    <a:pt x="263" y="20"/>
                    <a:pt x="263" y="20"/>
                  </a:cubicBezTo>
                  <a:moveTo>
                    <a:pt x="257" y="0"/>
                  </a:moveTo>
                  <a:cubicBezTo>
                    <a:pt x="251" y="0"/>
                    <a:pt x="246" y="5"/>
                    <a:pt x="246" y="11"/>
                  </a:cubicBezTo>
                  <a:cubicBezTo>
                    <a:pt x="246" y="15"/>
                    <a:pt x="248" y="19"/>
                    <a:pt x="252" y="20"/>
                  </a:cubicBezTo>
                  <a:cubicBezTo>
                    <a:pt x="252" y="20"/>
                    <a:pt x="252" y="20"/>
                    <a:pt x="252" y="20"/>
                  </a:cubicBezTo>
                  <a:cubicBezTo>
                    <a:pt x="254" y="21"/>
                    <a:pt x="232" y="84"/>
                    <a:pt x="230" y="84"/>
                  </a:cubicBezTo>
                  <a:cubicBezTo>
                    <a:pt x="230" y="84"/>
                    <a:pt x="230" y="84"/>
                    <a:pt x="230" y="84"/>
                  </a:cubicBezTo>
                  <a:cubicBezTo>
                    <a:pt x="230" y="84"/>
                    <a:pt x="230" y="84"/>
                    <a:pt x="230" y="84"/>
                  </a:cubicBezTo>
                  <a:cubicBezTo>
                    <a:pt x="229" y="84"/>
                    <a:pt x="229" y="84"/>
                    <a:pt x="228" y="84"/>
                  </a:cubicBezTo>
                  <a:cubicBezTo>
                    <a:pt x="227" y="84"/>
                    <a:pt x="226" y="84"/>
                    <a:pt x="225" y="85"/>
                  </a:cubicBezTo>
                  <a:cubicBezTo>
                    <a:pt x="225" y="84"/>
                    <a:pt x="225" y="84"/>
                    <a:pt x="225" y="84"/>
                  </a:cubicBezTo>
                  <a:cubicBezTo>
                    <a:pt x="225" y="85"/>
                    <a:pt x="225" y="85"/>
                    <a:pt x="225" y="85"/>
                  </a:cubicBezTo>
                  <a:cubicBezTo>
                    <a:pt x="223" y="85"/>
                    <a:pt x="211" y="60"/>
                    <a:pt x="214" y="59"/>
                  </a:cubicBezTo>
                  <a:cubicBezTo>
                    <a:pt x="213" y="59"/>
                    <a:pt x="213" y="59"/>
                    <a:pt x="213" y="59"/>
                  </a:cubicBezTo>
                  <a:cubicBezTo>
                    <a:pt x="220" y="55"/>
                    <a:pt x="222" y="47"/>
                    <a:pt x="219" y="41"/>
                  </a:cubicBezTo>
                  <a:cubicBezTo>
                    <a:pt x="216" y="36"/>
                    <a:pt x="211" y="33"/>
                    <a:pt x="205" y="33"/>
                  </a:cubicBezTo>
                  <a:cubicBezTo>
                    <a:pt x="203" y="33"/>
                    <a:pt x="201" y="33"/>
                    <a:pt x="199" y="34"/>
                  </a:cubicBezTo>
                  <a:cubicBezTo>
                    <a:pt x="195" y="36"/>
                    <a:pt x="192" y="39"/>
                    <a:pt x="191" y="43"/>
                  </a:cubicBezTo>
                  <a:cubicBezTo>
                    <a:pt x="191" y="43"/>
                    <a:pt x="191" y="43"/>
                    <a:pt x="191" y="43"/>
                  </a:cubicBezTo>
                  <a:cubicBezTo>
                    <a:pt x="191" y="44"/>
                    <a:pt x="189" y="44"/>
                    <a:pt x="185" y="44"/>
                  </a:cubicBezTo>
                  <a:cubicBezTo>
                    <a:pt x="168" y="44"/>
                    <a:pt x="121" y="39"/>
                    <a:pt x="121" y="37"/>
                  </a:cubicBezTo>
                  <a:cubicBezTo>
                    <a:pt x="121" y="37"/>
                    <a:pt x="121" y="37"/>
                    <a:pt x="121" y="37"/>
                  </a:cubicBezTo>
                  <a:cubicBezTo>
                    <a:pt x="121" y="28"/>
                    <a:pt x="114" y="22"/>
                    <a:pt x="104" y="22"/>
                  </a:cubicBezTo>
                  <a:cubicBezTo>
                    <a:pt x="95" y="22"/>
                    <a:pt x="88" y="29"/>
                    <a:pt x="88" y="38"/>
                  </a:cubicBezTo>
                  <a:cubicBezTo>
                    <a:pt x="88" y="38"/>
                    <a:pt x="88" y="38"/>
                    <a:pt x="88" y="38"/>
                  </a:cubicBezTo>
                  <a:cubicBezTo>
                    <a:pt x="88" y="38"/>
                    <a:pt x="88" y="38"/>
                    <a:pt x="88" y="38"/>
                  </a:cubicBezTo>
                  <a:cubicBezTo>
                    <a:pt x="88" y="41"/>
                    <a:pt x="24" y="52"/>
                    <a:pt x="17" y="52"/>
                  </a:cubicBezTo>
                  <a:cubicBezTo>
                    <a:pt x="16" y="52"/>
                    <a:pt x="16" y="52"/>
                    <a:pt x="16" y="52"/>
                  </a:cubicBezTo>
                  <a:cubicBezTo>
                    <a:pt x="16" y="52"/>
                    <a:pt x="16" y="52"/>
                    <a:pt x="16" y="52"/>
                  </a:cubicBezTo>
                  <a:cubicBezTo>
                    <a:pt x="16" y="51"/>
                    <a:pt x="16" y="51"/>
                    <a:pt x="16" y="51"/>
                  </a:cubicBezTo>
                  <a:cubicBezTo>
                    <a:pt x="14" y="48"/>
                    <a:pt x="12" y="47"/>
                    <a:pt x="9" y="47"/>
                  </a:cubicBezTo>
                  <a:cubicBezTo>
                    <a:pt x="8" y="47"/>
                    <a:pt x="7" y="47"/>
                    <a:pt x="6" y="48"/>
                  </a:cubicBezTo>
                  <a:cubicBezTo>
                    <a:pt x="2" y="49"/>
                    <a:pt x="0" y="54"/>
                    <a:pt x="2" y="57"/>
                  </a:cubicBezTo>
                  <a:cubicBezTo>
                    <a:pt x="3" y="60"/>
                    <a:pt x="6" y="61"/>
                    <a:pt x="9" y="61"/>
                  </a:cubicBezTo>
                  <a:cubicBezTo>
                    <a:pt x="10" y="61"/>
                    <a:pt x="11" y="61"/>
                    <a:pt x="12" y="61"/>
                  </a:cubicBezTo>
                  <a:cubicBezTo>
                    <a:pt x="15" y="60"/>
                    <a:pt x="17" y="57"/>
                    <a:pt x="16" y="54"/>
                  </a:cubicBezTo>
                  <a:cubicBezTo>
                    <a:pt x="16" y="54"/>
                    <a:pt x="16" y="54"/>
                    <a:pt x="16" y="54"/>
                  </a:cubicBezTo>
                  <a:cubicBezTo>
                    <a:pt x="16" y="53"/>
                    <a:pt x="73" y="42"/>
                    <a:pt x="86" y="42"/>
                  </a:cubicBezTo>
                  <a:cubicBezTo>
                    <a:pt x="87" y="42"/>
                    <a:pt x="88" y="43"/>
                    <a:pt x="89" y="43"/>
                  </a:cubicBezTo>
                  <a:cubicBezTo>
                    <a:pt x="88" y="43"/>
                    <a:pt x="88" y="43"/>
                    <a:pt x="88" y="43"/>
                  </a:cubicBezTo>
                  <a:cubicBezTo>
                    <a:pt x="91" y="49"/>
                    <a:pt x="97" y="54"/>
                    <a:pt x="104" y="54"/>
                  </a:cubicBezTo>
                  <a:cubicBezTo>
                    <a:pt x="112" y="54"/>
                    <a:pt x="119" y="49"/>
                    <a:pt x="121" y="42"/>
                  </a:cubicBezTo>
                  <a:cubicBezTo>
                    <a:pt x="121" y="42"/>
                    <a:pt x="121" y="42"/>
                    <a:pt x="121" y="42"/>
                  </a:cubicBezTo>
                  <a:cubicBezTo>
                    <a:pt x="121" y="41"/>
                    <a:pt x="124" y="41"/>
                    <a:pt x="128" y="41"/>
                  </a:cubicBezTo>
                  <a:cubicBezTo>
                    <a:pt x="145" y="41"/>
                    <a:pt x="191" y="46"/>
                    <a:pt x="191" y="48"/>
                  </a:cubicBezTo>
                  <a:cubicBezTo>
                    <a:pt x="191" y="48"/>
                    <a:pt x="191" y="48"/>
                    <a:pt x="191" y="48"/>
                  </a:cubicBezTo>
                  <a:cubicBezTo>
                    <a:pt x="191" y="49"/>
                    <a:pt x="191" y="51"/>
                    <a:pt x="192" y="53"/>
                  </a:cubicBezTo>
                  <a:cubicBezTo>
                    <a:pt x="195" y="58"/>
                    <a:pt x="200" y="61"/>
                    <a:pt x="205" y="61"/>
                  </a:cubicBezTo>
                  <a:cubicBezTo>
                    <a:pt x="207" y="61"/>
                    <a:pt x="208" y="61"/>
                    <a:pt x="210" y="60"/>
                  </a:cubicBezTo>
                  <a:cubicBezTo>
                    <a:pt x="210" y="60"/>
                    <a:pt x="210" y="60"/>
                    <a:pt x="210" y="60"/>
                  </a:cubicBezTo>
                  <a:cubicBezTo>
                    <a:pt x="210" y="60"/>
                    <a:pt x="210" y="60"/>
                    <a:pt x="210" y="60"/>
                  </a:cubicBezTo>
                  <a:cubicBezTo>
                    <a:pt x="213" y="60"/>
                    <a:pt x="224" y="85"/>
                    <a:pt x="222" y="86"/>
                  </a:cubicBezTo>
                  <a:cubicBezTo>
                    <a:pt x="222" y="86"/>
                    <a:pt x="222" y="86"/>
                    <a:pt x="222" y="86"/>
                  </a:cubicBezTo>
                  <a:cubicBezTo>
                    <a:pt x="218" y="88"/>
                    <a:pt x="217" y="94"/>
                    <a:pt x="219" y="98"/>
                  </a:cubicBezTo>
                  <a:cubicBezTo>
                    <a:pt x="220" y="99"/>
                    <a:pt x="221" y="101"/>
                    <a:pt x="222" y="101"/>
                  </a:cubicBezTo>
                  <a:cubicBezTo>
                    <a:pt x="222" y="101"/>
                    <a:pt x="222" y="101"/>
                    <a:pt x="222" y="101"/>
                  </a:cubicBezTo>
                  <a:cubicBezTo>
                    <a:pt x="223" y="103"/>
                    <a:pt x="210" y="130"/>
                    <a:pt x="206" y="130"/>
                  </a:cubicBezTo>
                  <a:cubicBezTo>
                    <a:pt x="206" y="130"/>
                    <a:pt x="205" y="130"/>
                    <a:pt x="205" y="130"/>
                  </a:cubicBezTo>
                  <a:cubicBezTo>
                    <a:pt x="205" y="130"/>
                    <a:pt x="205" y="130"/>
                    <a:pt x="205" y="130"/>
                  </a:cubicBezTo>
                  <a:cubicBezTo>
                    <a:pt x="203" y="129"/>
                    <a:pt x="201" y="128"/>
                    <a:pt x="198" y="128"/>
                  </a:cubicBezTo>
                  <a:cubicBezTo>
                    <a:pt x="185" y="128"/>
                    <a:pt x="175" y="138"/>
                    <a:pt x="175" y="150"/>
                  </a:cubicBezTo>
                  <a:cubicBezTo>
                    <a:pt x="175" y="155"/>
                    <a:pt x="176" y="159"/>
                    <a:pt x="178" y="162"/>
                  </a:cubicBezTo>
                  <a:cubicBezTo>
                    <a:pt x="178" y="162"/>
                    <a:pt x="178" y="162"/>
                    <a:pt x="178" y="162"/>
                  </a:cubicBezTo>
                  <a:cubicBezTo>
                    <a:pt x="179" y="163"/>
                    <a:pt x="174" y="168"/>
                    <a:pt x="168" y="173"/>
                  </a:cubicBezTo>
                  <a:cubicBezTo>
                    <a:pt x="174" y="169"/>
                    <a:pt x="179" y="166"/>
                    <a:pt x="181" y="166"/>
                  </a:cubicBezTo>
                  <a:cubicBezTo>
                    <a:pt x="182" y="166"/>
                    <a:pt x="182" y="166"/>
                    <a:pt x="182" y="166"/>
                  </a:cubicBezTo>
                  <a:cubicBezTo>
                    <a:pt x="182" y="166"/>
                    <a:pt x="182" y="166"/>
                    <a:pt x="182" y="166"/>
                  </a:cubicBezTo>
                  <a:cubicBezTo>
                    <a:pt x="186" y="170"/>
                    <a:pt x="192" y="172"/>
                    <a:pt x="198" y="172"/>
                  </a:cubicBezTo>
                  <a:cubicBezTo>
                    <a:pt x="210" y="172"/>
                    <a:pt x="219" y="164"/>
                    <a:pt x="221" y="153"/>
                  </a:cubicBezTo>
                  <a:cubicBezTo>
                    <a:pt x="221" y="153"/>
                    <a:pt x="221" y="153"/>
                    <a:pt x="221" y="153"/>
                  </a:cubicBezTo>
                  <a:cubicBezTo>
                    <a:pt x="221" y="151"/>
                    <a:pt x="223" y="151"/>
                    <a:pt x="226" y="150"/>
                  </a:cubicBezTo>
                  <a:cubicBezTo>
                    <a:pt x="223" y="150"/>
                    <a:pt x="221" y="149"/>
                    <a:pt x="221" y="148"/>
                  </a:cubicBezTo>
                  <a:cubicBezTo>
                    <a:pt x="221" y="148"/>
                    <a:pt x="221" y="148"/>
                    <a:pt x="221" y="148"/>
                  </a:cubicBezTo>
                  <a:cubicBezTo>
                    <a:pt x="220" y="141"/>
                    <a:pt x="216" y="136"/>
                    <a:pt x="211" y="132"/>
                  </a:cubicBezTo>
                  <a:cubicBezTo>
                    <a:pt x="211" y="132"/>
                    <a:pt x="211" y="132"/>
                    <a:pt x="211" y="132"/>
                  </a:cubicBezTo>
                  <a:cubicBezTo>
                    <a:pt x="207" y="130"/>
                    <a:pt x="223" y="103"/>
                    <a:pt x="225" y="103"/>
                  </a:cubicBezTo>
                  <a:cubicBezTo>
                    <a:pt x="225" y="103"/>
                    <a:pt x="225" y="103"/>
                    <a:pt x="225" y="103"/>
                  </a:cubicBezTo>
                  <a:cubicBezTo>
                    <a:pt x="225" y="103"/>
                    <a:pt x="225" y="103"/>
                    <a:pt x="225" y="103"/>
                  </a:cubicBezTo>
                  <a:cubicBezTo>
                    <a:pt x="226" y="103"/>
                    <a:pt x="227" y="103"/>
                    <a:pt x="228" y="103"/>
                  </a:cubicBezTo>
                  <a:cubicBezTo>
                    <a:pt x="229" y="103"/>
                    <a:pt x="229" y="103"/>
                    <a:pt x="230" y="103"/>
                  </a:cubicBezTo>
                  <a:cubicBezTo>
                    <a:pt x="230" y="103"/>
                    <a:pt x="230" y="103"/>
                    <a:pt x="230" y="103"/>
                  </a:cubicBezTo>
                  <a:cubicBezTo>
                    <a:pt x="230" y="103"/>
                    <a:pt x="230" y="103"/>
                    <a:pt x="230" y="103"/>
                  </a:cubicBezTo>
                  <a:cubicBezTo>
                    <a:pt x="232" y="103"/>
                    <a:pt x="245" y="146"/>
                    <a:pt x="244" y="146"/>
                  </a:cubicBezTo>
                  <a:cubicBezTo>
                    <a:pt x="244" y="146"/>
                    <a:pt x="244" y="146"/>
                    <a:pt x="244" y="146"/>
                  </a:cubicBezTo>
                  <a:cubicBezTo>
                    <a:pt x="243" y="147"/>
                    <a:pt x="242" y="148"/>
                    <a:pt x="242" y="150"/>
                  </a:cubicBezTo>
                  <a:cubicBezTo>
                    <a:pt x="242" y="149"/>
                    <a:pt x="242" y="149"/>
                    <a:pt x="242" y="149"/>
                  </a:cubicBezTo>
                  <a:cubicBezTo>
                    <a:pt x="242" y="150"/>
                    <a:pt x="240" y="150"/>
                    <a:pt x="237" y="150"/>
                  </a:cubicBezTo>
                  <a:cubicBezTo>
                    <a:pt x="240" y="151"/>
                    <a:pt x="242" y="151"/>
                    <a:pt x="242" y="151"/>
                  </a:cubicBezTo>
                  <a:cubicBezTo>
                    <a:pt x="242" y="151"/>
                    <a:pt x="242" y="151"/>
                    <a:pt x="242" y="151"/>
                  </a:cubicBezTo>
                  <a:cubicBezTo>
                    <a:pt x="242" y="151"/>
                    <a:pt x="242" y="152"/>
                    <a:pt x="242" y="152"/>
                  </a:cubicBezTo>
                  <a:cubicBezTo>
                    <a:pt x="243" y="154"/>
                    <a:pt x="245" y="155"/>
                    <a:pt x="246" y="155"/>
                  </a:cubicBezTo>
                  <a:cubicBezTo>
                    <a:pt x="247" y="155"/>
                    <a:pt x="248" y="155"/>
                    <a:pt x="248" y="154"/>
                  </a:cubicBezTo>
                  <a:cubicBezTo>
                    <a:pt x="249" y="154"/>
                    <a:pt x="250" y="154"/>
                    <a:pt x="250" y="153"/>
                  </a:cubicBezTo>
                  <a:cubicBezTo>
                    <a:pt x="250" y="153"/>
                    <a:pt x="250" y="153"/>
                    <a:pt x="250" y="153"/>
                  </a:cubicBezTo>
                  <a:cubicBezTo>
                    <a:pt x="250" y="153"/>
                    <a:pt x="250" y="153"/>
                    <a:pt x="250" y="153"/>
                  </a:cubicBezTo>
                  <a:cubicBezTo>
                    <a:pt x="251" y="153"/>
                    <a:pt x="256" y="155"/>
                    <a:pt x="262" y="158"/>
                  </a:cubicBezTo>
                  <a:cubicBezTo>
                    <a:pt x="256" y="155"/>
                    <a:pt x="251" y="152"/>
                    <a:pt x="251" y="152"/>
                  </a:cubicBezTo>
                  <a:cubicBezTo>
                    <a:pt x="251" y="152"/>
                    <a:pt x="251" y="152"/>
                    <a:pt x="251" y="152"/>
                  </a:cubicBezTo>
                  <a:cubicBezTo>
                    <a:pt x="251" y="151"/>
                    <a:pt x="251" y="150"/>
                    <a:pt x="251" y="148"/>
                  </a:cubicBezTo>
                  <a:cubicBezTo>
                    <a:pt x="250" y="147"/>
                    <a:pt x="248" y="146"/>
                    <a:pt x="246" y="146"/>
                  </a:cubicBezTo>
                  <a:cubicBezTo>
                    <a:pt x="246" y="146"/>
                    <a:pt x="246" y="146"/>
                    <a:pt x="246" y="146"/>
                  </a:cubicBezTo>
                  <a:cubicBezTo>
                    <a:pt x="246" y="146"/>
                    <a:pt x="246" y="146"/>
                    <a:pt x="246" y="146"/>
                  </a:cubicBezTo>
                  <a:cubicBezTo>
                    <a:pt x="246" y="146"/>
                    <a:pt x="246" y="146"/>
                    <a:pt x="246" y="146"/>
                  </a:cubicBezTo>
                  <a:cubicBezTo>
                    <a:pt x="245" y="146"/>
                    <a:pt x="231" y="103"/>
                    <a:pt x="232" y="102"/>
                  </a:cubicBezTo>
                  <a:cubicBezTo>
                    <a:pt x="232" y="102"/>
                    <a:pt x="232" y="102"/>
                    <a:pt x="232" y="102"/>
                  </a:cubicBezTo>
                  <a:cubicBezTo>
                    <a:pt x="237" y="101"/>
                    <a:pt x="239" y="96"/>
                    <a:pt x="238" y="92"/>
                  </a:cubicBezTo>
                  <a:cubicBezTo>
                    <a:pt x="238" y="92"/>
                    <a:pt x="238" y="92"/>
                    <a:pt x="238" y="92"/>
                  </a:cubicBezTo>
                  <a:cubicBezTo>
                    <a:pt x="237" y="90"/>
                    <a:pt x="283" y="72"/>
                    <a:pt x="291" y="72"/>
                  </a:cubicBezTo>
                  <a:cubicBezTo>
                    <a:pt x="292" y="72"/>
                    <a:pt x="292" y="72"/>
                    <a:pt x="292" y="73"/>
                  </a:cubicBezTo>
                  <a:cubicBezTo>
                    <a:pt x="292" y="72"/>
                    <a:pt x="292" y="72"/>
                    <a:pt x="292" y="72"/>
                  </a:cubicBezTo>
                  <a:cubicBezTo>
                    <a:pt x="295" y="78"/>
                    <a:pt x="301" y="81"/>
                    <a:pt x="308" y="81"/>
                  </a:cubicBezTo>
                  <a:cubicBezTo>
                    <a:pt x="310" y="81"/>
                    <a:pt x="313" y="81"/>
                    <a:pt x="315" y="80"/>
                  </a:cubicBezTo>
                  <a:cubicBezTo>
                    <a:pt x="324" y="76"/>
                    <a:pt x="328" y="65"/>
                    <a:pt x="324" y="57"/>
                  </a:cubicBezTo>
                  <a:cubicBezTo>
                    <a:pt x="321" y="51"/>
                    <a:pt x="314" y="47"/>
                    <a:pt x="308" y="47"/>
                  </a:cubicBezTo>
                  <a:cubicBezTo>
                    <a:pt x="305" y="47"/>
                    <a:pt x="302" y="47"/>
                    <a:pt x="300" y="49"/>
                  </a:cubicBezTo>
                  <a:cubicBezTo>
                    <a:pt x="299" y="49"/>
                    <a:pt x="298" y="49"/>
                    <a:pt x="297" y="50"/>
                  </a:cubicBezTo>
                  <a:cubicBezTo>
                    <a:pt x="298" y="50"/>
                    <a:pt x="298" y="50"/>
                    <a:pt x="298" y="50"/>
                  </a:cubicBezTo>
                  <a:cubicBezTo>
                    <a:pt x="298" y="50"/>
                    <a:pt x="297" y="50"/>
                    <a:pt x="297" y="50"/>
                  </a:cubicBezTo>
                  <a:cubicBezTo>
                    <a:pt x="293" y="50"/>
                    <a:pt x="264" y="19"/>
                    <a:pt x="266" y="17"/>
                  </a:cubicBezTo>
                  <a:cubicBezTo>
                    <a:pt x="266" y="17"/>
                    <a:pt x="266" y="17"/>
                    <a:pt x="266" y="17"/>
                  </a:cubicBezTo>
                  <a:cubicBezTo>
                    <a:pt x="267" y="16"/>
                    <a:pt x="268" y="13"/>
                    <a:pt x="268" y="11"/>
                  </a:cubicBezTo>
                  <a:cubicBezTo>
                    <a:pt x="268" y="5"/>
                    <a:pt x="263" y="0"/>
                    <a:pt x="257"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9" name="Freeform 22"/>
            <p:cNvSpPr>
              <a:spLocks/>
            </p:cNvSpPr>
            <p:nvPr/>
          </p:nvSpPr>
          <p:spPr bwMode="auto">
            <a:xfrm>
              <a:off x="7312025" y="3098800"/>
              <a:ext cx="12700" cy="26988"/>
            </a:xfrm>
            <a:custGeom>
              <a:avLst/>
              <a:gdLst>
                <a:gd name="T0" fmla="*/ 0 w 3"/>
                <a:gd name="T1" fmla="*/ 0 h 7"/>
                <a:gd name="T2" fmla="*/ 3 w 3"/>
                <a:gd name="T3" fmla="*/ 7 h 7"/>
                <a:gd name="T4" fmla="*/ 0 w 3"/>
                <a:gd name="T5" fmla="*/ 0 h 7"/>
              </a:gdLst>
              <a:ahLst/>
              <a:cxnLst>
                <a:cxn ang="0">
                  <a:pos x="T0" y="T1"/>
                </a:cxn>
                <a:cxn ang="0">
                  <a:pos x="T2" y="T3"/>
                </a:cxn>
                <a:cxn ang="0">
                  <a:pos x="T4" y="T5"/>
                </a:cxn>
              </a:cxnLst>
              <a:rect l="0" t="0" r="r" b="b"/>
              <a:pathLst>
                <a:path w="3" h="7">
                  <a:moveTo>
                    <a:pt x="0" y="0"/>
                  </a:moveTo>
                  <a:cubicBezTo>
                    <a:pt x="1" y="2"/>
                    <a:pt x="2" y="4"/>
                    <a:pt x="3" y="7"/>
                  </a:cubicBezTo>
                  <a:cubicBezTo>
                    <a:pt x="2" y="4"/>
                    <a:pt x="1" y="2"/>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0" name="Freeform 23"/>
            <p:cNvSpPr>
              <a:spLocks/>
            </p:cNvSpPr>
            <p:nvPr/>
          </p:nvSpPr>
          <p:spPr bwMode="auto">
            <a:xfrm>
              <a:off x="6307138" y="2813050"/>
              <a:ext cx="41275" cy="3175"/>
            </a:xfrm>
            <a:custGeom>
              <a:avLst/>
              <a:gdLst>
                <a:gd name="T0" fmla="*/ 5 w 11"/>
                <a:gd name="T1" fmla="*/ 0 h 1"/>
                <a:gd name="T2" fmla="*/ 0 w 11"/>
                <a:gd name="T3" fmla="*/ 0 h 1"/>
                <a:gd name="T4" fmla="*/ 5 w 11"/>
                <a:gd name="T5" fmla="*/ 1 h 1"/>
                <a:gd name="T6" fmla="*/ 11 w 11"/>
                <a:gd name="T7" fmla="*/ 0 h 1"/>
                <a:gd name="T8" fmla="*/ 5 w 11"/>
                <a:gd name="T9" fmla="*/ 0 h 1"/>
              </a:gdLst>
              <a:ahLst/>
              <a:cxnLst>
                <a:cxn ang="0">
                  <a:pos x="T0" y="T1"/>
                </a:cxn>
                <a:cxn ang="0">
                  <a:pos x="T2" y="T3"/>
                </a:cxn>
                <a:cxn ang="0">
                  <a:pos x="T4" y="T5"/>
                </a:cxn>
                <a:cxn ang="0">
                  <a:pos x="T6" y="T7"/>
                </a:cxn>
                <a:cxn ang="0">
                  <a:pos x="T8" y="T9"/>
                </a:cxn>
              </a:cxnLst>
              <a:rect l="0" t="0" r="r" b="b"/>
              <a:pathLst>
                <a:path w="11" h="1">
                  <a:moveTo>
                    <a:pt x="5" y="0"/>
                  </a:moveTo>
                  <a:cubicBezTo>
                    <a:pt x="4" y="0"/>
                    <a:pt x="2" y="0"/>
                    <a:pt x="0" y="0"/>
                  </a:cubicBezTo>
                  <a:cubicBezTo>
                    <a:pt x="2" y="1"/>
                    <a:pt x="4" y="1"/>
                    <a:pt x="5" y="1"/>
                  </a:cubicBezTo>
                  <a:cubicBezTo>
                    <a:pt x="7" y="1"/>
                    <a:pt x="9" y="0"/>
                    <a:pt x="11" y="0"/>
                  </a:cubicBezTo>
                  <a:cubicBezTo>
                    <a:pt x="9" y="0"/>
                    <a:pt x="7" y="0"/>
                    <a:pt x="5"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1" name="Freeform 24"/>
            <p:cNvSpPr>
              <a:spLocks/>
            </p:cNvSpPr>
            <p:nvPr/>
          </p:nvSpPr>
          <p:spPr bwMode="auto">
            <a:xfrm>
              <a:off x="6442075" y="2843213"/>
              <a:ext cx="11113" cy="7938"/>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2"/>
                    <a:pt x="1"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2" name="Freeform 25"/>
            <p:cNvSpPr>
              <a:spLocks/>
            </p:cNvSpPr>
            <p:nvPr/>
          </p:nvSpPr>
          <p:spPr bwMode="auto">
            <a:xfrm>
              <a:off x="6502400" y="3136900"/>
              <a:ext cx="14288" cy="52388"/>
            </a:xfrm>
            <a:custGeom>
              <a:avLst/>
              <a:gdLst>
                <a:gd name="T0" fmla="*/ 0 w 4"/>
                <a:gd name="T1" fmla="*/ 0 h 14"/>
                <a:gd name="T2" fmla="*/ 4 w 4"/>
                <a:gd name="T3" fmla="*/ 14 h 14"/>
                <a:gd name="T4" fmla="*/ 0 w 4"/>
                <a:gd name="T5" fmla="*/ 0 h 14"/>
              </a:gdLst>
              <a:ahLst/>
              <a:cxnLst>
                <a:cxn ang="0">
                  <a:pos x="T0" y="T1"/>
                </a:cxn>
                <a:cxn ang="0">
                  <a:pos x="T2" y="T3"/>
                </a:cxn>
                <a:cxn ang="0">
                  <a:pos x="T4" y="T5"/>
                </a:cxn>
              </a:cxnLst>
              <a:rect l="0" t="0" r="r" b="b"/>
              <a:pathLst>
                <a:path w="4" h="14">
                  <a:moveTo>
                    <a:pt x="0" y="0"/>
                  </a:moveTo>
                  <a:cubicBezTo>
                    <a:pt x="1" y="4"/>
                    <a:pt x="2" y="9"/>
                    <a:pt x="4" y="14"/>
                  </a:cubicBezTo>
                  <a:cubicBezTo>
                    <a:pt x="3" y="9"/>
                    <a:pt x="1"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3" name="Freeform 26"/>
            <p:cNvSpPr>
              <a:spLocks noEditPoints="1"/>
            </p:cNvSpPr>
            <p:nvPr/>
          </p:nvSpPr>
          <p:spPr bwMode="auto">
            <a:xfrm>
              <a:off x="5980113" y="2941638"/>
              <a:ext cx="528638" cy="195263"/>
            </a:xfrm>
            <a:custGeom>
              <a:avLst/>
              <a:gdLst>
                <a:gd name="T0" fmla="*/ 95 w 141"/>
                <a:gd name="T1" fmla="*/ 22 h 52"/>
                <a:gd name="T2" fmla="*/ 101 w 141"/>
                <a:gd name="T3" fmla="*/ 23 h 52"/>
                <a:gd name="T4" fmla="*/ 103 w 141"/>
                <a:gd name="T5" fmla="*/ 22 h 52"/>
                <a:gd name="T6" fmla="*/ 133 w 141"/>
                <a:gd name="T7" fmla="*/ 41 h 52"/>
                <a:gd name="T8" fmla="*/ 132 w 141"/>
                <a:gd name="T9" fmla="*/ 42 h 52"/>
                <a:gd name="T10" fmla="*/ 70 w 141"/>
                <a:gd name="T11" fmla="*/ 45 h 52"/>
                <a:gd name="T12" fmla="*/ 65 w 141"/>
                <a:gd name="T13" fmla="*/ 45 h 52"/>
                <a:gd name="T14" fmla="*/ 64 w 141"/>
                <a:gd name="T15" fmla="*/ 43 h 52"/>
                <a:gd name="T16" fmla="*/ 95 w 141"/>
                <a:gd name="T17" fmla="*/ 22 h 52"/>
                <a:gd name="T18" fmla="*/ 15 w 141"/>
                <a:gd name="T19" fmla="*/ 0 h 52"/>
                <a:gd name="T20" fmla="*/ 7 w 141"/>
                <a:gd name="T21" fmla="*/ 6 h 52"/>
                <a:gd name="T22" fmla="*/ 4 w 141"/>
                <a:gd name="T23" fmla="*/ 5 h 52"/>
                <a:gd name="T24" fmla="*/ 1 w 141"/>
                <a:gd name="T25" fmla="*/ 10 h 52"/>
                <a:gd name="T26" fmla="*/ 6 w 141"/>
                <a:gd name="T27" fmla="*/ 12 h 52"/>
                <a:gd name="T28" fmla="*/ 7 w 141"/>
                <a:gd name="T29" fmla="*/ 11 h 52"/>
                <a:gd name="T30" fmla="*/ 52 w 141"/>
                <a:gd name="T31" fmla="*/ 43 h 52"/>
                <a:gd name="T32" fmla="*/ 52 w 141"/>
                <a:gd name="T33" fmla="*/ 49 h 52"/>
                <a:gd name="T34" fmla="*/ 61 w 141"/>
                <a:gd name="T35" fmla="*/ 52 h 52"/>
                <a:gd name="T36" fmla="*/ 65 w 141"/>
                <a:gd name="T37" fmla="*/ 47 h 52"/>
                <a:gd name="T38" fmla="*/ 132 w 141"/>
                <a:gd name="T39" fmla="*/ 43 h 52"/>
                <a:gd name="T40" fmla="*/ 133 w 141"/>
                <a:gd name="T41" fmla="*/ 44 h 52"/>
                <a:gd name="T42" fmla="*/ 137 w 141"/>
                <a:gd name="T43" fmla="*/ 46 h 52"/>
                <a:gd name="T44" fmla="*/ 137 w 141"/>
                <a:gd name="T45" fmla="*/ 46 h 52"/>
                <a:gd name="T46" fmla="*/ 138 w 141"/>
                <a:gd name="T47" fmla="*/ 46 h 52"/>
                <a:gd name="T48" fmla="*/ 140 w 141"/>
                <a:gd name="T49" fmla="*/ 41 h 52"/>
                <a:gd name="T50" fmla="*/ 138 w 141"/>
                <a:gd name="T51" fmla="*/ 39 h 52"/>
                <a:gd name="T52" fmla="*/ 137 w 141"/>
                <a:gd name="T53" fmla="*/ 39 h 52"/>
                <a:gd name="T54" fmla="*/ 137 w 141"/>
                <a:gd name="T55" fmla="*/ 39 h 52"/>
                <a:gd name="T56" fmla="*/ 135 w 141"/>
                <a:gd name="T57" fmla="*/ 39 h 52"/>
                <a:gd name="T58" fmla="*/ 133 w 141"/>
                <a:gd name="T59" fmla="*/ 40 h 52"/>
                <a:gd name="T60" fmla="*/ 103 w 141"/>
                <a:gd name="T61" fmla="*/ 21 h 52"/>
                <a:gd name="T62" fmla="*/ 103 w 141"/>
                <a:gd name="T63" fmla="*/ 17 h 52"/>
                <a:gd name="T64" fmla="*/ 97 w 141"/>
                <a:gd name="T65" fmla="*/ 15 h 52"/>
                <a:gd name="T66" fmla="*/ 95 w 141"/>
                <a:gd name="T67" fmla="*/ 21 h 52"/>
                <a:gd name="T68" fmla="*/ 63 w 141"/>
                <a:gd name="T69" fmla="*/ 41 h 52"/>
                <a:gd name="T70" fmla="*/ 58 w 141"/>
                <a:gd name="T71" fmla="*/ 39 h 52"/>
                <a:gd name="T72" fmla="*/ 53 w 141"/>
                <a:gd name="T73" fmla="*/ 41 h 52"/>
                <a:gd name="T74" fmla="*/ 53 w 141"/>
                <a:gd name="T75" fmla="*/ 41 h 52"/>
                <a:gd name="T76" fmla="*/ 8 w 141"/>
                <a:gd name="T77" fmla="*/ 10 h 52"/>
                <a:gd name="T78" fmla="*/ 8 w 141"/>
                <a:gd name="T79" fmla="*/ 7 h 52"/>
                <a:gd name="T80" fmla="*/ 15 w 141"/>
                <a:gd name="T8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52">
                  <a:moveTo>
                    <a:pt x="96" y="22"/>
                  </a:moveTo>
                  <a:cubicBezTo>
                    <a:pt x="95" y="22"/>
                    <a:pt x="95" y="22"/>
                    <a:pt x="95" y="22"/>
                  </a:cubicBezTo>
                  <a:cubicBezTo>
                    <a:pt x="96" y="23"/>
                    <a:pt x="98" y="24"/>
                    <a:pt x="99" y="24"/>
                  </a:cubicBezTo>
                  <a:cubicBezTo>
                    <a:pt x="100" y="24"/>
                    <a:pt x="100" y="23"/>
                    <a:pt x="101" y="23"/>
                  </a:cubicBezTo>
                  <a:cubicBezTo>
                    <a:pt x="102" y="23"/>
                    <a:pt x="102" y="23"/>
                    <a:pt x="103" y="22"/>
                  </a:cubicBezTo>
                  <a:cubicBezTo>
                    <a:pt x="103" y="22"/>
                    <a:pt x="103" y="22"/>
                    <a:pt x="103" y="22"/>
                  </a:cubicBezTo>
                  <a:cubicBezTo>
                    <a:pt x="103" y="22"/>
                    <a:pt x="103" y="22"/>
                    <a:pt x="103" y="22"/>
                  </a:cubicBezTo>
                  <a:cubicBezTo>
                    <a:pt x="104" y="22"/>
                    <a:pt x="133" y="40"/>
                    <a:pt x="133" y="41"/>
                  </a:cubicBezTo>
                  <a:cubicBezTo>
                    <a:pt x="133" y="41"/>
                    <a:pt x="133" y="41"/>
                    <a:pt x="133" y="41"/>
                  </a:cubicBezTo>
                  <a:cubicBezTo>
                    <a:pt x="132" y="41"/>
                    <a:pt x="132" y="42"/>
                    <a:pt x="132" y="42"/>
                  </a:cubicBezTo>
                  <a:cubicBezTo>
                    <a:pt x="132" y="42"/>
                    <a:pt x="132" y="42"/>
                    <a:pt x="132" y="42"/>
                  </a:cubicBezTo>
                  <a:cubicBezTo>
                    <a:pt x="132" y="43"/>
                    <a:pt x="86" y="45"/>
                    <a:pt x="70" y="45"/>
                  </a:cubicBezTo>
                  <a:cubicBezTo>
                    <a:pt x="67" y="45"/>
                    <a:pt x="65" y="45"/>
                    <a:pt x="65" y="45"/>
                  </a:cubicBezTo>
                  <a:cubicBezTo>
                    <a:pt x="65" y="45"/>
                    <a:pt x="65" y="45"/>
                    <a:pt x="65" y="45"/>
                  </a:cubicBezTo>
                  <a:cubicBezTo>
                    <a:pt x="65" y="44"/>
                    <a:pt x="64" y="43"/>
                    <a:pt x="64" y="43"/>
                  </a:cubicBezTo>
                  <a:cubicBezTo>
                    <a:pt x="64" y="43"/>
                    <a:pt x="64" y="43"/>
                    <a:pt x="64" y="43"/>
                  </a:cubicBezTo>
                  <a:cubicBezTo>
                    <a:pt x="64" y="43"/>
                    <a:pt x="64" y="43"/>
                    <a:pt x="64" y="43"/>
                  </a:cubicBezTo>
                  <a:cubicBezTo>
                    <a:pt x="64" y="42"/>
                    <a:pt x="94" y="22"/>
                    <a:pt x="95" y="22"/>
                  </a:cubicBezTo>
                  <a:cubicBezTo>
                    <a:pt x="96" y="22"/>
                    <a:pt x="96" y="22"/>
                    <a:pt x="96" y="22"/>
                  </a:cubicBezTo>
                  <a:moveTo>
                    <a:pt x="15" y="0"/>
                  </a:moveTo>
                  <a:cubicBezTo>
                    <a:pt x="11" y="3"/>
                    <a:pt x="8" y="6"/>
                    <a:pt x="7" y="6"/>
                  </a:cubicBezTo>
                  <a:cubicBezTo>
                    <a:pt x="7" y="6"/>
                    <a:pt x="7" y="6"/>
                    <a:pt x="7" y="6"/>
                  </a:cubicBezTo>
                  <a:cubicBezTo>
                    <a:pt x="7" y="6"/>
                    <a:pt x="7" y="6"/>
                    <a:pt x="7" y="6"/>
                  </a:cubicBezTo>
                  <a:cubicBezTo>
                    <a:pt x="6" y="5"/>
                    <a:pt x="5" y="5"/>
                    <a:pt x="4" y="5"/>
                  </a:cubicBezTo>
                  <a:cubicBezTo>
                    <a:pt x="4" y="5"/>
                    <a:pt x="3" y="5"/>
                    <a:pt x="3" y="5"/>
                  </a:cubicBezTo>
                  <a:cubicBezTo>
                    <a:pt x="1" y="6"/>
                    <a:pt x="0" y="8"/>
                    <a:pt x="1" y="10"/>
                  </a:cubicBezTo>
                  <a:cubicBezTo>
                    <a:pt x="1" y="12"/>
                    <a:pt x="3" y="12"/>
                    <a:pt x="4" y="12"/>
                  </a:cubicBezTo>
                  <a:cubicBezTo>
                    <a:pt x="5" y="12"/>
                    <a:pt x="6" y="12"/>
                    <a:pt x="6" y="12"/>
                  </a:cubicBezTo>
                  <a:cubicBezTo>
                    <a:pt x="7" y="12"/>
                    <a:pt x="7" y="12"/>
                    <a:pt x="7" y="11"/>
                  </a:cubicBezTo>
                  <a:cubicBezTo>
                    <a:pt x="7" y="11"/>
                    <a:pt x="7" y="11"/>
                    <a:pt x="7" y="11"/>
                  </a:cubicBezTo>
                  <a:cubicBezTo>
                    <a:pt x="7" y="11"/>
                    <a:pt x="7" y="11"/>
                    <a:pt x="7" y="11"/>
                  </a:cubicBezTo>
                  <a:cubicBezTo>
                    <a:pt x="9" y="11"/>
                    <a:pt x="52" y="42"/>
                    <a:pt x="52" y="43"/>
                  </a:cubicBezTo>
                  <a:cubicBezTo>
                    <a:pt x="52" y="43"/>
                    <a:pt x="52" y="43"/>
                    <a:pt x="52" y="43"/>
                  </a:cubicBezTo>
                  <a:cubicBezTo>
                    <a:pt x="51" y="44"/>
                    <a:pt x="51" y="47"/>
                    <a:pt x="52" y="49"/>
                  </a:cubicBezTo>
                  <a:cubicBezTo>
                    <a:pt x="53" y="51"/>
                    <a:pt x="55" y="52"/>
                    <a:pt x="58" y="52"/>
                  </a:cubicBezTo>
                  <a:cubicBezTo>
                    <a:pt x="59" y="52"/>
                    <a:pt x="60" y="52"/>
                    <a:pt x="61" y="52"/>
                  </a:cubicBezTo>
                  <a:cubicBezTo>
                    <a:pt x="63" y="51"/>
                    <a:pt x="65" y="49"/>
                    <a:pt x="65" y="46"/>
                  </a:cubicBezTo>
                  <a:cubicBezTo>
                    <a:pt x="65" y="47"/>
                    <a:pt x="65" y="47"/>
                    <a:pt x="65" y="47"/>
                  </a:cubicBezTo>
                  <a:cubicBezTo>
                    <a:pt x="65" y="45"/>
                    <a:pt x="117" y="43"/>
                    <a:pt x="129" y="43"/>
                  </a:cubicBezTo>
                  <a:cubicBezTo>
                    <a:pt x="131" y="43"/>
                    <a:pt x="132" y="43"/>
                    <a:pt x="132" y="43"/>
                  </a:cubicBezTo>
                  <a:cubicBezTo>
                    <a:pt x="132" y="43"/>
                    <a:pt x="132" y="43"/>
                    <a:pt x="132" y="43"/>
                  </a:cubicBezTo>
                  <a:cubicBezTo>
                    <a:pt x="133" y="44"/>
                    <a:pt x="133" y="44"/>
                    <a:pt x="133" y="44"/>
                  </a:cubicBezTo>
                  <a:cubicBezTo>
                    <a:pt x="133" y="46"/>
                    <a:pt x="135" y="46"/>
                    <a:pt x="136" y="46"/>
                  </a:cubicBezTo>
                  <a:cubicBezTo>
                    <a:pt x="136" y="46"/>
                    <a:pt x="137" y="46"/>
                    <a:pt x="137" y="46"/>
                  </a:cubicBezTo>
                  <a:cubicBezTo>
                    <a:pt x="137" y="46"/>
                    <a:pt x="137" y="46"/>
                    <a:pt x="137" y="46"/>
                  </a:cubicBezTo>
                  <a:cubicBezTo>
                    <a:pt x="137" y="46"/>
                    <a:pt x="137" y="46"/>
                    <a:pt x="137" y="46"/>
                  </a:cubicBezTo>
                  <a:cubicBezTo>
                    <a:pt x="137" y="46"/>
                    <a:pt x="138" y="49"/>
                    <a:pt x="139" y="52"/>
                  </a:cubicBezTo>
                  <a:cubicBezTo>
                    <a:pt x="138" y="48"/>
                    <a:pt x="138" y="46"/>
                    <a:pt x="138" y="46"/>
                  </a:cubicBezTo>
                  <a:cubicBezTo>
                    <a:pt x="138" y="46"/>
                    <a:pt x="138" y="46"/>
                    <a:pt x="138" y="46"/>
                  </a:cubicBezTo>
                  <a:cubicBezTo>
                    <a:pt x="140" y="45"/>
                    <a:pt x="141" y="43"/>
                    <a:pt x="140" y="41"/>
                  </a:cubicBezTo>
                  <a:cubicBezTo>
                    <a:pt x="140" y="40"/>
                    <a:pt x="139" y="39"/>
                    <a:pt x="138" y="39"/>
                  </a:cubicBezTo>
                  <a:cubicBezTo>
                    <a:pt x="138" y="39"/>
                    <a:pt x="138" y="39"/>
                    <a:pt x="138" y="39"/>
                  </a:cubicBezTo>
                  <a:cubicBezTo>
                    <a:pt x="138" y="39"/>
                    <a:pt x="139" y="33"/>
                    <a:pt x="141" y="25"/>
                  </a:cubicBezTo>
                  <a:cubicBezTo>
                    <a:pt x="139" y="33"/>
                    <a:pt x="137" y="39"/>
                    <a:pt x="137" y="39"/>
                  </a:cubicBezTo>
                  <a:cubicBezTo>
                    <a:pt x="137" y="39"/>
                    <a:pt x="137" y="39"/>
                    <a:pt x="137" y="39"/>
                  </a:cubicBezTo>
                  <a:cubicBezTo>
                    <a:pt x="137" y="39"/>
                    <a:pt x="137" y="39"/>
                    <a:pt x="137" y="39"/>
                  </a:cubicBezTo>
                  <a:cubicBezTo>
                    <a:pt x="137" y="39"/>
                    <a:pt x="136" y="39"/>
                    <a:pt x="136" y="39"/>
                  </a:cubicBezTo>
                  <a:cubicBezTo>
                    <a:pt x="136" y="39"/>
                    <a:pt x="135" y="39"/>
                    <a:pt x="135" y="39"/>
                  </a:cubicBezTo>
                  <a:cubicBezTo>
                    <a:pt x="134" y="39"/>
                    <a:pt x="134" y="40"/>
                    <a:pt x="133" y="40"/>
                  </a:cubicBezTo>
                  <a:cubicBezTo>
                    <a:pt x="133" y="40"/>
                    <a:pt x="133" y="40"/>
                    <a:pt x="133" y="40"/>
                  </a:cubicBezTo>
                  <a:cubicBezTo>
                    <a:pt x="133" y="40"/>
                    <a:pt x="133" y="40"/>
                    <a:pt x="133" y="40"/>
                  </a:cubicBezTo>
                  <a:cubicBezTo>
                    <a:pt x="132" y="40"/>
                    <a:pt x="103" y="22"/>
                    <a:pt x="103" y="21"/>
                  </a:cubicBezTo>
                  <a:cubicBezTo>
                    <a:pt x="103" y="21"/>
                    <a:pt x="103" y="21"/>
                    <a:pt x="103" y="21"/>
                  </a:cubicBezTo>
                  <a:cubicBezTo>
                    <a:pt x="104" y="20"/>
                    <a:pt x="104" y="18"/>
                    <a:pt x="103" y="17"/>
                  </a:cubicBezTo>
                  <a:cubicBezTo>
                    <a:pt x="103" y="15"/>
                    <a:pt x="101" y="14"/>
                    <a:pt x="99" y="14"/>
                  </a:cubicBezTo>
                  <a:cubicBezTo>
                    <a:pt x="98" y="14"/>
                    <a:pt x="98" y="15"/>
                    <a:pt x="97" y="15"/>
                  </a:cubicBezTo>
                  <a:cubicBezTo>
                    <a:pt x="95" y="16"/>
                    <a:pt x="94" y="19"/>
                    <a:pt x="95" y="21"/>
                  </a:cubicBezTo>
                  <a:cubicBezTo>
                    <a:pt x="95" y="21"/>
                    <a:pt x="95" y="21"/>
                    <a:pt x="95" y="21"/>
                  </a:cubicBezTo>
                  <a:cubicBezTo>
                    <a:pt x="95" y="22"/>
                    <a:pt x="65" y="41"/>
                    <a:pt x="63" y="41"/>
                  </a:cubicBezTo>
                  <a:cubicBezTo>
                    <a:pt x="63" y="41"/>
                    <a:pt x="63" y="41"/>
                    <a:pt x="63" y="41"/>
                  </a:cubicBezTo>
                  <a:cubicBezTo>
                    <a:pt x="63" y="41"/>
                    <a:pt x="63" y="41"/>
                    <a:pt x="63" y="41"/>
                  </a:cubicBezTo>
                  <a:cubicBezTo>
                    <a:pt x="62" y="40"/>
                    <a:pt x="60" y="39"/>
                    <a:pt x="58" y="39"/>
                  </a:cubicBezTo>
                  <a:cubicBezTo>
                    <a:pt x="57" y="39"/>
                    <a:pt x="56" y="39"/>
                    <a:pt x="55" y="40"/>
                  </a:cubicBezTo>
                  <a:cubicBezTo>
                    <a:pt x="54" y="40"/>
                    <a:pt x="54" y="41"/>
                    <a:pt x="53" y="41"/>
                  </a:cubicBezTo>
                  <a:cubicBezTo>
                    <a:pt x="53" y="41"/>
                    <a:pt x="53" y="41"/>
                    <a:pt x="53" y="41"/>
                  </a:cubicBezTo>
                  <a:cubicBezTo>
                    <a:pt x="53" y="41"/>
                    <a:pt x="53" y="41"/>
                    <a:pt x="53" y="41"/>
                  </a:cubicBezTo>
                  <a:cubicBezTo>
                    <a:pt x="51" y="41"/>
                    <a:pt x="8" y="11"/>
                    <a:pt x="8" y="10"/>
                  </a:cubicBezTo>
                  <a:cubicBezTo>
                    <a:pt x="8" y="10"/>
                    <a:pt x="8" y="10"/>
                    <a:pt x="8" y="10"/>
                  </a:cubicBezTo>
                  <a:cubicBezTo>
                    <a:pt x="9" y="9"/>
                    <a:pt x="9" y="8"/>
                    <a:pt x="8" y="7"/>
                  </a:cubicBezTo>
                  <a:cubicBezTo>
                    <a:pt x="8" y="7"/>
                    <a:pt x="8" y="7"/>
                    <a:pt x="8" y="7"/>
                  </a:cubicBezTo>
                  <a:cubicBezTo>
                    <a:pt x="8" y="7"/>
                    <a:pt x="8" y="7"/>
                    <a:pt x="8" y="7"/>
                  </a:cubicBezTo>
                  <a:cubicBezTo>
                    <a:pt x="8" y="6"/>
                    <a:pt x="11" y="4"/>
                    <a:pt x="15"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4" name="Freeform 27"/>
            <p:cNvSpPr>
              <a:spLocks/>
            </p:cNvSpPr>
            <p:nvPr/>
          </p:nvSpPr>
          <p:spPr bwMode="auto">
            <a:xfrm>
              <a:off x="6508750" y="3016250"/>
              <a:ext cx="7938" cy="19050"/>
            </a:xfrm>
            <a:custGeom>
              <a:avLst/>
              <a:gdLst>
                <a:gd name="T0" fmla="*/ 2 w 2"/>
                <a:gd name="T1" fmla="*/ 0 h 5"/>
                <a:gd name="T2" fmla="*/ 0 w 2"/>
                <a:gd name="T3" fmla="*/ 5 h 5"/>
                <a:gd name="T4" fmla="*/ 2 w 2"/>
                <a:gd name="T5" fmla="*/ 0 h 5"/>
              </a:gdLst>
              <a:ahLst/>
              <a:cxnLst>
                <a:cxn ang="0">
                  <a:pos x="T0" y="T1"/>
                </a:cxn>
                <a:cxn ang="0">
                  <a:pos x="T2" y="T3"/>
                </a:cxn>
                <a:cxn ang="0">
                  <a:pos x="T4" y="T5"/>
                </a:cxn>
              </a:cxnLst>
              <a:rect l="0" t="0" r="r" b="b"/>
              <a:pathLst>
                <a:path w="2" h="5">
                  <a:moveTo>
                    <a:pt x="2" y="0"/>
                  </a:moveTo>
                  <a:cubicBezTo>
                    <a:pt x="1" y="2"/>
                    <a:pt x="1" y="4"/>
                    <a:pt x="0" y="5"/>
                  </a:cubicBezTo>
                  <a:cubicBezTo>
                    <a:pt x="1" y="4"/>
                    <a:pt x="1" y="2"/>
                    <a:pt x="2"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grpSp>
    </p:spTree>
    <p:extLst>
      <p:ext uri="{BB962C8B-B14F-4D97-AF65-F5344CB8AC3E}">
        <p14:creationId xmlns:p14="http://schemas.microsoft.com/office/powerpoint/2010/main" val="1798752063"/>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Picture Placeholder 3"/>
          <p:cNvSpPr>
            <a:spLocks noGrp="1"/>
          </p:cNvSpPr>
          <p:nvPr>
            <p:ph type="pic" sz="quarter" idx="10"/>
          </p:nvPr>
        </p:nvSpPr>
        <p:spPr>
          <a:xfrm>
            <a:off x="12" y="0"/>
            <a:ext cx="9143999" cy="5143500"/>
          </a:xfrm>
        </p:spPr>
        <p:txBody>
          <a:bodyPr anchor="ctr" anchorCtr="0"/>
          <a:lstStyle>
            <a:lvl1pPr algn="ctr">
              <a:defRPr/>
            </a:lvl1pPr>
          </a:lstStyle>
          <a:p>
            <a:endParaRPr lang="en-US" dirty="0"/>
          </a:p>
        </p:txBody>
      </p:sp>
    </p:spTree>
    <p:extLst>
      <p:ext uri="{BB962C8B-B14F-4D97-AF65-F5344CB8AC3E}">
        <p14:creationId xmlns:p14="http://schemas.microsoft.com/office/powerpoint/2010/main" val="404221147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Welcome 1">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21" name="Group 20"/>
          <p:cNvGrpSpPr/>
          <p:nvPr userDrawn="1"/>
        </p:nvGrpSpPr>
        <p:grpSpPr>
          <a:xfrm>
            <a:off x="1743277" y="-30028"/>
            <a:ext cx="1783064" cy="5340714"/>
            <a:chOff x="6743391" y="-40037"/>
            <a:chExt cx="2377418" cy="7120952"/>
          </a:xfrm>
        </p:grpSpPr>
        <p:sp>
          <p:nvSpPr>
            <p:cNvPr id="22" name="Freeform 21"/>
            <p:cNvSpPr/>
            <p:nvPr/>
          </p:nvSpPr>
          <p:spPr>
            <a:xfrm rot="1200000">
              <a:off x="8197210" y="5091063"/>
              <a:ext cx="365760" cy="1765207"/>
            </a:xfrm>
            <a:custGeom>
              <a:avLst/>
              <a:gdLst>
                <a:gd name="connsiteX0" fmla="*/ 365760 w 365760"/>
                <a:gd name="connsiteY0" fmla="*/ 0 h 1765207"/>
                <a:gd name="connsiteX1" fmla="*/ 365760 w 365760"/>
                <a:gd name="connsiteY1" fmla="*/ 1632082 h 1765207"/>
                <a:gd name="connsiteX2" fmla="*/ 0 w 365760"/>
                <a:gd name="connsiteY2" fmla="*/ 1765207 h 1765207"/>
                <a:gd name="connsiteX3" fmla="*/ 0 w 365760"/>
                <a:gd name="connsiteY3" fmla="*/ 133126 h 1765207"/>
              </a:gdLst>
              <a:ahLst/>
              <a:cxnLst>
                <a:cxn ang="0">
                  <a:pos x="connsiteX0" y="connsiteY0"/>
                </a:cxn>
                <a:cxn ang="0">
                  <a:pos x="connsiteX1" y="connsiteY1"/>
                </a:cxn>
                <a:cxn ang="0">
                  <a:pos x="connsiteX2" y="connsiteY2"/>
                </a:cxn>
                <a:cxn ang="0">
                  <a:pos x="connsiteX3" y="connsiteY3"/>
                </a:cxn>
              </a:cxnLst>
              <a:rect l="l" t="t" r="r" b="b"/>
              <a:pathLst>
                <a:path w="365760" h="1765207">
                  <a:moveTo>
                    <a:pt x="365760" y="0"/>
                  </a:moveTo>
                  <a:lnTo>
                    <a:pt x="365760" y="1632082"/>
                  </a:lnTo>
                  <a:lnTo>
                    <a:pt x="0" y="1765207"/>
                  </a:lnTo>
                  <a:lnTo>
                    <a:pt x="0" y="133126"/>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23" name="Freeform 22"/>
            <p:cNvSpPr/>
            <p:nvPr/>
          </p:nvSpPr>
          <p:spPr>
            <a:xfrm rot="1200000">
              <a:off x="6743391" y="972631"/>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24" name="Freeform 23"/>
            <p:cNvSpPr/>
            <p:nvPr/>
          </p:nvSpPr>
          <p:spPr>
            <a:xfrm rot="1200000">
              <a:off x="7094507" y="2161338"/>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25" name="Freeform 24"/>
            <p:cNvSpPr/>
            <p:nvPr/>
          </p:nvSpPr>
          <p:spPr>
            <a:xfrm rot="1200000">
              <a:off x="8755049" y="-40037"/>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grpSp>
      <p:sp>
        <p:nvSpPr>
          <p:cNvPr id="20" name="Picture Placeholder 19"/>
          <p:cNvSpPr>
            <a:spLocks noGrp="1"/>
          </p:cNvSpPr>
          <p:nvPr userDrawn="1">
            <p:ph type="pic" sz="quarter" idx="10"/>
          </p:nvPr>
        </p:nvSpPr>
        <p:spPr>
          <a:xfrm>
            <a:off x="1211619" y="128155"/>
            <a:ext cx="3475076" cy="4824859"/>
          </a:xfrm>
          <a:custGeom>
            <a:avLst/>
            <a:gdLst>
              <a:gd name="connsiteX0" fmla="*/ 3375866 w 4633435"/>
              <a:gd name="connsiteY0" fmla="*/ 1948335 h 6433145"/>
              <a:gd name="connsiteX1" fmla="*/ 1743529 w 4633435"/>
              <a:gd name="connsiteY1" fmla="*/ 6433145 h 6433145"/>
              <a:gd name="connsiteX2" fmla="*/ 1354296 w 4633435"/>
              <a:gd name="connsiteY2" fmla="*/ 6433145 h 6433145"/>
              <a:gd name="connsiteX3" fmla="*/ 2986632 w 4633435"/>
              <a:gd name="connsiteY3" fmla="*/ 1948336 h 6433145"/>
              <a:gd name="connsiteX4" fmla="*/ 1927309 w 4633435"/>
              <a:gd name="connsiteY4" fmla="*/ 1085245 h 6433145"/>
              <a:gd name="connsiteX5" fmla="*/ 389233 w 4633435"/>
              <a:gd name="connsiteY5" fmla="*/ 5311073 h 6433145"/>
              <a:gd name="connsiteX6" fmla="*/ 0 w 4633435"/>
              <a:gd name="connsiteY6" fmla="*/ 5311073 h 6433145"/>
              <a:gd name="connsiteX7" fmla="*/ 1538076 w 4633435"/>
              <a:gd name="connsiteY7" fmla="*/ 1085245 h 6433145"/>
              <a:gd name="connsiteX8" fmla="*/ 4144614 w 4633435"/>
              <a:gd name="connsiteY8" fmla="*/ 1054143 h 6433145"/>
              <a:gd name="connsiteX9" fmla="*/ 2240188 w 4633435"/>
              <a:gd name="connsiteY9" fmla="*/ 6286513 h 6433145"/>
              <a:gd name="connsiteX10" fmla="*/ 1850955 w 4633435"/>
              <a:gd name="connsiteY10" fmla="*/ 6286512 h 6433145"/>
              <a:gd name="connsiteX11" fmla="*/ 3755381 w 4633435"/>
              <a:gd name="connsiteY11" fmla="*/ 1054144 h 6433145"/>
              <a:gd name="connsiteX12" fmla="*/ 4633435 w 4633435"/>
              <a:gd name="connsiteY12" fmla="*/ 929046 h 6433145"/>
              <a:gd name="connsiteX13" fmla="*/ 2931731 w 4633435"/>
              <a:gd name="connsiteY13" fmla="*/ 5604439 h 6433145"/>
              <a:gd name="connsiteX14" fmla="*/ 2542497 w 4633435"/>
              <a:gd name="connsiteY14" fmla="*/ 5604441 h 6433145"/>
              <a:gd name="connsiteX15" fmla="*/ 4244201 w 4633435"/>
              <a:gd name="connsiteY15" fmla="*/ 929046 h 6433145"/>
              <a:gd name="connsiteX16" fmla="*/ 2556829 w 4633435"/>
              <a:gd name="connsiteY16" fmla="*/ 693359 h 6433145"/>
              <a:gd name="connsiteX17" fmla="*/ 2946062 w 4633435"/>
              <a:gd name="connsiteY17" fmla="*/ 693360 h 6433145"/>
              <a:gd name="connsiteX18" fmla="*/ 1105166 w 4633435"/>
              <a:gd name="connsiteY18" fmla="*/ 5751182 h 6433145"/>
              <a:gd name="connsiteX19" fmla="*/ 715932 w 4633435"/>
              <a:gd name="connsiteY19" fmla="*/ 5751182 h 6433145"/>
              <a:gd name="connsiteX20" fmla="*/ 3117220 w 4633435"/>
              <a:gd name="connsiteY20" fmla="*/ 371622 h 6433145"/>
              <a:gd name="connsiteX21" fmla="*/ 3506455 w 4633435"/>
              <a:gd name="connsiteY21" fmla="*/ 371623 h 6433145"/>
              <a:gd name="connsiteX22" fmla="*/ 1733179 w 4633435"/>
              <a:gd name="connsiteY22" fmla="*/ 5243655 h 6433145"/>
              <a:gd name="connsiteX23" fmla="*/ 1343944 w 4633435"/>
              <a:gd name="connsiteY23" fmla="*/ 5243655 h 6433145"/>
              <a:gd name="connsiteX24" fmla="*/ 2755136 w 4633435"/>
              <a:gd name="connsiteY24" fmla="*/ 0 h 6433145"/>
              <a:gd name="connsiteX25" fmla="*/ 525012 w 4633435"/>
              <a:gd name="connsiteY25" fmla="*/ 6127216 h 6433145"/>
              <a:gd name="connsiteX26" fmla="*/ 135778 w 4633435"/>
              <a:gd name="connsiteY26" fmla="*/ 6127217 h 6433145"/>
              <a:gd name="connsiteX27" fmla="*/ 2365902 w 4633435"/>
              <a:gd name="connsiteY27" fmla="*/ 1 h 643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33435" h="6433145">
                <a:moveTo>
                  <a:pt x="3375866" y="1948335"/>
                </a:moveTo>
                <a:lnTo>
                  <a:pt x="1743529" y="6433145"/>
                </a:lnTo>
                <a:lnTo>
                  <a:pt x="1354296" y="6433145"/>
                </a:lnTo>
                <a:lnTo>
                  <a:pt x="2986632" y="1948336"/>
                </a:lnTo>
                <a:close/>
                <a:moveTo>
                  <a:pt x="1927309" y="1085245"/>
                </a:moveTo>
                <a:lnTo>
                  <a:pt x="389233" y="5311073"/>
                </a:lnTo>
                <a:lnTo>
                  <a:pt x="0" y="5311073"/>
                </a:lnTo>
                <a:lnTo>
                  <a:pt x="1538076" y="1085245"/>
                </a:lnTo>
                <a:close/>
                <a:moveTo>
                  <a:pt x="4144614" y="1054143"/>
                </a:moveTo>
                <a:lnTo>
                  <a:pt x="2240188" y="6286513"/>
                </a:lnTo>
                <a:lnTo>
                  <a:pt x="1850955" y="6286512"/>
                </a:lnTo>
                <a:lnTo>
                  <a:pt x="3755381" y="1054144"/>
                </a:lnTo>
                <a:close/>
                <a:moveTo>
                  <a:pt x="4633435" y="929046"/>
                </a:moveTo>
                <a:lnTo>
                  <a:pt x="2931731" y="5604439"/>
                </a:lnTo>
                <a:lnTo>
                  <a:pt x="2542497" y="5604441"/>
                </a:lnTo>
                <a:lnTo>
                  <a:pt x="4244201" y="929046"/>
                </a:lnTo>
                <a:close/>
                <a:moveTo>
                  <a:pt x="2556829" y="693359"/>
                </a:moveTo>
                <a:lnTo>
                  <a:pt x="2946062" y="693360"/>
                </a:lnTo>
                <a:lnTo>
                  <a:pt x="1105166" y="5751182"/>
                </a:lnTo>
                <a:lnTo>
                  <a:pt x="715932" y="5751182"/>
                </a:lnTo>
                <a:close/>
                <a:moveTo>
                  <a:pt x="3117220" y="371622"/>
                </a:moveTo>
                <a:lnTo>
                  <a:pt x="3506455" y="371623"/>
                </a:lnTo>
                <a:lnTo>
                  <a:pt x="1733179" y="5243655"/>
                </a:lnTo>
                <a:lnTo>
                  <a:pt x="1343944" y="5243655"/>
                </a:lnTo>
                <a:close/>
                <a:moveTo>
                  <a:pt x="2755136" y="0"/>
                </a:moveTo>
                <a:lnTo>
                  <a:pt x="525012" y="6127216"/>
                </a:lnTo>
                <a:lnTo>
                  <a:pt x="135778" y="6127217"/>
                </a:lnTo>
                <a:lnTo>
                  <a:pt x="2365902" y="1"/>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040111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outHorizontal)">
                                      <p:cBhvr>
                                        <p:cTn id="7" dur="1000"/>
                                        <p:tgtEl>
                                          <p:spTgt spid="20"/>
                                        </p:tgtEl>
                                      </p:cBhvr>
                                    </p:animEffect>
                                  </p:childTnLst>
                                </p:cTn>
                              </p:par>
                              <p:par>
                                <p:cTn id="8" presetID="16" presetClass="entr" presetSubtype="42"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arn(outHorizontal)">
                                      <p:cBhvr>
                                        <p:cTn id="1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elcome 2">
    <p:spTree>
      <p:nvGrpSpPr>
        <p:cNvPr id="1" name=""/>
        <p:cNvGrpSpPr/>
        <p:nvPr/>
      </p:nvGrpSpPr>
      <p:grpSpPr>
        <a:xfrm>
          <a:off x="0" y="0"/>
          <a:ext cx="0" cy="0"/>
          <a:chOff x="0" y="0"/>
          <a:chExt cx="0" cy="0"/>
        </a:xfrm>
      </p:grpSpPr>
      <p:grpSp>
        <p:nvGrpSpPr>
          <p:cNvPr id="20" name="Group 19"/>
          <p:cNvGrpSpPr/>
          <p:nvPr userDrawn="1"/>
        </p:nvGrpSpPr>
        <p:grpSpPr>
          <a:xfrm>
            <a:off x="3978560" y="817700"/>
            <a:ext cx="4243417" cy="4253221"/>
            <a:chOff x="5218085" y="1090261"/>
            <a:chExt cx="5657889" cy="5670961"/>
          </a:xfrm>
        </p:grpSpPr>
        <p:sp>
          <p:nvSpPr>
            <p:cNvPr id="21" name="Freeform 20"/>
            <p:cNvSpPr/>
            <p:nvPr userDrawn="1"/>
          </p:nvSpPr>
          <p:spPr>
            <a:xfrm rot="18083416">
              <a:off x="8573387" y="5411583"/>
              <a:ext cx="706273" cy="616313"/>
            </a:xfrm>
            <a:custGeom>
              <a:avLst/>
              <a:gdLst>
                <a:gd name="connsiteX0" fmla="*/ 331008 w 706273"/>
                <a:gd name="connsiteY0" fmla="*/ 0 h 616313"/>
                <a:gd name="connsiteX1" fmla="*/ 706273 w 706273"/>
                <a:gd name="connsiteY1" fmla="*/ 615018 h 616313"/>
                <a:gd name="connsiteX2" fmla="*/ 375896 w 706273"/>
                <a:gd name="connsiteY2" fmla="*/ 616313 h 616313"/>
                <a:gd name="connsiteX3" fmla="*/ 0 w 706273"/>
                <a:gd name="connsiteY3" fmla="*/ 262 h 616313"/>
              </a:gdLst>
              <a:ahLst/>
              <a:cxnLst>
                <a:cxn ang="0">
                  <a:pos x="connsiteX0" y="connsiteY0"/>
                </a:cxn>
                <a:cxn ang="0">
                  <a:pos x="connsiteX1" y="connsiteY1"/>
                </a:cxn>
                <a:cxn ang="0">
                  <a:pos x="connsiteX2" y="connsiteY2"/>
                </a:cxn>
                <a:cxn ang="0">
                  <a:pos x="connsiteX3" y="connsiteY3"/>
                </a:cxn>
              </a:cxnLst>
              <a:rect l="l" t="t" r="r" b="b"/>
              <a:pathLst>
                <a:path w="706273" h="616313">
                  <a:moveTo>
                    <a:pt x="331008" y="0"/>
                  </a:moveTo>
                  <a:lnTo>
                    <a:pt x="706273" y="615018"/>
                  </a:lnTo>
                  <a:lnTo>
                    <a:pt x="375896" y="616313"/>
                  </a:lnTo>
                  <a:lnTo>
                    <a:pt x="0" y="262"/>
                  </a:lnTo>
                  <a:close/>
                </a:path>
              </a:pathLst>
            </a:cu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wrap="square" lIns="45714" tIns="22857" rIns="45714" bIns="22857" rtlCol="0" anchor="ctr">
              <a:noAutofit/>
            </a:bodyPr>
            <a:lstStyle/>
            <a:p>
              <a:pPr algn="ctr" defTabSz="685648" fontAlgn="auto">
                <a:spcBef>
                  <a:spcPts val="0"/>
                </a:spcBef>
                <a:spcAft>
                  <a:spcPts val="0"/>
                </a:spcAft>
              </a:pPr>
              <a:endParaRPr lang="en-US" sz="700" dirty="0">
                <a:solidFill>
                  <a:srgbClr val="1F1F1F"/>
                </a:solidFill>
              </a:endParaRPr>
            </a:p>
          </p:txBody>
        </p:sp>
        <p:sp>
          <p:nvSpPr>
            <p:cNvPr id="22" name="Freeform 21"/>
            <p:cNvSpPr/>
            <p:nvPr/>
          </p:nvSpPr>
          <p:spPr>
            <a:xfrm rot="18083416">
              <a:off x="9624257" y="1016647"/>
              <a:ext cx="1178104" cy="1325331"/>
            </a:xfrm>
            <a:custGeom>
              <a:avLst/>
              <a:gdLst>
                <a:gd name="connsiteX0" fmla="*/ 369428 w 1178104"/>
                <a:gd name="connsiteY0" fmla="*/ 0 h 1325331"/>
                <a:gd name="connsiteX1" fmla="*/ 1178104 w 1178104"/>
                <a:gd name="connsiteY1" fmla="*/ 1325331 h 1325331"/>
                <a:gd name="connsiteX2" fmla="*/ 808383 w 1178104"/>
                <a:gd name="connsiteY2" fmla="*/ 1325143 h 1325331"/>
                <a:gd name="connsiteX3" fmla="*/ 0 w 1178104"/>
                <a:gd name="connsiteY3" fmla="*/ 294 h 1325331"/>
              </a:gdLst>
              <a:ahLst/>
              <a:cxnLst>
                <a:cxn ang="0">
                  <a:pos x="connsiteX0" y="connsiteY0"/>
                </a:cxn>
                <a:cxn ang="0">
                  <a:pos x="connsiteX1" y="connsiteY1"/>
                </a:cxn>
                <a:cxn ang="0">
                  <a:pos x="connsiteX2" y="connsiteY2"/>
                </a:cxn>
                <a:cxn ang="0">
                  <a:pos x="connsiteX3" y="connsiteY3"/>
                </a:cxn>
              </a:cxnLst>
              <a:rect l="l" t="t" r="r" b="b"/>
              <a:pathLst>
                <a:path w="1178104" h="1325331">
                  <a:moveTo>
                    <a:pt x="369428" y="0"/>
                  </a:moveTo>
                  <a:lnTo>
                    <a:pt x="1178104" y="1325331"/>
                  </a:lnTo>
                  <a:lnTo>
                    <a:pt x="808383" y="1325143"/>
                  </a:lnTo>
                  <a:lnTo>
                    <a:pt x="0" y="294"/>
                  </a:lnTo>
                  <a:close/>
                </a:path>
              </a:pathLst>
            </a:cu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wrap="square" lIns="45714" tIns="22857" rIns="45714" bIns="22857" rtlCol="0" anchor="ctr">
              <a:noAutofit/>
            </a:bodyPr>
            <a:lstStyle/>
            <a:p>
              <a:pPr algn="ctr" defTabSz="685648" fontAlgn="auto">
                <a:spcBef>
                  <a:spcPts val="0"/>
                </a:spcBef>
                <a:spcAft>
                  <a:spcPts val="0"/>
                </a:spcAft>
              </a:pPr>
              <a:endParaRPr lang="en-US" sz="700" dirty="0">
                <a:solidFill>
                  <a:srgbClr val="1F1F1F"/>
                </a:solidFill>
              </a:endParaRPr>
            </a:p>
          </p:txBody>
        </p:sp>
        <p:sp>
          <p:nvSpPr>
            <p:cNvPr id="23" name="Freeform 22"/>
            <p:cNvSpPr/>
            <p:nvPr/>
          </p:nvSpPr>
          <p:spPr>
            <a:xfrm rot="18083416">
              <a:off x="5291699" y="5509504"/>
              <a:ext cx="1178104" cy="1325331"/>
            </a:xfrm>
            <a:custGeom>
              <a:avLst/>
              <a:gdLst>
                <a:gd name="connsiteX0" fmla="*/ 369428 w 1178104"/>
                <a:gd name="connsiteY0" fmla="*/ 0 h 1325331"/>
                <a:gd name="connsiteX1" fmla="*/ 1178104 w 1178104"/>
                <a:gd name="connsiteY1" fmla="*/ 1325331 h 1325331"/>
                <a:gd name="connsiteX2" fmla="*/ 808383 w 1178104"/>
                <a:gd name="connsiteY2" fmla="*/ 1325143 h 1325331"/>
                <a:gd name="connsiteX3" fmla="*/ 0 w 1178104"/>
                <a:gd name="connsiteY3" fmla="*/ 294 h 1325331"/>
              </a:gdLst>
              <a:ahLst/>
              <a:cxnLst>
                <a:cxn ang="0">
                  <a:pos x="connsiteX0" y="connsiteY0"/>
                </a:cxn>
                <a:cxn ang="0">
                  <a:pos x="connsiteX1" y="connsiteY1"/>
                </a:cxn>
                <a:cxn ang="0">
                  <a:pos x="connsiteX2" y="connsiteY2"/>
                </a:cxn>
                <a:cxn ang="0">
                  <a:pos x="connsiteX3" y="connsiteY3"/>
                </a:cxn>
              </a:cxnLst>
              <a:rect l="l" t="t" r="r" b="b"/>
              <a:pathLst>
                <a:path w="1178104" h="1325331">
                  <a:moveTo>
                    <a:pt x="369428" y="0"/>
                  </a:moveTo>
                  <a:lnTo>
                    <a:pt x="1178104" y="1325331"/>
                  </a:lnTo>
                  <a:lnTo>
                    <a:pt x="808383" y="1325143"/>
                  </a:lnTo>
                  <a:lnTo>
                    <a:pt x="0" y="294"/>
                  </a:lnTo>
                  <a:close/>
                </a:path>
              </a:pathLst>
            </a:cu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wrap="square" lIns="45714" tIns="22857" rIns="45714" bIns="22857" rtlCol="0" anchor="ctr">
              <a:noAutofit/>
            </a:bodyPr>
            <a:lstStyle/>
            <a:p>
              <a:pPr algn="ctr" defTabSz="685648" fontAlgn="auto">
                <a:spcBef>
                  <a:spcPts val="0"/>
                </a:spcBef>
                <a:spcAft>
                  <a:spcPts val="0"/>
                </a:spcAft>
              </a:pPr>
              <a:endParaRPr lang="en-US" sz="700" dirty="0">
                <a:solidFill>
                  <a:srgbClr val="1F1F1F"/>
                </a:solidFill>
              </a:endParaRPr>
            </a:p>
          </p:txBody>
        </p:sp>
      </p:grpSp>
      <p:sp>
        <p:nvSpPr>
          <p:cNvPr id="19" name="Picture Placeholder 18"/>
          <p:cNvSpPr>
            <a:spLocks noGrp="1"/>
          </p:cNvSpPr>
          <p:nvPr>
            <p:ph type="pic" sz="quarter" idx="10"/>
          </p:nvPr>
        </p:nvSpPr>
        <p:spPr>
          <a:xfrm>
            <a:off x="3954790" y="-1"/>
            <a:ext cx="5139848" cy="5143501"/>
          </a:xfrm>
          <a:custGeom>
            <a:avLst/>
            <a:gdLst>
              <a:gd name="connsiteX0" fmla="*/ 4151846 w 6853131"/>
              <a:gd name="connsiteY0" fmla="*/ 1836495 h 6858001"/>
              <a:gd name="connsiteX1" fmla="*/ 5704411 w 6853131"/>
              <a:gd name="connsiteY1" fmla="*/ 1836496 h 6858001"/>
              <a:gd name="connsiteX2" fmla="*/ 2636946 w 6853131"/>
              <a:gd name="connsiteY2" fmla="*/ 6858001 h 6858001"/>
              <a:gd name="connsiteX3" fmla="*/ 1093350 w 6853131"/>
              <a:gd name="connsiteY3" fmla="*/ 6858001 h 6858001"/>
              <a:gd name="connsiteX4" fmla="*/ 6853131 w 6853131"/>
              <a:gd name="connsiteY4" fmla="*/ 1157615 h 6858001"/>
              <a:gd name="connsiteX5" fmla="*/ 6853131 w 6853131"/>
              <a:gd name="connsiteY5" fmla="*/ 1169040 h 6858001"/>
              <a:gd name="connsiteX6" fmla="*/ 4103744 w 6853131"/>
              <a:gd name="connsiteY6" fmla="*/ 5714975 h 6858001"/>
              <a:gd name="connsiteX7" fmla="*/ 3382069 w 6853131"/>
              <a:gd name="connsiteY7" fmla="*/ 5714976 h 6858001"/>
              <a:gd name="connsiteX8" fmla="*/ 6157864 w 6853131"/>
              <a:gd name="connsiteY8" fmla="*/ 1157616 h 6858001"/>
              <a:gd name="connsiteX9" fmla="*/ 3676316 w 6853131"/>
              <a:gd name="connsiteY9" fmla="*/ 0 h 6858001"/>
              <a:gd name="connsiteX10" fmla="*/ 4454121 w 6853131"/>
              <a:gd name="connsiteY10" fmla="*/ 0 h 6858001"/>
              <a:gd name="connsiteX11" fmla="*/ 5231927 w 6853131"/>
              <a:gd name="connsiteY11" fmla="*/ 0 h 6858001"/>
              <a:gd name="connsiteX12" fmla="*/ 1544830 w 6853131"/>
              <a:gd name="connsiteY12" fmla="*/ 6035855 h 6858001"/>
              <a:gd name="connsiteX13" fmla="*/ 0 w 6853131"/>
              <a:gd name="connsiteY13" fmla="*/ 6035855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53131" h="6858001">
                <a:moveTo>
                  <a:pt x="4151846" y="1836495"/>
                </a:moveTo>
                <a:lnTo>
                  <a:pt x="5704411" y="1836496"/>
                </a:lnTo>
                <a:lnTo>
                  <a:pt x="2636946" y="6858001"/>
                </a:lnTo>
                <a:lnTo>
                  <a:pt x="1093350" y="6858001"/>
                </a:lnTo>
                <a:close/>
                <a:moveTo>
                  <a:pt x="6853131" y="1157615"/>
                </a:moveTo>
                <a:lnTo>
                  <a:pt x="6853131" y="1169040"/>
                </a:lnTo>
                <a:lnTo>
                  <a:pt x="4103744" y="5714975"/>
                </a:lnTo>
                <a:lnTo>
                  <a:pt x="3382069" y="5714976"/>
                </a:lnTo>
                <a:lnTo>
                  <a:pt x="6157864" y="1157616"/>
                </a:lnTo>
                <a:close/>
                <a:moveTo>
                  <a:pt x="3676316" y="0"/>
                </a:moveTo>
                <a:lnTo>
                  <a:pt x="4454121" y="0"/>
                </a:lnTo>
                <a:lnTo>
                  <a:pt x="5231927" y="0"/>
                </a:lnTo>
                <a:lnTo>
                  <a:pt x="1544830" y="6035855"/>
                </a:lnTo>
                <a:lnTo>
                  <a:pt x="0" y="60358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98975364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Presenter 1">
    <p:bg>
      <p:bgPr>
        <a:solidFill>
          <a:schemeClr val="accent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12" y="0"/>
            <a:ext cx="9143999" cy="5143500"/>
          </a:xfrm>
          <a:custGeom>
            <a:avLst/>
            <a:gdLst>
              <a:gd name="connsiteX0" fmla="*/ 5897641 w 12191999"/>
              <a:gd name="connsiteY0" fmla="*/ 0 h 6858000"/>
              <a:gd name="connsiteX1" fmla="*/ 12191999 w 12191999"/>
              <a:gd name="connsiteY1" fmla="*/ 0 h 6858000"/>
              <a:gd name="connsiteX2" fmla="*/ 12191999 w 12191999"/>
              <a:gd name="connsiteY2" fmla="*/ 6858000 h 6858000"/>
              <a:gd name="connsiteX3" fmla="*/ 1066855 w 12191999"/>
              <a:gd name="connsiteY3" fmla="*/ 6858000 h 6858000"/>
              <a:gd name="connsiteX4" fmla="*/ 0 w 12191999"/>
              <a:gd name="connsiteY4" fmla="*/ 0 h 6858000"/>
              <a:gd name="connsiteX5" fmla="*/ 4927478 w 12191999"/>
              <a:gd name="connsiteY5" fmla="*/ 0 h 6858000"/>
              <a:gd name="connsiteX6" fmla="*/ 1066855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5897641" y="0"/>
                </a:moveTo>
                <a:lnTo>
                  <a:pt x="12191999" y="0"/>
                </a:lnTo>
                <a:lnTo>
                  <a:pt x="12191999" y="6858000"/>
                </a:lnTo>
                <a:lnTo>
                  <a:pt x="1066855" y="6858000"/>
                </a:lnTo>
                <a:close/>
                <a:moveTo>
                  <a:pt x="0" y="0"/>
                </a:moveTo>
                <a:lnTo>
                  <a:pt x="4927478" y="0"/>
                </a:lnTo>
                <a:lnTo>
                  <a:pt x="1066855" y="6858000"/>
                </a:lnTo>
                <a:lnTo>
                  <a:pt x="0" y="6858000"/>
                </a:lnTo>
                <a:close/>
              </a:path>
            </a:pathLst>
          </a:custGeom>
          <a:solidFill>
            <a:schemeClr val="tx2">
              <a:lumMod val="85000"/>
              <a:alpha val="67000"/>
            </a:schemeClr>
          </a:solidFill>
        </p:spPr>
        <p:txBody>
          <a:bodyPr wrap="square" anchor="ctr" anchorCtr="0">
            <a:noAutofit/>
          </a:bodyPr>
          <a:lstStyle>
            <a:lvl1pPr algn="ctr">
              <a:defRPr/>
            </a:lvl1pPr>
          </a:lstStyle>
          <a:p>
            <a:endParaRPr lang="en-US" dirty="0"/>
          </a:p>
        </p:txBody>
      </p:sp>
      <p:sp>
        <p:nvSpPr>
          <p:cNvPr id="5" name="Picture Placeholder 4"/>
          <p:cNvSpPr>
            <a:spLocks noGrp="1"/>
          </p:cNvSpPr>
          <p:nvPr>
            <p:ph type="pic" sz="quarter" idx="11"/>
          </p:nvPr>
        </p:nvSpPr>
        <p:spPr>
          <a:xfrm>
            <a:off x="1417334" y="1611640"/>
            <a:ext cx="1920240" cy="1920230"/>
          </a:xfrm>
          <a:custGeom>
            <a:avLst/>
            <a:gdLst>
              <a:gd name="connsiteX0" fmla="*/ 1279883 w 2560320"/>
              <a:gd name="connsiteY0" fmla="*/ 0 h 2560306"/>
              <a:gd name="connsiteX1" fmla="*/ 1280437 w 2560320"/>
              <a:gd name="connsiteY1" fmla="*/ 0 h 2560306"/>
              <a:gd name="connsiteX2" fmla="*/ 1411049 w 2560320"/>
              <a:gd name="connsiteY2" fmla="*/ 6595 h 2560306"/>
              <a:gd name="connsiteX3" fmla="*/ 2560320 w 2560320"/>
              <a:gd name="connsiteY3" fmla="*/ 1280146 h 2560306"/>
              <a:gd name="connsiteX4" fmla="*/ 1280160 w 2560320"/>
              <a:gd name="connsiteY4" fmla="*/ 2560306 h 2560306"/>
              <a:gd name="connsiteX5" fmla="*/ 0 w 2560320"/>
              <a:gd name="connsiteY5" fmla="*/ 1280146 h 2560306"/>
              <a:gd name="connsiteX6" fmla="*/ 1149271 w 2560320"/>
              <a:gd name="connsiteY6" fmla="*/ 6595 h 256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0320" h="2560306">
                <a:moveTo>
                  <a:pt x="1279883" y="0"/>
                </a:moveTo>
                <a:lnTo>
                  <a:pt x="1280437" y="0"/>
                </a:lnTo>
                <a:lnTo>
                  <a:pt x="1411049" y="6595"/>
                </a:lnTo>
                <a:cubicBezTo>
                  <a:pt x="2056578" y="72152"/>
                  <a:pt x="2560320" y="617321"/>
                  <a:pt x="2560320" y="1280146"/>
                </a:cubicBezTo>
                <a:cubicBezTo>
                  <a:pt x="2560320" y="1987159"/>
                  <a:pt x="1987173" y="2560306"/>
                  <a:pt x="1280160" y="2560306"/>
                </a:cubicBezTo>
                <a:cubicBezTo>
                  <a:pt x="573147" y="2560306"/>
                  <a:pt x="0" y="1987159"/>
                  <a:pt x="0" y="1280146"/>
                </a:cubicBezTo>
                <a:cubicBezTo>
                  <a:pt x="0" y="617321"/>
                  <a:pt x="503743" y="72152"/>
                  <a:pt x="1149271" y="6595"/>
                </a:cubicBezTo>
                <a:close/>
              </a:path>
            </a:pathLst>
          </a:custGeom>
          <a:solidFill>
            <a:schemeClr val="accent1"/>
          </a:solidFill>
          <a:ln w="76200">
            <a:solidFill>
              <a:schemeClr val="accent1"/>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53439957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path" presetSubtype="0" accel="58500" fill="hold" grpId="0" nodeType="withEffect" p14:presetBounceEnd="58500">
                                      <p:stCondLst>
                                        <p:cond delay="0"/>
                                      </p:stCondLst>
                                      <p:childTnLst>
                                        <p:animMotion origin="layout" path="M 0.26015 -0.70671 L 4.16667E-6 0 " pathEditMode="relative" rAng="0" ptsTypes="AA" p14:bounceEnd="58500">
                                          <p:cBhvr>
                                            <p:cTn id="6" dur="2000" fill="hold"/>
                                            <p:tgtEl>
                                              <p:spTgt spid="5"/>
                                            </p:tgtEl>
                                            <p:attrNameLst>
                                              <p:attrName>ppt_x</p:attrName>
                                              <p:attrName>ppt_y</p:attrName>
                                            </p:attrNameLst>
                                          </p:cBhvr>
                                          <p:rCtr x="-13008" y="353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path" presetSubtype="0" accel="58500" fill="hold" grpId="0" nodeType="withEffect">
                                      <p:stCondLst>
                                        <p:cond delay="0"/>
                                      </p:stCondLst>
                                      <p:childTnLst>
                                        <p:animMotion origin="layout" path="M 0.26015 -0.70671 L 4.16667E-6 0 " pathEditMode="relative" rAng="0" ptsTypes="AA">
                                          <p:cBhvr>
                                            <p:cTn id="6" dur="2000" fill="hold"/>
                                            <p:tgtEl>
                                              <p:spTgt spid="5"/>
                                            </p:tgtEl>
                                            <p:attrNameLst>
                                              <p:attrName>ppt_x</p:attrName>
                                              <p:attrName>ppt_y</p:attrName>
                                            </p:attrNameLst>
                                          </p:cBhvr>
                                          <p:rCtr x="-13008" y="353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Presenter 2">
    <p:bg>
      <p:bgPr>
        <a:solidFill>
          <a:schemeClr val="accent4">
            <a:alpha val="67000"/>
          </a:schemeClr>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2" y="0"/>
            <a:ext cx="9143999" cy="5143500"/>
          </a:xfrm>
          <a:custGeom>
            <a:avLst/>
            <a:gdLst>
              <a:gd name="connsiteX0" fmla="*/ 6878051 w 12191999"/>
              <a:gd name="connsiteY0" fmla="*/ 0 h 6858000"/>
              <a:gd name="connsiteX1" fmla="*/ 12191999 w 12191999"/>
              <a:gd name="connsiteY1" fmla="*/ 0 h 6858000"/>
              <a:gd name="connsiteX2" fmla="*/ 12191999 w 12191999"/>
              <a:gd name="connsiteY2" fmla="*/ 6858000 h 6858000"/>
              <a:gd name="connsiteX3" fmla="*/ 10747715 w 12191999"/>
              <a:gd name="connsiteY3" fmla="*/ 6858000 h 6858000"/>
              <a:gd name="connsiteX4" fmla="*/ 0 w 12191999"/>
              <a:gd name="connsiteY4" fmla="*/ 0 h 6858000"/>
              <a:gd name="connsiteX5" fmla="*/ 5913122 w 12191999"/>
              <a:gd name="connsiteY5" fmla="*/ 0 h 6858000"/>
              <a:gd name="connsiteX6" fmla="*/ 10747715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6878051" y="0"/>
                </a:moveTo>
                <a:lnTo>
                  <a:pt x="12191999" y="0"/>
                </a:lnTo>
                <a:lnTo>
                  <a:pt x="12191999" y="6858000"/>
                </a:lnTo>
                <a:lnTo>
                  <a:pt x="10747715" y="6858000"/>
                </a:lnTo>
                <a:close/>
                <a:moveTo>
                  <a:pt x="0" y="0"/>
                </a:moveTo>
                <a:lnTo>
                  <a:pt x="5913122" y="0"/>
                </a:lnTo>
                <a:lnTo>
                  <a:pt x="10747715" y="6858000"/>
                </a:lnTo>
                <a:lnTo>
                  <a:pt x="0" y="6858000"/>
                </a:lnTo>
                <a:close/>
              </a:path>
            </a:pathLst>
          </a:custGeom>
          <a:solidFill>
            <a:schemeClr val="tx2">
              <a:lumMod val="85000"/>
              <a:alpha val="67000"/>
            </a:schemeClr>
          </a:solidFill>
        </p:spPr>
        <p:txBody>
          <a:bodyPr wrap="square" anchor="ctr" anchorCtr="0">
            <a:noAutofit/>
          </a:bodyPr>
          <a:lstStyle>
            <a:lvl1pPr algn="ctr">
              <a:defRPr/>
            </a:lvl1pPr>
          </a:lstStyle>
          <a:p>
            <a:endParaRPr lang="en-US" dirty="0"/>
          </a:p>
        </p:txBody>
      </p:sp>
      <p:sp>
        <p:nvSpPr>
          <p:cNvPr id="10" name="Picture Placeholder 9"/>
          <p:cNvSpPr>
            <a:spLocks noGrp="1"/>
          </p:cNvSpPr>
          <p:nvPr>
            <p:ph type="pic" sz="quarter" idx="11"/>
          </p:nvPr>
        </p:nvSpPr>
        <p:spPr>
          <a:xfrm>
            <a:off x="5463509" y="1611640"/>
            <a:ext cx="1920240" cy="1920230"/>
          </a:xfrm>
          <a:custGeom>
            <a:avLst/>
            <a:gdLst>
              <a:gd name="connsiteX0" fmla="*/ 1279883 w 2560320"/>
              <a:gd name="connsiteY0" fmla="*/ 0 h 2560306"/>
              <a:gd name="connsiteX1" fmla="*/ 1280437 w 2560320"/>
              <a:gd name="connsiteY1" fmla="*/ 0 h 2560306"/>
              <a:gd name="connsiteX2" fmla="*/ 1411049 w 2560320"/>
              <a:gd name="connsiteY2" fmla="*/ 6595 h 2560306"/>
              <a:gd name="connsiteX3" fmla="*/ 2560320 w 2560320"/>
              <a:gd name="connsiteY3" fmla="*/ 1280146 h 2560306"/>
              <a:gd name="connsiteX4" fmla="*/ 1280160 w 2560320"/>
              <a:gd name="connsiteY4" fmla="*/ 2560306 h 2560306"/>
              <a:gd name="connsiteX5" fmla="*/ 0 w 2560320"/>
              <a:gd name="connsiteY5" fmla="*/ 1280146 h 2560306"/>
              <a:gd name="connsiteX6" fmla="*/ 1149271 w 2560320"/>
              <a:gd name="connsiteY6" fmla="*/ 6595 h 256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0320" h="2560306">
                <a:moveTo>
                  <a:pt x="1279883" y="0"/>
                </a:moveTo>
                <a:lnTo>
                  <a:pt x="1280437" y="0"/>
                </a:lnTo>
                <a:lnTo>
                  <a:pt x="1411049" y="6595"/>
                </a:lnTo>
                <a:cubicBezTo>
                  <a:pt x="2056578" y="72152"/>
                  <a:pt x="2560320" y="617321"/>
                  <a:pt x="2560320" y="1280146"/>
                </a:cubicBezTo>
                <a:cubicBezTo>
                  <a:pt x="2560320" y="1987159"/>
                  <a:pt x="1987173" y="2560306"/>
                  <a:pt x="1280160" y="2560306"/>
                </a:cubicBezTo>
                <a:cubicBezTo>
                  <a:pt x="573147" y="2560306"/>
                  <a:pt x="0" y="1987159"/>
                  <a:pt x="0" y="1280146"/>
                </a:cubicBezTo>
                <a:cubicBezTo>
                  <a:pt x="0" y="617321"/>
                  <a:pt x="503743" y="72152"/>
                  <a:pt x="1149271" y="6595"/>
                </a:cubicBezTo>
                <a:close/>
              </a:path>
            </a:pathLst>
          </a:custGeom>
          <a:solidFill>
            <a:schemeClr val="accent4"/>
          </a:solidFill>
          <a:ln w="76200">
            <a:solidFill>
              <a:schemeClr val="accent4"/>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32670236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66857" fill="hold" grpId="0" nodeType="withEffect" p14:presetBounceEnd="67000">
                                      <p:stCondLst>
                                        <p:cond delay="0"/>
                                      </p:stCondLst>
                                      <p:childTnLst>
                                        <p:animMotion origin="layout" path="M -0.25494 -0.71991 L -3.95833E-6 0.00023 " pathEditMode="relative" rAng="0" ptsTypes="AA" p14:bounceEnd="67000">
                                          <p:cBhvr>
                                            <p:cTn id="6" dur="1750" fill="hold"/>
                                            <p:tgtEl>
                                              <p:spTgt spid="10"/>
                                            </p:tgtEl>
                                            <p:attrNameLst>
                                              <p:attrName>ppt_x</p:attrName>
                                              <p:attrName>ppt_y</p:attrName>
                                            </p:attrNameLst>
                                          </p:cBhvr>
                                          <p:rCtr x="12747" y="359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66857" fill="hold" grpId="0" nodeType="withEffect">
                                      <p:stCondLst>
                                        <p:cond delay="0"/>
                                      </p:stCondLst>
                                      <p:childTnLst>
                                        <p:animMotion origin="layout" path="M -0.25494 -0.71991 L -3.95833E-6 0.00023 " pathEditMode="relative" rAng="0" ptsTypes="AA">
                                          <p:cBhvr>
                                            <p:cTn id="6" dur="1750" fill="hold"/>
                                            <p:tgtEl>
                                              <p:spTgt spid="10"/>
                                            </p:tgtEl>
                                            <p:attrNameLst>
                                              <p:attrName>ppt_x</p:attrName>
                                              <p:attrName>ppt_y</p:attrName>
                                            </p:attrNameLst>
                                          </p:cBhvr>
                                          <p:rCtr x="12747" y="359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Main Offic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Picture Placeholder 3"/>
          <p:cNvSpPr>
            <a:spLocks noGrp="1"/>
          </p:cNvSpPr>
          <p:nvPr>
            <p:ph type="pic" sz="quarter" idx="10"/>
          </p:nvPr>
        </p:nvSpPr>
        <p:spPr>
          <a:xfrm>
            <a:off x="0" y="-1"/>
            <a:ext cx="9144000" cy="428625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3703229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2250" fill="hold"/>
                                        <p:tgtEl>
                                          <p:spTgt spid="2"/>
                                        </p:tgtEl>
                                        <p:attrNameLst>
                                          <p:attrName>ppt_w</p:attrName>
                                        </p:attrNameLst>
                                      </p:cBhvr>
                                      <p:tavLst>
                                        <p:tav tm="0">
                                          <p:val>
                                            <p:strVal val="#ppt_w+.3"/>
                                          </p:val>
                                        </p:tav>
                                        <p:tav tm="100000">
                                          <p:val>
                                            <p:strVal val="#ppt_w"/>
                                          </p:val>
                                        </p:tav>
                                      </p:tavLst>
                                    </p:anim>
                                    <p:anim calcmode="lin" valueType="num">
                                      <p:cBhvr>
                                        <p:cTn id="8" dur="2250" fill="hold"/>
                                        <p:tgtEl>
                                          <p:spTgt spid="2"/>
                                        </p:tgtEl>
                                        <p:attrNameLst>
                                          <p:attrName>ppt_h</p:attrName>
                                        </p:attrNameLst>
                                      </p:cBhvr>
                                      <p:tavLst>
                                        <p:tav tm="0">
                                          <p:val>
                                            <p:strVal val="#ppt_h"/>
                                          </p:val>
                                        </p:tav>
                                        <p:tav tm="100000">
                                          <p:val>
                                            <p:strVal val="#ppt_h"/>
                                          </p:val>
                                        </p:tav>
                                      </p:tavLst>
                                    </p:anim>
                                    <p:animEffect transition="in" filter="fade">
                                      <p:cBhvr>
                                        <p:cTn id="9" dur="2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About Company">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1" y="-1"/>
            <a:ext cx="9132461" cy="4286250"/>
          </a:xfrm>
          <a:custGeom>
            <a:avLst/>
            <a:gdLst>
              <a:gd name="connsiteX0" fmla="*/ 4450050 w 12176614"/>
              <a:gd name="connsiteY0" fmla="*/ 1 h 5715000"/>
              <a:gd name="connsiteX1" fmla="*/ 12176614 w 12176614"/>
              <a:gd name="connsiteY1" fmla="*/ 1 h 5715000"/>
              <a:gd name="connsiteX2" fmla="*/ 12176614 w 12176614"/>
              <a:gd name="connsiteY2" fmla="*/ 5715000 h 5715000"/>
              <a:gd name="connsiteX3" fmla="*/ 4450050 w 12176614"/>
              <a:gd name="connsiteY3" fmla="*/ 5715000 h 5715000"/>
              <a:gd name="connsiteX4" fmla="*/ 0 w 12176614"/>
              <a:gd name="connsiteY4" fmla="*/ 0 h 5715000"/>
              <a:gd name="connsiteX5" fmla="*/ 4389120 w 12176614"/>
              <a:gd name="connsiteY5" fmla="*/ 0 h 5715000"/>
              <a:gd name="connsiteX6" fmla="*/ 4389120 w 12176614"/>
              <a:gd name="connsiteY6" fmla="*/ 5714999 h 5715000"/>
              <a:gd name="connsiteX7" fmla="*/ 0 w 12176614"/>
              <a:gd name="connsiteY7" fmla="*/ 5714999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76614" h="5715000">
                <a:moveTo>
                  <a:pt x="4450050" y="1"/>
                </a:moveTo>
                <a:lnTo>
                  <a:pt x="12176614" y="1"/>
                </a:lnTo>
                <a:lnTo>
                  <a:pt x="12176614" y="5715000"/>
                </a:lnTo>
                <a:lnTo>
                  <a:pt x="4450050" y="5715000"/>
                </a:lnTo>
                <a:close/>
                <a:moveTo>
                  <a:pt x="0" y="0"/>
                </a:moveTo>
                <a:lnTo>
                  <a:pt x="4389120" y="0"/>
                </a:lnTo>
                <a:lnTo>
                  <a:pt x="4389120" y="5714999"/>
                </a:lnTo>
                <a:lnTo>
                  <a:pt x="0" y="5714999"/>
                </a:lnTo>
                <a:close/>
              </a:path>
            </a:pathLst>
          </a:custGeom>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432302430"/>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Mission">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2" y="8"/>
            <a:ext cx="6035039" cy="5143491"/>
          </a:xfrm>
          <a:custGeom>
            <a:avLst/>
            <a:gdLst>
              <a:gd name="connsiteX0" fmla="*/ 7076556 w 8046719"/>
              <a:gd name="connsiteY0" fmla="*/ 0 h 6857988"/>
              <a:gd name="connsiteX1" fmla="*/ 8046719 w 8046719"/>
              <a:gd name="connsiteY1" fmla="*/ 0 h 6857988"/>
              <a:gd name="connsiteX2" fmla="*/ 3249731 w 8046719"/>
              <a:gd name="connsiteY2" fmla="*/ 6857988 h 6857988"/>
              <a:gd name="connsiteX3" fmla="*/ 3242943 w 8046719"/>
              <a:gd name="connsiteY3" fmla="*/ 6857988 h 6857988"/>
              <a:gd name="connsiteX4" fmla="*/ 0 w 8046719"/>
              <a:gd name="connsiteY4" fmla="*/ 0 h 6857988"/>
              <a:gd name="connsiteX5" fmla="*/ 7076556 w 8046719"/>
              <a:gd name="connsiteY5" fmla="*/ 0 h 6857988"/>
              <a:gd name="connsiteX6" fmla="*/ 3169616 w 8046719"/>
              <a:gd name="connsiteY6" fmla="*/ 6594602 h 6857988"/>
              <a:gd name="connsiteX7" fmla="*/ 0 w 8046719"/>
              <a:gd name="connsiteY7" fmla="*/ 4639256 h 685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46719" h="6857988">
                <a:moveTo>
                  <a:pt x="7076556" y="0"/>
                </a:moveTo>
                <a:lnTo>
                  <a:pt x="8046719" y="0"/>
                </a:lnTo>
                <a:lnTo>
                  <a:pt x="3249731" y="6857988"/>
                </a:lnTo>
                <a:lnTo>
                  <a:pt x="3242943" y="6857988"/>
                </a:lnTo>
                <a:close/>
                <a:moveTo>
                  <a:pt x="0" y="0"/>
                </a:moveTo>
                <a:lnTo>
                  <a:pt x="7076556" y="0"/>
                </a:lnTo>
                <a:lnTo>
                  <a:pt x="3169616" y="6594602"/>
                </a:lnTo>
                <a:lnTo>
                  <a:pt x="0" y="4639256"/>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94898805"/>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Vision">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944083" y="12"/>
            <a:ext cx="6199919" cy="5143499"/>
          </a:xfrm>
          <a:custGeom>
            <a:avLst/>
            <a:gdLst>
              <a:gd name="connsiteX0" fmla="*/ 964929 w 8266558"/>
              <a:gd name="connsiteY0" fmla="*/ 0 h 6857999"/>
              <a:gd name="connsiteX1" fmla="*/ 8266558 w 8266558"/>
              <a:gd name="connsiteY1" fmla="*/ 0 h 6857999"/>
              <a:gd name="connsiteX2" fmla="*/ 8266558 w 8266558"/>
              <a:gd name="connsiteY2" fmla="*/ 4516266 h 6857999"/>
              <a:gd name="connsiteX3" fmla="*/ 4869410 w 8266558"/>
              <a:gd name="connsiteY3" fmla="*/ 6605288 h 6857999"/>
              <a:gd name="connsiteX4" fmla="*/ 0 w 8266558"/>
              <a:gd name="connsiteY4" fmla="*/ 0 h 6857999"/>
              <a:gd name="connsiteX5" fmla="*/ 964929 w 8266558"/>
              <a:gd name="connsiteY5" fmla="*/ 0 h 6857999"/>
              <a:gd name="connsiteX6" fmla="*/ 4808965 w 8266558"/>
              <a:gd name="connsiteY6" fmla="*/ 6857999 h 6857999"/>
              <a:gd name="connsiteX7" fmla="*/ 4802575 w 8266558"/>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66558" h="6857999">
                <a:moveTo>
                  <a:pt x="964929" y="0"/>
                </a:moveTo>
                <a:lnTo>
                  <a:pt x="8266558" y="0"/>
                </a:lnTo>
                <a:lnTo>
                  <a:pt x="8266558" y="4516266"/>
                </a:lnTo>
                <a:lnTo>
                  <a:pt x="4869410" y="6605288"/>
                </a:lnTo>
                <a:close/>
                <a:moveTo>
                  <a:pt x="0" y="0"/>
                </a:moveTo>
                <a:lnTo>
                  <a:pt x="964929" y="0"/>
                </a:lnTo>
                <a:lnTo>
                  <a:pt x="4808965" y="6857999"/>
                </a:lnTo>
                <a:lnTo>
                  <a:pt x="4802575" y="6857999"/>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1467835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rporate History">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2" y="12"/>
            <a:ext cx="7383749" cy="5143499"/>
          </a:xfrm>
          <a:custGeom>
            <a:avLst/>
            <a:gdLst>
              <a:gd name="connsiteX0" fmla="*/ 0 w 9844999"/>
              <a:gd name="connsiteY0" fmla="*/ 0 h 6857999"/>
              <a:gd name="connsiteX1" fmla="*/ 9844999 w 9844999"/>
              <a:gd name="connsiteY1" fmla="*/ 0 h 6857999"/>
              <a:gd name="connsiteX2" fmla="*/ 5920715 w 9844999"/>
              <a:gd name="connsiteY2" fmla="*/ 6857999 h 6857999"/>
              <a:gd name="connsiteX3" fmla="*/ 0 w 9844999"/>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9844999" h="6857999">
                <a:moveTo>
                  <a:pt x="0" y="0"/>
                </a:moveTo>
                <a:lnTo>
                  <a:pt x="9844999" y="0"/>
                </a:lnTo>
                <a:lnTo>
                  <a:pt x="5920715" y="6857999"/>
                </a:lnTo>
                <a:lnTo>
                  <a:pt x="0" y="6857999"/>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809914994"/>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Our Journey A">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2446022" y="514373"/>
            <a:ext cx="1234440" cy="960120"/>
          </a:xfrm>
          <a:solidFill>
            <a:schemeClr val="tx2">
              <a:lumMod val="85000"/>
            </a:schemeClr>
          </a:solidFill>
          <a:ln>
            <a:noFill/>
          </a:ln>
        </p:spPr>
        <p:txBody>
          <a:bodyPr anchor="ctr" anchorCtr="0"/>
          <a:lstStyle>
            <a:lvl1pPr algn="ctr">
              <a:defRPr/>
            </a:lvl1pPr>
          </a:lstStyle>
          <a:p>
            <a:endParaRPr lang="en-US" dirty="0"/>
          </a:p>
        </p:txBody>
      </p:sp>
      <p:sp>
        <p:nvSpPr>
          <p:cNvPr id="7" name="Picture Placeholder 3"/>
          <p:cNvSpPr>
            <a:spLocks noGrp="1"/>
          </p:cNvSpPr>
          <p:nvPr>
            <p:ph type="pic" sz="quarter" idx="11"/>
          </p:nvPr>
        </p:nvSpPr>
        <p:spPr>
          <a:xfrm>
            <a:off x="5052041" y="3669008"/>
            <a:ext cx="1234440" cy="9601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2728196888"/>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Our Journey B">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1623092" y="514373"/>
            <a:ext cx="1234440" cy="960120"/>
          </a:xfrm>
          <a:solidFill>
            <a:schemeClr val="tx2">
              <a:lumMod val="85000"/>
            </a:schemeClr>
          </a:solidFill>
          <a:ln>
            <a:noFill/>
          </a:ln>
        </p:spPr>
        <p:txBody>
          <a:bodyPr anchor="ctr" anchorCtr="0"/>
          <a:lstStyle>
            <a:lvl1pPr algn="ctr">
              <a:defRPr/>
            </a:lvl1pPr>
          </a:lstStyle>
          <a:p>
            <a:endParaRPr lang="en-US" dirty="0"/>
          </a:p>
        </p:txBody>
      </p:sp>
      <p:sp>
        <p:nvSpPr>
          <p:cNvPr id="7" name="Picture Placeholder 3"/>
          <p:cNvSpPr>
            <a:spLocks noGrp="1"/>
          </p:cNvSpPr>
          <p:nvPr>
            <p:ph type="pic" sz="quarter" idx="11"/>
          </p:nvPr>
        </p:nvSpPr>
        <p:spPr>
          <a:xfrm>
            <a:off x="5052041" y="3669008"/>
            <a:ext cx="1234440" cy="9601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666102646"/>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Our Journey C">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1623092" y="514373"/>
            <a:ext cx="1234440" cy="9601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645729316"/>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Who We Ar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1" name="Picture Placeholder 3"/>
          <p:cNvSpPr>
            <a:spLocks noGrp="1"/>
          </p:cNvSpPr>
          <p:nvPr>
            <p:ph type="pic" sz="quarter" idx="10"/>
          </p:nvPr>
        </p:nvSpPr>
        <p:spPr>
          <a:xfrm>
            <a:off x="0" y="1268744"/>
            <a:ext cx="9144000" cy="2057400"/>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404206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outHorizontal)">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What We Do">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14" name="Picture Placeholder 13"/>
          <p:cNvSpPr>
            <a:spLocks noGrp="1"/>
          </p:cNvSpPr>
          <p:nvPr>
            <p:ph type="pic" sz="quarter" idx="10"/>
          </p:nvPr>
        </p:nvSpPr>
        <p:spPr>
          <a:xfrm>
            <a:off x="594124" y="1268744"/>
            <a:ext cx="7955756" cy="2057400"/>
          </a:xfrm>
          <a:custGeom>
            <a:avLst/>
            <a:gdLst>
              <a:gd name="connsiteX0" fmla="*/ 11369033 w 12191993"/>
              <a:gd name="connsiteY0" fmla="*/ 1920642 h 2743200"/>
              <a:gd name="connsiteX1" fmla="*/ 12191993 w 12191993"/>
              <a:gd name="connsiteY1" fmla="*/ 1920642 h 2743200"/>
              <a:gd name="connsiteX2" fmla="*/ 12191993 w 12191993"/>
              <a:gd name="connsiteY2" fmla="*/ 2743200 h 2743200"/>
              <a:gd name="connsiteX3" fmla="*/ 11369033 w 12191993"/>
              <a:gd name="connsiteY3" fmla="*/ 2743200 h 2743200"/>
              <a:gd name="connsiteX4" fmla="*/ 10413993 w 12191993"/>
              <a:gd name="connsiteY4" fmla="*/ 1920606 h 2743200"/>
              <a:gd name="connsiteX5" fmla="*/ 11328393 w 12191993"/>
              <a:gd name="connsiteY5" fmla="*/ 1920606 h 2743200"/>
              <a:gd name="connsiteX6" fmla="*/ 11328393 w 12191993"/>
              <a:gd name="connsiteY6" fmla="*/ 2743200 h 2743200"/>
              <a:gd name="connsiteX7" fmla="*/ 10413993 w 12191993"/>
              <a:gd name="connsiteY7" fmla="*/ 2743200 h 2743200"/>
              <a:gd name="connsiteX8" fmla="*/ 9458953 w 12191993"/>
              <a:gd name="connsiteY8" fmla="*/ 1920570 h 2743200"/>
              <a:gd name="connsiteX9" fmla="*/ 10373353 w 12191993"/>
              <a:gd name="connsiteY9" fmla="*/ 1920570 h 2743200"/>
              <a:gd name="connsiteX10" fmla="*/ 10373353 w 12191993"/>
              <a:gd name="connsiteY10" fmla="*/ 2743200 h 2743200"/>
              <a:gd name="connsiteX11" fmla="*/ 9458953 w 12191993"/>
              <a:gd name="connsiteY11" fmla="*/ 2743200 h 2743200"/>
              <a:gd name="connsiteX12" fmla="*/ 8503913 w 12191993"/>
              <a:gd name="connsiteY12" fmla="*/ 1920534 h 2743200"/>
              <a:gd name="connsiteX13" fmla="*/ 9418313 w 12191993"/>
              <a:gd name="connsiteY13" fmla="*/ 1920534 h 2743200"/>
              <a:gd name="connsiteX14" fmla="*/ 9418313 w 12191993"/>
              <a:gd name="connsiteY14" fmla="*/ 2743200 h 2743200"/>
              <a:gd name="connsiteX15" fmla="*/ 8503913 w 12191993"/>
              <a:gd name="connsiteY15" fmla="*/ 2743200 h 2743200"/>
              <a:gd name="connsiteX16" fmla="*/ 7548873 w 12191993"/>
              <a:gd name="connsiteY16" fmla="*/ 1920498 h 2743200"/>
              <a:gd name="connsiteX17" fmla="*/ 8463273 w 12191993"/>
              <a:gd name="connsiteY17" fmla="*/ 1920498 h 2743200"/>
              <a:gd name="connsiteX18" fmla="*/ 8463273 w 12191993"/>
              <a:gd name="connsiteY18" fmla="*/ 2743200 h 2743200"/>
              <a:gd name="connsiteX19" fmla="*/ 7548873 w 12191993"/>
              <a:gd name="connsiteY19" fmla="*/ 2743200 h 2743200"/>
              <a:gd name="connsiteX20" fmla="*/ 6593833 w 12191993"/>
              <a:gd name="connsiteY20" fmla="*/ 1920462 h 2743200"/>
              <a:gd name="connsiteX21" fmla="*/ 7508233 w 12191993"/>
              <a:gd name="connsiteY21" fmla="*/ 1920462 h 2743200"/>
              <a:gd name="connsiteX22" fmla="*/ 7508233 w 12191993"/>
              <a:gd name="connsiteY22" fmla="*/ 2743200 h 2743200"/>
              <a:gd name="connsiteX23" fmla="*/ 6593833 w 12191993"/>
              <a:gd name="connsiteY23" fmla="*/ 2743200 h 2743200"/>
              <a:gd name="connsiteX24" fmla="*/ 5638794 w 12191993"/>
              <a:gd name="connsiteY24" fmla="*/ 1920426 h 2743200"/>
              <a:gd name="connsiteX25" fmla="*/ 6553193 w 12191993"/>
              <a:gd name="connsiteY25" fmla="*/ 1920426 h 2743200"/>
              <a:gd name="connsiteX26" fmla="*/ 6553193 w 12191993"/>
              <a:gd name="connsiteY26" fmla="*/ 2743200 h 2743200"/>
              <a:gd name="connsiteX27" fmla="*/ 5638794 w 12191993"/>
              <a:gd name="connsiteY27" fmla="*/ 2743200 h 2743200"/>
              <a:gd name="connsiteX28" fmla="*/ 4683756 w 12191993"/>
              <a:gd name="connsiteY28" fmla="*/ 1920390 h 2743200"/>
              <a:gd name="connsiteX29" fmla="*/ 5598154 w 12191993"/>
              <a:gd name="connsiteY29" fmla="*/ 1920390 h 2743200"/>
              <a:gd name="connsiteX30" fmla="*/ 5598154 w 12191993"/>
              <a:gd name="connsiteY30" fmla="*/ 2743200 h 2743200"/>
              <a:gd name="connsiteX31" fmla="*/ 4683756 w 12191993"/>
              <a:gd name="connsiteY31" fmla="*/ 2743200 h 2743200"/>
              <a:gd name="connsiteX32" fmla="*/ 3728717 w 12191993"/>
              <a:gd name="connsiteY32" fmla="*/ 1920354 h 2743200"/>
              <a:gd name="connsiteX33" fmla="*/ 4643115 w 12191993"/>
              <a:gd name="connsiteY33" fmla="*/ 1920354 h 2743200"/>
              <a:gd name="connsiteX34" fmla="*/ 4643115 w 12191993"/>
              <a:gd name="connsiteY34" fmla="*/ 2743200 h 2743200"/>
              <a:gd name="connsiteX35" fmla="*/ 3728717 w 12191993"/>
              <a:gd name="connsiteY35" fmla="*/ 2743200 h 2743200"/>
              <a:gd name="connsiteX36" fmla="*/ 2773678 w 12191993"/>
              <a:gd name="connsiteY36" fmla="*/ 1920318 h 2743200"/>
              <a:gd name="connsiteX37" fmla="*/ 3688077 w 12191993"/>
              <a:gd name="connsiteY37" fmla="*/ 1920318 h 2743200"/>
              <a:gd name="connsiteX38" fmla="*/ 3688077 w 12191993"/>
              <a:gd name="connsiteY38" fmla="*/ 2743200 h 2743200"/>
              <a:gd name="connsiteX39" fmla="*/ 2773678 w 12191993"/>
              <a:gd name="connsiteY39" fmla="*/ 2743200 h 2743200"/>
              <a:gd name="connsiteX40" fmla="*/ 1818638 w 12191993"/>
              <a:gd name="connsiteY40" fmla="*/ 1920282 h 2743200"/>
              <a:gd name="connsiteX41" fmla="*/ 2733039 w 12191993"/>
              <a:gd name="connsiteY41" fmla="*/ 1920282 h 2743200"/>
              <a:gd name="connsiteX42" fmla="*/ 2733039 w 12191993"/>
              <a:gd name="connsiteY42" fmla="*/ 2743200 h 2743200"/>
              <a:gd name="connsiteX43" fmla="*/ 1818638 w 12191993"/>
              <a:gd name="connsiteY43" fmla="*/ 2743200 h 2743200"/>
              <a:gd name="connsiteX44" fmla="*/ 863599 w 12191993"/>
              <a:gd name="connsiteY44" fmla="*/ 1920246 h 2743200"/>
              <a:gd name="connsiteX45" fmla="*/ 1777998 w 12191993"/>
              <a:gd name="connsiteY45" fmla="*/ 1920246 h 2743200"/>
              <a:gd name="connsiteX46" fmla="*/ 1777998 w 12191993"/>
              <a:gd name="connsiteY46" fmla="*/ 2743200 h 2743200"/>
              <a:gd name="connsiteX47" fmla="*/ 863599 w 12191993"/>
              <a:gd name="connsiteY47" fmla="*/ 2743200 h 2743200"/>
              <a:gd name="connsiteX48" fmla="*/ 0 w 12191993"/>
              <a:gd name="connsiteY48" fmla="*/ 1920210 h 2743200"/>
              <a:gd name="connsiteX49" fmla="*/ 822959 w 12191993"/>
              <a:gd name="connsiteY49" fmla="*/ 1920210 h 2743200"/>
              <a:gd name="connsiteX50" fmla="*/ 822959 w 12191993"/>
              <a:gd name="connsiteY50" fmla="*/ 2743200 h 2743200"/>
              <a:gd name="connsiteX51" fmla="*/ 0 w 12191993"/>
              <a:gd name="connsiteY51" fmla="*/ 2743200 h 2743200"/>
              <a:gd name="connsiteX52" fmla="*/ 11369033 w 12191993"/>
              <a:gd name="connsiteY52" fmla="*/ 960519 h 2743200"/>
              <a:gd name="connsiteX53" fmla="*/ 12191993 w 12191993"/>
              <a:gd name="connsiteY53" fmla="*/ 960519 h 2743200"/>
              <a:gd name="connsiteX54" fmla="*/ 12191993 w 12191993"/>
              <a:gd name="connsiteY54" fmla="*/ 1874919 h 2743200"/>
              <a:gd name="connsiteX55" fmla="*/ 11369033 w 12191993"/>
              <a:gd name="connsiteY55" fmla="*/ 1874919 h 2743200"/>
              <a:gd name="connsiteX56" fmla="*/ 10413993 w 12191993"/>
              <a:gd name="connsiteY56" fmla="*/ 960483 h 2743200"/>
              <a:gd name="connsiteX57" fmla="*/ 11328393 w 12191993"/>
              <a:gd name="connsiteY57" fmla="*/ 960483 h 2743200"/>
              <a:gd name="connsiteX58" fmla="*/ 11328393 w 12191993"/>
              <a:gd name="connsiteY58" fmla="*/ 1874883 h 2743200"/>
              <a:gd name="connsiteX59" fmla="*/ 10413993 w 12191993"/>
              <a:gd name="connsiteY59" fmla="*/ 1874883 h 2743200"/>
              <a:gd name="connsiteX60" fmla="*/ 9458953 w 12191993"/>
              <a:gd name="connsiteY60" fmla="*/ 960447 h 2743200"/>
              <a:gd name="connsiteX61" fmla="*/ 10373353 w 12191993"/>
              <a:gd name="connsiteY61" fmla="*/ 960447 h 2743200"/>
              <a:gd name="connsiteX62" fmla="*/ 10373353 w 12191993"/>
              <a:gd name="connsiteY62" fmla="*/ 1874847 h 2743200"/>
              <a:gd name="connsiteX63" fmla="*/ 9458953 w 12191993"/>
              <a:gd name="connsiteY63" fmla="*/ 1874847 h 2743200"/>
              <a:gd name="connsiteX64" fmla="*/ 8503913 w 12191993"/>
              <a:gd name="connsiteY64" fmla="*/ 960411 h 2743200"/>
              <a:gd name="connsiteX65" fmla="*/ 9418313 w 12191993"/>
              <a:gd name="connsiteY65" fmla="*/ 960411 h 2743200"/>
              <a:gd name="connsiteX66" fmla="*/ 9418313 w 12191993"/>
              <a:gd name="connsiteY66" fmla="*/ 1874811 h 2743200"/>
              <a:gd name="connsiteX67" fmla="*/ 8503913 w 12191993"/>
              <a:gd name="connsiteY67" fmla="*/ 1874811 h 2743200"/>
              <a:gd name="connsiteX68" fmla="*/ 7548873 w 12191993"/>
              <a:gd name="connsiteY68" fmla="*/ 960375 h 2743200"/>
              <a:gd name="connsiteX69" fmla="*/ 8463273 w 12191993"/>
              <a:gd name="connsiteY69" fmla="*/ 960375 h 2743200"/>
              <a:gd name="connsiteX70" fmla="*/ 8463273 w 12191993"/>
              <a:gd name="connsiteY70" fmla="*/ 1874775 h 2743200"/>
              <a:gd name="connsiteX71" fmla="*/ 7548873 w 12191993"/>
              <a:gd name="connsiteY71" fmla="*/ 1874775 h 2743200"/>
              <a:gd name="connsiteX72" fmla="*/ 6593833 w 12191993"/>
              <a:gd name="connsiteY72" fmla="*/ 960339 h 2743200"/>
              <a:gd name="connsiteX73" fmla="*/ 7508233 w 12191993"/>
              <a:gd name="connsiteY73" fmla="*/ 960339 h 2743200"/>
              <a:gd name="connsiteX74" fmla="*/ 7508233 w 12191993"/>
              <a:gd name="connsiteY74" fmla="*/ 1874739 h 2743200"/>
              <a:gd name="connsiteX75" fmla="*/ 6593833 w 12191993"/>
              <a:gd name="connsiteY75" fmla="*/ 1874739 h 2743200"/>
              <a:gd name="connsiteX76" fmla="*/ 5638794 w 12191993"/>
              <a:gd name="connsiteY76" fmla="*/ 960303 h 2743200"/>
              <a:gd name="connsiteX77" fmla="*/ 6553193 w 12191993"/>
              <a:gd name="connsiteY77" fmla="*/ 960303 h 2743200"/>
              <a:gd name="connsiteX78" fmla="*/ 6553193 w 12191993"/>
              <a:gd name="connsiteY78" fmla="*/ 1874703 h 2743200"/>
              <a:gd name="connsiteX79" fmla="*/ 5638794 w 12191993"/>
              <a:gd name="connsiteY79" fmla="*/ 1874703 h 2743200"/>
              <a:gd name="connsiteX80" fmla="*/ 4683756 w 12191993"/>
              <a:gd name="connsiteY80" fmla="*/ 960267 h 2743200"/>
              <a:gd name="connsiteX81" fmla="*/ 5598154 w 12191993"/>
              <a:gd name="connsiteY81" fmla="*/ 960267 h 2743200"/>
              <a:gd name="connsiteX82" fmla="*/ 5598154 w 12191993"/>
              <a:gd name="connsiteY82" fmla="*/ 1874667 h 2743200"/>
              <a:gd name="connsiteX83" fmla="*/ 4683756 w 12191993"/>
              <a:gd name="connsiteY83" fmla="*/ 1874667 h 2743200"/>
              <a:gd name="connsiteX84" fmla="*/ 3728717 w 12191993"/>
              <a:gd name="connsiteY84" fmla="*/ 960231 h 2743200"/>
              <a:gd name="connsiteX85" fmla="*/ 4643115 w 12191993"/>
              <a:gd name="connsiteY85" fmla="*/ 960231 h 2743200"/>
              <a:gd name="connsiteX86" fmla="*/ 4643115 w 12191993"/>
              <a:gd name="connsiteY86" fmla="*/ 1874631 h 2743200"/>
              <a:gd name="connsiteX87" fmla="*/ 3728717 w 12191993"/>
              <a:gd name="connsiteY87" fmla="*/ 1874631 h 2743200"/>
              <a:gd name="connsiteX88" fmla="*/ 2773678 w 12191993"/>
              <a:gd name="connsiteY88" fmla="*/ 960195 h 2743200"/>
              <a:gd name="connsiteX89" fmla="*/ 3688077 w 12191993"/>
              <a:gd name="connsiteY89" fmla="*/ 960195 h 2743200"/>
              <a:gd name="connsiteX90" fmla="*/ 3688077 w 12191993"/>
              <a:gd name="connsiteY90" fmla="*/ 1874595 h 2743200"/>
              <a:gd name="connsiteX91" fmla="*/ 2773678 w 12191993"/>
              <a:gd name="connsiteY91" fmla="*/ 1874595 h 2743200"/>
              <a:gd name="connsiteX92" fmla="*/ 1818638 w 12191993"/>
              <a:gd name="connsiteY92" fmla="*/ 960159 h 2743200"/>
              <a:gd name="connsiteX93" fmla="*/ 2733039 w 12191993"/>
              <a:gd name="connsiteY93" fmla="*/ 960159 h 2743200"/>
              <a:gd name="connsiteX94" fmla="*/ 2733039 w 12191993"/>
              <a:gd name="connsiteY94" fmla="*/ 1874559 h 2743200"/>
              <a:gd name="connsiteX95" fmla="*/ 1818638 w 12191993"/>
              <a:gd name="connsiteY95" fmla="*/ 1874559 h 2743200"/>
              <a:gd name="connsiteX96" fmla="*/ 863599 w 12191993"/>
              <a:gd name="connsiteY96" fmla="*/ 960123 h 2743200"/>
              <a:gd name="connsiteX97" fmla="*/ 1777998 w 12191993"/>
              <a:gd name="connsiteY97" fmla="*/ 960123 h 2743200"/>
              <a:gd name="connsiteX98" fmla="*/ 1777998 w 12191993"/>
              <a:gd name="connsiteY98" fmla="*/ 1874523 h 2743200"/>
              <a:gd name="connsiteX99" fmla="*/ 863599 w 12191993"/>
              <a:gd name="connsiteY99" fmla="*/ 1874523 h 2743200"/>
              <a:gd name="connsiteX100" fmla="*/ 0 w 12191993"/>
              <a:gd name="connsiteY100" fmla="*/ 960087 h 2743200"/>
              <a:gd name="connsiteX101" fmla="*/ 822959 w 12191993"/>
              <a:gd name="connsiteY101" fmla="*/ 960087 h 2743200"/>
              <a:gd name="connsiteX102" fmla="*/ 822959 w 12191993"/>
              <a:gd name="connsiteY102" fmla="*/ 1874487 h 2743200"/>
              <a:gd name="connsiteX103" fmla="*/ 0 w 12191993"/>
              <a:gd name="connsiteY103" fmla="*/ 1874487 h 2743200"/>
              <a:gd name="connsiteX104" fmla="*/ 11369033 w 12191993"/>
              <a:gd name="connsiteY104" fmla="*/ 396 h 2743200"/>
              <a:gd name="connsiteX105" fmla="*/ 12191993 w 12191993"/>
              <a:gd name="connsiteY105" fmla="*/ 396 h 2743200"/>
              <a:gd name="connsiteX106" fmla="*/ 12191993 w 12191993"/>
              <a:gd name="connsiteY106" fmla="*/ 914796 h 2743200"/>
              <a:gd name="connsiteX107" fmla="*/ 11369033 w 12191993"/>
              <a:gd name="connsiteY107" fmla="*/ 914796 h 2743200"/>
              <a:gd name="connsiteX108" fmla="*/ 10413993 w 12191993"/>
              <a:gd name="connsiteY108" fmla="*/ 360 h 2743200"/>
              <a:gd name="connsiteX109" fmla="*/ 11328393 w 12191993"/>
              <a:gd name="connsiteY109" fmla="*/ 360 h 2743200"/>
              <a:gd name="connsiteX110" fmla="*/ 11328393 w 12191993"/>
              <a:gd name="connsiteY110" fmla="*/ 914760 h 2743200"/>
              <a:gd name="connsiteX111" fmla="*/ 10413993 w 12191993"/>
              <a:gd name="connsiteY111" fmla="*/ 914760 h 2743200"/>
              <a:gd name="connsiteX112" fmla="*/ 9458953 w 12191993"/>
              <a:gd name="connsiteY112" fmla="*/ 324 h 2743200"/>
              <a:gd name="connsiteX113" fmla="*/ 10373353 w 12191993"/>
              <a:gd name="connsiteY113" fmla="*/ 324 h 2743200"/>
              <a:gd name="connsiteX114" fmla="*/ 10373353 w 12191993"/>
              <a:gd name="connsiteY114" fmla="*/ 914724 h 2743200"/>
              <a:gd name="connsiteX115" fmla="*/ 9458953 w 12191993"/>
              <a:gd name="connsiteY115" fmla="*/ 914724 h 2743200"/>
              <a:gd name="connsiteX116" fmla="*/ 8503913 w 12191993"/>
              <a:gd name="connsiteY116" fmla="*/ 288 h 2743200"/>
              <a:gd name="connsiteX117" fmla="*/ 9418313 w 12191993"/>
              <a:gd name="connsiteY117" fmla="*/ 288 h 2743200"/>
              <a:gd name="connsiteX118" fmla="*/ 9418313 w 12191993"/>
              <a:gd name="connsiteY118" fmla="*/ 914688 h 2743200"/>
              <a:gd name="connsiteX119" fmla="*/ 8503913 w 12191993"/>
              <a:gd name="connsiteY119" fmla="*/ 914688 h 2743200"/>
              <a:gd name="connsiteX120" fmla="*/ 7548873 w 12191993"/>
              <a:gd name="connsiteY120" fmla="*/ 252 h 2743200"/>
              <a:gd name="connsiteX121" fmla="*/ 8463273 w 12191993"/>
              <a:gd name="connsiteY121" fmla="*/ 252 h 2743200"/>
              <a:gd name="connsiteX122" fmla="*/ 8463273 w 12191993"/>
              <a:gd name="connsiteY122" fmla="*/ 914652 h 2743200"/>
              <a:gd name="connsiteX123" fmla="*/ 7548873 w 12191993"/>
              <a:gd name="connsiteY123" fmla="*/ 914652 h 2743200"/>
              <a:gd name="connsiteX124" fmla="*/ 6593833 w 12191993"/>
              <a:gd name="connsiteY124" fmla="*/ 216 h 2743200"/>
              <a:gd name="connsiteX125" fmla="*/ 7508233 w 12191993"/>
              <a:gd name="connsiteY125" fmla="*/ 216 h 2743200"/>
              <a:gd name="connsiteX126" fmla="*/ 7508233 w 12191993"/>
              <a:gd name="connsiteY126" fmla="*/ 914616 h 2743200"/>
              <a:gd name="connsiteX127" fmla="*/ 6593833 w 12191993"/>
              <a:gd name="connsiteY127" fmla="*/ 914616 h 2743200"/>
              <a:gd name="connsiteX128" fmla="*/ 5638794 w 12191993"/>
              <a:gd name="connsiteY128" fmla="*/ 180 h 2743200"/>
              <a:gd name="connsiteX129" fmla="*/ 6553193 w 12191993"/>
              <a:gd name="connsiteY129" fmla="*/ 180 h 2743200"/>
              <a:gd name="connsiteX130" fmla="*/ 6553193 w 12191993"/>
              <a:gd name="connsiteY130" fmla="*/ 914580 h 2743200"/>
              <a:gd name="connsiteX131" fmla="*/ 5638794 w 12191993"/>
              <a:gd name="connsiteY131" fmla="*/ 914580 h 2743200"/>
              <a:gd name="connsiteX132" fmla="*/ 4683756 w 12191993"/>
              <a:gd name="connsiteY132" fmla="*/ 144 h 2743200"/>
              <a:gd name="connsiteX133" fmla="*/ 5598154 w 12191993"/>
              <a:gd name="connsiteY133" fmla="*/ 144 h 2743200"/>
              <a:gd name="connsiteX134" fmla="*/ 5598154 w 12191993"/>
              <a:gd name="connsiteY134" fmla="*/ 914544 h 2743200"/>
              <a:gd name="connsiteX135" fmla="*/ 4683756 w 12191993"/>
              <a:gd name="connsiteY135" fmla="*/ 914544 h 2743200"/>
              <a:gd name="connsiteX136" fmla="*/ 3728717 w 12191993"/>
              <a:gd name="connsiteY136" fmla="*/ 108 h 2743200"/>
              <a:gd name="connsiteX137" fmla="*/ 4643115 w 12191993"/>
              <a:gd name="connsiteY137" fmla="*/ 108 h 2743200"/>
              <a:gd name="connsiteX138" fmla="*/ 4643115 w 12191993"/>
              <a:gd name="connsiteY138" fmla="*/ 914508 h 2743200"/>
              <a:gd name="connsiteX139" fmla="*/ 3728717 w 12191993"/>
              <a:gd name="connsiteY139" fmla="*/ 914508 h 2743200"/>
              <a:gd name="connsiteX140" fmla="*/ 2773679 w 12191993"/>
              <a:gd name="connsiteY140" fmla="*/ 72 h 2743200"/>
              <a:gd name="connsiteX141" fmla="*/ 3688077 w 12191993"/>
              <a:gd name="connsiteY141" fmla="*/ 72 h 2743200"/>
              <a:gd name="connsiteX142" fmla="*/ 3688077 w 12191993"/>
              <a:gd name="connsiteY142" fmla="*/ 914472 h 2743200"/>
              <a:gd name="connsiteX143" fmla="*/ 2773679 w 12191993"/>
              <a:gd name="connsiteY143" fmla="*/ 914472 h 2743200"/>
              <a:gd name="connsiteX144" fmla="*/ 1818638 w 12191993"/>
              <a:gd name="connsiteY144" fmla="*/ 36 h 2743200"/>
              <a:gd name="connsiteX145" fmla="*/ 2733039 w 12191993"/>
              <a:gd name="connsiteY145" fmla="*/ 36 h 2743200"/>
              <a:gd name="connsiteX146" fmla="*/ 2733039 w 12191993"/>
              <a:gd name="connsiteY146" fmla="*/ 914436 h 2743200"/>
              <a:gd name="connsiteX147" fmla="*/ 1818638 w 12191993"/>
              <a:gd name="connsiteY147" fmla="*/ 914436 h 2743200"/>
              <a:gd name="connsiteX148" fmla="*/ 863599 w 12191993"/>
              <a:gd name="connsiteY148" fmla="*/ 0 h 2743200"/>
              <a:gd name="connsiteX149" fmla="*/ 1777998 w 12191993"/>
              <a:gd name="connsiteY149" fmla="*/ 0 h 2743200"/>
              <a:gd name="connsiteX150" fmla="*/ 1777998 w 12191993"/>
              <a:gd name="connsiteY150" fmla="*/ 914400 h 2743200"/>
              <a:gd name="connsiteX151" fmla="*/ 863599 w 12191993"/>
              <a:gd name="connsiteY151" fmla="*/ 914400 h 2743200"/>
              <a:gd name="connsiteX152" fmla="*/ 0 w 12191993"/>
              <a:gd name="connsiteY152" fmla="*/ 0 h 2743200"/>
              <a:gd name="connsiteX153" fmla="*/ 822959 w 12191993"/>
              <a:gd name="connsiteY153" fmla="*/ 0 h 2743200"/>
              <a:gd name="connsiteX154" fmla="*/ 822959 w 12191993"/>
              <a:gd name="connsiteY154" fmla="*/ 914364 h 2743200"/>
              <a:gd name="connsiteX155" fmla="*/ 0 w 12191993"/>
              <a:gd name="connsiteY155" fmla="*/ 914364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2191993" h="2743200">
                <a:moveTo>
                  <a:pt x="11369033" y="1920642"/>
                </a:moveTo>
                <a:lnTo>
                  <a:pt x="12191993" y="1920642"/>
                </a:lnTo>
                <a:lnTo>
                  <a:pt x="12191993" y="2743200"/>
                </a:lnTo>
                <a:lnTo>
                  <a:pt x="11369033" y="2743200"/>
                </a:lnTo>
                <a:close/>
                <a:moveTo>
                  <a:pt x="10413993" y="1920606"/>
                </a:moveTo>
                <a:lnTo>
                  <a:pt x="11328393" y="1920606"/>
                </a:lnTo>
                <a:lnTo>
                  <a:pt x="11328393" y="2743200"/>
                </a:lnTo>
                <a:lnTo>
                  <a:pt x="10413993" y="2743200"/>
                </a:lnTo>
                <a:close/>
                <a:moveTo>
                  <a:pt x="9458953" y="1920570"/>
                </a:moveTo>
                <a:lnTo>
                  <a:pt x="10373353" y="1920570"/>
                </a:lnTo>
                <a:lnTo>
                  <a:pt x="10373353" y="2743200"/>
                </a:lnTo>
                <a:lnTo>
                  <a:pt x="9458953" y="2743200"/>
                </a:lnTo>
                <a:close/>
                <a:moveTo>
                  <a:pt x="8503913" y="1920534"/>
                </a:moveTo>
                <a:lnTo>
                  <a:pt x="9418313" y="1920534"/>
                </a:lnTo>
                <a:lnTo>
                  <a:pt x="9418313" y="2743200"/>
                </a:lnTo>
                <a:lnTo>
                  <a:pt x="8503913" y="2743200"/>
                </a:lnTo>
                <a:close/>
                <a:moveTo>
                  <a:pt x="7548873" y="1920498"/>
                </a:moveTo>
                <a:lnTo>
                  <a:pt x="8463273" y="1920498"/>
                </a:lnTo>
                <a:lnTo>
                  <a:pt x="8463273" y="2743200"/>
                </a:lnTo>
                <a:lnTo>
                  <a:pt x="7548873" y="2743200"/>
                </a:lnTo>
                <a:close/>
                <a:moveTo>
                  <a:pt x="6593833" y="1920462"/>
                </a:moveTo>
                <a:lnTo>
                  <a:pt x="7508233" y="1920462"/>
                </a:lnTo>
                <a:lnTo>
                  <a:pt x="7508233" y="2743200"/>
                </a:lnTo>
                <a:lnTo>
                  <a:pt x="6593833" y="2743200"/>
                </a:lnTo>
                <a:close/>
                <a:moveTo>
                  <a:pt x="5638794" y="1920426"/>
                </a:moveTo>
                <a:lnTo>
                  <a:pt x="6553193" y="1920426"/>
                </a:lnTo>
                <a:lnTo>
                  <a:pt x="6553193" y="2743200"/>
                </a:lnTo>
                <a:lnTo>
                  <a:pt x="5638794" y="2743200"/>
                </a:lnTo>
                <a:close/>
                <a:moveTo>
                  <a:pt x="4683756" y="1920390"/>
                </a:moveTo>
                <a:lnTo>
                  <a:pt x="5598154" y="1920390"/>
                </a:lnTo>
                <a:lnTo>
                  <a:pt x="5598154" y="2743200"/>
                </a:lnTo>
                <a:lnTo>
                  <a:pt x="4683756" y="2743200"/>
                </a:lnTo>
                <a:close/>
                <a:moveTo>
                  <a:pt x="3728717" y="1920354"/>
                </a:moveTo>
                <a:lnTo>
                  <a:pt x="4643115" y="1920354"/>
                </a:lnTo>
                <a:lnTo>
                  <a:pt x="4643115" y="2743200"/>
                </a:lnTo>
                <a:lnTo>
                  <a:pt x="3728717" y="2743200"/>
                </a:lnTo>
                <a:close/>
                <a:moveTo>
                  <a:pt x="2773678" y="1920318"/>
                </a:moveTo>
                <a:lnTo>
                  <a:pt x="3688077" y="1920318"/>
                </a:lnTo>
                <a:lnTo>
                  <a:pt x="3688077" y="2743200"/>
                </a:lnTo>
                <a:lnTo>
                  <a:pt x="2773678" y="2743200"/>
                </a:lnTo>
                <a:close/>
                <a:moveTo>
                  <a:pt x="1818638" y="1920282"/>
                </a:moveTo>
                <a:lnTo>
                  <a:pt x="2733039" y="1920282"/>
                </a:lnTo>
                <a:lnTo>
                  <a:pt x="2733039" y="2743200"/>
                </a:lnTo>
                <a:lnTo>
                  <a:pt x="1818638" y="2743200"/>
                </a:lnTo>
                <a:close/>
                <a:moveTo>
                  <a:pt x="863599" y="1920246"/>
                </a:moveTo>
                <a:lnTo>
                  <a:pt x="1777998" y="1920246"/>
                </a:lnTo>
                <a:lnTo>
                  <a:pt x="1777998" y="2743200"/>
                </a:lnTo>
                <a:lnTo>
                  <a:pt x="863599" y="2743200"/>
                </a:lnTo>
                <a:close/>
                <a:moveTo>
                  <a:pt x="0" y="1920210"/>
                </a:moveTo>
                <a:lnTo>
                  <a:pt x="822959" y="1920210"/>
                </a:lnTo>
                <a:lnTo>
                  <a:pt x="822959" y="2743200"/>
                </a:lnTo>
                <a:lnTo>
                  <a:pt x="0" y="2743200"/>
                </a:lnTo>
                <a:close/>
                <a:moveTo>
                  <a:pt x="11369033" y="960519"/>
                </a:moveTo>
                <a:lnTo>
                  <a:pt x="12191993" y="960519"/>
                </a:lnTo>
                <a:lnTo>
                  <a:pt x="12191993" y="1874919"/>
                </a:lnTo>
                <a:lnTo>
                  <a:pt x="11369033" y="1874919"/>
                </a:lnTo>
                <a:close/>
                <a:moveTo>
                  <a:pt x="10413993" y="960483"/>
                </a:moveTo>
                <a:lnTo>
                  <a:pt x="11328393" y="960483"/>
                </a:lnTo>
                <a:lnTo>
                  <a:pt x="11328393" y="1874883"/>
                </a:lnTo>
                <a:lnTo>
                  <a:pt x="10413993" y="1874883"/>
                </a:lnTo>
                <a:close/>
                <a:moveTo>
                  <a:pt x="9458953" y="960447"/>
                </a:moveTo>
                <a:lnTo>
                  <a:pt x="10373353" y="960447"/>
                </a:lnTo>
                <a:lnTo>
                  <a:pt x="10373353" y="1874847"/>
                </a:lnTo>
                <a:lnTo>
                  <a:pt x="9458953" y="1874847"/>
                </a:lnTo>
                <a:close/>
                <a:moveTo>
                  <a:pt x="8503913" y="960411"/>
                </a:moveTo>
                <a:lnTo>
                  <a:pt x="9418313" y="960411"/>
                </a:lnTo>
                <a:lnTo>
                  <a:pt x="9418313" y="1874811"/>
                </a:lnTo>
                <a:lnTo>
                  <a:pt x="8503913" y="1874811"/>
                </a:lnTo>
                <a:close/>
                <a:moveTo>
                  <a:pt x="7548873" y="960375"/>
                </a:moveTo>
                <a:lnTo>
                  <a:pt x="8463273" y="960375"/>
                </a:lnTo>
                <a:lnTo>
                  <a:pt x="8463273" y="1874775"/>
                </a:lnTo>
                <a:lnTo>
                  <a:pt x="7548873" y="1874775"/>
                </a:lnTo>
                <a:close/>
                <a:moveTo>
                  <a:pt x="6593833" y="960339"/>
                </a:moveTo>
                <a:lnTo>
                  <a:pt x="7508233" y="960339"/>
                </a:lnTo>
                <a:lnTo>
                  <a:pt x="7508233" y="1874739"/>
                </a:lnTo>
                <a:lnTo>
                  <a:pt x="6593833" y="1874739"/>
                </a:lnTo>
                <a:close/>
                <a:moveTo>
                  <a:pt x="5638794" y="960303"/>
                </a:moveTo>
                <a:lnTo>
                  <a:pt x="6553193" y="960303"/>
                </a:lnTo>
                <a:lnTo>
                  <a:pt x="6553193" y="1874703"/>
                </a:lnTo>
                <a:lnTo>
                  <a:pt x="5638794" y="1874703"/>
                </a:lnTo>
                <a:close/>
                <a:moveTo>
                  <a:pt x="4683756" y="960267"/>
                </a:moveTo>
                <a:lnTo>
                  <a:pt x="5598154" y="960267"/>
                </a:lnTo>
                <a:lnTo>
                  <a:pt x="5598154" y="1874667"/>
                </a:lnTo>
                <a:lnTo>
                  <a:pt x="4683756" y="1874667"/>
                </a:lnTo>
                <a:close/>
                <a:moveTo>
                  <a:pt x="3728717" y="960231"/>
                </a:moveTo>
                <a:lnTo>
                  <a:pt x="4643115" y="960231"/>
                </a:lnTo>
                <a:lnTo>
                  <a:pt x="4643115" y="1874631"/>
                </a:lnTo>
                <a:lnTo>
                  <a:pt x="3728717" y="1874631"/>
                </a:lnTo>
                <a:close/>
                <a:moveTo>
                  <a:pt x="2773678" y="960195"/>
                </a:moveTo>
                <a:lnTo>
                  <a:pt x="3688077" y="960195"/>
                </a:lnTo>
                <a:lnTo>
                  <a:pt x="3688077" y="1874595"/>
                </a:lnTo>
                <a:lnTo>
                  <a:pt x="2773678" y="1874595"/>
                </a:lnTo>
                <a:close/>
                <a:moveTo>
                  <a:pt x="1818638" y="960159"/>
                </a:moveTo>
                <a:lnTo>
                  <a:pt x="2733039" y="960159"/>
                </a:lnTo>
                <a:lnTo>
                  <a:pt x="2733039" y="1874559"/>
                </a:lnTo>
                <a:lnTo>
                  <a:pt x="1818638" y="1874559"/>
                </a:lnTo>
                <a:close/>
                <a:moveTo>
                  <a:pt x="863599" y="960123"/>
                </a:moveTo>
                <a:lnTo>
                  <a:pt x="1777998" y="960123"/>
                </a:lnTo>
                <a:lnTo>
                  <a:pt x="1777998" y="1874523"/>
                </a:lnTo>
                <a:lnTo>
                  <a:pt x="863599" y="1874523"/>
                </a:lnTo>
                <a:close/>
                <a:moveTo>
                  <a:pt x="0" y="960087"/>
                </a:moveTo>
                <a:lnTo>
                  <a:pt x="822959" y="960087"/>
                </a:lnTo>
                <a:lnTo>
                  <a:pt x="822959" y="1874487"/>
                </a:lnTo>
                <a:lnTo>
                  <a:pt x="0" y="1874487"/>
                </a:lnTo>
                <a:close/>
                <a:moveTo>
                  <a:pt x="11369033" y="396"/>
                </a:moveTo>
                <a:lnTo>
                  <a:pt x="12191993" y="396"/>
                </a:lnTo>
                <a:lnTo>
                  <a:pt x="12191993" y="914796"/>
                </a:lnTo>
                <a:lnTo>
                  <a:pt x="11369033" y="914796"/>
                </a:lnTo>
                <a:close/>
                <a:moveTo>
                  <a:pt x="10413993" y="360"/>
                </a:moveTo>
                <a:lnTo>
                  <a:pt x="11328393" y="360"/>
                </a:lnTo>
                <a:lnTo>
                  <a:pt x="11328393" y="914760"/>
                </a:lnTo>
                <a:lnTo>
                  <a:pt x="10413993" y="914760"/>
                </a:lnTo>
                <a:close/>
                <a:moveTo>
                  <a:pt x="9458953" y="324"/>
                </a:moveTo>
                <a:lnTo>
                  <a:pt x="10373353" y="324"/>
                </a:lnTo>
                <a:lnTo>
                  <a:pt x="10373353" y="914724"/>
                </a:lnTo>
                <a:lnTo>
                  <a:pt x="9458953" y="914724"/>
                </a:lnTo>
                <a:close/>
                <a:moveTo>
                  <a:pt x="8503913" y="288"/>
                </a:moveTo>
                <a:lnTo>
                  <a:pt x="9418313" y="288"/>
                </a:lnTo>
                <a:lnTo>
                  <a:pt x="9418313" y="914688"/>
                </a:lnTo>
                <a:lnTo>
                  <a:pt x="8503913" y="914688"/>
                </a:lnTo>
                <a:close/>
                <a:moveTo>
                  <a:pt x="7548873" y="252"/>
                </a:moveTo>
                <a:lnTo>
                  <a:pt x="8463273" y="252"/>
                </a:lnTo>
                <a:lnTo>
                  <a:pt x="8463273" y="914652"/>
                </a:lnTo>
                <a:lnTo>
                  <a:pt x="7548873" y="914652"/>
                </a:lnTo>
                <a:close/>
                <a:moveTo>
                  <a:pt x="6593833" y="216"/>
                </a:moveTo>
                <a:lnTo>
                  <a:pt x="7508233" y="216"/>
                </a:lnTo>
                <a:lnTo>
                  <a:pt x="7508233" y="914616"/>
                </a:lnTo>
                <a:lnTo>
                  <a:pt x="6593833" y="914616"/>
                </a:lnTo>
                <a:close/>
                <a:moveTo>
                  <a:pt x="5638794" y="180"/>
                </a:moveTo>
                <a:lnTo>
                  <a:pt x="6553193" y="180"/>
                </a:lnTo>
                <a:lnTo>
                  <a:pt x="6553193" y="914580"/>
                </a:lnTo>
                <a:lnTo>
                  <a:pt x="5638794" y="914580"/>
                </a:lnTo>
                <a:close/>
                <a:moveTo>
                  <a:pt x="4683756" y="144"/>
                </a:moveTo>
                <a:lnTo>
                  <a:pt x="5598154" y="144"/>
                </a:lnTo>
                <a:lnTo>
                  <a:pt x="5598154" y="914544"/>
                </a:lnTo>
                <a:lnTo>
                  <a:pt x="4683756" y="914544"/>
                </a:lnTo>
                <a:close/>
                <a:moveTo>
                  <a:pt x="3728717" y="108"/>
                </a:moveTo>
                <a:lnTo>
                  <a:pt x="4643115" y="108"/>
                </a:lnTo>
                <a:lnTo>
                  <a:pt x="4643115" y="914508"/>
                </a:lnTo>
                <a:lnTo>
                  <a:pt x="3728717" y="914508"/>
                </a:lnTo>
                <a:close/>
                <a:moveTo>
                  <a:pt x="2773679" y="72"/>
                </a:moveTo>
                <a:lnTo>
                  <a:pt x="3688077" y="72"/>
                </a:lnTo>
                <a:lnTo>
                  <a:pt x="3688077" y="914472"/>
                </a:lnTo>
                <a:lnTo>
                  <a:pt x="2773679" y="914472"/>
                </a:lnTo>
                <a:close/>
                <a:moveTo>
                  <a:pt x="1818638" y="36"/>
                </a:moveTo>
                <a:lnTo>
                  <a:pt x="2733039" y="36"/>
                </a:lnTo>
                <a:lnTo>
                  <a:pt x="2733039" y="914436"/>
                </a:lnTo>
                <a:lnTo>
                  <a:pt x="1818638" y="914436"/>
                </a:lnTo>
                <a:close/>
                <a:moveTo>
                  <a:pt x="863599" y="0"/>
                </a:moveTo>
                <a:lnTo>
                  <a:pt x="1777998" y="0"/>
                </a:lnTo>
                <a:lnTo>
                  <a:pt x="1777998" y="914400"/>
                </a:lnTo>
                <a:lnTo>
                  <a:pt x="863599" y="914400"/>
                </a:lnTo>
                <a:close/>
                <a:moveTo>
                  <a:pt x="0" y="0"/>
                </a:moveTo>
                <a:lnTo>
                  <a:pt x="822959" y="0"/>
                </a:lnTo>
                <a:lnTo>
                  <a:pt x="822959" y="914364"/>
                </a:lnTo>
                <a:lnTo>
                  <a:pt x="0" y="914364"/>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095564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checkerboard(across)">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Why U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1" name="Picture Placeholder 3"/>
          <p:cNvSpPr>
            <a:spLocks noGrp="1"/>
          </p:cNvSpPr>
          <p:nvPr>
            <p:ph type="pic" sz="quarter" idx="10"/>
          </p:nvPr>
        </p:nvSpPr>
        <p:spPr>
          <a:xfrm>
            <a:off x="0" y="0"/>
            <a:ext cx="4114800" cy="5143500"/>
          </a:xfrm>
          <a:noFill/>
        </p:spPr>
        <p:txBody>
          <a:bodyPr anchor="ctr" anchorCtr="0"/>
          <a:lstStyle>
            <a:lvl1pPr algn="ctr">
              <a:defRPr/>
            </a:lvl1pPr>
          </a:lstStyle>
          <a:p>
            <a:endParaRPr lang="en-US" dirty="0"/>
          </a:p>
        </p:txBody>
      </p:sp>
    </p:spTree>
    <p:extLst>
      <p:ext uri="{BB962C8B-B14F-4D97-AF65-F5344CB8AC3E}">
        <p14:creationId xmlns:p14="http://schemas.microsoft.com/office/powerpoint/2010/main" val="1347005356"/>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Company Structur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30" name="Picture Placeholder 3"/>
          <p:cNvSpPr>
            <a:spLocks noGrp="1"/>
          </p:cNvSpPr>
          <p:nvPr>
            <p:ph type="pic" sz="quarter" idx="11"/>
          </p:nvPr>
        </p:nvSpPr>
        <p:spPr>
          <a:xfrm>
            <a:off x="3749049" y="1954531"/>
            <a:ext cx="548640" cy="548640"/>
          </a:xfrm>
          <a:solidFill>
            <a:schemeClr val="tx2">
              <a:lumMod val="85000"/>
            </a:schemeClr>
          </a:solidFill>
        </p:spPr>
        <p:txBody>
          <a:bodyPr anchor="ctr" anchorCtr="0"/>
          <a:lstStyle>
            <a:lvl1pPr algn="ctr">
              <a:defRPr/>
            </a:lvl1pPr>
          </a:lstStyle>
          <a:p>
            <a:endParaRPr lang="en-US" dirty="0"/>
          </a:p>
        </p:txBody>
      </p:sp>
      <p:sp>
        <p:nvSpPr>
          <p:cNvPr id="31" name="Picture Placeholder 3"/>
          <p:cNvSpPr>
            <a:spLocks noGrp="1"/>
          </p:cNvSpPr>
          <p:nvPr>
            <p:ph type="pic" sz="quarter" idx="12"/>
          </p:nvPr>
        </p:nvSpPr>
        <p:spPr>
          <a:xfrm>
            <a:off x="1211617" y="3051799"/>
            <a:ext cx="548640" cy="548640"/>
          </a:xfrm>
          <a:solidFill>
            <a:schemeClr val="tx2">
              <a:lumMod val="85000"/>
            </a:schemeClr>
          </a:solidFill>
        </p:spPr>
        <p:txBody>
          <a:bodyPr anchor="ctr" anchorCtr="0"/>
          <a:lstStyle>
            <a:lvl1pPr algn="ctr">
              <a:defRPr/>
            </a:lvl1pPr>
          </a:lstStyle>
          <a:p>
            <a:endParaRPr lang="en-US" dirty="0"/>
          </a:p>
        </p:txBody>
      </p:sp>
      <p:sp>
        <p:nvSpPr>
          <p:cNvPr id="32" name="Picture Placeholder 3"/>
          <p:cNvSpPr>
            <a:spLocks noGrp="1"/>
          </p:cNvSpPr>
          <p:nvPr>
            <p:ph type="pic" sz="quarter" idx="13"/>
          </p:nvPr>
        </p:nvSpPr>
        <p:spPr>
          <a:xfrm>
            <a:off x="3749043" y="3051799"/>
            <a:ext cx="548640" cy="548640"/>
          </a:xfrm>
          <a:solidFill>
            <a:schemeClr val="tx2">
              <a:lumMod val="85000"/>
            </a:schemeClr>
          </a:solidFill>
        </p:spPr>
        <p:txBody>
          <a:bodyPr anchor="ctr" anchorCtr="0"/>
          <a:lstStyle>
            <a:lvl1pPr algn="ctr">
              <a:defRPr/>
            </a:lvl1pPr>
          </a:lstStyle>
          <a:p>
            <a:endParaRPr lang="en-US" dirty="0"/>
          </a:p>
        </p:txBody>
      </p:sp>
      <p:sp>
        <p:nvSpPr>
          <p:cNvPr id="33" name="Picture Placeholder 3"/>
          <p:cNvSpPr>
            <a:spLocks noGrp="1"/>
          </p:cNvSpPr>
          <p:nvPr>
            <p:ph type="pic" sz="quarter" idx="14"/>
          </p:nvPr>
        </p:nvSpPr>
        <p:spPr>
          <a:xfrm>
            <a:off x="6286469" y="3051799"/>
            <a:ext cx="548640" cy="548640"/>
          </a:xfrm>
          <a:solidFill>
            <a:schemeClr val="tx2">
              <a:lumMod val="85000"/>
            </a:schemeClr>
          </a:solidFill>
        </p:spPr>
        <p:txBody>
          <a:bodyPr anchor="ctr" anchorCtr="0"/>
          <a:lstStyle>
            <a:lvl1pPr algn="ctr">
              <a:defRPr/>
            </a:lvl1pPr>
          </a:lstStyle>
          <a:p>
            <a:endParaRPr lang="en-US" dirty="0"/>
          </a:p>
        </p:txBody>
      </p:sp>
      <p:sp>
        <p:nvSpPr>
          <p:cNvPr id="34" name="Picture Placeholder 3"/>
          <p:cNvSpPr>
            <a:spLocks noGrp="1"/>
          </p:cNvSpPr>
          <p:nvPr>
            <p:ph type="pic" sz="quarter" idx="15"/>
          </p:nvPr>
        </p:nvSpPr>
        <p:spPr>
          <a:xfrm>
            <a:off x="731556" y="4149073"/>
            <a:ext cx="548640" cy="548640"/>
          </a:xfrm>
          <a:solidFill>
            <a:schemeClr val="tx2">
              <a:lumMod val="85000"/>
            </a:schemeClr>
          </a:solidFill>
        </p:spPr>
        <p:txBody>
          <a:bodyPr anchor="ctr" anchorCtr="0"/>
          <a:lstStyle>
            <a:lvl1pPr algn="ctr">
              <a:defRPr/>
            </a:lvl1pPr>
          </a:lstStyle>
          <a:p>
            <a:endParaRPr lang="en-US" dirty="0"/>
          </a:p>
        </p:txBody>
      </p:sp>
      <p:sp>
        <p:nvSpPr>
          <p:cNvPr id="35" name="Picture Placeholder 3"/>
          <p:cNvSpPr>
            <a:spLocks noGrp="1"/>
          </p:cNvSpPr>
          <p:nvPr>
            <p:ph type="pic" sz="quarter" idx="16"/>
          </p:nvPr>
        </p:nvSpPr>
        <p:spPr>
          <a:xfrm>
            <a:off x="2742482" y="4149073"/>
            <a:ext cx="548640" cy="548640"/>
          </a:xfrm>
          <a:solidFill>
            <a:schemeClr val="tx2">
              <a:lumMod val="85000"/>
            </a:schemeClr>
          </a:solidFill>
        </p:spPr>
        <p:txBody>
          <a:bodyPr anchor="ctr" anchorCtr="0"/>
          <a:lstStyle>
            <a:lvl1pPr algn="ctr">
              <a:defRPr/>
            </a:lvl1pPr>
          </a:lstStyle>
          <a:p>
            <a:endParaRPr lang="en-US" dirty="0"/>
          </a:p>
        </p:txBody>
      </p:sp>
      <p:sp>
        <p:nvSpPr>
          <p:cNvPr id="36" name="Picture Placeholder 3"/>
          <p:cNvSpPr>
            <a:spLocks noGrp="1"/>
          </p:cNvSpPr>
          <p:nvPr>
            <p:ph type="pic" sz="quarter" idx="17"/>
          </p:nvPr>
        </p:nvSpPr>
        <p:spPr>
          <a:xfrm>
            <a:off x="4755610" y="4149073"/>
            <a:ext cx="548640" cy="548640"/>
          </a:xfrm>
          <a:solidFill>
            <a:schemeClr val="tx2">
              <a:lumMod val="85000"/>
            </a:schemeClr>
          </a:solidFill>
        </p:spPr>
        <p:txBody>
          <a:bodyPr anchor="ctr" anchorCtr="0"/>
          <a:lstStyle>
            <a:lvl1pPr algn="ctr">
              <a:defRPr/>
            </a:lvl1pPr>
          </a:lstStyle>
          <a:p>
            <a:endParaRPr lang="en-US" dirty="0"/>
          </a:p>
        </p:txBody>
      </p:sp>
      <p:sp>
        <p:nvSpPr>
          <p:cNvPr id="37" name="Picture Placeholder 3"/>
          <p:cNvSpPr>
            <a:spLocks noGrp="1"/>
          </p:cNvSpPr>
          <p:nvPr>
            <p:ph type="pic" sz="quarter" idx="18"/>
          </p:nvPr>
        </p:nvSpPr>
        <p:spPr>
          <a:xfrm>
            <a:off x="6766530" y="4149073"/>
            <a:ext cx="548640" cy="548640"/>
          </a:xfrm>
          <a:solidFill>
            <a:schemeClr val="tx2">
              <a:lumMod val="85000"/>
            </a:schemeClr>
          </a:solidFill>
        </p:spPr>
        <p:txBody>
          <a:bodyPr anchor="ctr" anchorCtr="0"/>
          <a:lstStyle>
            <a:lvl1pPr algn="ctr">
              <a:defRPr/>
            </a:lvl1pPr>
          </a:lstStyle>
          <a:p>
            <a:endParaRPr lang="en-US" dirty="0"/>
          </a:p>
        </p:txBody>
      </p:sp>
      <p:sp>
        <p:nvSpPr>
          <p:cNvPr id="29" name="Picture Placeholder 3"/>
          <p:cNvSpPr>
            <a:spLocks noGrp="1"/>
          </p:cNvSpPr>
          <p:nvPr>
            <p:ph type="pic" sz="quarter" idx="10"/>
          </p:nvPr>
        </p:nvSpPr>
        <p:spPr>
          <a:xfrm>
            <a:off x="3749043" y="1069249"/>
            <a:ext cx="548640" cy="548640"/>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2414194158"/>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Client List">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20" name="Rectangle 19"/>
          <p:cNvSpPr/>
          <p:nvPr userDrawn="1"/>
        </p:nvSpPr>
        <p:spPr>
          <a:xfrm>
            <a:off x="731538" y="1363815"/>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1" name="Rectangle 20"/>
          <p:cNvSpPr/>
          <p:nvPr userDrawn="1"/>
        </p:nvSpPr>
        <p:spPr>
          <a:xfrm>
            <a:off x="731538" y="2392511"/>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2" name="Rectangle 21"/>
          <p:cNvSpPr/>
          <p:nvPr userDrawn="1"/>
        </p:nvSpPr>
        <p:spPr>
          <a:xfrm>
            <a:off x="3406141" y="1363815"/>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3" name="Rectangle 22"/>
          <p:cNvSpPr/>
          <p:nvPr userDrawn="1"/>
        </p:nvSpPr>
        <p:spPr>
          <a:xfrm>
            <a:off x="3406141" y="2392511"/>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4" name="Rectangle 23"/>
          <p:cNvSpPr/>
          <p:nvPr userDrawn="1"/>
        </p:nvSpPr>
        <p:spPr>
          <a:xfrm>
            <a:off x="6080744" y="1363815"/>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5" name="Rectangle 24"/>
          <p:cNvSpPr/>
          <p:nvPr userDrawn="1"/>
        </p:nvSpPr>
        <p:spPr>
          <a:xfrm>
            <a:off x="6080744" y="2392511"/>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6" name="Picture Placeholder 3"/>
          <p:cNvSpPr>
            <a:spLocks noGrp="1"/>
          </p:cNvSpPr>
          <p:nvPr>
            <p:ph type="pic" sz="quarter" idx="10"/>
          </p:nvPr>
        </p:nvSpPr>
        <p:spPr>
          <a:xfrm>
            <a:off x="800141" y="1432395"/>
            <a:ext cx="2194536" cy="548640"/>
          </a:xfrm>
          <a:solidFill>
            <a:schemeClr val="tx2">
              <a:lumMod val="95000"/>
            </a:schemeClr>
          </a:solidFill>
        </p:spPr>
        <p:txBody>
          <a:bodyPr anchor="ctr" anchorCtr="0"/>
          <a:lstStyle>
            <a:lvl1pPr algn="ctr">
              <a:defRPr/>
            </a:lvl1pPr>
          </a:lstStyle>
          <a:p>
            <a:endParaRPr lang="en-US" dirty="0"/>
          </a:p>
        </p:txBody>
      </p:sp>
      <p:sp>
        <p:nvSpPr>
          <p:cNvPr id="27" name="Picture Placeholder 3"/>
          <p:cNvSpPr>
            <a:spLocks noGrp="1"/>
          </p:cNvSpPr>
          <p:nvPr>
            <p:ph type="pic" sz="quarter" idx="11"/>
          </p:nvPr>
        </p:nvSpPr>
        <p:spPr>
          <a:xfrm>
            <a:off x="3474732" y="1432395"/>
            <a:ext cx="2194536" cy="548640"/>
          </a:xfrm>
          <a:solidFill>
            <a:schemeClr val="tx2">
              <a:lumMod val="95000"/>
            </a:schemeClr>
          </a:solidFill>
        </p:spPr>
        <p:txBody>
          <a:bodyPr anchor="ctr" anchorCtr="0"/>
          <a:lstStyle>
            <a:lvl1pPr algn="ctr">
              <a:defRPr/>
            </a:lvl1pPr>
          </a:lstStyle>
          <a:p>
            <a:endParaRPr lang="en-US" dirty="0"/>
          </a:p>
        </p:txBody>
      </p:sp>
      <p:sp>
        <p:nvSpPr>
          <p:cNvPr id="28" name="Picture Placeholder 3"/>
          <p:cNvSpPr>
            <a:spLocks noGrp="1"/>
          </p:cNvSpPr>
          <p:nvPr>
            <p:ph type="pic" sz="quarter" idx="12"/>
          </p:nvPr>
        </p:nvSpPr>
        <p:spPr>
          <a:xfrm>
            <a:off x="6149323" y="1432395"/>
            <a:ext cx="2194536" cy="548640"/>
          </a:xfrm>
          <a:solidFill>
            <a:schemeClr val="tx2">
              <a:lumMod val="95000"/>
            </a:schemeClr>
          </a:solidFill>
        </p:spPr>
        <p:txBody>
          <a:bodyPr anchor="ctr" anchorCtr="0"/>
          <a:lstStyle>
            <a:lvl1pPr algn="ctr">
              <a:defRPr/>
            </a:lvl1pPr>
          </a:lstStyle>
          <a:p>
            <a:endParaRPr lang="en-US" dirty="0"/>
          </a:p>
        </p:txBody>
      </p:sp>
      <p:sp>
        <p:nvSpPr>
          <p:cNvPr id="29" name="Picture Placeholder 3"/>
          <p:cNvSpPr>
            <a:spLocks noGrp="1"/>
          </p:cNvSpPr>
          <p:nvPr>
            <p:ph type="pic" sz="quarter" idx="13"/>
          </p:nvPr>
        </p:nvSpPr>
        <p:spPr>
          <a:xfrm>
            <a:off x="800141" y="2461091"/>
            <a:ext cx="2194536" cy="548640"/>
          </a:xfrm>
          <a:solidFill>
            <a:schemeClr val="tx2">
              <a:lumMod val="95000"/>
            </a:schemeClr>
          </a:solidFill>
        </p:spPr>
        <p:txBody>
          <a:bodyPr anchor="ctr" anchorCtr="0"/>
          <a:lstStyle>
            <a:lvl1pPr algn="ctr">
              <a:defRPr/>
            </a:lvl1pPr>
          </a:lstStyle>
          <a:p>
            <a:endParaRPr lang="en-US" dirty="0"/>
          </a:p>
        </p:txBody>
      </p:sp>
      <p:sp>
        <p:nvSpPr>
          <p:cNvPr id="30" name="Picture Placeholder 3"/>
          <p:cNvSpPr>
            <a:spLocks noGrp="1"/>
          </p:cNvSpPr>
          <p:nvPr>
            <p:ph type="pic" sz="quarter" idx="14"/>
          </p:nvPr>
        </p:nvSpPr>
        <p:spPr>
          <a:xfrm>
            <a:off x="3474732" y="2461091"/>
            <a:ext cx="2194536" cy="548640"/>
          </a:xfrm>
          <a:solidFill>
            <a:schemeClr val="tx2">
              <a:lumMod val="95000"/>
            </a:schemeClr>
          </a:solidFill>
        </p:spPr>
        <p:txBody>
          <a:bodyPr anchor="ctr" anchorCtr="0"/>
          <a:lstStyle>
            <a:lvl1pPr algn="ctr">
              <a:defRPr/>
            </a:lvl1pPr>
          </a:lstStyle>
          <a:p>
            <a:endParaRPr lang="en-US" dirty="0"/>
          </a:p>
        </p:txBody>
      </p:sp>
      <p:sp>
        <p:nvSpPr>
          <p:cNvPr id="31" name="Picture Placeholder 3"/>
          <p:cNvSpPr>
            <a:spLocks noGrp="1"/>
          </p:cNvSpPr>
          <p:nvPr>
            <p:ph type="pic" sz="quarter" idx="15"/>
          </p:nvPr>
        </p:nvSpPr>
        <p:spPr>
          <a:xfrm>
            <a:off x="6149323" y="2461091"/>
            <a:ext cx="2194536" cy="548640"/>
          </a:xfrm>
          <a:solidFill>
            <a:schemeClr val="tx2">
              <a:lumMod val="9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2362731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anim calcmode="lin" valueType="num">
                                      <p:cBhvr>
                                        <p:cTn id="10" dur="500" fill="hold"/>
                                        <p:tgtEl>
                                          <p:spTgt spid="20"/>
                                        </p:tgtEl>
                                        <p:attrNameLst>
                                          <p:attrName>ppt_x</p:attrName>
                                        </p:attrNameLst>
                                      </p:cBhvr>
                                      <p:tavLst>
                                        <p:tav tm="0">
                                          <p:val>
                                            <p:fltVal val="0.5"/>
                                          </p:val>
                                        </p:tav>
                                        <p:tav tm="100000">
                                          <p:val>
                                            <p:strVal val="#ppt_x"/>
                                          </p:val>
                                        </p:tav>
                                      </p:tavLst>
                                    </p:anim>
                                    <p:anim calcmode="lin" valueType="num">
                                      <p:cBhvr>
                                        <p:cTn id="11" dur="500" fill="hold"/>
                                        <p:tgtEl>
                                          <p:spTgt spid="20"/>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26"/>
                                        </p:tgtEl>
                                        <p:attrNameLst>
                                          <p:attrName>style.visibility</p:attrName>
                                        </p:attrNameLst>
                                      </p:cBhvr>
                                      <p:to>
                                        <p:strVal val="visible"/>
                                      </p:to>
                                    </p:set>
                                    <p:anim calcmode="lin" valueType="num">
                                      <p:cBhvr>
                                        <p:cTn id="14" dur="500" fill="hold"/>
                                        <p:tgtEl>
                                          <p:spTgt spid="26"/>
                                        </p:tgtEl>
                                        <p:attrNameLst>
                                          <p:attrName>ppt_w</p:attrName>
                                        </p:attrNameLst>
                                      </p:cBhvr>
                                      <p:tavLst>
                                        <p:tav tm="0">
                                          <p:val>
                                            <p:fltVal val="0"/>
                                          </p:val>
                                        </p:tav>
                                        <p:tav tm="100000">
                                          <p:val>
                                            <p:strVal val="#ppt_w"/>
                                          </p:val>
                                        </p:tav>
                                      </p:tavLst>
                                    </p:anim>
                                    <p:anim calcmode="lin" valueType="num">
                                      <p:cBhvr>
                                        <p:cTn id="15" dur="500" fill="hold"/>
                                        <p:tgtEl>
                                          <p:spTgt spid="26"/>
                                        </p:tgtEl>
                                        <p:attrNameLst>
                                          <p:attrName>ppt_h</p:attrName>
                                        </p:attrNameLst>
                                      </p:cBhvr>
                                      <p:tavLst>
                                        <p:tav tm="0">
                                          <p:val>
                                            <p:fltVal val="0"/>
                                          </p:val>
                                        </p:tav>
                                        <p:tav tm="100000">
                                          <p:val>
                                            <p:strVal val="#ppt_h"/>
                                          </p:val>
                                        </p:tav>
                                      </p:tavLst>
                                    </p:anim>
                                    <p:animEffect transition="in" filter="fade">
                                      <p:cBhvr>
                                        <p:cTn id="16" dur="500"/>
                                        <p:tgtEl>
                                          <p:spTgt spid="26"/>
                                        </p:tgtEl>
                                      </p:cBhvr>
                                    </p:animEffect>
                                    <p:anim calcmode="lin" valueType="num">
                                      <p:cBhvr>
                                        <p:cTn id="17" dur="500" fill="hold"/>
                                        <p:tgtEl>
                                          <p:spTgt spid="26"/>
                                        </p:tgtEl>
                                        <p:attrNameLst>
                                          <p:attrName>ppt_x</p:attrName>
                                        </p:attrNameLst>
                                      </p:cBhvr>
                                      <p:tavLst>
                                        <p:tav tm="0">
                                          <p:val>
                                            <p:fltVal val="0.5"/>
                                          </p:val>
                                        </p:tav>
                                        <p:tav tm="100000">
                                          <p:val>
                                            <p:strVal val="#ppt_x"/>
                                          </p:val>
                                        </p:tav>
                                      </p:tavLst>
                                    </p:anim>
                                    <p:anim calcmode="lin" valueType="num">
                                      <p:cBhvr>
                                        <p:cTn id="18" dur="500" fill="hold"/>
                                        <p:tgtEl>
                                          <p:spTgt spid="26"/>
                                        </p:tgtEl>
                                        <p:attrNameLst>
                                          <p:attrName>ppt_y</p:attrName>
                                        </p:attrNameLst>
                                      </p:cBhvr>
                                      <p:tavLst>
                                        <p:tav tm="0">
                                          <p:val>
                                            <p:fltVal val="0.5"/>
                                          </p:val>
                                        </p:tav>
                                        <p:tav tm="100000">
                                          <p:val>
                                            <p:strVal val="#ppt_y"/>
                                          </p:val>
                                        </p:tav>
                                      </p:tavLst>
                                    </p:anim>
                                  </p:childTnLst>
                                </p:cTn>
                              </p:par>
                            </p:childTnLst>
                          </p:cTn>
                        </p:par>
                        <p:par>
                          <p:cTn id="19" fill="hold">
                            <p:stCondLst>
                              <p:cond delay="500"/>
                            </p:stCondLst>
                            <p:childTnLst>
                              <p:par>
                                <p:cTn id="20" presetID="53" presetClass="entr" presetSubtype="52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p:cTn id="22" dur="500" fill="hold"/>
                                        <p:tgtEl>
                                          <p:spTgt spid="22"/>
                                        </p:tgtEl>
                                        <p:attrNameLst>
                                          <p:attrName>ppt_w</p:attrName>
                                        </p:attrNameLst>
                                      </p:cBhvr>
                                      <p:tavLst>
                                        <p:tav tm="0">
                                          <p:val>
                                            <p:fltVal val="0"/>
                                          </p:val>
                                        </p:tav>
                                        <p:tav tm="100000">
                                          <p:val>
                                            <p:strVal val="#ppt_w"/>
                                          </p:val>
                                        </p:tav>
                                      </p:tavLst>
                                    </p:anim>
                                    <p:anim calcmode="lin" valueType="num">
                                      <p:cBhvr>
                                        <p:cTn id="23" dur="500" fill="hold"/>
                                        <p:tgtEl>
                                          <p:spTgt spid="22"/>
                                        </p:tgtEl>
                                        <p:attrNameLst>
                                          <p:attrName>ppt_h</p:attrName>
                                        </p:attrNameLst>
                                      </p:cBhvr>
                                      <p:tavLst>
                                        <p:tav tm="0">
                                          <p:val>
                                            <p:fltVal val="0"/>
                                          </p:val>
                                        </p:tav>
                                        <p:tav tm="100000">
                                          <p:val>
                                            <p:strVal val="#ppt_h"/>
                                          </p:val>
                                        </p:tav>
                                      </p:tavLst>
                                    </p:anim>
                                    <p:animEffect transition="in" filter="fade">
                                      <p:cBhvr>
                                        <p:cTn id="24" dur="500"/>
                                        <p:tgtEl>
                                          <p:spTgt spid="22"/>
                                        </p:tgtEl>
                                      </p:cBhvr>
                                    </p:animEffect>
                                    <p:anim calcmode="lin" valueType="num">
                                      <p:cBhvr>
                                        <p:cTn id="25" dur="500" fill="hold"/>
                                        <p:tgtEl>
                                          <p:spTgt spid="22"/>
                                        </p:tgtEl>
                                        <p:attrNameLst>
                                          <p:attrName>ppt_x</p:attrName>
                                        </p:attrNameLst>
                                      </p:cBhvr>
                                      <p:tavLst>
                                        <p:tav tm="0">
                                          <p:val>
                                            <p:fltVal val="0.5"/>
                                          </p:val>
                                        </p:tav>
                                        <p:tav tm="100000">
                                          <p:val>
                                            <p:strVal val="#ppt_x"/>
                                          </p:val>
                                        </p:tav>
                                      </p:tavLst>
                                    </p:anim>
                                    <p:anim calcmode="lin" valueType="num">
                                      <p:cBhvr>
                                        <p:cTn id="26" dur="500" fill="hold"/>
                                        <p:tgtEl>
                                          <p:spTgt spid="22"/>
                                        </p:tgtEl>
                                        <p:attrNameLst>
                                          <p:attrName>ppt_y</p:attrName>
                                        </p:attrNameLst>
                                      </p:cBhvr>
                                      <p:tavLst>
                                        <p:tav tm="0">
                                          <p:val>
                                            <p:fltVal val="0.5"/>
                                          </p:val>
                                        </p:tav>
                                        <p:tav tm="100000">
                                          <p:val>
                                            <p:strVal val="#ppt_y"/>
                                          </p:val>
                                        </p:tav>
                                      </p:tavLst>
                                    </p:anim>
                                  </p:childTnLst>
                                </p:cTn>
                              </p:par>
                              <p:par>
                                <p:cTn id="27" presetID="53" presetClass="entr" presetSubtype="528"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anim calcmode="lin" valueType="num">
                                      <p:cBhvr>
                                        <p:cTn id="29" dur="500" fill="hold"/>
                                        <p:tgtEl>
                                          <p:spTgt spid="27"/>
                                        </p:tgtEl>
                                        <p:attrNameLst>
                                          <p:attrName>ppt_w</p:attrName>
                                        </p:attrNameLst>
                                      </p:cBhvr>
                                      <p:tavLst>
                                        <p:tav tm="0">
                                          <p:val>
                                            <p:fltVal val="0"/>
                                          </p:val>
                                        </p:tav>
                                        <p:tav tm="100000">
                                          <p:val>
                                            <p:strVal val="#ppt_w"/>
                                          </p:val>
                                        </p:tav>
                                      </p:tavLst>
                                    </p:anim>
                                    <p:anim calcmode="lin" valueType="num">
                                      <p:cBhvr>
                                        <p:cTn id="30" dur="500" fill="hold"/>
                                        <p:tgtEl>
                                          <p:spTgt spid="27"/>
                                        </p:tgtEl>
                                        <p:attrNameLst>
                                          <p:attrName>ppt_h</p:attrName>
                                        </p:attrNameLst>
                                      </p:cBhvr>
                                      <p:tavLst>
                                        <p:tav tm="0">
                                          <p:val>
                                            <p:fltVal val="0"/>
                                          </p:val>
                                        </p:tav>
                                        <p:tav tm="100000">
                                          <p:val>
                                            <p:strVal val="#ppt_h"/>
                                          </p:val>
                                        </p:tav>
                                      </p:tavLst>
                                    </p:anim>
                                    <p:animEffect transition="in" filter="fade">
                                      <p:cBhvr>
                                        <p:cTn id="31" dur="500"/>
                                        <p:tgtEl>
                                          <p:spTgt spid="27"/>
                                        </p:tgtEl>
                                      </p:cBhvr>
                                    </p:animEffect>
                                    <p:anim calcmode="lin" valueType="num">
                                      <p:cBhvr>
                                        <p:cTn id="32" dur="500" fill="hold"/>
                                        <p:tgtEl>
                                          <p:spTgt spid="27"/>
                                        </p:tgtEl>
                                        <p:attrNameLst>
                                          <p:attrName>ppt_x</p:attrName>
                                        </p:attrNameLst>
                                      </p:cBhvr>
                                      <p:tavLst>
                                        <p:tav tm="0">
                                          <p:val>
                                            <p:fltVal val="0.5"/>
                                          </p:val>
                                        </p:tav>
                                        <p:tav tm="100000">
                                          <p:val>
                                            <p:strVal val="#ppt_x"/>
                                          </p:val>
                                        </p:tav>
                                      </p:tavLst>
                                    </p:anim>
                                    <p:anim calcmode="lin" valueType="num">
                                      <p:cBhvr>
                                        <p:cTn id="33" dur="500" fill="hold"/>
                                        <p:tgtEl>
                                          <p:spTgt spid="27"/>
                                        </p:tgtEl>
                                        <p:attrNameLst>
                                          <p:attrName>ppt_y</p:attrName>
                                        </p:attrNameLst>
                                      </p:cBhvr>
                                      <p:tavLst>
                                        <p:tav tm="0">
                                          <p:val>
                                            <p:fltVal val="0.5"/>
                                          </p:val>
                                        </p:tav>
                                        <p:tav tm="100000">
                                          <p:val>
                                            <p:strVal val="#ppt_y"/>
                                          </p:val>
                                        </p:tav>
                                      </p:tavLst>
                                    </p:anim>
                                  </p:childTnLst>
                                </p:cTn>
                              </p:par>
                            </p:childTnLst>
                          </p:cTn>
                        </p:par>
                        <p:par>
                          <p:cTn id="34" fill="hold">
                            <p:stCondLst>
                              <p:cond delay="1000"/>
                            </p:stCondLst>
                            <p:childTnLst>
                              <p:par>
                                <p:cTn id="35" presetID="53" presetClass="entr" presetSubtype="528" fill="hold" grpId="0" nodeType="after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p:cTn id="37" dur="500" fill="hold"/>
                                        <p:tgtEl>
                                          <p:spTgt spid="24"/>
                                        </p:tgtEl>
                                        <p:attrNameLst>
                                          <p:attrName>ppt_w</p:attrName>
                                        </p:attrNameLst>
                                      </p:cBhvr>
                                      <p:tavLst>
                                        <p:tav tm="0">
                                          <p:val>
                                            <p:fltVal val="0"/>
                                          </p:val>
                                        </p:tav>
                                        <p:tav tm="100000">
                                          <p:val>
                                            <p:strVal val="#ppt_w"/>
                                          </p:val>
                                        </p:tav>
                                      </p:tavLst>
                                    </p:anim>
                                    <p:anim calcmode="lin" valueType="num">
                                      <p:cBhvr>
                                        <p:cTn id="38" dur="500" fill="hold"/>
                                        <p:tgtEl>
                                          <p:spTgt spid="24"/>
                                        </p:tgtEl>
                                        <p:attrNameLst>
                                          <p:attrName>ppt_h</p:attrName>
                                        </p:attrNameLst>
                                      </p:cBhvr>
                                      <p:tavLst>
                                        <p:tav tm="0">
                                          <p:val>
                                            <p:fltVal val="0"/>
                                          </p:val>
                                        </p:tav>
                                        <p:tav tm="100000">
                                          <p:val>
                                            <p:strVal val="#ppt_h"/>
                                          </p:val>
                                        </p:tav>
                                      </p:tavLst>
                                    </p:anim>
                                    <p:animEffect transition="in" filter="fade">
                                      <p:cBhvr>
                                        <p:cTn id="39" dur="500"/>
                                        <p:tgtEl>
                                          <p:spTgt spid="24"/>
                                        </p:tgtEl>
                                      </p:cBhvr>
                                    </p:animEffect>
                                    <p:anim calcmode="lin" valueType="num">
                                      <p:cBhvr>
                                        <p:cTn id="40" dur="500" fill="hold"/>
                                        <p:tgtEl>
                                          <p:spTgt spid="24"/>
                                        </p:tgtEl>
                                        <p:attrNameLst>
                                          <p:attrName>ppt_x</p:attrName>
                                        </p:attrNameLst>
                                      </p:cBhvr>
                                      <p:tavLst>
                                        <p:tav tm="0">
                                          <p:val>
                                            <p:fltVal val="0.5"/>
                                          </p:val>
                                        </p:tav>
                                        <p:tav tm="100000">
                                          <p:val>
                                            <p:strVal val="#ppt_x"/>
                                          </p:val>
                                        </p:tav>
                                      </p:tavLst>
                                    </p:anim>
                                    <p:anim calcmode="lin" valueType="num">
                                      <p:cBhvr>
                                        <p:cTn id="41" dur="500" fill="hold"/>
                                        <p:tgtEl>
                                          <p:spTgt spid="24"/>
                                        </p:tgtEl>
                                        <p:attrNameLst>
                                          <p:attrName>ppt_y</p:attrName>
                                        </p:attrNameLst>
                                      </p:cBhvr>
                                      <p:tavLst>
                                        <p:tav tm="0">
                                          <p:val>
                                            <p:fltVal val="0.5"/>
                                          </p:val>
                                        </p:tav>
                                        <p:tav tm="100000">
                                          <p:val>
                                            <p:strVal val="#ppt_y"/>
                                          </p:val>
                                        </p:tav>
                                      </p:tavLst>
                                    </p:anim>
                                  </p:childTnLst>
                                </p:cTn>
                              </p:par>
                              <p:par>
                                <p:cTn id="42" presetID="53" presetClass="entr" presetSubtype="528"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 calcmode="lin" valueType="num">
                                      <p:cBhvr>
                                        <p:cTn id="44" dur="500" fill="hold"/>
                                        <p:tgtEl>
                                          <p:spTgt spid="28"/>
                                        </p:tgtEl>
                                        <p:attrNameLst>
                                          <p:attrName>ppt_w</p:attrName>
                                        </p:attrNameLst>
                                      </p:cBhvr>
                                      <p:tavLst>
                                        <p:tav tm="0">
                                          <p:val>
                                            <p:fltVal val="0"/>
                                          </p:val>
                                        </p:tav>
                                        <p:tav tm="100000">
                                          <p:val>
                                            <p:strVal val="#ppt_w"/>
                                          </p:val>
                                        </p:tav>
                                      </p:tavLst>
                                    </p:anim>
                                    <p:anim calcmode="lin" valueType="num">
                                      <p:cBhvr>
                                        <p:cTn id="45" dur="500" fill="hold"/>
                                        <p:tgtEl>
                                          <p:spTgt spid="28"/>
                                        </p:tgtEl>
                                        <p:attrNameLst>
                                          <p:attrName>ppt_h</p:attrName>
                                        </p:attrNameLst>
                                      </p:cBhvr>
                                      <p:tavLst>
                                        <p:tav tm="0">
                                          <p:val>
                                            <p:fltVal val="0"/>
                                          </p:val>
                                        </p:tav>
                                        <p:tav tm="100000">
                                          <p:val>
                                            <p:strVal val="#ppt_h"/>
                                          </p:val>
                                        </p:tav>
                                      </p:tavLst>
                                    </p:anim>
                                    <p:animEffect transition="in" filter="fade">
                                      <p:cBhvr>
                                        <p:cTn id="46" dur="500"/>
                                        <p:tgtEl>
                                          <p:spTgt spid="28"/>
                                        </p:tgtEl>
                                      </p:cBhvr>
                                    </p:animEffect>
                                    <p:anim calcmode="lin" valueType="num">
                                      <p:cBhvr>
                                        <p:cTn id="47" dur="500" fill="hold"/>
                                        <p:tgtEl>
                                          <p:spTgt spid="28"/>
                                        </p:tgtEl>
                                        <p:attrNameLst>
                                          <p:attrName>ppt_x</p:attrName>
                                        </p:attrNameLst>
                                      </p:cBhvr>
                                      <p:tavLst>
                                        <p:tav tm="0">
                                          <p:val>
                                            <p:fltVal val="0.5"/>
                                          </p:val>
                                        </p:tav>
                                        <p:tav tm="100000">
                                          <p:val>
                                            <p:strVal val="#ppt_x"/>
                                          </p:val>
                                        </p:tav>
                                      </p:tavLst>
                                    </p:anim>
                                    <p:anim calcmode="lin" valueType="num">
                                      <p:cBhvr>
                                        <p:cTn id="48" dur="500" fill="hold"/>
                                        <p:tgtEl>
                                          <p:spTgt spid="28"/>
                                        </p:tgtEl>
                                        <p:attrNameLst>
                                          <p:attrName>ppt_y</p:attrName>
                                        </p:attrNameLst>
                                      </p:cBhvr>
                                      <p:tavLst>
                                        <p:tav tm="0">
                                          <p:val>
                                            <p:fltVal val="0.5"/>
                                          </p:val>
                                        </p:tav>
                                        <p:tav tm="100000">
                                          <p:val>
                                            <p:strVal val="#ppt_y"/>
                                          </p:val>
                                        </p:tav>
                                      </p:tavLst>
                                    </p:anim>
                                  </p:childTnLst>
                                </p:cTn>
                              </p:par>
                            </p:childTnLst>
                          </p:cTn>
                        </p:par>
                        <p:par>
                          <p:cTn id="49" fill="hold">
                            <p:stCondLst>
                              <p:cond delay="1500"/>
                            </p:stCondLst>
                            <p:childTnLst>
                              <p:par>
                                <p:cTn id="50" presetID="53" presetClass="entr" presetSubtype="528" fill="hold" grpId="0" nodeType="after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500" fill="hold"/>
                                        <p:tgtEl>
                                          <p:spTgt spid="21"/>
                                        </p:tgtEl>
                                        <p:attrNameLst>
                                          <p:attrName>ppt_w</p:attrName>
                                        </p:attrNameLst>
                                      </p:cBhvr>
                                      <p:tavLst>
                                        <p:tav tm="0">
                                          <p:val>
                                            <p:fltVal val="0"/>
                                          </p:val>
                                        </p:tav>
                                        <p:tav tm="100000">
                                          <p:val>
                                            <p:strVal val="#ppt_w"/>
                                          </p:val>
                                        </p:tav>
                                      </p:tavLst>
                                    </p:anim>
                                    <p:anim calcmode="lin" valueType="num">
                                      <p:cBhvr>
                                        <p:cTn id="53" dur="500" fill="hold"/>
                                        <p:tgtEl>
                                          <p:spTgt spid="21"/>
                                        </p:tgtEl>
                                        <p:attrNameLst>
                                          <p:attrName>ppt_h</p:attrName>
                                        </p:attrNameLst>
                                      </p:cBhvr>
                                      <p:tavLst>
                                        <p:tav tm="0">
                                          <p:val>
                                            <p:fltVal val="0"/>
                                          </p:val>
                                        </p:tav>
                                        <p:tav tm="100000">
                                          <p:val>
                                            <p:strVal val="#ppt_h"/>
                                          </p:val>
                                        </p:tav>
                                      </p:tavLst>
                                    </p:anim>
                                    <p:animEffect transition="in" filter="fade">
                                      <p:cBhvr>
                                        <p:cTn id="54" dur="500"/>
                                        <p:tgtEl>
                                          <p:spTgt spid="21"/>
                                        </p:tgtEl>
                                      </p:cBhvr>
                                    </p:animEffect>
                                    <p:anim calcmode="lin" valueType="num">
                                      <p:cBhvr>
                                        <p:cTn id="55" dur="500" fill="hold"/>
                                        <p:tgtEl>
                                          <p:spTgt spid="21"/>
                                        </p:tgtEl>
                                        <p:attrNameLst>
                                          <p:attrName>ppt_x</p:attrName>
                                        </p:attrNameLst>
                                      </p:cBhvr>
                                      <p:tavLst>
                                        <p:tav tm="0">
                                          <p:val>
                                            <p:fltVal val="0.5"/>
                                          </p:val>
                                        </p:tav>
                                        <p:tav tm="100000">
                                          <p:val>
                                            <p:strVal val="#ppt_x"/>
                                          </p:val>
                                        </p:tav>
                                      </p:tavLst>
                                    </p:anim>
                                    <p:anim calcmode="lin" valueType="num">
                                      <p:cBhvr>
                                        <p:cTn id="56" dur="500" fill="hold"/>
                                        <p:tgtEl>
                                          <p:spTgt spid="21"/>
                                        </p:tgtEl>
                                        <p:attrNameLst>
                                          <p:attrName>ppt_y</p:attrName>
                                        </p:attrNameLst>
                                      </p:cBhvr>
                                      <p:tavLst>
                                        <p:tav tm="0">
                                          <p:val>
                                            <p:fltVal val="0.5"/>
                                          </p:val>
                                        </p:tav>
                                        <p:tav tm="100000">
                                          <p:val>
                                            <p:strVal val="#ppt_y"/>
                                          </p:val>
                                        </p:tav>
                                      </p:tavLst>
                                    </p:anim>
                                  </p:childTnLst>
                                </p:cTn>
                              </p:par>
                              <p:par>
                                <p:cTn id="57" presetID="53" presetClass="entr" presetSubtype="528" fill="hold" grpId="0" nodeType="withEffect">
                                  <p:stCondLst>
                                    <p:cond delay="0"/>
                                  </p:stCondLst>
                                  <p:childTnLst>
                                    <p:set>
                                      <p:cBhvr>
                                        <p:cTn id="58" dur="1" fill="hold">
                                          <p:stCondLst>
                                            <p:cond delay="0"/>
                                          </p:stCondLst>
                                        </p:cTn>
                                        <p:tgtEl>
                                          <p:spTgt spid="29"/>
                                        </p:tgtEl>
                                        <p:attrNameLst>
                                          <p:attrName>style.visibility</p:attrName>
                                        </p:attrNameLst>
                                      </p:cBhvr>
                                      <p:to>
                                        <p:strVal val="visible"/>
                                      </p:to>
                                    </p:set>
                                    <p:anim calcmode="lin" valueType="num">
                                      <p:cBhvr>
                                        <p:cTn id="59" dur="500" fill="hold"/>
                                        <p:tgtEl>
                                          <p:spTgt spid="29"/>
                                        </p:tgtEl>
                                        <p:attrNameLst>
                                          <p:attrName>ppt_w</p:attrName>
                                        </p:attrNameLst>
                                      </p:cBhvr>
                                      <p:tavLst>
                                        <p:tav tm="0">
                                          <p:val>
                                            <p:fltVal val="0"/>
                                          </p:val>
                                        </p:tav>
                                        <p:tav tm="100000">
                                          <p:val>
                                            <p:strVal val="#ppt_w"/>
                                          </p:val>
                                        </p:tav>
                                      </p:tavLst>
                                    </p:anim>
                                    <p:anim calcmode="lin" valueType="num">
                                      <p:cBhvr>
                                        <p:cTn id="60" dur="500" fill="hold"/>
                                        <p:tgtEl>
                                          <p:spTgt spid="29"/>
                                        </p:tgtEl>
                                        <p:attrNameLst>
                                          <p:attrName>ppt_h</p:attrName>
                                        </p:attrNameLst>
                                      </p:cBhvr>
                                      <p:tavLst>
                                        <p:tav tm="0">
                                          <p:val>
                                            <p:fltVal val="0"/>
                                          </p:val>
                                        </p:tav>
                                        <p:tav tm="100000">
                                          <p:val>
                                            <p:strVal val="#ppt_h"/>
                                          </p:val>
                                        </p:tav>
                                      </p:tavLst>
                                    </p:anim>
                                    <p:animEffect transition="in" filter="fade">
                                      <p:cBhvr>
                                        <p:cTn id="61" dur="500"/>
                                        <p:tgtEl>
                                          <p:spTgt spid="29"/>
                                        </p:tgtEl>
                                      </p:cBhvr>
                                    </p:animEffect>
                                    <p:anim calcmode="lin" valueType="num">
                                      <p:cBhvr>
                                        <p:cTn id="62" dur="500" fill="hold"/>
                                        <p:tgtEl>
                                          <p:spTgt spid="29"/>
                                        </p:tgtEl>
                                        <p:attrNameLst>
                                          <p:attrName>ppt_x</p:attrName>
                                        </p:attrNameLst>
                                      </p:cBhvr>
                                      <p:tavLst>
                                        <p:tav tm="0">
                                          <p:val>
                                            <p:fltVal val="0.5"/>
                                          </p:val>
                                        </p:tav>
                                        <p:tav tm="100000">
                                          <p:val>
                                            <p:strVal val="#ppt_x"/>
                                          </p:val>
                                        </p:tav>
                                      </p:tavLst>
                                    </p:anim>
                                    <p:anim calcmode="lin" valueType="num">
                                      <p:cBhvr>
                                        <p:cTn id="63" dur="500" fill="hold"/>
                                        <p:tgtEl>
                                          <p:spTgt spid="29"/>
                                        </p:tgtEl>
                                        <p:attrNameLst>
                                          <p:attrName>ppt_y</p:attrName>
                                        </p:attrNameLst>
                                      </p:cBhvr>
                                      <p:tavLst>
                                        <p:tav tm="0">
                                          <p:val>
                                            <p:fltVal val="0.5"/>
                                          </p:val>
                                        </p:tav>
                                        <p:tav tm="100000">
                                          <p:val>
                                            <p:strVal val="#ppt_y"/>
                                          </p:val>
                                        </p:tav>
                                      </p:tavLst>
                                    </p:anim>
                                  </p:childTnLst>
                                </p:cTn>
                              </p:par>
                            </p:childTnLst>
                          </p:cTn>
                        </p:par>
                        <p:par>
                          <p:cTn id="64" fill="hold">
                            <p:stCondLst>
                              <p:cond delay="2000"/>
                            </p:stCondLst>
                            <p:childTnLst>
                              <p:par>
                                <p:cTn id="65" presetID="53" presetClass="entr" presetSubtype="528" fill="hold" grpId="0" nodeType="afterEffect">
                                  <p:stCondLst>
                                    <p:cond delay="0"/>
                                  </p:stCondLst>
                                  <p:childTnLst>
                                    <p:set>
                                      <p:cBhvr>
                                        <p:cTn id="66" dur="1" fill="hold">
                                          <p:stCondLst>
                                            <p:cond delay="0"/>
                                          </p:stCondLst>
                                        </p:cTn>
                                        <p:tgtEl>
                                          <p:spTgt spid="23"/>
                                        </p:tgtEl>
                                        <p:attrNameLst>
                                          <p:attrName>style.visibility</p:attrName>
                                        </p:attrNameLst>
                                      </p:cBhvr>
                                      <p:to>
                                        <p:strVal val="visible"/>
                                      </p:to>
                                    </p:set>
                                    <p:anim calcmode="lin" valueType="num">
                                      <p:cBhvr>
                                        <p:cTn id="67" dur="500" fill="hold"/>
                                        <p:tgtEl>
                                          <p:spTgt spid="23"/>
                                        </p:tgtEl>
                                        <p:attrNameLst>
                                          <p:attrName>ppt_w</p:attrName>
                                        </p:attrNameLst>
                                      </p:cBhvr>
                                      <p:tavLst>
                                        <p:tav tm="0">
                                          <p:val>
                                            <p:fltVal val="0"/>
                                          </p:val>
                                        </p:tav>
                                        <p:tav tm="100000">
                                          <p:val>
                                            <p:strVal val="#ppt_w"/>
                                          </p:val>
                                        </p:tav>
                                      </p:tavLst>
                                    </p:anim>
                                    <p:anim calcmode="lin" valueType="num">
                                      <p:cBhvr>
                                        <p:cTn id="68" dur="500" fill="hold"/>
                                        <p:tgtEl>
                                          <p:spTgt spid="23"/>
                                        </p:tgtEl>
                                        <p:attrNameLst>
                                          <p:attrName>ppt_h</p:attrName>
                                        </p:attrNameLst>
                                      </p:cBhvr>
                                      <p:tavLst>
                                        <p:tav tm="0">
                                          <p:val>
                                            <p:fltVal val="0"/>
                                          </p:val>
                                        </p:tav>
                                        <p:tav tm="100000">
                                          <p:val>
                                            <p:strVal val="#ppt_h"/>
                                          </p:val>
                                        </p:tav>
                                      </p:tavLst>
                                    </p:anim>
                                    <p:animEffect transition="in" filter="fade">
                                      <p:cBhvr>
                                        <p:cTn id="69" dur="500"/>
                                        <p:tgtEl>
                                          <p:spTgt spid="23"/>
                                        </p:tgtEl>
                                      </p:cBhvr>
                                    </p:animEffect>
                                    <p:anim calcmode="lin" valueType="num">
                                      <p:cBhvr>
                                        <p:cTn id="70" dur="500" fill="hold"/>
                                        <p:tgtEl>
                                          <p:spTgt spid="23"/>
                                        </p:tgtEl>
                                        <p:attrNameLst>
                                          <p:attrName>ppt_x</p:attrName>
                                        </p:attrNameLst>
                                      </p:cBhvr>
                                      <p:tavLst>
                                        <p:tav tm="0">
                                          <p:val>
                                            <p:fltVal val="0.5"/>
                                          </p:val>
                                        </p:tav>
                                        <p:tav tm="100000">
                                          <p:val>
                                            <p:strVal val="#ppt_x"/>
                                          </p:val>
                                        </p:tav>
                                      </p:tavLst>
                                    </p:anim>
                                    <p:anim calcmode="lin" valueType="num">
                                      <p:cBhvr>
                                        <p:cTn id="71" dur="500" fill="hold"/>
                                        <p:tgtEl>
                                          <p:spTgt spid="23"/>
                                        </p:tgtEl>
                                        <p:attrNameLst>
                                          <p:attrName>ppt_y</p:attrName>
                                        </p:attrNameLst>
                                      </p:cBhvr>
                                      <p:tavLst>
                                        <p:tav tm="0">
                                          <p:val>
                                            <p:fltVal val="0.5"/>
                                          </p:val>
                                        </p:tav>
                                        <p:tav tm="100000">
                                          <p:val>
                                            <p:strVal val="#ppt_y"/>
                                          </p:val>
                                        </p:tav>
                                      </p:tavLst>
                                    </p:anim>
                                  </p:childTnLst>
                                </p:cTn>
                              </p:par>
                              <p:par>
                                <p:cTn id="72" presetID="53" presetClass="entr" presetSubtype="528" fill="hold" grpId="0" nodeType="withEffect">
                                  <p:stCondLst>
                                    <p:cond delay="0"/>
                                  </p:stCondLst>
                                  <p:childTnLst>
                                    <p:set>
                                      <p:cBhvr>
                                        <p:cTn id="73" dur="1" fill="hold">
                                          <p:stCondLst>
                                            <p:cond delay="0"/>
                                          </p:stCondLst>
                                        </p:cTn>
                                        <p:tgtEl>
                                          <p:spTgt spid="30"/>
                                        </p:tgtEl>
                                        <p:attrNameLst>
                                          <p:attrName>style.visibility</p:attrName>
                                        </p:attrNameLst>
                                      </p:cBhvr>
                                      <p:to>
                                        <p:strVal val="visible"/>
                                      </p:to>
                                    </p:set>
                                    <p:anim calcmode="lin" valueType="num">
                                      <p:cBhvr>
                                        <p:cTn id="74" dur="500" fill="hold"/>
                                        <p:tgtEl>
                                          <p:spTgt spid="30"/>
                                        </p:tgtEl>
                                        <p:attrNameLst>
                                          <p:attrName>ppt_w</p:attrName>
                                        </p:attrNameLst>
                                      </p:cBhvr>
                                      <p:tavLst>
                                        <p:tav tm="0">
                                          <p:val>
                                            <p:fltVal val="0"/>
                                          </p:val>
                                        </p:tav>
                                        <p:tav tm="100000">
                                          <p:val>
                                            <p:strVal val="#ppt_w"/>
                                          </p:val>
                                        </p:tav>
                                      </p:tavLst>
                                    </p:anim>
                                    <p:anim calcmode="lin" valueType="num">
                                      <p:cBhvr>
                                        <p:cTn id="75" dur="500" fill="hold"/>
                                        <p:tgtEl>
                                          <p:spTgt spid="30"/>
                                        </p:tgtEl>
                                        <p:attrNameLst>
                                          <p:attrName>ppt_h</p:attrName>
                                        </p:attrNameLst>
                                      </p:cBhvr>
                                      <p:tavLst>
                                        <p:tav tm="0">
                                          <p:val>
                                            <p:fltVal val="0"/>
                                          </p:val>
                                        </p:tav>
                                        <p:tav tm="100000">
                                          <p:val>
                                            <p:strVal val="#ppt_h"/>
                                          </p:val>
                                        </p:tav>
                                      </p:tavLst>
                                    </p:anim>
                                    <p:animEffect transition="in" filter="fade">
                                      <p:cBhvr>
                                        <p:cTn id="76" dur="500"/>
                                        <p:tgtEl>
                                          <p:spTgt spid="30"/>
                                        </p:tgtEl>
                                      </p:cBhvr>
                                    </p:animEffect>
                                    <p:anim calcmode="lin" valueType="num">
                                      <p:cBhvr>
                                        <p:cTn id="77" dur="500" fill="hold"/>
                                        <p:tgtEl>
                                          <p:spTgt spid="30"/>
                                        </p:tgtEl>
                                        <p:attrNameLst>
                                          <p:attrName>ppt_x</p:attrName>
                                        </p:attrNameLst>
                                      </p:cBhvr>
                                      <p:tavLst>
                                        <p:tav tm="0">
                                          <p:val>
                                            <p:fltVal val="0.5"/>
                                          </p:val>
                                        </p:tav>
                                        <p:tav tm="100000">
                                          <p:val>
                                            <p:strVal val="#ppt_x"/>
                                          </p:val>
                                        </p:tav>
                                      </p:tavLst>
                                    </p:anim>
                                    <p:anim calcmode="lin" valueType="num">
                                      <p:cBhvr>
                                        <p:cTn id="78" dur="500" fill="hold"/>
                                        <p:tgtEl>
                                          <p:spTgt spid="30"/>
                                        </p:tgtEl>
                                        <p:attrNameLst>
                                          <p:attrName>ppt_y</p:attrName>
                                        </p:attrNameLst>
                                      </p:cBhvr>
                                      <p:tavLst>
                                        <p:tav tm="0">
                                          <p:val>
                                            <p:fltVal val="0.5"/>
                                          </p:val>
                                        </p:tav>
                                        <p:tav tm="100000">
                                          <p:val>
                                            <p:strVal val="#ppt_y"/>
                                          </p:val>
                                        </p:tav>
                                      </p:tavLst>
                                    </p:anim>
                                  </p:childTnLst>
                                </p:cTn>
                              </p:par>
                            </p:childTnLst>
                          </p:cTn>
                        </p:par>
                        <p:par>
                          <p:cTn id="79" fill="hold">
                            <p:stCondLst>
                              <p:cond delay="2500"/>
                            </p:stCondLst>
                            <p:childTnLst>
                              <p:par>
                                <p:cTn id="80" presetID="53" presetClass="entr" presetSubtype="528" fill="hold" grpId="0" nodeType="afterEffect">
                                  <p:stCondLst>
                                    <p:cond delay="0"/>
                                  </p:stCondLst>
                                  <p:childTnLst>
                                    <p:set>
                                      <p:cBhvr>
                                        <p:cTn id="81" dur="1" fill="hold">
                                          <p:stCondLst>
                                            <p:cond delay="0"/>
                                          </p:stCondLst>
                                        </p:cTn>
                                        <p:tgtEl>
                                          <p:spTgt spid="25"/>
                                        </p:tgtEl>
                                        <p:attrNameLst>
                                          <p:attrName>style.visibility</p:attrName>
                                        </p:attrNameLst>
                                      </p:cBhvr>
                                      <p:to>
                                        <p:strVal val="visible"/>
                                      </p:to>
                                    </p:set>
                                    <p:anim calcmode="lin" valueType="num">
                                      <p:cBhvr>
                                        <p:cTn id="82" dur="500" fill="hold"/>
                                        <p:tgtEl>
                                          <p:spTgt spid="25"/>
                                        </p:tgtEl>
                                        <p:attrNameLst>
                                          <p:attrName>ppt_w</p:attrName>
                                        </p:attrNameLst>
                                      </p:cBhvr>
                                      <p:tavLst>
                                        <p:tav tm="0">
                                          <p:val>
                                            <p:fltVal val="0"/>
                                          </p:val>
                                        </p:tav>
                                        <p:tav tm="100000">
                                          <p:val>
                                            <p:strVal val="#ppt_w"/>
                                          </p:val>
                                        </p:tav>
                                      </p:tavLst>
                                    </p:anim>
                                    <p:anim calcmode="lin" valueType="num">
                                      <p:cBhvr>
                                        <p:cTn id="83" dur="500" fill="hold"/>
                                        <p:tgtEl>
                                          <p:spTgt spid="25"/>
                                        </p:tgtEl>
                                        <p:attrNameLst>
                                          <p:attrName>ppt_h</p:attrName>
                                        </p:attrNameLst>
                                      </p:cBhvr>
                                      <p:tavLst>
                                        <p:tav tm="0">
                                          <p:val>
                                            <p:fltVal val="0"/>
                                          </p:val>
                                        </p:tav>
                                        <p:tav tm="100000">
                                          <p:val>
                                            <p:strVal val="#ppt_h"/>
                                          </p:val>
                                        </p:tav>
                                      </p:tavLst>
                                    </p:anim>
                                    <p:animEffect transition="in" filter="fade">
                                      <p:cBhvr>
                                        <p:cTn id="84" dur="500"/>
                                        <p:tgtEl>
                                          <p:spTgt spid="25"/>
                                        </p:tgtEl>
                                      </p:cBhvr>
                                    </p:animEffect>
                                    <p:anim calcmode="lin" valueType="num">
                                      <p:cBhvr>
                                        <p:cTn id="85" dur="500" fill="hold"/>
                                        <p:tgtEl>
                                          <p:spTgt spid="25"/>
                                        </p:tgtEl>
                                        <p:attrNameLst>
                                          <p:attrName>ppt_x</p:attrName>
                                        </p:attrNameLst>
                                      </p:cBhvr>
                                      <p:tavLst>
                                        <p:tav tm="0">
                                          <p:val>
                                            <p:fltVal val="0.5"/>
                                          </p:val>
                                        </p:tav>
                                        <p:tav tm="100000">
                                          <p:val>
                                            <p:strVal val="#ppt_x"/>
                                          </p:val>
                                        </p:tav>
                                      </p:tavLst>
                                    </p:anim>
                                    <p:anim calcmode="lin" valueType="num">
                                      <p:cBhvr>
                                        <p:cTn id="86" dur="500" fill="hold"/>
                                        <p:tgtEl>
                                          <p:spTgt spid="25"/>
                                        </p:tgtEl>
                                        <p:attrNameLst>
                                          <p:attrName>ppt_y</p:attrName>
                                        </p:attrNameLst>
                                      </p:cBhvr>
                                      <p:tavLst>
                                        <p:tav tm="0">
                                          <p:val>
                                            <p:fltVal val="0.5"/>
                                          </p:val>
                                        </p:tav>
                                        <p:tav tm="100000">
                                          <p:val>
                                            <p:strVal val="#ppt_y"/>
                                          </p:val>
                                        </p:tav>
                                      </p:tavLst>
                                    </p:anim>
                                  </p:childTnLst>
                                </p:cTn>
                              </p:par>
                              <p:par>
                                <p:cTn id="87" presetID="53" presetClass="entr" presetSubtype="528" fill="hold" grpId="0" nodeType="withEffect">
                                  <p:stCondLst>
                                    <p:cond delay="0"/>
                                  </p:stCondLst>
                                  <p:childTnLst>
                                    <p:set>
                                      <p:cBhvr>
                                        <p:cTn id="88" dur="1" fill="hold">
                                          <p:stCondLst>
                                            <p:cond delay="0"/>
                                          </p:stCondLst>
                                        </p:cTn>
                                        <p:tgtEl>
                                          <p:spTgt spid="31"/>
                                        </p:tgtEl>
                                        <p:attrNameLst>
                                          <p:attrName>style.visibility</p:attrName>
                                        </p:attrNameLst>
                                      </p:cBhvr>
                                      <p:to>
                                        <p:strVal val="visible"/>
                                      </p:to>
                                    </p:set>
                                    <p:anim calcmode="lin" valueType="num">
                                      <p:cBhvr>
                                        <p:cTn id="89" dur="500" fill="hold"/>
                                        <p:tgtEl>
                                          <p:spTgt spid="31"/>
                                        </p:tgtEl>
                                        <p:attrNameLst>
                                          <p:attrName>ppt_w</p:attrName>
                                        </p:attrNameLst>
                                      </p:cBhvr>
                                      <p:tavLst>
                                        <p:tav tm="0">
                                          <p:val>
                                            <p:fltVal val="0"/>
                                          </p:val>
                                        </p:tav>
                                        <p:tav tm="100000">
                                          <p:val>
                                            <p:strVal val="#ppt_w"/>
                                          </p:val>
                                        </p:tav>
                                      </p:tavLst>
                                    </p:anim>
                                    <p:anim calcmode="lin" valueType="num">
                                      <p:cBhvr>
                                        <p:cTn id="90" dur="500" fill="hold"/>
                                        <p:tgtEl>
                                          <p:spTgt spid="31"/>
                                        </p:tgtEl>
                                        <p:attrNameLst>
                                          <p:attrName>ppt_h</p:attrName>
                                        </p:attrNameLst>
                                      </p:cBhvr>
                                      <p:tavLst>
                                        <p:tav tm="0">
                                          <p:val>
                                            <p:fltVal val="0"/>
                                          </p:val>
                                        </p:tav>
                                        <p:tav tm="100000">
                                          <p:val>
                                            <p:strVal val="#ppt_h"/>
                                          </p:val>
                                        </p:tav>
                                      </p:tavLst>
                                    </p:anim>
                                    <p:animEffect transition="in" filter="fade">
                                      <p:cBhvr>
                                        <p:cTn id="91" dur="500"/>
                                        <p:tgtEl>
                                          <p:spTgt spid="31"/>
                                        </p:tgtEl>
                                      </p:cBhvr>
                                    </p:animEffect>
                                    <p:anim calcmode="lin" valueType="num">
                                      <p:cBhvr>
                                        <p:cTn id="92" dur="500" fill="hold"/>
                                        <p:tgtEl>
                                          <p:spTgt spid="31"/>
                                        </p:tgtEl>
                                        <p:attrNameLst>
                                          <p:attrName>ppt_x</p:attrName>
                                        </p:attrNameLst>
                                      </p:cBhvr>
                                      <p:tavLst>
                                        <p:tav tm="0">
                                          <p:val>
                                            <p:fltVal val="0.5"/>
                                          </p:val>
                                        </p:tav>
                                        <p:tav tm="100000">
                                          <p:val>
                                            <p:strVal val="#ppt_x"/>
                                          </p:val>
                                        </p:tav>
                                      </p:tavLst>
                                    </p:anim>
                                    <p:anim calcmode="lin" valueType="num">
                                      <p:cBhvr>
                                        <p:cTn id="93" dur="500" fill="hold"/>
                                        <p:tgtEl>
                                          <p:spTgt spid="31"/>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estimonial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6" name="Picture Placeholder 15"/>
          <p:cNvSpPr>
            <a:spLocks noGrp="1"/>
          </p:cNvSpPr>
          <p:nvPr>
            <p:ph type="pic" sz="quarter" idx="11"/>
          </p:nvPr>
        </p:nvSpPr>
        <p:spPr>
          <a:xfrm>
            <a:off x="3337565" y="147448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38100">
            <a:solidFill>
              <a:schemeClr val="tx2">
                <a:lumMod val="90000"/>
                <a:lumOff val="10000"/>
              </a:schemeClr>
            </a:solidFill>
          </a:ln>
        </p:spPr>
        <p:txBody>
          <a:bodyPr wrap="square" anchor="ctr" anchorCtr="0">
            <a:noAutofit/>
          </a:bodyPr>
          <a:lstStyle>
            <a:lvl1pPr algn="ctr">
              <a:defRPr/>
            </a:lvl1pPr>
          </a:lstStyle>
          <a:p>
            <a:endParaRPr lang="en-US" dirty="0"/>
          </a:p>
        </p:txBody>
      </p:sp>
      <p:sp>
        <p:nvSpPr>
          <p:cNvPr id="17" name="Picture Placeholder 16"/>
          <p:cNvSpPr>
            <a:spLocks noGrp="1"/>
          </p:cNvSpPr>
          <p:nvPr>
            <p:ph type="pic" sz="quarter" idx="12"/>
          </p:nvPr>
        </p:nvSpPr>
        <p:spPr>
          <a:xfrm>
            <a:off x="6080726" y="147448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38100">
            <a:solidFill>
              <a:schemeClr val="tx2">
                <a:lumMod val="90000"/>
                <a:lumOff val="10000"/>
              </a:schemeClr>
            </a:solidFill>
          </a:ln>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15" name="Picture Placeholder 14"/>
          <p:cNvSpPr>
            <a:spLocks noGrp="1"/>
          </p:cNvSpPr>
          <p:nvPr>
            <p:ph type="pic" sz="quarter" idx="10"/>
          </p:nvPr>
        </p:nvSpPr>
        <p:spPr>
          <a:xfrm>
            <a:off x="594403" y="147448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38100">
            <a:solidFill>
              <a:schemeClr val="tx2">
                <a:lumMod val="90000"/>
                <a:lumOff val="10000"/>
              </a:schemeClr>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4199110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p:bgPr>
        <a:gradFill>
          <a:gsLst>
            <a:gs pos="0">
              <a:schemeClr val="accent1"/>
            </a:gs>
            <a:gs pos="50000">
              <a:schemeClr val="accent1">
                <a:lumMod val="75000"/>
                <a:lumOff val="25000"/>
              </a:schemeClr>
            </a:gs>
            <a:gs pos="100000">
              <a:schemeClr val="tx2">
                <a:lumMod val="20000"/>
                <a:lumOff val="80000"/>
              </a:schemeClr>
            </a:gs>
          </a:gsLst>
          <a:lin ang="5400000" scaled="0"/>
        </a:gradFill>
        <a:effectLst/>
      </p:bgPr>
    </p:bg>
    <p:spTree>
      <p:nvGrpSpPr>
        <p:cNvPr id="1" name=""/>
        <p:cNvGrpSpPr/>
        <p:nvPr/>
      </p:nvGrpSpPr>
      <p:grpSpPr>
        <a:xfrm>
          <a:off x="0" y="0"/>
          <a:ext cx="0" cy="0"/>
          <a:chOff x="0" y="0"/>
          <a:chExt cx="0" cy="0"/>
        </a:xfrm>
      </p:grpSpPr>
      <p:sp>
        <p:nvSpPr>
          <p:cNvPr id="6" name="Forma libre 11"/>
          <p:cNvSpPr/>
          <p:nvPr userDrawn="1"/>
        </p:nvSpPr>
        <p:spPr>
          <a:xfrm>
            <a:off x="0" y="3918433"/>
            <a:ext cx="9144000" cy="1225153"/>
          </a:xfrm>
          <a:custGeom>
            <a:avLst/>
            <a:gdLst>
              <a:gd name="connsiteX0" fmla="*/ 0 w 9194204"/>
              <a:gd name="connsiteY0" fmla="*/ 0 h 1932290"/>
              <a:gd name="connsiteX1" fmla="*/ 9194204 w 9194204"/>
              <a:gd name="connsiteY1" fmla="*/ 640478 h 1932290"/>
              <a:gd name="connsiteX2" fmla="*/ 9183349 w 9194204"/>
              <a:gd name="connsiteY2" fmla="*/ 1932290 h 1932290"/>
              <a:gd name="connsiteX3" fmla="*/ 0 w 9194204"/>
              <a:gd name="connsiteY3" fmla="*/ 1921434 h 1932290"/>
              <a:gd name="connsiteX4" fmla="*/ 0 w 9194204"/>
              <a:gd name="connsiteY4" fmla="*/ 0 h 1932290"/>
              <a:gd name="connsiteX0" fmla="*/ 0 w 9194204"/>
              <a:gd name="connsiteY0" fmla="*/ 0 h 1924352"/>
              <a:gd name="connsiteX1" fmla="*/ 9194204 w 9194204"/>
              <a:gd name="connsiteY1" fmla="*/ 640478 h 1924352"/>
              <a:gd name="connsiteX2" fmla="*/ 9194204 w 9194204"/>
              <a:gd name="connsiteY2" fmla="*/ 1924352 h 1924352"/>
              <a:gd name="connsiteX3" fmla="*/ 0 w 9194204"/>
              <a:gd name="connsiteY3" fmla="*/ 1921434 h 1924352"/>
              <a:gd name="connsiteX4" fmla="*/ 0 w 9194204"/>
              <a:gd name="connsiteY4" fmla="*/ 0 h 1924352"/>
              <a:gd name="connsiteX0" fmla="*/ 0 w 9194204"/>
              <a:gd name="connsiteY0" fmla="*/ 0 h 1932290"/>
              <a:gd name="connsiteX1" fmla="*/ 9194204 w 9194204"/>
              <a:gd name="connsiteY1" fmla="*/ 640478 h 1932290"/>
              <a:gd name="connsiteX2" fmla="*/ 9194204 w 9194204"/>
              <a:gd name="connsiteY2" fmla="*/ 1924352 h 1932290"/>
              <a:gd name="connsiteX3" fmla="*/ 0 w 9194204"/>
              <a:gd name="connsiteY3" fmla="*/ 1932290 h 1932290"/>
              <a:gd name="connsiteX4" fmla="*/ 0 w 9194204"/>
              <a:gd name="connsiteY4" fmla="*/ 0 h 1932290"/>
              <a:gd name="connsiteX0" fmla="*/ 0 w 9194204"/>
              <a:gd name="connsiteY0" fmla="*/ 0 h 1932290"/>
              <a:gd name="connsiteX1" fmla="*/ 9194204 w 9194204"/>
              <a:gd name="connsiteY1" fmla="*/ 640478 h 1932290"/>
              <a:gd name="connsiteX2" fmla="*/ 9194204 w 9194204"/>
              <a:gd name="connsiteY2" fmla="*/ 1932290 h 1932290"/>
              <a:gd name="connsiteX3" fmla="*/ 0 w 9194204"/>
              <a:gd name="connsiteY3" fmla="*/ 1932290 h 1932290"/>
              <a:gd name="connsiteX4" fmla="*/ 0 w 9194204"/>
              <a:gd name="connsiteY4" fmla="*/ 0 h 1932290"/>
              <a:gd name="connsiteX0" fmla="*/ 0 w 9194204"/>
              <a:gd name="connsiteY0" fmla="*/ 0 h 1932290"/>
              <a:gd name="connsiteX1" fmla="*/ 9194204 w 9194204"/>
              <a:gd name="connsiteY1" fmla="*/ 947886 h 1932290"/>
              <a:gd name="connsiteX2" fmla="*/ 9194204 w 9194204"/>
              <a:gd name="connsiteY2" fmla="*/ 1932290 h 1932290"/>
              <a:gd name="connsiteX3" fmla="*/ 0 w 9194204"/>
              <a:gd name="connsiteY3" fmla="*/ 1932290 h 1932290"/>
              <a:gd name="connsiteX4" fmla="*/ 0 w 9194204"/>
              <a:gd name="connsiteY4" fmla="*/ 0 h 1932290"/>
              <a:gd name="connsiteX0" fmla="*/ 0 w 9194204"/>
              <a:gd name="connsiteY0" fmla="*/ 0 h 1633793"/>
              <a:gd name="connsiteX1" fmla="*/ 9194204 w 9194204"/>
              <a:gd name="connsiteY1" fmla="*/ 649389 h 1633793"/>
              <a:gd name="connsiteX2" fmla="*/ 9194204 w 9194204"/>
              <a:gd name="connsiteY2" fmla="*/ 1633793 h 1633793"/>
              <a:gd name="connsiteX3" fmla="*/ 0 w 9194204"/>
              <a:gd name="connsiteY3" fmla="*/ 1633793 h 1633793"/>
              <a:gd name="connsiteX4" fmla="*/ 0 w 9194204"/>
              <a:gd name="connsiteY4" fmla="*/ 0 h 1633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4204" h="1633793">
                <a:moveTo>
                  <a:pt x="0" y="0"/>
                </a:moveTo>
                <a:lnTo>
                  <a:pt x="9194204" y="649389"/>
                </a:lnTo>
                <a:cubicBezTo>
                  <a:pt x="9190586" y="1079993"/>
                  <a:pt x="9194204" y="1633793"/>
                  <a:pt x="9194204" y="1633793"/>
                </a:cubicBezTo>
                <a:lnTo>
                  <a:pt x="0" y="1633793"/>
                </a:lnTo>
                <a:lnTo>
                  <a:pt x="0"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284" tIns="45642" rIns="91284" bIns="45642" anchor="ctr"/>
          <a:lstStyle/>
          <a:p>
            <a:pPr algn="ctr" defTabSz="456269" fontAlgn="auto">
              <a:spcBef>
                <a:spcPts val="0"/>
              </a:spcBef>
              <a:spcAft>
                <a:spcPts val="0"/>
              </a:spcAft>
              <a:defRPr/>
            </a:pPr>
            <a:endParaRPr lang="es-ES_tradnl" sz="1800">
              <a:solidFill>
                <a:srgbClr val="FFFFFF"/>
              </a:solidFill>
            </a:endParaRPr>
          </a:p>
        </p:txBody>
      </p:sp>
      <p:pic>
        <p:nvPicPr>
          <p:cNvPr id="7" name="Imagen 6" descr="TFN_Logo Port_Azul.png"/>
          <p:cNvPicPr>
            <a:picLocks noChangeAspect="1"/>
          </p:cNvPicPr>
          <p:nvPr userDrawn="1"/>
        </p:nvPicPr>
        <p:blipFill>
          <a:blip r:embed="rId2"/>
          <a:srcRect/>
          <a:stretch>
            <a:fillRect/>
          </a:stretch>
        </p:blipFill>
        <p:spPr bwMode="auto">
          <a:xfrm>
            <a:off x="7297742" y="4611369"/>
            <a:ext cx="1419225" cy="290513"/>
          </a:xfrm>
          <a:prstGeom prst="rect">
            <a:avLst/>
          </a:prstGeom>
          <a:noFill/>
          <a:ln w="9525">
            <a:noFill/>
            <a:miter lim="800000"/>
            <a:headEnd/>
            <a:tailEnd/>
          </a:ln>
        </p:spPr>
      </p:pic>
      <p:sp>
        <p:nvSpPr>
          <p:cNvPr id="2" name="Title 1"/>
          <p:cNvSpPr>
            <a:spLocks noGrp="1"/>
          </p:cNvSpPr>
          <p:nvPr>
            <p:ph type="ctrTitle"/>
          </p:nvPr>
        </p:nvSpPr>
        <p:spPr>
          <a:xfrm>
            <a:off x="359140" y="230988"/>
            <a:ext cx="8399168" cy="560016"/>
          </a:xfrm>
          <a:noFill/>
          <a:ln w="9525">
            <a:noFill/>
            <a:miter lim="800000"/>
            <a:headEnd/>
            <a:tailEnd/>
          </a:ln>
        </p:spPr>
        <p:txBody>
          <a:bodyPr/>
          <a:lstStyle>
            <a:lvl1pPr algn="l" defTabSz="456269" rtl="0" eaLnBrk="1" fontAlgn="base" hangingPunct="1">
              <a:lnSpc>
                <a:spcPts val="3800"/>
              </a:lnSpc>
              <a:spcBef>
                <a:spcPct val="0"/>
              </a:spcBef>
              <a:spcAft>
                <a:spcPts val="600"/>
              </a:spcAft>
              <a:buClr>
                <a:srgbClr val="65C3D4"/>
              </a:buClr>
              <a:buSzPct val="150000"/>
              <a:buFont typeface="Wingdings" charset="2"/>
              <a:buNone/>
              <a:defRPr lang="en-GB" sz="4600" b="0" kern="1200" dirty="0">
                <a:solidFill>
                  <a:srgbClr val="FFFFFF"/>
                </a:solidFill>
                <a:latin typeface="Arial" pitchFamily="34" charset="0"/>
                <a:ea typeface="ＭＳ Ｐゴシック" charset="-128"/>
                <a:cs typeface="+mn-cs"/>
              </a:defRPr>
            </a:lvl1pPr>
          </a:lstStyle>
          <a:p>
            <a:r>
              <a:rPr lang="en-GB" dirty="0"/>
              <a:t>Click to edit Master title style</a:t>
            </a:r>
          </a:p>
        </p:txBody>
      </p:sp>
      <p:sp>
        <p:nvSpPr>
          <p:cNvPr id="3" name="Subtitle 2"/>
          <p:cNvSpPr>
            <a:spLocks noGrp="1"/>
          </p:cNvSpPr>
          <p:nvPr>
            <p:ph type="subTitle" idx="1"/>
          </p:nvPr>
        </p:nvSpPr>
        <p:spPr>
          <a:xfrm>
            <a:off x="359147" y="1020367"/>
            <a:ext cx="8399169" cy="523220"/>
          </a:xfrm>
          <a:noFill/>
          <a:ln w="9525">
            <a:noFill/>
            <a:miter lim="800000"/>
            <a:headEnd/>
            <a:tailEnd/>
          </a:ln>
        </p:spPr>
        <p:txBody>
          <a:bodyPr rIns="0" bIns="0">
            <a:spAutoFit/>
          </a:bodyPr>
          <a:lstStyle>
            <a:lvl1pPr marL="0" indent="0" algn="l" defTabSz="456269" rtl="0" eaLnBrk="1" fontAlgn="base" hangingPunct="1">
              <a:spcBef>
                <a:spcPct val="0"/>
              </a:spcBef>
              <a:spcAft>
                <a:spcPts val="600"/>
              </a:spcAft>
              <a:buClr>
                <a:srgbClr val="65C3D4"/>
              </a:buClr>
              <a:buSzPct val="150000"/>
              <a:buFont typeface="Wingdings" charset="2"/>
              <a:buNone/>
              <a:defRPr lang="en-GB" sz="3400" b="0" kern="1200">
                <a:solidFill>
                  <a:srgbClr val="FFFFFF"/>
                </a:solidFill>
                <a:latin typeface="Arial" pitchFamily="34" charset="0"/>
                <a:ea typeface="ＭＳ Ｐゴシック" charset="-128"/>
                <a:cs typeface="+mn-cs"/>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n-GB" dirty="0"/>
              <a:t>Click to edit Master subtitle style</a:t>
            </a:r>
          </a:p>
        </p:txBody>
      </p:sp>
      <p:sp>
        <p:nvSpPr>
          <p:cNvPr id="13" name="Text Placeholder 12"/>
          <p:cNvSpPr>
            <a:spLocks noGrp="1"/>
          </p:cNvSpPr>
          <p:nvPr>
            <p:ph type="body" sz="quarter" idx="11"/>
          </p:nvPr>
        </p:nvSpPr>
        <p:spPr>
          <a:xfrm>
            <a:off x="358724" y="2132501"/>
            <a:ext cx="8401179" cy="422405"/>
          </a:xfrm>
          <a:noFill/>
          <a:ln w="9525">
            <a:noFill/>
            <a:miter lim="800000"/>
            <a:headEnd/>
            <a:tailEnd/>
          </a:ln>
        </p:spPr>
        <p:txBody>
          <a:bodyPr tIns="71882" rIns="71882" bIns="71882">
            <a:spAutoFit/>
          </a:bodyPr>
          <a:lstStyle>
            <a:lvl1pPr algn="l" defTabSz="456269" rtl="0" eaLnBrk="1" fontAlgn="base" hangingPunct="1">
              <a:spcBef>
                <a:spcPct val="0"/>
              </a:spcBef>
              <a:spcAft>
                <a:spcPct val="0"/>
              </a:spcAft>
              <a:buFont typeface="Arial" charset="0"/>
              <a:buNone/>
              <a:defRPr lang="en-US" sz="1800" b="0" kern="1200" dirty="0" smtClean="0">
                <a:solidFill>
                  <a:srgbClr val="FFFFFF"/>
                </a:solidFill>
                <a:latin typeface="Arial" pitchFamily="34" charset="0"/>
                <a:ea typeface="ＭＳ Ｐゴシック" charset="-128"/>
                <a:cs typeface="+mn-cs"/>
              </a:defRPr>
            </a:lvl1pPr>
          </a:lstStyle>
          <a:p>
            <a:pPr lvl="0"/>
            <a:r>
              <a:rPr lang="en-US" dirty="0"/>
              <a:t>Click to edit Master text styles</a:t>
            </a:r>
          </a:p>
        </p:txBody>
      </p:sp>
      <p:sp>
        <p:nvSpPr>
          <p:cNvPr id="12" name="Text Placeholder 12"/>
          <p:cNvSpPr>
            <a:spLocks noGrp="1"/>
          </p:cNvSpPr>
          <p:nvPr>
            <p:ph type="body" sz="quarter" idx="13"/>
          </p:nvPr>
        </p:nvSpPr>
        <p:spPr>
          <a:xfrm>
            <a:off x="358724" y="2628945"/>
            <a:ext cx="8401179" cy="422405"/>
          </a:xfrm>
          <a:noFill/>
          <a:ln w="9525">
            <a:noFill/>
            <a:miter lim="800000"/>
            <a:headEnd/>
            <a:tailEnd/>
          </a:ln>
        </p:spPr>
        <p:txBody>
          <a:bodyPr tIns="71882" rIns="71882" bIns="71882">
            <a:spAutoFit/>
          </a:bodyPr>
          <a:lstStyle>
            <a:lvl1pPr algn="l" defTabSz="456269" rtl="0" eaLnBrk="1" fontAlgn="base" hangingPunct="1">
              <a:spcBef>
                <a:spcPct val="0"/>
              </a:spcBef>
              <a:spcAft>
                <a:spcPct val="0"/>
              </a:spcAft>
              <a:buFont typeface="Arial" charset="0"/>
              <a:buNone/>
              <a:defRPr lang="en-US" sz="1800" b="0" kern="1200" dirty="0" smtClean="0">
                <a:solidFill>
                  <a:srgbClr val="FFFFFF"/>
                </a:solidFill>
                <a:latin typeface="Arial" pitchFamily="34" charset="0"/>
                <a:ea typeface="ＭＳ Ｐゴシック" charset="-128"/>
                <a:cs typeface="+mn-cs"/>
              </a:defRPr>
            </a:lvl1pPr>
          </a:lstStyle>
          <a:p>
            <a:pPr lvl="0"/>
            <a:r>
              <a:rPr lang="en-US" dirty="0"/>
              <a:t>Click to edit Master text styles</a:t>
            </a:r>
          </a:p>
        </p:txBody>
      </p:sp>
    </p:spTree>
  </p:cSld>
  <p:clrMapOvr>
    <a:masterClrMapping/>
  </p:clrMapOvr>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estimonial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1" name="Picture Placeholder 3"/>
          <p:cNvSpPr>
            <a:spLocks noGrp="1"/>
          </p:cNvSpPr>
          <p:nvPr>
            <p:ph type="pic" sz="quarter" idx="10"/>
          </p:nvPr>
        </p:nvSpPr>
        <p:spPr>
          <a:xfrm>
            <a:off x="5029200" y="0"/>
            <a:ext cx="4114800" cy="514350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725889670"/>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President Profil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1" name="Rectangle 10"/>
          <p:cNvSpPr/>
          <p:nvPr userDrawn="1"/>
        </p:nvSpPr>
        <p:spPr>
          <a:xfrm>
            <a:off x="-2" y="0"/>
            <a:ext cx="4114800" cy="51435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12" name="Picture Placeholder 3"/>
          <p:cNvSpPr>
            <a:spLocks noGrp="1"/>
          </p:cNvSpPr>
          <p:nvPr>
            <p:ph type="pic" sz="quarter" idx="10"/>
          </p:nvPr>
        </p:nvSpPr>
        <p:spPr>
          <a:xfrm>
            <a:off x="-1" y="0"/>
            <a:ext cx="3977640" cy="5143500"/>
          </a:xfrm>
          <a:solidFill>
            <a:schemeClr val="tx2">
              <a:lumMod val="9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193151133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Management Team">
    <p:bg>
      <p:bgPr>
        <a:solidFill>
          <a:schemeClr val="tx2">
            <a:lumMod val="90000"/>
            <a:lumOff val="10000"/>
          </a:schemeClr>
        </a:solidFill>
        <a:effectLst/>
      </p:bgPr>
    </p:bg>
    <p:spTree>
      <p:nvGrpSpPr>
        <p:cNvPr id="1" name=""/>
        <p:cNvGrpSpPr/>
        <p:nvPr/>
      </p:nvGrpSpPr>
      <p:grpSpPr>
        <a:xfrm>
          <a:off x="0" y="0"/>
          <a:ext cx="0" cy="0"/>
          <a:chOff x="0" y="0"/>
          <a:chExt cx="0" cy="0"/>
        </a:xfrm>
      </p:grpSpPr>
      <p:cxnSp>
        <p:nvCxnSpPr>
          <p:cNvPr id="12" name="Straight Connector 11"/>
          <p:cNvCxnSpPr/>
          <p:nvPr userDrawn="1"/>
        </p:nvCxnSpPr>
        <p:spPr>
          <a:xfrm>
            <a:off x="662965" y="2914664"/>
            <a:ext cx="164592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720342" y="2914646"/>
            <a:ext cx="164592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777720" y="2914629"/>
            <a:ext cx="164592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6835097" y="2914612"/>
            <a:ext cx="1645920" cy="0"/>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20" name="Picture Placeholder 3"/>
          <p:cNvSpPr>
            <a:spLocks noGrp="1"/>
          </p:cNvSpPr>
          <p:nvPr>
            <p:ph type="pic" sz="quarter" idx="10"/>
          </p:nvPr>
        </p:nvSpPr>
        <p:spPr>
          <a:xfrm>
            <a:off x="662984" y="1268750"/>
            <a:ext cx="1645920" cy="1645920"/>
          </a:xfrm>
          <a:solidFill>
            <a:schemeClr val="tx2">
              <a:lumMod val="95000"/>
            </a:schemeClr>
          </a:solidFill>
        </p:spPr>
        <p:txBody>
          <a:bodyPr anchor="ctr" anchorCtr="0"/>
          <a:lstStyle>
            <a:lvl1pPr algn="ctr">
              <a:defRPr/>
            </a:lvl1pPr>
          </a:lstStyle>
          <a:p>
            <a:endParaRPr lang="en-US" dirty="0"/>
          </a:p>
        </p:txBody>
      </p:sp>
      <p:sp>
        <p:nvSpPr>
          <p:cNvPr id="25" name="Picture Placeholder 3"/>
          <p:cNvSpPr>
            <a:spLocks noGrp="1"/>
          </p:cNvSpPr>
          <p:nvPr>
            <p:ph type="pic" sz="quarter" idx="11"/>
          </p:nvPr>
        </p:nvSpPr>
        <p:spPr>
          <a:xfrm>
            <a:off x="2720341" y="1268743"/>
            <a:ext cx="1645920" cy="1645920"/>
          </a:xfrm>
          <a:solidFill>
            <a:schemeClr val="tx2">
              <a:lumMod val="95000"/>
            </a:schemeClr>
          </a:solidFill>
        </p:spPr>
        <p:txBody>
          <a:bodyPr anchor="ctr" anchorCtr="0"/>
          <a:lstStyle>
            <a:lvl1pPr algn="ctr">
              <a:defRPr/>
            </a:lvl1pPr>
          </a:lstStyle>
          <a:p>
            <a:endParaRPr lang="en-US" dirty="0"/>
          </a:p>
        </p:txBody>
      </p:sp>
      <p:sp>
        <p:nvSpPr>
          <p:cNvPr id="30" name="Picture Placeholder 3"/>
          <p:cNvSpPr>
            <a:spLocks noGrp="1"/>
          </p:cNvSpPr>
          <p:nvPr>
            <p:ph type="pic" sz="quarter" idx="12"/>
          </p:nvPr>
        </p:nvSpPr>
        <p:spPr>
          <a:xfrm>
            <a:off x="4777697" y="1268764"/>
            <a:ext cx="1645920" cy="1645920"/>
          </a:xfrm>
          <a:solidFill>
            <a:schemeClr val="tx2">
              <a:lumMod val="95000"/>
            </a:schemeClr>
          </a:solidFill>
        </p:spPr>
        <p:txBody>
          <a:bodyPr anchor="ctr" anchorCtr="0"/>
          <a:lstStyle>
            <a:lvl1pPr algn="ctr">
              <a:defRPr/>
            </a:lvl1pPr>
          </a:lstStyle>
          <a:p>
            <a:endParaRPr lang="en-US" dirty="0"/>
          </a:p>
        </p:txBody>
      </p:sp>
      <p:sp>
        <p:nvSpPr>
          <p:cNvPr id="31" name="Picture Placeholder 3"/>
          <p:cNvSpPr>
            <a:spLocks noGrp="1"/>
          </p:cNvSpPr>
          <p:nvPr>
            <p:ph type="pic" sz="quarter" idx="13"/>
          </p:nvPr>
        </p:nvSpPr>
        <p:spPr>
          <a:xfrm>
            <a:off x="6835054" y="1268748"/>
            <a:ext cx="1645920" cy="1645920"/>
          </a:xfrm>
          <a:solidFill>
            <a:schemeClr val="tx2">
              <a:lumMod val="9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2199716828"/>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Financial Team">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4754849" y="1268744"/>
            <a:ext cx="1645938" cy="1645920"/>
            <a:chOff x="975392" y="1691659"/>
            <a:chExt cx="2194584" cy="2194560"/>
          </a:xfrm>
          <a:solidFill>
            <a:schemeClr val="accent4"/>
          </a:solidFill>
        </p:grpSpPr>
        <p:sp>
          <p:nvSpPr>
            <p:cNvPr id="13" name="Pie 12"/>
            <p:cNvSpPr>
              <a:spLocks noChangeAspect="1"/>
            </p:cNvSpPr>
            <p:nvPr/>
          </p:nvSpPr>
          <p:spPr>
            <a:xfrm>
              <a:off x="975416" y="1691659"/>
              <a:ext cx="2194560" cy="2194560"/>
            </a:xfrm>
            <a:prstGeom prst="pie">
              <a:avLst>
                <a:gd name="adj1" fmla="val 6743112"/>
                <a:gd name="adj2" fmla="val 16311251"/>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sp>
          <p:nvSpPr>
            <p:cNvPr id="14" name="Pie 13"/>
            <p:cNvSpPr>
              <a:spLocks noChangeAspect="1"/>
            </p:cNvSpPr>
            <p:nvPr/>
          </p:nvSpPr>
          <p:spPr>
            <a:xfrm>
              <a:off x="975392" y="1691659"/>
              <a:ext cx="2194560" cy="2194560"/>
            </a:xfrm>
            <a:prstGeom prst="pie">
              <a:avLst>
                <a:gd name="adj1" fmla="val 17737651"/>
                <a:gd name="adj2" fmla="val 20552500"/>
              </a:avLst>
            </a:prstGeom>
            <a:grp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grpSp>
      <p:grpSp>
        <p:nvGrpSpPr>
          <p:cNvPr id="15" name="Group 14"/>
          <p:cNvGrpSpPr/>
          <p:nvPr userDrawn="1"/>
        </p:nvGrpSpPr>
        <p:grpSpPr>
          <a:xfrm>
            <a:off x="6766500" y="1268726"/>
            <a:ext cx="1645938" cy="1645920"/>
            <a:chOff x="975392" y="1691659"/>
            <a:chExt cx="2194584" cy="2194560"/>
          </a:xfrm>
          <a:solidFill>
            <a:schemeClr val="accent4">
              <a:lumMod val="60000"/>
              <a:lumOff val="40000"/>
            </a:schemeClr>
          </a:solidFill>
        </p:grpSpPr>
        <p:sp>
          <p:nvSpPr>
            <p:cNvPr id="16" name="Pie 15"/>
            <p:cNvSpPr>
              <a:spLocks noChangeAspect="1"/>
            </p:cNvSpPr>
            <p:nvPr/>
          </p:nvSpPr>
          <p:spPr>
            <a:xfrm>
              <a:off x="975416" y="1691659"/>
              <a:ext cx="2194560" cy="2194560"/>
            </a:xfrm>
            <a:prstGeom prst="pie">
              <a:avLst>
                <a:gd name="adj1" fmla="val 3132410"/>
                <a:gd name="adj2" fmla="val 9405979"/>
              </a:avLst>
            </a:prstGeom>
            <a:grp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sp>
          <p:nvSpPr>
            <p:cNvPr id="17" name="Pie 16"/>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grpSp>
      <p:grpSp>
        <p:nvGrpSpPr>
          <p:cNvPr id="18" name="Group 17"/>
          <p:cNvGrpSpPr/>
          <p:nvPr userDrawn="1"/>
        </p:nvGrpSpPr>
        <p:grpSpPr>
          <a:xfrm>
            <a:off x="2743196" y="1268744"/>
            <a:ext cx="1645938" cy="1645920"/>
            <a:chOff x="975392" y="1691659"/>
            <a:chExt cx="2194584" cy="2194560"/>
          </a:xfrm>
          <a:solidFill>
            <a:schemeClr val="accent3"/>
          </a:solidFill>
        </p:grpSpPr>
        <p:sp>
          <p:nvSpPr>
            <p:cNvPr id="19" name="Pie 18"/>
            <p:cNvSpPr>
              <a:spLocks noChangeAspect="1"/>
            </p:cNvSpPr>
            <p:nvPr/>
          </p:nvSpPr>
          <p:spPr>
            <a:xfrm>
              <a:off x="975416" y="1691659"/>
              <a:ext cx="2194560" cy="2194560"/>
            </a:xfrm>
            <a:prstGeom prst="pie">
              <a:avLst>
                <a:gd name="adj1" fmla="val 21552992"/>
                <a:gd name="adj2" fmla="val 9405979"/>
              </a:avLst>
            </a:prstGeom>
            <a:solidFill>
              <a:schemeClr val="accent3"/>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sp>
          <p:nvSpPr>
            <p:cNvPr id="20" name="Pie 19"/>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grpSp>
      <p:grpSp>
        <p:nvGrpSpPr>
          <p:cNvPr id="21" name="Group 20"/>
          <p:cNvGrpSpPr/>
          <p:nvPr userDrawn="1"/>
        </p:nvGrpSpPr>
        <p:grpSpPr>
          <a:xfrm>
            <a:off x="731544" y="1268744"/>
            <a:ext cx="1645938" cy="1645920"/>
            <a:chOff x="975392" y="1691659"/>
            <a:chExt cx="2194584" cy="2194560"/>
          </a:xfrm>
          <a:solidFill>
            <a:schemeClr val="accent1"/>
          </a:solidFill>
        </p:grpSpPr>
        <p:sp>
          <p:nvSpPr>
            <p:cNvPr id="22" name="Pie 21"/>
            <p:cNvSpPr>
              <a:spLocks noChangeAspect="1"/>
            </p:cNvSpPr>
            <p:nvPr/>
          </p:nvSpPr>
          <p:spPr>
            <a:xfrm>
              <a:off x="975416" y="1691659"/>
              <a:ext cx="2194560" cy="2194560"/>
            </a:xfrm>
            <a:prstGeom prst="pie">
              <a:avLst>
                <a:gd name="adj1" fmla="val 6743112"/>
                <a:gd name="adj2" fmla="val 9405979"/>
              </a:avLst>
            </a:prstGeom>
            <a:grp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sp>
          <p:nvSpPr>
            <p:cNvPr id="23" name="Pie 22"/>
            <p:cNvSpPr>
              <a:spLocks noChangeAspect="1"/>
            </p:cNvSpPr>
            <p:nvPr/>
          </p:nvSpPr>
          <p:spPr>
            <a:xfrm>
              <a:off x="975392" y="1691659"/>
              <a:ext cx="2194560" cy="2194560"/>
            </a:xfrm>
            <a:prstGeom prst="pie">
              <a:avLst>
                <a:gd name="adj1" fmla="val 11372206"/>
                <a:gd name="adj2" fmla="val 5574735"/>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grpSp>
      <p:sp>
        <p:nvSpPr>
          <p:cNvPr id="26" name="Picture Placeholder 25"/>
          <p:cNvSpPr>
            <a:spLocks noGrp="1" noChangeAspect="1"/>
          </p:cNvSpPr>
          <p:nvPr>
            <p:ph type="pic" sz="quarter" idx="10"/>
          </p:nvPr>
        </p:nvSpPr>
        <p:spPr>
          <a:xfrm>
            <a:off x="800125"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7" name="Picture Placeholder 26"/>
          <p:cNvSpPr>
            <a:spLocks noGrp="1" noChangeAspect="1"/>
          </p:cNvSpPr>
          <p:nvPr>
            <p:ph type="pic" sz="quarter" idx="11"/>
          </p:nvPr>
        </p:nvSpPr>
        <p:spPr>
          <a:xfrm>
            <a:off x="2811783"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8" name="Picture Placeholder 27"/>
          <p:cNvSpPr>
            <a:spLocks noGrp="1" noChangeAspect="1"/>
          </p:cNvSpPr>
          <p:nvPr>
            <p:ph type="pic" sz="quarter" idx="12"/>
          </p:nvPr>
        </p:nvSpPr>
        <p:spPr>
          <a:xfrm>
            <a:off x="4823441"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9" name="Picture Placeholder 28"/>
          <p:cNvSpPr>
            <a:spLocks noGrp="1" noChangeAspect="1"/>
          </p:cNvSpPr>
          <p:nvPr>
            <p:ph type="pic" sz="quarter" idx="13"/>
          </p:nvPr>
        </p:nvSpPr>
        <p:spPr>
          <a:xfrm>
            <a:off x="6835099"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4099640760"/>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Design Team">
    <p:bg>
      <p:bgPr>
        <a:solidFill>
          <a:schemeClr val="tx2">
            <a:lumMod val="90000"/>
            <a:lumOff val="10000"/>
          </a:schemeClr>
        </a:solidFill>
        <a:effectLst/>
      </p:bgPr>
    </p:bg>
    <p:spTree>
      <p:nvGrpSpPr>
        <p:cNvPr id="1" name=""/>
        <p:cNvGrpSpPr/>
        <p:nvPr/>
      </p:nvGrpSpPr>
      <p:grpSpPr>
        <a:xfrm>
          <a:off x="0" y="0"/>
          <a:ext cx="0" cy="0"/>
          <a:chOff x="0" y="0"/>
          <a:chExt cx="0" cy="0"/>
        </a:xfrm>
      </p:grpSpPr>
      <p:cxnSp>
        <p:nvCxnSpPr>
          <p:cNvPr id="18" name="Straight Connector 17"/>
          <p:cNvCxnSpPr/>
          <p:nvPr userDrawn="1"/>
        </p:nvCxnSpPr>
        <p:spPr>
          <a:xfrm>
            <a:off x="4982925" y="1268744"/>
            <a:ext cx="281" cy="1440165"/>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983207" y="3120383"/>
            <a:ext cx="281" cy="1440165"/>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731293" y="1268744"/>
            <a:ext cx="281" cy="1440165"/>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20" name="Picture Placeholder 3"/>
          <p:cNvSpPr>
            <a:spLocks noGrp="1"/>
          </p:cNvSpPr>
          <p:nvPr>
            <p:ph type="pic" sz="quarter" idx="13"/>
          </p:nvPr>
        </p:nvSpPr>
        <p:spPr>
          <a:xfrm>
            <a:off x="731562" y="1268744"/>
            <a:ext cx="1371600" cy="1440180"/>
          </a:xfrm>
          <a:solidFill>
            <a:schemeClr val="tx2">
              <a:lumMod val="95000"/>
            </a:schemeClr>
          </a:solidFill>
        </p:spPr>
        <p:txBody>
          <a:bodyPr anchor="ctr" anchorCtr="0"/>
          <a:lstStyle>
            <a:lvl1pPr algn="ctr">
              <a:defRPr/>
            </a:lvl1pPr>
          </a:lstStyle>
          <a:p>
            <a:endParaRPr lang="en-US" dirty="0"/>
          </a:p>
        </p:txBody>
      </p:sp>
      <p:sp>
        <p:nvSpPr>
          <p:cNvPr id="27" name="Picture Placeholder 3"/>
          <p:cNvSpPr>
            <a:spLocks noGrp="1"/>
          </p:cNvSpPr>
          <p:nvPr>
            <p:ph type="pic" sz="quarter" idx="14"/>
          </p:nvPr>
        </p:nvSpPr>
        <p:spPr>
          <a:xfrm>
            <a:off x="731562" y="3120353"/>
            <a:ext cx="1371600" cy="1440180"/>
          </a:xfrm>
          <a:solidFill>
            <a:schemeClr val="tx2">
              <a:lumMod val="95000"/>
            </a:schemeClr>
          </a:solidFill>
        </p:spPr>
        <p:txBody>
          <a:bodyPr anchor="ctr" anchorCtr="0"/>
          <a:lstStyle>
            <a:lvl1pPr algn="ctr">
              <a:defRPr/>
            </a:lvl1pPr>
          </a:lstStyle>
          <a:p>
            <a:endParaRPr lang="en-US" dirty="0"/>
          </a:p>
        </p:txBody>
      </p:sp>
      <p:sp>
        <p:nvSpPr>
          <p:cNvPr id="28" name="Picture Placeholder 3"/>
          <p:cNvSpPr>
            <a:spLocks noGrp="1"/>
          </p:cNvSpPr>
          <p:nvPr>
            <p:ph type="pic" sz="quarter" idx="15"/>
          </p:nvPr>
        </p:nvSpPr>
        <p:spPr>
          <a:xfrm>
            <a:off x="4983476" y="1268759"/>
            <a:ext cx="1371600" cy="1440180"/>
          </a:xfrm>
          <a:solidFill>
            <a:schemeClr val="tx2">
              <a:lumMod val="95000"/>
            </a:schemeClr>
          </a:solidFill>
        </p:spPr>
        <p:txBody>
          <a:bodyPr anchor="ctr" anchorCtr="0"/>
          <a:lstStyle>
            <a:lvl1pPr algn="ctr">
              <a:defRPr/>
            </a:lvl1pPr>
          </a:lstStyle>
          <a:p>
            <a:endParaRPr lang="en-US" dirty="0"/>
          </a:p>
        </p:txBody>
      </p:sp>
      <p:sp>
        <p:nvSpPr>
          <p:cNvPr id="29" name="Picture Placeholder 3"/>
          <p:cNvSpPr>
            <a:spLocks noGrp="1"/>
          </p:cNvSpPr>
          <p:nvPr>
            <p:ph type="pic" sz="quarter" idx="16"/>
          </p:nvPr>
        </p:nvSpPr>
        <p:spPr>
          <a:xfrm>
            <a:off x="4983476" y="3120368"/>
            <a:ext cx="1371600" cy="1440180"/>
          </a:xfrm>
          <a:solidFill>
            <a:schemeClr val="tx2">
              <a:lumMod val="95000"/>
            </a:schemeClr>
          </a:solidFill>
        </p:spPr>
        <p:txBody>
          <a:bodyPr anchor="ctr" anchorCtr="0"/>
          <a:lstStyle>
            <a:lvl1pPr algn="ctr">
              <a:defRPr/>
            </a:lvl1pPr>
          </a:lstStyle>
          <a:p>
            <a:endParaRPr lang="en-US" dirty="0"/>
          </a:p>
        </p:txBody>
      </p:sp>
      <p:cxnSp>
        <p:nvCxnSpPr>
          <p:cNvPr id="17" name="Straight Connector 16"/>
          <p:cNvCxnSpPr/>
          <p:nvPr userDrawn="1"/>
        </p:nvCxnSpPr>
        <p:spPr>
          <a:xfrm>
            <a:off x="731562" y="3120383"/>
            <a:ext cx="281" cy="1440165"/>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7443674"/>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Support Team">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12" name="Group 11"/>
          <p:cNvGrpSpPr>
            <a:grpSpLocks noChangeAspect="1"/>
          </p:cNvGrpSpPr>
          <p:nvPr userDrawn="1"/>
        </p:nvGrpSpPr>
        <p:grpSpPr>
          <a:xfrm>
            <a:off x="4777750" y="1200165"/>
            <a:ext cx="1577357" cy="1577340"/>
            <a:chOff x="975392" y="1691659"/>
            <a:chExt cx="2194584" cy="2194560"/>
          </a:xfrm>
          <a:solidFill>
            <a:schemeClr val="accent3"/>
          </a:solidFill>
        </p:grpSpPr>
        <p:sp>
          <p:nvSpPr>
            <p:cNvPr id="13" name="Pie 12"/>
            <p:cNvSpPr>
              <a:spLocks noChangeAspect="1"/>
            </p:cNvSpPr>
            <p:nvPr/>
          </p:nvSpPr>
          <p:spPr>
            <a:xfrm>
              <a:off x="975416" y="1691659"/>
              <a:ext cx="2194560" cy="2194560"/>
            </a:xfrm>
            <a:prstGeom prst="pie">
              <a:avLst>
                <a:gd name="adj1" fmla="val 21552992"/>
                <a:gd name="adj2" fmla="val 9405979"/>
              </a:avLst>
            </a:prstGeom>
            <a:solidFill>
              <a:schemeClr val="accent3"/>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sp>
          <p:nvSpPr>
            <p:cNvPr id="14" name="Pie 13"/>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grpSp>
      <p:grpSp>
        <p:nvGrpSpPr>
          <p:cNvPr id="15" name="Group 14"/>
          <p:cNvGrpSpPr>
            <a:grpSpLocks noChangeAspect="1"/>
          </p:cNvGrpSpPr>
          <p:nvPr userDrawn="1"/>
        </p:nvGrpSpPr>
        <p:grpSpPr>
          <a:xfrm>
            <a:off x="4777750" y="3120402"/>
            <a:ext cx="1577357" cy="1577340"/>
            <a:chOff x="975392" y="1691659"/>
            <a:chExt cx="2194584" cy="2194560"/>
          </a:xfrm>
          <a:solidFill>
            <a:schemeClr val="accent3"/>
          </a:solidFill>
        </p:grpSpPr>
        <p:sp>
          <p:nvSpPr>
            <p:cNvPr id="16" name="Pie 15"/>
            <p:cNvSpPr>
              <a:spLocks noChangeAspect="1"/>
            </p:cNvSpPr>
            <p:nvPr/>
          </p:nvSpPr>
          <p:spPr>
            <a:xfrm>
              <a:off x="975416" y="1691659"/>
              <a:ext cx="2194560" cy="2194560"/>
            </a:xfrm>
            <a:prstGeom prst="pie">
              <a:avLst>
                <a:gd name="adj1" fmla="val 21552992"/>
                <a:gd name="adj2" fmla="val 9405979"/>
              </a:avLst>
            </a:prstGeom>
            <a:solidFill>
              <a:schemeClr val="accent4">
                <a:lumMod val="60000"/>
                <a:lumOff val="40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sp>
          <p:nvSpPr>
            <p:cNvPr id="17" name="Pie 16"/>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grpSp>
      <p:grpSp>
        <p:nvGrpSpPr>
          <p:cNvPr id="18" name="Group 17"/>
          <p:cNvGrpSpPr>
            <a:grpSpLocks noChangeAspect="1"/>
          </p:cNvGrpSpPr>
          <p:nvPr userDrawn="1"/>
        </p:nvGrpSpPr>
        <p:grpSpPr>
          <a:xfrm>
            <a:off x="662995" y="1200183"/>
            <a:ext cx="1577357" cy="1577340"/>
            <a:chOff x="975392" y="1691659"/>
            <a:chExt cx="2194584" cy="2194560"/>
          </a:xfrm>
          <a:solidFill>
            <a:schemeClr val="accent3"/>
          </a:solidFill>
        </p:grpSpPr>
        <p:sp>
          <p:nvSpPr>
            <p:cNvPr id="19" name="Pie 18"/>
            <p:cNvSpPr>
              <a:spLocks noChangeAspect="1"/>
            </p:cNvSpPr>
            <p:nvPr/>
          </p:nvSpPr>
          <p:spPr>
            <a:xfrm>
              <a:off x="975416" y="1691659"/>
              <a:ext cx="2194560" cy="2194560"/>
            </a:xfrm>
            <a:prstGeom prst="pie">
              <a:avLst>
                <a:gd name="adj1" fmla="val 21552992"/>
                <a:gd name="adj2" fmla="val 9405979"/>
              </a:avLst>
            </a:prstGeom>
            <a:solidFill>
              <a:schemeClr val="accent1"/>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sp>
          <p:nvSpPr>
            <p:cNvPr id="20" name="Pie 19"/>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grpSp>
      <p:grpSp>
        <p:nvGrpSpPr>
          <p:cNvPr id="21" name="Group 20"/>
          <p:cNvGrpSpPr>
            <a:grpSpLocks noChangeAspect="1"/>
          </p:cNvGrpSpPr>
          <p:nvPr userDrawn="1"/>
        </p:nvGrpSpPr>
        <p:grpSpPr>
          <a:xfrm>
            <a:off x="662995" y="3120420"/>
            <a:ext cx="1577357" cy="1577340"/>
            <a:chOff x="975392" y="1691659"/>
            <a:chExt cx="2194584" cy="2194560"/>
          </a:xfrm>
          <a:solidFill>
            <a:schemeClr val="accent3"/>
          </a:solidFill>
        </p:grpSpPr>
        <p:sp>
          <p:nvSpPr>
            <p:cNvPr id="22" name="Pie 21"/>
            <p:cNvSpPr>
              <a:spLocks noChangeAspect="1"/>
            </p:cNvSpPr>
            <p:nvPr/>
          </p:nvSpPr>
          <p:spPr>
            <a:xfrm>
              <a:off x="975416" y="1691659"/>
              <a:ext cx="2194560" cy="2194560"/>
            </a:xfrm>
            <a:prstGeom prst="pie">
              <a:avLst>
                <a:gd name="adj1" fmla="val 21552992"/>
                <a:gd name="adj2" fmla="val 9405979"/>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sp>
          <p:nvSpPr>
            <p:cNvPr id="23" name="Pie 22"/>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IN" sz="2000" dirty="0">
                <a:solidFill>
                  <a:srgbClr val="4F4F52"/>
                </a:solidFill>
              </a:endParaRPr>
            </a:p>
          </p:txBody>
        </p:sp>
      </p:grpSp>
      <p:sp>
        <p:nvSpPr>
          <p:cNvPr id="26" name="Picture Placeholder 25"/>
          <p:cNvSpPr>
            <a:spLocks noGrp="1" noChangeAspect="1"/>
          </p:cNvSpPr>
          <p:nvPr>
            <p:ph type="pic" sz="quarter" idx="10"/>
          </p:nvPr>
        </p:nvSpPr>
        <p:spPr>
          <a:xfrm>
            <a:off x="809361" y="126874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5" name="Picture Placeholder 24"/>
          <p:cNvSpPr>
            <a:spLocks noGrp="1" noChangeAspect="1"/>
          </p:cNvSpPr>
          <p:nvPr>
            <p:ph type="pic" sz="quarter" idx="11"/>
          </p:nvPr>
        </p:nvSpPr>
        <p:spPr>
          <a:xfrm>
            <a:off x="4914881" y="126874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30" name="Picture Placeholder 29"/>
          <p:cNvSpPr>
            <a:spLocks noGrp="1" noChangeAspect="1"/>
          </p:cNvSpPr>
          <p:nvPr>
            <p:ph type="pic" sz="quarter" idx="12"/>
          </p:nvPr>
        </p:nvSpPr>
        <p:spPr>
          <a:xfrm>
            <a:off x="809361" y="318895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31" name="Picture Placeholder 30"/>
          <p:cNvSpPr>
            <a:spLocks noGrp="1" noChangeAspect="1"/>
          </p:cNvSpPr>
          <p:nvPr>
            <p:ph type="pic" sz="quarter" idx="13"/>
          </p:nvPr>
        </p:nvSpPr>
        <p:spPr>
          <a:xfrm>
            <a:off x="4914881" y="318895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655087809"/>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Individual Team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13" name="Picture Placeholder 25"/>
          <p:cNvSpPr>
            <a:spLocks noGrp="1" noChangeAspect="1"/>
          </p:cNvSpPr>
          <p:nvPr>
            <p:ph type="pic" sz="quarter" idx="11"/>
          </p:nvPr>
        </p:nvSpPr>
        <p:spPr>
          <a:xfrm>
            <a:off x="731562" y="1337324"/>
            <a:ext cx="2468880" cy="246888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676127215"/>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Individual Team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14" name="Picture Placeholder 13"/>
          <p:cNvSpPr>
            <a:spLocks noGrp="1"/>
          </p:cNvSpPr>
          <p:nvPr>
            <p:ph type="pic" sz="quarter" idx="10"/>
          </p:nvPr>
        </p:nvSpPr>
        <p:spPr>
          <a:xfrm>
            <a:off x="684416" y="1337324"/>
            <a:ext cx="3544726" cy="3154680"/>
          </a:xfrm>
          <a:custGeom>
            <a:avLst/>
            <a:gdLst>
              <a:gd name="connsiteX0" fmla="*/ 3078836 w 4572000"/>
              <a:gd name="connsiteY0" fmla="*/ 2651731 h 3931877"/>
              <a:gd name="connsiteX1" fmla="*/ 4572000 w 4572000"/>
              <a:gd name="connsiteY1" fmla="*/ 2651731 h 3931877"/>
              <a:gd name="connsiteX2" fmla="*/ 4572000 w 4572000"/>
              <a:gd name="connsiteY2" fmla="*/ 3931877 h 3931877"/>
              <a:gd name="connsiteX3" fmla="*/ 3078836 w 4572000"/>
              <a:gd name="connsiteY3" fmla="*/ 3931877 h 3931877"/>
              <a:gd name="connsiteX4" fmla="*/ 1540184 w 4572000"/>
              <a:gd name="connsiteY4" fmla="*/ 2651731 h 3931877"/>
              <a:gd name="connsiteX5" fmla="*/ 3033348 w 4572000"/>
              <a:gd name="connsiteY5" fmla="*/ 2651731 h 3931877"/>
              <a:gd name="connsiteX6" fmla="*/ 3033348 w 4572000"/>
              <a:gd name="connsiteY6" fmla="*/ 3931877 h 3931877"/>
              <a:gd name="connsiteX7" fmla="*/ 1540184 w 4572000"/>
              <a:gd name="connsiteY7" fmla="*/ 3931877 h 3931877"/>
              <a:gd name="connsiteX8" fmla="*/ 1532 w 4572000"/>
              <a:gd name="connsiteY8" fmla="*/ 2651731 h 3931877"/>
              <a:gd name="connsiteX9" fmla="*/ 1494696 w 4572000"/>
              <a:gd name="connsiteY9" fmla="*/ 2651731 h 3931877"/>
              <a:gd name="connsiteX10" fmla="*/ 1494696 w 4572000"/>
              <a:gd name="connsiteY10" fmla="*/ 3931877 h 3931877"/>
              <a:gd name="connsiteX11" fmla="*/ 1532 w 4572000"/>
              <a:gd name="connsiteY11" fmla="*/ 3931877 h 3931877"/>
              <a:gd name="connsiteX12" fmla="*/ 3078836 w 4572000"/>
              <a:gd name="connsiteY12" fmla="*/ 1325865 h 3931877"/>
              <a:gd name="connsiteX13" fmla="*/ 4572000 w 4572000"/>
              <a:gd name="connsiteY13" fmla="*/ 1325865 h 3931877"/>
              <a:gd name="connsiteX14" fmla="*/ 4572000 w 4572000"/>
              <a:gd name="connsiteY14" fmla="*/ 2606011 h 3931877"/>
              <a:gd name="connsiteX15" fmla="*/ 3078836 w 4572000"/>
              <a:gd name="connsiteY15" fmla="*/ 2606011 h 3931877"/>
              <a:gd name="connsiteX16" fmla="*/ 1539801 w 4572000"/>
              <a:gd name="connsiteY16" fmla="*/ 1325865 h 3931877"/>
              <a:gd name="connsiteX17" fmla="*/ 3032965 w 4572000"/>
              <a:gd name="connsiteY17" fmla="*/ 1325865 h 3931877"/>
              <a:gd name="connsiteX18" fmla="*/ 3032965 w 4572000"/>
              <a:gd name="connsiteY18" fmla="*/ 2606011 h 3931877"/>
              <a:gd name="connsiteX19" fmla="*/ 1539801 w 4572000"/>
              <a:gd name="connsiteY19" fmla="*/ 2606011 h 3931877"/>
              <a:gd name="connsiteX20" fmla="*/ 766 w 4572000"/>
              <a:gd name="connsiteY20" fmla="*/ 1325865 h 3931877"/>
              <a:gd name="connsiteX21" fmla="*/ 1493930 w 4572000"/>
              <a:gd name="connsiteY21" fmla="*/ 1325865 h 3931877"/>
              <a:gd name="connsiteX22" fmla="*/ 1493930 w 4572000"/>
              <a:gd name="connsiteY22" fmla="*/ 2606011 h 3931877"/>
              <a:gd name="connsiteX23" fmla="*/ 766 w 4572000"/>
              <a:gd name="connsiteY23" fmla="*/ 2606011 h 3931877"/>
              <a:gd name="connsiteX24" fmla="*/ 3078836 w 4572000"/>
              <a:gd name="connsiteY24" fmla="*/ 0 h 3931877"/>
              <a:gd name="connsiteX25" fmla="*/ 4572000 w 4572000"/>
              <a:gd name="connsiteY25" fmla="*/ 0 h 3931877"/>
              <a:gd name="connsiteX26" fmla="*/ 4572000 w 4572000"/>
              <a:gd name="connsiteY26" fmla="*/ 1280146 h 3931877"/>
              <a:gd name="connsiteX27" fmla="*/ 3078836 w 4572000"/>
              <a:gd name="connsiteY27" fmla="*/ 1280146 h 3931877"/>
              <a:gd name="connsiteX28" fmla="*/ 1539418 w 4572000"/>
              <a:gd name="connsiteY28" fmla="*/ 0 h 3931877"/>
              <a:gd name="connsiteX29" fmla="*/ 3032582 w 4572000"/>
              <a:gd name="connsiteY29" fmla="*/ 0 h 3931877"/>
              <a:gd name="connsiteX30" fmla="*/ 3032582 w 4572000"/>
              <a:gd name="connsiteY30" fmla="*/ 1280146 h 3931877"/>
              <a:gd name="connsiteX31" fmla="*/ 1539418 w 4572000"/>
              <a:gd name="connsiteY31" fmla="*/ 1280146 h 3931877"/>
              <a:gd name="connsiteX32" fmla="*/ 0 w 4572000"/>
              <a:gd name="connsiteY32" fmla="*/ 0 h 3931877"/>
              <a:gd name="connsiteX33" fmla="*/ 1493164 w 4572000"/>
              <a:gd name="connsiteY33" fmla="*/ 0 h 3931877"/>
              <a:gd name="connsiteX34" fmla="*/ 1493164 w 4572000"/>
              <a:gd name="connsiteY34" fmla="*/ 1280146 h 3931877"/>
              <a:gd name="connsiteX35" fmla="*/ 0 w 4572000"/>
              <a:gd name="connsiteY35" fmla="*/ 1280146 h 39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72000" h="3931877">
                <a:moveTo>
                  <a:pt x="3078836" y="2651731"/>
                </a:moveTo>
                <a:lnTo>
                  <a:pt x="4572000" y="2651731"/>
                </a:lnTo>
                <a:lnTo>
                  <a:pt x="4572000" y="3931877"/>
                </a:lnTo>
                <a:lnTo>
                  <a:pt x="3078836" y="3931877"/>
                </a:lnTo>
                <a:close/>
                <a:moveTo>
                  <a:pt x="1540184" y="2651731"/>
                </a:moveTo>
                <a:lnTo>
                  <a:pt x="3033348" y="2651731"/>
                </a:lnTo>
                <a:lnTo>
                  <a:pt x="3033348" y="3931877"/>
                </a:lnTo>
                <a:lnTo>
                  <a:pt x="1540184" y="3931877"/>
                </a:lnTo>
                <a:close/>
                <a:moveTo>
                  <a:pt x="1532" y="2651731"/>
                </a:moveTo>
                <a:lnTo>
                  <a:pt x="1494696" y="2651731"/>
                </a:lnTo>
                <a:lnTo>
                  <a:pt x="1494696" y="3931877"/>
                </a:lnTo>
                <a:lnTo>
                  <a:pt x="1532" y="3931877"/>
                </a:lnTo>
                <a:close/>
                <a:moveTo>
                  <a:pt x="3078836" y="1325865"/>
                </a:moveTo>
                <a:lnTo>
                  <a:pt x="4572000" y="1325865"/>
                </a:lnTo>
                <a:lnTo>
                  <a:pt x="4572000" y="2606011"/>
                </a:lnTo>
                <a:lnTo>
                  <a:pt x="3078836" y="2606011"/>
                </a:lnTo>
                <a:close/>
                <a:moveTo>
                  <a:pt x="1539801" y="1325865"/>
                </a:moveTo>
                <a:lnTo>
                  <a:pt x="3032965" y="1325865"/>
                </a:lnTo>
                <a:lnTo>
                  <a:pt x="3032965" y="2606011"/>
                </a:lnTo>
                <a:lnTo>
                  <a:pt x="1539801" y="2606011"/>
                </a:lnTo>
                <a:close/>
                <a:moveTo>
                  <a:pt x="766" y="1325865"/>
                </a:moveTo>
                <a:lnTo>
                  <a:pt x="1493930" y="1325865"/>
                </a:lnTo>
                <a:lnTo>
                  <a:pt x="1493930" y="2606011"/>
                </a:lnTo>
                <a:lnTo>
                  <a:pt x="766" y="2606011"/>
                </a:lnTo>
                <a:close/>
                <a:moveTo>
                  <a:pt x="3078836" y="0"/>
                </a:moveTo>
                <a:lnTo>
                  <a:pt x="4572000" y="0"/>
                </a:lnTo>
                <a:lnTo>
                  <a:pt x="4572000" y="1280146"/>
                </a:lnTo>
                <a:lnTo>
                  <a:pt x="3078836" y="1280146"/>
                </a:lnTo>
                <a:close/>
                <a:moveTo>
                  <a:pt x="1539418" y="0"/>
                </a:moveTo>
                <a:lnTo>
                  <a:pt x="3032582" y="0"/>
                </a:lnTo>
                <a:lnTo>
                  <a:pt x="3032582" y="1280146"/>
                </a:lnTo>
                <a:lnTo>
                  <a:pt x="1539418" y="1280146"/>
                </a:lnTo>
                <a:close/>
                <a:moveTo>
                  <a:pt x="0" y="0"/>
                </a:moveTo>
                <a:lnTo>
                  <a:pt x="1493164" y="0"/>
                </a:lnTo>
                <a:lnTo>
                  <a:pt x="1493164" y="1280146"/>
                </a:lnTo>
                <a:lnTo>
                  <a:pt x="0" y="1280146"/>
                </a:lnTo>
                <a:close/>
              </a:path>
            </a:pathLst>
          </a:custGeom>
          <a:solidFill>
            <a:schemeClr val="tx2">
              <a:lumMod val="9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150299019"/>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Partnership">
    <p:spTree>
      <p:nvGrpSpPr>
        <p:cNvPr id="1" name=""/>
        <p:cNvGrpSpPr/>
        <p:nvPr/>
      </p:nvGrpSpPr>
      <p:grpSpPr>
        <a:xfrm>
          <a:off x="0" y="0"/>
          <a:ext cx="0" cy="0"/>
          <a:chOff x="0" y="0"/>
          <a:chExt cx="0" cy="0"/>
        </a:xfrm>
      </p:grpSpPr>
      <p:grpSp>
        <p:nvGrpSpPr>
          <p:cNvPr id="21" name="Group 20"/>
          <p:cNvGrpSpPr/>
          <p:nvPr userDrawn="1"/>
        </p:nvGrpSpPr>
        <p:grpSpPr>
          <a:xfrm>
            <a:off x="5331862" y="-30028"/>
            <a:ext cx="1783064" cy="5340714"/>
            <a:chOff x="6743391" y="-40037"/>
            <a:chExt cx="2377418" cy="7120952"/>
          </a:xfrm>
          <a:solidFill>
            <a:schemeClr val="tx2">
              <a:lumMod val="75000"/>
              <a:lumOff val="25000"/>
            </a:schemeClr>
          </a:solidFill>
        </p:grpSpPr>
        <p:sp>
          <p:nvSpPr>
            <p:cNvPr id="22" name="Freeform 21"/>
            <p:cNvSpPr/>
            <p:nvPr/>
          </p:nvSpPr>
          <p:spPr>
            <a:xfrm rot="1200000">
              <a:off x="8197210" y="5091063"/>
              <a:ext cx="365760" cy="1765207"/>
            </a:xfrm>
            <a:custGeom>
              <a:avLst/>
              <a:gdLst>
                <a:gd name="connsiteX0" fmla="*/ 365760 w 365760"/>
                <a:gd name="connsiteY0" fmla="*/ 0 h 1765207"/>
                <a:gd name="connsiteX1" fmla="*/ 365760 w 365760"/>
                <a:gd name="connsiteY1" fmla="*/ 1632082 h 1765207"/>
                <a:gd name="connsiteX2" fmla="*/ 0 w 365760"/>
                <a:gd name="connsiteY2" fmla="*/ 1765207 h 1765207"/>
                <a:gd name="connsiteX3" fmla="*/ 0 w 365760"/>
                <a:gd name="connsiteY3" fmla="*/ 133126 h 1765207"/>
              </a:gdLst>
              <a:ahLst/>
              <a:cxnLst>
                <a:cxn ang="0">
                  <a:pos x="connsiteX0" y="connsiteY0"/>
                </a:cxn>
                <a:cxn ang="0">
                  <a:pos x="connsiteX1" y="connsiteY1"/>
                </a:cxn>
                <a:cxn ang="0">
                  <a:pos x="connsiteX2" y="connsiteY2"/>
                </a:cxn>
                <a:cxn ang="0">
                  <a:pos x="connsiteX3" y="connsiteY3"/>
                </a:cxn>
              </a:cxnLst>
              <a:rect l="l" t="t" r="r" b="b"/>
              <a:pathLst>
                <a:path w="365760" h="1765207">
                  <a:moveTo>
                    <a:pt x="365760" y="0"/>
                  </a:moveTo>
                  <a:lnTo>
                    <a:pt x="365760" y="1632082"/>
                  </a:lnTo>
                  <a:lnTo>
                    <a:pt x="0" y="176520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23" name="Freeform 22"/>
            <p:cNvSpPr/>
            <p:nvPr/>
          </p:nvSpPr>
          <p:spPr>
            <a:xfrm rot="1200000">
              <a:off x="6743391" y="972631"/>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24" name="Freeform 23"/>
            <p:cNvSpPr/>
            <p:nvPr/>
          </p:nvSpPr>
          <p:spPr>
            <a:xfrm rot="1200000">
              <a:off x="7094507" y="2161338"/>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25" name="Freeform 24"/>
            <p:cNvSpPr/>
            <p:nvPr/>
          </p:nvSpPr>
          <p:spPr>
            <a:xfrm rot="1200000">
              <a:off x="8755049" y="-40037"/>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grpSp>
      <p:sp>
        <p:nvSpPr>
          <p:cNvPr id="20" name="Picture Placeholder 19"/>
          <p:cNvSpPr>
            <a:spLocks noGrp="1"/>
          </p:cNvSpPr>
          <p:nvPr userDrawn="1">
            <p:ph type="pic" sz="quarter" idx="10"/>
          </p:nvPr>
        </p:nvSpPr>
        <p:spPr>
          <a:xfrm>
            <a:off x="4800205" y="128155"/>
            <a:ext cx="3475076" cy="4824859"/>
          </a:xfrm>
          <a:custGeom>
            <a:avLst/>
            <a:gdLst>
              <a:gd name="connsiteX0" fmla="*/ 3375866 w 4633435"/>
              <a:gd name="connsiteY0" fmla="*/ 1948335 h 6433145"/>
              <a:gd name="connsiteX1" fmla="*/ 1743529 w 4633435"/>
              <a:gd name="connsiteY1" fmla="*/ 6433145 h 6433145"/>
              <a:gd name="connsiteX2" fmla="*/ 1354296 w 4633435"/>
              <a:gd name="connsiteY2" fmla="*/ 6433145 h 6433145"/>
              <a:gd name="connsiteX3" fmla="*/ 2986632 w 4633435"/>
              <a:gd name="connsiteY3" fmla="*/ 1948336 h 6433145"/>
              <a:gd name="connsiteX4" fmla="*/ 1927309 w 4633435"/>
              <a:gd name="connsiteY4" fmla="*/ 1085245 h 6433145"/>
              <a:gd name="connsiteX5" fmla="*/ 389233 w 4633435"/>
              <a:gd name="connsiteY5" fmla="*/ 5311073 h 6433145"/>
              <a:gd name="connsiteX6" fmla="*/ 0 w 4633435"/>
              <a:gd name="connsiteY6" fmla="*/ 5311073 h 6433145"/>
              <a:gd name="connsiteX7" fmla="*/ 1538076 w 4633435"/>
              <a:gd name="connsiteY7" fmla="*/ 1085245 h 6433145"/>
              <a:gd name="connsiteX8" fmla="*/ 4144614 w 4633435"/>
              <a:gd name="connsiteY8" fmla="*/ 1054143 h 6433145"/>
              <a:gd name="connsiteX9" fmla="*/ 2240188 w 4633435"/>
              <a:gd name="connsiteY9" fmla="*/ 6286513 h 6433145"/>
              <a:gd name="connsiteX10" fmla="*/ 1850955 w 4633435"/>
              <a:gd name="connsiteY10" fmla="*/ 6286512 h 6433145"/>
              <a:gd name="connsiteX11" fmla="*/ 3755381 w 4633435"/>
              <a:gd name="connsiteY11" fmla="*/ 1054144 h 6433145"/>
              <a:gd name="connsiteX12" fmla="*/ 4633435 w 4633435"/>
              <a:gd name="connsiteY12" fmla="*/ 929046 h 6433145"/>
              <a:gd name="connsiteX13" fmla="*/ 2931731 w 4633435"/>
              <a:gd name="connsiteY13" fmla="*/ 5604439 h 6433145"/>
              <a:gd name="connsiteX14" fmla="*/ 2542497 w 4633435"/>
              <a:gd name="connsiteY14" fmla="*/ 5604441 h 6433145"/>
              <a:gd name="connsiteX15" fmla="*/ 4244201 w 4633435"/>
              <a:gd name="connsiteY15" fmla="*/ 929046 h 6433145"/>
              <a:gd name="connsiteX16" fmla="*/ 2556829 w 4633435"/>
              <a:gd name="connsiteY16" fmla="*/ 693359 h 6433145"/>
              <a:gd name="connsiteX17" fmla="*/ 2946062 w 4633435"/>
              <a:gd name="connsiteY17" fmla="*/ 693360 h 6433145"/>
              <a:gd name="connsiteX18" fmla="*/ 1105166 w 4633435"/>
              <a:gd name="connsiteY18" fmla="*/ 5751182 h 6433145"/>
              <a:gd name="connsiteX19" fmla="*/ 715932 w 4633435"/>
              <a:gd name="connsiteY19" fmla="*/ 5751182 h 6433145"/>
              <a:gd name="connsiteX20" fmla="*/ 3117220 w 4633435"/>
              <a:gd name="connsiteY20" fmla="*/ 371622 h 6433145"/>
              <a:gd name="connsiteX21" fmla="*/ 3506455 w 4633435"/>
              <a:gd name="connsiteY21" fmla="*/ 371623 h 6433145"/>
              <a:gd name="connsiteX22" fmla="*/ 1733179 w 4633435"/>
              <a:gd name="connsiteY22" fmla="*/ 5243655 h 6433145"/>
              <a:gd name="connsiteX23" fmla="*/ 1343944 w 4633435"/>
              <a:gd name="connsiteY23" fmla="*/ 5243655 h 6433145"/>
              <a:gd name="connsiteX24" fmla="*/ 2755136 w 4633435"/>
              <a:gd name="connsiteY24" fmla="*/ 0 h 6433145"/>
              <a:gd name="connsiteX25" fmla="*/ 525012 w 4633435"/>
              <a:gd name="connsiteY25" fmla="*/ 6127216 h 6433145"/>
              <a:gd name="connsiteX26" fmla="*/ 135778 w 4633435"/>
              <a:gd name="connsiteY26" fmla="*/ 6127217 h 6433145"/>
              <a:gd name="connsiteX27" fmla="*/ 2365902 w 4633435"/>
              <a:gd name="connsiteY27" fmla="*/ 1 h 643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33435" h="6433145">
                <a:moveTo>
                  <a:pt x="3375866" y="1948335"/>
                </a:moveTo>
                <a:lnTo>
                  <a:pt x="1743529" y="6433145"/>
                </a:lnTo>
                <a:lnTo>
                  <a:pt x="1354296" y="6433145"/>
                </a:lnTo>
                <a:lnTo>
                  <a:pt x="2986632" y="1948336"/>
                </a:lnTo>
                <a:close/>
                <a:moveTo>
                  <a:pt x="1927309" y="1085245"/>
                </a:moveTo>
                <a:lnTo>
                  <a:pt x="389233" y="5311073"/>
                </a:lnTo>
                <a:lnTo>
                  <a:pt x="0" y="5311073"/>
                </a:lnTo>
                <a:lnTo>
                  <a:pt x="1538076" y="1085245"/>
                </a:lnTo>
                <a:close/>
                <a:moveTo>
                  <a:pt x="4144614" y="1054143"/>
                </a:moveTo>
                <a:lnTo>
                  <a:pt x="2240188" y="6286513"/>
                </a:lnTo>
                <a:lnTo>
                  <a:pt x="1850955" y="6286512"/>
                </a:lnTo>
                <a:lnTo>
                  <a:pt x="3755381" y="1054144"/>
                </a:lnTo>
                <a:close/>
                <a:moveTo>
                  <a:pt x="4633435" y="929046"/>
                </a:moveTo>
                <a:lnTo>
                  <a:pt x="2931731" y="5604439"/>
                </a:lnTo>
                <a:lnTo>
                  <a:pt x="2542497" y="5604441"/>
                </a:lnTo>
                <a:lnTo>
                  <a:pt x="4244201" y="929046"/>
                </a:lnTo>
                <a:close/>
                <a:moveTo>
                  <a:pt x="2556829" y="693359"/>
                </a:moveTo>
                <a:lnTo>
                  <a:pt x="2946062" y="693360"/>
                </a:lnTo>
                <a:lnTo>
                  <a:pt x="1105166" y="5751182"/>
                </a:lnTo>
                <a:lnTo>
                  <a:pt x="715932" y="5751182"/>
                </a:lnTo>
                <a:close/>
                <a:moveTo>
                  <a:pt x="3117220" y="371622"/>
                </a:moveTo>
                <a:lnTo>
                  <a:pt x="3506455" y="371623"/>
                </a:lnTo>
                <a:lnTo>
                  <a:pt x="1733179" y="5243655"/>
                </a:lnTo>
                <a:lnTo>
                  <a:pt x="1343944" y="5243655"/>
                </a:lnTo>
                <a:close/>
                <a:moveTo>
                  <a:pt x="2755136" y="0"/>
                </a:moveTo>
                <a:lnTo>
                  <a:pt x="525012" y="6127216"/>
                </a:lnTo>
                <a:lnTo>
                  <a:pt x="135778" y="6127217"/>
                </a:lnTo>
                <a:lnTo>
                  <a:pt x="2365902" y="1"/>
                </a:ln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286723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outHorizontal)">
                                      <p:cBhvr>
                                        <p:cTn id="7" dur="1000"/>
                                        <p:tgtEl>
                                          <p:spTgt spid="21"/>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barn(outHorizontal)">
                                      <p:cBhvr>
                                        <p:cTn id="10"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Products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21" name="Picture Placeholder 16"/>
          <p:cNvSpPr>
            <a:spLocks noGrp="1"/>
          </p:cNvSpPr>
          <p:nvPr>
            <p:ph type="pic" sz="quarter" idx="17"/>
          </p:nvPr>
        </p:nvSpPr>
        <p:spPr>
          <a:xfrm>
            <a:off x="594404" y="1337324"/>
            <a:ext cx="2468880" cy="1645920"/>
          </a:xfrm>
          <a:solidFill>
            <a:schemeClr val="tx2">
              <a:lumMod val="85000"/>
            </a:schemeClr>
          </a:solidFill>
          <a:ln>
            <a:noFill/>
          </a:ln>
        </p:spPr>
        <p:txBody>
          <a:bodyPr anchor="ctr" anchorCtr="0"/>
          <a:lstStyle>
            <a:lvl1pPr algn="ctr">
              <a:defRPr/>
            </a:lvl1pPr>
          </a:lstStyle>
          <a:p>
            <a:endParaRPr lang="en-US" dirty="0"/>
          </a:p>
        </p:txBody>
      </p:sp>
      <p:sp>
        <p:nvSpPr>
          <p:cNvPr id="22" name="Picture Placeholder 16"/>
          <p:cNvSpPr>
            <a:spLocks noGrp="1"/>
          </p:cNvSpPr>
          <p:nvPr>
            <p:ph type="pic" sz="quarter" idx="18"/>
          </p:nvPr>
        </p:nvSpPr>
        <p:spPr>
          <a:xfrm>
            <a:off x="3337547" y="1337324"/>
            <a:ext cx="2468880" cy="1645920"/>
          </a:xfrm>
          <a:solidFill>
            <a:schemeClr val="tx2">
              <a:lumMod val="85000"/>
            </a:schemeClr>
          </a:solidFill>
          <a:ln>
            <a:noFill/>
          </a:ln>
        </p:spPr>
        <p:txBody>
          <a:bodyPr anchor="ctr" anchorCtr="0"/>
          <a:lstStyle>
            <a:lvl1pPr algn="ctr">
              <a:defRPr/>
            </a:lvl1pPr>
          </a:lstStyle>
          <a:p>
            <a:endParaRPr lang="en-US" dirty="0"/>
          </a:p>
        </p:txBody>
      </p:sp>
      <p:sp>
        <p:nvSpPr>
          <p:cNvPr id="23" name="Picture Placeholder 16"/>
          <p:cNvSpPr>
            <a:spLocks noGrp="1"/>
          </p:cNvSpPr>
          <p:nvPr>
            <p:ph type="pic" sz="quarter" idx="19"/>
          </p:nvPr>
        </p:nvSpPr>
        <p:spPr>
          <a:xfrm>
            <a:off x="6080717" y="1337324"/>
            <a:ext cx="2468880" cy="16459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29882169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p:cNvSpPr>
            <a:spLocks noGrp="1"/>
          </p:cNvSpPr>
          <p:nvPr>
            <p:ph type="title"/>
          </p:nvPr>
        </p:nvSpPr>
        <p:spPr>
          <a:xfrm>
            <a:off x="1461284" y="200077"/>
            <a:ext cx="7297063" cy="461665"/>
          </a:xfrm>
        </p:spPr>
        <p:txBody>
          <a:bodyPr tIns="0" rIns="0" bIns="0"/>
          <a:lstStyle>
            <a:lvl1pPr>
              <a:defRPr>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1461244" y="1050131"/>
            <a:ext cx="7297064" cy="270000"/>
          </a:xfrm>
          <a:noFill/>
          <a:ln w="9525">
            <a:noFill/>
            <a:miter lim="800000"/>
            <a:headEnd/>
            <a:tailEnd/>
          </a:ln>
        </p:spPr>
        <p:txBody>
          <a:bodyPr rIns="0" bIns="0">
            <a:normAutofit/>
          </a:bodyPr>
          <a:lstStyle>
            <a:lvl1pPr marL="0" indent="0">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0" name="Content Placeholder 2"/>
          <p:cNvSpPr>
            <a:spLocks noGrp="1"/>
          </p:cNvSpPr>
          <p:nvPr>
            <p:ph idx="10"/>
          </p:nvPr>
        </p:nvSpPr>
        <p:spPr>
          <a:xfrm>
            <a:off x="1461244" y="1496405"/>
            <a:ext cx="7297064" cy="270000"/>
          </a:xfrm>
        </p:spPr>
        <p:txBody>
          <a:bodyPr rIns="0" bIns="0">
            <a:normAutofit/>
          </a:bodyPr>
          <a:lstStyle>
            <a:lvl1pPr>
              <a:spcBef>
                <a:spcPts val="0"/>
              </a:spcBef>
              <a:spcAft>
                <a:spcPts val="300"/>
              </a:spcAft>
              <a:buNone/>
              <a:defRPr sz="2000"/>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1" name="Content Placeholder 2"/>
          <p:cNvSpPr>
            <a:spLocks noGrp="1"/>
          </p:cNvSpPr>
          <p:nvPr>
            <p:ph idx="11"/>
          </p:nvPr>
        </p:nvSpPr>
        <p:spPr>
          <a:xfrm>
            <a:off x="1461244" y="1942678"/>
            <a:ext cx="7297064" cy="270000"/>
          </a:xfrm>
          <a:noFill/>
          <a:ln w="9525">
            <a:noFill/>
            <a:miter lim="800000"/>
            <a:headEnd/>
            <a:tailEnd/>
          </a:ln>
        </p:spPr>
        <p:txBody>
          <a:bodyPr rIns="0" bIns="0">
            <a:normAutofit/>
          </a:bodyPr>
          <a:lstStyle>
            <a:lvl1pPr>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2" name="Content Placeholder 2"/>
          <p:cNvSpPr>
            <a:spLocks noGrp="1"/>
          </p:cNvSpPr>
          <p:nvPr>
            <p:ph idx="12"/>
          </p:nvPr>
        </p:nvSpPr>
        <p:spPr>
          <a:xfrm>
            <a:off x="1461244" y="2388951"/>
            <a:ext cx="7297064" cy="270000"/>
          </a:xfrm>
          <a:noFill/>
          <a:ln w="9525">
            <a:noFill/>
            <a:miter lim="800000"/>
            <a:headEnd/>
            <a:tailEnd/>
          </a:ln>
        </p:spPr>
        <p:txBody>
          <a:bodyPr rIns="0" bIns="0">
            <a:normAutofit/>
          </a:bodyPr>
          <a:lstStyle>
            <a:lvl1pPr>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4" name="Text Placeholder 13"/>
          <p:cNvSpPr>
            <a:spLocks noGrp="1"/>
          </p:cNvSpPr>
          <p:nvPr>
            <p:ph type="body" sz="quarter" idx="14"/>
          </p:nvPr>
        </p:nvSpPr>
        <p:spPr>
          <a:xfrm>
            <a:off x="358721" y="1000125"/>
            <a:ext cx="914241" cy="270000"/>
          </a:xfrm>
          <a:noFill/>
          <a:ln w="9525">
            <a:noFill/>
            <a:miter lim="800000"/>
            <a:headEnd/>
            <a:tailEnd/>
          </a:ln>
        </p:spPr>
        <p:txBody>
          <a:bodyPr/>
          <a:lstStyle>
            <a:lvl1pPr>
              <a:buNone/>
              <a:defRPr lang="en-GB" sz="3600" dirty="0" smtClean="0">
                <a:solidFill>
                  <a:schemeClr val="tx2"/>
                </a:solidFill>
                <a:latin typeface="Arial" pitchFamily="34" charset="0"/>
                <a:ea typeface="+mn-ea"/>
                <a:cs typeface="+mn-cs"/>
              </a:defRPr>
            </a:lvl1pPr>
          </a:lstStyle>
          <a:p>
            <a:pPr lvl="0"/>
            <a:endParaRPr lang="en-US" dirty="0"/>
          </a:p>
        </p:txBody>
      </p:sp>
      <p:sp>
        <p:nvSpPr>
          <p:cNvPr id="15" name="Content Placeholder 2"/>
          <p:cNvSpPr>
            <a:spLocks noGrp="1"/>
          </p:cNvSpPr>
          <p:nvPr>
            <p:ph idx="15"/>
          </p:nvPr>
        </p:nvSpPr>
        <p:spPr>
          <a:xfrm>
            <a:off x="1461244" y="2835224"/>
            <a:ext cx="7297064" cy="270000"/>
          </a:xfrm>
          <a:noFill/>
          <a:ln w="9525">
            <a:noFill/>
            <a:miter lim="800000"/>
            <a:headEnd/>
            <a:tailEnd/>
          </a:ln>
        </p:spPr>
        <p:txBody>
          <a:bodyPr rIns="0" bIns="0">
            <a:normAutofit/>
          </a:bodyPr>
          <a:lstStyle>
            <a:lvl1pPr marL="0" indent="0">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6" name="Content Placeholder 2"/>
          <p:cNvSpPr>
            <a:spLocks noGrp="1"/>
          </p:cNvSpPr>
          <p:nvPr>
            <p:ph idx="16"/>
          </p:nvPr>
        </p:nvSpPr>
        <p:spPr>
          <a:xfrm>
            <a:off x="1461244" y="3281498"/>
            <a:ext cx="7297064" cy="270000"/>
          </a:xfrm>
        </p:spPr>
        <p:txBody>
          <a:bodyPr rIns="0" bIns="0">
            <a:normAutofit/>
          </a:bodyPr>
          <a:lstStyle>
            <a:lvl1pPr>
              <a:spcBef>
                <a:spcPts val="0"/>
              </a:spcBef>
              <a:spcAft>
                <a:spcPts val="300"/>
              </a:spcAft>
              <a:buNone/>
              <a:defRPr sz="2000"/>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7" name="Content Placeholder 2"/>
          <p:cNvSpPr>
            <a:spLocks noGrp="1"/>
          </p:cNvSpPr>
          <p:nvPr>
            <p:ph idx="17"/>
          </p:nvPr>
        </p:nvSpPr>
        <p:spPr>
          <a:xfrm>
            <a:off x="1461244" y="3727771"/>
            <a:ext cx="7297064" cy="270000"/>
          </a:xfrm>
          <a:noFill/>
          <a:ln w="9525">
            <a:noFill/>
            <a:miter lim="800000"/>
            <a:headEnd/>
            <a:tailEnd/>
          </a:ln>
        </p:spPr>
        <p:txBody>
          <a:bodyPr rIns="0" bIns="0">
            <a:normAutofit/>
          </a:bodyPr>
          <a:lstStyle>
            <a:lvl1pPr>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8" name="Content Placeholder 2"/>
          <p:cNvSpPr>
            <a:spLocks noGrp="1"/>
          </p:cNvSpPr>
          <p:nvPr>
            <p:ph idx="18"/>
          </p:nvPr>
        </p:nvSpPr>
        <p:spPr>
          <a:xfrm>
            <a:off x="1461244" y="4174042"/>
            <a:ext cx="7297064" cy="270000"/>
          </a:xfrm>
          <a:noFill/>
          <a:ln w="9525">
            <a:noFill/>
            <a:miter lim="800000"/>
            <a:headEnd/>
            <a:tailEnd/>
          </a:ln>
        </p:spPr>
        <p:txBody>
          <a:bodyPr rIns="0" bIns="0">
            <a:normAutofit/>
          </a:bodyPr>
          <a:lstStyle>
            <a:lvl1pPr>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9" name="Text Placeholder 13"/>
          <p:cNvSpPr>
            <a:spLocks noGrp="1"/>
          </p:cNvSpPr>
          <p:nvPr>
            <p:ph type="body" sz="quarter" idx="19"/>
          </p:nvPr>
        </p:nvSpPr>
        <p:spPr>
          <a:xfrm>
            <a:off x="358721" y="1446398"/>
            <a:ext cx="914241" cy="270000"/>
          </a:xfrm>
          <a:noFill/>
          <a:ln w="9525">
            <a:noFill/>
            <a:miter lim="800000"/>
            <a:headEnd/>
            <a:tailEnd/>
          </a:ln>
        </p:spPr>
        <p:txBody>
          <a:bodyPr/>
          <a:lstStyle>
            <a:lvl1pPr>
              <a:buNone/>
              <a:defRPr lang="en-GB" sz="3600" dirty="0" smtClean="0">
                <a:solidFill>
                  <a:schemeClr val="tx2"/>
                </a:solidFill>
                <a:latin typeface="Arial" pitchFamily="34" charset="0"/>
                <a:ea typeface="+mn-ea"/>
                <a:cs typeface="+mn-cs"/>
              </a:defRPr>
            </a:lvl1pPr>
          </a:lstStyle>
          <a:p>
            <a:pPr lvl="0"/>
            <a:endParaRPr lang="en-US" dirty="0"/>
          </a:p>
        </p:txBody>
      </p:sp>
      <p:sp>
        <p:nvSpPr>
          <p:cNvPr id="20" name="Text Placeholder 13"/>
          <p:cNvSpPr>
            <a:spLocks noGrp="1"/>
          </p:cNvSpPr>
          <p:nvPr>
            <p:ph type="body" sz="quarter" idx="20"/>
          </p:nvPr>
        </p:nvSpPr>
        <p:spPr>
          <a:xfrm>
            <a:off x="358721" y="1892670"/>
            <a:ext cx="914241" cy="270000"/>
          </a:xfrm>
          <a:noFill/>
          <a:ln w="9525">
            <a:noFill/>
            <a:miter lim="800000"/>
            <a:headEnd/>
            <a:tailEnd/>
          </a:ln>
        </p:spPr>
        <p:txBody>
          <a:bodyPr/>
          <a:lstStyle>
            <a:lvl1pPr>
              <a:buNone/>
              <a:defRPr lang="en-GB" sz="3600" dirty="0" smtClean="0">
                <a:solidFill>
                  <a:schemeClr val="tx2"/>
                </a:solidFill>
                <a:latin typeface="Arial" pitchFamily="34" charset="0"/>
                <a:ea typeface="+mn-ea"/>
                <a:cs typeface="+mn-cs"/>
              </a:defRPr>
            </a:lvl1pPr>
          </a:lstStyle>
          <a:p>
            <a:pPr lvl="0"/>
            <a:r>
              <a:rPr lang="en-US" dirty="0"/>
              <a:t>Click to edit Master text styles</a:t>
            </a:r>
          </a:p>
        </p:txBody>
      </p:sp>
      <p:sp>
        <p:nvSpPr>
          <p:cNvPr id="21" name="Text Placeholder 13"/>
          <p:cNvSpPr>
            <a:spLocks noGrp="1"/>
          </p:cNvSpPr>
          <p:nvPr>
            <p:ph type="body" sz="quarter" idx="21"/>
          </p:nvPr>
        </p:nvSpPr>
        <p:spPr>
          <a:xfrm>
            <a:off x="358721" y="2338943"/>
            <a:ext cx="914241" cy="270000"/>
          </a:xfrm>
          <a:noFill/>
          <a:ln w="9525">
            <a:noFill/>
            <a:miter lim="800000"/>
            <a:headEnd/>
            <a:tailEnd/>
          </a:ln>
        </p:spPr>
        <p:txBody>
          <a:bodyPr/>
          <a:lstStyle>
            <a:lvl1pPr>
              <a:buNone/>
              <a:defRPr lang="en-GB" sz="3600" dirty="0" smtClean="0">
                <a:solidFill>
                  <a:schemeClr val="tx2"/>
                </a:solidFill>
                <a:latin typeface="Arial" pitchFamily="34" charset="0"/>
                <a:ea typeface="+mn-ea"/>
                <a:cs typeface="+mn-cs"/>
              </a:defRPr>
            </a:lvl1pPr>
          </a:lstStyle>
          <a:p>
            <a:pPr lvl="0"/>
            <a:r>
              <a:rPr lang="en-US" dirty="0"/>
              <a:t>Click to edit Master text styles</a:t>
            </a:r>
          </a:p>
        </p:txBody>
      </p:sp>
      <p:sp>
        <p:nvSpPr>
          <p:cNvPr id="22" name="Text Placeholder 13"/>
          <p:cNvSpPr>
            <a:spLocks noGrp="1"/>
          </p:cNvSpPr>
          <p:nvPr>
            <p:ph type="body" sz="quarter" idx="22"/>
          </p:nvPr>
        </p:nvSpPr>
        <p:spPr>
          <a:xfrm>
            <a:off x="358721" y="2785215"/>
            <a:ext cx="914241" cy="270000"/>
          </a:xfrm>
          <a:noFill/>
          <a:ln w="9525">
            <a:noFill/>
            <a:miter lim="800000"/>
            <a:headEnd/>
            <a:tailEnd/>
          </a:ln>
        </p:spPr>
        <p:txBody>
          <a:bodyPr/>
          <a:lstStyle>
            <a:lvl1pPr>
              <a:buNone/>
              <a:defRPr lang="en-GB" sz="3600" dirty="0" smtClean="0">
                <a:solidFill>
                  <a:schemeClr val="tx2"/>
                </a:solidFill>
                <a:latin typeface="Arial" pitchFamily="34" charset="0"/>
                <a:ea typeface="+mn-ea"/>
                <a:cs typeface="+mn-cs"/>
              </a:defRPr>
            </a:lvl1pPr>
          </a:lstStyle>
          <a:p>
            <a:pPr lvl="0"/>
            <a:r>
              <a:rPr lang="en-US" dirty="0"/>
              <a:t>Click to edit Master text styles</a:t>
            </a:r>
          </a:p>
        </p:txBody>
      </p:sp>
      <p:sp>
        <p:nvSpPr>
          <p:cNvPr id="23" name="Text Placeholder 13"/>
          <p:cNvSpPr>
            <a:spLocks noGrp="1"/>
          </p:cNvSpPr>
          <p:nvPr>
            <p:ph type="body" sz="quarter" idx="23"/>
          </p:nvPr>
        </p:nvSpPr>
        <p:spPr>
          <a:xfrm>
            <a:off x="358721" y="3231488"/>
            <a:ext cx="914241" cy="270000"/>
          </a:xfrm>
          <a:noFill/>
          <a:ln w="9525">
            <a:noFill/>
            <a:miter lim="800000"/>
            <a:headEnd/>
            <a:tailEnd/>
          </a:ln>
        </p:spPr>
        <p:txBody>
          <a:bodyPr/>
          <a:lstStyle>
            <a:lvl1pPr>
              <a:buNone/>
              <a:defRPr lang="en-GB" sz="3600" dirty="0" smtClean="0">
                <a:solidFill>
                  <a:schemeClr val="tx2"/>
                </a:solidFill>
                <a:latin typeface="Arial" pitchFamily="34" charset="0"/>
                <a:ea typeface="+mn-ea"/>
                <a:cs typeface="+mn-cs"/>
              </a:defRPr>
            </a:lvl1pPr>
          </a:lstStyle>
          <a:p>
            <a:pPr lvl="0"/>
            <a:r>
              <a:rPr lang="en-US" dirty="0"/>
              <a:t>Click to edit Master text styles</a:t>
            </a:r>
          </a:p>
        </p:txBody>
      </p:sp>
      <p:sp>
        <p:nvSpPr>
          <p:cNvPr id="24" name="Text Placeholder 13"/>
          <p:cNvSpPr>
            <a:spLocks noGrp="1"/>
          </p:cNvSpPr>
          <p:nvPr>
            <p:ph type="body" sz="quarter" idx="24"/>
          </p:nvPr>
        </p:nvSpPr>
        <p:spPr>
          <a:xfrm>
            <a:off x="358721" y="3677760"/>
            <a:ext cx="914241" cy="270000"/>
          </a:xfrm>
          <a:noFill/>
          <a:ln w="9525">
            <a:noFill/>
            <a:miter lim="800000"/>
            <a:headEnd/>
            <a:tailEnd/>
          </a:ln>
        </p:spPr>
        <p:txBody>
          <a:bodyPr/>
          <a:lstStyle>
            <a:lvl1pPr>
              <a:buNone/>
              <a:defRPr lang="en-GB" sz="3600" dirty="0" smtClean="0">
                <a:solidFill>
                  <a:schemeClr val="tx2"/>
                </a:solidFill>
                <a:latin typeface="Arial" pitchFamily="34" charset="0"/>
                <a:ea typeface="+mn-ea"/>
                <a:cs typeface="+mn-cs"/>
              </a:defRPr>
            </a:lvl1pPr>
          </a:lstStyle>
          <a:p>
            <a:pPr lvl="0"/>
            <a:r>
              <a:rPr lang="en-US" dirty="0"/>
              <a:t>Click to edit Master text styles</a:t>
            </a:r>
          </a:p>
        </p:txBody>
      </p:sp>
      <p:sp>
        <p:nvSpPr>
          <p:cNvPr id="25" name="Text Placeholder 13"/>
          <p:cNvSpPr>
            <a:spLocks noGrp="1"/>
          </p:cNvSpPr>
          <p:nvPr>
            <p:ph type="body" sz="quarter" idx="25"/>
          </p:nvPr>
        </p:nvSpPr>
        <p:spPr>
          <a:xfrm>
            <a:off x="358721" y="4124034"/>
            <a:ext cx="914241" cy="270000"/>
          </a:xfrm>
          <a:noFill/>
          <a:ln w="9525">
            <a:noFill/>
            <a:miter lim="800000"/>
            <a:headEnd/>
            <a:tailEnd/>
          </a:ln>
        </p:spPr>
        <p:txBody>
          <a:bodyPr/>
          <a:lstStyle>
            <a:lvl1pPr>
              <a:buNone/>
              <a:defRPr lang="en-GB" sz="3600" dirty="0" smtClean="0">
                <a:solidFill>
                  <a:schemeClr val="tx2"/>
                </a:solidFill>
                <a:latin typeface="Arial" pitchFamily="34" charset="0"/>
                <a:ea typeface="+mn-ea"/>
                <a:cs typeface="+mn-cs"/>
              </a:defRPr>
            </a:lvl1pPr>
          </a:lstStyle>
          <a:p>
            <a:pPr lvl="0"/>
            <a:r>
              <a:rPr lang="en-US" dirty="0"/>
              <a:t>Click to edit Master text styles</a:t>
            </a:r>
          </a:p>
        </p:txBody>
      </p:sp>
      <p:sp>
        <p:nvSpPr>
          <p:cNvPr id="26" name="Slide Number Placeholder 25"/>
          <p:cNvSpPr>
            <a:spLocks noGrp="1"/>
          </p:cNvSpPr>
          <p:nvPr>
            <p:ph type="sldNum" sz="quarter" idx="26"/>
          </p:nvPr>
        </p:nvSpPr>
        <p:spPr/>
        <p:txBody>
          <a:bodyPr/>
          <a:lstStyle>
            <a:lvl1pPr algn="l" eaLnBrk="1" hangingPunct="1">
              <a:defRPr/>
            </a:lvl1pPr>
          </a:lstStyle>
          <a:p>
            <a:pPr>
              <a:defRPr/>
            </a:pPr>
            <a:fld id="{04A1C145-9359-4E3E-BEB4-400964A52C92}" type="slidenum">
              <a:rPr lang="es-ES"/>
              <a:pPr>
                <a:defRPr/>
              </a:pPr>
              <a:t>‹#›</a:t>
            </a:fld>
            <a:endParaRPr lang="es-ES"/>
          </a:p>
        </p:txBody>
      </p:sp>
      <p:sp>
        <p:nvSpPr>
          <p:cNvPr id="27" name="Footer Placeholder 26"/>
          <p:cNvSpPr>
            <a:spLocks noGrp="1"/>
          </p:cNvSpPr>
          <p:nvPr>
            <p:ph type="ftr" sz="quarter" idx="27"/>
          </p:nvPr>
        </p:nvSpPr>
        <p:spPr/>
        <p:txBody>
          <a:bodyPr/>
          <a:lstStyle>
            <a:lvl1pPr>
              <a:defRPr/>
            </a:lvl1pPr>
          </a:lstStyle>
          <a:p>
            <a:pPr>
              <a:defRPr/>
            </a:pPr>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Products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11" name="Picture Placeholder 16"/>
          <p:cNvSpPr>
            <a:spLocks noGrp="1"/>
          </p:cNvSpPr>
          <p:nvPr>
            <p:ph type="pic" sz="quarter" idx="15"/>
          </p:nvPr>
        </p:nvSpPr>
        <p:spPr>
          <a:xfrm>
            <a:off x="594404" y="1268744"/>
            <a:ext cx="1920240" cy="1508760"/>
          </a:xfrm>
          <a:solidFill>
            <a:schemeClr val="tx2">
              <a:lumMod val="85000"/>
            </a:schemeClr>
          </a:solidFill>
          <a:ln>
            <a:noFill/>
          </a:ln>
        </p:spPr>
        <p:txBody>
          <a:bodyPr anchor="ctr" anchorCtr="0"/>
          <a:lstStyle>
            <a:lvl1pPr algn="ctr">
              <a:defRPr/>
            </a:lvl1pPr>
          </a:lstStyle>
          <a:p>
            <a:endParaRPr lang="en-US" dirty="0"/>
          </a:p>
        </p:txBody>
      </p:sp>
      <p:sp>
        <p:nvSpPr>
          <p:cNvPr id="12" name="Picture Placeholder 16"/>
          <p:cNvSpPr>
            <a:spLocks noGrp="1"/>
          </p:cNvSpPr>
          <p:nvPr>
            <p:ph type="pic" sz="quarter" idx="16"/>
          </p:nvPr>
        </p:nvSpPr>
        <p:spPr>
          <a:xfrm>
            <a:off x="4709117" y="1268744"/>
            <a:ext cx="1920240" cy="1508760"/>
          </a:xfrm>
          <a:solidFill>
            <a:schemeClr val="tx2">
              <a:lumMod val="85000"/>
            </a:schemeClr>
          </a:solidFill>
          <a:ln>
            <a:noFill/>
          </a:ln>
        </p:spPr>
        <p:txBody>
          <a:bodyPr anchor="ctr" anchorCtr="0"/>
          <a:lstStyle>
            <a:lvl1pPr algn="ctr">
              <a:defRPr/>
            </a:lvl1pPr>
          </a:lstStyle>
          <a:p>
            <a:endParaRPr lang="en-US" dirty="0"/>
          </a:p>
        </p:txBody>
      </p:sp>
      <p:sp>
        <p:nvSpPr>
          <p:cNvPr id="13" name="Picture Placeholder 16"/>
          <p:cNvSpPr>
            <a:spLocks noGrp="1"/>
          </p:cNvSpPr>
          <p:nvPr>
            <p:ph type="pic" sz="quarter" idx="17"/>
          </p:nvPr>
        </p:nvSpPr>
        <p:spPr>
          <a:xfrm>
            <a:off x="594425" y="3051805"/>
            <a:ext cx="1920240" cy="1508760"/>
          </a:xfrm>
          <a:solidFill>
            <a:schemeClr val="tx2">
              <a:lumMod val="85000"/>
            </a:schemeClr>
          </a:solidFill>
          <a:ln>
            <a:noFill/>
          </a:ln>
        </p:spPr>
        <p:txBody>
          <a:bodyPr anchor="ctr" anchorCtr="0"/>
          <a:lstStyle>
            <a:lvl1pPr algn="ctr">
              <a:defRPr/>
            </a:lvl1pPr>
          </a:lstStyle>
          <a:p>
            <a:endParaRPr lang="en-US" dirty="0"/>
          </a:p>
        </p:txBody>
      </p:sp>
      <p:sp>
        <p:nvSpPr>
          <p:cNvPr id="14" name="Picture Placeholder 16"/>
          <p:cNvSpPr>
            <a:spLocks noGrp="1"/>
          </p:cNvSpPr>
          <p:nvPr>
            <p:ph type="pic" sz="quarter" idx="18"/>
          </p:nvPr>
        </p:nvSpPr>
        <p:spPr>
          <a:xfrm>
            <a:off x="4709138" y="3051805"/>
            <a:ext cx="1920240" cy="150876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175665663"/>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Detailed Product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15" name="Picture Placeholder 16"/>
          <p:cNvSpPr>
            <a:spLocks noGrp="1"/>
          </p:cNvSpPr>
          <p:nvPr>
            <p:ph type="pic" sz="quarter" idx="15"/>
          </p:nvPr>
        </p:nvSpPr>
        <p:spPr>
          <a:xfrm>
            <a:off x="662963" y="1337288"/>
            <a:ext cx="4389093" cy="3223260"/>
          </a:xfrm>
          <a:solidFill>
            <a:schemeClr val="tx2">
              <a:lumMod val="85000"/>
            </a:schemeClr>
          </a:solidFill>
          <a:ln>
            <a:noFill/>
          </a:ln>
          <a:effectLst/>
        </p:spPr>
        <p:txBody>
          <a:bodyPr anchor="ctr" anchorCtr="0"/>
          <a:lstStyle>
            <a:lvl1pPr algn="ctr">
              <a:defRPr/>
            </a:lvl1pPr>
          </a:lstStyle>
          <a:p>
            <a:endParaRPr lang="en-US" dirty="0"/>
          </a:p>
        </p:txBody>
      </p:sp>
    </p:spTree>
    <p:extLst>
      <p:ext uri="{BB962C8B-B14F-4D97-AF65-F5344CB8AC3E}">
        <p14:creationId xmlns:p14="http://schemas.microsoft.com/office/powerpoint/2010/main" val="3994189381"/>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Services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14" name="Rectangle 13"/>
          <p:cNvSpPr/>
          <p:nvPr userDrawn="1"/>
        </p:nvSpPr>
        <p:spPr>
          <a:xfrm>
            <a:off x="2185438" y="1268979"/>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15" name="Rectangle 14"/>
          <p:cNvSpPr/>
          <p:nvPr userDrawn="1"/>
        </p:nvSpPr>
        <p:spPr>
          <a:xfrm>
            <a:off x="5367506" y="1268979"/>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16" name="Rectangle 15"/>
          <p:cNvSpPr/>
          <p:nvPr userDrawn="1"/>
        </p:nvSpPr>
        <p:spPr>
          <a:xfrm>
            <a:off x="594404" y="2915019"/>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9" name="Rectangle 28"/>
          <p:cNvSpPr/>
          <p:nvPr userDrawn="1"/>
        </p:nvSpPr>
        <p:spPr>
          <a:xfrm>
            <a:off x="3776472" y="2915019"/>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30" name="Rectangle 29"/>
          <p:cNvSpPr/>
          <p:nvPr userDrawn="1"/>
        </p:nvSpPr>
        <p:spPr>
          <a:xfrm>
            <a:off x="6958541" y="2915019"/>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32" name="Picture Placeholder 3"/>
          <p:cNvSpPr>
            <a:spLocks noGrp="1"/>
          </p:cNvSpPr>
          <p:nvPr>
            <p:ph type="pic" sz="quarter" idx="14"/>
          </p:nvPr>
        </p:nvSpPr>
        <p:spPr>
          <a:xfrm>
            <a:off x="2185438" y="1268744"/>
            <a:ext cx="1591056" cy="1645920"/>
          </a:xfrm>
          <a:solidFill>
            <a:schemeClr val="tx2">
              <a:lumMod val="85000"/>
            </a:schemeClr>
          </a:solidFill>
        </p:spPr>
        <p:txBody>
          <a:bodyPr anchor="ctr" anchorCtr="0"/>
          <a:lstStyle>
            <a:lvl1pPr algn="ctr">
              <a:defRPr/>
            </a:lvl1pPr>
          </a:lstStyle>
          <a:p>
            <a:endParaRPr lang="en-US" dirty="0"/>
          </a:p>
        </p:txBody>
      </p:sp>
      <p:sp>
        <p:nvSpPr>
          <p:cNvPr id="34" name="Picture Placeholder 3"/>
          <p:cNvSpPr>
            <a:spLocks noGrp="1"/>
          </p:cNvSpPr>
          <p:nvPr>
            <p:ph type="pic" sz="quarter" idx="16"/>
          </p:nvPr>
        </p:nvSpPr>
        <p:spPr>
          <a:xfrm>
            <a:off x="5367506" y="1268780"/>
            <a:ext cx="1591056" cy="1645920"/>
          </a:xfrm>
          <a:solidFill>
            <a:schemeClr val="tx2">
              <a:lumMod val="85000"/>
            </a:schemeClr>
          </a:solidFill>
        </p:spPr>
        <p:txBody>
          <a:bodyPr anchor="ctr" anchorCtr="0"/>
          <a:lstStyle>
            <a:lvl1pPr algn="ctr">
              <a:defRPr/>
            </a:lvl1pPr>
          </a:lstStyle>
          <a:p>
            <a:endParaRPr lang="en-US" dirty="0"/>
          </a:p>
        </p:txBody>
      </p:sp>
      <p:sp>
        <p:nvSpPr>
          <p:cNvPr id="36" name="Picture Placeholder 3"/>
          <p:cNvSpPr>
            <a:spLocks noGrp="1"/>
          </p:cNvSpPr>
          <p:nvPr>
            <p:ph type="pic" sz="quarter" idx="18"/>
          </p:nvPr>
        </p:nvSpPr>
        <p:spPr>
          <a:xfrm>
            <a:off x="594404" y="2914646"/>
            <a:ext cx="1591056" cy="1645920"/>
          </a:xfrm>
          <a:solidFill>
            <a:schemeClr val="tx2">
              <a:lumMod val="85000"/>
            </a:schemeClr>
          </a:solidFill>
        </p:spPr>
        <p:txBody>
          <a:bodyPr anchor="ctr" anchorCtr="0"/>
          <a:lstStyle>
            <a:lvl1pPr algn="ctr">
              <a:defRPr/>
            </a:lvl1pPr>
          </a:lstStyle>
          <a:p>
            <a:endParaRPr lang="en-US" dirty="0"/>
          </a:p>
        </p:txBody>
      </p:sp>
      <p:sp>
        <p:nvSpPr>
          <p:cNvPr id="38" name="Picture Placeholder 3"/>
          <p:cNvSpPr>
            <a:spLocks noGrp="1"/>
          </p:cNvSpPr>
          <p:nvPr>
            <p:ph type="pic" sz="quarter" idx="20"/>
          </p:nvPr>
        </p:nvSpPr>
        <p:spPr>
          <a:xfrm>
            <a:off x="3776472" y="2914682"/>
            <a:ext cx="1591056" cy="1645920"/>
          </a:xfrm>
          <a:solidFill>
            <a:schemeClr val="tx2">
              <a:lumMod val="85000"/>
            </a:schemeClr>
          </a:solidFill>
        </p:spPr>
        <p:txBody>
          <a:bodyPr anchor="ctr" anchorCtr="0"/>
          <a:lstStyle>
            <a:lvl1pPr algn="ctr">
              <a:defRPr/>
            </a:lvl1pPr>
          </a:lstStyle>
          <a:p>
            <a:endParaRPr lang="en-US" dirty="0"/>
          </a:p>
        </p:txBody>
      </p:sp>
      <p:sp>
        <p:nvSpPr>
          <p:cNvPr id="40" name="Picture Placeholder 3"/>
          <p:cNvSpPr>
            <a:spLocks noGrp="1"/>
          </p:cNvSpPr>
          <p:nvPr>
            <p:ph type="pic" sz="quarter" idx="22"/>
          </p:nvPr>
        </p:nvSpPr>
        <p:spPr>
          <a:xfrm>
            <a:off x="6958541" y="2914718"/>
            <a:ext cx="1591056" cy="164592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34040781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Services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32" name="Picture Placeholder 3"/>
          <p:cNvSpPr>
            <a:spLocks noGrp="1"/>
          </p:cNvSpPr>
          <p:nvPr>
            <p:ph type="pic" sz="quarter" idx="14"/>
          </p:nvPr>
        </p:nvSpPr>
        <p:spPr>
          <a:xfrm>
            <a:off x="594384" y="1268744"/>
            <a:ext cx="1783080" cy="1645920"/>
          </a:xfrm>
          <a:solidFill>
            <a:schemeClr val="tx2">
              <a:lumMod val="85000"/>
            </a:schemeClr>
          </a:solidFill>
          <a:ln>
            <a:solidFill>
              <a:schemeClr val="tx2">
                <a:lumMod val="90000"/>
                <a:lumOff val="10000"/>
              </a:schemeClr>
            </a:solidFill>
          </a:ln>
        </p:spPr>
        <p:txBody>
          <a:bodyPr anchor="ctr" anchorCtr="0"/>
          <a:lstStyle>
            <a:lvl1pPr algn="ctr">
              <a:defRPr/>
            </a:lvl1pPr>
          </a:lstStyle>
          <a:p>
            <a:endParaRPr lang="en-US" dirty="0"/>
          </a:p>
        </p:txBody>
      </p:sp>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23" name="Picture Placeholder 3"/>
          <p:cNvSpPr>
            <a:spLocks noGrp="1"/>
          </p:cNvSpPr>
          <p:nvPr>
            <p:ph type="pic" sz="quarter" idx="15"/>
          </p:nvPr>
        </p:nvSpPr>
        <p:spPr>
          <a:xfrm>
            <a:off x="2377464" y="1268744"/>
            <a:ext cx="1783080" cy="1645920"/>
          </a:xfrm>
          <a:solidFill>
            <a:schemeClr val="tx2">
              <a:lumMod val="85000"/>
            </a:schemeClr>
          </a:solidFill>
          <a:ln>
            <a:solidFill>
              <a:schemeClr val="tx2">
                <a:lumMod val="90000"/>
                <a:lumOff val="10000"/>
              </a:schemeClr>
            </a:solidFill>
          </a:ln>
        </p:spPr>
        <p:txBody>
          <a:bodyPr anchor="ctr" anchorCtr="0"/>
          <a:lstStyle>
            <a:lvl1pPr algn="ctr">
              <a:defRPr/>
            </a:lvl1pPr>
          </a:lstStyle>
          <a:p>
            <a:endParaRPr lang="en-US" dirty="0"/>
          </a:p>
        </p:txBody>
      </p:sp>
      <p:sp>
        <p:nvSpPr>
          <p:cNvPr id="24" name="Picture Placeholder 3"/>
          <p:cNvSpPr>
            <a:spLocks noGrp="1"/>
          </p:cNvSpPr>
          <p:nvPr>
            <p:ph type="pic" sz="quarter" idx="16"/>
          </p:nvPr>
        </p:nvSpPr>
        <p:spPr>
          <a:xfrm>
            <a:off x="594404" y="2914646"/>
            <a:ext cx="3566160" cy="1645920"/>
          </a:xfrm>
          <a:solidFill>
            <a:schemeClr val="tx2">
              <a:lumMod val="85000"/>
            </a:schemeClr>
          </a:solidFill>
          <a:ln>
            <a:solidFill>
              <a:schemeClr val="tx2">
                <a:lumMod val="90000"/>
                <a:lumOff val="10000"/>
              </a:schemeClr>
            </a:solid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206594490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Services Detail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4" name="Picture Placeholder 3"/>
          <p:cNvSpPr>
            <a:spLocks noGrp="1"/>
          </p:cNvSpPr>
          <p:nvPr>
            <p:ph type="pic" sz="quarter" idx="16"/>
          </p:nvPr>
        </p:nvSpPr>
        <p:spPr>
          <a:xfrm>
            <a:off x="594403" y="1268744"/>
            <a:ext cx="1988840" cy="3291840"/>
          </a:xfrm>
          <a:solidFill>
            <a:schemeClr val="tx2">
              <a:lumMod val="85000"/>
            </a:schemeClr>
          </a:solidFill>
          <a:ln>
            <a:noFill/>
          </a:ln>
        </p:spPr>
        <p:txBody>
          <a:bodyPr anchor="ctr" anchorCtr="0"/>
          <a:lstStyle>
            <a:lvl1pPr algn="ctr">
              <a:defRPr/>
            </a:lvl1pPr>
          </a:lstStyle>
          <a:p>
            <a:endParaRPr lang="en-US" dirty="0"/>
          </a:p>
        </p:txBody>
      </p:sp>
      <p:sp>
        <p:nvSpPr>
          <p:cNvPr id="13" name="Picture Placeholder 3"/>
          <p:cNvSpPr>
            <a:spLocks noGrp="1"/>
          </p:cNvSpPr>
          <p:nvPr>
            <p:ph type="pic" sz="quarter" idx="15"/>
          </p:nvPr>
        </p:nvSpPr>
        <p:spPr>
          <a:xfrm>
            <a:off x="4571959" y="1268744"/>
            <a:ext cx="1988840" cy="3291840"/>
          </a:xfrm>
          <a:solidFill>
            <a:schemeClr val="tx2">
              <a:lumMod val="85000"/>
            </a:schemeClr>
          </a:solidFill>
          <a:ln>
            <a:noFill/>
          </a:ln>
        </p:spPr>
        <p:txBody>
          <a:bodyPr anchor="ctr" anchorCtr="0"/>
          <a:lstStyle>
            <a:lvl1pPr algn="ctr">
              <a:defRPr/>
            </a:lvl1pPr>
          </a:lstStyle>
          <a:p>
            <a:endParaRPr lang="en-US" dirty="0"/>
          </a:p>
        </p:txBody>
      </p:sp>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540342942"/>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WOT Analysis">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383409" y="2846066"/>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20" name="Rectangle 19"/>
          <p:cNvSpPr/>
          <p:nvPr userDrawn="1"/>
        </p:nvSpPr>
        <p:spPr>
          <a:xfrm>
            <a:off x="0" y="3188963"/>
            <a:ext cx="9144000" cy="1954536"/>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Tree>
    <p:extLst>
      <p:ext uri="{BB962C8B-B14F-4D97-AF65-F5344CB8AC3E}">
        <p14:creationId xmlns:p14="http://schemas.microsoft.com/office/powerpoint/2010/main" val="2944911239"/>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Portfolio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3200427" y="1131584"/>
            <a:ext cx="2743171" cy="2057400"/>
          </a:xfrm>
          <a:solidFill>
            <a:schemeClr val="tx2">
              <a:lumMod val="85000"/>
            </a:schemeClr>
          </a:solidFill>
          <a:ln w="6350">
            <a:noFill/>
          </a:ln>
        </p:spPr>
        <p:txBody>
          <a:bodyPr anchor="ctr" anchorCtr="0"/>
          <a:lstStyle>
            <a:lvl1pPr algn="ctr">
              <a:defRPr/>
            </a:lvl1pPr>
          </a:lstStyle>
          <a:p>
            <a:endParaRPr lang="en-US" dirty="0"/>
          </a:p>
        </p:txBody>
      </p:sp>
      <p:sp>
        <p:nvSpPr>
          <p:cNvPr id="21" name="Picture Placeholder 3"/>
          <p:cNvSpPr>
            <a:spLocks noGrp="1"/>
          </p:cNvSpPr>
          <p:nvPr>
            <p:ph type="pic" sz="quarter" idx="11"/>
          </p:nvPr>
        </p:nvSpPr>
        <p:spPr>
          <a:xfrm>
            <a:off x="594132" y="2914406"/>
            <a:ext cx="2606293" cy="1783080"/>
          </a:xfrm>
          <a:solidFill>
            <a:schemeClr val="tx2">
              <a:lumMod val="85000"/>
            </a:schemeClr>
          </a:solidFill>
          <a:ln w="6350">
            <a:noFill/>
          </a:ln>
        </p:spPr>
        <p:txBody>
          <a:bodyPr anchor="ctr" anchorCtr="0"/>
          <a:lstStyle>
            <a:lvl1pPr algn="ctr">
              <a:defRPr/>
            </a:lvl1pPr>
          </a:lstStyle>
          <a:p>
            <a:endParaRPr lang="en-US" dirty="0"/>
          </a:p>
        </p:txBody>
      </p:sp>
      <p:sp>
        <p:nvSpPr>
          <p:cNvPr id="22" name="Picture Placeholder 3"/>
          <p:cNvSpPr>
            <a:spLocks noGrp="1"/>
          </p:cNvSpPr>
          <p:nvPr>
            <p:ph type="pic" sz="quarter" idx="12"/>
          </p:nvPr>
        </p:nvSpPr>
        <p:spPr>
          <a:xfrm>
            <a:off x="5943585" y="2914406"/>
            <a:ext cx="2606296" cy="1782819"/>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164044149"/>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Portfolio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32" name="Picture Placeholder 31"/>
          <p:cNvSpPr>
            <a:spLocks noGrp="1"/>
          </p:cNvSpPr>
          <p:nvPr>
            <p:ph type="pic" sz="quarter" idx="10"/>
          </p:nvPr>
        </p:nvSpPr>
        <p:spPr>
          <a:xfrm>
            <a:off x="594405" y="1131588"/>
            <a:ext cx="1988776" cy="1782820"/>
          </a:xfrm>
          <a:custGeom>
            <a:avLst/>
            <a:gdLst>
              <a:gd name="connsiteX0" fmla="*/ 1371571 w 2651701"/>
              <a:gd name="connsiteY0" fmla="*/ 321 h 2377093"/>
              <a:gd name="connsiteX1" fmla="*/ 2651701 w 2651701"/>
              <a:gd name="connsiteY1" fmla="*/ 321 h 2377093"/>
              <a:gd name="connsiteX2" fmla="*/ 2651701 w 2651701"/>
              <a:gd name="connsiteY2" fmla="*/ 2377093 h 2377093"/>
              <a:gd name="connsiteX3" fmla="*/ 1371571 w 2651701"/>
              <a:gd name="connsiteY3" fmla="*/ 2377093 h 2377093"/>
              <a:gd name="connsiteX4" fmla="*/ 0 w 2651701"/>
              <a:gd name="connsiteY4" fmla="*/ 0 h 2377093"/>
              <a:gd name="connsiteX5" fmla="*/ 1280160 w 2651701"/>
              <a:gd name="connsiteY5" fmla="*/ 0 h 2377093"/>
              <a:gd name="connsiteX6" fmla="*/ 1280160 w 2651701"/>
              <a:gd name="connsiteY6" fmla="*/ 2377093 h 2377093"/>
              <a:gd name="connsiteX7" fmla="*/ 0 w 2651701"/>
              <a:gd name="connsiteY7" fmla="*/ 2377093 h 237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1701" h="2377093">
                <a:moveTo>
                  <a:pt x="1371571" y="321"/>
                </a:moveTo>
                <a:lnTo>
                  <a:pt x="2651701" y="321"/>
                </a:lnTo>
                <a:lnTo>
                  <a:pt x="2651701" y="2377093"/>
                </a:lnTo>
                <a:lnTo>
                  <a:pt x="1371571" y="2377093"/>
                </a:lnTo>
                <a:close/>
                <a:moveTo>
                  <a:pt x="0" y="0"/>
                </a:moveTo>
                <a:lnTo>
                  <a:pt x="1280160" y="0"/>
                </a:lnTo>
                <a:lnTo>
                  <a:pt x="1280160" y="2377093"/>
                </a:lnTo>
                <a:lnTo>
                  <a:pt x="0" y="2377093"/>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58" name="Picture Placeholder 57"/>
          <p:cNvSpPr>
            <a:spLocks noGrp="1"/>
          </p:cNvSpPr>
          <p:nvPr>
            <p:ph type="pic" sz="quarter" idx="11"/>
          </p:nvPr>
        </p:nvSpPr>
        <p:spPr>
          <a:xfrm>
            <a:off x="594404" y="2914647"/>
            <a:ext cx="4046175" cy="1714490"/>
          </a:xfrm>
          <a:custGeom>
            <a:avLst/>
            <a:gdLst>
              <a:gd name="connsiteX0" fmla="*/ 2743168 w 5394900"/>
              <a:gd name="connsiteY0" fmla="*/ 1188707 h 2285987"/>
              <a:gd name="connsiteX1" fmla="*/ 4114754 w 5394900"/>
              <a:gd name="connsiteY1" fmla="*/ 1188707 h 2285987"/>
              <a:gd name="connsiteX2" fmla="*/ 4297631 w 5394900"/>
              <a:gd name="connsiteY2" fmla="*/ 1188707 h 2285987"/>
              <a:gd name="connsiteX3" fmla="*/ 5394900 w 5394900"/>
              <a:gd name="connsiteY3" fmla="*/ 1188707 h 2285987"/>
              <a:gd name="connsiteX4" fmla="*/ 5394900 w 5394900"/>
              <a:gd name="connsiteY4" fmla="*/ 2285987 h 2285987"/>
              <a:gd name="connsiteX5" fmla="*/ 4297631 w 5394900"/>
              <a:gd name="connsiteY5" fmla="*/ 2285987 h 2285987"/>
              <a:gd name="connsiteX6" fmla="*/ 4114754 w 5394900"/>
              <a:gd name="connsiteY6" fmla="*/ 2285987 h 2285987"/>
              <a:gd name="connsiteX7" fmla="*/ 2743168 w 5394900"/>
              <a:gd name="connsiteY7" fmla="*/ 2285987 h 2285987"/>
              <a:gd name="connsiteX8" fmla="*/ 1371585 w 5394900"/>
              <a:gd name="connsiteY8" fmla="*/ 1188707 h 2285987"/>
              <a:gd name="connsiteX9" fmla="*/ 2651731 w 5394900"/>
              <a:gd name="connsiteY9" fmla="*/ 1188707 h 2285987"/>
              <a:gd name="connsiteX10" fmla="*/ 2651731 w 5394900"/>
              <a:gd name="connsiteY10" fmla="*/ 2285987 h 2285987"/>
              <a:gd name="connsiteX11" fmla="*/ 1371585 w 5394900"/>
              <a:gd name="connsiteY11" fmla="*/ 2285987 h 2285987"/>
              <a:gd name="connsiteX12" fmla="*/ 0 w 5394900"/>
              <a:gd name="connsiteY12" fmla="*/ 1188707 h 2285987"/>
              <a:gd name="connsiteX13" fmla="*/ 1280146 w 5394900"/>
              <a:gd name="connsiteY13" fmla="*/ 1188707 h 2285987"/>
              <a:gd name="connsiteX14" fmla="*/ 1280146 w 5394900"/>
              <a:gd name="connsiteY14" fmla="*/ 2285987 h 2285987"/>
              <a:gd name="connsiteX15" fmla="*/ 0 w 5394900"/>
              <a:gd name="connsiteY15" fmla="*/ 2285987 h 2285987"/>
              <a:gd name="connsiteX16" fmla="*/ 1371585 w 5394900"/>
              <a:gd name="connsiteY16" fmla="*/ 0 h 2285987"/>
              <a:gd name="connsiteX17" fmla="*/ 5394900 w 5394900"/>
              <a:gd name="connsiteY17" fmla="*/ 0 h 2285987"/>
              <a:gd name="connsiteX18" fmla="*/ 5394900 w 5394900"/>
              <a:gd name="connsiteY18" fmla="*/ 1097280 h 2285987"/>
              <a:gd name="connsiteX19" fmla="*/ 1371585 w 5394900"/>
              <a:gd name="connsiteY19" fmla="*/ 1097280 h 2285987"/>
              <a:gd name="connsiteX20" fmla="*/ 0 w 5394900"/>
              <a:gd name="connsiteY20" fmla="*/ 0 h 2285987"/>
              <a:gd name="connsiteX21" fmla="*/ 1280146 w 5394900"/>
              <a:gd name="connsiteY21" fmla="*/ 0 h 2285987"/>
              <a:gd name="connsiteX22" fmla="*/ 1280146 w 5394900"/>
              <a:gd name="connsiteY22" fmla="*/ 1097280 h 2285987"/>
              <a:gd name="connsiteX23" fmla="*/ 0 w 5394900"/>
              <a:gd name="connsiteY23" fmla="*/ 1097280 h 22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94900" h="2285987">
                <a:moveTo>
                  <a:pt x="2743168" y="1188707"/>
                </a:moveTo>
                <a:lnTo>
                  <a:pt x="4114754" y="1188707"/>
                </a:lnTo>
                <a:lnTo>
                  <a:pt x="4297631" y="1188707"/>
                </a:lnTo>
                <a:lnTo>
                  <a:pt x="5394900" y="1188707"/>
                </a:lnTo>
                <a:lnTo>
                  <a:pt x="5394900" y="2285987"/>
                </a:lnTo>
                <a:lnTo>
                  <a:pt x="4297631" y="2285987"/>
                </a:lnTo>
                <a:lnTo>
                  <a:pt x="4114754" y="2285987"/>
                </a:lnTo>
                <a:lnTo>
                  <a:pt x="2743168" y="2285987"/>
                </a:lnTo>
                <a:close/>
                <a:moveTo>
                  <a:pt x="1371585" y="1188707"/>
                </a:moveTo>
                <a:lnTo>
                  <a:pt x="2651731" y="1188707"/>
                </a:lnTo>
                <a:lnTo>
                  <a:pt x="2651731" y="2285987"/>
                </a:lnTo>
                <a:lnTo>
                  <a:pt x="1371585" y="2285987"/>
                </a:lnTo>
                <a:close/>
                <a:moveTo>
                  <a:pt x="0" y="1188707"/>
                </a:moveTo>
                <a:lnTo>
                  <a:pt x="1280146" y="1188707"/>
                </a:lnTo>
                <a:lnTo>
                  <a:pt x="1280146" y="2285987"/>
                </a:lnTo>
                <a:lnTo>
                  <a:pt x="0" y="2285987"/>
                </a:lnTo>
                <a:close/>
                <a:moveTo>
                  <a:pt x="1371585" y="0"/>
                </a:moveTo>
                <a:lnTo>
                  <a:pt x="5394900" y="0"/>
                </a:lnTo>
                <a:lnTo>
                  <a:pt x="5394900" y="1097280"/>
                </a:lnTo>
                <a:lnTo>
                  <a:pt x="1371585" y="1097280"/>
                </a:lnTo>
                <a:close/>
                <a:moveTo>
                  <a:pt x="0" y="0"/>
                </a:moveTo>
                <a:lnTo>
                  <a:pt x="1280146" y="0"/>
                </a:lnTo>
                <a:lnTo>
                  <a:pt x="1280146" y="1097280"/>
                </a:lnTo>
                <a:lnTo>
                  <a:pt x="0" y="109728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59" name="Picture Placeholder 58"/>
          <p:cNvSpPr>
            <a:spLocks noGrp="1"/>
          </p:cNvSpPr>
          <p:nvPr>
            <p:ph type="pic" sz="quarter" idx="12"/>
          </p:nvPr>
        </p:nvSpPr>
        <p:spPr>
          <a:xfrm>
            <a:off x="4640591" y="1131599"/>
            <a:ext cx="3909299" cy="3497551"/>
          </a:xfrm>
          <a:custGeom>
            <a:avLst/>
            <a:gdLst>
              <a:gd name="connsiteX0" fmla="*/ 1371583 w 5212398"/>
              <a:gd name="connsiteY0" fmla="*/ 3566121 h 4663401"/>
              <a:gd name="connsiteX1" fmla="*/ 2743168 w 5212398"/>
              <a:gd name="connsiteY1" fmla="*/ 3566121 h 4663401"/>
              <a:gd name="connsiteX2" fmla="*/ 3291802 w 5212398"/>
              <a:gd name="connsiteY2" fmla="*/ 3566121 h 4663401"/>
              <a:gd name="connsiteX3" fmla="*/ 5212397 w 5212398"/>
              <a:gd name="connsiteY3" fmla="*/ 3566121 h 4663401"/>
              <a:gd name="connsiteX4" fmla="*/ 5212397 w 5212398"/>
              <a:gd name="connsiteY4" fmla="*/ 4663401 h 4663401"/>
              <a:gd name="connsiteX5" fmla="*/ 3291802 w 5212398"/>
              <a:gd name="connsiteY5" fmla="*/ 4663401 h 4663401"/>
              <a:gd name="connsiteX6" fmla="*/ 2743168 w 5212398"/>
              <a:gd name="connsiteY6" fmla="*/ 4663401 h 4663401"/>
              <a:gd name="connsiteX7" fmla="*/ 1371583 w 5212398"/>
              <a:gd name="connsiteY7" fmla="*/ 4663401 h 4663401"/>
              <a:gd name="connsiteX8" fmla="*/ 0 w 5212398"/>
              <a:gd name="connsiteY8" fmla="*/ 3566121 h 4663401"/>
              <a:gd name="connsiteX9" fmla="*/ 1280146 w 5212398"/>
              <a:gd name="connsiteY9" fmla="*/ 3566121 h 4663401"/>
              <a:gd name="connsiteX10" fmla="*/ 1280146 w 5212398"/>
              <a:gd name="connsiteY10" fmla="*/ 4663401 h 4663401"/>
              <a:gd name="connsiteX11" fmla="*/ 0 w 5212398"/>
              <a:gd name="connsiteY11" fmla="*/ 4663401 h 4663401"/>
              <a:gd name="connsiteX12" fmla="*/ 1371556 w 5212398"/>
              <a:gd name="connsiteY12" fmla="*/ 0 h 4663401"/>
              <a:gd name="connsiteX13" fmla="*/ 5212398 w 5212398"/>
              <a:gd name="connsiteY13" fmla="*/ 0 h 4663401"/>
              <a:gd name="connsiteX14" fmla="*/ 5212398 w 5212398"/>
              <a:gd name="connsiteY14" fmla="*/ 3474694 h 4663401"/>
              <a:gd name="connsiteX15" fmla="*/ 1371556 w 5212398"/>
              <a:gd name="connsiteY15" fmla="*/ 3474694 h 4663401"/>
              <a:gd name="connsiteX16" fmla="*/ 0 w 5212398"/>
              <a:gd name="connsiteY16" fmla="*/ 0 h 4663401"/>
              <a:gd name="connsiteX17" fmla="*/ 1280146 w 5212398"/>
              <a:gd name="connsiteY17" fmla="*/ 0 h 4663401"/>
              <a:gd name="connsiteX18" fmla="*/ 1280146 w 5212398"/>
              <a:gd name="connsiteY18" fmla="*/ 3474694 h 4663401"/>
              <a:gd name="connsiteX19" fmla="*/ 0 w 5212398"/>
              <a:gd name="connsiteY19" fmla="*/ 3474694 h 466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12398" h="4663401">
                <a:moveTo>
                  <a:pt x="1371583" y="3566121"/>
                </a:moveTo>
                <a:lnTo>
                  <a:pt x="2743168" y="3566121"/>
                </a:lnTo>
                <a:lnTo>
                  <a:pt x="3291802" y="3566121"/>
                </a:lnTo>
                <a:lnTo>
                  <a:pt x="5212397" y="3566121"/>
                </a:lnTo>
                <a:lnTo>
                  <a:pt x="5212397" y="4663401"/>
                </a:lnTo>
                <a:lnTo>
                  <a:pt x="3291802" y="4663401"/>
                </a:lnTo>
                <a:lnTo>
                  <a:pt x="2743168" y="4663401"/>
                </a:lnTo>
                <a:lnTo>
                  <a:pt x="1371583" y="4663401"/>
                </a:lnTo>
                <a:close/>
                <a:moveTo>
                  <a:pt x="0" y="3566121"/>
                </a:moveTo>
                <a:lnTo>
                  <a:pt x="1280146" y="3566121"/>
                </a:lnTo>
                <a:lnTo>
                  <a:pt x="1280146" y="4663401"/>
                </a:lnTo>
                <a:lnTo>
                  <a:pt x="0" y="4663401"/>
                </a:lnTo>
                <a:close/>
                <a:moveTo>
                  <a:pt x="1371556" y="0"/>
                </a:moveTo>
                <a:lnTo>
                  <a:pt x="5212398" y="0"/>
                </a:lnTo>
                <a:lnTo>
                  <a:pt x="5212398" y="3474694"/>
                </a:lnTo>
                <a:lnTo>
                  <a:pt x="1371556" y="3474694"/>
                </a:lnTo>
                <a:close/>
                <a:moveTo>
                  <a:pt x="0" y="0"/>
                </a:moveTo>
                <a:lnTo>
                  <a:pt x="1280146" y="0"/>
                </a:lnTo>
                <a:lnTo>
                  <a:pt x="1280146" y="3474694"/>
                </a:lnTo>
                <a:lnTo>
                  <a:pt x="0" y="3474694"/>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971472703"/>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Portfolio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22" name="Picture Placeholder 21"/>
          <p:cNvSpPr>
            <a:spLocks noGrp="1"/>
          </p:cNvSpPr>
          <p:nvPr>
            <p:ph type="pic" sz="quarter" idx="10"/>
          </p:nvPr>
        </p:nvSpPr>
        <p:spPr>
          <a:xfrm>
            <a:off x="594417" y="1131571"/>
            <a:ext cx="7955279" cy="3497556"/>
          </a:xfrm>
          <a:custGeom>
            <a:avLst/>
            <a:gdLst>
              <a:gd name="connsiteX0" fmla="*/ 5349126 w 10607039"/>
              <a:gd name="connsiteY0" fmla="*/ 2926048 h 4663408"/>
              <a:gd name="connsiteX1" fmla="*/ 10606926 w 10607039"/>
              <a:gd name="connsiteY1" fmla="*/ 2926048 h 4663408"/>
              <a:gd name="connsiteX2" fmla="*/ 10606926 w 10607039"/>
              <a:gd name="connsiteY2" fmla="*/ 4663408 h 4663408"/>
              <a:gd name="connsiteX3" fmla="*/ 5349126 w 10607039"/>
              <a:gd name="connsiteY3" fmla="*/ 4663408 h 4663408"/>
              <a:gd name="connsiteX4" fmla="*/ 0 w 10607039"/>
              <a:gd name="connsiteY4" fmla="*/ 2926048 h 4663408"/>
              <a:gd name="connsiteX5" fmla="*/ 5257800 w 10607039"/>
              <a:gd name="connsiteY5" fmla="*/ 2926048 h 4663408"/>
              <a:gd name="connsiteX6" fmla="*/ 5257800 w 10607039"/>
              <a:gd name="connsiteY6" fmla="*/ 4663408 h 4663408"/>
              <a:gd name="connsiteX7" fmla="*/ 0 w 10607039"/>
              <a:gd name="connsiteY7" fmla="*/ 4663408 h 4663408"/>
              <a:gd name="connsiteX8" fmla="*/ 0 w 10607039"/>
              <a:gd name="connsiteY8" fmla="*/ 1920229 h 4663408"/>
              <a:gd name="connsiteX9" fmla="*/ 10607039 w 10607039"/>
              <a:gd name="connsiteY9" fmla="*/ 1920229 h 4663408"/>
              <a:gd name="connsiteX10" fmla="*/ 10607039 w 10607039"/>
              <a:gd name="connsiteY10" fmla="*/ 2834629 h 4663408"/>
              <a:gd name="connsiteX11" fmla="*/ 0 w 10607039"/>
              <a:gd name="connsiteY11" fmla="*/ 2834629 h 4663408"/>
              <a:gd name="connsiteX12" fmla="*/ 0 w 10607039"/>
              <a:gd name="connsiteY12" fmla="*/ 20 h 4663408"/>
              <a:gd name="connsiteX13" fmla="*/ 5257799 w 10607039"/>
              <a:gd name="connsiteY13" fmla="*/ 20 h 4663408"/>
              <a:gd name="connsiteX14" fmla="*/ 5257799 w 10607039"/>
              <a:gd name="connsiteY14" fmla="*/ 1828820 h 4663408"/>
              <a:gd name="connsiteX15" fmla="*/ 0 w 10607039"/>
              <a:gd name="connsiteY15" fmla="*/ 1828820 h 4663408"/>
              <a:gd name="connsiteX16" fmla="*/ 5349124 w 10607039"/>
              <a:gd name="connsiteY16" fmla="*/ 0 h 4663408"/>
              <a:gd name="connsiteX17" fmla="*/ 10606924 w 10607039"/>
              <a:gd name="connsiteY17" fmla="*/ 0 h 4663408"/>
              <a:gd name="connsiteX18" fmla="*/ 10606924 w 10607039"/>
              <a:gd name="connsiteY18" fmla="*/ 1828800 h 4663408"/>
              <a:gd name="connsiteX19" fmla="*/ 5349124 w 10607039"/>
              <a:gd name="connsiteY19" fmla="*/ 1828800 h 466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607039" h="4663408">
                <a:moveTo>
                  <a:pt x="5349126" y="2926048"/>
                </a:moveTo>
                <a:lnTo>
                  <a:pt x="10606926" y="2926048"/>
                </a:lnTo>
                <a:lnTo>
                  <a:pt x="10606926" y="4663408"/>
                </a:lnTo>
                <a:lnTo>
                  <a:pt x="5349126" y="4663408"/>
                </a:lnTo>
                <a:close/>
                <a:moveTo>
                  <a:pt x="0" y="2926048"/>
                </a:moveTo>
                <a:lnTo>
                  <a:pt x="5257800" y="2926048"/>
                </a:lnTo>
                <a:lnTo>
                  <a:pt x="5257800" y="4663408"/>
                </a:lnTo>
                <a:lnTo>
                  <a:pt x="0" y="4663408"/>
                </a:lnTo>
                <a:close/>
                <a:moveTo>
                  <a:pt x="0" y="1920229"/>
                </a:moveTo>
                <a:lnTo>
                  <a:pt x="10607039" y="1920229"/>
                </a:lnTo>
                <a:lnTo>
                  <a:pt x="10607039" y="2834629"/>
                </a:lnTo>
                <a:lnTo>
                  <a:pt x="0" y="2834629"/>
                </a:lnTo>
                <a:close/>
                <a:moveTo>
                  <a:pt x="0" y="20"/>
                </a:moveTo>
                <a:lnTo>
                  <a:pt x="5257799" y="20"/>
                </a:lnTo>
                <a:lnTo>
                  <a:pt x="5257799" y="1828820"/>
                </a:lnTo>
                <a:lnTo>
                  <a:pt x="0" y="1828820"/>
                </a:lnTo>
                <a:close/>
                <a:moveTo>
                  <a:pt x="5349124" y="0"/>
                </a:moveTo>
                <a:lnTo>
                  <a:pt x="10606924" y="0"/>
                </a:lnTo>
                <a:lnTo>
                  <a:pt x="10606924" y="1828800"/>
                </a:lnTo>
                <a:lnTo>
                  <a:pt x="5349124" y="182880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05565148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Portfolio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22" name="Picture Placeholder 21"/>
          <p:cNvSpPr>
            <a:spLocks noGrp="1"/>
          </p:cNvSpPr>
          <p:nvPr>
            <p:ph type="pic" sz="quarter" idx="10"/>
          </p:nvPr>
        </p:nvSpPr>
        <p:spPr>
          <a:xfrm>
            <a:off x="594404" y="1131596"/>
            <a:ext cx="7955280" cy="3497543"/>
          </a:xfrm>
          <a:custGeom>
            <a:avLst/>
            <a:gdLst>
              <a:gd name="connsiteX0" fmla="*/ 2468763 w 10607040"/>
              <a:gd name="connsiteY0" fmla="*/ 3280301 h 4663390"/>
              <a:gd name="connsiteX1" fmla="*/ 10607040 w 10607040"/>
              <a:gd name="connsiteY1" fmla="*/ 3280301 h 4663390"/>
              <a:gd name="connsiteX2" fmla="*/ 10607040 w 10607040"/>
              <a:gd name="connsiteY2" fmla="*/ 4663390 h 4663390"/>
              <a:gd name="connsiteX3" fmla="*/ 2468763 w 10607040"/>
              <a:gd name="connsiteY3" fmla="*/ 4663390 h 4663390"/>
              <a:gd name="connsiteX4" fmla="*/ 0 w 10607040"/>
              <a:gd name="connsiteY4" fmla="*/ 1565939 h 4663390"/>
              <a:gd name="connsiteX5" fmla="*/ 2377440 w 10607040"/>
              <a:gd name="connsiteY5" fmla="*/ 1565939 h 4663390"/>
              <a:gd name="connsiteX6" fmla="*/ 2377440 w 10607040"/>
              <a:gd name="connsiteY6" fmla="*/ 4663390 h 4663390"/>
              <a:gd name="connsiteX7" fmla="*/ 0 w 10607040"/>
              <a:gd name="connsiteY7" fmla="*/ 4663390 h 4663390"/>
              <a:gd name="connsiteX8" fmla="*/ 2468853 w 10607040"/>
              <a:gd name="connsiteY8" fmla="*/ 1554464 h 4663390"/>
              <a:gd name="connsiteX9" fmla="*/ 8046631 w 10607040"/>
              <a:gd name="connsiteY9" fmla="*/ 1554464 h 4663390"/>
              <a:gd name="connsiteX10" fmla="*/ 8046631 w 10607040"/>
              <a:gd name="connsiteY10" fmla="*/ 3188892 h 4663390"/>
              <a:gd name="connsiteX11" fmla="*/ 2468853 w 10607040"/>
              <a:gd name="connsiteY11" fmla="*/ 3188892 h 4663390"/>
              <a:gd name="connsiteX12" fmla="*/ 8138069 w 10607040"/>
              <a:gd name="connsiteY12" fmla="*/ 0 h 4663390"/>
              <a:gd name="connsiteX13" fmla="*/ 10607040 w 10607040"/>
              <a:gd name="connsiteY13" fmla="*/ 0 h 4663390"/>
              <a:gd name="connsiteX14" fmla="*/ 10607040 w 10607040"/>
              <a:gd name="connsiteY14" fmla="*/ 3188892 h 4663390"/>
              <a:gd name="connsiteX15" fmla="*/ 8138069 w 10607040"/>
              <a:gd name="connsiteY15" fmla="*/ 3188892 h 4663390"/>
              <a:gd name="connsiteX16" fmla="*/ 0 w 10607040"/>
              <a:gd name="connsiteY16" fmla="*/ 0 h 4663390"/>
              <a:gd name="connsiteX17" fmla="*/ 8046719 w 10607040"/>
              <a:gd name="connsiteY17" fmla="*/ 0 h 4663390"/>
              <a:gd name="connsiteX18" fmla="*/ 8046719 w 10607040"/>
              <a:gd name="connsiteY18" fmla="*/ 1463040 h 4663390"/>
              <a:gd name="connsiteX19" fmla="*/ 0 w 10607040"/>
              <a:gd name="connsiteY19" fmla="*/ 1463040 h 46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607040" h="4663390">
                <a:moveTo>
                  <a:pt x="2468763" y="3280301"/>
                </a:moveTo>
                <a:lnTo>
                  <a:pt x="10607040" y="3280301"/>
                </a:lnTo>
                <a:lnTo>
                  <a:pt x="10607040" y="4663390"/>
                </a:lnTo>
                <a:lnTo>
                  <a:pt x="2468763" y="4663390"/>
                </a:lnTo>
                <a:close/>
                <a:moveTo>
                  <a:pt x="0" y="1565939"/>
                </a:moveTo>
                <a:lnTo>
                  <a:pt x="2377440" y="1565939"/>
                </a:lnTo>
                <a:lnTo>
                  <a:pt x="2377440" y="4663390"/>
                </a:lnTo>
                <a:lnTo>
                  <a:pt x="0" y="4663390"/>
                </a:lnTo>
                <a:close/>
                <a:moveTo>
                  <a:pt x="2468853" y="1554464"/>
                </a:moveTo>
                <a:lnTo>
                  <a:pt x="8046631" y="1554464"/>
                </a:lnTo>
                <a:lnTo>
                  <a:pt x="8046631" y="3188892"/>
                </a:lnTo>
                <a:lnTo>
                  <a:pt x="2468853" y="3188892"/>
                </a:lnTo>
                <a:close/>
                <a:moveTo>
                  <a:pt x="8138069" y="0"/>
                </a:moveTo>
                <a:lnTo>
                  <a:pt x="10607040" y="0"/>
                </a:lnTo>
                <a:lnTo>
                  <a:pt x="10607040" y="3188892"/>
                </a:lnTo>
                <a:lnTo>
                  <a:pt x="8138069" y="3188892"/>
                </a:lnTo>
                <a:close/>
                <a:moveTo>
                  <a:pt x="0" y="0"/>
                </a:moveTo>
                <a:lnTo>
                  <a:pt x="8046719" y="0"/>
                </a:lnTo>
                <a:lnTo>
                  <a:pt x="8046719" y="1463040"/>
                </a:lnTo>
                <a:lnTo>
                  <a:pt x="0" y="14630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1726438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01_Gradient">
    <p:bg>
      <p:bgPr>
        <a:gradFill rotWithShape="0">
          <a:gsLst>
            <a:gs pos="0">
              <a:srgbClr val="003341"/>
            </a:gs>
            <a:gs pos="85001">
              <a:srgbClr val="007EA2"/>
            </a:gs>
            <a:gs pos="100000">
              <a:srgbClr val="007EA2"/>
            </a:gs>
          </a:gsLst>
          <a:lin ang="4200000"/>
        </a:gradFill>
        <a:effectLst/>
      </p:bgPr>
    </p:bg>
    <p:spTree>
      <p:nvGrpSpPr>
        <p:cNvPr id="1" name=""/>
        <p:cNvGrpSpPr/>
        <p:nvPr/>
      </p:nvGrpSpPr>
      <p:grpSpPr>
        <a:xfrm>
          <a:off x="0" y="0"/>
          <a:ext cx="0" cy="0"/>
          <a:chOff x="0" y="0"/>
          <a:chExt cx="0" cy="0"/>
        </a:xfrm>
      </p:grpSpPr>
      <p:pic>
        <p:nvPicPr>
          <p:cNvPr id="4" name="Picture 8" descr="H:\000 Clients\lambie nairn\Telefonica_Vive\Telefonica_blue.png"/>
          <p:cNvPicPr>
            <a:picLocks noChangeAspect="1" noChangeArrowheads="1"/>
          </p:cNvPicPr>
          <p:nvPr userDrawn="1"/>
        </p:nvPicPr>
        <p:blipFill>
          <a:blip r:embed="rId2">
            <a:lum bright="100000" contrast="-100000"/>
          </a:blip>
          <a:srcRect/>
          <a:stretch>
            <a:fillRect/>
          </a:stretch>
        </p:blipFill>
        <p:spPr bwMode="auto">
          <a:xfrm>
            <a:off x="7280355" y="4606536"/>
            <a:ext cx="1444625" cy="301228"/>
          </a:xfrm>
          <a:prstGeom prst="rect">
            <a:avLst/>
          </a:prstGeom>
          <a:noFill/>
          <a:ln w="9525">
            <a:noFill/>
            <a:miter lim="800000"/>
            <a:headEnd/>
            <a:tailEnd/>
          </a:ln>
        </p:spPr>
      </p:pic>
      <p:sp>
        <p:nvSpPr>
          <p:cNvPr id="2" name="Title 1"/>
          <p:cNvSpPr>
            <a:spLocks noGrp="1"/>
          </p:cNvSpPr>
          <p:nvPr>
            <p:ph type="ctrTitle"/>
          </p:nvPr>
        </p:nvSpPr>
        <p:spPr>
          <a:xfrm>
            <a:off x="358713" y="1257358"/>
            <a:ext cx="8366260" cy="827485"/>
          </a:xfrm>
        </p:spPr>
        <p:txBody>
          <a:bodyPr tIns="0" rIns="0" bIns="0">
            <a:noAutofit/>
          </a:bodyPr>
          <a:lstStyle>
            <a:lvl1pPr algn="l">
              <a:lnSpc>
                <a:spcPct val="90000"/>
              </a:lnSpc>
              <a:defRPr sz="3600">
                <a:solidFill>
                  <a:schemeClr val="bg1"/>
                </a:solidFill>
              </a:defRPr>
            </a:lvl1pPr>
          </a:lstStyle>
          <a:p>
            <a:r>
              <a:rPr lang="en-US" dirty="0"/>
              <a:t>Click to edit Master title style</a:t>
            </a:r>
            <a:endParaRPr lang="en-GB" dirty="0"/>
          </a:p>
        </p:txBody>
      </p:sp>
      <p:sp>
        <p:nvSpPr>
          <p:cNvPr id="7" name="Text Placeholder 6"/>
          <p:cNvSpPr>
            <a:spLocks noGrp="1"/>
          </p:cNvSpPr>
          <p:nvPr>
            <p:ph type="body" sz="quarter" idx="10"/>
          </p:nvPr>
        </p:nvSpPr>
        <p:spPr>
          <a:xfrm>
            <a:off x="349215" y="-78806"/>
            <a:ext cx="1945937" cy="1171800"/>
          </a:xfrm>
        </p:spPr>
        <p:txBody>
          <a:bodyPr/>
          <a:lstStyle>
            <a:lvl1pPr marL="0" indent="0">
              <a:buNone/>
              <a:defRPr sz="12500">
                <a:solidFill>
                  <a:schemeClr val="tx2"/>
                </a:solidFill>
                <a:latin typeface="Arial" pitchFamily="34" charset="0"/>
              </a:defRPr>
            </a:lvl1pPr>
          </a:lstStyle>
          <a:p>
            <a:pPr lvl="0"/>
            <a:r>
              <a:rPr lang="en-US"/>
              <a:t>Click to edit Master text styles</a:t>
            </a: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Portfolio 5">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32" name="Picture Placeholder 31"/>
          <p:cNvSpPr>
            <a:spLocks noGrp="1"/>
          </p:cNvSpPr>
          <p:nvPr>
            <p:ph type="pic" sz="quarter" idx="10"/>
          </p:nvPr>
        </p:nvSpPr>
        <p:spPr>
          <a:xfrm>
            <a:off x="594404" y="1131596"/>
            <a:ext cx="7955193" cy="3497543"/>
          </a:xfrm>
          <a:custGeom>
            <a:avLst/>
            <a:gdLst>
              <a:gd name="connsiteX0" fmla="*/ 6949324 w 10606924"/>
              <a:gd name="connsiteY0" fmla="*/ 3200366 h 4663390"/>
              <a:gd name="connsiteX1" fmla="*/ 10606924 w 10606924"/>
              <a:gd name="connsiteY1" fmla="*/ 3200366 h 4663390"/>
              <a:gd name="connsiteX2" fmla="*/ 10606924 w 10606924"/>
              <a:gd name="connsiteY2" fmla="*/ 4663390 h 4663390"/>
              <a:gd name="connsiteX3" fmla="*/ 6949324 w 10606924"/>
              <a:gd name="connsiteY3" fmla="*/ 4663390 h 4663390"/>
              <a:gd name="connsiteX4" fmla="*/ 5212023 w 10606924"/>
              <a:gd name="connsiteY4" fmla="*/ 3200366 h 4663390"/>
              <a:gd name="connsiteX5" fmla="*/ 6857925 w 10606924"/>
              <a:gd name="connsiteY5" fmla="*/ 3200366 h 4663390"/>
              <a:gd name="connsiteX6" fmla="*/ 6857925 w 10606924"/>
              <a:gd name="connsiteY6" fmla="*/ 4663390 h 4663390"/>
              <a:gd name="connsiteX7" fmla="*/ 5212023 w 10606924"/>
              <a:gd name="connsiteY7" fmla="*/ 4663390 h 4663390"/>
              <a:gd name="connsiteX8" fmla="*/ 0 w 10606924"/>
              <a:gd name="connsiteY8" fmla="*/ 3200366 h 4663390"/>
              <a:gd name="connsiteX9" fmla="*/ 5120640 w 10606924"/>
              <a:gd name="connsiteY9" fmla="*/ 3200366 h 4663390"/>
              <a:gd name="connsiteX10" fmla="*/ 5120640 w 10606924"/>
              <a:gd name="connsiteY10" fmla="*/ 4663390 h 4663390"/>
              <a:gd name="connsiteX11" fmla="*/ 0 w 10606924"/>
              <a:gd name="connsiteY11" fmla="*/ 4663390 h 4663390"/>
              <a:gd name="connsiteX12" fmla="*/ 1 w 10606924"/>
              <a:gd name="connsiteY12" fmla="*/ 1554447 h 4663390"/>
              <a:gd name="connsiteX13" fmla="*/ 6858000 w 10606924"/>
              <a:gd name="connsiteY13" fmla="*/ 1554447 h 4663390"/>
              <a:gd name="connsiteX14" fmla="*/ 6858000 w 10606924"/>
              <a:gd name="connsiteY14" fmla="*/ 3108927 h 4663390"/>
              <a:gd name="connsiteX15" fmla="*/ 1 w 10606924"/>
              <a:gd name="connsiteY15" fmla="*/ 3108927 h 4663390"/>
              <a:gd name="connsiteX16" fmla="*/ 6949324 w 10606924"/>
              <a:gd name="connsiteY16" fmla="*/ 1554446 h 4663390"/>
              <a:gd name="connsiteX17" fmla="*/ 10606924 w 10606924"/>
              <a:gd name="connsiteY17" fmla="*/ 1554446 h 4663390"/>
              <a:gd name="connsiteX18" fmla="*/ 10606924 w 10606924"/>
              <a:gd name="connsiteY18" fmla="*/ 3108926 h 4663390"/>
              <a:gd name="connsiteX19" fmla="*/ 6949324 w 10606924"/>
              <a:gd name="connsiteY19" fmla="*/ 3108926 h 4663390"/>
              <a:gd name="connsiteX20" fmla="*/ 6949324 w 10606924"/>
              <a:gd name="connsiteY20" fmla="*/ 1 h 4663390"/>
              <a:gd name="connsiteX21" fmla="*/ 10606924 w 10606924"/>
              <a:gd name="connsiteY21" fmla="*/ 1 h 4663390"/>
              <a:gd name="connsiteX22" fmla="*/ 10606924 w 10606924"/>
              <a:gd name="connsiteY22" fmla="*/ 1463041 h 4663390"/>
              <a:gd name="connsiteX23" fmla="*/ 6949324 w 10606924"/>
              <a:gd name="connsiteY23" fmla="*/ 1463041 h 4663390"/>
              <a:gd name="connsiteX24" fmla="*/ 1737286 w 10606924"/>
              <a:gd name="connsiteY24" fmla="*/ 0 h 4663390"/>
              <a:gd name="connsiteX25" fmla="*/ 6857925 w 10606924"/>
              <a:gd name="connsiteY25" fmla="*/ 0 h 4663390"/>
              <a:gd name="connsiteX26" fmla="*/ 6857925 w 10606924"/>
              <a:gd name="connsiteY26" fmla="*/ 1463040 h 4663390"/>
              <a:gd name="connsiteX27" fmla="*/ 1737286 w 10606924"/>
              <a:gd name="connsiteY27" fmla="*/ 1463040 h 4663390"/>
              <a:gd name="connsiteX28" fmla="*/ 2 w 10606924"/>
              <a:gd name="connsiteY28" fmla="*/ 0 h 4663390"/>
              <a:gd name="connsiteX29" fmla="*/ 1645904 w 10606924"/>
              <a:gd name="connsiteY29" fmla="*/ 0 h 4663390"/>
              <a:gd name="connsiteX30" fmla="*/ 1645904 w 10606924"/>
              <a:gd name="connsiteY30" fmla="*/ 1463040 h 4663390"/>
              <a:gd name="connsiteX31" fmla="*/ 2 w 10606924"/>
              <a:gd name="connsiteY31" fmla="*/ 1463040 h 46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606924" h="4663390">
                <a:moveTo>
                  <a:pt x="6949324" y="3200366"/>
                </a:moveTo>
                <a:lnTo>
                  <a:pt x="10606924" y="3200366"/>
                </a:lnTo>
                <a:lnTo>
                  <a:pt x="10606924" y="4663390"/>
                </a:lnTo>
                <a:lnTo>
                  <a:pt x="6949324" y="4663390"/>
                </a:lnTo>
                <a:close/>
                <a:moveTo>
                  <a:pt x="5212023" y="3200366"/>
                </a:moveTo>
                <a:lnTo>
                  <a:pt x="6857925" y="3200366"/>
                </a:lnTo>
                <a:lnTo>
                  <a:pt x="6857925" y="4663390"/>
                </a:lnTo>
                <a:lnTo>
                  <a:pt x="5212023" y="4663390"/>
                </a:lnTo>
                <a:close/>
                <a:moveTo>
                  <a:pt x="0" y="3200366"/>
                </a:moveTo>
                <a:lnTo>
                  <a:pt x="5120640" y="3200366"/>
                </a:lnTo>
                <a:lnTo>
                  <a:pt x="5120640" y="4663390"/>
                </a:lnTo>
                <a:lnTo>
                  <a:pt x="0" y="4663390"/>
                </a:lnTo>
                <a:close/>
                <a:moveTo>
                  <a:pt x="1" y="1554447"/>
                </a:moveTo>
                <a:lnTo>
                  <a:pt x="6858000" y="1554447"/>
                </a:lnTo>
                <a:lnTo>
                  <a:pt x="6858000" y="3108927"/>
                </a:lnTo>
                <a:lnTo>
                  <a:pt x="1" y="3108927"/>
                </a:lnTo>
                <a:close/>
                <a:moveTo>
                  <a:pt x="6949324" y="1554446"/>
                </a:moveTo>
                <a:lnTo>
                  <a:pt x="10606924" y="1554446"/>
                </a:lnTo>
                <a:lnTo>
                  <a:pt x="10606924" y="3108926"/>
                </a:lnTo>
                <a:lnTo>
                  <a:pt x="6949324" y="3108926"/>
                </a:lnTo>
                <a:close/>
                <a:moveTo>
                  <a:pt x="6949324" y="1"/>
                </a:moveTo>
                <a:lnTo>
                  <a:pt x="10606924" y="1"/>
                </a:lnTo>
                <a:lnTo>
                  <a:pt x="10606924" y="1463041"/>
                </a:lnTo>
                <a:lnTo>
                  <a:pt x="6949324" y="1463041"/>
                </a:lnTo>
                <a:close/>
                <a:moveTo>
                  <a:pt x="1737286" y="0"/>
                </a:moveTo>
                <a:lnTo>
                  <a:pt x="6857925" y="0"/>
                </a:lnTo>
                <a:lnTo>
                  <a:pt x="6857925" y="1463040"/>
                </a:lnTo>
                <a:lnTo>
                  <a:pt x="1737286" y="1463040"/>
                </a:lnTo>
                <a:close/>
                <a:moveTo>
                  <a:pt x="2" y="0"/>
                </a:moveTo>
                <a:lnTo>
                  <a:pt x="1645904" y="0"/>
                </a:lnTo>
                <a:lnTo>
                  <a:pt x="1645904" y="1463040"/>
                </a:lnTo>
                <a:lnTo>
                  <a:pt x="2" y="14630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290073086"/>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Portfolio 6">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22" name="Picture Placeholder 21"/>
          <p:cNvSpPr>
            <a:spLocks noGrp="1"/>
          </p:cNvSpPr>
          <p:nvPr>
            <p:ph type="pic" sz="quarter" idx="10"/>
          </p:nvPr>
        </p:nvSpPr>
        <p:spPr>
          <a:xfrm>
            <a:off x="594409" y="1131587"/>
            <a:ext cx="7955234" cy="3497541"/>
          </a:xfrm>
          <a:custGeom>
            <a:avLst/>
            <a:gdLst>
              <a:gd name="connsiteX0" fmla="*/ 0 w 10606979"/>
              <a:gd name="connsiteY0" fmla="*/ 2651739 h 4663388"/>
              <a:gd name="connsiteX1" fmla="*/ 2560291 w 10606979"/>
              <a:gd name="connsiteY1" fmla="*/ 2651739 h 4663388"/>
              <a:gd name="connsiteX2" fmla="*/ 2560291 w 10606979"/>
              <a:gd name="connsiteY2" fmla="*/ 4663388 h 4663388"/>
              <a:gd name="connsiteX3" fmla="*/ 0 w 10606979"/>
              <a:gd name="connsiteY3" fmla="*/ 4663388 h 4663388"/>
              <a:gd name="connsiteX4" fmla="*/ 5303459 w 10606979"/>
              <a:gd name="connsiteY4" fmla="*/ 2651731 h 4663388"/>
              <a:gd name="connsiteX5" fmla="*/ 10606979 w 10606979"/>
              <a:gd name="connsiteY5" fmla="*/ 2651731 h 4663388"/>
              <a:gd name="connsiteX6" fmla="*/ 10606979 w 10606979"/>
              <a:gd name="connsiteY6" fmla="*/ 4663388 h 4663388"/>
              <a:gd name="connsiteX7" fmla="*/ 5303459 w 10606979"/>
              <a:gd name="connsiteY7" fmla="*/ 4663388 h 4663388"/>
              <a:gd name="connsiteX8" fmla="*/ 2651702 w 10606979"/>
              <a:gd name="connsiteY8" fmla="*/ 2651730 h 4663388"/>
              <a:gd name="connsiteX9" fmla="*/ 5212020 w 10606979"/>
              <a:gd name="connsiteY9" fmla="*/ 2651730 h 4663388"/>
              <a:gd name="connsiteX10" fmla="*/ 5212020 w 10606979"/>
              <a:gd name="connsiteY10" fmla="*/ 4663388 h 4663388"/>
              <a:gd name="connsiteX11" fmla="*/ 2651701 w 10606979"/>
              <a:gd name="connsiteY11" fmla="*/ 4663388 h 4663388"/>
              <a:gd name="connsiteX12" fmla="*/ 5303459 w 10606979"/>
              <a:gd name="connsiteY12" fmla="*/ 1371571 h 4663388"/>
              <a:gd name="connsiteX13" fmla="*/ 10606979 w 10606979"/>
              <a:gd name="connsiteY13" fmla="*/ 1371571 h 4663388"/>
              <a:gd name="connsiteX14" fmla="*/ 10606979 w 10606979"/>
              <a:gd name="connsiteY14" fmla="*/ 2560291 h 4663388"/>
              <a:gd name="connsiteX15" fmla="*/ 5303459 w 10606979"/>
              <a:gd name="connsiteY15" fmla="*/ 2560291 h 4663388"/>
              <a:gd name="connsiteX16" fmla="*/ 4561 w 10606979"/>
              <a:gd name="connsiteY16" fmla="*/ 6 h 4663388"/>
              <a:gd name="connsiteX17" fmla="*/ 2560292 w 10606979"/>
              <a:gd name="connsiteY17" fmla="*/ 6 h 4663388"/>
              <a:gd name="connsiteX18" fmla="*/ 2560292 w 10606979"/>
              <a:gd name="connsiteY18" fmla="*/ 2560326 h 4663388"/>
              <a:gd name="connsiteX19" fmla="*/ 4561 w 10606979"/>
              <a:gd name="connsiteY19" fmla="*/ 2560326 h 4663388"/>
              <a:gd name="connsiteX20" fmla="*/ 2651702 w 10606979"/>
              <a:gd name="connsiteY20" fmla="*/ 2 h 4663388"/>
              <a:gd name="connsiteX21" fmla="*/ 5212020 w 10606979"/>
              <a:gd name="connsiteY21" fmla="*/ 2 h 4663388"/>
              <a:gd name="connsiteX22" fmla="*/ 5212020 w 10606979"/>
              <a:gd name="connsiteY22" fmla="*/ 2560326 h 4663388"/>
              <a:gd name="connsiteX23" fmla="*/ 2651702 w 10606979"/>
              <a:gd name="connsiteY23" fmla="*/ 2560326 h 4663388"/>
              <a:gd name="connsiteX24" fmla="*/ 7955162 w 10606979"/>
              <a:gd name="connsiteY24" fmla="*/ 1 h 4663388"/>
              <a:gd name="connsiteX25" fmla="*/ 10606922 w 10606979"/>
              <a:gd name="connsiteY25" fmla="*/ 1 h 4663388"/>
              <a:gd name="connsiteX26" fmla="*/ 10606922 w 10606979"/>
              <a:gd name="connsiteY26" fmla="*/ 1280161 h 4663388"/>
              <a:gd name="connsiteX27" fmla="*/ 7955162 w 10606979"/>
              <a:gd name="connsiteY27" fmla="*/ 1280161 h 4663388"/>
              <a:gd name="connsiteX28" fmla="*/ 5303432 w 10606979"/>
              <a:gd name="connsiteY28" fmla="*/ 0 h 4663388"/>
              <a:gd name="connsiteX29" fmla="*/ 7863752 w 10606979"/>
              <a:gd name="connsiteY29" fmla="*/ 0 h 4663388"/>
              <a:gd name="connsiteX30" fmla="*/ 7863752 w 10606979"/>
              <a:gd name="connsiteY30" fmla="*/ 1280160 h 4663388"/>
              <a:gd name="connsiteX31" fmla="*/ 5303432 w 10606979"/>
              <a:gd name="connsiteY31" fmla="*/ 1280160 h 466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606979" h="4663388">
                <a:moveTo>
                  <a:pt x="0" y="2651739"/>
                </a:moveTo>
                <a:lnTo>
                  <a:pt x="2560291" y="2651739"/>
                </a:lnTo>
                <a:lnTo>
                  <a:pt x="2560291" y="4663388"/>
                </a:lnTo>
                <a:lnTo>
                  <a:pt x="0" y="4663388"/>
                </a:lnTo>
                <a:close/>
                <a:moveTo>
                  <a:pt x="5303459" y="2651731"/>
                </a:moveTo>
                <a:lnTo>
                  <a:pt x="10606979" y="2651731"/>
                </a:lnTo>
                <a:lnTo>
                  <a:pt x="10606979" y="4663388"/>
                </a:lnTo>
                <a:lnTo>
                  <a:pt x="5303459" y="4663388"/>
                </a:lnTo>
                <a:close/>
                <a:moveTo>
                  <a:pt x="2651702" y="2651730"/>
                </a:moveTo>
                <a:lnTo>
                  <a:pt x="5212020" y="2651730"/>
                </a:lnTo>
                <a:lnTo>
                  <a:pt x="5212020" y="4663388"/>
                </a:lnTo>
                <a:lnTo>
                  <a:pt x="2651701" y="4663388"/>
                </a:lnTo>
                <a:close/>
                <a:moveTo>
                  <a:pt x="5303459" y="1371571"/>
                </a:moveTo>
                <a:lnTo>
                  <a:pt x="10606979" y="1371571"/>
                </a:lnTo>
                <a:lnTo>
                  <a:pt x="10606979" y="2560291"/>
                </a:lnTo>
                <a:lnTo>
                  <a:pt x="5303459" y="2560291"/>
                </a:lnTo>
                <a:close/>
                <a:moveTo>
                  <a:pt x="4561" y="6"/>
                </a:moveTo>
                <a:lnTo>
                  <a:pt x="2560292" y="6"/>
                </a:lnTo>
                <a:lnTo>
                  <a:pt x="2560292" y="2560326"/>
                </a:lnTo>
                <a:lnTo>
                  <a:pt x="4561" y="2560326"/>
                </a:lnTo>
                <a:close/>
                <a:moveTo>
                  <a:pt x="2651702" y="2"/>
                </a:moveTo>
                <a:lnTo>
                  <a:pt x="5212020" y="2"/>
                </a:lnTo>
                <a:lnTo>
                  <a:pt x="5212020" y="2560326"/>
                </a:lnTo>
                <a:lnTo>
                  <a:pt x="2651702" y="2560326"/>
                </a:lnTo>
                <a:close/>
                <a:moveTo>
                  <a:pt x="7955162" y="1"/>
                </a:moveTo>
                <a:lnTo>
                  <a:pt x="10606922" y="1"/>
                </a:lnTo>
                <a:lnTo>
                  <a:pt x="10606922" y="1280161"/>
                </a:lnTo>
                <a:lnTo>
                  <a:pt x="7955162" y="1280161"/>
                </a:lnTo>
                <a:close/>
                <a:moveTo>
                  <a:pt x="5303432" y="0"/>
                </a:moveTo>
                <a:lnTo>
                  <a:pt x="7863752" y="0"/>
                </a:lnTo>
                <a:lnTo>
                  <a:pt x="7863752" y="1280160"/>
                </a:lnTo>
                <a:lnTo>
                  <a:pt x="5303432" y="128016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77549918"/>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Portfolio 7">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594404" y="1131547"/>
            <a:ext cx="7955280" cy="3497580"/>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79442064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Portfolio 8">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23" name="Picture Placeholder 22"/>
          <p:cNvSpPr>
            <a:spLocks noGrp="1"/>
          </p:cNvSpPr>
          <p:nvPr>
            <p:ph type="pic" sz="quarter" idx="10"/>
          </p:nvPr>
        </p:nvSpPr>
        <p:spPr>
          <a:xfrm>
            <a:off x="594404" y="1131588"/>
            <a:ext cx="7955280" cy="3497542"/>
          </a:xfrm>
          <a:custGeom>
            <a:avLst/>
            <a:gdLst>
              <a:gd name="connsiteX0" fmla="*/ 0 w 10607040"/>
              <a:gd name="connsiteY0" fmla="*/ 0 h 4663389"/>
              <a:gd name="connsiteX1" fmla="*/ 10607040 w 10607040"/>
              <a:gd name="connsiteY1" fmla="*/ 0 h 4663389"/>
              <a:gd name="connsiteX2" fmla="*/ 10607040 w 10607040"/>
              <a:gd name="connsiteY2" fmla="*/ 2468852 h 4663389"/>
              <a:gd name="connsiteX3" fmla="*/ 10606958 w 10607040"/>
              <a:gd name="connsiteY3" fmla="*/ 2468852 h 4663389"/>
              <a:gd name="connsiteX4" fmla="*/ 10606958 w 10607040"/>
              <a:gd name="connsiteY4" fmla="*/ 2468829 h 4663389"/>
              <a:gd name="connsiteX5" fmla="*/ 7497998 w 10607040"/>
              <a:gd name="connsiteY5" fmla="*/ 2468829 h 4663389"/>
              <a:gd name="connsiteX6" fmla="*/ 7497998 w 10607040"/>
              <a:gd name="connsiteY6" fmla="*/ 4663389 h 4663389"/>
              <a:gd name="connsiteX7" fmla="*/ 0 w 10607040"/>
              <a:gd name="connsiteY7" fmla="*/ 4663389 h 4663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07040" h="4663389">
                <a:moveTo>
                  <a:pt x="0" y="0"/>
                </a:moveTo>
                <a:lnTo>
                  <a:pt x="10607040" y="0"/>
                </a:lnTo>
                <a:lnTo>
                  <a:pt x="10607040" y="2468852"/>
                </a:lnTo>
                <a:lnTo>
                  <a:pt x="10606958" y="2468852"/>
                </a:lnTo>
                <a:lnTo>
                  <a:pt x="10606958" y="2468829"/>
                </a:lnTo>
                <a:lnTo>
                  <a:pt x="7497998" y="2468829"/>
                </a:lnTo>
                <a:lnTo>
                  <a:pt x="7497998" y="4663389"/>
                </a:lnTo>
                <a:lnTo>
                  <a:pt x="0" y="4663389"/>
                </a:lnTo>
                <a:close/>
              </a:path>
            </a:pathLst>
          </a:custGeom>
          <a:solidFill>
            <a:schemeClr val="tx2">
              <a:lumMod val="85000"/>
            </a:schemeClr>
          </a:solidFill>
          <a:ln w="19050">
            <a:solidFill>
              <a:schemeClr val="tx2">
                <a:lumMod val="75000"/>
              </a:schemeClr>
            </a:solidFill>
          </a:ln>
        </p:spPr>
        <p:txBody>
          <a:bodyPr wrap="square" anchor="ctr" anchorCtr="0">
            <a:noAutofit/>
          </a:bodyPr>
          <a:lstStyle>
            <a:lvl1pPr algn="ctr">
              <a:defRPr/>
            </a:lvl1pPr>
          </a:lstStyle>
          <a:p>
            <a:endParaRPr lang="en-US" dirty="0"/>
          </a:p>
        </p:txBody>
      </p:sp>
      <p:sp>
        <p:nvSpPr>
          <p:cNvPr id="26" name="Picture Placeholder 25"/>
          <p:cNvSpPr>
            <a:spLocks noGrp="1"/>
          </p:cNvSpPr>
          <p:nvPr>
            <p:ph type="pic" sz="quarter" idx="12"/>
          </p:nvPr>
        </p:nvSpPr>
        <p:spPr>
          <a:xfrm>
            <a:off x="6286479" y="3051793"/>
            <a:ext cx="2263217" cy="1577336"/>
          </a:xfrm>
          <a:custGeom>
            <a:avLst/>
            <a:gdLst>
              <a:gd name="connsiteX0" fmla="*/ 0 w 3017623"/>
              <a:gd name="connsiteY0" fmla="*/ 0 h 2103114"/>
              <a:gd name="connsiteX1" fmla="*/ 3017623 w 3017623"/>
              <a:gd name="connsiteY1" fmla="*/ 0 h 2103114"/>
              <a:gd name="connsiteX2" fmla="*/ 3017623 w 3017623"/>
              <a:gd name="connsiteY2" fmla="*/ 2103114 h 2103114"/>
              <a:gd name="connsiteX3" fmla="*/ 0 w 3017623"/>
              <a:gd name="connsiteY3" fmla="*/ 2103114 h 2103114"/>
            </a:gdLst>
            <a:ahLst/>
            <a:cxnLst>
              <a:cxn ang="0">
                <a:pos x="connsiteX0" y="connsiteY0"/>
              </a:cxn>
              <a:cxn ang="0">
                <a:pos x="connsiteX1" y="connsiteY1"/>
              </a:cxn>
              <a:cxn ang="0">
                <a:pos x="connsiteX2" y="connsiteY2"/>
              </a:cxn>
              <a:cxn ang="0">
                <a:pos x="connsiteX3" y="connsiteY3"/>
              </a:cxn>
            </a:cxnLst>
            <a:rect l="l" t="t" r="r" b="b"/>
            <a:pathLst>
              <a:path w="3017623" h="2103114">
                <a:moveTo>
                  <a:pt x="0" y="0"/>
                </a:moveTo>
                <a:lnTo>
                  <a:pt x="3017623" y="0"/>
                </a:lnTo>
                <a:lnTo>
                  <a:pt x="3017623" y="2103114"/>
                </a:lnTo>
                <a:lnTo>
                  <a:pt x="0" y="2103114"/>
                </a:lnTo>
                <a:close/>
              </a:path>
            </a:pathLst>
          </a:custGeom>
          <a:solidFill>
            <a:schemeClr val="tx2">
              <a:lumMod val="85000"/>
            </a:schemeClr>
          </a:solidFill>
          <a:ln w="19050">
            <a:solidFill>
              <a:schemeClr val="tx2">
                <a:lumMod val="75000"/>
              </a:schemeClr>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389510428"/>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Portfolio 9">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195" name="Picture Placeholder 194"/>
          <p:cNvSpPr>
            <a:spLocks noGrp="1"/>
          </p:cNvSpPr>
          <p:nvPr>
            <p:ph type="pic" sz="quarter" idx="10"/>
          </p:nvPr>
        </p:nvSpPr>
        <p:spPr>
          <a:xfrm>
            <a:off x="594404" y="1131596"/>
            <a:ext cx="7955280" cy="3497543"/>
          </a:xfrm>
          <a:custGeom>
            <a:avLst/>
            <a:gdLst>
              <a:gd name="connsiteX0" fmla="*/ 10060944 w 10607040"/>
              <a:gd name="connsiteY0" fmla="*/ 4114757 h 4663390"/>
              <a:gd name="connsiteX1" fmla="*/ 10607040 w 10607040"/>
              <a:gd name="connsiteY1" fmla="*/ 4114757 h 4663390"/>
              <a:gd name="connsiteX2" fmla="*/ 10607040 w 10607040"/>
              <a:gd name="connsiteY2" fmla="*/ 4663390 h 4663390"/>
              <a:gd name="connsiteX3" fmla="*/ 10060944 w 10607040"/>
              <a:gd name="connsiteY3" fmla="*/ 4663390 h 4663390"/>
              <a:gd name="connsiteX4" fmla="*/ 9469256 w 10607040"/>
              <a:gd name="connsiteY4" fmla="*/ 4114756 h 4663390"/>
              <a:gd name="connsiteX5" fmla="*/ 10017896 w 10607040"/>
              <a:gd name="connsiteY5" fmla="*/ 4114756 h 4663390"/>
              <a:gd name="connsiteX6" fmla="*/ 10017896 w 10607040"/>
              <a:gd name="connsiteY6" fmla="*/ 4663390 h 4663390"/>
              <a:gd name="connsiteX7" fmla="*/ 9469256 w 10607040"/>
              <a:gd name="connsiteY7" fmla="*/ 4663390 h 4663390"/>
              <a:gd name="connsiteX8" fmla="*/ 8877570 w 10607040"/>
              <a:gd name="connsiteY8" fmla="*/ 4114756 h 4663390"/>
              <a:gd name="connsiteX9" fmla="*/ 9426210 w 10607040"/>
              <a:gd name="connsiteY9" fmla="*/ 4114756 h 4663390"/>
              <a:gd name="connsiteX10" fmla="*/ 9426210 w 10607040"/>
              <a:gd name="connsiteY10" fmla="*/ 4663390 h 4663390"/>
              <a:gd name="connsiteX11" fmla="*/ 8877570 w 10607040"/>
              <a:gd name="connsiteY11" fmla="*/ 4663390 h 4663390"/>
              <a:gd name="connsiteX12" fmla="*/ 8285884 w 10607040"/>
              <a:gd name="connsiteY12" fmla="*/ 4114756 h 4663390"/>
              <a:gd name="connsiteX13" fmla="*/ 8834524 w 10607040"/>
              <a:gd name="connsiteY13" fmla="*/ 4114756 h 4663390"/>
              <a:gd name="connsiteX14" fmla="*/ 8834524 w 10607040"/>
              <a:gd name="connsiteY14" fmla="*/ 4663390 h 4663390"/>
              <a:gd name="connsiteX15" fmla="*/ 8285884 w 10607040"/>
              <a:gd name="connsiteY15" fmla="*/ 4663390 h 4663390"/>
              <a:gd name="connsiteX16" fmla="*/ 7694198 w 10607040"/>
              <a:gd name="connsiteY16" fmla="*/ 4114756 h 4663390"/>
              <a:gd name="connsiteX17" fmla="*/ 8242838 w 10607040"/>
              <a:gd name="connsiteY17" fmla="*/ 4114756 h 4663390"/>
              <a:gd name="connsiteX18" fmla="*/ 8242838 w 10607040"/>
              <a:gd name="connsiteY18" fmla="*/ 4663390 h 4663390"/>
              <a:gd name="connsiteX19" fmla="*/ 7694198 w 10607040"/>
              <a:gd name="connsiteY19" fmla="*/ 4663390 h 4663390"/>
              <a:gd name="connsiteX20" fmla="*/ 7102512 w 10607040"/>
              <a:gd name="connsiteY20" fmla="*/ 4114756 h 4663390"/>
              <a:gd name="connsiteX21" fmla="*/ 7651152 w 10607040"/>
              <a:gd name="connsiteY21" fmla="*/ 4114756 h 4663390"/>
              <a:gd name="connsiteX22" fmla="*/ 7651152 w 10607040"/>
              <a:gd name="connsiteY22" fmla="*/ 4663390 h 4663390"/>
              <a:gd name="connsiteX23" fmla="*/ 7102512 w 10607040"/>
              <a:gd name="connsiteY23" fmla="*/ 4663390 h 4663390"/>
              <a:gd name="connsiteX24" fmla="*/ 6510826 w 10607040"/>
              <a:gd name="connsiteY24" fmla="*/ 4114756 h 4663390"/>
              <a:gd name="connsiteX25" fmla="*/ 7059466 w 10607040"/>
              <a:gd name="connsiteY25" fmla="*/ 4114756 h 4663390"/>
              <a:gd name="connsiteX26" fmla="*/ 7059466 w 10607040"/>
              <a:gd name="connsiteY26" fmla="*/ 4663390 h 4663390"/>
              <a:gd name="connsiteX27" fmla="*/ 6510826 w 10607040"/>
              <a:gd name="connsiteY27" fmla="*/ 4663390 h 4663390"/>
              <a:gd name="connsiteX28" fmla="*/ 5919140 w 10607040"/>
              <a:gd name="connsiteY28" fmla="*/ 4114756 h 4663390"/>
              <a:gd name="connsiteX29" fmla="*/ 6467780 w 10607040"/>
              <a:gd name="connsiteY29" fmla="*/ 4114756 h 4663390"/>
              <a:gd name="connsiteX30" fmla="*/ 6467780 w 10607040"/>
              <a:gd name="connsiteY30" fmla="*/ 4663390 h 4663390"/>
              <a:gd name="connsiteX31" fmla="*/ 5919140 w 10607040"/>
              <a:gd name="connsiteY31" fmla="*/ 4663390 h 4663390"/>
              <a:gd name="connsiteX32" fmla="*/ 5327454 w 10607040"/>
              <a:gd name="connsiteY32" fmla="*/ 4114756 h 4663390"/>
              <a:gd name="connsiteX33" fmla="*/ 5876094 w 10607040"/>
              <a:gd name="connsiteY33" fmla="*/ 4114756 h 4663390"/>
              <a:gd name="connsiteX34" fmla="*/ 5876094 w 10607040"/>
              <a:gd name="connsiteY34" fmla="*/ 4663390 h 4663390"/>
              <a:gd name="connsiteX35" fmla="*/ 5327454 w 10607040"/>
              <a:gd name="connsiteY35" fmla="*/ 4663390 h 4663390"/>
              <a:gd name="connsiteX36" fmla="*/ 4735768 w 10607040"/>
              <a:gd name="connsiteY36" fmla="*/ 4114756 h 4663390"/>
              <a:gd name="connsiteX37" fmla="*/ 5284408 w 10607040"/>
              <a:gd name="connsiteY37" fmla="*/ 4114756 h 4663390"/>
              <a:gd name="connsiteX38" fmla="*/ 5284408 w 10607040"/>
              <a:gd name="connsiteY38" fmla="*/ 4663390 h 4663390"/>
              <a:gd name="connsiteX39" fmla="*/ 4735768 w 10607040"/>
              <a:gd name="connsiteY39" fmla="*/ 4663390 h 4663390"/>
              <a:gd name="connsiteX40" fmla="*/ 4144082 w 10607040"/>
              <a:gd name="connsiteY40" fmla="*/ 4114756 h 4663390"/>
              <a:gd name="connsiteX41" fmla="*/ 4692722 w 10607040"/>
              <a:gd name="connsiteY41" fmla="*/ 4114756 h 4663390"/>
              <a:gd name="connsiteX42" fmla="*/ 4692722 w 10607040"/>
              <a:gd name="connsiteY42" fmla="*/ 4663390 h 4663390"/>
              <a:gd name="connsiteX43" fmla="*/ 4144082 w 10607040"/>
              <a:gd name="connsiteY43" fmla="*/ 4663390 h 4663390"/>
              <a:gd name="connsiteX44" fmla="*/ 3552396 w 10607040"/>
              <a:gd name="connsiteY44" fmla="*/ 4114756 h 4663390"/>
              <a:gd name="connsiteX45" fmla="*/ 4101036 w 10607040"/>
              <a:gd name="connsiteY45" fmla="*/ 4114756 h 4663390"/>
              <a:gd name="connsiteX46" fmla="*/ 4101036 w 10607040"/>
              <a:gd name="connsiteY46" fmla="*/ 4663390 h 4663390"/>
              <a:gd name="connsiteX47" fmla="*/ 3552396 w 10607040"/>
              <a:gd name="connsiteY47" fmla="*/ 4663390 h 4663390"/>
              <a:gd name="connsiteX48" fmla="*/ 2960712 w 10607040"/>
              <a:gd name="connsiteY48" fmla="*/ 4114756 h 4663390"/>
              <a:gd name="connsiteX49" fmla="*/ 3509350 w 10607040"/>
              <a:gd name="connsiteY49" fmla="*/ 4114756 h 4663390"/>
              <a:gd name="connsiteX50" fmla="*/ 3509350 w 10607040"/>
              <a:gd name="connsiteY50" fmla="*/ 4663390 h 4663390"/>
              <a:gd name="connsiteX51" fmla="*/ 2960712 w 10607040"/>
              <a:gd name="connsiteY51" fmla="*/ 4663390 h 4663390"/>
              <a:gd name="connsiteX52" fmla="*/ 2369026 w 10607040"/>
              <a:gd name="connsiteY52" fmla="*/ 4114756 h 4663390"/>
              <a:gd name="connsiteX53" fmla="*/ 2917666 w 10607040"/>
              <a:gd name="connsiteY53" fmla="*/ 4114756 h 4663390"/>
              <a:gd name="connsiteX54" fmla="*/ 2917666 w 10607040"/>
              <a:gd name="connsiteY54" fmla="*/ 4663390 h 4663390"/>
              <a:gd name="connsiteX55" fmla="*/ 2369026 w 10607040"/>
              <a:gd name="connsiteY55" fmla="*/ 4663390 h 4663390"/>
              <a:gd name="connsiteX56" fmla="*/ 1777340 w 10607040"/>
              <a:gd name="connsiteY56" fmla="*/ 4114756 h 4663390"/>
              <a:gd name="connsiteX57" fmla="*/ 2325980 w 10607040"/>
              <a:gd name="connsiteY57" fmla="*/ 4114756 h 4663390"/>
              <a:gd name="connsiteX58" fmla="*/ 2325980 w 10607040"/>
              <a:gd name="connsiteY58" fmla="*/ 4663390 h 4663390"/>
              <a:gd name="connsiteX59" fmla="*/ 1777340 w 10607040"/>
              <a:gd name="connsiteY59" fmla="*/ 4663390 h 4663390"/>
              <a:gd name="connsiteX60" fmla="*/ 1185654 w 10607040"/>
              <a:gd name="connsiteY60" fmla="*/ 4114756 h 4663390"/>
              <a:gd name="connsiteX61" fmla="*/ 1734294 w 10607040"/>
              <a:gd name="connsiteY61" fmla="*/ 4114756 h 4663390"/>
              <a:gd name="connsiteX62" fmla="*/ 1734294 w 10607040"/>
              <a:gd name="connsiteY62" fmla="*/ 4663390 h 4663390"/>
              <a:gd name="connsiteX63" fmla="*/ 1185654 w 10607040"/>
              <a:gd name="connsiteY63" fmla="*/ 4663390 h 4663390"/>
              <a:gd name="connsiteX64" fmla="*/ 593968 w 10607040"/>
              <a:gd name="connsiteY64" fmla="*/ 4114756 h 4663390"/>
              <a:gd name="connsiteX65" fmla="*/ 1142608 w 10607040"/>
              <a:gd name="connsiteY65" fmla="*/ 4114756 h 4663390"/>
              <a:gd name="connsiteX66" fmla="*/ 1142608 w 10607040"/>
              <a:gd name="connsiteY66" fmla="*/ 4663390 h 4663390"/>
              <a:gd name="connsiteX67" fmla="*/ 593968 w 10607040"/>
              <a:gd name="connsiteY67" fmla="*/ 4663390 h 4663390"/>
              <a:gd name="connsiteX68" fmla="*/ 2283 w 10607040"/>
              <a:gd name="connsiteY68" fmla="*/ 4114756 h 4663390"/>
              <a:gd name="connsiteX69" fmla="*/ 550922 w 10607040"/>
              <a:gd name="connsiteY69" fmla="*/ 4114756 h 4663390"/>
              <a:gd name="connsiteX70" fmla="*/ 550922 w 10607040"/>
              <a:gd name="connsiteY70" fmla="*/ 4663390 h 4663390"/>
              <a:gd name="connsiteX71" fmla="*/ 2283 w 10607040"/>
              <a:gd name="connsiteY71" fmla="*/ 4663390 h 4663390"/>
              <a:gd name="connsiteX72" fmla="*/ 10060564 w 10607040"/>
              <a:gd name="connsiteY72" fmla="*/ 3526933 h 4663390"/>
              <a:gd name="connsiteX73" fmla="*/ 10607040 w 10607040"/>
              <a:gd name="connsiteY73" fmla="*/ 3526933 h 4663390"/>
              <a:gd name="connsiteX74" fmla="*/ 10607040 w 10607040"/>
              <a:gd name="connsiteY74" fmla="*/ 4075573 h 4663390"/>
              <a:gd name="connsiteX75" fmla="*/ 10060564 w 10607040"/>
              <a:gd name="connsiteY75" fmla="*/ 4075573 h 4663390"/>
              <a:gd name="connsiteX76" fmla="*/ 9468876 w 10607040"/>
              <a:gd name="connsiteY76" fmla="*/ 3526932 h 4663390"/>
              <a:gd name="connsiteX77" fmla="*/ 10017516 w 10607040"/>
              <a:gd name="connsiteY77" fmla="*/ 3526932 h 4663390"/>
              <a:gd name="connsiteX78" fmla="*/ 10017516 w 10607040"/>
              <a:gd name="connsiteY78" fmla="*/ 4075572 h 4663390"/>
              <a:gd name="connsiteX79" fmla="*/ 9468876 w 10607040"/>
              <a:gd name="connsiteY79" fmla="*/ 4075572 h 4663390"/>
              <a:gd name="connsiteX80" fmla="*/ 8877190 w 10607040"/>
              <a:gd name="connsiteY80" fmla="*/ 3526932 h 4663390"/>
              <a:gd name="connsiteX81" fmla="*/ 9425830 w 10607040"/>
              <a:gd name="connsiteY81" fmla="*/ 3526932 h 4663390"/>
              <a:gd name="connsiteX82" fmla="*/ 9425830 w 10607040"/>
              <a:gd name="connsiteY82" fmla="*/ 4075572 h 4663390"/>
              <a:gd name="connsiteX83" fmla="*/ 8877190 w 10607040"/>
              <a:gd name="connsiteY83" fmla="*/ 4075572 h 4663390"/>
              <a:gd name="connsiteX84" fmla="*/ 8285504 w 10607040"/>
              <a:gd name="connsiteY84" fmla="*/ 3526932 h 4663390"/>
              <a:gd name="connsiteX85" fmla="*/ 8834144 w 10607040"/>
              <a:gd name="connsiteY85" fmla="*/ 3526932 h 4663390"/>
              <a:gd name="connsiteX86" fmla="*/ 8834144 w 10607040"/>
              <a:gd name="connsiteY86" fmla="*/ 4075572 h 4663390"/>
              <a:gd name="connsiteX87" fmla="*/ 8285504 w 10607040"/>
              <a:gd name="connsiteY87" fmla="*/ 4075572 h 4663390"/>
              <a:gd name="connsiteX88" fmla="*/ 7693818 w 10607040"/>
              <a:gd name="connsiteY88" fmla="*/ 3526932 h 4663390"/>
              <a:gd name="connsiteX89" fmla="*/ 8242458 w 10607040"/>
              <a:gd name="connsiteY89" fmla="*/ 3526932 h 4663390"/>
              <a:gd name="connsiteX90" fmla="*/ 8242458 w 10607040"/>
              <a:gd name="connsiteY90" fmla="*/ 4075572 h 4663390"/>
              <a:gd name="connsiteX91" fmla="*/ 7693818 w 10607040"/>
              <a:gd name="connsiteY91" fmla="*/ 4075572 h 4663390"/>
              <a:gd name="connsiteX92" fmla="*/ 7102132 w 10607040"/>
              <a:gd name="connsiteY92" fmla="*/ 3526932 h 4663390"/>
              <a:gd name="connsiteX93" fmla="*/ 7650772 w 10607040"/>
              <a:gd name="connsiteY93" fmla="*/ 3526932 h 4663390"/>
              <a:gd name="connsiteX94" fmla="*/ 7650772 w 10607040"/>
              <a:gd name="connsiteY94" fmla="*/ 4075572 h 4663390"/>
              <a:gd name="connsiteX95" fmla="*/ 7102132 w 10607040"/>
              <a:gd name="connsiteY95" fmla="*/ 4075572 h 4663390"/>
              <a:gd name="connsiteX96" fmla="*/ 6510446 w 10607040"/>
              <a:gd name="connsiteY96" fmla="*/ 3526932 h 4663390"/>
              <a:gd name="connsiteX97" fmla="*/ 7059086 w 10607040"/>
              <a:gd name="connsiteY97" fmla="*/ 3526932 h 4663390"/>
              <a:gd name="connsiteX98" fmla="*/ 7059086 w 10607040"/>
              <a:gd name="connsiteY98" fmla="*/ 4075572 h 4663390"/>
              <a:gd name="connsiteX99" fmla="*/ 6510446 w 10607040"/>
              <a:gd name="connsiteY99" fmla="*/ 4075572 h 4663390"/>
              <a:gd name="connsiteX100" fmla="*/ 5918760 w 10607040"/>
              <a:gd name="connsiteY100" fmla="*/ 3526932 h 4663390"/>
              <a:gd name="connsiteX101" fmla="*/ 6467400 w 10607040"/>
              <a:gd name="connsiteY101" fmla="*/ 3526932 h 4663390"/>
              <a:gd name="connsiteX102" fmla="*/ 6467400 w 10607040"/>
              <a:gd name="connsiteY102" fmla="*/ 4075572 h 4663390"/>
              <a:gd name="connsiteX103" fmla="*/ 5918760 w 10607040"/>
              <a:gd name="connsiteY103" fmla="*/ 4075572 h 4663390"/>
              <a:gd name="connsiteX104" fmla="*/ 5327074 w 10607040"/>
              <a:gd name="connsiteY104" fmla="*/ 3526932 h 4663390"/>
              <a:gd name="connsiteX105" fmla="*/ 5875714 w 10607040"/>
              <a:gd name="connsiteY105" fmla="*/ 3526932 h 4663390"/>
              <a:gd name="connsiteX106" fmla="*/ 5875714 w 10607040"/>
              <a:gd name="connsiteY106" fmla="*/ 4075572 h 4663390"/>
              <a:gd name="connsiteX107" fmla="*/ 5327074 w 10607040"/>
              <a:gd name="connsiteY107" fmla="*/ 4075572 h 4663390"/>
              <a:gd name="connsiteX108" fmla="*/ 4735388 w 10607040"/>
              <a:gd name="connsiteY108" fmla="*/ 3526932 h 4663390"/>
              <a:gd name="connsiteX109" fmla="*/ 5284028 w 10607040"/>
              <a:gd name="connsiteY109" fmla="*/ 3526932 h 4663390"/>
              <a:gd name="connsiteX110" fmla="*/ 5284028 w 10607040"/>
              <a:gd name="connsiteY110" fmla="*/ 4075572 h 4663390"/>
              <a:gd name="connsiteX111" fmla="*/ 4735388 w 10607040"/>
              <a:gd name="connsiteY111" fmla="*/ 4075572 h 4663390"/>
              <a:gd name="connsiteX112" fmla="*/ 4143702 w 10607040"/>
              <a:gd name="connsiteY112" fmla="*/ 3526932 h 4663390"/>
              <a:gd name="connsiteX113" fmla="*/ 4692342 w 10607040"/>
              <a:gd name="connsiteY113" fmla="*/ 3526932 h 4663390"/>
              <a:gd name="connsiteX114" fmla="*/ 4692342 w 10607040"/>
              <a:gd name="connsiteY114" fmla="*/ 4075572 h 4663390"/>
              <a:gd name="connsiteX115" fmla="*/ 4143702 w 10607040"/>
              <a:gd name="connsiteY115" fmla="*/ 4075572 h 4663390"/>
              <a:gd name="connsiteX116" fmla="*/ 3552016 w 10607040"/>
              <a:gd name="connsiteY116" fmla="*/ 3526932 h 4663390"/>
              <a:gd name="connsiteX117" fmla="*/ 4100656 w 10607040"/>
              <a:gd name="connsiteY117" fmla="*/ 3526932 h 4663390"/>
              <a:gd name="connsiteX118" fmla="*/ 4100656 w 10607040"/>
              <a:gd name="connsiteY118" fmla="*/ 4075572 h 4663390"/>
              <a:gd name="connsiteX119" fmla="*/ 3552016 w 10607040"/>
              <a:gd name="connsiteY119" fmla="*/ 4075572 h 4663390"/>
              <a:gd name="connsiteX120" fmla="*/ 2960336 w 10607040"/>
              <a:gd name="connsiteY120" fmla="*/ 3526932 h 4663390"/>
              <a:gd name="connsiteX121" fmla="*/ 3508970 w 10607040"/>
              <a:gd name="connsiteY121" fmla="*/ 3526932 h 4663390"/>
              <a:gd name="connsiteX122" fmla="*/ 3508970 w 10607040"/>
              <a:gd name="connsiteY122" fmla="*/ 4075572 h 4663390"/>
              <a:gd name="connsiteX123" fmla="*/ 2960336 w 10607040"/>
              <a:gd name="connsiteY123" fmla="*/ 4075572 h 4663390"/>
              <a:gd name="connsiteX124" fmla="*/ 2368649 w 10607040"/>
              <a:gd name="connsiteY124" fmla="*/ 3526932 h 4663390"/>
              <a:gd name="connsiteX125" fmla="*/ 2917290 w 10607040"/>
              <a:gd name="connsiteY125" fmla="*/ 3526932 h 4663390"/>
              <a:gd name="connsiteX126" fmla="*/ 2917290 w 10607040"/>
              <a:gd name="connsiteY126" fmla="*/ 4075572 h 4663390"/>
              <a:gd name="connsiteX127" fmla="*/ 2368649 w 10607040"/>
              <a:gd name="connsiteY127" fmla="*/ 4075572 h 4663390"/>
              <a:gd name="connsiteX128" fmla="*/ 1776962 w 10607040"/>
              <a:gd name="connsiteY128" fmla="*/ 3526932 h 4663390"/>
              <a:gd name="connsiteX129" fmla="*/ 2325603 w 10607040"/>
              <a:gd name="connsiteY129" fmla="*/ 3526932 h 4663390"/>
              <a:gd name="connsiteX130" fmla="*/ 2325603 w 10607040"/>
              <a:gd name="connsiteY130" fmla="*/ 4075572 h 4663390"/>
              <a:gd name="connsiteX131" fmla="*/ 1776962 w 10607040"/>
              <a:gd name="connsiteY131" fmla="*/ 4075572 h 4663390"/>
              <a:gd name="connsiteX132" fmla="*/ 1185277 w 10607040"/>
              <a:gd name="connsiteY132" fmla="*/ 3526932 h 4663390"/>
              <a:gd name="connsiteX133" fmla="*/ 1733917 w 10607040"/>
              <a:gd name="connsiteY133" fmla="*/ 3526932 h 4663390"/>
              <a:gd name="connsiteX134" fmla="*/ 1733917 w 10607040"/>
              <a:gd name="connsiteY134" fmla="*/ 4075572 h 4663390"/>
              <a:gd name="connsiteX135" fmla="*/ 1185277 w 10607040"/>
              <a:gd name="connsiteY135" fmla="*/ 4075572 h 4663390"/>
              <a:gd name="connsiteX136" fmla="*/ 593591 w 10607040"/>
              <a:gd name="connsiteY136" fmla="*/ 3526932 h 4663390"/>
              <a:gd name="connsiteX137" fmla="*/ 1142231 w 10607040"/>
              <a:gd name="connsiteY137" fmla="*/ 3526932 h 4663390"/>
              <a:gd name="connsiteX138" fmla="*/ 1142231 w 10607040"/>
              <a:gd name="connsiteY138" fmla="*/ 4075572 h 4663390"/>
              <a:gd name="connsiteX139" fmla="*/ 593591 w 10607040"/>
              <a:gd name="connsiteY139" fmla="*/ 4075572 h 4663390"/>
              <a:gd name="connsiteX140" fmla="*/ 1905 w 10607040"/>
              <a:gd name="connsiteY140" fmla="*/ 3526932 h 4663390"/>
              <a:gd name="connsiteX141" fmla="*/ 550545 w 10607040"/>
              <a:gd name="connsiteY141" fmla="*/ 3526932 h 4663390"/>
              <a:gd name="connsiteX142" fmla="*/ 550545 w 10607040"/>
              <a:gd name="connsiteY142" fmla="*/ 4075572 h 4663390"/>
              <a:gd name="connsiteX143" fmla="*/ 1905 w 10607040"/>
              <a:gd name="connsiteY143" fmla="*/ 4075572 h 4663390"/>
              <a:gd name="connsiteX144" fmla="*/ 10060184 w 10607040"/>
              <a:gd name="connsiteY144" fmla="*/ 2939111 h 4663390"/>
              <a:gd name="connsiteX145" fmla="*/ 10607040 w 10607040"/>
              <a:gd name="connsiteY145" fmla="*/ 2939111 h 4663390"/>
              <a:gd name="connsiteX146" fmla="*/ 10607040 w 10607040"/>
              <a:gd name="connsiteY146" fmla="*/ 3487751 h 4663390"/>
              <a:gd name="connsiteX147" fmla="*/ 10060184 w 10607040"/>
              <a:gd name="connsiteY147" fmla="*/ 3487751 h 4663390"/>
              <a:gd name="connsiteX148" fmla="*/ 9468496 w 10607040"/>
              <a:gd name="connsiteY148" fmla="*/ 2939110 h 4663390"/>
              <a:gd name="connsiteX149" fmla="*/ 10017136 w 10607040"/>
              <a:gd name="connsiteY149" fmla="*/ 2939110 h 4663390"/>
              <a:gd name="connsiteX150" fmla="*/ 10017136 w 10607040"/>
              <a:gd name="connsiteY150" fmla="*/ 3487750 h 4663390"/>
              <a:gd name="connsiteX151" fmla="*/ 9468496 w 10607040"/>
              <a:gd name="connsiteY151" fmla="*/ 3487750 h 4663390"/>
              <a:gd name="connsiteX152" fmla="*/ 8876810 w 10607040"/>
              <a:gd name="connsiteY152" fmla="*/ 2939110 h 4663390"/>
              <a:gd name="connsiteX153" fmla="*/ 9425450 w 10607040"/>
              <a:gd name="connsiteY153" fmla="*/ 2939110 h 4663390"/>
              <a:gd name="connsiteX154" fmla="*/ 9425450 w 10607040"/>
              <a:gd name="connsiteY154" fmla="*/ 3487750 h 4663390"/>
              <a:gd name="connsiteX155" fmla="*/ 8876810 w 10607040"/>
              <a:gd name="connsiteY155" fmla="*/ 3487750 h 4663390"/>
              <a:gd name="connsiteX156" fmla="*/ 8285124 w 10607040"/>
              <a:gd name="connsiteY156" fmla="*/ 2939110 h 4663390"/>
              <a:gd name="connsiteX157" fmla="*/ 8833764 w 10607040"/>
              <a:gd name="connsiteY157" fmla="*/ 2939110 h 4663390"/>
              <a:gd name="connsiteX158" fmla="*/ 8833764 w 10607040"/>
              <a:gd name="connsiteY158" fmla="*/ 3487750 h 4663390"/>
              <a:gd name="connsiteX159" fmla="*/ 8285124 w 10607040"/>
              <a:gd name="connsiteY159" fmla="*/ 3487750 h 4663390"/>
              <a:gd name="connsiteX160" fmla="*/ 7693438 w 10607040"/>
              <a:gd name="connsiteY160" fmla="*/ 2939110 h 4663390"/>
              <a:gd name="connsiteX161" fmla="*/ 8242078 w 10607040"/>
              <a:gd name="connsiteY161" fmla="*/ 2939110 h 4663390"/>
              <a:gd name="connsiteX162" fmla="*/ 8242078 w 10607040"/>
              <a:gd name="connsiteY162" fmla="*/ 3487750 h 4663390"/>
              <a:gd name="connsiteX163" fmla="*/ 7693438 w 10607040"/>
              <a:gd name="connsiteY163" fmla="*/ 3487750 h 4663390"/>
              <a:gd name="connsiteX164" fmla="*/ 7101752 w 10607040"/>
              <a:gd name="connsiteY164" fmla="*/ 2939110 h 4663390"/>
              <a:gd name="connsiteX165" fmla="*/ 7650392 w 10607040"/>
              <a:gd name="connsiteY165" fmla="*/ 2939110 h 4663390"/>
              <a:gd name="connsiteX166" fmla="*/ 7650392 w 10607040"/>
              <a:gd name="connsiteY166" fmla="*/ 3487750 h 4663390"/>
              <a:gd name="connsiteX167" fmla="*/ 7101752 w 10607040"/>
              <a:gd name="connsiteY167" fmla="*/ 3487750 h 4663390"/>
              <a:gd name="connsiteX168" fmla="*/ 6510066 w 10607040"/>
              <a:gd name="connsiteY168" fmla="*/ 2939110 h 4663390"/>
              <a:gd name="connsiteX169" fmla="*/ 7058706 w 10607040"/>
              <a:gd name="connsiteY169" fmla="*/ 2939110 h 4663390"/>
              <a:gd name="connsiteX170" fmla="*/ 7058706 w 10607040"/>
              <a:gd name="connsiteY170" fmla="*/ 3487750 h 4663390"/>
              <a:gd name="connsiteX171" fmla="*/ 6510066 w 10607040"/>
              <a:gd name="connsiteY171" fmla="*/ 3487750 h 4663390"/>
              <a:gd name="connsiteX172" fmla="*/ 5918380 w 10607040"/>
              <a:gd name="connsiteY172" fmla="*/ 2939110 h 4663390"/>
              <a:gd name="connsiteX173" fmla="*/ 6467020 w 10607040"/>
              <a:gd name="connsiteY173" fmla="*/ 2939110 h 4663390"/>
              <a:gd name="connsiteX174" fmla="*/ 6467020 w 10607040"/>
              <a:gd name="connsiteY174" fmla="*/ 3487750 h 4663390"/>
              <a:gd name="connsiteX175" fmla="*/ 5918380 w 10607040"/>
              <a:gd name="connsiteY175" fmla="*/ 3487750 h 4663390"/>
              <a:gd name="connsiteX176" fmla="*/ 5326694 w 10607040"/>
              <a:gd name="connsiteY176" fmla="*/ 2939110 h 4663390"/>
              <a:gd name="connsiteX177" fmla="*/ 5875334 w 10607040"/>
              <a:gd name="connsiteY177" fmla="*/ 2939110 h 4663390"/>
              <a:gd name="connsiteX178" fmla="*/ 5875334 w 10607040"/>
              <a:gd name="connsiteY178" fmla="*/ 3487750 h 4663390"/>
              <a:gd name="connsiteX179" fmla="*/ 5326694 w 10607040"/>
              <a:gd name="connsiteY179" fmla="*/ 3487750 h 4663390"/>
              <a:gd name="connsiteX180" fmla="*/ 4735008 w 10607040"/>
              <a:gd name="connsiteY180" fmla="*/ 2939110 h 4663390"/>
              <a:gd name="connsiteX181" fmla="*/ 5283648 w 10607040"/>
              <a:gd name="connsiteY181" fmla="*/ 2939110 h 4663390"/>
              <a:gd name="connsiteX182" fmla="*/ 5283648 w 10607040"/>
              <a:gd name="connsiteY182" fmla="*/ 3487750 h 4663390"/>
              <a:gd name="connsiteX183" fmla="*/ 4735008 w 10607040"/>
              <a:gd name="connsiteY183" fmla="*/ 3487750 h 4663390"/>
              <a:gd name="connsiteX184" fmla="*/ 4143322 w 10607040"/>
              <a:gd name="connsiteY184" fmla="*/ 2939110 h 4663390"/>
              <a:gd name="connsiteX185" fmla="*/ 4691962 w 10607040"/>
              <a:gd name="connsiteY185" fmla="*/ 2939110 h 4663390"/>
              <a:gd name="connsiteX186" fmla="*/ 4691962 w 10607040"/>
              <a:gd name="connsiteY186" fmla="*/ 3487750 h 4663390"/>
              <a:gd name="connsiteX187" fmla="*/ 4143322 w 10607040"/>
              <a:gd name="connsiteY187" fmla="*/ 3487750 h 4663390"/>
              <a:gd name="connsiteX188" fmla="*/ 3551636 w 10607040"/>
              <a:gd name="connsiteY188" fmla="*/ 2939110 h 4663390"/>
              <a:gd name="connsiteX189" fmla="*/ 4100276 w 10607040"/>
              <a:gd name="connsiteY189" fmla="*/ 2939110 h 4663390"/>
              <a:gd name="connsiteX190" fmla="*/ 4100276 w 10607040"/>
              <a:gd name="connsiteY190" fmla="*/ 3487750 h 4663390"/>
              <a:gd name="connsiteX191" fmla="*/ 3551636 w 10607040"/>
              <a:gd name="connsiteY191" fmla="*/ 3487750 h 4663390"/>
              <a:gd name="connsiteX192" fmla="*/ 2959959 w 10607040"/>
              <a:gd name="connsiteY192" fmla="*/ 2939110 h 4663390"/>
              <a:gd name="connsiteX193" fmla="*/ 3508590 w 10607040"/>
              <a:gd name="connsiteY193" fmla="*/ 2939110 h 4663390"/>
              <a:gd name="connsiteX194" fmla="*/ 3508590 w 10607040"/>
              <a:gd name="connsiteY194" fmla="*/ 3487750 h 4663390"/>
              <a:gd name="connsiteX195" fmla="*/ 2959959 w 10607040"/>
              <a:gd name="connsiteY195" fmla="*/ 3487750 h 4663390"/>
              <a:gd name="connsiteX196" fmla="*/ 2368272 w 10607040"/>
              <a:gd name="connsiteY196" fmla="*/ 2939110 h 4663390"/>
              <a:gd name="connsiteX197" fmla="*/ 2916913 w 10607040"/>
              <a:gd name="connsiteY197" fmla="*/ 2939110 h 4663390"/>
              <a:gd name="connsiteX198" fmla="*/ 2916913 w 10607040"/>
              <a:gd name="connsiteY198" fmla="*/ 3487750 h 4663390"/>
              <a:gd name="connsiteX199" fmla="*/ 2368272 w 10607040"/>
              <a:gd name="connsiteY199" fmla="*/ 3487750 h 4663390"/>
              <a:gd name="connsiteX200" fmla="*/ 1776585 w 10607040"/>
              <a:gd name="connsiteY200" fmla="*/ 2939110 h 4663390"/>
              <a:gd name="connsiteX201" fmla="*/ 2325226 w 10607040"/>
              <a:gd name="connsiteY201" fmla="*/ 2939110 h 4663390"/>
              <a:gd name="connsiteX202" fmla="*/ 2325226 w 10607040"/>
              <a:gd name="connsiteY202" fmla="*/ 3487750 h 4663390"/>
              <a:gd name="connsiteX203" fmla="*/ 1776585 w 10607040"/>
              <a:gd name="connsiteY203" fmla="*/ 3487750 h 4663390"/>
              <a:gd name="connsiteX204" fmla="*/ 1184899 w 10607040"/>
              <a:gd name="connsiteY204" fmla="*/ 2939110 h 4663390"/>
              <a:gd name="connsiteX205" fmla="*/ 1733539 w 10607040"/>
              <a:gd name="connsiteY205" fmla="*/ 2939110 h 4663390"/>
              <a:gd name="connsiteX206" fmla="*/ 1733539 w 10607040"/>
              <a:gd name="connsiteY206" fmla="*/ 3487750 h 4663390"/>
              <a:gd name="connsiteX207" fmla="*/ 1184899 w 10607040"/>
              <a:gd name="connsiteY207" fmla="*/ 3487750 h 4663390"/>
              <a:gd name="connsiteX208" fmla="*/ 593213 w 10607040"/>
              <a:gd name="connsiteY208" fmla="*/ 2939110 h 4663390"/>
              <a:gd name="connsiteX209" fmla="*/ 1141853 w 10607040"/>
              <a:gd name="connsiteY209" fmla="*/ 2939110 h 4663390"/>
              <a:gd name="connsiteX210" fmla="*/ 1141853 w 10607040"/>
              <a:gd name="connsiteY210" fmla="*/ 3487750 h 4663390"/>
              <a:gd name="connsiteX211" fmla="*/ 593213 w 10607040"/>
              <a:gd name="connsiteY211" fmla="*/ 3487750 h 4663390"/>
              <a:gd name="connsiteX212" fmla="*/ 1528 w 10607040"/>
              <a:gd name="connsiteY212" fmla="*/ 2939110 h 4663390"/>
              <a:gd name="connsiteX213" fmla="*/ 550168 w 10607040"/>
              <a:gd name="connsiteY213" fmla="*/ 2939110 h 4663390"/>
              <a:gd name="connsiteX214" fmla="*/ 550168 w 10607040"/>
              <a:gd name="connsiteY214" fmla="*/ 3487750 h 4663390"/>
              <a:gd name="connsiteX215" fmla="*/ 1528 w 10607040"/>
              <a:gd name="connsiteY215" fmla="*/ 3487750 h 4663390"/>
              <a:gd name="connsiteX216" fmla="*/ 10059804 w 10607040"/>
              <a:gd name="connsiteY216" fmla="*/ 2351289 h 4663390"/>
              <a:gd name="connsiteX217" fmla="*/ 10607040 w 10607040"/>
              <a:gd name="connsiteY217" fmla="*/ 2351289 h 4663390"/>
              <a:gd name="connsiteX218" fmla="*/ 10607040 w 10607040"/>
              <a:gd name="connsiteY218" fmla="*/ 2899929 h 4663390"/>
              <a:gd name="connsiteX219" fmla="*/ 10059804 w 10607040"/>
              <a:gd name="connsiteY219" fmla="*/ 2899929 h 4663390"/>
              <a:gd name="connsiteX220" fmla="*/ 9468116 w 10607040"/>
              <a:gd name="connsiteY220" fmla="*/ 2351288 h 4663390"/>
              <a:gd name="connsiteX221" fmla="*/ 10016756 w 10607040"/>
              <a:gd name="connsiteY221" fmla="*/ 2351288 h 4663390"/>
              <a:gd name="connsiteX222" fmla="*/ 10016756 w 10607040"/>
              <a:gd name="connsiteY222" fmla="*/ 2899928 h 4663390"/>
              <a:gd name="connsiteX223" fmla="*/ 9468116 w 10607040"/>
              <a:gd name="connsiteY223" fmla="*/ 2899928 h 4663390"/>
              <a:gd name="connsiteX224" fmla="*/ 8876430 w 10607040"/>
              <a:gd name="connsiteY224" fmla="*/ 2351288 h 4663390"/>
              <a:gd name="connsiteX225" fmla="*/ 9425070 w 10607040"/>
              <a:gd name="connsiteY225" fmla="*/ 2351288 h 4663390"/>
              <a:gd name="connsiteX226" fmla="*/ 9425070 w 10607040"/>
              <a:gd name="connsiteY226" fmla="*/ 2899928 h 4663390"/>
              <a:gd name="connsiteX227" fmla="*/ 8876430 w 10607040"/>
              <a:gd name="connsiteY227" fmla="*/ 2899928 h 4663390"/>
              <a:gd name="connsiteX228" fmla="*/ 8284744 w 10607040"/>
              <a:gd name="connsiteY228" fmla="*/ 2351288 h 4663390"/>
              <a:gd name="connsiteX229" fmla="*/ 8833384 w 10607040"/>
              <a:gd name="connsiteY229" fmla="*/ 2351288 h 4663390"/>
              <a:gd name="connsiteX230" fmla="*/ 8833384 w 10607040"/>
              <a:gd name="connsiteY230" fmla="*/ 2899928 h 4663390"/>
              <a:gd name="connsiteX231" fmla="*/ 8284744 w 10607040"/>
              <a:gd name="connsiteY231" fmla="*/ 2899928 h 4663390"/>
              <a:gd name="connsiteX232" fmla="*/ 7693058 w 10607040"/>
              <a:gd name="connsiteY232" fmla="*/ 2351288 h 4663390"/>
              <a:gd name="connsiteX233" fmla="*/ 8241698 w 10607040"/>
              <a:gd name="connsiteY233" fmla="*/ 2351288 h 4663390"/>
              <a:gd name="connsiteX234" fmla="*/ 8241698 w 10607040"/>
              <a:gd name="connsiteY234" fmla="*/ 2899928 h 4663390"/>
              <a:gd name="connsiteX235" fmla="*/ 7693058 w 10607040"/>
              <a:gd name="connsiteY235" fmla="*/ 2899928 h 4663390"/>
              <a:gd name="connsiteX236" fmla="*/ 7101372 w 10607040"/>
              <a:gd name="connsiteY236" fmla="*/ 2351288 h 4663390"/>
              <a:gd name="connsiteX237" fmla="*/ 7650012 w 10607040"/>
              <a:gd name="connsiteY237" fmla="*/ 2351288 h 4663390"/>
              <a:gd name="connsiteX238" fmla="*/ 7650012 w 10607040"/>
              <a:gd name="connsiteY238" fmla="*/ 2899928 h 4663390"/>
              <a:gd name="connsiteX239" fmla="*/ 7101372 w 10607040"/>
              <a:gd name="connsiteY239" fmla="*/ 2899928 h 4663390"/>
              <a:gd name="connsiteX240" fmla="*/ 6509686 w 10607040"/>
              <a:gd name="connsiteY240" fmla="*/ 2351288 h 4663390"/>
              <a:gd name="connsiteX241" fmla="*/ 7058326 w 10607040"/>
              <a:gd name="connsiteY241" fmla="*/ 2351288 h 4663390"/>
              <a:gd name="connsiteX242" fmla="*/ 7058326 w 10607040"/>
              <a:gd name="connsiteY242" fmla="*/ 2899928 h 4663390"/>
              <a:gd name="connsiteX243" fmla="*/ 6509686 w 10607040"/>
              <a:gd name="connsiteY243" fmla="*/ 2899928 h 4663390"/>
              <a:gd name="connsiteX244" fmla="*/ 5918000 w 10607040"/>
              <a:gd name="connsiteY244" fmla="*/ 2351288 h 4663390"/>
              <a:gd name="connsiteX245" fmla="*/ 6466640 w 10607040"/>
              <a:gd name="connsiteY245" fmla="*/ 2351288 h 4663390"/>
              <a:gd name="connsiteX246" fmla="*/ 6466640 w 10607040"/>
              <a:gd name="connsiteY246" fmla="*/ 2899928 h 4663390"/>
              <a:gd name="connsiteX247" fmla="*/ 5918000 w 10607040"/>
              <a:gd name="connsiteY247" fmla="*/ 2899928 h 4663390"/>
              <a:gd name="connsiteX248" fmla="*/ 5326314 w 10607040"/>
              <a:gd name="connsiteY248" fmla="*/ 2351288 h 4663390"/>
              <a:gd name="connsiteX249" fmla="*/ 5874954 w 10607040"/>
              <a:gd name="connsiteY249" fmla="*/ 2351288 h 4663390"/>
              <a:gd name="connsiteX250" fmla="*/ 5874954 w 10607040"/>
              <a:gd name="connsiteY250" fmla="*/ 2899928 h 4663390"/>
              <a:gd name="connsiteX251" fmla="*/ 5326314 w 10607040"/>
              <a:gd name="connsiteY251" fmla="*/ 2899928 h 4663390"/>
              <a:gd name="connsiteX252" fmla="*/ 4734628 w 10607040"/>
              <a:gd name="connsiteY252" fmla="*/ 2351288 h 4663390"/>
              <a:gd name="connsiteX253" fmla="*/ 5283268 w 10607040"/>
              <a:gd name="connsiteY253" fmla="*/ 2351288 h 4663390"/>
              <a:gd name="connsiteX254" fmla="*/ 5283268 w 10607040"/>
              <a:gd name="connsiteY254" fmla="*/ 2899928 h 4663390"/>
              <a:gd name="connsiteX255" fmla="*/ 4734628 w 10607040"/>
              <a:gd name="connsiteY255" fmla="*/ 2899928 h 4663390"/>
              <a:gd name="connsiteX256" fmla="*/ 4142942 w 10607040"/>
              <a:gd name="connsiteY256" fmla="*/ 2351288 h 4663390"/>
              <a:gd name="connsiteX257" fmla="*/ 4691582 w 10607040"/>
              <a:gd name="connsiteY257" fmla="*/ 2351288 h 4663390"/>
              <a:gd name="connsiteX258" fmla="*/ 4691582 w 10607040"/>
              <a:gd name="connsiteY258" fmla="*/ 2899928 h 4663390"/>
              <a:gd name="connsiteX259" fmla="*/ 4142942 w 10607040"/>
              <a:gd name="connsiteY259" fmla="*/ 2899928 h 4663390"/>
              <a:gd name="connsiteX260" fmla="*/ 3551256 w 10607040"/>
              <a:gd name="connsiteY260" fmla="*/ 2351288 h 4663390"/>
              <a:gd name="connsiteX261" fmla="*/ 4099896 w 10607040"/>
              <a:gd name="connsiteY261" fmla="*/ 2351288 h 4663390"/>
              <a:gd name="connsiteX262" fmla="*/ 4099896 w 10607040"/>
              <a:gd name="connsiteY262" fmla="*/ 2899928 h 4663390"/>
              <a:gd name="connsiteX263" fmla="*/ 3551256 w 10607040"/>
              <a:gd name="connsiteY263" fmla="*/ 2899928 h 4663390"/>
              <a:gd name="connsiteX264" fmla="*/ 2959583 w 10607040"/>
              <a:gd name="connsiteY264" fmla="*/ 2351288 h 4663390"/>
              <a:gd name="connsiteX265" fmla="*/ 3508210 w 10607040"/>
              <a:gd name="connsiteY265" fmla="*/ 2351288 h 4663390"/>
              <a:gd name="connsiteX266" fmla="*/ 3508210 w 10607040"/>
              <a:gd name="connsiteY266" fmla="*/ 2899928 h 4663390"/>
              <a:gd name="connsiteX267" fmla="*/ 2959583 w 10607040"/>
              <a:gd name="connsiteY267" fmla="*/ 2899928 h 4663390"/>
              <a:gd name="connsiteX268" fmla="*/ 2367895 w 10607040"/>
              <a:gd name="connsiteY268" fmla="*/ 2351288 h 4663390"/>
              <a:gd name="connsiteX269" fmla="*/ 2916537 w 10607040"/>
              <a:gd name="connsiteY269" fmla="*/ 2351288 h 4663390"/>
              <a:gd name="connsiteX270" fmla="*/ 2916537 w 10607040"/>
              <a:gd name="connsiteY270" fmla="*/ 2899928 h 4663390"/>
              <a:gd name="connsiteX271" fmla="*/ 2367895 w 10607040"/>
              <a:gd name="connsiteY271" fmla="*/ 2899928 h 4663390"/>
              <a:gd name="connsiteX272" fmla="*/ 1776207 w 10607040"/>
              <a:gd name="connsiteY272" fmla="*/ 2351288 h 4663390"/>
              <a:gd name="connsiteX273" fmla="*/ 2324849 w 10607040"/>
              <a:gd name="connsiteY273" fmla="*/ 2351288 h 4663390"/>
              <a:gd name="connsiteX274" fmla="*/ 2324849 w 10607040"/>
              <a:gd name="connsiteY274" fmla="*/ 2899928 h 4663390"/>
              <a:gd name="connsiteX275" fmla="*/ 1776207 w 10607040"/>
              <a:gd name="connsiteY275" fmla="*/ 2899928 h 4663390"/>
              <a:gd name="connsiteX276" fmla="*/ 1184522 w 10607040"/>
              <a:gd name="connsiteY276" fmla="*/ 2351288 h 4663390"/>
              <a:gd name="connsiteX277" fmla="*/ 1733161 w 10607040"/>
              <a:gd name="connsiteY277" fmla="*/ 2351288 h 4663390"/>
              <a:gd name="connsiteX278" fmla="*/ 1733161 w 10607040"/>
              <a:gd name="connsiteY278" fmla="*/ 2899928 h 4663390"/>
              <a:gd name="connsiteX279" fmla="*/ 1184522 w 10607040"/>
              <a:gd name="connsiteY279" fmla="*/ 2899928 h 4663390"/>
              <a:gd name="connsiteX280" fmla="*/ 592836 w 10607040"/>
              <a:gd name="connsiteY280" fmla="*/ 2351288 h 4663390"/>
              <a:gd name="connsiteX281" fmla="*/ 1141476 w 10607040"/>
              <a:gd name="connsiteY281" fmla="*/ 2351288 h 4663390"/>
              <a:gd name="connsiteX282" fmla="*/ 1141476 w 10607040"/>
              <a:gd name="connsiteY282" fmla="*/ 2899928 h 4663390"/>
              <a:gd name="connsiteX283" fmla="*/ 592836 w 10607040"/>
              <a:gd name="connsiteY283" fmla="*/ 2899928 h 4663390"/>
              <a:gd name="connsiteX284" fmla="*/ 1150 w 10607040"/>
              <a:gd name="connsiteY284" fmla="*/ 2351288 h 4663390"/>
              <a:gd name="connsiteX285" fmla="*/ 549790 w 10607040"/>
              <a:gd name="connsiteY285" fmla="*/ 2351288 h 4663390"/>
              <a:gd name="connsiteX286" fmla="*/ 549790 w 10607040"/>
              <a:gd name="connsiteY286" fmla="*/ 2899928 h 4663390"/>
              <a:gd name="connsiteX287" fmla="*/ 1150 w 10607040"/>
              <a:gd name="connsiteY287" fmla="*/ 2899928 h 4663390"/>
              <a:gd name="connsiteX288" fmla="*/ 10059424 w 10607040"/>
              <a:gd name="connsiteY288" fmla="*/ 1763467 h 4663390"/>
              <a:gd name="connsiteX289" fmla="*/ 10607040 w 10607040"/>
              <a:gd name="connsiteY289" fmla="*/ 1763467 h 4663390"/>
              <a:gd name="connsiteX290" fmla="*/ 10607040 w 10607040"/>
              <a:gd name="connsiteY290" fmla="*/ 2312107 h 4663390"/>
              <a:gd name="connsiteX291" fmla="*/ 10059424 w 10607040"/>
              <a:gd name="connsiteY291" fmla="*/ 2312107 h 4663390"/>
              <a:gd name="connsiteX292" fmla="*/ 9467736 w 10607040"/>
              <a:gd name="connsiteY292" fmla="*/ 1763466 h 4663390"/>
              <a:gd name="connsiteX293" fmla="*/ 10016376 w 10607040"/>
              <a:gd name="connsiteY293" fmla="*/ 1763466 h 4663390"/>
              <a:gd name="connsiteX294" fmla="*/ 10016376 w 10607040"/>
              <a:gd name="connsiteY294" fmla="*/ 2312106 h 4663390"/>
              <a:gd name="connsiteX295" fmla="*/ 9467736 w 10607040"/>
              <a:gd name="connsiteY295" fmla="*/ 2312106 h 4663390"/>
              <a:gd name="connsiteX296" fmla="*/ 8876050 w 10607040"/>
              <a:gd name="connsiteY296" fmla="*/ 1763466 h 4663390"/>
              <a:gd name="connsiteX297" fmla="*/ 9424690 w 10607040"/>
              <a:gd name="connsiteY297" fmla="*/ 1763466 h 4663390"/>
              <a:gd name="connsiteX298" fmla="*/ 9424690 w 10607040"/>
              <a:gd name="connsiteY298" fmla="*/ 2312106 h 4663390"/>
              <a:gd name="connsiteX299" fmla="*/ 8876050 w 10607040"/>
              <a:gd name="connsiteY299" fmla="*/ 2312106 h 4663390"/>
              <a:gd name="connsiteX300" fmla="*/ 8284364 w 10607040"/>
              <a:gd name="connsiteY300" fmla="*/ 1763466 h 4663390"/>
              <a:gd name="connsiteX301" fmla="*/ 8833004 w 10607040"/>
              <a:gd name="connsiteY301" fmla="*/ 1763466 h 4663390"/>
              <a:gd name="connsiteX302" fmla="*/ 8833004 w 10607040"/>
              <a:gd name="connsiteY302" fmla="*/ 2312106 h 4663390"/>
              <a:gd name="connsiteX303" fmla="*/ 8284364 w 10607040"/>
              <a:gd name="connsiteY303" fmla="*/ 2312106 h 4663390"/>
              <a:gd name="connsiteX304" fmla="*/ 7692678 w 10607040"/>
              <a:gd name="connsiteY304" fmla="*/ 1763466 h 4663390"/>
              <a:gd name="connsiteX305" fmla="*/ 8241318 w 10607040"/>
              <a:gd name="connsiteY305" fmla="*/ 1763466 h 4663390"/>
              <a:gd name="connsiteX306" fmla="*/ 8241318 w 10607040"/>
              <a:gd name="connsiteY306" fmla="*/ 2312106 h 4663390"/>
              <a:gd name="connsiteX307" fmla="*/ 7692678 w 10607040"/>
              <a:gd name="connsiteY307" fmla="*/ 2312106 h 4663390"/>
              <a:gd name="connsiteX308" fmla="*/ 7100992 w 10607040"/>
              <a:gd name="connsiteY308" fmla="*/ 1763466 h 4663390"/>
              <a:gd name="connsiteX309" fmla="*/ 7649632 w 10607040"/>
              <a:gd name="connsiteY309" fmla="*/ 1763466 h 4663390"/>
              <a:gd name="connsiteX310" fmla="*/ 7649632 w 10607040"/>
              <a:gd name="connsiteY310" fmla="*/ 2312106 h 4663390"/>
              <a:gd name="connsiteX311" fmla="*/ 7100992 w 10607040"/>
              <a:gd name="connsiteY311" fmla="*/ 2312106 h 4663390"/>
              <a:gd name="connsiteX312" fmla="*/ 6509306 w 10607040"/>
              <a:gd name="connsiteY312" fmla="*/ 1763466 h 4663390"/>
              <a:gd name="connsiteX313" fmla="*/ 7057946 w 10607040"/>
              <a:gd name="connsiteY313" fmla="*/ 1763466 h 4663390"/>
              <a:gd name="connsiteX314" fmla="*/ 7057946 w 10607040"/>
              <a:gd name="connsiteY314" fmla="*/ 2312106 h 4663390"/>
              <a:gd name="connsiteX315" fmla="*/ 6509306 w 10607040"/>
              <a:gd name="connsiteY315" fmla="*/ 2312106 h 4663390"/>
              <a:gd name="connsiteX316" fmla="*/ 5917620 w 10607040"/>
              <a:gd name="connsiteY316" fmla="*/ 1763466 h 4663390"/>
              <a:gd name="connsiteX317" fmla="*/ 6466260 w 10607040"/>
              <a:gd name="connsiteY317" fmla="*/ 1763466 h 4663390"/>
              <a:gd name="connsiteX318" fmla="*/ 6466260 w 10607040"/>
              <a:gd name="connsiteY318" fmla="*/ 2312106 h 4663390"/>
              <a:gd name="connsiteX319" fmla="*/ 5917620 w 10607040"/>
              <a:gd name="connsiteY319" fmla="*/ 2312106 h 4663390"/>
              <a:gd name="connsiteX320" fmla="*/ 5325934 w 10607040"/>
              <a:gd name="connsiteY320" fmla="*/ 1763466 h 4663390"/>
              <a:gd name="connsiteX321" fmla="*/ 5874574 w 10607040"/>
              <a:gd name="connsiteY321" fmla="*/ 1763466 h 4663390"/>
              <a:gd name="connsiteX322" fmla="*/ 5874574 w 10607040"/>
              <a:gd name="connsiteY322" fmla="*/ 2312106 h 4663390"/>
              <a:gd name="connsiteX323" fmla="*/ 5325934 w 10607040"/>
              <a:gd name="connsiteY323" fmla="*/ 2312106 h 4663390"/>
              <a:gd name="connsiteX324" fmla="*/ 4734248 w 10607040"/>
              <a:gd name="connsiteY324" fmla="*/ 1763466 h 4663390"/>
              <a:gd name="connsiteX325" fmla="*/ 5282888 w 10607040"/>
              <a:gd name="connsiteY325" fmla="*/ 1763466 h 4663390"/>
              <a:gd name="connsiteX326" fmla="*/ 5282888 w 10607040"/>
              <a:gd name="connsiteY326" fmla="*/ 2312106 h 4663390"/>
              <a:gd name="connsiteX327" fmla="*/ 4734248 w 10607040"/>
              <a:gd name="connsiteY327" fmla="*/ 2312106 h 4663390"/>
              <a:gd name="connsiteX328" fmla="*/ 4142562 w 10607040"/>
              <a:gd name="connsiteY328" fmla="*/ 1763466 h 4663390"/>
              <a:gd name="connsiteX329" fmla="*/ 4691202 w 10607040"/>
              <a:gd name="connsiteY329" fmla="*/ 1763466 h 4663390"/>
              <a:gd name="connsiteX330" fmla="*/ 4691202 w 10607040"/>
              <a:gd name="connsiteY330" fmla="*/ 2312106 h 4663390"/>
              <a:gd name="connsiteX331" fmla="*/ 4142562 w 10607040"/>
              <a:gd name="connsiteY331" fmla="*/ 2312106 h 4663390"/>
              <a:gd name="connsiteX332" fmla="*/ 3550876 w 10607040"/>
              <a:gd name="connsiteY332" fmla="*/ 1763466 h 4663390"/>
              <a:gd name="connsiteX333" fmla="*/ 4099516 w 10607040"/>
              <a:gd name="connsiteY333" fmla="*/ 1763466 h 4663390"/>
              <a:gd name="connsiteX334" fmla="*/ 4099516 w 10607040"/>
              <a:gd name="connsiteY334" fmla="*/ 2312106 h 4663390"/>
              <a:gd name="connsiteX335" fmla="*/ 3550876 w 10607040"/>
              <a:gd name="connsiteY335" fmla="*/ 2312106 h 4663390"/>
              <a:gd name="connsiteX336" fmla="*/ 2959206 w 10607040"/>
              <a:gd name="connsiteY336" fmla="*/ 1763466 h 4663390"/>
              <a:gd name="connsiteX337" fmla="*/ 3507830 w 10607040"/>
              <a:gd name="connsiteY337" fmla="*/ 1763466 h 4663390"/>
              <a:gd name="connsiteX338" fmla="*/ 3507830 w 10607040"/>
              <a:gd name="connsiteY338" fmla="*/ 2312106 h 4663390"/>
              <a:gd name="connsiteX339" fmla="*/ 2959206 w 10607040"/>
              <a:gd name="connsiteY339" fmla="*/ 2312106 h 4663390"/>
              <a:gd name="connsiteX340" fmla="*/ 2367518 w 10607040"/>
              <a:gd name="connsiteY340" fmla="*/ 1763466 h 4663390"/>
              <a:gd name="connsiteX341" fmla="*/ 2916160 w 10607040"/>
              <a:gd name="connsiteY341" fmla="*/ 1763466 h 4663390"/>
              <a:gd name="connsiteX342" fmla="*/ 2916160 w 10607040"/>
              <a:gd name="connsiteY342" fmla="*/ 2312106 h 4663390"/>
              <a:gd name="connsiteX343" fmla="*/ 2367518 w 10607040"/>
              <a:gd name="connsiteY343" fmla="*/ 2312106 h 4663390"/>
              <a:gd name="connsiteX344" fmla="*/ 1775829 w 10607040"/>
              <a:gd name="connsiteY344" fmla="*/ 1763466 h 4663390"/>
              <a:gd name="connsiteX345" fmla="*/ 2324472 w 10607040"/>
              <a:gd name="connsiteY345" fmla="*/ 1763466 h 4663390"/>
              <a:gd name="connsiteX346" fmla="*/ 2324472 w 10607040"/>
              <a:gd name="connsiteY346" fmla="*/ 2312106 h 4663390"/>
              <a:gd name="connsiteX347" fmla="*/ 1775829 w 10607040"/>
              <a:gd name="connsiteY347" fmla="*/ 2312106 h 4663390"/>
              <a:gd name="connsiteX348" fmla="*/ 1184144 w 10607040"/>
              <a:gd name="connsiteY348" fmla="*/ 1763466 h 4663390"/>
              <a:gd name="connsiteX349" fmla="*/ 1732783 w 10607040"/>
              <a:gd name="connsiteY349" fmla="*/ 1763466 h 4663390"/>
              <a:gd name="connsiteX350" fmla="*/ 1732783 w 10607040"/>
              <a:gd name="connsiteY350" fmla="*/ 2312106 h 4663390"/>
              <a:gd name="connsiteX351" fmla="*/ 1184144 w 10607040"/>
              <a:gd name="connsiteY351" fmla="*/ 2312106 h 4663390"/>
              <a:gd name="connsiteX352" fmla="*/ 592459 w 10607040"/>
              <a:gd name="connsiteY352" fmla="*/ 1763466 h 4663390"/>
              <a:gd name="connsiteX353" fmla="*/ 1141098 w 10607040"/>
              <a:gd name="connsiteY353" fmla="*/ 1763466 h 4663390"/>
              <a:gd name="connsiteX354" fmla="*/ 1141098 w 10607040"/>
              <a:gd name="connsiteY354" fmla="*/ 2312106 h 4663390"/>
              <a:gd name="connsiteX355" fmla="*/ 592459 w 10607040"/>
              <a:gd name="connsiteY355" fmla="*/ 2312106 h 4663390"/>
              <a:gd name="connsiteX356" fmla="*/ 773 w 10607040"/>
              <a:gd name="connsiteY356" fmla="*/ 1763466 h 4663390"/>
              <a:gd name="connsiteX357" fmla="*/ 549413 w 10607040"/>
              <a:gd name="connsiteY357" fmla="*/ 1763466 h 4663390"/>
              <a:gd name="connsiteX358" fmla="*/ 549413 w 10607040"/>
              <a:gd name="connsiteY358" fmla="*/ 2312106 h 4663390"/>
              <a:gd name="connsiteX359" fmla="*/ 773 w 10607040"/>
              <a:gd name="connsiteY359" fmla="*/ 2312106 h 4663390"/>
              <a:gd name="connsiteX360" fmla="*/ 10059044 w 10607040"/>
              <a:gd name="connsiteY360" fmla="*/ 1175645 h 4663390"/>
              <a:gd name="connsiteX361" fmla="*/ 10607040 w 10607040"/>
              <a:gd name="connsiteY361" fmla="*/ 1175645 h 4663390"/>
              <a:gd name="connsiteX362" fmla="*/ 10607040 w 10607040"/>
              <a:gd name="connsiteY362" fmla="*/ 1724285 h 4663390"/>
              <a:gd name="connsiteX363" fmla="*/ 10059044 w 10607040"/>
              <a:gd name="connsiteY363" fmla="*/ 1724285 h 4663390"/>
              <a:gd name="connsiteX364" fmla="*/ 9467356 w 10607040"/>
              <a:gd name="connsiteY364" fmla="*/ 1175644 h 4663390"/>
              <a:gd name="connsiteX365" fmla="*/ 10015996 w 10607040"/>
              <a:gd name="connsiteY365" fmla="*/ 1175644 h 4663390"/>
              <a:gd name="connsiteX366" fmla="*/ 10015996 w 10607040"/>
              <a:gd name="connsiteY366" fmla="*/ 1724284 h 4663390"/>
              <a:gd name="connsiteX367" fmla="*/ 9467356 w 10607040"/>
              <a:gd name="connsiteY367" fmla="*/ 1724284 h 4663390"/>
              <a:gd name="connsiteX368" fmla="*/ 8875670 w 10607040"/>
              <a:gd name="connsiteY368" fmla="*/ 1175644 h 4663390"/>
              <a:gd name="connsiteX369" fmla="*/ 9424310 w 10607040"/>
              <a:gd name="connsiteY369" fmla="*/ 1175644 h 4663390"/>
              <a:gd name="connsiteX370" fmla="*/ 9424310 w 10607040"/>
              <a:gd name="connsiteY370" fmla="*/ 1724284 h 4663390"/>
              <a:gd name="connsiteX371" fmla="*/ 8875670 w 10607040"/>
              <a:gd name="connsiteY371" fmla="*/ 1724284 h 4663390"/>
              <a:gd name="connsiteX372" fmla="*/ 8283984 w 10607040"/>
              <a:gd name="connsiteY372" fmla="*/ 1175644 h 4663390"/>
              <a:gd name="connsiteX373" fmla="*/ 8832624 w 10607040"/>
              <a:gd name="connsiteY373" fmla="*/ 1175644 h 4663390"/>
              <a:gd name="connsiteX374" fmla="*/ 8832624 w 10607040"/>
              <a:gd name="connsiteY374" fmla="*/ 1724284 h 4663390"/>
              <a:gd name="connsiteX375" fmla="*/ 8283984 w 10607040"/>
              <a:gd name="connsiteY375" fmla="*/ 1724284 h 4663390"/>
              <a:gd name="connsiteX376" fmla="*/ 7692298 w 10607040"/>
              <a:gd name="connsiteY376" fmla="*/ 1175644 h 4663390"/>
              <a:gd name="connsiteX377" fmla="*/ 8240938 w 10607040"/>
              <a:gd name="connsiteY377" fmla="*/ 1175644 h 4663390"/>
              <a:gd name="connsiteX378" fmla="*/ 8240938 w 10607040"/>
              <a:gd name="connsiteY378" fmla="*/ 1724284 h 4663390"/>
              <a:gd name="connsiteX379" fmla="*/ 7692298 w 10607040"/>
              <a:gd name="connsiteY379" fmla="*/ 1724284 h 4663390"/>
              <a:gd name="connsiteX380" fmla="*/ 7100612 w 10607040"/>
              <a:gd name="connsiteY380" fmla="*/ 1175644 h 4663390"/>
              <a:gd name="connsiteX381" fmla="*/ 7649252 w 10607040"/>
              <a:gd name="connsiteY381" fmla="*/ 1175644 h 4663390"/>
              <a:gd name="connsiteX382" fmla="*/ 7649252 w 10607040"/>
              <a:gd name="connsiteY382" fmla="*/ 1724284 h 4663390"/>
              <a:gd name="connsiteX383" fmla="*/ 7100612 w 10607040"/>
              <a:gd name="connsiteY383" fmla="*/ 1724284 h 4663390"/>
              <a:gd name="connsiteX384" fmla="*/ 6508926 w 10607040"/>
              <a:gd name="connsiteY384" fmla="*/ 1175644 h 4663390"/>
              <a:gd name="connsiteX385" fmla="*/ 7057566 w 10607040"/>
              <a:gd name="connsiteY385" fmla="*/ 1175644 h 4663390"/>
              <a:gd name="connsiteX386" fmla="*/ 7057566 w 10607040"/>
              <a:gd name="connsiteY386" fmla="*/ 1724284 h 4663390"/>
              <a:gd name="connsiteX387" fmla="*/ 6508926 w 10607040"/>
              <a:gd name="connsiteY387" fmla="*/ 1724284 h 4663390"/>
              <a:gd name="connsiteX388" fmla="*/ 5917240 w 10607040"/>
              <a:gd name="connsiteY388" fmla="*/ 1175644 h 4663390"/>
              <a:gd name="connsiteX389" fmla="*/ 6465880 w 10607040"/>
              <a:gd name="connsiteY389" fmla="*/ 1175644 h 4663390"/>
              <a:gd name="connsiteX390" fmla="*/ 6465880 w 10607040"/>
              <a:gd name="connsiteY390" fmla="*/ 1724284 h 4663390"/>
              <a:gd name="connsiteX391" fmla="*/ 5917240 w 10607040"/>
              <a:gd name="connsiteY391" fmla="*/ 1724284 h 4663390"/>
              <a:gd name="connsiteX392" fmla="*/ 5325554 w 10607040"/>
              <a:gd name="connsiteY392" fmla="*/ 1175644 h 4663390"/>
              <a:gd name="connsiteX393" fmla="*/ 5874194 w 10607040"/>
              <a:gd name="connsiteY393" fmla="*/ 1175644 h 4663390"/>
              <a:gd name="connsiteX394" fmla="*/ 5874194 w 10607040"/>
              <a:gd name="connsiteY394" fmla="*/ 1724284 h 4663390"/>
              <a:gd name="connsiteX395" fmla="*/ 5325554 w 10607040"/>
              <a:gd name="connsiteY395" fmla="*/ 1724284 h 4663390"/>
              <a:gd name="connsiteX396" fmla="*/ 4733868 w 10607040"/>
              <a:gd name="connsiteY396" fmla="*/ 1175644 h 4663390"/>
              <a:gd name="connsiteX397" fmla="*/ 5282508 w 10607040"/>
              <a:gd name="connsiteY397" fmla="*/ 1175644 h 4663390"/>
              <a:gd name="connsiteX398" fmla="*/ 5282508 w 10607040"/>
              <a:gd name="connsiteY398" fmla="*/ 1724284 h 4663390"/>
              <a:gd name="connsiteX399" fmla="*/ 4733868 w 10607040"/>
              <a:gd name="connsiteY399" fmla="*/ 1724284 h 4663390"/>
              <a:gd name="connsiteX400" fmla="*/ 4142182 w 10607040"/>
              <a:gd name="connsiteY400" fmla="*/ 1175644 h 4663390"/>
              <a:gd name="connsiteX401" fmla="*/ 4690822 w 10607040"/>
              <a:gd name="connsiteY401" fmla="*/ 1175644 h 4663390"/>
              <a:gd name="connsiteX402" fmla="*/ 4690822 w 10607040"/>
              <a:gd name="connsiteY402" fmla="*/ 1724284 h 4663390"/>
              <a:gd name="connsiteX403" fmla="*/ 4142182 w 10607040"/>
              <a:gd name="connsiteY403" fmla="*/ 1724284 h 4663390"/>
              <a:gd name="connsiteX404" fmla="*/ 3550496 w 10607040"/>
              <a:gd name="connsiteY404" fmla="*/ 1175644 h 4663390"/>
              <a:gd name="connsiteX405" fmla="*/ 4099136 w 10607040"/>
              <a:gd name="connsiteY405" fmla="*/ 1175644 h 4663390"/>
              <a:gd name="connsiteX406" fmla="*/ 4099136 w 10607040"/>
              <a:gd name="connsiteY406" fmla="*/ 1724284 h 4663390"/>
              <a:gd name="connsiteX407" fmla="*/ 3550496 w 10607040"/>
              <a:gd name="connsiteY407" fmla="*/ 1724284 h 4663390"/>
              <a:gd name="connsiteX408" fmla="*/ 2958830 w 10607040"/>
              <a:gd name="connsiteY408" fmla="*/ 1175644 h 4663390"/>
              <a:gd name="connsiteX409" fmla="*/ 3507450 w 10607040"/>
              <a:gd name="connsiteY409" fmla="*/ 1175644 h 4663390"/>
              <a:gd name="connsiteX410" fmla="*/ 3507450 w 10607040"/>
              <a:gd name="connsiteY410" fmla="*/ 1724284 h 4663390"/>
              <a:gd name="connsiteX411" fmla="*/ 2958830 w 10607040"/>
              <a:gd name="connsiteY411" fmla="*/ 1724284 h 4663390"/>
              <a:gd name="connsiteX412" fmla="*/ 2367141 w 10607040"/>
              <a:gd name="connsiteY412" fmla="*/ 1175644 h 4663390"/>
              <a:gd name="connsiteX413" fmla="*/ 2915784 w 10607040"/>
              <a:gd name="connsiteY413" fmla="*/ 1175644 h 4663390"/>
              <a:gd name="connsiteX414" fmla="*/ 2915784 w 10607040"/>
              <a:gd name="connsiteY414" fmla="*/ 1724284 h 4663390"/>
              <a:gd name="connsiteX415" fmla="*/ 2367141 w 10607040"/>
              <a:gd name="connsiteY415" fmla="*/ 1724284 h 4663390"/>
              <a:gd name="connsiteX416" fmla="*/ 1775452 w 10607040"/>
              <a:gd name="connsiteY416" fmla="*/ 1175644 h 4663390"/>
              <a:gd name="connsiteX417" fmla="*/ 2324095 w 10607040"/>
              <a:gd name="connsiteY417" fmla="*/ 1175644 h 4663390"/>
              <a:gd name="connsiteX418" fmla="*/ 2324095 w 10607040"/>
              <a:gd name="connsiteY418" fmla="*/ 1724284 h 4663390"/>
              <a:gd name="connsiteX419" fmla="*/ 1775452 w 10607040"/>
              <a:gd name="connsiteY419" fmla="*/ 1724284 h 4663390"/>
              <a:gd name="connsiteX420" fmla="*/ 1183767 w 10607040"/>
              <a:gd name="connsiteY420" fmla="*/ 1175644 h 4663390"/>
              <a:gd name="connsiteX421" fmla="*/ 1732406 w 10607040"/>
              <a:gd name="connsiteY421" fmla="*/ 1175644 h 4663390"/>
              <a:gd name="connsiteX422" fmla="*/ 1732406 w 10607040"/>
              <a:gd name="connsiteY422" fmla="*/ 1724284 h 4663390"/>
              <a:gd name="connsiteX423" fmla="*/ 1183767 w 10607040"/>
              <a:gd name="connsiteY423" fmla="*/ 1724284 h 4663390"/>
              <a:gd name="connsiteX424" fmla="*/ 592081 w 10607040"/>
              <a:gd name="connsiteY424" fmla="*/ 1175644 h 4663390"/>
              <a:gd name="connsiteX425" fmla="*/ 1140721 w 10607040"/>
              <a:gd name="connsiteY425" fmla="*/ 1175644 h 4663390"/>
              <a:gd name="connsiteX426" fmla="*/ 1140721 w 10607040"/>
              <a:gd name="connsiteY426" fmla="*/ 1724284 h 4663390"/>
              <a:gd name="connsiteX427" fmla="*/ 592081 w 10607040"/>
              <a:gd name="connsiteY427" fmla="*/ 1724284 h 4663390"/>
              <a:gd name="connsiteX428" fmla="*/ 396 w 10607040"/>
              <a:gd name="connsiteY428" fmla="*/ 1175644 h 4663390"/>
              <a:gd name="connsiteX429" fmla="*/ 549036 w 10607040"/>
              <a:gd name="connsiteY429" fmla="*/ 1175644 h 4663390"/>
              <a:gd name="connsiteX430" fmla="*/ 549036 w 10607040"/>
              <a:gd name="connsiteY430" fmla="*/ 1724284 h 4663390"/>
              <a:gd name="connsiteX431" fmla="*/ 396 w 10607040"/>
              <a:gd name="connsiteY431" fmla="*/ 1724284 h 4663390"/>
              <a:gd name="connsiteX432" fmla="*/ 10058664 w 10607040"/>
              <a:gd name="connsiteY432" fmla="*/ 587823 h 4663390"/>
              <a:gd name="connsiteX433" fmla="*/ 10607040 w 10607040"/>
              <a:gd name="connsiteY433" fmla="*/ 587823 h 4663390"/>
              <a:gd name="connsiteX434" fmla="*/ 10607040 w 10607040"/>
              <a:gd name="connsiteY434" fmla="*/ 1136463 h 4663390"/>
              <a:gd name="connsiteX435" fmla="*/ 10058664 w 10607040"/>
              <a:gd name="connsiteY435" fmla="*/ 1136463 h 4663390"/>
              <a:gd name="connsiteX436" fmla="*/ 9466976 w 10607040"/>
              <a:gd name="connsiteY436" fmla="*/ 587822 h 4663390"/>
              <a:gd name="connsiteX437" fmla="*/ 10015616 w 10607040"/>
              <a:gd name="connsiteY437" fmla="*/ 587822 h 4663390"/>
              <a:gd name="connsiteX438" fmla="*/ 10015616 w 10607040"/>
              <a:gd name="connsiteY438" fmla="*/ 1136462 h 4663390"/>
              <a:gd name="connsiteX439" fmla="*/ 9466976 w 10607040"/>
              <a:gd name="connsiteY439" fmla="*/ 1136462 h 4663390"/>
              <a:gd name="connsiteX440" fmla="*/ 8875290 w 10607040"/>
              <a:gd name="connsiteY440" fmla="*/ 587822 h 4663390"/>
              <a:gd name="connsiteX441" fmla="*/ 9423930 w 10607040"/>
              <a:gd name="connsiteY441" fmla="*/ 587822 h 4663390"/>
              <a:gd name="connsiteX442" fmla="*/ 9423930 w 10607040"/>
              <a:gd name="connsiteY442" fmla="*/ 1136462 h 4663390"/>
              <a:gd name="connsiteX443" fmla="*/ 8875290 w 10607040"/>
              <a:gd name="connsiteY443" fmla="*/ 1136462 h 4663390"/>
              <a:gd name="connsiteX444" fmla="*/ 8283604 w 10607040"/>
              <a:gd name="connsiteY444" fmla="*/ 587822 h 4663390"/>
              <a:gd name="connsiteX445" fmla="*/ 8832244 w 10607040"/>
              <a:gd name="connsiteY445" fmla="*/ 587822 h 4663390"/>
              <a:gd name="connsiteX446" fmla="*/ 8832244 w 10607040"/>
              <a:gd name="connsiteY446" fmla="*/ 1136462 h 4663390"/>
              <a:gd name="connsiteX447" fmla="*/ 8283604 w 10607040"/>
              <a:gd name="connsiteY447" fmla="*/ 1136462 h 4663390"/>
              <a:gd name="connsiteX448" fmla="*/ 7691918 w 10607040"/>
              <a:gd name="connsiteY448" fmla="*/ 587822 h 4663390"/>
              <a:gd name="connsiteX449" fmla="*/ 8240558 w 10607040"/>
              <a:gd name="connsiteY449" fmla="*/ 587822 h 4663390"/>
              <a:gd name="connsiteX450" fmla="*/ 8240558 w 10607040"/>
              <a:gd name="connsiteY450" fmla="*/ 1136462 h 4663390"/>
              <a:gd name="connsiteX451" fmla="*/ 7691918 w 10607040"/>
              <a:gd name="connsiteY451" fmla="*/ 1136462 h 4663390"/>
              <a:gd name="connsiteX452" fmla="*/ 7100232 w 10607040"/>
              <a:gd name="connsiteY452" fmla="*/ 587822 h 4663390"/>
              <a:gd name="connsiteX453" fmla="*/ 7648872 w 10607040"/>
              <a:gd name="connsiteY453" fmla="*/ 587822 h 4663390"/>
              <a:gd name="connsiteX454" fmla="*/ 7648872 w 10607040"/>
              <a:gd name="connsiteY454" fmla="*/ 1136462 h 4663390"/>
              <a:gd name="connsiteX455" fmla="*/ 7100232 w 10607040"/>
              <a:gd name="connsiteY455" fmla="*/ 1136462 h 4663390"/>
              <a:gd name="connsiteX456" fmla="*/ 6508546 w 10607040"/>
              <a:gd name="connsiteY456" fmla="*/ 587822 h 4663390"/>
              <a:gd name="connsiteX457" fmla="*/ 7057186 w 10607040"/>
              <a:gd name="connsiteY457" fmla="*/ 587822 h 4663390"/>
              <a:gd name="connsiteX458" fmla="*/ 7057186 w 10607040"/>
              <a:gd name="connsiteY458" fmla="*/ 1136462 h 4663390"/>
              <a:gd name="connsiteX459" fmla="*/ 6508546 w 10607040"/>
              <a:gd name="connsiteY459" fmla="*/ 1136462 h 4663390"/>
              <a:gd name="connsiteX460" fmla="*/ 5916860 w 10607040"/>
              <a:gd name="connsiteY460" fmla="*/ 587822 h 4663390"/>
              <a:gd name="connsiteX461" fmla="*/ 6465500 w 10607040"/>
              <a:gd name="connsiteY461" fmla="*/ 587822 h 4663390"/>
              <a:gd name="connsiteX462" fmla="*/ 6465500 w 10607040"/>
              <a:gd name="connsiteY462" fmla="*/ 1136462 h 4663390"/>
              <a:gd name="connsiteX463" fmla="*/ 5916860 w 10607040"/>
              <a:gd name="connsiteY463" fmla="*/ 1136462 h 4663390"/>
              <a:gd name="connsiteX464" fmla="*/ 5325174 w 10607040"/>
              <a:gd name="connsiteY464" fmla="*/ 587822 h 4663390"/>
              <a:gd name="connsiteX465" fmla="*/ 5873814 w 10607040"/>
              <a:gd name="connsiteY465" fmla="*/ 587822 h 4663390"/>
              <a:gd name="connsiteX466" fmla="*/ 5873814 w 10607040"/>
              <a:gd name="connsiteY466" fmla="*/ 1136462 h 4663390"/>
              <a:gd name="connsiteX467" fmla="*/ 5325174 w 10607040"/>
              <a:gd name="connsiteY467" fmla="*/ 1136462 h 4663390"/>
              <a:gd name="connsiteX468" fmla="*/ 4733488 w 10607040"/>
              <a:gd name="connsiteY468" fmla="*/ 587822 h 4663390"/>
              <a:gd name="connsiteX469" fmla="*/ 5282128 w 10607040"/>
              <a:gd name="connsiteY469" fmla="*/ 587822 h 4663390"/>
              <a:gd name="connsiteX470" fmla="*/ 5282128 w 10607040"/>
              <a:gd name="connsiteY470" fmla="*/ 1136462 h 4663390"/>
              <a:gd name="connsiteX471" fmla="*/ 4733488 w 10607040"/>
              <a:gd name="connsiteY471" fmla="*/ 1136462 h 4663390"/>
              <a:gd name="connsiteX472" fmla="*/ 4141802 w 10607040"/>
              <a:gd name="connsiteY472" fmla="*/ 587822 h 4663390"/>
              <a:gd name="connsiteX473" fmla="*/ 4690442 w 10607040"/>
              <a:gd name="connsiteY473" fmla="*/ 587822 h 4663390"/>
              <a:gd name="connsiteX474" fmla="*/ 4690442 w 10607040"/>
              <a:gd name="connsiteY474" fmla="*/ 1136462 h 4663390"/>
              <a:gd name="connsiteX475" fmla="*/ 4141802 w 10607040"/>
              <a:gd name="connsiteY475" fmla="*/ 1136462 h 4663390"/>
              <a:gd name="connsiteX476" fmla="*/ 3550116 w 10607040"/>
              <a:gd name="connsiteY476" fmla="*/ 587822 h 4663390"/>
              <a:gd name="connsiteX477" fmla="*/ 4098756 w 10607040"/>
              <a:gd name="connsiteY477" fmla="*/ 587822 h 4663390"/>
              <a:gd name="connsiteX478" fmla="*/ 4098756 w 10607040"/>
              <a:gd name="connsiteY478" fmla="*/ 1136462 h 4663390"/>
              <a:gd name="connsiteX479" fmla="*/ 3550116 w 10607040"/>
              <a:gd name="connsiteY479" fmla="*/ 1136462 h 4663390"/>
              <a:gd name="connsiteX480" fmla="*/ 2958453 w 10607040"/>
              <a:gd name="connsiteY480" fmla="*/ 587822 h 4663390"/>
              <a:gd name="connsiteX481" fmla="*/ 3507070 w 10607040"/>
              <a:gd name="connsiteY481" fmla="*/ 587822 h 4663390"/>
              <a:gd name="connsiteX482" fmla="*/ 3507070 w 10607040"/>
              <a:gd name="connsiteY482" fmla="*/ 1136462 h 4663390"/>
              <a:gd name="connsiteX483" fmla="*/ 2958453 w 10607040"/>
              <a:gd name="connsiteY483" fmla="*/ 1136462 h 4663390"/>
              <a:gd name="connsiteX484" fmla="*/ 2366764 w 10607040"/>
              <a:gd name="connsiteY484" fmla="*/ 587822 h 4663390"/>
              <a:gd name="connsiteX485" fmla="*/ 2915408 w 10607040"/>
              <a:gd name="connsiteY485" fmla="*/ 587822 h 4663390"/>
              <a:gd name="connsiteX486" fmla="*/ 2915408 w 10607040"/>
              <a:gd name="connsiteY486" fmla="*/ 1136462 h 4663390"/>
              <a:gd name="connsiteX487" fmla="*/ 2366764 w 10607040"/>
              <a:gd name="connsiteY487" fmla="*/ 1136462 h 4663390"/>
              <a:gd name="connsiteX488" fmla="*/ 1775075 w 10607040"/>
              <a:gd name="connsiteY488" fmla="*/ 587822 h 4663390"/>
              <a:gd name="connsiteX489" fmla="*/ 2323718 w 10607040"/>
              <a:gd name="connsiteY489" fmla="*/ 587822 h 4663390"/>
              <a:gd name="connsiteX490" fmla="*/ 2323718 w 10607040"/>
              <a:gd name="connsiteY490" fmla="*/ 1136462 h 4663390"/>
              <a:gd name="connsiteX491" fmla="*/ 1775075 w 10607040"/>
              <a:gd name="connsiteY491" fmla="*/ 1136462 h 4663390"/>
              <a:gd name="connsiteX492" fmla="*/ 1183389 w 10607040"/>
              <a:gd name="connsiteY492" fmla="*/ 587822 h 4663390"/>
              <a:gd name="connsiteX493" fmla="*/ 1732028 w 10607040"/>
              <a:gd name="connsiteY493" fmla="*/ 587822 h 4663390"/>
              <a:gd name="connsiteX494" fmla="*/ 1732028 w 10607040"/>
              <a:gd name="connsiteY494" fmla="*/ 1136462 h 4663390"/>
              <a:gd name="connsiteX495" fmla="*/ 1183389 w 10607040"/>
              <a:gd name="connsiteY495" fmla="*/ 1136462 h 4663390"/>
              <a:gd name="connsiteX496" fmla="*/ 591704 w 10607040"/>
              <a:gd name="connsiteY496" fmla="*/ 587822 h 4663390"/>
              <a:gd name="connsiteX497" fmla="*/ 1140344 w 10607040"/>
              <a:gd name="connsiteY497" fmla="*/ 587822 h 4663390"/>
              <a:gd name="connsiteX498" fmla="*/ 1140344 w 10607040"/>
              <a:gd name="connsiteY498" fmla="*/ 1136462 h 4663390"/>
              <a:gd name="connsiteX499" fmla="*/ 591704 w 10607040"/>
              <a:gd name="connsiteY499" fmla="*/ 1136462 h 4663390"/>
              <a:gd name="connsiteX500" fmla="*/ 18 w 10607040"/>
              <a:gd name="connsiteY500" fmla="*/ 587822 h 4663390"/>
              <a:gd name="connsiteX501" fmla="*/ 548658 w 10607040"/>
              <a:gd name="connsiteY501" fmla="*/ 587822 h 4663390"/>
              <a:gd name="connsiteX502" fmla="*/ 548658 w 10607040"/>
              <a:gd name="connsiteY502" fmla="*/ 1136462 h 4663390"/>
              <a:gd name="connsiteX503" fmla="*/ 18 w 10607040"/>
              <a:gd name="connsiteY503" fmla="*/ 1136462 h 4663390"/>
              <a:gd name="connsiteX504" fmla="*/ 10058284 w 10607040"/>
              <a:gd name="connsiteY504" fmla="*/ 1 h 4663390"/>
              <a:gd name="connsiteX505" fmla="*/ 10606924 w 10607040"/>
              <a:gd name="connsiteY505" fmla="*/ 1 h 4663390"/>
              <a:gd name="connsiteX506" fmla="*/ 10606924 w 10607040"/>
              <a:gd name="connsiteY506" fmla="*/ 548641 h 4663390"/>
              <a:gd name="connsiteX507" fmla="*/ 10058284 w 10607040"/>
              <a:gd name="connsiteY507" fmla="*/ 548641 h 4663390"/>
              <a:gd name="connsiteX508" fmla="*/ 9466596 w 10607040"/>
              <a:gd name="connsiteY508" fmla="*/ 0 h 4663390"/>
              <a:gd name="connsiteX509" fmla="*/ 10015236 w 10607040"/>
              <a:gd name="connsiteY509" fmla="*/ 0 h 4663390"/>
              <a:gd name="connsiteX510" fmla="*/ 10015236 w 10607040"/>
              <a:gd name="connsiteY510" fmla="*/ 548640 h 4663390"/>
              <a:gd name="connsiteX511" fmla="*/ 9466596 w 10607040"/>
              <a:gd name="connsiteY511" fmla="*/ 548640 h 4663390"/>
              <a:gd name="connsiteX512" fmla="*/ 8874910 w 10607040"/>
              <a:gd name="connsiteY512" fmla="*/ 0 h 4663390"/>
              <a:gd name="connsiteX513" fmla="*/ 9423550 w 10607040"/>
              <a:gd name="connsiteY513" fmla="*/ 0 h 4663390"/>
              <a:gd name="connsiteX514" fmla="*/ 9423550 w 10607040"/>
              <a:gd name="connsiteY514" fmla="*/ 548640 h 4663390"/>
              <a:gd name="connsiteX515" fmla="*/ 8874910 w 10607040"/>
              <a:gd name="connsiteY515" fmla="*/ 548640 h 4663390"/>
              <a:gd name="connsiteX516" fmla="*/ 8283224 w 10607040"/>
              <a:gd name="connsiteY516" fmla="*/ 0 h 4663390"/>
              <a:gd name="connsiteX517" fmla="*/ 8831864 w 10607040"/>
              <a:gd name="connsiteY517" fmla="*/ 0 h 4663390"/>
              <a:gd name="connsiteX518" fmla="*/ 8831864 w 10607040"/>
              <a:gd name="connsiteY518" fmla="*/ 548640 h 4663390"/>
              <a:gd name="connsiteX519" fmla="*/ 8283224 w 10607040"/>
              <a:gd name="connsiteY519" fmla="*/ 548640 h 4663390"/>
              <a:gd name="connsiteX520" fmla="*/ 7691538 w 10607040"/>
              <a:gd name="connsiteY520" fmla="*/ 0 h 4663390"/>
              <a:gd name="connsiteX521" fmla="*/ 8240178 w 10607040"/>
              <a:gd name="connsiteY521" fmla="*/ 0 h 4663390"/>
              <a:gd name="connsiteX522" fmla="*/ 8240178 w 10607040"/>
              <a:gd name="connsiteY522" fmla="*/ 548640 h 4663390"/>
              <a:gd name="connsiteX523" fmla="*/ 7691538 w 10607040"/>
              <a:gd name="connsiteY523" fmla="*/ 548640 h 4663390"/>
              <a:gd name="connsiteX524" fmla="*/ 7099852 w 10607040"/>
              <a:gd name="connsiteY524" fmla="*/ 0 h 4663390"/>
              <a:gd name="connsiteX525" fmla="*/ 7648492 w 10607040"/>
              <a:gd name="connsiteY525" fmla="*/ 0 h 4663390"/>
              <a:gd name="connsiteX526" fmla="*/ 7648492 w 10607040"/>
              <a:gd name="connsiteY526" fmla="*/ 548640 h 4663390"/>
              <a:gd name="connsiteX527" fmla="*/ 7099852 w 10607040"/>
              <a:gd name="connsiteY527" fmla="*/ 548640 h 4663390"/>
              <a:gd name="connsiteX528" fmla="*/ 6508166 w 10607040"/>
              <a:gd name="connsiteY528" fmla="*/ 0 h 4663390"/>
              <a:gd name="connsiteX529" fmla="*/ 7056806 w 10607040"/>
              <a:gd name="connsiteY529" fmla="*/ 0 h 4663390"/>
              <a:gd name="connsiteX530" fmla="*/ 7056806 w 10607040"/>
              <a:gd name="connsiteY530" fmla="*/ 548640 h 4663390"/>
              <a:gd name="connsiteX531" fmla="*/ 6508166 w 10607040"/>
              <a:gd name="connsiteY531" fmla="*/ 548640 h 4663390"/>
              <a:gd name="connsiteX532" fmla="*/ 5916480 w 10607040"/>
              <a:gd name="connsiteY532" fmla="*/ 0 h 4663390"/>
              <a:gd name="connsiteX533" fmla="*/ 6465120 w 10607040"/>
              <a:gd name="connsiteY533" fmla="*/ 0 h 4663390"/>
              <a:gd name="connsiteX534" fmla="*/ 6465120 w 10607040"/>
              <a:gd name="connsiteY534" fmla="*/ 548640 h 4663390"/>
              <a:gd name="connsiteX535" fmla="*/ 5916480 w 10607040"/>
              <a:gd name="connsiteY535" fmla="*/ 548640 h 4663390"/>
              <a:gd name="connsiteX536" fmla="*/ 5324794 w 10607040"/>
              <a:gd name="connsiteY536" fmla="*/ 0 h 4663390"/>
              <a:gd name="connsiteX537" fmla="*/ 5873434 w 10607040"/>
              <a:gd name="connsiteY537" fmla="*/ 0 h 4663390"/>
              <a:gd name="connsiteX538" fmla="*/ 5873434 w 10607040"/>
              <a:gd name="connsiteY538" fmla="*/ 548640 h 4663390"/>
              <a:gd name="connsiteX539" fmla="*/ 5324794 w 10607040"/>
              <a:gd name="connsiteY539" fmla="*/ 548640 h 4663390"/>
              <a:gd name="connsiteX540" fmla="*/ 4733108 w 10607040"/>
              <a:gd name="connsiteY540" fmla="*/ 0 h 4663390"/>
              <a:gd name="connsiteX541" fmla="*/ 5281748 w 10607040"/>
              <a:gd name="connsiteY541" fmla="*/ 0 h 4663390"/>
              <a:gd name="connsiteX542" fmla="*/ 5281748 w 10607040"/>
              <a:gd name="connsiteY542" fmla="*/ 548640 h 4663390"/>
              <a:gd name="connsiteX543" fmla="*/ 4733108 w 10607040"/>
              <a:gd name="connsiteY543" fmla="*/ 548640 h 4663390"/>
              <a:gd name="connsiteX544" fmla="*/ 4141422 w 10607040"/>
              <a:gd name="connsiteY544" fmla="*/ 0 h 4663390"/>
              <a:gd name="connsiteX545" fmla="*/ 4690062 w 10607040"/>
              <a:gd name="connsiteY545" fmla="*/ 0 h 4663390"/>
              <a:gd name="connsiteX546" fmla="*/ 4690062 w 10607040"/>
              <a:gd name="connsiteY546" fmla="*/ 548640 h 4663390"/>
              <a:gd name="connsiteX547" fmla="*/ 4141422 w 10607040"/>
              <a:gd name="connsiteY547" fmla="*/ 548640 h 4663390"/>
              <a:gd name="connsiteX548" fmla="*/ 3549736 w 10607040"/>
              <a:gd name="connsiteY548" fmla="*/ 0 h 4663390"/>
              <a:gd name="connsiteX549" fmla="*/ 4098376 w 10607040"/>
              <a:gd name="connsiteY549" fmla="*/ 0 h 4663390"/>
              <a:gd name="connsiteX550" fmla="*/ 4098376 w 10607040"/>
              <a:gd name="connsiteY550" fmla="*/ 548640 h 4663390"/>
              <a:gd name="connsiteX551" fmla="*/ 3549736 w 10607040"/>
              <a:gd name="connsiteY551" fmla="*/ 548640 h 4663390"/>
              <a:gd name="connsiteX552" fmla="*/ 2958077 w 10607040"/>
              <a:gd name="connsiteY552" fmla="*/ 0 h 4663390"/>
              <a:gd name="connsiteX553" fmla="*/ 3506690 w 10607040"/>
              <a:gd name="connsiteY553" fmla="*/ 0 h 4663390"/>
              <a:gd name="connsiteX554" fmla="*/ 3506690 w 10607040"/>
              <a:gd name="connsiteY554" fmla="*/ 548640 h 4663390"/>
              <a:gd name="connsiteX555" fmla="*/ 2958077 w 10607040"/>
              <a:gd name="connsiteY555" fmla="*/ 548640 h 4663390"/>
              <a:gd name="connsiteX556" fmla="*/ 2366387 w 10607040"/>
              <a:gd name="connsiteY556" fmla="*/ 0 h 4663390"/>
              <a:gd name="connsiteX557" fmla="*/ 2915031 w 10607040"/>
              <a:gd name="connsiteY557" fmla="*/ 0 h 4663390"/>
              <a:gd name="connsiteX558" fmla="*/ 2915031 w 10607040"/>
              <a:gd name="connsiteY558" fmla="*/ 548640 h 4663390"/>
              <a:gd name="connsiteX559" fmla="*/ 2366387 w 10607040"/>
              <a:gd name="connsiteY559" fmla="*/ 548640 h 4663390"/>
              <a:gd name="connsiteX560" fmla="*/ 1774697 w 10607040"/>
              <a:gd name="connsiteY560" fmla="*/ 0 h 4663390"/>
              <a:gd name="connsiteX561" fmla="*/ 2323341 w 10607040"/>
              <a:gd name="connsiteY561" fmla="*/ 0 h 4663390"/>
              <a:gd name="connsiteX562" fmla="*/ 2323341 w 10607040"/>
              <a:gd name="connsiteY562" fmla="*/ 548640 h 4663390"/>
              <a:gd name="connsiteX563" fmla="*/ 1774697 w 10607040"/>
              <a:gd name="connsiteY563" fmla="*/ 548640 h 4663390"/>
              <a:gd name="connsiteX564" fmla="*/ 1183012 w 10607040"/>
              <a:gd name="connsiteY564" fmla="*/ 0 h 4663390"/>
              <a:gd name="connsiteX565" fmla="*/ 1731651 w 10607040"/>
              <a:gd name="connsiteY565" fmla="*/ 0 h 4663390"/>
              <a:gd name="connsiteX566" fmla="*/ 1731651 w 10607040"/>
              <a:gd name="connsiteY566" fmla="*/ 548640 h 4663390"/>
              <a:gd name="connsiteX567" fmla="*/ 1183012 w 10607040"/>
              <a:gd name="connsiteY567" fmla="*/ 548640 h 4663390"/>
              <a:gd name="connsiteX568" fmla="*/ 591326 w 10607040"/>
              <a:gd name="connsiteY568" fmla="*/ 0 h 4663390"/>
              <a:gd name="connsiteX569" fmla="*/ 1139966 w 10607040"/>
              <a:gd name="connsiteY569" fmla="*/ 0 h 4663390"/>
              <a:gd name="connsiteX570" fmla="*/ 1139966 w 10607040"/>
              <a:gd name="connsiteY570" fmla="*/ 548640 h 4663390"/>
              <a:gd name="connsiteX571" fmla="*/ 591326 w 10607040"/>
              <a:gd name="connsiteY571" fmla="*/ 548640 h 4663390"/>
              <a:gd name="connsiteX572" fmla="*/ 0 w 10607040"/>
              <a:gd name="connsiteY572" fmla="*/ 0 h 4663390"/>
              <a:gd name="connsiteX573" fmla="*/ 548280 w 10607040"/>
              <a:gd name="connsiteY573" fmla="*/ 0 h 4663390"/>
              <a:gd name="connsiteX574" fmla="*/ 548280 w 10607040"/>
              <a:gd name="connsiteY574" fmla="*/ 548640 h 4663390"/>
              <a:gd name="connsiteX575" fmla="*/ 0 w 10607040"/>
              <a:gd name="connsiteY575" fmla="*/ 548640 h 46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Lst>
            <a:rect l="l" t="t" r="r" b="b"/>
            <a:pathLst>
              <a:path w="10607040" h="4663390">
                <a:moveTo>
                  <a:pt x="10060944" y="4114757"/>
                </a:moveTo>
                <a:lnTo>
                  <a:pt x="10607040" y="4114757"/>
                </a:lnTo>
                <a:lnTo>
                  <a:pt x="10607040" y="4663390"/>
                </a:lnTo>
                <a:lnTo>
                  <a:pt x="10060944" y="4663390"/>
                </a:lnTo>
                <a:close/>
                <a:moveTo>
                  <a:pt x="9469256" y="4114756"/>
                </a:moveTo>
                <a:lnTo>
                  <a:pt x="10017896" y="4114756"/>
                </a:lnTo>
                <a:lnTo>
                  <a:pt x="10017896" y="4663390"/>
                </a:lnTo>
                <a:lnTo>
                  <a:pt x="9469256" y="4663390"/>
                </a:lnTo>
                <a:close/>
                <a:moveTo>
                  <a:pt x="8877570" y="4114756"/>
                </a:moveTo>
                <a:lnTo>
                  <a:pt x="9426210" y="4114756"/>
                </a:lnTo>
                <a:lnTo>
                  <a:pt x="9426210" y="4663390"/>
                </a:lnTo>
                <a:lnTo>
                  <a:pt x="8877570" y="4663390"/>
                </a:lnTo>
                <a:close/>
                <a:moveTo>
                  <a:pt x="8285884" y="4114756"/>
                </a:moveTo>
                <a:lnTo>
                  <a:pt x="8834524" y="4114756"/>
                </a:lnTo>
                <a:lnTo>
                  <a:pt x="8834524" y="4663390"/>
                </a:lnTo>
                <a:lnTo>
                  <a:pt x="8285884" y="4663390"/>
                </a:lnTo>
                <a:close/>
                <a:moveTo>
                  <a:pt x="7694198" y="4114756"/>
                </a:moveTo>
                <a:lnTo>
                  <a:pt x="8242838" y="4114756"/>
                </a:lnTo>
                <a:lnTo>
                  <a:pt x="8242838" y="4663390"/>
                </a:lnTo>
                <a:lnTo>
                  <a:pt x="7694198" y="4663390"/>
                </a:lnTo>
                <a:close/>
                <a:moveTo>
                  <a:pt x="7102512" y="4114756"/>
                </a:moveTo>
                <a:lnTo>
                  <a:pt x="7651152" y="4114756"/>
                </a:lnTo>
                <a:lnTo>
                  <a:pt x="7651152" y="4663390"/>
                </a:lnTo>
                <a:lnTo>
                  <a:pt x="7102512" y="4663390"/>
                </a:lnTo>
                <a:close/>
                <a:moveTo>
                  <a:pt x="6510826" y="4114756"/>
                </a:moveTo>
                <a:lnTo>
                  <a:pt x="7059466" y="4114756"/>
                </a:lnTo>
                <a:lnTo>
                  <a:pt x="7059466" y="4663390"/>
                </a:lnTo>
                <a:lnTo>
                  <a:pt x="6510826" y="4663390"/>
                </a:lnTo>
                <a:close/>
                <a:moveTo>
                  <a:pt x="5919140" y="4114756"/>
                </a:moveTo>
                <a:lnTo>
                  <a:pt x="6467780" y="4114756"/>
                </a:lnTo>
                <a:lnTo>
                  <a:pt x="6467780" y="4663390"/>
                </a:lnTo>
                <a:lnTo>
                  <a:pt x="5919140" y="4663390"/>
                </a:lnTo>
                <a:close/>
                <a:moveTo>
                  <a:pt x="5327454" y="4114756"/>
                </a:moveTo>
                <a:lnTo>
                  <a:pt x="5876094" y="4114756"/>
                </a:lnTo>
                <a:lnTo>
                  <a:pt x="5876094" y="4663390"/>
                </a:lnTo>
                <a:lnTo>
                  <a:pt x="5327454" y="4663390"/>
                </a:lnTo>
                <a:close/>
                <a:moveTo>
                  <a:pt x="4735768" y="4114756"/>
                </a:moveTo>
                <a:lnTo>
                  <a:pt x="5284408" y="4114756"/>
                </a:lnTo>
                <a:lnTo>
                  <a:pt x="5284408" y="4663390"/>
                </a:lnTo>
                <a:lnTo>
                  <a:pt x="4735768" y="4663390"/>
                </a:lnTo>
                <a:close/>
                <a:moveTo>
                  <a:pt x="4144082" y="4114756"/>
                </a:moveTo>
                <a:lnTo>
                  <a:pt x="4692722" y="4114756"/>
                </a:lnTo>
                <a:lnTo>
                  <a:pt x="4692722" y="4663390"/>
                </a:lnTo>
                <a:lnTo>
                  <a:pt x="4144082" y="4663390"/>
                </a:lnTo>
                <a:close/>
                <a:moveTo>
                  <a:pt x="3552396" y="4114756"/>
                </a:moveTo>
                <a:lnTo>
                  <a:pt x="4101036" y="4114756"/>
                </a:lnTo>
                <a:lnTo>
                  <a:pt x="4101036" y="4663390"/>
                </a:lnTo>
                <a:lnTo>
                  <a:pt x="3552396" y="4663390"/>
                </a:lnTo>
                <a:close/>
                <a:moveTo>
                  <a:pt x="2960712" y="4114756"/>
                </a:moveTo>
                <a:lnTo>
                  <a:pt x="3509350" y="4114756"/>
                </a:lnTo>
                <a:lnTo>
                  <a:pt x="3509350" y="4663390"/>
                </a:lnTo>
                <a:lnTo>
                  <a:pt x="2960712" y="4663390"/>
                </a:lnTo>
                <a:close/>
                <a:moveTo>
                  <a:pt x="2369026" y="4114756"/>
                </a:moveTo>
                <a:lnTo>
                  <a:pt x="2917666" y="4114756"/>
                </a:lnTo>
                <a:lnTo>
                  <a:pt x="2917666" y="4663390"/>
                </a:lnTo>
                <a:lnTo>
                  <a:pt x="2369026" y="4663390"/>
                </a:lnTo>
                <a:close/>
                <a:moveTo>
                  <a:pt x="1777340" y="4114756"/>
                </a:moveTo>
                <a:lnTo>
                  <a:pt x="2325980" y="4114756"/>
                </a:lnTo>
                <a:lnTo>
                  <a:pt x="2325980" y="4663390"/>
                </a:lnTo>
                <a:lnTo>
                  <a:pt x="1777340" y="4663390"/>
                </a:lnTo>
                <a:close/>
                <a:moveTo>
                  <a:pt x="1185654" y="4114756"/>
                </a:moveTo>
                <a:lnTo>
                  <a:pt x="1734294" y="4114756"/>
                </a:lnTo>
                <a:lnTo>
                  <a:pt x="1734294" y="4663390"/>
                </a:lnTo>
                <a:lnTo>
                  <a:pt x="1185654" y="4663390"/>
                </a:lnTo>
                <a:close/>
                <a:moveTo>
                  <a:pt x="593968" y="4114756"/>
                </a:moveTo>
                <a:lnTo>
                  <a:pt x="1142608" y="4114756"/>
                </a:lnTo>
                <a:lnTo>
                  <a:pt x="1142608" y="4663390"/>
                </a:lnTo>
                <a:lnTo>
                  <a:pt x="593968" y="4663390"/>
                </a:lnTo>
                <a:close/>
                <a:moveTo>
                  <a:pt x="2283" y="4114756"/>
                </a:moveTo>
                <a:lnTo>
                  <a:pt x="550922" y="4114756"/>
                </a:lnTo>
                <a:lnTo>
                  <a:pt x="550922" y="4663390"/>
                </a:lnTo>
                <a:lnTo>
                  <a:pt x="2283" y="4663390"/>
                </a:lnTo>
                <a:close/>
                <a:moveTo>
                  <a:pt x="10060564" y="3526933"/>
                </a:moveTo>
                <a:lnTo>
                  <a:pt x="10607040" y="3526933"/>
                </a:lnTo>
                <a:lnTo>
                  <a:pt x="10607040" y="4075573"/>
                </a:lnTo>
                <a:lnTo>
                  <a:pt x="10060564" y="4075573"/>
                </a:lnTo>
                <a:close/>
                <a:moveTo>
                  <a:pt x="9468876" y="3526932"/>
                </a:moveTo>
                <a:lnTo>
                  <a:pt x="10017516" y="3526932"/>
                </a:lnTo>
                <a:lnTo>
                  <a:pt x="10017516" y="4075572"/>
                </a:lnTo>
                <a:lnTo>
                  <a:pt x="9468876" y="4075572"/>
                </a:lnTo>
                <a:close/>
                <a:moveTo>
                  <a:pt x="8877190" y="3526932"/>
                </a:moveTo>
                <a:lnTo>
                  <a:pt x="9425830" y="3526932"/>
                </a:lnTo>
                <a:lnTo>
                  <a:pt x="9425830" y="4075572"/>
                </a:lnTo>
                <a:lnTo>
                  <a:pt x="8877190" y="4075572"/>
                </a:lnTo>
                <a:close/>
                <a:moveTo>
                  <a:pt x="8285504" y="3526932"/>
                </a:moveTo>
                <a:lnTo>
                  <a:pt x="8834144" y="3526932"/>
                </a:lnTo>
                <a:lnTo>
                  <a:pt x="8834144" y="4075572"/>
                </a:lnTo>
                <a:lnTo>
                  <a:pt x="8285504" y="4075572"/>
                </a:lnTo>
                <a:close/>
                <a:moveTo>
                  <a:pt x="7693818" y="3526932"/>
                </a:moveTo>
                <a:lnTo>
                  <a:pt x="8242458" y="3526932"/>
                </a:lnTo>
                <a:lnTo>
                  <a:pt x="8242458" y="4075572"/>
                </a:lnTo>
                <a:lnTo>
                  <a:pt x="7693818" y="4075572"/>
                </a:lnTo>
                <a:close/>
                <a:moveTo>
                  <a:pt x="7102132" y="3526932"/>
                </a:moveTo>
                <a:lnTo>
                  <a:pt x="7650772" y="3526932"/>
                </a:lnTo>
                <a:lnTo>
                  <a:pt x="7650772" y="4075572"/>
                </a:lnTo>
                <a:lnTo>
                  <a:pt x="7102132" y="4075572"/>
                </a:lnTo>
                <a:close/>
                <a:moveTo>
                  <a:pt x="6510446" y="3526932"/>
                </a:moveTo>
                <a:lnTo>
                  <a:pt x="7059086" y="3526932"/>
                </a:lnTo>
                <a:lnTo>
                  <a:pt x="7059086" y="4075572"/>
                </a:lnTo>
                <a:lnTo>
                  <a:pt x="6510446" y="4075572"/>
                </a:lnTo>
                <a:close/>
                <a:moveTo>
                  <a:pt x="5918760" y="3526932"/>
                </a:moveTo>
                <a:lnTo>
                  <a:pt x="6467400" y="3526932"/>
                </a:lnTo>
                <a:lnTo>
                  <a:pt x="6467400" y="4075572"/>
                </a:lnTo>
                <a:lnTo>
                  <a:pt x="5918760" y="4075572"/>
                </a:lnTo>
                <a:close/>
                <a:moveTo>
                  <a:pt x="5327074" y="3526932"/>
                </a:moveTo>
                <a:lnTo>
                  <a:pt x="5875714" y="3526932"/>
                </a:lnTo>
                <a:lnTo>
                  <a:pt x="5875714" y="4075572"/>
                </a:lnTo>
                <a:lnTo>
                  <a:pt x="5327074" y="4075572"/>
                </a:lnTo>
                <a:close/>
                <a:moveTo>
                  <a:pt x="4735388" y="3526932"/>
                </a:moveTo>
                <a:lnTo>
                  <a:pt x="5284028" y="3526932"/>
                </a:lnTo>
                <a:lnTo>
                  <a:pt x="5284028" y="4075572"/>
                </a:lnTo>
                <a:lnTo>
                  <a:pt x="4735388" y="4075572"/>
                </a:lnTo>
                <a:close/>
                <a:moveTo>
                  <a:pt x="4143702" y="3526932"/>
                </a:moveTo>
                <a:lnTo>
                  <a:pt x="4692342" y="3526932"/>
                </a:lnTo>
                <a:lnTo>
                  <a:pt x="4692342" y="4075572"/>
                </a:lnTo>
                <a:lnTo>
                  <a:pt x="4143702" y="4075572"/>
                </a:lnTo>
                <a:close/>
                <a:moveTo>
                  <a:pt x="3552016" y="3526932"/>
                </a:moveTo>
                <a:lnTo>
                  <a:pt x="4100656" y="3526932"/>
                </a:lnTo>
                <a:lnTo>
                  <a:pt x="4100656" y="4075572"/>
                </a:lnTo>
                <a:lnTo>
                  <a:pt x="3552016" y="4075572"/>
                </a:lnTo>
                <a:close/>
                <a:moveTo>
                  <a:pt x="2960336" y="3526932"/>
                </a:moveTo>
                <a:lnTo>
                  <a:pt x="3508970" y="3526932"/>
                </a:lnTo>
                <a:lnTo>
                  <a:pt x="3508970" y="4075572"/>
                </a:lnTo>
                <a:lnTo>
                  <a:pt x="2960336" y="4075572"/>
                </a:lnTo>
                <a:close/>
                <a:moveTo>
                  <a:pt x="2368649" y="3526932"/>
                </a:moveTo>
                <a:lnTo>
                  <a:pt x="2917290" y="3526932"/>
                </a:lnTo>
                <a:lnTo>
                  <a:pt x="2917290" y="4075572"/>
                </a:lnTo>
                <a:lnTo>
                  <a:pt x="2368649" y="4075572"/>
                </a:lnTo>
                <a:close/>
                <a:moveTo>
                  <a:pt x="1776962" y="3526932"/>
                </a:moveTo>
                <a:lnTo>
                  <a:pt x="2325603" y="3526932"/>
                </a:lnTo>
                <a:lnTo>
                  <a:pt x="2325603" y="4075572"/>
                </a:lnTo>
                <a:lnTo>
                  <a:pt x="1776962" y="4075572"/>
                </a:lnTo>
                <a:close/>
                <a:moveTo>
                  <a:pt x="1185277" y="3526932"/>
                </a:moveTo>
                <a:lnTo>
                  <a:pt x="1733917" y="3526932"/>
                </a:lnTo>
                <a:lnTo>
                  <a:pt x="1733917" y="4075572"/>
                </a:lnTo>
                <a:lnTo>
                  <a:pt x="1185277" y="4075572"/>
                </a:lnTo>
                <a:close/>
                <a:moveTo>
                  <a:pt x="593591" y="3526932"/>
                </a:moveTo>
                <a:lnTo>
                  <a:pt x="1142231" y="3526932"/>
                </a:lnTo>
                <a:lnTo>
                  <a:pt x="1142231" y="4075572"/>
                </a:lnTo>
                <a:lnTo>
                  <a:pt x="593591" y="4075572"/>
                </a:lnTo>
                <a:close/>
                <a:moveTo>
                  <a:pt x="1905" y="3526932"/>
                </a:moveTo>
                <a:lnTo>
                  <a:pt x="550545" y="3526932"/>
                </a:lnTo>
                <a:lnTo>
                  <a:pt x="550545" y="4075572"/>
                </a:lnTo>
                <a:lnTo>
                  <a:pt x="1905" y="4075572"/>
                </a:lnTo>
                <a:close/>
                <a:moveTo>
                  <a:pt x="10060184" y="2939111"/>
                </a:moveTo>
                <a:lnTo>
                  <a:pt x="10607040" y="2939111"/>
                </a:lnTo>
                <a:lnTo>
                  <a:pt x="10607040" y="3487751"/>
                </a:lnTo>
                <a:lnTo>
                  <a:pt x="10060184" y="3487751"/>
                </a:lnTo>
                <a:close/>
                <a:moveTo>
                  <a:pt x="9468496" y="2939110"/>
                </a:moveTo>
                <a:lnTo>
                  <a:pt x="10017136" y="2939110"/>
                </a:lnTo>
                <a:lnTo>
                  <a:pt x="10017136" y="3487750"/>
                </a:lnTo>
                <a:lnTo>
                  <a:pt x="9468496" y="3487750"/>
                </a:lnTo>
                <a:close/>
                <a:moveTo>
                  <a:pt x="8876810" y="2939110"/>
                </a:moveTo>
                <a:lnTo>
                  <a:pt x="9425450" y="2939110"/>
                </a:lnTo>
                <a:lnTo>
                  <a:pt x="9425450" y="3487750"/>
                </a:lnTo>
                <a:lnTo>
                  <a:pt x="8876810" y="3487750"/>
                </a:lnTo>
                <a:close/>
                <a:moveTo>
                  <a:pt x="8285124" y="2939110"/>
                </a:moveTo>
                <a:lnTo>
                  <a:pt x="8833764" y="2939110"/>
                </a:lnTo>
                <a:lnTo>
                  <a:pt x="8833764" y="3487750"/>
                </a:lnTo>
                <a:lnTo>
                  <a:pt x="8285124" y="3487750"/>
                </a:lnTo>
                <a:close/>
                <a:moveTo>
                  <a:pt x="7693438" y="2939110"/>
                </a:moveTo>
                <a:lnTo>
                  <a:pt x="8242078" y="2939110"/>
                </a:lnTo>
                <a:lnTo>
                  <a:pt x="8242078" y="3487750"/>
                </a:lnTo>
                <a:lnTo>
                  <a:pt x="7693438" y="3487750"/>
                </a:lnTo>
                <a:close/>
                <a:moveTo>
                  <a:pt x="7101752" y="2939110"/>
                </a:moveTo>
                <a:lnTo>
                  <a:pt x="7650392" y="2939110"/>
                </a:lnTo>
                <a:lnTo>
                  <a:pt x="7650392" y="3487750"/>
                </a:lnTo>
                <a:lnTo>
                  <a:pt x="7101752" y="3487750"/>
                </a:lnTo>
                <a:close/>
                <a:moveTo>
                  <a:pt x="6510066" y="2939110"/>
                </a:moveTo>
                <a:lnTo>
                  <a:pt x="7058706" y="2939110"/>
                </a:lnTo>
                <a:lnTo>
                  <a:pt x="7058706" y="3487750"/>
                </a:lnTo>
                <a:lnTo>
                  <a:pt x="6510066" y="3487750"/>
                </a:lnTo>
                <a:close/>
                <a:moveTo>
                  <a:pt x="5918380" y="2939110"/>
                </a:moveTo>
                <a:lnTo>
                  <a:pt x="6467020" y="2939110"/>
                </a:lnTo>
                <a:lnTo>
                  <a:pt x="6467020" y="3487750"/>
                </a:lnTo>
                <a:lnTo>
                  <a:pt x="5918380" y="3487750"/>
                </a:lnTo>
                <a:close/>
                <a:moveTo>
                  <a:pt x="5326694" y="2939110"/>
                </a:moveTo>
                <a:lnTo>
                  <a:pt x="5875334" y="2939110"/>
                </a:lnTo>
                <a:lnTo>
                  <a:pt x="5875334" y="3487750"/>
                </a:lnTo>
                <a:lnTo>
                  <a:pt x="5326694" y="3487750"/>
                </a:lnTo>
                <a:close/>
                <a:moveTo>
                  <a:pt x="4735008" y="2939110"/>
                </a:moveTo>
                <a:lnTo>
                  <a:pt x="5283648" y="2939110"/>
                </a:lnTo>
                <a:lnTo>
                  <a:pt x="5283648" y="3487750"/>
                </a:lnTo>
                <a:lnTo>
                  <a:pt x="4735008" y="3487750"/>
                </a:lnTo>
                <a:close/>
                <a:moveTo>
                  <a:pt x="4143322" y="2939110"/>
                </a:moveTo>
                <a:lnTo>
                  <a:pt x="4691962" y="2939110"/>
                </a:lnTo>
                <a:lnTo>
                  <a:pt x="4691962" y="3487750"/>
                </a:lnTo>
                <a:lnTo>
                  <a:pt x="4143322" y="3487750"/>
                </a:lnTo>
                <a:close/>
                <a:moveTo>
                  <a:pt x="3551636" y="2939110"/>
                </a:moveTo>
                <a:lnTo>
                  <a:pt x="4100276" y="2939110"/>
                </a:lnTo>
                <a:lnTo>
                  <a:pt x="4100276" y="3487750"/>
                </a:lnTo>
                <a:lnTo>
                  <a:pt x="3551636" y="3487750"/>
                </a:lnTo>
                <a:close/>
                <a:moveTo>
                  <a:pt x="2959959" y="2939110"/>
                </a:moveTo>
                <a:lnTo>
                  <a:pt x="3508590" y="2939110"/>
                </a:lnTo>
                <a:lnTo>
                  <a:pt x="3508590" y="3487750"/>
                </a:lnTo>
                <a:lnTo>
                  <a:pt x="2959959" y="3487750"/>
                </a:lnTo>
                <a:close/>
                <a:moveTo>
                  <a:pt x="2368272" y="2939110"/>
                </a:moveTo>
                <a:lnTo>
                  <a:pt x="2916913" y="2939110"/>
                </a:lnTo>
                <a:lnTo>
                  <a:pt x="2916913" y="3487750"/>
                </a:lnTo>
                <a:lnTo>
                  <a:pt x="2368272" y="3487750"/>
                </a:lnTo>
                <a:close/>
                <a:moveTo>
                  <a:pt x="1776585" y="2939110"/>
                </a:moveTo>
                <a:lnTo>
                  <a:pt x="2325226" y="2939110"/>
                </a:lnTo>
                <a:lnTo>
                  <a:pt x="2325226" y="3487750"/>
                </a:lnTo>
                <a:lnTo>
                  <a:pt x="1776585" y="3487750"/>
                </a:lnTo>
                <a:close/>
                <a:moveTo>
                  <a:pt x="1184899" y="2939110"/>
                </a:moveTo>
                <a:lnTo>
                  <a:pt x="1733539" y="2939110"/>
                </a:lnTo>
                <a:lnTo>
                  <a:pt x="1733539" y="3487750"/>
                </a:lnTo>
                <a:lnTo>
                  <a:pt x="1184899" y="3487750"/>
                </a:lnTo>
                <a:close/>
                <a:moveTo>
                  <a:pt x="593213" y="2939110"/>
                </a:moveTo>
                <a:lnTo>
                  <a:pt x="1141853" y="2939110"/>
                </a:lnTo>
                <a:lnTo>
                  <a:pt x="1141853" y="3487750"/>
                </a:lnTo>
                <a:lnTo>
                  <a:pt x="593213" y="3487750"/>
                </a:lnTo>
                <a:close/>
                <a:moveTo>
                  <a:pt x="1528" y="2939110"/>
                </a:moveTo>
                <a:lnTo>
                  <a:pt x="550168" y="2939110"/>
                </a:lnTo>
                <a:lnTo>
                  <a:pt x="550168" y="3487750"/>
                </a:lnTo>
                <a:lnTo>
                  <a:pt x="1528" y="3487750"/>
                </a:lnTo>
                <a:close/>
                <a:moveTo>
                  <a:pt x="10059804" y="2351289"/>
                </a:moveTo>
                <a:lnTo>
                  <a:pt x="10607040" y="2351289"/>
                </a:lnTo>
                <a:lnTo>
                  <a:pt x="10607040" y="2899929"/>
                </a:lnTo>
                <a:lnTo>
                  <a:pt x="10059804" y="2899929"/>
                </a:lnTo>
                <a:close/>
                <a:moveTo>
                  <a:pt x="9468116" y="2351288"/>
                </a:moveTo>
                <a:lnTo>
                  <a:pt x="10016756" y="2351288"/>
                </a:lnTo>
                <a:lnTo>
                  <a:pt x="10016756" y="2899928"/>
                </a:lnTo>
                <a:lnTo>
                  <a:pt x="9468116" y="2899928"/>
                </a:lnTo>
                <a:close/>
                <a:moveTo>
                  <a:pt x="8876430" y="2351288"/>
                </a:moveTo>
                <a:lnTo>
                  <a:pt x="9425070" y="2351288"/>
                </a:lnTo>
                <a:lnTo>
                  <a:pt x="9425070" y="2899928"/>
                </a:lnTo>
                <a:lnTo>
                  <a:pt x="8876430" y="2899928"/>
                </a:lnTo>
                <a:close/>
                <a:moveTo>
                  <a:pt x="8284744" y="2351288"/>
                </a:moveTo>
                <a:lnTo>
                  <a:pt x="8833384" y="2351288"/>
                </a:lnTo>
                <a:lnTo>
                  <a:pt x="8833384" y="2899928"/>
                </a:lnTo>
                <a:lnTo>
                  <a:pt x="8284744" y="2899928"/>
                </a:lnTo>
                <a:close/>
                <a:moveTo>
                  <a:pt x="7693058" y="2351288"/>
                </a:moveTo>
                <a:lnTo>
                  <a:pt x="8241698" y="2351288"/>
                </a:lnTo>
                <a:lnTo>
                  <a:pt x="8241698" y="2899928"/>
                </a:lnTo>
                <a:lnTo>
                  <a:pt x="7693058" y="2899928"/>
                </a:lnTo>
                <a:close/>
                <a:moveTo>
                  <a:pt x="7101372" y="2351288"/>
                </a:moveTo>
                <a:lnTo>
                  <a:pt x="7650012" y="2351288"/>
                </a:lnTo>
                <a:lnTo>
                  <a:pt x="7650012" y="2899928"/>
                </a:lnTo>
                <a:lnTo>
                  <a:pt x="7101372" y="2899928"/>
                </a:lnTo>
                <a:close/>
                <a:moveTo>
                  <a:pt x="6509686" y="2351288"/>
                </a:moveTo>
                <a:lnTo>
                  <a:pt x="7058326" y="2351288"/>
                </a:lnTo>
                <a:lnTo>
                  <a:pt x="7058326" y="2899928"/>
                </a:lnTo>
                <a:lnTo>
                  <a:pt x="6509686" y="2899928"/>
                </a:lnTo>
                <a:close/>
                <a:moveTo>
                  <a:pt x="5918000" y="2351288"/>
                </a:moveTo>
                <a:lnTo>
                  <a:pt x="6466640" y="2351288"/>
                </a:lnTo>
                <a:lnTo>
                  <a:pt x="6466640" y="2899928"/>
                </a:lnTo>
                <a:lnTo>
                  <a:pt x="5918000" y="2899928"/>
                </a:lnTo>
                <a:close/>
                <a:moveTo>
                  <a:pt x="5326314" y="2351288"/>
                </a:moveTo>
                <a:lnTo>
                  <a:pt x="5874954" y="2351288"/>
                </a:lnTo>
                <a:lnTo>
                  <a:pt x="5874954" y="2899928"/>
                </a:lnTo>
                <a:lnTo>
                  <a:pt x="5326314" y="2899928"/>
                </a:lnTo>
                <a:close/>
                <a:moveTo>
                  <a:pt x="4734628" y="2351288"/>
                </a:moveTo>
                <a:lnTo>
                  <a:pt x="5283268" y="2351288"/>
                </a:lnTo>
                <a:lnTo>
                  <a:pt x="5283268" y="2899928"/>
                </a:lnTo>
                <a:lnTo>
                  <a:pt x="4734628" y="2899928"/>
                </a:lnTo>
                <a:close/>
                <a:moveTo>
                  <a:pt x="4142942" y="2351288"/>
                </a:moveTo>
                <a:lnTo>
                  <a:pt x="4691582" y="2351288"/>
                </a:lnTo>
                <a:lnTo>
                  <a:pt x="4691582" y="2899928"/>
                </a:lnTo>
                <a:lnTo>
                  <a:pt x="4142942" y="2899928"/>
                </a:lnTo>
                <a:close/>
                <a:moveTo>
                  <a:pt x="3551256" y="2351288"/>
                </a:moveTo>
                <a:lnTo>
                  <a:pt x="4099896" y="2351288"/>
                </a:lnTo>
                <a:lnTo>
                  <a:pt x="4099896" y="2899928"/>
                </a:lnTo>
                <a:lnTo>
                  <a:pt x="3551256" y="2899928"/>
                </a:lnTo>
                <a:close/>
                <a:moveTo>
                  <a:pt x="2959583" y="2351288"/>
                </a:moveTo>
                <a:lnTo>
                  <a:pt x="3508210" y="2351288"/>
                </a:lnTo>
                <a:lnTo>
                  <a:pt x="3508210" y="2899928"/>
                </a:lnTo>
                <a:lnTo>
                  <a:pt x="2959583" y="2899928"/>
                </a:lnTo>
                <a:close/>
                <a:moveTo>
                  <a:pt x="2367895" y="2351288"/>
                </a:moveTo>
                <a:lnTo>
                  <a:pt x="2916537" y="2351288"/>
                </a:lnTo>
                <a:lnTo>
                  <a:pt x="2916537" y="2899928"/>
                </a:lnTo>
                <a:lnTo>
                  <a:pt x="2367895" y="2899928"/>
                </a:lnTo>
                <a:close/>
                <a:moveTo>
                  <a:pt x="1776207" y="2351288"/>
                </a:moveTo>
                <a:lnTo>
                  <a:pt x="2324849" y="2351288"/>
                </a:lnTo>
                <a:lnTo>
                  <a:pt x="2324849" y="2899928"/>
                </a:lnTo>
                <a:lnTo>
                  <a:pt x="1776207" y="2899928"/>
                </a:lnTo>
                <a:close/>
                <a:moveTo>
                  <a:pt x="1184522" y="2351288"/>
                </a:moveTo>
                <a:lnTo>
                  <a:pt x="1733161" y="2351288"/>
                </a:lnTo>
                <a:lnTo>
                  <a:pt x="1733161" y="2899928"/>
                </a:lnTo>
                <a:lnTo>
                  <a:pt x="1184522" y="2899928"/>
                </a:lnTo>
                <a:close/>
                <a:moveTo>
                  <a:pt x="592836" y="2351288"/>
                </a:moveTo>
                <a:lnTo>
                  <a:pt x="1141476" y="2351288"/>
                </a:lnTo>
                <a:lnTo>
                  <a:pt x="1141476" y="2899928"/>
                </a:lnTo>
                <a:lnTo>
                  <a:pt x="592836" y="2899928"/>
                </a:lnTo>
                <a:close/>
                <a:moveTo>
                  <a:pt x="1150" y="2351288"/>
                </a:moveTo>
                <a:lnTo>
                  <a:pt x="549790" y="2351288"/>
                </a:lnTo>
                <a:lnTo>
                  <a:pt x="549790" y="2899928"/>
                </a:lnTo>
                <a:lnTo>
                  <a:pt x="1150" y="2899928"/>
                </a:lnTo>
                <a:close/>
                <a:moveTo>
                  <a:pt x="10059424" y="1763467"/>
                </a:moveTo>
                <a:lnTo>
                  <a:pt x="10607040" y="1763467"/>
                </a:lnTo>
                <a:lnTo>
                  <a:pt x="10607040" y="2312107"/>
                </a:lnTo>
                <a:lnTo>
                  <a:pt x="10059424" y="2312107"/>
                </a:lnTo>
                <a:close/>
                <a:moveTo>
                  <a:pt x="9467736" y="1763466"/>
                </a:moveTo>
                <a:lnTo>
                  <a:pt x="10016376" y="1763466"/>
                </a:lnTo>
                <a:lnTo>
                  <a:pt x="10016376" y="2312106"/>
                </a:lnTo>
                <a:lnTo>
                  <a:pt x="9467736" y="2312106"/>
                </a:lnTo>
                <a:close/>
                <a:moveTo>
                  <a:pt x="8876050" y="1763466"/>
                </a:moveTo>
                <a:lnTo>
                  <a:pt x="9424690" y="1763466"/>
                </a:lnTo>
                <a:lnTo>
                  <a:pt x="9424690" y="2312106"/>
                </a:lnTo>
                <a:lnTo>
                  <a:pt x="8876050" y="2312106"/>
                </a:lnTo>
                <a:close/>
                <a:moveTo>
                  <a:pt x="8284364" y="1763466"/>
                </a:moveTo>
                <a:lnTo>
                  <a:pt x="8833004" y="1763466"/>
                </a:lnTo>
                <a:lnTo>
                  <a:pt x="8833004" y="2312106"/>
                </a:lnTo>
                <a:lnTo>
                  <a:pt x="8284364" y="2312106"/>
                </a:lnTo>
                <a:close/>
                <a:moveTo>
                  <a:pt x="7692678" y="1763466"/>
                </a:moveTo>
                <a:lnTo>
                  <a:pt x="8241318" y="1763466"/>
                </a:lnTo>
                <a:lnTo>
                  <a:pt x="8241318" y="2312106"/>
                </a:lnTo>
                <a:lnTo>
                  <a:pt x="7692678" y="2312106"/>
                </a:lnTo>
                <a:close/>
                <a:moveTo>
                  <a:pt x="7100992" y="1763466"/>
                </a:moveTo>
                <a:lnTo>
                  <a:pt x="7649632" y="1763466"/>
                </a:lnTo>
                <a:lnTo>
                  <a:pt x="7649632" y="2312106"/>
                </a:lnTo>
                <a:lnTo>
                  <a:pt x="7100992" y="2312106"/>
                </a:lnTo>
                <a:close/>
                <a:moveTo>
                  <a:pt x="6509306" y="1763466"/>
                </a:moveTo>
                <a:lnTo>
                  <a:pt x="7057946" y="1763466"/>
                </a:lnTo>
                <a:lnTo>
                  <a:pt x="7057946" y="2312106"/>
                </a:lnTo>
                <a:lnTo>
                  <a:pt x="6509306" y="2312106"/>
                </a:lnTo>
                <a:close/>
                <a:moveTo>
                  <a:pt x="5917620" y="1763466"/>
                </a:moveTo>
                <a:lnTo>
                  <a:pt x="6466260" y="1763466"/>
                </a:lnTo>
                <a:lnTo>
                  <a:pt x="6466260" y="2312106"/>
                </a:lnTo>
                <a:lnTo>
                  <a:pt x="5917620" y="2312106"/>
                </a:lnTo>
                <a:close/>
                <a:moveTo>
                  <a:pt x="5325934" y="1763466"/>
                </a:moveTo>
                <a:lnTo>
                  <a:pt x="5874574" y="1763466"/>
                </a:lnTo>
                <a:lnTo>
                  <a:pt x="5874574" y="2312106"/>
                </a:lnTo>
                <a:lnTo>
                  <a:pt x="5325934" y="2312106"/>
                </a:lnTo>
                <a:close/>
                <a:moveTo>
                  <a:pt x="4734248" y="1763466"/>
                </a:moveTo>
                <a:lnTo>
                  <a:pt x="5282888" y="1763466"/>
                </a:lnTo>
                <a:lnTo>
                  <a:pt x="5282888" y="2312106"/>
                </a:lnTo>
                <a:lnTo>
                  <a:pt x="4734248" y="2312106"/>
                </a:lnTo>
                <a:close/>
                <a:moveTo>
                  <a:pt x="4142562" y="1763466"/>
                </a:moveTo>
                <a:lnTo>
                  <a:pt x="4691202" y="1763466"/>
                </a:lnTo>
                <a:lnTo>
                  <a:pt x="4691202" y="2312106"/>
                </a:lnTo>
                <a:lnTo>
                  <a:pt x="4142562" y="2312106"/>
                </a:lnTo>
                <a:close/>
                <a:moveTo>
                  <a:pt x="3550876" y="1763466"/>
                </a:moveTo>
                <a:lnTo>
                  <a:pt x="4099516" y="1763466"/>
                </a:lnTo>
                <a:lnTo>
                  <a:pt x="4099516" y="2312106"/>
                </a:lnTo>
                <a:lnTo>
                  <a:pt x="3550876" y="2312106"/>
                </a:lnTo>
                <a:close/>
                <a:moveTo>
                  <a:pt x="2959206" y="1763466"/>
                </a:moveTo>
                <a:lnTo>
                  <a:pt x="3507830" y="1763466"/>
                </a:lnTo>
                <a:lnTo>
                  <a:pt x="3507830" y="2312106"/>
                </a:lnTo>
                <a:lnTo>
                  <a:pt x="2959206" y="2312106"/>
                </a:lnTo>
                <a:close/>
                <a:moveTo>
                  <a:pt x="2367518" y="1763466"/>
                </a:moveTo>
                <a:lnTo>
                  <a:pt x="2916160" y="1763466"/>
                </a:lnTo>
                <a:lnTo>
                  <a:pt x="2916160" y="2312106"/>
                </a:lnTo>
                <a:lnTo>
                  <a:pt x="2367518" y="2312106"/>
                </a:lnTo>
                <a:close/>
                <a:moveTo>
                  <a:pt x="1775829" y="1763466"/>
                </a:moveTo>
                <a:lnTo>
                  <a:pt x="2324472" y="1763466"/>
                </a:lnTo>
                <a:lnTo>
                  <a:pt x="2324472" y="2312106"/>
                </a:lnTo>
                <a:lnTo>
                  <a:pt x="1775829" y="2312106"/>
                </a:lnTo>
                <a:close/>
                <a:moveTo>
                  <a:pt x="1184144" y="1763466"/>
                </a:moveTo>
                <a:lnTo>
                  <a:pt x="1732783" y="1763466"/>
                </a:lnTo>
                <a:lnTo>
                  <a:pt x="1732783" y="2312106"/>
                </a:lnTo>
                <a:lnTo>
                  <a:pt x="1184144" y="2312106"/>
                </a:lnTo>
                <a:close/>
                <a:moveTo>
                  <a:pt x="592459" y="1763466"/>
                </a:moveTo>
                <a:lnTo>
                  <a:pt x="1141098" y="1763466"/>
                </a:lnTo>
                <a:lnTo>
                  <a:pt x="1141098" y="2312106"/>
                </a:lnTo>
                <a:lnTo>
                  <a:pt x="592459" y="2312106"/>
                </a:lnTo>
                <a:close/>
                <a:moveTo>
                  <a:pt x="773" y="1763466"/>
                </a:moveTo>
                <a:lnTo>
                  <a:pt x="549413" y="1763466"/>
                </a:lnTo>
                <a:lnTo>
                  <a:pt x="549413" y="2312106"/>
                </a:lnTo>
                <a:lnTo>
                  <a:pt x="773" y="2312106"/>
                </a:lnTo>
                <a:close/>
                <a:moveTo>
                  <a:pt x="10059044" y="1175645"/>
                </a:moveTo>
                <a:lnTo>
                  <a:pt x="10607040" y="1175645"/>
                </a:lnTo>
                <a:lnTo>
                  <a:pt x="10607040" y="1724285"/>
                </a:lnTo>
                <a:lnTo>
                  <a:pt x="10059044" y="1724285"/>
                </a:lnTo>
                <a:close/>
                <a:moveTo>
                  <a:pt x="9467356" y="1175644"/>
                </a:moveTo>
                <a:lnTo>
                  <a:pt x="10015996" y="1175644"/>
                </a:lnTo>
                <a:lnTo>
                  <a:pt x="10015996" y="1724284"/>
                </a:lnTo>
                <a:lnTo>
                  <a:pt x="9467356" y="1724284"/>
                </a:lnTo>
                <a:close/>
                <a:moveTo>
                  <a:pt x="8875670" y="1175644"/>
                </a:moveTo>
                <a:lnTo>
                  <a:pt x="9424310" y="1175644"/>
                </a:lnTo>
                <a:lnTo>
                  <a:pt x="9424310" y="1724284"/>
                </a:lnTo>
                <a:lnTo>
                  <a:pt x="8875670" y="1724284"/>
                </a:lnTo>
                <a:close/>
                <a:moveTo>
                  <a:pt x="8283984" y="1175644"/>
                </a:moveTo>
                <a:lnTo>
                  <a:pt x="8832624" y="1175644"/>
                </a:lnTo>
                <a:lnTo>
                  <a:pt x="8832624" y="1724284"/>
                </a:lnTo>
                <a:lnTo>
                  <a:pt x="8283984" y="1724284"/>
                </a:lnTo>
                <a:close/>
                <a:moveTo>
                  <a:pt x="7692298" y="1175644"/>
                </a:moveTo>
                <a:lnTo>
                  <a:pt x="8240938" y="1175644"/>
                </a:lnTo>
                <a:lnTo>
                  <a:pt x="8240938" y="1724284"/>
                </a:lnTo>
                <a:lnTo>
                  <a:pt x="7692298" y="1724284"/>
                </a:lnTo>
                <a:close/>
                <a:moveTo>
                  <a:pt x="7100612" y="1175644"/>
                </a:moveTo>
                <a:lnTo>
                  <a:pt x="7649252" y="1175644"/>
                </a:lnTo>
                <a:lnTo>
                  <a:pt x="7649252" y="1724284"/>
                </a:lnTo>
                <a:lnTo>
                  <a:pt x="7100612" y="1724284"/>
                </a:lnTo>
                <a:close/>
                <a:moveTo>
                  <a:pt x="6508926" y="1175644"/>
                </a:moveTo>
                <a:lnTo>
                  <a:pt x="7057566" y="1175644"/>
                </a:lnTo>
                <a:lnTo>
                  <a:pt x="7057566" y="1724284"/>
                </a:lnTo>
                <a:lnTo>
                  <a:pt x="6508926" y="1724284"/>
                </a:lnTo>
                <a:close/>
                <a:moveTo>
                  <a:pt x="5917240" y="1175644"/>
                </a:moveTo>
                <a:lnTo>
                  <a:pt x="6465880" y="1175644"/>
                </a:lnTo>
                <a:lnTo>
                  <a:pt x="6465880" y="1724284"/>
                </a:lnTo>
                <a:lnTo>
                  <a:pt x="5917240" y="1724284"/>
                </a:lnTo>
                <a:close/>
                <a:moveTo>
                  <a:pt x="5325554" y="1175644"/>
                </a:moveTo>
                <a:lnTo>
                  <a:pt x="5874194" y="1175644"/>
                </a:lnTo>
                <a:lnTo>
                  <a:pt x="5874194" y="1724284"/>
                </a:lnTo>
                <a:lnTo>
                  <a:pt x="5325554" y="1724284"/>
                </a:lnTo>
                <a:close/>
                <a:moveTo>
                  <a:pt x="4733868" y="1175644"/>
                </a:moveTo>
                <a:lnTo>
                  <a:pt x="5282508" y="1175644"/>
                </a:lnTo>
                <a:lnTo>
                  <a:pt x="5282508" y="1724284"/>
                </a:lnTo>
                <a:lnTo>
                  <a:pt x="4733868" y="1724284"/>
                </a:lnTo>
                <a:close/>
                <a:moveTo>
                  <a:pt x="4142182" y="1175644"/>
                </a:moveTo>
                <a:lnTo>
                  <a:pt x="4690822" y="1175644"/>
                </a:lnTo>
                <a:lnTo>
                  <a:pt x="4690822" y="1724284"/>
                </a:lnTo>
                <a:lnTo>
                  <a:pt x="4142182" y="1724284"/>
                </a:lnTo>
                <a:close/>
                <a:moveTo>
                  <a:pt x="3550496" y="1175644"/>
                </a:moveTo>
                <a:lnTo>
                  <a:pt x="4099136" y="1175644"/>
                </a:lnTo>
                <a:lnTo>
                  <a:pt x="4099136" y="1724284"/>
                </a:lnTo>
                <a:lnTo>
                  <a:pt x="3550496" y="1724284"/>
                </a:lnTo>
                <a:close/>
                <a:moveTo>
                  <a:pt x="2958830" y="1175644"/>
                </a:moveTo>
                <a:lnTo>
                  <a:pt x="3507450" y="1175644"/>
                </a:lnTo>
                <a:lnTo>
                  <a:pt x="3507450" y="1724284"/>
                </a:lnTo>
                <a:lnTo>
                  <a:pt x="2958830" y="1724284"/>
                </a:lnTo>
                <a:close/>
                <a:moveTo>
                  <a:pt x="2367141" y="1175644"/>
                </a:moveTo>
                <a:lnTo>
                  <a:pt x="2915784" y="1175644"/>
                </a:lnTo>
                <a:lnTo>
                  <a:pt x="2915784" y="1724284"/>
                </a:lnTo>
                <a:lnTo>
                  <a:pt x="2367141" y="1724284"/>
                </a:lnTo>
                <a:close/>
                <a:moveTo>
                  <a:pt x="1775452" y="1175644"/>
                </a:moveTo>
                <a:lnTo>
                  <a:pt x="2324095" y="1175644"/>
                </a:lnTo>
                <a:lnTo>
                  <a:pt x="2324095" y="1724284"/>
                </a:lnTo>
                <a:lnTo>
                  <a:pt x="1775452" y="1724284"/>
                </a:lnTo>
                <a:close/>
                <a:moveTo>
                  <a:pt x="1183767" y="1175644"/>
                </a:moveTo>
                <a:lnTo>
                  <a:pt x="1732406" y="1175644"/>
                </a:lnTo>
                <a:lnTo>
                  <a:pt x="1732406" y="1724284"/>
                </a:lnTo>
                <a:lnTo>
                  <a:pt x="1183767" y="1724284"/>
                </a:lnTo>
                <a:close/>
                <a:moveTo>
                  <a:pt x="592081" y="1175644"/>
                </a:moveTo>
                <a:lnTo>
                  <a:pt x="1140721" y="1175644"/>
                </a:lnTo>
                <a:lnTo>
                  <a:pt x="1140721" y="1724284"/>
                </a:lnTo>
                <a:lnTo>
                  <a:pt x="592081" y="1724284"/>
                </a:lnTo>
                <a:close/>
                <a:moveTo>
                  <a:pt x="396" y="1175644"/>
                </a:moveTo>
                <a:lnTo>
                  <a:pt x="549036" y="1175644"/>
                </a:lnTo>
                <a:lnTo>
                  <a:pt x="549036" y="1724284"/>
                </a:lnTo>
                <a:lnTo>
                  <a:pt x="396" y="1724284"/>
                </a:lnTo>
                <a:close/>
                <a:moveTo>
                  <a:pt x="10058664" y="587823"/>
                </a:moveTo>
                <a:lnTo>
                  <a:pt x="10607040" y="587823"/>
                </a:lnTo>
                <a:lnTo>
                  <a:pt x="10607040" y="1136463"/>
                </a:lnTo>
                <a:lnTo>
                  <a:pt x="10058664" y="1136463"/>
                </a:lnTo>
                <a:close/>
                <a:moveTo>
                  <a:pt x="9466976" y="587822"/>
                </a:moveTo>
                <a:lnTo>
                  <a:pt x="10015616" y="587822"/>
                </a:lnTo>
                <a:lnTo>
                  <a:pt x="10015616" y="1136462"/>
                </a:lnTo>
                <a:lnTo>
                  <a:pt x="9466976" y="1136462"/>
                </a:lnTo>
                <a:close/>
                <a:moveTo>
                  <a:pt x="8875290" y="587822"/>
                </a:moveTo>
                <a:lnTo>
                  <a:pt x="9423930" y="587822"/>
                </a:lnTo>
                <a:lnTo>
                  <a:pt x="9423930" y="1136462"/>
                </a:lnTo>
                <a:lnTo>
                  <a:pt x="8875290" y="1136462"/>
                </a:lnTo>
                <a:close/>
                <a:moveTo>
                  <a:pt x="8283604" y="587822"/>
                </a:moveTo>
                <a:lnTo>
                  <a:pt x="8832244" y="587822"/>
                </a:lnTo>
                <a:lnTo>
                  <a:pt x="8832244" y="1136462"/>
                </a:lnTo>
                <a:lnTo>
                  <a:pt x="8283604" y="1136462"/>
                </a:lnTo>
                <a:close/>
                <a:moveTo>
                  <a:pt x="7691918" y="587822"/>
                </a:moveTo>
                <a:lnTo>
                  <a:pt x="8240558" y="587822"/>
                </a:lnTo>
                <a:lnTo>
                  <a:pt x="8240558" y="1136462"/>
                </a:lnTo>
                <a:lnTo>
                  <a:pt x="7691918" y="1136462"/>
                </a:lnTo>
                <a:close/>
                <a:moveTo>
                  <a:pt x="7100232" y="587822"/>
                </a:moveTo>
                <a:lnTo>
                  <a:pt x="7648872" y="587822"/>
                </a:lnTo>
                <a:lnTo>
                  <a:pt x="7648872" y="1136462"/>
                </a:lnTo>
                <a:lnTo>
                  <a:pt x="7100232" y="1136462"/>
                </a:lnTo>
                <a:close/>
                <a:moveTo>
                  <a:pt x="6508546" y="587822"/>
                </a:moveTo>
                <a:lnTo>
                  <a:pt x="7057186" y="587822"/>
                </a:lnTo>
                <a:lnTo>
                  <a:pt x="7057186" y="1136462"/>
                </a:lnTo>
                <a:lnTo>
                  <a:pt x="6508546" y="1136462"/>
                </a:lnTo>
                <a:close/>
                <a:moveTo>
                  <a:pt x="5916860" y="587822"/>
                </a:moveTo>
                <a:lnTo>
                  <a:pt x="6465500" y="587822"/>
                </a:lnTo>
                <a:lnTo>
                  <a:pt x="6465500" y="1136462"/>
                </a:lnTo>
                <a:lnTo>
                  <a:pt x="5916860" y="1136462"/>
                </a:lnTo>
                <a:close/>
                <a:moveTo>
                  <a:pt x="5325174" y="587822"/>
                </a:moveTo>
                <a:lnTo>
                  <a:pt x="5873814" y="587822"/>
                </a:lnTo>
                <a:lnTo>
                  <a:pt x="5873814" y="1136462"/>
                </a:lnTo>
                <a:lnTo>
                  <a:pt x="5325174" y="1136462"/>
                </a:lnTo>
                <a:close/>
                <a:moveTo>
                  <a:pt x="4733488" y="587822"/>
                </a:moveTo>
                <a:lnTo>
                  <a:pt x="5282128" y="587822"/>
                </a:lnTo>
                <a:lnTo>
                  <a:pt x="5282128" y="1136462"/>
                </a:lnTo>
                <a:lnTo>
                  <a:pt x="4733488" y="1136462"/>
                </a:lnTo>
                <a:close/>
                <a:moveTo>
                  <a:pt x="4141802" y="587822"/>
                </a:moveTo>
                <a:lnTo>
                  <a:pt x="4690442" y="587822"/>
                </a:lnTo>
                <a:lnTo>
                  <a:pt x="4690442" y="1136462"/>
                </a:lnTo>
                <a:lnTo>
                  <a:pt x="4141802" y="1136462"/>
                </a:lnTo>
                <a:close/>
                <a:moveTo>
                  <a:pt x="3550116" y="587822"/>
                </a:moveTo>
                <a:lnTo>
                  <a:pt x="4098756" y="587822"/>
                </a:lnTo>
                <a:lnTo>
                  <a:pt x="4098756" y="1136462"/>
                </a:lnTo>
                <a:lnTo>
                  <a:pt x="3550116" y="1136462"/>
                </a:lnTo>
                <a:close/>
                <a:moveTo>
                  <a:pt x="2958453" y="587822"/>
                </a:moveTo>
                <a:lnTo>
                  <a:pt x="3507070" y="587822"/>
                </a:lnTo>
                <a:lnTo>
                  <a:pt x="3507070" y="1136462"/>
                </a:lnTo>
                <a:lnTo>
                  <a:pt x="2958453" y="1136462"/>
                </a:lnTo>
                <a:close/>
                <a:moveTo>
                  <a:pt x="2366764" y="587822"/>
                </a:moveTo>
                <a:lnTo>
                  <a:pt x="2915408" y="587822"/>
                </a:lnTo>
                <a:lnTo>
                  <a:pt x="2915408" y="1136462"/>
                </a:lnTo>
                <a:lnTo>
                  <a:pt x="2366764" y="1136462"/>
                </a:lnTo>
                <a:close/>
                <a:moveTo>
                  <a:pt x="1775075" y="587822"/>
                </a:moveTo>
                <a:lnTo>
                  <a:pt x="2323718" y="587822"/>
                </a:lnTo>
                <a:lnTo>
                  <a:pt x="2323718" y="1136462"/>
                </a:lnTo>
                <a:lnTo>
                  <a:pt x="1775075" y="1136462"/>
                </a:lnTo>
                <a:close/>
                <a:moveTo>
                  <a:pt x="1183389" y="587822"/>
                </a:moveTo>
                <a:lnTo>
                  <a:pt x="1732028" y="587822"/>
                </a:lnTo>
                <a:lnTo>
                  <a:pt x="1732028" y="1136462"/>
                </a:lnTo>
                <a:lnTo>
                  <a:pt x="1183389" y="1136462"/>
                </a:lnTo>
                <a:close/>
                <a:moveTo>
                  <a:pt x="591704" y="587822"/>
                </a:moveTo>
                <a:lnTo>
                  <a:pt x="1140344" y="587822"/>
                </a:lnTo>
                <a:lnTo>
                  <a:pt x="1140344" y="1136462"/>
                </a:lnTo>
                <a:lnTo>
                  <a:pt x="591704" y="1136462"/>
                </a:lnTo>
                <a:close/>
                <a:moveTo>
                  <a:pt x="18" y="587822"/>
                </a:moveTo>
                <a:lnTo>
                  <a:pt x="548658" y="587822"/>
                </a:lnTo>
                <a:lnTo>
                  <a:pt x="548658" y="1136462"/>
                </a:lnTo>
                <a:lnTo>
                  <a:pt x="18" y="1136462"/>
                </a:lnTo>
                <a:close/>
                <a:moveTo>
                  <a:pt x="10058284" y="1"/>
                </a:moveTo>
                <a:lnTo>
                  <a:pt x="10606924" y="1"/>
                </a:lnTo>
                <a:lnTo>
                  <a:pt x="10606924" y="548641"/>
                </a:lnTo>
                <a:lnTo>
                  <a:pt x="10058284" y="548641"/>
                </a:lnTo>
                <a:close/>
                <a:moveTo>
                  <a:pt x="9466596" y="0"/>
                </a:moveTo>
                <a:lnTo>
                  <a:pt x="10015236" y="0"/>
                </a:lnTo>
                <a:lnTo>
                  <a:pt x="10015236" y="548640"/>
                </a:lnTo>
                <a:lnTo>
                  <a:pt x="9466596" y="548640"/>
                </a:lnTo>
                <a:close/>
                <a:moveTo>
                  <a:pt x="8874910" y="0"/>
                </a:moveTo>
                <a:lnTo>
                  <a:pt x="9423550" y="0"/>
                </a:lnTo>
                <a:lnTo>
                  <a:pt x="9423550" y="548640"/>
                </a:lnTo>
                <a:lnTo>
                  <a:pt x="8874910" y="548640"/>
                </a:lnTo>
                <a:close/>
                <a:moveTo>
                  <a:pt x="8283224" y="0"/>
                </a:moveTo>
                <a:lnTo>
                  <a:pt x="8831864" y="0"/>
                </a:lnTo>
                <a:lnTo>
                  <a:pt x="8831864" y="548640"/>
                </a:lnTo>
                <a:lnTo>
                  <a:pt x="8283224" y="548640"/>
                </a:lnTo>
                <a:close/>
                <a:moveTo>
                  <a:pt x="7691538" y="0"/>
                </a:moveTo>
                <a:lnTo>
                  <a:pt x="8240178" y="0"/>
                </a:lnTo>
                <a:lnTo>
                  <a:pt x="8240178" y="548640"/>
                </a:lnTo>
                <a:lnTo>
                  <a:pt x="7691538" y="548640"/>
                </a:lnTo>
                <a:close/>
                <a:moveTo>
                  <a:pt x="7099852" y="0"/>
                </a:moveTo>
                <a:lnTo>
                  <a:pt x="7648492" y="0"/>
                </a:lnTo>
                <a:lnTo>
                  <a:pt x="7648492" y="548640"/>
                </a:lnTo>
                <a:lnTo>
                  <a:pt x="7099852" y="548640"/>
                </a:lnTo>
                <a:close/>
                <a:moveTo>
                  <a:pt x="6508166" y="0"/>
                </a:moveTo>
                <a:lnTo>
                  <a:pt x="7056806" y="0"/>
                </a:lnTo>
                <a:lnTo>
                  <a:pt x="7056806" y="548640"/>
                </a:lnTo>
                <a:lnTo>
                  <a:pt x="6508166" y="548640"/>
                </a:lnTo>
                <a:close/>
                <a:moveTo>
                  <a:pt x="5916480" y="0"/>
                </a:moveTo>
                <a:lnTo>
                  <a:pt x="6465120" y="0"/>
                </a:lnTo>
                <a:lnTo>
                  <a:pt x="6465120" y="548640"/>
                </a:lnTo>
                <a:lnTo>
                  <a:pt x="5916480" y="548640"/>
                </a:lnTo>
                <a:close/>
                <a:moveTo>
                  <a:pt x="5324794" y="0"/>
                </a:moveTo>
                <a:lnTo>
                  <a:pt x="5873434" y="0"/>
                </a:lnTo>
                <a:lnTo>
                  <a:pt x="5873434" y="548640"/>
                </a:lnTo>
                <a:lnTo>
                  <a:pt x="5324794" y="548640"/>
                </a:lnTo>
                <a:close/>
                <a:moveTo>
                  <a:pt x="4733108" y="0"/>
                </a:moveTo>
                <a:lnTo>
                  <a:pt x="5281748" y="0"/>
                </a:lnTo>
                <a:lnTo>
                  <a:pt x="5281748" y="548640"/>
                </a:lnTo>
                <a:lnTo>
                  <a:pt x="4733108" y="548640"/>
                </a:lnTo>
                <a:close/>
                <a:moveTo>
                  <a:pt x="4141422" y="0"/>
                </a:moveTo>
                <a:lnTo>
                  <a:pt x="4690062" y="0"/>
                </a:lnTo>
                <a:lnTo>
                  <a:pt x="4690062" y="548640"/>
                </a:lnTo>
                <a:lnTo>
                  <a:pt x="4141422" y="548640"/>
                </a:lnTo>
                <a:close/>
                <a:moveTo>
                  <a:pt x="3549736" y="0"/>
                </a:moveTo>
                <a:lnTo>
                  <a:pt x="4098376" y="0"/>
                </a:lnTo>
                <a:lnTo>
                  <a:pt x="4098376" y="548640"/>
                </a:lnTo>
                <a:lnTo>
                  <a:pt x="3549736" y="548640"/>
                </a:lnTo>
                <a:close/>
                <a:moveTo>
                  <a:pt x="2958077" y="0"/>
                </a:moveTo>
                <a:lnTo>
                  <a:pt x="3506690" y="0"/>
                </a:lnTo>
                <a:lnTo>
                  <a:pt x="3506690" y="548640"/>
                </a:lnTo>
                <a:lnTo>
                  <a:pt x="2958077" y="548640"/>
                </a:lnTo>
                <a:close/>
                <a:moveTo>
                  <a:pt x="2366387" y="0"/>
                </a:moveTo>
                <a:lnTo>
                  <a:pt x="2915031" y="0"/>
                </a:lnTo>
                <a:lnTo>
                  <a:pt x="2915031" y="548640"/>
                </a:lnTo>
                <a:lnTo>
                  <a:pt x="2366387" y="548640"/>
                </a:lnTo>
                <a:close/>
                <a:moveTo>
                  <a:pt x="1774697" y="0"/>
                </a:moveTo>
                <a:lnTo>
                  <a:pt x="2323341" y="0"/>
                </a:lnTo>
                <a:lnTo>
                  <a:pt x="2323341" y="548640"/>
                </a:lnTo>
                <a:lnTo>
                  <a:pt x="1774697" y="548640"/>
                </a:lnTo>
                <a:close/>
                <a:moveTo>
                  <a:pt x="1183012" y="0"/>
                </a:moveTo>
                <a:lnTo>
                  <a:pt x="1731651" y="0"/>
                </a:lnTo>
                <a:lnTo>
                  <a:pt x="1731651" y="548640"/>
                </a:lnTo>
                <a:lnTo>
                  <a:pt x="1183012" y="548640"/>
                </a:lnTo>
                <a:close/>
                <a:moveTo>
                  <a:pt x="591326" y="0"/>
                </a:moveTo>
                <a:lnTo>
                  <a:pt x="1139966" y="0"/>
                </a:lnTo>
                <a:lnTo>
                  <a:pt x="1139966" y="548640"/>
                </a:lnTo>
                <a:lnTo>
                  <a:pt x="591326" y="548640"/>
                </a:lnTo>
                <a:close/>
                <a:moveTo>
                  <a:pt x="0" y="0"/>
                </a:moveTo>
                <a:lnTo>
                  <a:pt x="548280" y="0"/>
                </a:lnTo>
                <a:lnTo>
                  <a:pt x="548280" y="548640"/>
                </a:lnTo>
                <a:lnTo>
                  <a:pt x="0" y="5486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548977389"/>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Portfolio 10">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43" name="Picture Placeholder 42"/>
          <p:cNvSpPr>
            <a:spLocks noGrp="1"/>
          </p:cNvSpPr>
          <p:nvPr>
            <p:ph type="pic" sz="quarter" idx="10"/>
          </p:nvPr>
        </p:nvSpPr>
        <p:spPr>
          <a:xfrm>
            <a:off x="594124" y="1131586"/>
            <a:ext cx="7955756" cy="3497580"/>
          </a:xfrm>
          <a:custGeom>
            <a:avLst/>
            <a:gdLst>
              <a:gd name="connsiteX0" fmla="*/ 9328931 w 10607674"/>
              <a:gd name="connsiteY0" fmla="*/ 3108926 h 4571966"/>
              <a:gd name="connsiteX1" fmla="*/ 10607674 w 10607674"/>
              <a:gd name="connsiteY1" fmla="*/ 3108926 h 4571966"/>
              <a:gd name="connsiteX2" fmla="*/ 10607674 w 10607674"/>
              <a:gd name="connsiteY2" fmla="*/ 4571966 h 4571966"/>
              <a:gd name="connsiteX3" fmla="*/ 9328931 w 10607674"/>
              <a:gd name="connsiteY3" fmla="*/ 4571966 h 4571966"/>
              <a:gd name="connsiteX4" fmla="*/ 7774109 w 10607674"/>
              <a:gd name="connsiteY4" fmla="*/ 3108926 h 4571966"/>
              <a:gd name="connsiteX5" fmla="*/ 9237149 w 10607674"/>
              <a:gd name="connsiteY5" fmla="*/ 3108926 h 4571966"/>
              <a:gd name="connsiteX6" fmla="*/ 9237149 w 10607674"/>
              <a:gd name="connsiteY6" fmla="*/ 4571966 h 4571966"/>
              <a:gd name="connsiteX7" fmla="*/ 7774109 w 10607674"/>
              <a:gd name="connsiteY7" fmla="*/ 4571966 h 4571966"/>
              <a:gd name="connsiteX8" fmla="*/ 6219287 w 10607674"/>
              <a:gd name="connsiteY8" fmla="*/ 3108926 h 4571966"/>
              <a:gd name="connsiteX9" fmla="*/ 7682327 w 10607674"/>
              <a:gd name="connsiteY9" fmla="*/ 3108926 h 4571966"/>
              <a:gd name="connsiteX10" fmla="*/ 7682327 w 10607674"/>
              <a:gd name="connsiteY10" fmla="*/ 4571966 h 4571966"/>
              <a:gd name="connsiteX11" fmla="*/ 6219287 w 10607674"/>
              <a:gd name="connsiteY11" fmla="*/ 4571966 h 4571966"/>
              <a:gd name="connsiteX12" fmla="*/ 4480886 w 10607674"/>
              <a:gd name="connsiteY12" fmla="*/ 3108926 h 4571966"/>
              <a:gd name="connsiteX13" fmla="*/ 6126806 w 10607674"/>
              <a:gd name="connsiteY13" fmla="*/ 3108926 h 4571966"/>
              <a:gd name="connsiteX14" fmla="*/ 6126806 w 10607674"/>
              <a:gd name="connsiteY14" fmla="*/ 4571966 h 4571966"/>
              <a:gd name="connsiteX15" fmla="*/ 4480886 w 10607674"/>
              <a:gd name="connsiteY15" fmla="*/ 4571966 h 4571966"/>
              <a:gd name="connsiteX16" fmla="*/ 2926784 w 10607674"/>
              <a:gd name="connsiteY16" fmla="*/ 3108926 h 4571966"/>
              <a:gd name="connsiteX17" fmla="*/ 4389822 w 10607674"/>
              <a:gd name="connsiteY17" fmla="*/ 3108926 h 4571966"/>
              <a:gd name="connsiteX18" fmla="*/ 4389822 w 10607674"/>
              <a:gd name="connsiteY18" fmla="*/ 4571966 h 4571966"/>
              <a:gd name="connsiteX19" fmla="*/ 2926784 w 10607674"/>
              <a:gd name="connsiteY19" fmla="*/ 4571966 h 4571966"/>
              <a:gd name="connsiteX20" fmla="*/ 1371961 w 10607674"/>
              <a:gd name="connsiteY20" fmla="*/ 3108926 h 4571966"/>
              <a:gd name="connsiteX21" fmla="*/ 2835002 w 10607674"/>
              <a:gd name="connsiteY21" fmla="*/ 3108926 h 4571966"/>
              <a:gd name="connsiteX22" fmla="*/ 2835002 w 10607674"/>
              <a:gd name="connsiteY22" fmla="*/ 4571966 h 4571966"/>
              <a:gd name="connsiteX23" fmla="*/ 1371961 w 10607674"/>
              <a:gd name="connsiteY23" fmla="*/ 4571966 h 4571966"/>
              <a:gd name="connsiteX24" fmla="*/ 1 w 10607674"/>
              <a:gd name="connsiteY24" fmla="*/ 3108926 h 4571966"/>
              <a:gd name="connsiteX25" fmla="*/ 1280161 w 10607674"/>
              <a:gd name="connsiteY25" fmla="*/ 3108926 h 4571966"/>
              <a:gd name="connsiteX26" fmla="*/ 1280161 w 10607674"/>
              <a:gd name="connsiteY26" fmla="*/ 4571966 h 4571966"/>
              <a:gd name="connsiteX27" fmla="*/ 1 w 10607674"/>
              <a:gd name="connsiteY27" fmla="*/ 4571966 h 4571966"/>
              <a:gd name="connsiteX28" fmla="*/ 9328930 w 10607674"/>
              <a:gd name="connsiteY28" fmla="*/ 1554447 h 4571966"/>
              <a:gd name="connsiteX29" fmla="*/ 10607674 w 10607674"/>
              <a:gd name="connsiteY29" fmla="*/ 1554447 h 4571966"/>
              <a:gd name="connsiteX30" fmla="*/ 10607674 w 10607674"/>
              <a:gd name="connsiteY30" fmla="*/ 3017487 h 4571966"/>
              <a:gd name="connsiteX31" fmla="*/ 9328930 w 10607674"/>
              <a:gd name="connsiteY31" fmla="*/ 3017487 h 4571966"/>
              <a:gd name="connsiteX32" fmla="*/ 7774108 w 10607674"/>
              <a:gd name="connsiteY32" fmla="*/ 1554447 h 4571966"/>
              <a:gd name="connsiteX33" fmla="*/ 9237148 w 10607674"/>
              <a:gd name="connsiteY33" fmla="*/ 1554447 h 4571966"/>
              <a:gd name="connsiteX34" fmla="*/ 9237148 w 10607674"/>
              <a:gd name="connsiteY34" fmla="*/ 3017487 h 4571966"/>
              <a:gd name="connsiteX35" fmla="*/ 7774108 w 10607674"/>
              <a:gd name="connsiteY35" fmla="*/ 3017487 h 4571966"/>
              <a:gd name="connsiteX36" fmla="*/ 6219286 w 10607674"/>
              <a:gd name="connsiteY36" fmla="*/ 1554447 h 4571966"/>
              <a:gd name="connsiteX37" fmla="*/ 7682326 w 10607674"/>
              <a:gd name="connsiteY37" fmla="*/ 1554447 h 4571966"/>
              <a:gd name="connsiteX38" fmla="*/ 7682326 w 10607674"/>
              <a:gd name="connsiteY38" fmla="*/ 3017487 h 4571966"/>
              <a:gd name="connsiteX39" fmla="*/ 6219286 w 10607674"/>
              <a:gd name="connsiteY39" fmla="*/ 3017487 h 4571966"/>
              <a:gd name="connsiteX40" fmla="*/ 4480885 w 10607674"/>
              <a:gd name="connsiteY40" fmla="*/ 1554447 h 4571966"/>
              <a:gd name="connsiteX41" fmla="*/ 6126805 w 10607674"/>
              <a:gd name="connsiteY41" fmla="*/ 1554447 h 4571966"/>
              <a:gd name="connsiteX42" fmla="*/ 6126805 w 10607674"/>
              <a:gd name="connsiteY42" fmla="*/ 3017487 h 4571966"/>
              <a:gd name="connsiteX43" fmla="*/ 4480885 w 10607674"/>
              <a:gd name="connsiteY43" fmla="*/ 3017487 h 4571966"/>
              <a:gd name="connsiteX44" fmla="*/ 2926783 w 10607674"/>
              <a:gd name="connsiteY44" fmla="*/ 1554447 h 4571966"/>
              <a:gd name="connsiteX45" fmla="*/ 4389821 w 10607674"/>
              <a:gd name="connsiteY45" fmla="*/ 1554447 h 4571966"/>
              <a:gd name="connsiteX46" fmla="*/ 4389821 w 10607674"/>
              <a:gd name="connsiteY46" fmla="*/ 3017487 h 4571966"/>
              <a:gd name="connsiteX47" fmla="*/ 2926783 w 10607674"/>
              <a:gd name="connsiteY47" fmla="*/ 3017487 h 4571966"/>
              <a:gd name="connsiteX48" fmla="*/ 1371960 w 10607674"/>
              <a:gd name="connsiteY48" fmla="*/ 1554447 h 4571966"/>
              <a:gd name="connsiteX49" fmla="*/ 2835001 w 10607674"/>
              <a:gd name="connsiteY49" fmla="*/ 1554447 h 4571966"/>
              <a:gd name="connsiteX50" fmla="*/ 2835001 w 10607674"/>
              <a:gd name="connsiteY50" fmla="*/ 3017487 h 4571966"/>
              <a:gd name="connsiteX51" fmla="*/ 1371960 w 10607674"/>
              <a:gd name="connsiteY51" fmla="*/ 3017487 h 4571966"/>
              <a:gd name="connsiteX52" fmla="*/ 0 w 10607674"/>
              <a:gd name="connsiteY52" fmla="*/ 1554447 h 4571966"/>
              <a:gd name="connsiteX53" fmla="*/ 1280160 w 10607674"/>
              <a:gd name="connsiteY53" fmla="*/ 1554447 h 4571966"/>
              <a:gd name="connsiteX54" fmla="*/ 1280160 w 10607674"/>
              <a:gd name="connsiteY54" fmla="*/ 3017487 h 4571966"/>
              <a:gd name="connsiteX55" fmla="*/ 0 w 10607674"/>
              <a:gd name="connsiteY55" fmla="*/ 3017487 h 4571966"/>
              <a:gd name="connsiteX56" fmla="*/ 9328931 w 10607674"/>
              <a:gd name="connsiteY56" fmla="*/ 0 h 4571966"/>
              <a:gd name="connsiteX57" fmla="*/ 10607674 w 10607674"/>
              <a:gd name="connsiteY57" fmla="*/ 0 h 4571966"/>
              <a:gd name="connsiteX58" fmla="*/ 10607674 w 10607674"/>
              <a:gd name="connsiteY58" fmla="*/ 1463040 h 4571966"/>
              <a:gd name="connsiteX59" fmla="*/ 9328931 w 10607674"/>
              <a:gd name="connsiteY59" fmla="*/ 1463040 h 4571966"/>
              <a:gd name="connsiteX60" fmla="*/ 7774109 w 10607674"/>
              <a:gd name="connsiteY60" fmla="*/ 0 h 4571966"/>
              <a:gd name="connsiteX61" fmla="*/ 9237149 w 10607674"/>
              <a:gd name="connsiteY61" fmla="*/ 0 h 4571966"/>
              <a:gd name="connsiteX62" fmla="*/ 9237149 w 10607674"/>
              <a:gd name="connsiteY62" fmla="*/ 1463040 h 4571966"/>
              <a:gd name="connsiteX63" fmla="*/ 7774109 w 10607674"/>
              <a:gd name="connsiteY63" fmla="*/ 1463040 h 4571966"/>
              <a:gd name="connsiteX64" fmla="*/ 6219287 w 10607674"/>
              <a:gd name="connsiteY64" fmla="*/ 0 h 4571966"/>
              <a:gd name="connsiteX65" fmla="*/ 7682327 w 10607674"/>
              <a:gd name="connsiteY65" fmla="*/ 0 h 4571966"/>
              <a:gd name="connsiteX66" fmla="*/ 7682327 w 10607674"/>
              <a:gd name="connsiteY66" fmla="*/ 1463040 h 4571966"/>
              <a:gd name="connsiteX67" fmla="*/ 6219287 w 10607674"/>
              <a:gd name="connsiteY67" fmla="*/ 1463040 h 4571966"/>
              <a:gd name="connsiteX68" fmla="*/ 4480886 w 10607674"/>
              <a:gd name="connsiteY68" fmla="*/ 0 h 4571966"/>
              <a:gd name="connsiteX69" fmla="*/ 6126806 w 10607674"/>
              <a:gd name="connsiteY69" fmla="*/ 0 h 4571966"/>
              <a:gd name="connsiteX70" fmla="*/ 6126806 w 10607674"/>
              <a:gd name="connsiteY70" fmla="*/ 1463040 h 4571966"/>
              <a:gd name="connsiteX71" fmla="*/ 4480886 w 10607674"/>
              <a:gd name="connsiteY71" fmla="*/ 1463040 h 4571966"/>
              <a:gd name="connsiteX72" fmla="*/ 2926784 w 10607674"/>
              <a:gd name="connsiteY72" fmla="*/ 0 h 4571966"/>
              <a:gd name="connsiteX73" fmla="*/ 4389822 w 10607674"/>
              <a:gd name="connsiteY73" fmla="*/ 0 h 4571966"/>
              <a:gd name="connsiteX74" fmla="*/ 4389822 w 10607674"/>
              <a:gd name="connsiteY74" fmla="*/ 1463040 h 4571966"/>
              <a:gd name="connsiteX75" fmla="*/ 2926784 w 10607674"/>
              <a:gd name="connsiteY75" fmla="*/ 1463040 h 4571966"/>
              <a:gd name="connsiteX76" fmla="*/ 1371961 w 10607674"/>
              <a:gd name="connsiteY76" fmla="*/ 0 h 4571966"/>
              <a:gd name="connsiteX77" fmla="*/ 2835002 w 10607674"/>
              <a:gd name="connsiteY77" fmla="*/ 0 h 4571966"/>
              <a:gd name="connsiteX78" fmla="*/ 2835002 w 10607674"/>
              <a:gd name="connsiteY78" fmla="*/ 1463040 h 4571966"/>
              <a:gd name="connsiteX79" fmla="*/ 1371961 w 10607674"/>
              <a:gd name="connsiteY79" fmla="*/ 1463040 h 4571966"/>
              <a:gd name="connsiteX80" fmla="*/ 1 w 10607674"/>
              <a:gd name="connsiteY80" fmla="*/ 0 h 4571966"/>
              <a:gd name="connsiteX81" fmla="*/ 1280161 w 10607674"/>
              <a:gd name="connsiteY81" fmla="*/ 0 h 4571966"/>
              <a:gd name="connsiteX82" fmla="*/ 1280161 w 10607674"/>
              <a:gd name="connsiteY82" fmla="*/ 1463040 h 4571966"/>
              <a:gd name="connsiteX83" fmla="*/ 1 w 10607674"/>
              <a:gd name="connsiteY83" fmla="*/ 1463040 h 457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607674" h="4571966">
                <a:moveTo>
                  <a:pt x="9328931" y="3108926"/>
                </a:moveTo>
                <a:lnTo>
                  <a:pt x="10607674" y="3108926"/>
                </a:lnTo>
                <a:lnTo>
                  <a:pt x="10607674" y="4571966"/>
                </a:lnTo>
                <a:lnTo>
                  <a:pt x="9328931" y="4571966"/>
                </a:lnTo>
                <a:close/>
                <a:moveTo>
                  <a:pt x="7774109" y="3108926"/>
                </a:moveTo>
                <a:lnTo>
                  <a:pt x="9237149" y="3108926"/>
                </a:lnTo>
                <a:lnTo>
                  <a:pt x="9237149" y="4571966"/>
                </a:lnTo>
                <a:lnTo>
                  <a:pt x="7774109" y="4571966"/>
                </a:lnTo>
                <a:close/>
                <a:moveTo>
                  <a:pt x="6219287" y="3108926"/>
                </a:moveTo>
                <a:lnTo>
                  <a:pt x="7682327" y="3108926"/>
                </a:lnTo>
                <a:lnTo>
                  <a:pt x="7682327" y="4571966"/>
                </a:lnTo>
                <a:lnTo>
                  <a:pt x="6219287" y="4571966"/>
                </a:lnTo>
                <a:close/>
                <a:moveTo>
                  <a:pt x="4480886" y="3108926"/>
                </a:moveTo>
                <a:lnTo>
                  <a:pt x="6126806" y="3108926"/>
                </a:lnTo>
                <a:lnTo>
                  <a:pt x="6126806" y="4571966"/>
                </a:lnTo>
                <a:lnTo>
                  <a:pt x="4480886" y="4571966"/>
                </a:lnTo>
                <a:close/>
                <a:moveTo>
                  <a:pt x="2926784" y="3108926"/>
                </a:moveTo>
                <a:lnTo>
                  <a:pt x="4389822" y="3108926"/>
                </a:lnTo>
                <a:lnTo>
                  <a:pt x="4389822" y="4571966"/>
                </a:lnTo>
                <a:lnTo>
                  <a:pt x="2926784" y="4571966"/>
                </a:lnTo>
                <a:close/>
                <a:moveTo>
                  <a:pt x="1371961" y="3108926"/>
                </a:moveTo>
                <a:lnTo>
                  <a:pt x="2835002" y="3108926"/>
                </a:lnTo>
                <a:lnTo>
                  <a:pt x="2835002" y="4571966"/>
                </a:lnTo>
                <a:lnTo>
                  <a:pt x="1371961" y="4571966"/>
                </a:lnTo>
                <a:close/>
                <a:moveTo>
                  <a:pt x="1" y="3108926"/>
                </a:moveTo>
                <a:lnTo>
                  <a:pt x="1280161" y="3108926"/>
                </a:lnTo>
                <a:lnTo>
                  <a:pt x="1280161" y="4571966"/>
                </a:lnTo>
                <a:lnTo>
                  <a:pt x="1" y="4571966"/>
                </a:lnTo>
                <a:close/>
                <a:moveTo>
                  <a:pt x="9328930" y="1554447"/>
                </a:moveTo>
                <a:lnTo>
                  <a:pt x="10607674" y="1554447"/>
                </a:lnTo>
                <a:lnTo>
                  <a:pt x="10607674" y="3017487"/>
                </a:lnTo>
                <a:lnTo>
                  <a:pt x="9328930" y="3017487"/>
                </a:lnTo>
                <a:close/>
                <a:moveTo>
                  <a:pt x="7774108" y="1554447"/>
                </a:moveTo>
                <a:lnTo>
                  <a:pt x="9237148" y="1554447"/>
                </a:lnTo>
                <a:lnTo>
                  <a:pt x="9237148" y="3017487"/>
                </a:lnTo>
                <a:lnTo>
                  <a:pt x="7774108" y="3017487"/>
                </a:lnTo>
                <a:close/>
                <a:moveTo>
                  <a:pt x="6219286" y="1554447"/>
                </a:moveTo>
                <a:lnTo>
                  <a:pt x="7682326" y="1554447"/>
                </a:lnTo>
                <a:lnTo>
                  <a:pt x="7682326" y="3017487"/>
                </a:lnTo>
                <a:lnTo>
                  <a:pt x="6219286" y="3017487"/>
                </a:lnTo>
                <a:close/>
                <a:moveTo>
                  <a:pt x="4480885" y="1554447"/>
                </a:moveTo>
                <a:lnTo>
                  <a:pt x="6126805" y="1554447"/>
                </a:lnTo>
                <a:lnTo>
                  <a:pt x="6126805" y="3017487"/>
                </a:lnTo>
                <a:lnTo>
                  <a:pt x="4480885" y="3017487"/>
                </a:lnTo>
                <a:close/>
                <a:moveTo>
                  <a:pt x="2926783" y="1554447"/>
                </a:moveTo>
                <a:lnTo>
                  <a:pt x="4389821" y="1554447"/>
                </a:lnTo>
                <a:lnTo>
                  <a:pt x="4389821" y="3017487"/>
                </a:lnTo>
                <a:lnTo>
                  <a:pt x="2926783" y="3017487"/>
                </a:lnTo>
                <a:close/>
                <a:moveTo>
                  <a:pt x="1371960" y="1554447"/>
                </a:moveTo>
                <a:lnTo>
                  <a:pt x="2835001" y="1554447"/>
                </a:lnTo>
                <a:lnTo>
                  <a:pt x="2835001" y="3017487"/>
                </a:lnTo>
                <a:lnTo>
                  <a:pt x="1371960" y="3017487"/>
                </a:lnTo>
                <a:close/>
                <a:moveTo>
                  <a:pt x="0" y="1554447"/>
                </a:moveTo>
                <a:lnTo>
                  <a:pt x="1280160" y="1554447"/>
                </a:lnTo>
                <a:lnTo>
                  <a:pt x="1280160" y="3017487"/>
                </a:lnTo>
                <a:lnTo>
                  <a:pt x="0" y="3017487"/>
                </a:lnTo>
                <a:close/>
                <a:moveTo>
                  <a:pt x="9328931" y="0"/>
                </a:moveTo>
                <a:lnTo>
                  <a:pt x="10607674" y="0"/>
                </a:lnTo>
                <a:lnTo>
                  <a:pt x="10607674" y="1463040"/>
                </a:lnTo>
                <a:lnTo>
                  <a:pt x="9328931" y="1463040"/>
                </a:lnTo>
                <a:close/>
                <a:moveTo>
                  <a:pt x="7774109" y="0"/>
                </a:moveTo>
                <a:lnTo>
                  <a:pt x="9237149" y="0"/>
                </a:lnTo>
                <a:lnTo>
                  <a:pt x="9237149" y="1463040"/>
                </a:lnTo>
                <a:lnTo>
                  <a:pt x="7774109" y="1463040"/>
                </a:lnTo>
                <a:close/>
                <a:moveTo>
                  <a:pt x="6219287" y="0"/>
                </a:moveTo>
                <a:lnTo>
                  <a:pt x="7682327" y="0"/>
                </a:lnTo>
                <a:lnTo>
                  <a:pt x="7682327" y="1463040"/>
                </a:lnTo>
                <a:lnTo>
                  <a:pt x="6219287" y="1463040"/>
                </a:lnTo>
                <a:close/>
                <a:moveTo>
                  <a:pt x="4480886" y="0"/>
                </a:moveTo>
                <a:lnTo>
                  <a:pt x="6126806" y="0"/>
                </a:lnTo>
                <a:lnTo>
                  <a:pt x="6126806" y="1463040"/>
                </a:lnTo>
                <a:lnTo>
                  <a:pt x="4480886" y="1463040"/>
                </a:lnTo>
                <a:close/>
                <a:moveTo>
                  <a:pt x="2926784" y="0"/>
                </a:moveTo>
                <a:lnTo>
                  <a:pt x="4389822" y="0"/>
                </a:lnTo>
                <a:lnTo>
                  <a:pt x="4389822" y="1463040"/>
                </a:lnTo>
                <a:lnTo>
                  <a:pt x="2926784" y="1463040"/>
                </a:lnTo>
                <a:close/>
                <a:moveTo>
                  <a:pt x="1371961" y="0"/>
                </a:moveTo>
                <a:lnTo>
                  <a:pt x="2835002" y="0"/>
                </a:lnTo>
                <a:lnTo>
                  <a:pt x="2835002" y="1463040"/>
                </a:lnTo>
                <a:lnTo>
                  <a:pt x="1371961" y="1463040"/>
                </a:lnTo>
                <a:close/>
                <a:moveTo>
                  <a:pt x="1" y="0"/>
                </a:moveTo>
                <a:lnTo>
                  <a:pt x="1280161" y="0"/>
                </a:lnTo>
                <a:lnTo>
                  <a:pt x="1280161" y="1463040"/>
                </a:lnTo>
                <a:lnTo>
                  <a:pt x="1" y="14630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816155098"/>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Portfolio 1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66" name="Rectangle 65"/>
          <p:cNvSpPr>
            <a:spLocks/>
          </p:cNvSpPr>
          <p:nvPr userDrawn="1"/>
        </p:nvSpPr>
        <p:spPr>
          <a:xfrm>
            <a:off x="604206" y="1131589"/>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1" name="Rectangle 20"/>
          <p:cNvSpPr>
            <a:spLocks/>
          </p:cNvSpPr>
          <p:nvPr userDrawn="1"/>
        </p:nvSpPr>
        <p:spPr>
          <a:xfrm>
            <a:off x="594404" y="2983208"/>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2" name="Rectangle 21"/>
          <p:cNvSpPr>
            <a:spLocks/>
          </p:cNvSpPr>
          <p:nvPr userDrawn="1"/>
        </p:nvSpPr>
        <p:spPr>
          <a:xfrm>
            <a:off x="3268967" y="1131586"/>
            <a:ext cx="260604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3" name="Rectangle 22"/>
          <p:cNvSpPr>
            <a:spLocks/>
          </p:cNvSpPr>
          <p:nvPr userDrawn="1"/>
        </p:nvSpPr>
        <p:spPr>
          <a:xfrm>
            <a:off x="3259165" y="2983205"/>
            <a:ext cx="260604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4" name="Rectangle 23"/>
          <p:cNvSpPr>
            <a:spLocks/>
          </p:cNvSpPr>
          <p:nvPr userDrawn="1"/>
        </p:nvSpPr>
        <p:spPr>
          <a:xfrm>
            <a:off x="6080717" y="1131583"/>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5" name="Rectangle 24"/>
          <p:cNvSpPr>
            <a:spLocks/>
          </p:cNvSpPr>
          <p:nvPr userDrawn="1"/>
        </p:nvSpPr>
        <p:spPr>
          <a:xfrm>
            <a:off x="6070914" y="2983202"/>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90" name="Picture Placeholder 89"/>
          <p:cNvSpPr>
            <a:spLocks noGrp="1"/>
          </p:cNvSpPr>
          <p:nvPr>
            <p:ph type="pic" sz="quarter" idx="11"/>
          </p:nvPr>
        </p:nvSpPr>
        <p:spPr>
          <a:xfrm>
            <a:off x="662983" y="1200171"/>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6" name="Picture Placeholder 25"/>
          <p:cNvSpPr>
            <a:spLocks noGrp="1"/>
          </p:cNvSpPr>
          <p:nvPr>
            <p:ph type="pic" sz="quarter" idx="12"/>
          </p:nvPr>
        </p:nvSpPr>
        <p:spPr>
          <a:xfrm>
            <a:off x="662983" y="3051790"/>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7" name="Picture Placeholder 26"/>
          <p:cNvSpPr>
            <a:spLocks noGrp="1"/>
          </p:cNvSpPr>
          <p:nvPr>
            <p:ph type="pic" sz="quarter" idx="13"/>
          </p:nvPr>
        </p:nvSpPr>
        <p:spPr>
          <a:xfrm>
            <a:off x="6149297" y="1200165"/>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8" name="Picture Placeholder 27"/>
          <p:cNvSpPr>
            <a:spLocks noGrp="1"/>
          </p:cNvSpPr>
          <p:nvPr>
            <p:ph type="pic" sz="quarter" idx="14"/>
          </p:nvPr>
        </p:nvSpPr>
        <p:spPr>
          <a:xfrm>
            <a:off x="6149297" y="3051784"/>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9" name="Picture Placeholder 28"/>
          <p:cNvSpPr>
            <a:spLocks noGrp="1"/>
          </p:cNvSpPr>
          <p:nvPr>
            <p:ph type="pic" sz="quarter" idx="15"/>
          </p:nvPr>
        </p:nvSpPr>
        <p:spPr>
          <a:xfrm>
            <a:off x="3337574" y="1200159"/>
            <a:ext cx="246888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30" name="Picture Placeholder 29"/>
          <p:cNvSpPr>
            <a:spLocks noGrp="1"/>
          </p:cNvSpPr>
          <p:nvPr>
            <p:ph type="pic" sz="quarter" idx="16"/>
          </p:nvPr>
        </p:nvSpPr>
        <p:spPr>
          <a:xfrm>
            <a:off x="3337574" y="3051778"/>
            <a:ext cx="246888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021847903"/>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Portfolio 1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66" name="Rectangle 65"/>
          <p:cNvSpPr/>
          <p:nvPr userDrawn="1"/>
        </p:nvSpPr>
        <p:spPr>
          <a:xfrm>
            <a:off x="604206" y="1131589"/>
            <a:ext cx="3703320" cy="3497564"/>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88" name="Picture Placeholder 87"/>
          <p:cNvSpPr>
            <a:spLocks noGrp="1"/>
          </p:cNvSpPr>
          <p:nvPr>
            <p:ph type="pic" sz="quarter" idx="10"/>
          </p:nvPr>
        </p:nvSpPr>
        <p:spPr>
          <a:xfrm>
            <a:off x="672806" y="1200171"/>
            <a:ext cx="3566121" cy="2811749"/>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89" name="Rectangle 88"/>
          <p:cNvSpPr/>
          <p:nvPr userDrawn="1"/>
        </p:nvSpPr>
        <p:spPr>
          <a:xfrm>
            <a:off x="4846277" y="1131589"/>
            <a:ext cx="3703320" cy="3497564"/>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90" name="Picture Placeholder 89"/>
          <p:cNvSpPr>
            <a:spLocks noGrp="1"/>
          </p:cNvSpPr>
          <p:nvPr>
            <p:ph type="pic" sz="quarter" idx="11"/>
          </p:nvPr>
        </p:nvSpPr>
        <p:spPr>
          <a:xfrm>
            <a:off x="4914878" y="1200171"/>
            <a:ext cx="3566121" cy="2811749"/>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96090939"/>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Portfolio 1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2" y="0"/>
            <a:ext cx="5600775" cy="5143500"/>
          </a:xfrm>
          <a:custGeom>
            <a:avLst/>
            <a:gdLst>
              <a:gd name="connsiteX0" fmla="*/ 4527576 w 7467700"/>
              <a:gd name="connsiteY0" fmla="*/ 3899633 h 6858000"/>
              <a:gd name="connsiteX1" fmla="*/ 6799533 w 7467700"/>
              <a:gd name="connsiteY1" fmla="*/ 6858000 h 6858000"/>
              <a:gd name="connsiteX2" fmla="*/ 2255618 w 7467700"/>
              <a:gd name="connsiteY2" fmla="*/ 6858000 h 6858000"/>
              <a:gd name="connsiteX3" fmla="*/ 0 w 7467700"/>
              <a:gd name="connsiteY3" fmla="*/ 42 h 6858000"/>
              <a:gd name="connsiteX4" fmla="*/ 2255617 w 7467700"/>
              <a:gd name="connsiteY4" fmla="*/ 42 h 6858000"/>
              <a:gd name="connsiteX5" fmla="*/ 0 w 7467700"/>
              <a:gd name="connsiteY5" fmla="*/ 2937131 h 6858000"/>
              <a:gd name="connsiteX6" fmla="*/ 2417194 w 7467700"/>
              <a:gd name="connsiteY6" fmla="*/ 0 h 6858000"/>
              <a:gd name="connsiteX7" fmla="*/ 7467700 w 7467700"/>
              <a:gd name="connsiteY7" fmla="*/ 0 h 6858000"/>
              <a:gd name="connsiteX8" fmla="*/ 2094046 w 7467700"/>
              <a:gd name="connsiteY8" fmla="*/ 6858000 h 6858000"/>
              <a:gd name="connsiteX9" fmla="*/ 1 w 7467700"/>
              <a:gd name="connsiteY9" fmla="*/ 6858000 h 6858000"/>
              <a:gd name="connsiteX10" fmla="*/ 1 w 7467700"/>
              <a:gd name="connsiteY10" fmla="*/ 30848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67700" h="6858000">
                <a:moveTo>
                  <a:pt x="4527576" y="3899633"/>
                </a:moveTo>
                <a:lnTo>
                  <a:pt x="6799533" y="6858000"/>
                </a:lnTo>
                <a:lnTo>
                  <a:pt x="2255618" y="6858000"/>
                </a:lnTo>
                <a:close/>
                <a:moveTo>
                  <a:pt x="0" y="42"/>
                </a:moveTo>
                <a:lnTo>
                  <a:pt x="2255617" y="42"/>
                </a:lnTo>
                <a:lnTo>
                  <a:pt x="0" y="2937131"/>
                </a:lnTo>
                <a:close/>
                <a:moveTo>
                  <a:pt x="2417194" y="0"/>
                </a:moveTo>
                <a:lnTo>
                  <a:pt x="7467700" y="0"/>
                </a:lnTo>
                <a:lnTo>
                  <a:pt x="2094046" y="6858000"/>
                </a:lnTo>
                <a:lnTo>
                  <a:pt x="1" y="6858000"/>
                </a:lnTo>
                <a:lnTo>
                  <a:pt x="1" y="3084886"/>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719740547"/>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Portfolio 14">
    <p:spTree>
      <p:nvGrpSpPr>
        <p:cNvPr id="1" name=""/>
        <p:cNvGrpSpPr/>
        <p:nvPr/>
      </p:nvGrpSpPr>
      <p:grpSpPr>
        <a:xfrm>
          <a:off x="0" y="0"/>
          <a:ext cx="0" cy="0"/>
          <a:chOff x="0" y="0"/>
          <a:chExt cx="0" cy="0"/>
        </a:xfrm>
      </p:grpSpPr>
      <p:grpSp>
        <p:nvGrpSpPr>
          <p:cNvPr id="34" name="Group 33"/>
          <p:cNvGrpSpPr/>
          <p:nvPr userDrawn="1"/>
        </p:nvGrpSpPr>
        <p:grpSpPr>
          <a:xfrm>
            <a:off x="4777698" y="0"/>
            <a:ext cx="3767944" cy="5143500"/>
            <a:chOff x="6201147" y="0"/>
            <a:chExt cx="5023925" cy="6858000"/>
          </a:xfrm>
        </p:grpSpPr>
        <p:sp>
          <p:nvSpPr>
            <p:cNvPr id="16" name="Rectangle 15"/>
            <p:cNvSpPr/>
            <p:nvPr/>
          </p:nvSpPr>
          <p:spPr>
            <a:xfrm>
              <a:off x="6201147" y="0"/>
              <a:ext cx="67665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17" name="Rectangle 16"/>
            <p:cNvSpPr/>
            <p:nvPr/>
          </p:nvSpPr>
          <p:spPr>
            <a:xfrm>
              <a:off x="6925692" y="0"/>
              <a:ext cx="676656" cy="5810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18" name="Rectangle 17"/>
            <p:cNvSpPr/>
            <p:nvPr/>
          </p:nvSpPr>
          <p:spPr>
            <a:xfrm>
              <a:off x="7650237" y="0"/>
              <a:ext cx="676656" cy="65722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19" name="Rectangle 18"/>
            <p:cNvSpPr/>
            <p:nvPr/>
          </p:nvSpPr>
          <p:spPr>
            <a:xfrm>
              <a:off x="8374782" y="0"/>
              <a:ext cx="676656" cy="523875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20" name="Rectangle 19"/>
            <p:cNvSpPr/>
            <p:nvPr/>
          </p:nvSpPr>
          <p:spPr>
            <a:xfrm>
              <a:off x="9099327" y="0"/>
              <a:ext cx="667512" cy="619125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21" name="Rectangle 20"/>
            <p:cNvSpPr/>
            <p:nvPr/>
          </p:nvSpPr>
          <p:spPr>
            <a:xfrm>
              <a:off x="9823872" y="0"/>
              <a:ext cx="676656" cy="561975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22" name="Rectangle 21"/>
            <p:cNvSpPr/>
            <p:nvPr/>
          </p:nvSpPr>
          <p:spPr>
            <a:xfrm>
              <a:off x="10548416" y="0"/>
              <a:ext cx="676656" cy="6381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grpSp>
      <p:sp>
        <p:nvSpPr>
          <p:cNvPr id="33" name="Picture Placeholder 32"/>
          <p:cNvSpPr>
            <a:spLocks noGrp="1"/>
          </p:cNvSpPr>
          <p:nvPr userDrawn="1">
            <p:ph type="pic" sz="quarter" idx="10"/>
          </p:nvPr>
        </p:nvSpPr>
        <p:spPr>
          <a:xfrm>
            <a:off x="4777697" y="102898"/>
            <a:ext cx="3771900" cy="4929188"/>
          </a:xfrm>
          <a:custGeom>
            <a:avLst/>
            <a:gdLst>
              <a:gd name="connsiteX0" fmla="*/ 1449076 w 5029152"/>
              <a:gd name="connsiteY0" fmla="*/ 1 h 6572250"/>
              <a:gd name="connsiteX1" fmla="*/ 2131000 w 5029152"/>
              <a:gd name="connsiteY1" fmla="*/ 1 h 6572250"/>
              <a:gd name="connsiteX2" fmla="*/ 2131000 w 5029152"/>
              <a:gd name="connsiteY2" fmla="*/ 6309291 h 6572250"/>
              <a:gd name="connsiteX3" fmla="*/ 1449076 w 5029152"/>
              <a:gd name="connsiteY3" fmla="*/ 6309291 h 6572250"/>
              <a:gd name="connsiteX4" fmla="*/ 724538 w 5029152"/>
              <a:gd name="connsiteY4" fmla="*/ 1 h 6572250"/>
              <a:gd name="connsiteX5" fmla="*/ 1406462 w 5029152"/>
              <a:gd name="connsiteY5" fmla="*/ 1 h 6572250"/>
              <a:gd name="connsiteX6" fmla="*/ 1406462 w 5029152"/>
              <a:gd name="connsiteY6" fmla="*/ 5577779 h 6572250"/>
              <a:gd name="connsiteX7" fmla="*/ 724538 w 5029152"/>
              <a:gd name="connsiteY7" fmla="*/ 5577779 h 6572250"/>
              <a:gd name="connsiteX8" fmla="*/ 0 w 5029152"/>
              <a:gd name="connsiteY8" fmla="*/ 1 h 6572250"/>
              <a:gd name="connsiteX9" fmla="*/ 681924 w 5029152"/>
              <a:gd name="connsiteY9" fmla="*/ 1 h 6572250"/>
              <a:gd name="connsiteX10" fmla="*/ 681924 w 5029152"/>
              <a:gd name="connsiteY10" fmla="*/ 6572250 h 6572250"/>
              <a:gd name="connsiteX11" fmla="*/ 0 w 5029152"/>
              <a:gd name="connsiteY11" fmla="*/ 6572250 h 6572250"/>
              <a:gd name="connsiteX12" fmla="*/ 4347229 w 5029152"/>
              <a:gd name="connsiteY12" fmla="*/ 0 h 6572250"/>
              <a:gd name="connsiteX13" fmla="*/ 5029152 w 5029152"/>
              <a:gd name="connsiteY13" fmla="*/ 0 h 6572250"/>
              <a:gd name="connsiteX14" fmla="*/ 5029152 w 5029152"/>
              <a:gd name="connsiteY14" fmla="*/ 6126413 h 6572250"/>
              <a:gd name="connsiteX15" fmla="*/ 4347229 w 5029152"/>
              <a:gd name="connsiteY15" fmla="*/ 6126413 h 6572250"/>
              <a:gd name="connsiteX16" fmla="*/ 3622691 w 5029152"/>
              <a:gd name="connsiteY16" fmla="*/ 0 h 6572250"/>
              <a:gd name="connsiteX17" fmla="*/ 4304615 w 5029152"/>
              <a:gd name="connsiteY17" fmla="*/ 0 h 6572250"/>
              <a:gd name="connsiteX18" fmla="*/ 4304615 w 5029152"/>
              <a:gd name="connsiteY18" fmla="*/ 5394901 h 6572250"/>
              <a:gd name="connsiteX19" fmla="*/ 3622691 w 5029152"/>
              <a:gd name="connsiteY19" fmla="*/ 5394901 h 6572250"/>
              <a:gd name="connsiteX20" fmla="*/ 2898153 w 5029152"/>
              <a:gd name="connsiteY20" fmla="*/ 0 h 6572250"/>
              <a:gd name="connsiteX21" fmla="*/ 3580077 w 5029152"/>
              <a:gd name="connsiteY21" fmla="*/ 0 h 6572250"/>
              <a:gd name="connsiteX22" fmla="*/ 3580077 w 5029152"/>
              <a:gd name="connsiteY22" fmla="*/ 5943535 h 6572250"/>
              <a:gd name="connsiteX23" fmla="*/ 2898153 w 5029152"/>
              <a:gd name="connsiteY23" fmla="*/ 5943535 h 6572250"/>
              <a:gd name="connsiteX24" fmla="*/ 2173615 w 5029152"/>
              <a:gd name="connsiteY24" fmla="*/ 0 h 6572250"/>
              <a:gd name="connsiteX25" fmla="*/ 2855539 w 5029152"/>
              <a:gd name="connsiteY25" fmla="*/ 0 h 6572250"/>
              <a:gd name="connsiteX26" fmla="*/ 2855539 w 5029152"/>
              <a:gd name="connsiteY26" fmla="*/ 5029145 h 6572250"/>
              <a:gd name="connsiteX27" fmla="*/ 2173615 w 5029152"/>
              <a:gd name="connsiteY27" fmla="*/ 5029145 h 65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9152" h="6572250">
                <a:moveTo>
                  <a:pt x="1449076" y="1"/>
                </a:moveTo>
                <a:lnTo>
                  <a:pt x="2131000" y="1"/>
                </a:lnTo>
                <a:lnTo>
                  <a:pt x="2131000" y="6309291"/>
                </a:lnTo>
                <a:lnTo>
                  <a:pt x="1449076" y="6309291"/>
                </a:lnTo>
                <a:close/>
                <a:moveTo>
                  <a:pt x="724538" y="1"/>
                </a:moveTo>
                <a:lnTo>
                  <a:pt x="1406462" y="1"/>
                </a:lnTo>
                <a:lnTo>
                  <a:pt x="1406462" y="5577779"/>
                </a:lnTo>
                <a:lnTo>
                  <a:pt x="724538" y="5577779"/>
                </a:lnTo>
                <a:close/>
                <a:moveTo>
                  <a:pt x="0" y="1"/>
                </a:moveTo>
                <a:lnTo>
                  <a:pt x="681924" y="1"/>
                </a:lnTo>
                <a:lnTo>
                  <a:pt x="681924" y="6572250"/>
                </a:lnTo>
                <a:lnTo>
                  <a:pt x="0" y="6572250"/>
                </a:lnTo>
                <a:close/>
                <a:moveTo>
                  <a:pt x="4347229" y="0"/>
                </a:moveTo>
                <a:lnTo>
                  <a:pt x="5029152" y="0"/>
                </a:lnTo>
                <a:lnTo>
                  <a:pt x="5029152" y="6126413"/>
                </a:lnTo>
                <a:lnTo>
                  <a:pt x="4347229" y="6126413"/>
                </a:lnTo>
                <a:close/>
                <a:moveTo>
                  <a:pt x="3622691" y="0"/>
                </a:moveTo>
                <a:lnTo>
                  <a:pt x="4304615" y="0"/>
                </a:lnTo>
                <a:lnTo>
                  <a:pt x="4304615" y="5394901"/>
                </a:lnTo>
                <a:lnTo>
                  <a:pt x="3622691" y="5394901"/>
                </a:lnTo>
                <a:close/>
                <a:moveTo>
                  <a:pt x="2898153" y="0"/>
                </a:moveTo>
                <a:lnTo>
                  <a:pt x="3580077" y="0"/>
                </a:lnTo>
                <a:lnTo>
                  <a:pt x="3580077" y="5943535"/>
                </a:lnTo>
                <a:lnTo>
                  <a:pt x="2898153" y="5943535"/>
                </a:lnTo>
                <a:close/>
                <a:moveTo>
                  <a:pt x="2173615" y="0"/>
                </a:moveTo>
                <a:lnTo>
                  <a:pt x="2855539" y="0"/>
                </a:lnTo>
                <a:lnTo>
                  <a:pt x="2855539" y="5029145"/>
                </a:lnTo>
                <a:lnTo>
                  <a:pt x="2173615" y="502914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0304982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Rectangle 4"/>
          <p:cNvSpPr>
            <a:spLocks noGrp="1" noChangeArrowheads="1"/>
          </p:cNvSpPr>
          <p:nvPr>
            <p:ph type="sldNum" sz="quarter" idx="10"/>
          </p:nvPr>
        </p:nvSpPr>
        <p:spPr/>
        <p:txBody>
          <a:bodyPr/>
          <a:lstStyle>
            <a:lvl1pPr algn="l" eaLnBrk="1" hangingPunct="1">
              <a:defRPr/>
            </a:lvl1pPr>
          </a:lstStyle>
          <a:p>
            <a:pPr>
              <a:defRPr/>
            </a:pPr>
            <a:fld id="{8368D109-A51D-4370-A18C-67C780123E2B}" type="slidenum">
              <a:rPr lang="es-ES"/>
              <a:pPr>
                <a:defRPr/>
              </a:pPr>
              <a:t>‹#›</a:t>
            </a:fld>
            <a:endParaRPr lang="es-ES"/>
          </a:p>
        </p:txBody>
      </p:sp>
      <p:sp>
        <p:nvSpPr>
          <p:cNvPr id="5" name="Footer Placeholder 4"/>
          <p:cNvSpPr>
            <a:spLocks noGrp="1"/>
          </p:cNvSpPr>
          <p:nvPr>
            <p:ph type="ftr" sz="quarter" idx="11"/>
          </p:nvPr>
        </p:nvSpPr>
        <p:spPr/>
        <p:txBody>
          <a:bodyPr/>
          <a:lstStyle>
            <a:lvl1pPr>
              <a:defRPr/>
            </a:lvl1pPr>
          </a:lstStyle>
          <a:p>
            <a:pPr>
              <a:defRPr/>
            </a:pPr>
            <a:endParaRPr/>
          </a:p>
        </p:txBody>
      </p:sp>
    </p:spTree>
  </p:cSld>
  <p:clrMapOvr>
    <a:masterClrMapping/>
  </p:clrMapOvr>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ortfolio 15">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3" name="Picture Placeholder 22"/>
          <p:cNvSpPr>
            <a:spLocks noGrp="1" noChangeAspect="1"/>
          </p:cNvSpPr>
          <p:nvPr>
            <p:ph type="pic" sz="quarter" idx="10"/>
          </p:nvPr>
        </p:nvSpPr>
        <p:spPr>
          <a:xfrm>
            <a:off x="731573" y="582930"/>
            <a:ext cx="3892739" cy="3977640"/>
          </a:xfrm>
          <a:custGeom>
            <a:avLst/>
            <a:gdLst>
              <a:gd name="connsiteX0" fmla="*/ 1989152 w 4928993"/>
              <a:gd name="connsiteY0" fmla="*/ 3395553 h 5036495"/>
              <a:gd name="connsiteX1" fmla="*/ 2951693 w 4928993"/>
              <a:gd name="connsiteY1" fmla="*/ 3395553 h 5036495"/>
              <a:gd name="connsiteX2" fmla="*/ 3433422 w 4928993"/>
              <a:gd name="connsiteY2" fmla="*/ 4216024 h 5036495"/>
              <a:gd name="connsiteX3" fmla="*/ 2951693 w 4928993"/>
              <a:gd name="connsiteY3" fmla="*/ 5036495 h 5036495"/>
              <a:gd name="connsiteX4" fmla="*/ 1989152 w 4928993"/>
              <a:gd name="connsiteY4" fmla="*/ 5036495 h 5036495"/>
              <a:gd name="connsiteX5" fmla="*/ 1506509 w 4928993"/>
              <a:gd name="connsiteY5" fmla="*/ 4216024 h 5036495"/>
              <a:gd name="connsiteX6" fmla="*/ 3493489 w 4928993"/>
              <a:gd name="connsiteY6" fmla="*/ 2546666 h 5036495"/>
              <a:gd name="connsiteX7" fmla="*/ 4456032 w 4928993"/>
              <a:gd name="connsiteY7" fmla="*/ 2546666 h 5036495"/>
              <a:gd name="connsiteX8" fmla="*/ 4928993 w 4928993"/>
              <a:gd name="connsiteY8" fmla="*/ 3352206 h 5036495"/>
              <a:gd name="connsiteX9" fmla="*/ 4928993 w 4928993"/>
              <a:gd name="connsiteY9" fmla="*/ 3382068 h 5036495"/>
              <a:gd name="connsiteX10" fmla="*/ 4456032 w 4928993"/>
              <a:gd name="connsiteY10" fmla="*/ 4187608 h 5036495"/>
              <a:gd name="connsiteX11" fmla="*/ 3493489 w 4928993"/>
              <a:gd name="connsiteY11" fmla="*/ 4187608 h 5036495"/>
              <a:gd name="connsiteX12" fmla="*/ 3010847 w 4928993"/>
              <a:gd name="connsiteY12" fmla="*/ 3367137 h 5036495"/>
              <a:gd name="connsiteX13" fmla="*/ 482642 w 4928993"/>
              <a:gd name="connsiteY13" fmla="*/ 2546665 h 5036495"/>
              <a:gd name="connsiteX14" fmla="*/ 1445184 w 4928993"/>
              <a:gd name="connsiteY14" fmla="*/ 2546665 h 5036495"/>
              <a:gd name="connsiteX15" fmla="*/ 1926912 w 4928993"/>
              <a:gd name="connsiteY15" fmla="*/ 3367136 h 5036495"/>
              <a:gd name="connsiteX16" fmla="*/ 1445184 w 4928993"/>
              <a:gd name="connsiteY16" fmla="*/ 4187607 h 5036495"/>
              <a:gd name="connsiteX17" fmla="*/ 482642 w 4928993"/>
              <a:gd name="connsiteY17" fmla="*/ 4187607 h 5036495"/>
              <a:gd name="connsiteX18" fmla="*/ 0 w 4928993"/>
              <a:gd name="connsiteY18" fmla="*/ 3367136 h 5036495"/>
              <a:gd name="connsiteX19" fmla="*/ 1989152 w 4928993"/>
              <a:gd name="connsiteY19" fmla="*/ 1697776 h 5036495"/>
              <a:gd name="connsiteX20" fmla="*/ 2951693 w 4928993"/>
              <a:gd name="connsiteY20" fmla="*/ 1697776 h 5036495"/>
              <a:gd name="connsiteX21" fmla="*/ 3433422 w 4928993"/>
              <a:gd name="connsiteY21" fmla="*/ 2518247 h 5036495"/>
              <a:gd name="connsiteX22" fmla="*/ 2951693 w 4928993"/>
              <a:gd name="connsiteY22" fmla="*/ 3338718 h 5036495"/>
              <a:gd name="connsiteX23" fmla="*/ 1989152 w 4928993"/>
              <a:gd name="connsiteY23" fmla="*/ 3338718 h 5036495"/>
              <a:gd name="connsiteX24" fmla="*/ 1506509 w 4928993"/>
              <a:gd name="connsiteY24" fmla="*/ 2518247 h 5036495"/>
              <a:gd name="connsiteX25" fmla="*/ 3493489 w 4928993"/>
              <a:gd name="connsiteY25" fmla="*/ 848888 h 5036495"/>
              <a:gd name="connsiteX26" fmla="*/ 4456032 w 4928993"/>
              <a:gd name="connsiteY26" fmla="*/ 848888 h 5036495"/>
              <a:gd name="connsiteX27" fmla="*/ 4928993 w 4928993"/>
              <a:gd name="connsiteY27" fmla="*/ 1654428 h 5036495"/>
              <a:gd name="connsiteX28" fmla="*/ 4928993 w 4928993"/>
              <a:gd name="connsiteY28" fmla="*/ 1684290 h 5036495"/>
              <a:gd name="connsiteX29" fmla="*/ 4456032 w 4928993"/>
              <a:gd name="connsiteY29" fmla="*/ 2489830 h 5036495"/>
              <a:gd name="connsiteX30" fmla="*/ 3493489 w 4928993"/>
              <a:gd name="connsiteY30" fmla="*/ 2489830 h 5036495"/>
              <a:gd name="connsiteX31" fmla="*/ 3010847 w 4928993"/>
              <a:gd name="connsiteY31" fmla="*/ 1669359 h 5036495"/>
              <a:gd name="connsiteX32" fmla="*/ 482642 w 4928993"/>
              <a:gd name="connsiteY32" fmla="*/ 848886 h 5036495"/>
              <a:gd name="connsiteX33" fmla="*/ 1445184 w 4928993"/>
              <a:gd name="connsiteY33" fmla="*/ 848886 h 5036495"/>
              <a:gd name="connsiteX34" fmla="*/ 1926912 w 4928993"/>
              <a:gd name="connsiteY34" fmla="*/ 1669358 h 5036495"/>
              <a:gd name="connsiteX35" fmla="*/ 1445184 w 4928993"/>
              <a:gd name="connsiteY35" fmla="*/ 2489829 h 5036495"/>
              <a:gd name="connsiteX36" fmla="*/ 482642 w 4928993"/>
              <a:gd name="connsiteY36" fmla="*/ 2489829 h 5036495"/>
              <a:gd name="connsiteX37" fmla="*/ 0 w 4928993"/>
              <a:gd name="connsiteY37" fmla="*/ 1669358 h 5036495"/>
              <a:gd name="connsiteX38" fmla="*/ 1989152 w 4928993"/>
              <a:gd name="connsiteY38" fmla="*/ 0 h 5036495"/>
              <a:gd name="connsiteX39" fmla="*/ 2951693 w 4928993"/>
              <a:gd name="connsiteY39" fmla="*/ 0 h 5036495"/>
              <a:gd name="connsiteX40" fmla="*/ 3433422 w 4928993"/>
              <a:gd name="connsiteY40" fmla="*/ 820471 h 5036495"/>
              <a:gd name="connsiteX41" fmla="*/ 2951693 w 4928993"/>
              <a:gd name="connsiteY41" fmla="*/ 1640942 h 5036495"/>
              <a:gd name="connsiteX42" fmla="*/ 1989152 w 4928993"/>
              <a:gd name="connsiteY42" fmla="*/ 1640942 h 5036495"/>
              <a:gd name="connsiteX43" fmla="*/ 1506509 w 4928993"/>
              <a:gd name="connsiteY43" fmla="*/ 820471 h 5036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28993" h="5036495">
                <a:moveTo>
                  <a:pt x="1989152" y="3395553"/>
                </a:moveTo>
                <a:lnTo>
                  <a:pt x="2951693" y="3395553"/>
                </a:lnTo>
                <a:lnTo>
                  <a:pt x="3433422" y="4216024"/>
                </a:lnTo>
                <a:lnTo>
                  <a:pt x="2951693" y="5036495"/>
                </a:lnTo>
                <a:lnTo>
                  <a:pt x="1989152" y="5036495"/>
                </a:lnTo>
                <a:lnTo>
                  <a:pt x="1506509" y="4216024"/>
                </a:lnTo>
                <a:close/>
                <a:moveTo>
                  <a:pt x="3493489" y="2546666"/>
                </a:moveTo>
                <a:lnTo>
                  <a:pt x="4456032" y="2546666"/>
                </a:lnTo>
                <a:lnTo>
                  <a:pt x="4928993" y="3352206"/>
                </a:lnTo>
                <a:lnTo>
                  <a:pt x="4928993" y="3382068"/>
                </a:lnTo>
                <a:lnTo>
                  <a:pt x="4456032" y="4187608"/>
                </a:lnTo>
                <a:lnTo>
                  <a:pt x="3493489" y="4187608"/>
                </a:lnTo>
                <a:lnTo>
                  <a:pt x="3010847" y="3367137"/>
                </a:lnTo>
                <a:close/>
                <a:moveTo>
                  <a:pt x="482642" y="2546665"/>
                </a:moveTo>
                <a:lnTo>
                  <a:pt x="1445184" y="2546665"/>
                </a:lnTo>
                <a:lnTo>
                  <a:pt x="1926912" y="3367136"/>
                </a:lnTo>
                <a:lnTo>
                  <a:pt x="1445184" y="4187607"/>
                </a:lnTo>
                <a:lnTo>
                  <a:pt x="482642" y="4187607"/>
                </a:lnTo>
                <a:lnTo>
                  <a:pt x="0" y="3367136"/>
                </a:lnTo>
                <a:close/>
                <a:moveTo>
                  <a:pt x="1989152" y="1697776"/>
                </a:moveTo>
                <a:lnTo>
                  <a:pt x="2951693" y="1697776"/>
                </a:lnTo>
                <a:lnTo>
                  <a:pt x="3433422" y="2518247"/>
                </a:lnTo>
                <a:lnTo>
                  <a:pt x="2951693" y="3338718"/>
                </a:lnTo>
                <a:lnTo>
                  <a:pt x="1989152" y="3338718"/>
                </a:lnTo>
                <a:lnTo>
                  <a:pt x="1506509" y="2518247"/>
                </a:lnTo>
                <a:close/>
                <a:moveTo>
                  <a:pt x="3493489" y="848888"/>
                </a:moveTo>
                <a:lnTo>
                  <a:pt x="4456032" y="848888"/>
                </a:lnTo>
                <a:lnTo>
                  <a:pt x="4928993" y="1654428"/>
                </a:lnTo>
                <a:lnTo>
                  <a:pt x="4928993" y="1684290"/>
                </a:lnTo>
                <a:lnTo>
                  <a:pt x="4456032" y="2489830"/>
                </a:lnTo>
                <a:lnTo>
                  <a:pt x="3493489" y="2489830"/>
                </a:lnTo>
                <a:lnTo>
                  <a:pt x="3010847" y="1669359"/>
                </a:lnTo>
                <a:close/>
                <a:moveTo>
                  <a:pt x="482642" y="848886"/>
                </a:moveTo>
                <a:lnTo>
                  <a:pt x="1445184" y="848886"/>
                </a:lnTo>
                <a:lnTo>
                  <a:pt x="1926912" y="1669358"/>
                </a:lnTo>
                <a:lnTo>
                  <a:pt x="1445184" y="2489829"/>
                </a:lnTo>
                <a:lnTo>
                  <a:pt x="482642" y="2489829"/>
                </a:lnTo>
                <a:lnTo>
                  <a:pt x="0" y="1669358"/>
                </a:lnTo>
                <a:close/>
                <a:moveTo>
                  <a:pt x="1989152" y="0"/>
                </a:moveTo>
                <a:lnTo>
                  <a:pt x="2951693" y="0"/>
                </a:lnTo>
                <a:lnTo>
                  <a:pt x="3433422" y="820471"/>
                </a:lnTo>
                <a:lnTo>
                  <a:pt x="2951693" y="1640942"/>
                </a:lnTo>
                <a:lnTo>
                  <a:pt x="1989152" y="1640942"/>
                </a:lnTo>
                <a:lnTo>
                  <a:pt x="1506509" y="820471"/>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118629690"/>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Portfolio 16">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60584" y="754380"/>
            <a:ext cx="4434379" cy="3634740"/>
          </a:xfrm>
          <a:custGeom>
            <a:avLst/>
            <a:gdLst>
              <a:gd name="connsiteX0" fmla="*/ 3004699 w 5912505"/>
              <a:gd name="connsiteY0" fmla="*/ 3295445 h 4846320"/>
              <a:gd name="connsiteX1" fmla="*/ 4167821 w 5912505"/>
              <a:gd name="connsiteY1" fmla="*/ 3295445 h 4846320"/>
              <a:gd name="connsiteX2" fmla="*/ 4167821 w 5912505"/>
              <a:gd name="connsiteY2" fmla="*/ 4070883 h 4846320"/>
              <a:gd name="connsiteX3" fmla="*/ 3004699 w 5912505"/>
              <a:gd name="connsiteY3" fmla="*/ 4070883 h 4846320"/>
              <a:gd name="connsiteX4" fmla="*/ 0 w 5912505"/>
              <a:gd name="connsiteY4" fmla="*/ 2423144 h 4846320"/>
              <a:gd name="connsiteX5" fmla="*/ 2907805 w 5912505"/>
              <a:gd name="connsiteY5" fmla="*/ 2423144 h 4846320"/>
              <a:gd name="connsiteX6" fmla="*/ 2907805 w 5912505"/>
              <a:gd name="connsiteY6" fmla="*/ 4846320 h 4846320"/>
              <a:gd name="connsiteX7" fmla="*/ 0 w 5912505"/>
              <a:gd name="connsiteY7" fmla="*/ 4846320 h 4846320"/>
              <a:gd name="connsiteX8" fmla="*/ 3004699 w 5912505"/>
              <a:gd name="connsiteY8" fmla="*/ 1647738 h 4846320"/>
              <a:gd name="connsiteX9" fmla="*/ 5912505 w 5912505"/>
              <a:gd name="connsiteY9" fmla="*/ 1647738 h 4846320"/>
              <a:gd name="connsiteX10" fmla="*/ 5912505 w 5912505"/>
              <a:gd name="connsiteY10" fmla="*/ 3198568 h 4846320"/>
              <a:gd name="connsiteX11" fmla="*/ 3004699 w 5912505"/>
              <a:gd name="connsiteY11" fmla="*/ 3198568 h 4846320"/>
              <a:gd name="connsiteX12" fmla="*/ 1938515 w 5912505"/>
              <a:gd name="connsiteY12" fmla="*/ 1163109 h 4846320"/>
              <a:gd name="connsiteX13" fmla="*/ 2907773 w 5912505"/>
              <a:gd name="connsiteY13" fmla="*/ 1163109 h 4846320"/>
              <a:gd name="connsiteX14" fmla="*/ 2907773 w 5912505"/>
              <a:gd name="connsiteY14" fmla="*/ 2326250 h 4846320"/>
              <a:gd name="connsiteX15" fmla="*/ 1938515 w 5912505"/>
              <a:gd name="connsiteY15" fmla="*/ 2326250 h 4846320"/>
              <a:gd name="connsiteX16" fmla="*/ 3004699 w 5912505"/>
              <a:gd name="connsiteY16" fmla="*/ 0 h 4846320"/>
              <a:gd name="connsiteX17" fmla="*/ 4943236 w 5912505"/>
              <a:gd name="connsiteY17" fmla="*/ 0 h 4846320"/>
              <a:gd name="connsiteX18" fmla="*/ 4943236 w 5912505"/>
              <a:gd name="connsiteY18" fmla="*/ 1550830 h 4846320"/>
              <a:gd name="connsiteX19" fmla="*/ 3004699 w 5912505"/>
              <a:gd name="connsiteY19" fmla="*/ 1550830 h 484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12505" h="4846320">
                <a:moveTo>
                  <a:pt x="3004699" y="3295445"/>
                </a:moveTo>
                <a:lnTo>
                  <a:pt x="4167821" y="3295445"/>
                </a:lnTo>
                <a:lnTo>
                  <a:pt x="4167821" y="4070883"/>
                </a:lnTo>
                <a:lnTo>
                  <a:pt x="3004699" y="4070883"/>
                </a:lnTo>
                <a:close/>
                <a:moveTo>
                  <a:pt x="0" y="2423144"/>
                </a:moveTo>
                <a:lnTo>
                  <a:pt x="2907805" y="2423144"/>
                </a:lnTo>
                <a:lnTo>
                  <a:pt x="2907805" y="4846320"/>
                </a:lnTo>
                <a:lnTo>
                  <a:pt x="0" y="4846320"/>
                </a:lnTo>
                <a:close/>
                <a:moveTo>
                  <a:pt x="3004699" y="1647738"/>
                </a:moveTo>
                <a:lnTo>
                  <a:pt x="5912505" y="1647738"/>
                </a:lnTo>
                <a:lnTo>
                  <a:pt x="5912505" y="3198568"/>
                </a:lnTo>
                <a:lnTo>
                  <a:pt x="3004699" y="3198568"/>
                </a:lnTo>
                <a:close/>
                <a:moveTo>
                  <a:pt x="1938515" y="1163109"/>
                </a:moveTo>
                <a:lnTo>
                  <a:pt x="2907773" y="1163109"/>
                </a:lnTo>
                <a:lnTo>
                  <a:pt x="2907773" y="2326250"/>
                </a:lnTo>
                <a:lnTo>
                  <a:pt x="1938515" y="2326250"/>
                </a:lnTo>
                <a:close/>
                <a:moveTo>
                  <a:pt x="3004699" y="0"/>
                </a:moveTo>
                <a:lnTo>
                  <a:pt x="4943236" y="0"/>
                </a:lnTo>
                <a:lnTo>
                  <a:pt x="4943236" y="1550830"/>
                </a:lnTo>
                <a:lnTo>
                  <a:pt x="3004699" y="155083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391205706"/>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Portfolio 17">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3" name="Picture Placeholder 22"/>
          <p:cNvSpPr>
            <a:spLocks noGrp="1" noChangeAspect="1"/>
          </p:cNvSpPr>
          <p:nvPr>
            <p:ph type="pic" sz="quarter" idx="10"/>
          </p:nvPr>
        </p:nvSpPr>
        <p:spPr>
          <a:xfrm>
            <a:off x="4640581" y="582930"/>
            <a:ext cx="3811904" cy="3977640"/>
          </a:xfrm>
          <a:custGeom>
            <a:avLst/>
            <a:gdLst>
              <a:gd name="connsiteX0" fmla="*/ 0 w 4206240"/>
              <a:gd name="connsiteY0" fmla="*/ 2363381 h 4389120"/>
              <a:gd name="connsiteX1" fmla="*/ 1051558 w 4206240"/>
              <a:gd name="connsiteY1" fmla="*/ 2363381 h 4389120"/>
              <a:gd name="connsiteX2" fmla="*/ 2103120 w 4206240"/>
              <a:gd name="connsiteY2" fmla="*/ 3376251 h 4389120"/>
              <a:gd name="connsiteX3" fmla="*/ 3154682 w 4206240"/>
              <a:gd name="connsiteY3" fmla="*/ 2363381 h 4389120"/>
              <a:gd name="connsiteX4" fmla="*/ 4206240 w 4206240"/>
              <a:gd name="connsiteY4" fmla="*/ 2363381 h 4389120"/>
              <a:gd name="connsiteX5" fmla="*/ 2103120 w 4206240"/>
              <a:gd name="connsiteY5" fmla="*/ 4389120 h 4389120"/>
              <a:gd name="connsiteX6" fmla="*/ 0 w 4206240"/>
              <a:gd name="connsiteY6" fmla="*/ 2363381 h 4389120"/>
              <a:gd name="connsiteX7" fmla="*/ 2103120 w 4206240"/>
              <a:gd name="connsiteY7" fmla="*/ 1135662 h 4389120"/>
              <a:gd name="connsiteX8" fmla="*/ 3059073 w 4206240"/>
              <a:gd name="connsiteY8" fmla="*/ 2194561 h 4389120"/>
              <a:gd name="connsiteX9" fmla="*/ 2103120 w 4206240"/>
              <a:gd name="connsiteY9" fmla="*/ 3253461 h 4389120"/>
              <a:gd name="connsiteX10" fmla="*/ 1147167 w 4206240"/>
              <a:gd name="connsiteY10" fmla="*/ 2194561 h 4389120"/>
              <a:gd name="connsiteX11" fmla="*/ 2103120 w 4206240"/>
              <a:gd name="connsiteY11" fmla="*/ 1135662 h 4389120"/>
              <a:gd name="connsiteX12" fmla="*/ 2103120 w 4206240"/>
              <a:gd name="connsiteY12" fmla="*/ 0 h 4389120"/>
              <a:gd name="connsiteX13" fmla="*/ 4206240 w 4206240"/>
              <a:gd name="connsiteY13" fmla="*/ 2025739 h 4389120"/>
              <a:gd name="connsiteX14" fmla="*/ 3154682 w 4206240"/>
              <a:gd name="connsiteY14" fmla="*/ 2025739 h 4389120"/>
              <a:gd name="connsiteX15" fmla="*/ 2103120 w 4206240"/>
              <a:gd name="connsiteY15" fmla="*/ 1012869 h 4389120"/>
              <a:gd name="connsiteX16" fmla="*/ 1051558 w 4206240"/>
              <a:gd name="connsiteY16" fmla="*/ 2025739 h 4389120"/>
              <a:gd name="connsiteX17" fmla="*/ 0 w 4206240"/>
              <a:gd name="connsiteY17" fmla="*/ 2025739 h 4389120"/>
              <a:gd name="connsiteX18" fmla="*/ 2103120 w 4206240"/>
              <a:gd name="connsiteY18" fmla="*/ 0 h 438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6240" h="4389120">
                <a:moveTo>
                  <a:pt x="0" y="2363381"/>
                </a:moveTo>
                <a:lnTo>
                  <a:pt x="1051558" y="2363381"/>
                </a:lnTo>
                <a:cubicBezTo>
                  <a:pt x="1051558" y="2922774"/>
                  <a:pt x="1522359" y="3376251"/>
                  <a:pt x="2103120" y="3376251"/>
                </a:cubicBezTo>
                <a:cubicBezTo>
                  <a:pt x="2683882" y="3376251"/>
                  <a:pt x="3154682" y="2922774"/>
                  <a:pt x="3154682" y="2363381"/>
                </a:cubicBezTo>
                <a:lnTo>
                  <a:pt x="4206240" y="2363381"/>
                </a:lnTo>
                <a:cubicBezTo>
                  <a:pt x="4206240" y="3482166"/>
                  <a:pt x="3264641" y="4389120"/>
                  <a:pt x="2103120" y="4389120"/>
                </a:cubicBezTo>
                <a:cubicBezTo>
                  <a:pt x="941599" y="4389120"/>
                  <a:pt x="0" y="3482166"/>
                  <a:pt x="0" y="2363381"/>
                </a:cubicBezTo>
                <a:close/>
                <a:moveTo>
                  <a:pt x="2103120" y="1135662"/>
                </a:moveTo>
                <a:cubicBezTo>
                  <a:pt x="2631079" y="1135662"/>
                  <a:pt x="3059073" y="1609748"/>
                  <a:pt x="3059073" y="2194561"/>
                </a:cubicBezTo>
                <a:cubicBezTo>
                  <a:pt x="3059073" y="2779375"/>
                  <a:pt x="2631079" y="3253461"/>
                  <a:pt x="2103120" y="3253461"/>
                </a:cubicBezTo>
                <a:cubicBezTo>
                  <a:pt x="1575161" y="3253461"/>
                  <a:pt x="1147167" y="2779375"/>
                  <a:pt x="1147167" y="2194561"/>
                </a:cubicBezTo>
                <a:cubicBezTo>
                  <a:pt x="1147167" y="1609748"/>
                  <a:pt x="1575161" y="1135662"/>
                  <a:pt x="2103120" y="1135662"/>
                </a:cubicBezTo>
                <a:close/>
                <a:moveTo>
                  <a:pt x="2103120" y="0"/>
                </a:moveTo>
                <a:cubicBezTo>
                  <a:pt x="3264641" y="0"/>
                  <a:pt x="4206240" y="906954"/>
                  <a:pt x="4206240" y="2025739"/>
                </a:cubicBezTo>
                <a:lnTo>
                  <a:pt x="3154682" y="2025739"/>
                </a:lnTo>
                <a:cubicBezTo>
                  <a:pt x="3154682" y="1466346"/>
                  <a:pt x="2683882" y="1012869"/>
                  <a:pt x="2103120" y="1012869"/>
                </a:cubicBezTo>
                <a:cubicBezTo>
                  <a:pt x="1522359" y="1012869"/>
                  <a:pt x="1051558" y="1466346"/>
                  <a:pt x="1051558" y="2025739"/>
                </a:cubicBezTo>
                <a:lnTo>
                  <a:pt x="0" y="2025739"/>
                </a:lnTo>
                <a:cubicBezTo>
                  <a:pt x="0" y="906954"/>
                  <a:pt x="941599" y="0"/>
                  <a:pt x="2103120" y="0"/>
                </a:cubicBez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420724444"/>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Portfolio 18">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670118" y="0"/>
            <a:ext cx="4473882" cy="5143500"/>
          </a:xfrm>
          <a:custGeom>
            <a:avLst/>
            <a:gdLst>
              <a:gd name="connsiteX0" fmla="*/ 5093814 w 5965176"/>
              <a:gd name="connsiteY0" fmla="*/ 0 h 6858000"/>
              <a:gd name="connsiteX1" fmla="*/ 5965176 w 5965176"/>
              <a:gd name="connsiteY1" fmla="*/ 0 h 6858000"/>
              <a:gd name="connsiteX2" fmla="*/ 5965176 w 5965176"/>
              <a:gd name="connsiteY2" fmla="*/ 6858000 h 6858000"/>
              <a:gd name="connsiteX3" fmla="*/ 5093814 w 5965176"/>
              <a:gd name="connsiteY3" fmla="*/ 6858000 h 6858000"/>
              <a:gd name="connsiteX4" fmla="*/ 3395876 w 5965176"/>
              <a:gd name="connsiteY4" fmla="*/ 0 h 6858000"/>
              <a:gd name="connsiteX5" fmla="*/ 5041796 w 5965176"/>
              <a:gd name="connsiteY5" fmla="*/ 0 h 6858000"/>
              <a:gd name="connsiteX6" fmla="*/ 5041796 w 5965176"/>
              <a:gd name="connsiteY6" fmla="*/ 6858000 h 6858000"/>
              <a:gd name="connsiteX7" fmla="*/ 3395876 w 5965176"/>
              <a:gd name="connsiteY7" fmla="*/ 6858000 h 6858000"/>
              <a:gd name="connsiteX8" fmla="*/ 1697938 w 5965176"/>
              <a:gd name="connsiteY8" fmla="*/ 0 h 6858000"/>
              <a:gd name="connsiteX9" fmla="*/ 3343858 w 5965176"/>
              <a:gd name="connsiteY9" fmla="*/ 0 h 6858000"/>
              <a:gd name="connsiteX10" fmla="*/ 3343858 w 5965176"/>
              <a:gd name="connsiteY10" fmla="*/ 6858000 h 6858000"/>
              <a:gd name="connsiteX11" fmla="*/ 1697938 w 5965176"/>
              <a:gd name="connsiteY11" fmla="*/ 6858000 h 6858000"/>
              <a:gd name="connsiteX12" fmla="*/ 0 w 5965176"/>
              <a:gd name="connsiteY12" fmla="*/ 0 h 6858000"/>
              <a:gd name="connsiteX13" fmla="*/ 1645920 w 5965176"/>
              <a:gd name="connsiteY13" fmla="*/ 0 h 6858000"/>
              <a:gd name="connsiteX14" fmla="*/ 1645920 w 5965176"/>
              <a:gd name="connsiteY14" fmla="*/ 6858000 h 6858000"/>
              <a:gd name="connsiteX15" fmla="*/ 0 w 5965176"/>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65176" h="6858000">
                <a:moveTo>
                  <a:pt x="5093814" y="0"/>
                </a:moveTo>
                <a:lnTo>
                  <a:pt x="5965176" y="0"/>
                </a:lnTo>
                <a:lnTo>
                  <a:pt x="5965176" y="6858000"/>
                </a:lnTo>
                <a:lnTo>
                  <a:pt x="5093814" y="6858000"/>
                </a:lnTo>
                <a:close/>
                <a:moveTo>
                  <a:pt x="3395876" y="0"/>
                </a:moveTo>
                <a:lnTo>
                  <a:pt x="5041796" y="0"/>
                </a:lnTo>
                <a:lnTo>
                  <a:pt x="5041796" y="6858000"/>
                </a:lnTo>
                <a:lnTo>
                  <a:pt x="3395876" y="6858000"/>
                </a:lnTo>
                <a:close/>
                <a:moveTo>
                  <a:pt x="1697938" y="0"/>
                </a:moveTo>
                <a:lnTo>
                  <a:pt x="3343858" y="0"/>
                </a:lnTo>
                <a:lnTo>
                  <a:pt x="3343858" y="6858000"/>
                </a:lnTo>
                <a:lnTo>
                  <a:pt x="1697938" y="6858000"/>
                </a:lnTo>
                <a:close/>
                <a:moveTo>
                  <a:pt x="0" y="0"/>
                </a:moveTo>
                <a:lnTo>
                  <a:pt x="1645920" y="0"/>
                </a:lnTo>
                <a:lnTo>
                  <a:pt x="1645920" y="6858000"/>
                </a:lnTo>
                <a:lnTo>
                  <a:pt x="0" y="685800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612597991"/>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Portfolio 19">
    <p:spTree>
      <p:nvGrpSpPr>
        <p:cNvPr id="1" name=""/>
        <p:cNvGrpSpPr/>
        <p:nvPr/>
      </p:nvGrpSpPr>
      <p:grpSpPr>
        <a:xfrm>
          <a:off x="0" y="0"/>
          <a:ext cx="0" cy="0"/>
          <a:chOff x="0" y="0"/>
          <a:chExt cx="0" cy="0"/>
        </a:xfrm>
      </p:grpSpPr>
      <p:sp>
        <p:nvSpPr>
          <p:cNvPr id="24" name="Picture Placeholder 3"/>
          <p:cNvSpPr>
            <a:spLocks noGrp="1"/>
          </p:cNvSpPr>
          <p:nvPr>
            <p:ph type="pic" sz="quarter" idx="10"/>
          </p:nvPr>
        </p:nvSpPr>
        <p:spPr>
          <a:xfrm>
            <a:off x="2944083" y="12"/>
            <a:ext cx="6199919" cy="5143499"/>
          </a:xfrm>
          <a:custGeom>
            <a:avLst/>
            <a:gdLst>
              <a:gd name="connsiteX0" fmla="*/ 964929 w 8266558"/>
              <a:gd name="connsiteY0" fmla="*/ 0 h 6857999"/>
              <a:gd name="connsiteX1" fmla="*/ 8266558 w 8266558"/>
              <a:gd name="connsiteY1" fmla="*/ 0 h 6857999"/>
              <a:gd name="connsiteX2" fmla="*/ 8266558 w 8266558"/>
              <a:gd name="connsiteY2" fmla="*/ 4516266 h 6857999"/>
              <a:gd name="connsiteX3" fmla="*/ 4869410 w 8266558"/>
              <a:gd name="connsiteY3" fmla="*/ 6605288 h 6857999"/>
              <a:gd name="connsiteX4" fmla="*/ 0 w 8266558"/>
              <a:gd name="connsiteY4" fmla="*/ 0 h 6857999"/>
              <a:gd name="connsiteX5" fmla="*/ 964929 w 8266558"/>
              <a:gd name="connsiteY5" fmla="*/ 0 h 6857999"/>
              <a:gd name="connsiteX6" fmla="*/ 4808965 w 8266558"/>
              <a:gd name="connsiteY6" fmla="*/ 6857999 h 6857999"/>
              <a:gd name="connsiteX7" fmla="*/ 4802575 w 8266558"/>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66558" h="6857999">
                <a:moveTo>
                  <a:pt x="964929" y="0"/>
                </a:moveTo>
                <a:lnTo>
                  <a:pt x="8266558" y="0"/>
                </a:lnTo>
                <a:lnTo>
                  <a:pt x="8266558" y="4516266"/>
                </a:lnTo>
                <a:lnTo>
                  <a:pt x="4869410" y="6605288"/>
                </a:lnTo>
                <a:close/>
                <a:moveTo>
                  <a:pt x="0" y="0"/>
                </a:moveTo>
                <a:lnTo>
                  <a:pt x="964929" y="0"/>
                </a:lnTo>
                <a:lnTo>
                  <a:pt x="4808965" y="6857999"/>
                </a:lnTo>
                <a:lnTo>
                  <a:pt x="4802575" y="6857999"/>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638581862"/>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Device Mockups">
    <p:bg>
      <p:bgPr>
        <a:pattFill prst="openDmnd">
          <a:fgClr>
            <a:schemeClr val="bg1"/>
          </a:fgClr>
          <a:bgClr>
            <a:srgbClr val="00B0F0"/>
          </a:bgClr>
        </a:pattFill>
        <a:effectLst/>
      </p:bgPr>
    </p:bg>
    <p:spTree>
      <p:nvGrpSpPr>
        <p:cNvPr id="1" name=""/>
        <p:cNvGrpSpPr/>
        <p:nvPr/>
      </p:nvGrpSpPr>
      <p:grpSpPr>
        <a:xfrm>
          <a:off x="0" y="0"/>
          <a:ext cx="0" cy="0"/>
          <a:chOff x="0" y="0"/>
          <a:chExt cx="0" cy="0"/>
        </a:xfrm>
      </p:grpSpPr>
      <p:sp>
        <p:nvSpPr>
          <p:cNvPr id="22" name="Rectangle 21"/>
          <p:cNvSpPr/>
          <p:nvPr userDrawn="1"/>
        </p:nvSpPr>
        <p:spPr>
          <a:xfrm>
            <a:off x="0" y="0"/>
            <a:ext cx="9144000" cy="5143500"/>
          </a:xfrm>
          <a:prstGeom prst="rect">
            <a:avLst/>
          </a:prstGeom>
          <a:solidFill>
            <a:schemeClr val="tx2">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17" name="Picture Placeholder 16"/>
          <p:cNvSpPr>
            <a:spLocks noGrp="1"/>
          </p:cNvSpPr>
          <p:nvPr>
            <p:ph type="pic" sz="quarter" idx="11"/>
          </p:nvPr>
        </p:nvSpPr>
        <p:spPr>
          <a:xfrm>
            <a:off x="3351279" y="941483"/>
            <a:ext cx="2180843" cy="2324757"/>
          </a:xfrm>
          <a:custGeom>
            <a:avLst/>
            <a:gdLst>
              <a:gd name="connsiteX0" fmla="*/ 0 w 2907791"/>
              <a:gd name="connsiteY0" fmla="*/ 0 h 3099676"/>
              <a:gd name="connsiteX1" fmla="*/ 2155508 w 2907791"/>
              <a:gd name="connsiteY1" fmla="*/ 741397 h 3099676"/>
              <a:gd name="connsiteX2" fmla="*/ 2907791 w 2907791"/>
              <a:gd name="connsiteY2" fmla="*/ 3099673 h 3099676"/>
              <a:gd name="connsiteX3" fmla="*/ 2907791 w 2907791"/>
              <a:gd name="connsiteY3" fmla="*/ 3099676 h 3099676"/>
              <a:gd name="connsiteX4" fmla="*/ 905859 w 2907791"/>
              <a:gd name="connsiteY4" fmla="*/ 3025614 h 3099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7791" h="3099676">
                <a:moveTo>
                  <a:pt x="0" y="0"/>
                </a:moveTo>
                <a:lnTo>
                  <a:pt x="2155508" y="741397"/>
                </a:lnTo>
                <a:lnTo>
                  <a:pt x="2907791" y="3099673"/>
                </a:lnTo>
                <a:lnTo>
                  <a:pt x="2907791" y="3099676"/>
                </a:lnTo>
                <a:lnTo>
                  <a:pt x="905859" y="3025614"/>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16" name="Picture Placeholder 15"/>
          <p:cNvSpPr>
            <a:spLocks noGrp="1"/>
          </p:cNvSpPr>
          <p:nvPr>
            <p:ph type="pic" sz="quarter" idx="12"/>
          </p:nvPr>
        </p:nvSpPr>
        <p:spPr>
          <a:xfrm>
            <a:off x="5102755" y="3432631"/>
            <a:ext cx="1604772" cy="994100"/>
          </a:xfrm>
          <a:custGeom>
            <a:avLst/>
            <a:gdLst>
              <a:gd name="connsiteX0" fmla="*/ 1370156 w 2139696"/>
              <a:gd name="connsiteY0" fmla="*/ 0 h 1325466"/>
              <a:gd name="connsiteX1" fmla="*/ 2139696 w 2139696"/>
              <a:gd name="connsiteY1" fmla="*/ 463869 h 1325466"/>
              <a:gd name="connsiteX2" fmla="*/ 777584 w 2139696"/>
              <a:gd name="connsiteY2" fmla="*/ 1325466 h 1325466"/>
              <a:gd name="connsiteX3" fmla="*/ 0 w 2139696"/>
              <a:gd name="connsiteY3" fmla="*/ 809759 h 1325466"/>
            </a:gdLst>
            <a:ahLst/>
            <a:cxnLst>
              <a:cxn ang="0">
                <a:pos x="connsiteX0" y="connsiteY0"/>
              </a:cxn>
              <a:cxn ang="0">
                <a:pos x="connsiteX1" y="connsiteY1"/>
              </a:cxn>
              <a:cxn ang="0">
                <a:pos x="connsiteX2" y="connsiteY2"/>
              </a:cxn>
              <a:cxn ang="0">
                <a:pos x="connsiteX3" y="connsiteY3"/>
              </a:cxn>
            </a:cxnLst>
            <a:rect l="l" t="t" r="r" b="b"/>
            <a:pathLst>
              <a:path w="2139696" h="1325466">
                <a:moveTo>
                  <a:pt x="1370156" y="0"/>
                </a:moveTo>
                <a:lnTo>
                  <a:pt x="2139696" y="463869"/>
                </a:lnTo>
                <a:lnTo>
                  <a:pt x="777584" y="1325466"/>
                </a:lnTo>
                <a:lnTo>
                  <a:pt x="0" y="809759"/>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19" name="Picture Placeholder 18"/>
          <p:cNvSpPr>
            <a:spLocks noGrp="1"/>
          </p:cNvSpPr>
          <p:nvPr>
            <p:ph type="pic" sz="quarter" idx="10"/>
          </p:nvPr>
        </p:nvSpPr>
        <p:spPr>
          <a:xfrm>
            <a:off x="1732958" y="2821699"/>
            <a:ext cx="2016252" cy="1440720"/>
          </a:xfrm>
          <a:custGeom>
            <a:avLst/>
            <a:gdLst>
              <a:gd name="connsiteX0" fmla="*/ 2688336 w 2688336"/>
              <a:gd name="connsiteY0" fmla="*/ 0 h 1920960"/>
              <a:gd name="connsiteX1" fmla="*/ 2359100 w 2688336"/>
              <a:gd name="connsiteY1" fmla="*/ 1920960 h 1920960"/>
              <a:gd name="connsiteX2" fmla="*/ 0 w 2688336"/>
              <a:gd name="connsiteY2" fmla="*/ 1840551 h 1920960"/>
              <a:gd name="connsiteX3" fmla="*/ 374189 w 2688336"/>
              <a:gd name="connsiteY3" fmla="*/ 67747 h 1920960"/>
            </a:gdLst>
            <a:ahLst/>
            <a:cxnLst>
              <a:cxn ang="0">
                <a:pos x="connsiteX0" y="connsiteY0"/>
              </a:cxn>
              <a:cxn ang="0">
                <a:pos x="connsiteX1" y="connsiteY1"/>
              </a:cxn>
              <a:cxn ang="0">
                <a:pos x="connsiteX2" y="connsiteY2"/>
              </a:cxn>
              <a:cxn ang="0">
                <a:pos x="connsiteX3" y="connsiteY3"/>
              </a:cxn>
            </a:cxnLst>
            <a:rect l="l" t="t" r="r" b="b"/>
            <a:pathLst>
              <a:path w="2688336" h="1920960">
                <a:moveTo>
                  <a:pt x="2688336" y="0"/>
                </a:moveTo>
                <a:lnTo>
                  <a:pt x="2359100" y="1920960"/>
                </a:lnTo>
                <a:lnTo>
                  <a:pt x="0" y="1840551"/>
                </a:lnTo>
                <a:lnTo>
                  <a:pt x="374189" y="67747"/>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236968902"/>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Tablet 1">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9" name="Picture Placeholder 28"/>
          <p:cNvSpPr>
            <a:spLocks noGrp="1"/>
          </p:cNvSpPr>
          <p:nvPr>
            <p:ph type="pic" sz="quarter" idx="10"/>
          </p:nvPr>
        </p:nvSpPr>
        <p:spPr>
          <a:xfrm>
            <a:off x="5268719" y="721672"/>
            <a:ext cx="2512818" cy="3713192"/>
          </a:xfrm>
          <a:custGeom>
            <a:avLst/>
            <a:gdLst>
              <a:gd name="connsiteX0" fmla="*/ 3350424 w 3350424"/>
              <a:gd name="connsiteY0" fmla="*/ 0 h 4950923"/>
              <a:gd name="connsiteX1" fmla="*/ 3350424 w 3350424"/>
              <a:gd name="connsiteY1" fmla="*/ 281222 h 4950923"/>
              <a:gd name="connsiteX2" fmla="*/ 3049588 w 3350424"/>
              <a:gd name="connsiteY2" fmla="*/ 4950923 h 4950923"/>
              <a:gd name="connsiteX3" fmla="*/ 0 w 3350424"/>
              <a:gd name="connsiteY3" fmla="*/ 4669936 h 4950923"/>
              <a:gd name="connsiteX4" fmla="*/ 425450 w 3350424"/>
              <a:gd name="connsiteY4" fmla="*/ 332886 h 4950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424" h="4950923">
                <a:moveTo>
                  <a:pt x="3350424" y="0"/>
                </a:moveTo>
                <a:lnTo>
                  <a:pt x="3350424" y="281222"/>
                </a:lnTo>
                <a:lnTo>
                  <a:pt x="3049588" y="4950923"/>
                </a:lnTo>
                <a:lnTo>
                  <a:pt x="0" y="4669936"/>
                </a:lnTo>
                <a:lnTo>
                  <a:pt x="425450" y="332886"/>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404327023"/>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ablet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1015886" y="1425892"/>
            <a:ext cx="3374136" cy="2544318"/>
          </a:xfrm>
          <a:solidFill>
            <a:schemeClr val="tx2">
              <a:lumMod val="85000"/>
            </a:schemeClr>
          </a:solidFill>
          <a:ln w="6350">
            <a:noFill/>
          </a:ln>
        </p:spPr>
        <p:txBody>
          <a:bodyPr anchor="ctr" anchorCtr="0"/>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2873704655"/>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ablet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1" name="Rectangle 10"/>
          <p:cNvSpPr/>
          <p:nvPr userDrawn="1"/>
        </p:nvSpPr>
        <p:spPr>
          <a:xfrm>
            <a:off x="0" y="3086100"/>
            <a:ext cx="9144000" cy="20574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10" name="Picture Placeholder 3"/>
          <p:cNvSpPr>
            <a:spLocks noGrp="1"/>
          </p:cNvSpPr>
          <p:nvPr>
            <p:ph type="pic" sz="quarter" idx="10"/>
          </p:nvPr>
        </p:nvSpPr>
        <p:spPr>
          <a:xfrm>
            <a:off x="3426042" y="1391480"/>
            <a:ext cx="2331695" cy="3100491"/>
          </a:xfrm>
          <a:solidFill>
            <a:schemeClr val="tx2">
              <a:lumMod val="85000"/>
            </a:schemeClr>
          </a:solidFill>
          <a:ln w="6350">
            <a:noFill/>
          </a:ln>
        </p:spPr>
        <p:txBody>
          <a:bodyPr anchor="ctr" anchorCtr="0"/>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2935583"/>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ablet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1120141" y="1543061"/>
            <a:ext cx="2125980" cy="2811761"/>
          </a:xfrm>
          <a:solidFill>
            <a:schemeClr val="tx2">
              <a:lumMod val="85000"/>
            </a:schemeClr>
          </a:solidFill>
          <a:ln w="6350">
            <a:noFill/>
          </a:ln>
        </p:spPr>
        <p:txBody>
          <a:bodyPr anchor="ctr" anchorCtr="0"/>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24938203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349191" y="1032212"/>
            <a:ext cx="4122022" cy="3459956"/>
          </a:xfrm>
        </p:spPr>
        <p:txBody>
          <a:bodyPr/>
          <a:lstStyle>
            <a:lvl1pPr algn="l">
              <a:defRPr sz="2400"/>
            </a:lvl1pPr>
            <a:lvl2pPr algn="l">
              <a:defRPr sz="2000"/>
            </a:lvl2pPr>
            <a:lvl3pPr algn="l">
              <a:defRPr sz="1800"/>
            </a:lvl3pPr>
            <a:lvl4pPr algn="l">
              <a:defRPr sz="1800"/>
            </a:lvl4pPr>
            <a:lvl5pPr algn="l">
              <a:defRPr sz="18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a:xfrm>
            <a:off x="4623672" y="1032212"/>
            <a:ext cx="4123609" cy="3459956"/>
          </a:xfrm>
        </p:spPr>
        <p:txBody>
          <a:bodyPr/>
          <a:lstStyle>
            <a:lvl1pPr algn="l">
              <a:defRPr sz="2400"/>
            </a:lvl1pPr>
            <a:lvl2pPr algn="l">
              <a:defRPr sz="2000"/>
            </a:lvl2pPr>
            <a:lvl3pPr algn="l">
              <a:defRPr sz="1800"/>
            </a:lvl3pPr>
            <a:lvl4pPr algn="l">
              <a:defRPr sz="1800"/>
            </a:lvl4pPr>
            <a:lvl5pPr algn="l">
              <a:defRPr sz="18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Rectangle 4"/>
          <p:cNvSpPr>
            <a:spLocks noGrp="1" noChangeArrowheads="1"/>
          </p:cNvSpPr>
          <p:nvPr>
            <p:ph type="sldNum" sz="quarter" idx="10"/>
          </p:nvPr>
        </p:nvSpPr>
        <p:spPr/>
        <p:txBody>
          <a:bodyPr/>
          <a:lstStyle>
            <a:lvl1pPr algn="l" eaLnBrk="1" hangingPunct="1">
              <a:defRPr/>
            </a:lvl1pPr>
          </a:lstStyle>
          <a:p>
            <a:pPr>
              <a:defRPr/>
            </a:pPr>
            <a:fld id="{5ACF70B9-EBC0-4868-958A-E94ED3ECC7E8}" type="slidenum">
              <a:rPr lang="es-ES"/>
              <a:pPr>
                <a:defRPr/>
              </a:pPr>
              <a:t>‹#›</a:t>
            </a:fld>
            <a:endParaRPr lang="es-ES"/>
          </a:p>
        </p:txBody>
      </p:sp>
      <p:sp>
        <p:nvSpPr>
          <p:cNvPr id="6" name="Footer Placeholder 5"/>
          <p:cNvSpPr>
            <a:spLocks noGrp="1"/>
          </p:cNvSpPr>
          <p:nvPr>
            <p:ph type="ftr" sz="quarter" idx="11"/>
          </p:nvPr>
        </p:nvSpPr>
        <p:spPr/>
        <p:txBody>
          <a:bodyPr/>
          <a:lstStyle>
            <a:lvl1pPr>
              <a:defRPr/>
            </a:lvl1pPr>
          </a:lstStyle>
          <a:p>
            <a:pPr>
              <a:defRPr/>
            </a:pPr>
            <a:endParaRPr/>
          </a:p>
        </p:txBody>
      </p:sp>
    </p:spTree>
  </p:cSld>
  <p:clrMapOvr>
    <a:masterClrMapping/>
  </p:clrMapOvr>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Desktop 1">
    <p:bg>
      <p:bgPr>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11" name="Picture Placeholder 10"/>
          <p:cNvSpPr>
            <a:spLocks noGrp="1"/>
          </p:cNvSpPr>
          <p:nvPr>
            <p:ph type="pic" sz="quarter" idx="10"/>
          </p:nvPr>
        </p:nvSpPr>
        <p:spPr>
          <a:xfrm>
            <a:off x="936428" y="590096"/>
            <a:ext cx="2702052" cy="2880360"/>
          </a:xfrm>
          <a:custGeom>
            <a:avLst/>
            <a:gdLst>
              <a:gd name="connsiteX0" fmla="*/ 0 w 3602736"/>
              <a:gd name="connsiteY0" fmla="*/ 0 h 3840480"/>
              <a:gd name="connsiteX1" fmla="*/ 2670661 w 3602736"/>
              <a:gd name="connsiteY1" fmla="*/ 918586 h 3840480"/>
              <a:gd name="connsiteX2" fmla="*/ 3602736 w 3602736"/>
              <a:gd name="connsiteY2" fmla="*/ 3840480 h 3840480"/>
              <a:gd name="connsiteX3" fmla="*/ 1122354 w 3602736"/>
              <a:gd name="connsiteY3" fmla="*/ 3748718 h 3840480"/>
            </a:gdLst>
            <a:ahLst/>
            <a:cxnLst>
              <a:cxn ang="0">
                <a:pos x="connsiteX0" y="connsiteY0"/>
              </a:cxn>
              <a:cxn ang="0">
                <a:pos x="connsiteX1" y="connsiteY1"/>
              </a:cxn>
              <a:cxn ang="0">
                <a:pos x="connsiteX2" y="connsiteY2"/>
              </a:cxn>
              <a:cxn ang="0">
                <a:pos x="connsiteX3" y="connsiteY3"/>
              </a:cxn>
            </a:cxnLst>
            <a:rect l="l" t="t" r="r" b="b"/>
            <a:pathLst>
              <a:path w="3602736" h="3840480">
                <a:moveTo>
                  <a:pt x="0" y="0"/>
                </a:moveTo>
                <a:lnTo>
                  <a:pt x="2670661" y="918586"/>
                </a:lnTo>
                <a:lnTo>
                  <a:pt x="3602736" y="3840480"/>
                </a:lnTo>
                <a:lnTo>
                  <a:pt x="1122354" y="3748718"/>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660472929"/>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Desktop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4686273" y="1200180"/>
            <a:ext cx="3360419" cy="2269997"/>
          </a:xfrm>
          <a:custGeom>
            <a:avLst/>
            <a:gdLst>
              <a:gd name="connsiteX0" fmla="*/ 4480553 w 4480559"/>
              <a:gd name="connsiteY0" fmla="*/ 0 h 3026663"/>
              <a:gd name="connsiteX1" fmla="*/ 4480559 w 4480559"/>
              <a:gd name="connsiteY1" fmla="*/ 0 h 3026663"/>
              <a:gd name="connsiteX2" fmla="*/ 4480559 w 4480559"/>
              <a:gd name="connsiteY2" fmla="*/ 4 h 3026663"/>
              <a:gd name="connsiteX3" fmla="*/ 3890180 w 4480559"/>
              <a:gd name="connsiteY3" fmla="*/ 2968795 h 3026663"/>
              <a:gd name="connsiteX4" fmla="*/ 0 w 4480559"/>
              <a:gd name="connsiteY4" fmla="*/ 3026663 h 3026663"/>
              <a:gd name="connsiteX5" fmla="*/ 645728 w 4480559"/>
              <a:gd name="connsiteY5" fmla="*/ 554128 h 302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0559" h="3026663">
                <a:moveTo>
                  <a:pt x="4480553" y="0"/>
                </a:moveTo>
                <a:lnTo>
                  <a:pt x="4480559" y="0"/>
                </a:lnTo>
                <a:lnTo>
                  <a:pt x="4480559" y="4"/>
                </a:lnTo>
                <a:lnTo>
                  <a:pt x="3890180" y="2968795"/>
                </a:lnTo>
                <a:lnTo>
                  <a:pt x="0" y="3026663"/>
                </a:lnTo>
                <a:lnTo>
                  <a:pt x="645728" y="554128"/>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981836957"/>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Desktop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764594" y="1571503"/>
            <a:ext cx="3700067" cy="2105542"/>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542204996"/>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Desktop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13" name="Picture Placeholder 12"/>
          <p:cNvSpPr>
            <a:spLocks noGrp="1"/>
          </p:cNvSpPr>
          <p:nvPr>
            <p:ph type="pic" sz="quarter" idx="10"/>
          </p:nvPr>
        </p:nvSpPr>
        <p:spPr>
          <a:xfrm>
            <a:off x="849684" y="1450079"/>
            <a:ext cx="3307729" cy="2221992"/>
          </a:xfrm>
          <a:custGeom>
            <a:avLst/>
            <a:gdLst>
              <a:gd name="connsiteX0" fmla="*/ 0 w 4410305"/>
              <a:gd name="connsiteY0" fmla="*/ 0 h 2962656"/>
              <a:gd name="connsiteX1" fmla="*/ 3774585 w 4410305"/>
              <a:gd name="connsiteY1" fmla="*/ 527750 h 2962656"/>
              <a:gd name="connsiteX2" fmla="*/ 4410305 w 4410305"/>
              <a:gd name="connsiteY2" fmla="*/ 2962656 h 2962656"/>
              <a:gd name="connsiteX3" fmla="*/ 564028 w 4410305"/>
              <a:gd name="connsiteY3" fmla="*/ 2909104 h 2962656"/>
              <a:gd name="connsiteX4" fmla="*/ 0 w 4410305"/>
              <a:gd name="connsiteY4" fmla="*/ 6 h 2962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0305" h="2962656">
                <a:moveTo>
                  <a:pt x="0" y="0"/>
                </a:moveTo>
                <a:lnTo>
                  <a:pt x="3774585" y="527750"/>
                </a:lnTo>
                <a:lnTo>
                  <a:pt x="4410305" y="2962656"/>
                </a:lnTo>
                <a:lnTo>
                  <a:pt x="564028" y="2909104"/>
                </a:lnTo>
                <a:lnTo>
                  <a:pt x="0" y="6"/>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885397445"/>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Laprop 1">
    <p:bg>
      <p:bgPr>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3" name="Picture Placeholder 22"/>
          <p:cNvSpPr>
            <a:spLocks noGrp="1"/>
          </p:cNvSpPr>
          <p:nvPr>
            <p:ph type="pic" sz="quarter" idx="10"/>
          </p:nvPr>
        </p:nvSpPr>
        <p:spPr>
          <a:xfrm>
            <a:off x="4733448" y="1220061"/>
            <a:ext cx="3662172" cy="2616822"/>
          </a:xfrm>
          <a:custGeom>
            <a:avLst/>
            <a:gdLst>
              <a:gd name="connsiteX0" fmla="*/ 4882896 w 4882896"/>
              <a:gd name="connsiteY0" fmla="*/ 0 h 3489096"/>
              <a:gd name="connsiteX1" fmla="*/ 4284896 w 4882896"/>
              <a:gd name="connsiteY1" fmla="*/ 3489096 h 3489096"/>
              <a:gd name="connsiteX2" fmla="*/ 0 w 4882896"/>
              <a:gd name="connsiteY2" fmla="*/ 3343046 h 3489096"/>
              <a:gd name="connsiteX3" fmla="*/ 679650 w 4882896"/>
              <a:gd name="connsiteY3" fmla="*/ 123050 h 3489096"/>
            </a:gdLst>
            <a:ahLst/>
            <a:cxnLst>
              <a:cxn ang="0">
                <a:pos x="connsiteX0" y="connsiteY0"/>
              </a:cxn>
              <a:cxn ang="0">
                <a:pos x="connsiteX1" y="connsiteY1"/>
              </a:cxn>
              <a:cxn ang="0">
                <a:pos x="connsiteX2" y="connsiteY2"/>
              </a:cxn>
              <a:cxn ang="0">
                <a:pos x="connsiteX3" y="connsiteY3"/>
              </a:cxn>
            </a:cxnLst>
            <a:rect l="l" t="t" r="r" b="b"/>
            <a:pathLst>
              <a:path w="4882896" h="3489096">
                <a:moveTo>
                  <a:pt x="4882896" y="0"/>
                </a:moveTo>
                <a:lnTo>
                  <a:pt x="4284896" y="3489096"/>
                </a:lnTo>
                <a:lnTo>
                  <a:pt x="0" y="3343046"/>
                </a:lnTo>
                <a:lnTo>
                  <a:pt x="679650" y="12305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184919077"/>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Laptop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2" name="Rectangle 11"/>
          <p:cNvSpPr/>
          <p:nvPr userDrawn="1"/>
        </p:nvSpPr>
        <p:spPr>
          <a:xfrm flipV="1">
            <a:off x="0" y="0"/>
            <a:ext cx="9144000" cy="3086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20" name="Picture Placeholder 3"/>
          <p:cNvSpPr>
            <a:spLocks noGrp="1"/>
          </p:cNvSpPr>
          <p:nvPr>
            <p:ph type="pic" sz="quarter" idx="10"/>
          </p:nvPr>
        </p:nvSpPr>
        <p:spPr>
          <a:xfrm>
            <a:off x="1163539" y="1292392"/>
            <a:ext cx="3539906" cy="2205806"/>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701911775"/>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Laptop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2703216" y="1292402"/>
            <a:ext cx="3743306" cy="2353781"/>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2482610883"/>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iPhone 1">
    <p:bg>
      <p:bgPr>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12" name="Picture Placeholder 11"/>
          <p:cNvSpPr>
            <a:spLocks noGrp="1"/>
          </p:cNvSpPr>
          <p:nvPr>
            <p:ph type="pic" sz="quarter" idx="10"/>
          </p:nvPr>
        </p:nvSpPr>
        <p:spPr>
          <a:xfrm>
            <a:off x="3937619" y="1383043"/>
            <a:ext cx="4183380" cy="2591460"/>
          </a:xfrm>
          <a:custGeom>
            <a:avLst/>
            <a:gdLst>
              <a:gd name="connsiteX0" fmla="*/ 3571775 w 5577840"/>
              <a:gd name="connsiteY0" fmla="*/ 0 h 3455280"/>
              <a:gd name="connsiteX1" fmla="*/ 5577840 w 5577840"/>
              <a:gd name="connsiteY1" fmla="*/ 1209232 h 3455280"/>
              <a:gd name="connsiteX2" fmla="*/ 2027035 w 5577840"/>
              <a:gd name="connsiteY2" fmla="*/ 3455280 h 3455280"/>
              <a:gd name="connsiteX3" fmla="*/ 0 w 5577840"/>
              <a:gd name="connsiteY3" fmla="*/ 2110913 h 3455280"/>
            </a:gdLst>
            <a:ahLst/>
            <a:cxnLst>
              <a:cxn ang="0">
                <a:pos x="connsiteX0" y="connsiteY0"/>
              </a:cxn>
              <a:cxn ang="0">
                <a:pos x="connsiteX1" y="connsiteY1"/>
              </a:cxn>
              <a:cxn ang="0">
                <a:pos x="connsiteX2" y="connsiteY2"/>
              </a:cxn>
              <a:cxn ang="0">
                <a:pos x="connsiteX3" y="connsiteY3"/>
              </a:cxn>
            </a:cxnLst>
            <a:rect l="l" t="t" r="r" b="b"/>
            <a:pathLst>
              <a:path w="5577840" h="3455280">
                <a:moveTo>
                  <a:pt x="3571775" y="0"/>
                </a:moveTo>
                <a:lnTo>
                  <a:pt x="5577840" y="1209232"/>
                </a:lnTo>
                <a:lnTo>
                  <a:pt x="2027035" y="3455280"/>
                </a:lnTo>
                <a:lnTo>
                  <a:pt x="0" y="2110913"/>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680531088"/>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iPhone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1945300" y="1611642"/>
            <a:ext cx="1508744" cy="2400274"/>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2293911768"/>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iPhone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5349231" y="1531621"/>
            <a:ext cx="1503054" cy="2446020"/>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4997289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Rectangle 4"/>
          <p:cNvSpPr>
            <a:spLocks noGrp="1" noChangeArrowheads="1"/>
          </p:cNvSpPr>
          <p:nvPr>
            <p:ph type="sldNum" sz="quarter" idx="10"/>
          </p:nvPr>
        </p:nvSpPr>
        <p:spPr/>
        <p:txBody>
          <a:bodyPr/>
          <a:lstStyle>
            <a:lvl1pPr algn="l" eaLnBrk="1" hangingPunct="1">
              <a:defRPr/>
            </a:lvl1pPr>
          </a:lstStyle>
          <a:p>
            <a:pPr>
              <a:defRPr/>
            </a:pPr>
            <a:fld id="{9FFA0A1C-5B18-41A5-AAA2-B9653BF2AB1E}" type="slidenum">
              <a:rPr lang="es-ES"/>
              <a:pPr>
                <a:defRPr/>
              </a:pPr>
              <a:t>‹#›</a:t>
            </a:fld>
            <a:endParaRPr lang="es-ES"/>
          </a:p>
        </p:txBody>
      </p:sp>
      <p:sp>
        <p:nvSpPr>
          <p:cNvPr id="4" name="Footer Placeholder 3"/>
          <p:cNvSpPr>
            <a:spLocks noGrp="1"/>
          </p:cNvSpPr>
          <p:nvPr>
            <p:ph type="ftr" sz="quarter" idx="11"/>
          </p:nvPr>
        </p:nvSpPr>
        <p:spPr/>
        <p:txBody>
          <a:bodyPr/>
          <a:lstStyle>
            <a:lvl1pPr>
              <a:defRPr/>
            </a:lvl1pPr>
          </a:lstStyle>
          <a:p>
            <a:pPr>
              <a:defRPr/>
            </a:pPr>
            <a:endParaRPr/>
          </a:p>
        </p:txBody>
      </p:sp>
    </p:spTree>
  </p:cSld>
  <p:clrMapOvr>
    <a:masterClrMapping/>
  </p:clrMapOvr>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iPhone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3" name="Picture Placeholder 3"/>
          <p:cNvSpPr>
            <a:spLocks noGrp="1"/>
          </p:cNvSpPr>
          <p:nvPr>
            <p:ph type="pic" sz="quarter" idx="11"/>
          </p:nvPr>
        </p:nvSpPr>
        <p:spPr>
          <a:xfrm>
            <a:off x="2663192" y="2708920"/>
            <a:ext cx="965835" cy="1697357"/>
          </a:xfrm>
          <a:solidFill>
            <a:schemeClr val="tx2">
              <a:lumMod val="85000"/>
            </a:schemeClr>
          </a:solidFill>
          <a:ln w="6350">
            <a:noFill/>
          </a:ln>
        </p:spPr>
        <p:txBody>
          <a:bodyPr anchor="ctr" anchorCtr="0"/>
          <a:lstStyle>
            <a:lvl1pPr algn="ctr">
              <a:defRPr/>
            </a:lvl1pPr>
          </a:lstStyle>
          <a:p>
            <a:endParaRPr lang="en-US" dirty="0"/>
          </a:p>
        </p:txBody>
      </p:sp>
      <p:sp>
        <p:nvSpPr>
          <p:cNvPr id="20" name="Picture Placeholder 3"/>
          <p:cNvSpPr>
            <a:spLocks noGrp="1"/>
          </p:cNvSpPr>
          <p:nvPr>
            <p:ph type="pic" sz="quarter" idx="10"/>
          </p:nvPr>
        </p:nvSpPr>
        <p:spPr>
          <a:xfrm>
            <a:off x="890163" y="1703070"/>
            <a:ext cx="1458713" cy="2548890"/>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205031377"/>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Project on Device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3" name="Picture Placeholder 3"/>
          <p:cNvSpPr>
            <a:spLocks noGrp="1"/>
          </p:cNvSpPr>
          <p:nvPr>
            <p:ph type="pic" sz="quarter" idx="11"/>
          </p:nvPr>
        </p:nvSpPr>
        <p:spPr>
          <a:xfrm>
            <a:off x="7852767" y="1493055"/>
            <a:ext cx="584002" cy="1025129"/>
          </a:xfrm>
          <a:solidFill>
            <a:schemeClr val="tx2">
              <a:lumMod val="85000"/>
            </a:schemeClr>
          </a:solidFill>
          <a:ln w="6350">
            <a:noFill/>
          </a:ln>
        </p:spPr>
        <p:txBody>
          <a:bodyPr anchor="ctr" anchorCtr="0"/>
          <a:lstStyle>
            <a:lvl1pPr algn="ctr">
              <a:defRPr/>
            </a:lvl1pPr>
          </a:lstStyle>
          <a:p>
            <a:endParaRPr lang="en-US" dirty="0"/>
          </a:p>
        </p:txBody>
      </p:sp>
      <p:sp>
        <p:nvSpPr>
          <p:cNvPr id="20" name="Picture Placeholder 3"/>
          <p:cNvSpPr>
            <a:spLocks noGrp="1"/>
          </p:cNvSpPr>
          <p:nvPr>
            <p:ph type="pic" sz="quarter" idx="10"/>
          </p:nvPr>
        </p:nvSpPr>
        <p:spPr>
          <a:xfrm>
            <a:off x="5189216" y="2975384"/>
            <a:ext cx="1158009" cy="1550909"/>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005242759"/>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Image Left">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94123" y="1200167"/>
            <a:ext cx="3977878" cy="3428985"/>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49494913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Image Right">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20" name="Picture Placeholder 3"/>
          <p:cNvSpPr>
            <a:spLocks noGrp="1"/>
          </p:cNvSpPr>
          <p:nvPr>
            <p:ph type="pic" sz="quarter" idx="10"/>
          </p:nvPr>
        </p:nvSpPr>
        <p:spPr>
          <a:xfrm>
            <a:off x="4571721" y="1200167"/>
            <a:ext cx="3977878" cy="3428985"/>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1005731980"/>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ext with Image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94123" y="2571750"/>
            <a:ext cx="3977878" cy="2057400"/>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577282677"/>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ext with Image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571721" y="1405905"/>
            <a:ext cx="3977878" cy="2331694"/>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664729502"/>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Instagram">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2" name="Group 1"/>
          <p:cNvGrpSpPr>
            <a:grpSpLocks noChangeAspect="1"/>
          </p:cNvGrpSpPr>
          <p:nvPr userDrawn="1"/>
        </p:nvGrpSpPr>
        <p:grpSpPr>
          <a:xfrm>
            <a:off x="182880" y="968119"/>
            <a:ext cx="8778240" cy="3072690"/>
            <a:chOff x="2719388" y="2247900"/>
            <a:chExt cx="6748462" cy="2362200"/>
          </a:xfrm>
          <a:solidFill>
            <a:schemeClr val="tx2">
              <a:lumMod val="85000"/>
            </a:schemeClr>
          </a:solidFill>
        </p:grpSpPr>
        <p:sp>
          <p:nvSpPr>
            <p:cNvPr id="3" name="Freeform 5"/>
            <p:cNvSpPr>
              <a:spLocks/>
            </p:cNvSpPr>
            <p:nvPr/>
          </p:nvSpPr>
          <p:spPr bwMode="auto">
            <a:xfrm>
              <a:off x="5416550" y="3241675"/>
              <a:ext cx="74613" cy="4763"/>
            </a:xfrm>
            <a:custGeom>
              <a:avLst/>
              <a:gdLst>
                <a:gd name="T0" fmla="*/ 20 w 20"/>
                <a:gd name="T1" fmla="*/ 0 h 1"/>
                <a:gd name="T2" fmla="*/ 0 w 20"/>
                <a:gd name="T3" fmla="*/ 1 h 1"/>
                <a:gd name="T4" fmla="*/ 20 w 20"/>
                <a:gd name="T5" fmla="*/ 0 h 1"/>
              </a:gdLst>
              <a:ahLst/>
              <a:cxnLst>
                <a:cxn ang="0">
                  <a:pos x="T0" y="T1"/>
                </a:cxn>
                <a:cxn ang="0">
                  <a:pos x="T2" y="T3"/>
                </a:cxn>
                <a:cxn ang="0">
                  <a:pos x="T4" y="T5"/>
                </a:cxn>
              </a:cxnLst>
              <a:rect l="0" t="0" r="r" b="b"/>
              <a:pathLst>
                <a:path w="20" h="1">
                  <a:moveTo>
                    <a:pt x="20" y="0"/>
                  </a:moveTo>
                  <a:cubicBezTo>
                    <a:pt x="14" y="0"/>
                    <a:pt x="6" y="0"/>
                    <a:pt x="0" y="1"/>
                  </a:cubicBezTo>
                  <a:cubicBezTo>
                    <a:pt x="6" y="1"/>
                    <a:pt x="14" y="0"/>
                    <a:pt x="2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 name="Freeform 6"/>
            <p:cNvSpPr>
              <a:spLocks/>
            </p:cNvSpPr>
            <p:nvPr/>
          </p:nvSpPr>
          <p:spPr bwMode="auto">
            <a:xfrm>
              <a:off x="5311775" y="3389313"/>
              <a:ext cx="44450" cy="46038"/>
            </a:xfrm>
            <a:custGeom>
              <a:avLst/>
              <a:gdLst>
                <a:gd name="T0" fmla="*/ 0 w 12"/>
                <a:gd name="T1" fmla="*/ 0 h 12"/>
                <a:gd name="T2" fmla="*/ 12 w 12"/>
                <a:gd name="T3" fmla="*/ 12 h 12"/>
                <a:gd name="T4" fmla="*/ 0 w 12"/>
                <a:gd name="T5" fmla="*/ 0 h 12"/>
              </a:gdLst>
              <a:ahLst/>
              <a:cxnLst>
                <a:cxn ang="0">
                  <a:pos x="T0" y="T1"/>
                </a:cxn>
                <a:cxn ang="0">
                  <a:pos x="T2" y="T3"/>
                </a:cxn>
                <a:cxn ang="0">
                  <a:pos x="T4" y="T5"/>
                </a:cxn>
              </a:cxnLst>
              <a:rect l="0" t="0" r="r" b="b"/>
              <a:pathLst>
                <a:path w="12" h="12">
                  <a:moveTo>
                    <a:pt x="0" y="0"/>
                  </a:moveTo>
                  <a:cubicBezTo>
                    <a:pt x="4" y="4"/>
                    <a:pt x="8" y="8"/>
                    <a:pt x="12" y="12"/>
                  </a:cubicBezTo>
                  <a:cubicBezTo>
                    <a:pt x="8" y="8"/>
                    <a:pt x="4"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 name="Oval 7"/>
            <p:cNvSpPr>
              <a:spLocks noChangeArrowheads="1"/>
            </p:cNvSpPr>
            <p:nvPr/>
          </p:nvSpPr>
          <p:spPr bwMode="auto">
            <a:xfrm>
              <a:off x="4608513" y="3027363"/>
              <a:ext cx="117475" cy="112713"/>
            </a:xfrm>
            <a:prstGeom prst="ellipse">
              <a:avLst/>
            </a:pr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 name="Freeform 8"/>
            <p:cNvSpPr>
              <a:spLocks noEditPoints="1"/>
            </p:cNvSpPr>
            <p:nvPr/>
          </p:nvSpPr>
          <p:spPr bwMode="auto">
            <a:xfrm>
              <a:off x="7437438" y="3773488"/>
              <a:ext cx="720725" cy="381000"/>
            </a:xfrm>
            <a:custGeom>
              <a:avLst/>
              <a:gdLst>
                <a:gd name="T0" fmla="*/ 78 w 192"/>
                <a:gd name="T1" fmla="*/ 24 h 101"/>
                <a:gd name="T2" fmla="*/ 80 w 192"/>
                <a:gd name="T3" fmla="*/ 24 h 101"/>
                <a:gd name="T4" fmla="*/ 86 w 192"/>
                <a:gd name="T5" fmla="*/ 32 h 101"/>
                <a:gd name="T6" fmla="*/ 65 w 192"/>
                <a:gd name="T7" fmla="*/ 74 h 101"/>
                <a:gd name="T8" fmla="*/ 65 w 192"/>
                <a:gd name="T9" fmla="*/ 74 h 101"/>
                <a:gd name="T10" fmla="*/ 54 w 192"/>
                <a:gd name="T11" fmla="*/ 75 h 101"/>
                <a:gd name="T12" fmla="*/ 52 w 192"/>
                <a:gd name="T13" fmla="*/ 77 h 101"/>
                <a:gd name="T14" fmla="*/ 14 w 192"/>
                <a:gd name="T15" fmla="*/ 43 h 101"/>
                <a:gd name="T16" fmla="*/ 15 w 192"/>
                <a:gd name="T17" fmla="*/ 39 h 101"/>
                <a:gd name="T18" fmla="*/ 96 w 192"/>
                <a:gd name="T19" fmla="*/ 0 h 101"/>
                <a:gd name="T20" fmla="*/ 78 w 192"/>
                <a:gd name="T21" fmla="*/ 19 h 101"/>
                <a:gd name="T22" fmla="*/ 15 w 192"/>
                <a:gd name="T23" fmla="*/ 37 h 101"/>
                <a:gd name="T24" fmla="*/ 15 w 192"/>
                <a:gd name="T25" fmla="*/ 37 h 101"/>
                <a:gd name="T26" fmla="*/ 10 w 192"/>
                <a:gd name="T27" fmla="*/ 33 h 101"/>
                <a:gd name="T28" fmla="*/ 13 w 192"/>
                <a:gd name="T29" fmla="*/ 9 h 101"/>
                <a:gd name="T30" fmla="*/ 8 w 192"/>
                <a:gd name="T31" fmla="*/ 33 h 101"/>
                <a:gd name="T32" fmla="*/ 2 w 192"/>
                <a:gd name="T33" fmla="*/ 42 h 101"/>
                <a:gd name="T34" fmla="*/ 11 w 192"/>
                <a:gd name="T35" fmla="*/ 45 h 101"/>
                <a:gd name="T36" fmla="*/ 12 w 192"/>
                <a:gd name="T37" fmla="*/ 45 h 101"/>
                <a:gd name="T38" fmla="*/ 49 w 192"/>
                <a:gd name="T39" fmla="*/ 79 h 101"/>
                <a:gd name="T40" fmla="*/ 48 w 192"/>
                <a:gd name="T41" fmla="*/ 93 h 101"/>
                <a:gd name="T42" fmla="*/ 66 w 192"/>
                <a:gd name="T43" fmla="*/ 99 h 101"/>
                <a:gd name="T44" fmla="*/ 69 w 192"/>
                <a:gd name="T45" fmla="*/ 76 h 101"/>
                <a:gd name="T46" fmla="*/ 91 w 192"/>
                <a:gd name="T47" fmla="*/ 34 h 101"/>
                <a:gd name="T48" fmla="*/ 91 w 192"/>
                <a:gd name="T49" fmla="*/ 34 h 101"/>
                <a:gd name="T50" fmla="*/ 104 w 192"/>
                <a:gd name="T51" fmla="*/ 33 h 101"/>
                <a:gd name="T52" fmla="*/ 109 w 192"/>
                <a:gd name="T53" fmla="*/ 30 h 101"/>
                <a:gd name="T54" fmla="*/ 178 w 192"/>
                <a:gd name="T55" fmla="*/ 78 h 101"/>
                <a:gd name="T56" fmla="*/ 178 w 192"/>
                <a:gd name="T57" fmla="*/ 83 h 101"/>
                <a:gd name="T58" fmla="*/ 187 w 192"/>
                <a:gd name="T59" fmla="*/ 87 h 101"/>
                <a:gd name="T60" fmla="*/ 184 w 192"/>
                <a:gd name="T61" fmla="*/ 74 h 101"/>
                <a:gd name="T62" fmla="*/ 179 w 192"/>
                <a:gd name="T63" fmla="*/ 76 h 101"/>
                <a:gd name="T64" fmla="*/ 179 w 192"/>
                <a:gd name="T65" fmla="*/ 76 h 101"/>
                <a:gd name="T66" fmla="*/ 112 w 192"/>
                <a:gd name="T67" fmla="*/ 26 h 101"/>
                <a:gd name="T68" fmla="*/ 96 w 192"/>
                <a:gd name="T6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01">
                  <a:moveTo>
                    <a:pt x="15" y="39"/>
                  </a:moveTo>
                  <a:cubicBezTo>
                    <a:pt x="15" y="38"/>
                    <a:pt x="68" y="24"/>
                    <a:pt x="78" y="24"/>
                  </a:cubicBezTo>
                  <a:cubicBezTo>
                    <a:pt x="79" y="24"/>
                    <a:pt x="80" y="24"/>
                    <a:pt x="80" y="24"/>
                  </a:cubicBezTo>
                  <a:cubicBezTo>
                    <a:pt x="80" y="24"/>
                    <a:pt x="80" y="24"/>
                    <a:pt x="80" y="24"/>
                  </a:cubicBezTo>
                  <a:cubicBezTo>
                    <a:pt x="80" y="25"/>
                    <a:pt x="80" y="25"/>
                    <a:pt x="80" y="25"/>
                  </a:cubicBezTo>
                  <a:cubicBezTo>
                    <a:pt x="81" y="28"/>
                    <a:pt x="84" y="30"/>
                    <a:pt x="86" y="32"/>
                  </a:cubicBezTo>
                  <a:cubicBezTo>
                    <a:pt x="86" y="31"/>
                    <a:pt x="86" y="31"/>
                    <a:pt x="86" y="31"/>
                  </a:cubicBezTo>
                  <a:cubicBezTo>
                    <a:pt x="89" y="33"/>
                    <a:pt x="68" y="74"/>
                    <a:pt x="65" y="74"/>
                  </a:cubicBezTo>
                  <a:cubicBezTo>
                    <a:pt x="65" y="74"/>
                    <a:pt x="65" y="74"/>
                    <a:pt x="65" y="74"/>
                  </a:cubicBezTo>
                  <a:cubicBezTo>
                    <a:pt x="65" y="74"/>
                    <a:pt x="65" y="74"/>
                    <a:pt x="65" y="74"/>
                  </a:cubicBezTo>
                  <a:cubicBezTo>
                    <a:pt x="63" y="74"/>
                    <a:pt x="62" y="74"/>
                    <a:pt x="60" y="74"/>
                  </a:cubicBezTo>
                  <a:cubicBezTo>
                    <a:pt x="58" y="74"/>
                    <a:pt x="56" y="74"/>
                    <a:pt x="54" y="75"/>
                  </a:cubicBezTo>
                  <a:cubicBezTo>
                    <a:pt x="53" y="76"/>
                    <a:pt x="53" y="76"/>
                    <a:pt x="52" y="77"/>
                  </a:cubicBezTo>
                  <a:cubicBezTo>
                    <a:pt x="52" y="77"/>
                    <a:pt x="52" y="77"/>
                    <a:pt x="52" y="77"/>
                  </a:cubicBezTo>
                  <a:cubicBezTo>
                    <a:pt x="52" y="77"/>
                    <a:pt x="52" y="77"/>
                    <a:pt x="52" y="77"/>
                  </a:cubicBezTo>
                  <a:cubicBezTo>
                    <a:pt x="48" y="77"/>
                    <a:pt x="13" y="44"/>
                    <a:pt x="14" y="43"/>
                  </a:cubicBezTo>
                  <a:cubicBezTo>
                    <a:pt x="14" y="43"/>
                    <a:pt x="14" y="43"/>
                    <a:pt x="14" y="43"/>
                  </a:cubicBezTo>
                  <a:cubicBezTo>
                    <a:pt x="15" y="42"/>
                    <a:pt x="15" y="40"/>
                    <a:pt x="15" y="39"/>
                  </a:cubicBezTo>
                  <a:cubicBezTo>
                    <a:pt x="15" y="39"/>
                    <a:pt x="15" y="39"/>
                    <a:pt x="15" y="39"/>
                  </a:cubicBezTo>
                  <a:moveTo>
                    <a:pt x="96" y="0"/>
                  </a:moveTo>
                  <a:cubicBezTo>
                    <a:pt x="94" y="0"/>
                    <a:pt x="91" y="1"/>
                    <a:pt x="89" y="2"/>
                  </a:cubicBezTo>
                  <a:cubicBezTo>
                    <a:pt x="81" y="5"/>
                    <a:pt x="78" y="12"/>
                    <a:pt x="78" y="19"/>
                  </a:cubicBezTo>
                  <a:cubicBezTo>
                    <a:pt x="78" y="19"/>
                    <a:pt x="78" y="19"/>
                    <a:pt x="78" y="19"/>
                  </a:cubicBezTo>
                  <a:cubicBezTo>
                    <a:pt x="79" y="23"/>
                    <a:pt x="20" y="37"/>
                    <a:pt x="15" y="37"/>
                  </a:cubicBezTo>
                  <a:cubicBezTo>
                    <a:pt x="15" y="37"/>
                    <a:pt x="15" y="37"/>
                    <a:pt x="15" y="37"/>
                  </a:cubicBezTo>
                  <a:cubicBezTo>
                    <a:pt x="15" y="37"/>
                    <a:pt x="15" y="37"/>
                    <a:pt x="15" y="37"/>
                  </a:cubicBezTo>
                  <a:cubicBezTo>
                    <a:pt x="14" y="37"/>
                    <a:pt x="14" y="37"/>
                    <a:pt x="14" y="37"/>
                  </a:cubicBezTo>
                  <a:cubicBezTo>
                    <a:pt x="14" y="35"/>
                    <a:pt x="12" y="34"/>
                    <a:pt x="10" y="33"/>
                  </a:cubicBezTo>
                  <a:cubicBezTo>
                    <a:pt x="10" y="33"/>
                    <a:pt x="10" y="33"/>
                    <a:pt x="10" y="33"/>
                  </a:cubicBezTo>
                  <a:cubicBezTo>
                    <a:pt x="10" y="33"/>
                    <a:pt x="11" y="22"/>
                    <a:pt x="13" y="9"/>
                  </a:cubicBezTo>
                  <a:cubicBezTo>
                    <a:pt x="11" y="22"/>
                    <a:pt x="9" y="33"/>
                    <a:pt x="8" y="33"/>
                  </a:cubicBezTo>
                  <a:cubicBezTo>
                    <a:pt x="8" y="33"/>
                    <a:pt x="8" y="33"/>
                    <a:pt x="8" y="33"/>
                  </a:cubicBezTo>
                  <a:cubicBezTo>
                    <a:pt x="7" y="33"/>
                    <a:pt x="6" y="33"/>
                    <a:pt x="5" y="34"/>
                  </a:cubicBezTo>
                  <a:cubicBezTo>
                    <a:pt x="2" y="35"/>
                    <a:pt x="0" y="39"/>
                    <a:pt x="2" y="42"/>
                  </a:cubicBezTo>
                  <a:cubicBezTo>
                    <a:pt x="3" y="45"/>
                    <a:pt x="6" y="46"/>
                    <a:pt x="8" y="46"/>
                  </a:cubicBezTo>
                  <a:cubicBezTo>
                    <a:pt x="9" y="46"/>
                    <a:pt x="10" y="46"/>
                    <a:pt x="11" y="45"/>
                  </a:cubicBezTo>
                  <a:cubicBezTo>
                    <a:pt x="12" y="45"/>
                    <a:pt x="12" y="45"/>
                    <a:pt x="12" y="45"/>
                  </a:cubicBezTo>
                  <a:cubicBezTo>
                    <a:pt x="12" y="45"/>
                    <a:pt x="12" y="45"/>
                    <a:pt x="12" y="45"/>
                  </a:cubicBezTo>
                  <a:cubicBezTo>
                    <a:pt x="12" y="45"/>
                    <a:pt x="12" y="45"/>
                    <a:pt x="12" y="45"/>
                  </a:cubicBezTo>
                  <a:cubicBezTo>
                    <a:pt x="14" y="45"/>
                    <a:pt x="51" y="77"/>
                    <a:pt x="49" y="79"/>
                  </a:cubicBezTo>
                  <a:cubicBezTo>
                    <a:pt x="49" y="79"/>
                    <a:pt x="49" y="79"/>
                    <a:pt x="49" y="79"/>
                  </a:cubicBezTo>
                  <a:cubicBezTo>
                    <a:pt x="46" y="83"/>
                    <a:pt x="46" y="88"/>
                    <a:pt x="48" y="93"/>
                  </a:cubicBezTo>
                  <a:cubicBezTo>
                    <a:pt x="50" y="98"/>
                    <a:pt x="55" y="101"/>
                    <a:pt x="60" y="101"/>
                  </a:cubicBezTo>
                  <a:cubicBezTo>
                    <a:pt x="62" y="101"/>
                    <a:pt x="65" y="100"/>
                    <a:pt x="66" y="99"/>
                  </a:cubicBezTo>
                  <a:cubicBezTo>
                    <a:pt x="73" y="96"/>
                    <a:pt x="76" y="88"/>
                    <a:pt x="73" y="81"/>
                  </a:cubicBezTo>
                  <a:cubicBezTo>
                    <a:pt x="72" y="79"/>
                    <a:pt x="70" y="78"/>
                    <a:pt x="69" y="76"/>
                  </a:cubicBezTo>
                  <a:cubicBezTo>
                    <a:pt x="69" y="76"/>
                    <a:pt x="69" y="76"/>
                    <a:pt x="69" y="76"/>
                  </a:cubicBezTo>
                  <a:cubicBezTo>
                    <a:pt x="66" y="75"/>
                    <a:pt x="87" y="34"/>
                    <a:pt x="91" y="34"/>
                  </a:cubicBezTo>
                  <a:cubicBezTo>
                    <a:pt x="91" y="34"/>
                    <a:pt x="91" y="34"/>
                    <a:pt x="91" y="34"/>
                  </a:cubicBezTo>
                  <a:cubicBezTo>
                    <a:pt x="91" y="34"/>
                    <a:pt x="91" y="34"/>
                    <a:pt x="91" y="34"/>
                  </a:cubicBezTo>
                  <a:cubicBezTo>
                    <a:pt x="92" y="34"/>
                    <a:pt x="94" y="35"/>
                    <a:pt x="96" y="35"/>
                  </a:cubicBezTo>
                  <a:cubicBezTo>
                    <a:pt x="99" y="35"/>
                    <a:pt x="101" y="34"/>
                    <a:pt x="104" y="33"/>
                  </a:cubicBezTo>
                  <a:cubicBezTo>
                    <a:pt x="106" y="32"/>
                    <a:pt x="107" y="31"/>
                    <a:pt x="109" y="29"/>
                  </a:cubicBezTo>
                  <a:cubicBezTo>
                    <a:pt x="109" y="30"/>
                    <a:pt x="109" y="30"/>
                    <a:pt x="109" y="30"/>
                  </a:cubicBezTo>
                  <a:cubicBezTo>
                    <a:pt x="109" y="30"/>
                    <a:pt x="109" y="29"/>
                    <a:pt x="109" y="29"/>
                  </a:cubicBezTo>
                  <a:cubicBezTo>
                    <a:pt x="115" y="29"/>
                    <a:pt x="179" y="76"/>
                    <a:pt x="178" y="78"/>
                  </a:cubicBezTo>
                  <a:cubicBezTo>
                    <a:pt x="178" y="78"/>
                    <a:pt x="178" y="78"/>
                    <a:pt x="178" y="78"/>
                  </a:cubicBezTo>
                  <a:cubicBezTo>
                    <a:pt x="177" y="79"/>
                    <a:pt x="177" y="82"/>
                    <a:pt x="178" y="83"/>
                  </a:cubicBezTo>
                  <a:cubicBezTo>
                    <a:pt x="179" y="86"/>
                    <a:pt x="182" y="87"/>
                    <a:pt x="184" y="87"/>
                  </a:cubicBezTo>
                  <a:cubicBezTo>
                    <a:pt x="185" y="87"/>
                    <a:pt x="186" y="87"/>
                    <a:pt x="187" y="87"/>
                  </a:cubicBezTo>
                  <a:cubicBezTo>
                    <a:pt x="191" y="85"/>
                    <a:pt x="192" y="81"/>
                    <a:pt x="190" y="78"/>
                  </a:cubicBezTo>
                  <a:cubicBezTo>
                    <a:pt x="189" y="75"/>
                    <a:pt x="187" y="74"/>
                    <a:pt x="184" y="74"/>
                  </a:cubicBezTo>
                  <a:cubicBezTo>
                    <a:pt x="183" y="74"/>
                    <a:pt x="182" y="74"/>
                    <a:pt x="181" y="75"/>
                  </a:cubicBezTo>
                  <a:cubicBezTo>
                    <a:pt x="181" y="75"/>
                    <a:pt x="180" y="75"/>
                    <a:pt x="179" y="76"/>
                  </a:cubicBezTo>
                  <a:cubicBezTo>
                    <a:pt x="179" y="76"/>
                    <a:pt x="179" y="76"/>
                    <a:pt x="179" y="76"/>
                  </a:cubicBezTo>
                  <a:cubicBezTo>
                    <a:pt x="179" y="76"/>
                    <a:pt x="179" y="76"/>
                    <a:pt x="179" y="76"/>
                  </a:cubicBezTo>
                  <a:cubicBezTo>
                    <a:pt x="177" y="76"/>
                    <a:pt x="110" y="29"/>
                    <a:pt x="112" y="26"/>
                  </a:cubicBezTo>
                  <a:cubicBezTo>
                    <a:pt x="112" y="26"/>
                    <a:pt x="112" y="26"/>
                    <a:pt x="112" y="26"/>
                  </a:cubicBezTo>
                  <a:cubicBezTo>
                    <a:pt x="115" y="21"/>
                    <a:pt x="115" y="15"/>
                    <a:pt x="112" y="10"/>
                  </a:cubicBezTo>
                  <a:cubicBezTo>
                    <a:pt x="109" y="4"/>
                    <a:pt x="103" y="0"/>
                    <a:pt x="96"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 name="Freeform 9"/>
            <p:cNvSpPr>
              <a:spLocks noEditPoints="1"/>
            </p:cNvSpPr>
            <p:nvPr/>
          </p:nvSpPr>
          <p:spPr bwMode="auto">
            <a:xfrm>
              <a:off x="6915150" y="2703513"/>
              <a:ext cx="2552700" cy="1103313"/>
            </a:xfrm>
            <a:custGeom>
              <a:avLst/>
              <a:gdLst>
                <a:gd name="T0" fmla="*/ 305 w 680"/>
                <a:gd name="T1" fmla="*/ 180 h 293"/>
                <a:gd name="T2" fmla="*/ 476 w 680"/>
                <a:gd name="T3" fmla="*/ 198 h 293"/>
                <a:gd name="T4" fmla="*/ 671 w 680"/>
                <a:gd name="T5" fmla="*/ 164 h 293"/>
                <a:gd name="T6" fmla="*/ 639 w 680"/>
                <a:gd name="T7" fmla="*/ 163 h 293"/>
                <a:gd name="T8" fmla="*/ 176 w 680"/>
                <a:gd name="T9" fmla="*/ 124 h 293"/>
                <a:gd name="T10" fmla="*/ 137 w 680"/>
                <a:gd name="T11" fmla="*/ 142 h 293"/>
                <a:gd name="T12" fmla="*/ 210 w 680"/>
                <a:gd name="T13" fmla="*/ 112 h 293"/>
                <a:gd name="T14" fmla="*/ 209 w 680"/>
                <a:gd name="T15" fmla="*/ 112 h 293"/>
                <a:gd name="T16" fmla="*/ 302 w 680"/>
                <a:gd name="T17" fmla="*/ 177 h 293"/>
                <a:gd name="T18" fmla="*/ 501 w 680"/>
                <a:gd name="T19" fmla="*/ 103 h 293"/>
                <a:gd name="T20" fmla="*/ 447 w 680"/>
                <a:gd name="T21" fmla="*/ 82 h 293"/>
                <a:gd name="T22" fmla="*/ 431 w 680"/>
                <a:gd name="T23" fmla="*/ 75 h 293"/>
                <a:gd name="T24" fmla="*/ 272 w 680"/>
                <a:gd name="T25" fmla="*/ 100 h 293"/>
                <a:gd name="T26" fmla="*/ 176 w 680"/>
                <a:gd name="T27" fmla="*/ 124 h 293"/>
                <a:gd name="T28" fmla="*/ 165 w 680"/>
                <a:gd name="T29" fmla="*/ 74 h 293"/>
                <a:gd name="T30" fmla="*/ 209 w 680"/>
                <a:gd name="T31" fmla="*/ 110 h 293"/>
                <a:gd name="T32" fmla="*/ 1 w 680"/>
                <a:gd name="T33" fmla="*/ 9 h 293"/>
                <a:gd name="T34" fmla="*/ 112 w 680"/>
                <a:gd name="T35" fmla="*/ 136 h 293"/>
                <a:gd name="T36" fmla="*/ 172 w 680"/>
                <a:gd name="T37" fmla="*/ 142 h 293"/>
                <a:gd name="T38" fmla="*/ 187 w 680"/>
                <a:gd name="T39" fmla="*/ 142 h 293"/>
                <a:gd name="T40" fmla="*/ 251 w 680"/>
                <a:gd name="T41" fmla="*/ 143 h 293"/>
                <a:gd name="T42" fmla="*/ 266 w 680"/>
                <a:gd name="T43" fmla="*/ 103 h 293"/>
                <a:gd name="T44" fmla="*/ 298 w 680"/>
                <a:gd name="T45" fmla="*/ 202 h 293"/>
                <a:gd name="T46" fmla="*/ 361 w 680"/>
                <a:gd name="T47" fmla="*/ 264 h 293"/>
                <a:gd name="T48" fmla="*/ 313 w 680"/>
                <a:gd name="T49" fmla="*/ 172 h 293"/>
                <a:gd name="T50" fmla="*/ 443 w 680"/>
                <a:gd name="T51" fmla="*/ 83 h 293"/>
                <a:gd name="T52" fmla="*/ 364 w 680"/>
                <a:gd name="T53" fmla="*/ 184 h 293"/>
                <a:gd name="T54" fmla="*/ 399 w 680"/>
                <a:gd name="T55" fmla="*/ 155 h 293"/>
                <a:gd name="T56" fmla="*/ 358 w 680"/>
                <a:gd name="T57" fmla="*/ 180 h 293"/>
                <a:gd name="T58" fmla="*/ 430 w 680"/>
                <a:gd name="T59" fmla="*/ 184 h 293"/>
                <a:gd name="T60" fmla="*/ 436 w 680"/>
                <a:gd name="T61" fmla="*/ 180 h 293"/>
                <a:gd name="T62" fmla="*/ 469 w 680"/>
                <a:gd name="T63" fmla="*/ 199 h 293"/>
                <a:gd name="T64" fmla="*/ 518 w 680"/>
                <a:gd name="T65" fmla="*/ 271 h 293"/>
                <a:gd name="T66" fmla="*/ 522 w 680"/>
                <a:gd name="T67" fmla="*/ 268 h 293"/>
                <a:gd name="T68" fmla="*/ 480 w 680"/>
                <a:gd name="T69" fmla="*/ 199 h 293"/>
                <a:gd name="T70" fmla="*/ 548 w 680"/>
                <a:gd name="T71" fmla="*/ 166 h 293"/>
                <a:gd name="T72" fmla="*/ 585 w 680"/>
                <a:gd name="T73" fmla="*/ 189 h 293"/>
                <a:gd name="T74" fmla="*/ 586 w 680"/>
                <a:gd name="T75" fmla="*/ 184 h 293"/>
                <a:gd name="T76" fmla="*/ 586 w 680"/>
                <a:gd name="T77" fmla="*/ 135 h 293"/>
                <a:gd name="T78" fmla="*/ 593 w 680"/>
                <a:gd name="T79" fmla="*/ 135 h 293"/>
                <a:gd name="T80" fmla="*/ 639 w 680"/>
                <a:gd name="T81" fmla="*/ 165 h 293"/>
                <a:gd name="T82" fmla="*/ 593 w 680"/>
                <a:gd name="T83" fmla="*/ 258 h 293"/>
                <a:gd name="T84" fmla="*/ 592 w 680"/>
                <a:gd name="T85" fmla="*/ 270 h 293"/>
                <a:gd name="T86" fmla="*/ 675 w 680"/>
                <a:gd name="T87" fmla="*/ 169 h 293"/>
                <a:gd name="T88" fmla="*/ 671 w 680"/>
                <a:gd name="T89" fmla="*/ 163 h 293"/>
                <a:gd name="T90" fmla="*/ 585 w 680"/>
                <a:gd name="T91" fmla="*/ 134 h 293"/>
                <a:gd name="T92" fmla="*/ 541 w 680"/>
                <a:gd name="T93" fmla="*/ 159 h 293"/>
                <a:gd name="T94" fmla="*/ 519 w 680"/>
                <a:gd name="T95" fmla="*/ 102 h 293"/>
                <a:gd name="T96" fmla="*/ 454 w 680"/>
                <a:gd name="T97" fmla="*/ 75 h 293"/>
                <a:gd name="T98" fmla="*/ 277 w 680"/>
                <a:gd name="T99" fmla="*/ 88 h 293"/>
                <a:gd name="T100" fmla="*/ 260 w 680"/>
                <a:gd name="T101" fmla="*/ 102 h 293"/>
                <a:gd name="T102" fmla="*/ 245 w 680"/>
                <a:gd name="T103" fmla="*/ 146 h 293"/>
                <a:gd name="T104" fmla="*/ 211 w 680"/>
                <a:gd name="T105" fmla="*/ 113 h 293"/>
                <a:gd name="T106" fmla="*/ 211 w 680"/>
                <a:gd name="T107" fmla="*/ 105 h 293"/>
                <a:gd name="T108" fmla="*/ 168 w 680"/>
                <a:gd name="T109" fmla="*/ 55 h 293"/>
                <a:gd name="T110" fmla="*/ 122 w 680"/>
                <a:gd name="T111" fmla="*/ 132 h 293"/>
                <a:gd name="T112" fmla="*/ 115 w 680"/>
                <a:gd name="T113" fmla="*/ 133 h 293"/>
                <a:gd name="T114" fmla="*/ 98 w 680"/>
                <a:gd name="T115" fmla="*/ 90 h 293"/>
                <a:gd name="T116" fmla="*/ 102 w 680"/>
                <a:gd name="T117" fmla="*/ 84 h 293"/>
                <a:gd name="T118" fmla="*/ 13 w 680"/>
                <a:gd name="T119" fmla="*/ 1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0" h="293">
                  <a:moveTo>
                    <a:pt x="305" y="180"/>
                  </a:moveTo>
                  <a:cubicBezTo>
                    <a:pt x="304" y="180"/>
                    <a:pt x="307" y="177"/>
                    <a:pt x="313" y="173"/>
                  </a:cubicBezTo>
                  <a:cubicBezTo>
                    <a:pt x="333" y="207"/>
                    <a:pt x="354" y="243"/>
                    <a:pt x="355" y="247"/>
                  </a:cubicBezTo>
                  <a:cubicBezTo>
                    <a:pt x="350" y="244"/>
                    <a:pt x="302" y="199"/>
                    <a:pt x="304" y="197"/>
                  </a:cubicBezTo>
                  <a:cubicBezTo>
                    <a:pt x="304" y="197"/>
                    <a:pt x="304" y="197"/>
                    <a:pt x="304" y="197"/>
                  </a:cubicBezTo>
                  <a:cubicBezTo>
                    <a:pt x="307" y="193"/>
                    <a:pt x="308" y="187"/>
                    <a:pt x="305" y="182"/>
                  </a:cubicBezTo>
                  <a:cubicBezTo>
                    <a:pt x="305" y="181"/>
                    <a:pt x="305" y="181"/>
                    <a:pt x="305" y="180"/>
                  </a:cubicBezTo>
                  <a:cubicBezTo>
                    <a:pt x="305" y="180"/>
                    <a:pt x="305" y="180"/>
                    <a:pt x="305" y="180"/>
                  </a:cubicBezTo>
                  <a:moveTo>
                    <a:pt x="473" y="198"/>
                  </a:moveTo>
                  <a:cubicBezTo>
                    <a:pt x="472" y="198"/>
                    <a:pt x="469" y="187"/>
                    <a:pt x="465" y="171"/>
                  </a:cubicBezTo>
                  <a:cubicBezTo>
                    <a:pt x="473" y="170"/>
                    <a:pt x="481" y="169"/>
                    <a:pt x="489" y="168"/>
                  </a:cubicBezTo>
                  <a:cubicBezTo>
                    <a:pt x="483" y="184"/>
                    <a:pt x="477" y="198"/>
                    <a:pt x="476" y="198"/>
                  </a:cubicBezTo>
                  <a:cubicBezTo>
                    <a:pt x="476" y="198"/>
                    <a:pt x="476" y="198"/>
                    <a:pt x="476" y="198"/>
                  </a:cubicBezTo>
                  <a:cubicBezTo>
                    <a:pt x="476" y="198"/>
                    <a:pt x="476" y="198"/>
                    <a:pt x="476" y="198"/>
                  </a:cubicBezTo>
                  <a:cubicBezTo>
                    <a:pt x="475" y="198"/>
                    <a:pt x="475" y="198"/>
                    <a:pt x="474" y="198"/>
                  </a:cubicBezTo>
                  <a:cubicBezTo>
                    <a:pt x="473" y="198"/>
                    <a:pt x="473" y="198"/>
                    <a:pt x="473" y="198"/>
                  </a:cubicBezTo>
                  <a:cubicBezTo>
                    <a:pt x="473" y="198"/>
                    <a:pt x="473" y="198"/>
                    <a:pt x="473" y="198"/>
                  </a:cubicBezTo>
                  <a:cubicBezTo>
                    <a:pt x="473" y="198"/>
                    <a:pt x="473" y="198"/>
                    <a:pt x="473" y="198"/>
                  </a:cubicBezTo>
                  <a:moveTo>
                    <a:pt x="632" y="162"/>
                  </a:moveTo>
                  <a:cubicBezTo>
                    <a:pt x="631" y="162"/>
                    <a:pt x="596" y="137"/>
                    <a:pt x="594" y="134"/>
                  </a:cubicBezTo>
                  <a:cubicBezTo>
                    <a:pt x="598" y="135"/>
                    <a:pt x="671" y="163"/>
                    <a:pt x="671" y="164"/>
                  </a:cubicBezTo>
                  <a:cubicBezTo>
                    <a:pt x="671" y="164"/>
                    <a:pt x="671" y="164"/>
                    <a:pt x="671" y="164"/>
                  </a:cubicBezTo>
                  <a:cubicBezTo>
                    <a:pt x="671" y="164"/>
                    <a:pt x="671" y="164"/>
                    <a:pt x="671" y="164"/>
                  </a:cubicBezTo>
                  <a:cubicBezTo>
                    <a:pt x="671" y="164"/>
                    <a:pt x="671" y="164"/>
                    <a:pt x="671" y="164"/>
                  </a:cubicBezTo>
                  <a:cubicBezTo>
                    <a:pt x="671" y="164"/>
                    <a:pt x="663" y="165"/>
                    <a:pt x="655" y="165"/>
                  </a:cubicBezTo>
                  <a:cubicBezTo>
                    <a:pt x="647" y="165"/>
                    <a:pt x="639" y="164"/>
                    <a:pt x="639" y="164"/>
                  </a:cubicBezTo>
                  <a:cubicBezTo>
                    <a:pt x="639" y="164"/>
                    <a:pt x="639" y="164"/>
                    <a:pt x="639" y="164"/>
                  </a:cubicBezTo>
                  <a:cubicBezTo>
                    <a:pt x="639" y="164"/>
                    <a:pt x="639" y="163"/>
                    <a:pt x="639" y="163"/>
                  </a:cubicBezTo>
                  <a:cubicBezTo>
                    <a:pt x="638" y="162"/>
                    <a:pt x="636" y="161"/>
                    <a:pt x="635" y="161"/>
                  </a:cubicBezTo>
                  <a:cubicBezTo>
                    <a:pt x="634" y="161"/>
                    <a:pt x="634" y="161"/>
                    <a:pt x="633" y="161"/>
                  </a:cubicBezTo>
                  <a:cubicBezTo>
                    <a:pt x="633" y="161"/>
                    <a:pt x="632" y="162"/>
                    <a:pt x="632" y="162"/>
                  </a:cubicBezTo>
                  <a:cubicBezTo>
                    <a:pt x="632" y="162"/>
                    <a:pt x="632" y="162"/>
                    <a:pt x="632" y="162"/>
                  </a:cubicBezTo>
                  <a:cubicBezTo>
                    <a:pt x="632" y="162"/>
                    <a:pt x="632" y="162"/>
                    <a:pt x="632" y="162"/>
                  </a:cubicBezTo>
                  <a:moveTo>
                    <a:pt x="137" y="142"/>
                  </a:moveTo>
                  <a:cubicBezTo>
                    <a:pt x="136" y="141"/>
                    <a:pt x="157" y="132"/>
                    <a:pt x="176" y="124"/>
                  </a:cubicBezTo>
                  <a:cubicBezTo>
                    <a:pt x="176" y="130"/>
                    <a:pt x="177" y="134"/>
                    <a:pt x="176" y="134"/>
                  </a:cubicBezTo>
                  <a:cubicBezTo>
                    <a:pt x="176" y="134"/>
                    <a:pt x="176" y="134"/>
                    <a:pt x="176" y="134"/>
                  </a:cubicBezTo>
                  <a:cubicBezTo>
                    <a:pt x="175" y="134"/>
                    <a:pt x="175" y="134"/>
                    <a:pt x="175" y="134"/>
                  </a:cubicBezTo>
                  <a:cubicBezTo>
                    <a:pt x="173" y="136"/>
                    <a:pt x="172" y="138"/>
                    <a:pt x="171" y="140"/>
                  </a:cubicBezTo>
                  <a:cubicBezTo>
                    <a:pt x="171" y="140"/>
                    <a:pt x="171" y="140"/>
                    <a:pt x="171" y="140"/>
                  </a:cubicBezTo>
                  <a:cubicBezTo>
                    <a:pt x="171" y="141"/>
                    <a:pt x="152" y="143"/>
                    <a:pt x="143" y="143"/>
                  </a:cubicBezTo>
                  <a:cubicBezTo>
                    <a:pt x="139" y="143"/>
                    <a:pt x="137" y="143"/>
                    <a:pt x="137" y="142"/>
                  </a:cubicBezTo>
                  <a:cubicBezTo>
                    <a:pt x="137" y="142"/>
                    <a:pt x="137" y="142"/>
                    <a:pt x="137" y="142"/>
                  </a:cubicBezTo>
                  <a:cubicBezTo>
                    <a:pt x="137" y="142"/>
                    <a:pt x="137" y="142"/>
                    <a:pt x="137" y="142"/>
                  </a:cubicBezTo>
                  <a:cubicBezTo>
                    <a:pt x="137" y="142"/>
                    <a:pt x="137" y="142"/>
                    <a:pt x="137" y="142"/>
                  </a:cubicBezTo>
                  <a:moveTo>
                    <a:pt x="209" y="112"/>
                  </a:moveTo>
                  <a:cubicBezTo>
                    <a:pt x="209" y="112"/>
                    <a:pt x="209" y="112"/>
                    <a:pt x="209" y="112"/>
                  </a:cubicBezTo>
                  <a:cubicBezTo>
                    <a:pt x="210" y="112"/>
                    <a:pt x="210" y="112"/>
                    <a:pt x="210" y="112"/>
                  </a:cubicBezTo>
                  <a:cubicBezTo>
                    <a:pt x="210" y="112"/>
                    <a:pt x="210" y="112"/>
                    <a:pt x="210" y="112"/>
                  </a:cubicBezTo>
                  <a:cubicBezTo>
                    <a:pt x="210" y="113"/>
                    <a:pt x="185" y="135"/>
                    <a:pt x="183" y="135"/>
                  </a:cubicBezTo>
                  <a:cubicBezTo>
                    <a:pt x="183" y="135"/>
                    <a:pt x="183" y="135"/>
                    <a:pt x="183" y="135"/>
                  </a:cubicBezTo>
                  <a:cubicBezTo>
                    <a:pt x="183" y="135"/>
                    <a:pt x="183" y="135"/>
                    <a:pt x="183" y="135"/>
                  </a:cubicBezTo>
                  <a:cubicBezTo>
                    <a:pt x="181" y="134"/>
                    <a:pt x="180" y="134"/>
                    <a:pt x="178" y="134"/>
                  </a:cubicBezTo>
                  <a:cubicBezTo>
                    <a:pt x="178" y="134"/>
                    <a:pt x="178" y="134"/>
                    <a:pt x="178" y="134"/>
                  </a:cubicBezTo>
                  <a:cubicBezTo>
                    <a:pt x="178" y="134"/>
                    <a:pt x="177" y="130"/>
                    <a:pt x="176" y="124"/>
                  </a:cubicBezTo>
                  <a:cubicBezTo>
                    <a:pt x="193" y="118"/>
                    <a:pt x="208" y="112"/>
                    <a:pt x="209" y="112"/>
                  </a:cubicBezTo>
                  <a:cubicBezTo>
                    <a:pt x="209" y="112"/>
                    <a:pt x="209" y="112"/>
                    <a:pt x="209" y="112"/>
                  </a:cubicBezTo>
                  <a:moveTo>
                    <a:pt x="289" y="173"/>
                  </a:moveTo>
                  <a:cubicBezTo>
                    <a:pt x="286" y="173"/>
                    <a:pt x="269" y="109"/>
                    <a:pt x="270" y="102"/>
                  </a:cubicBezTo>
                  <a:cubicBezTo>
                    <a:pt x="273" y="106"/>
                    <a:pt x="292" y="138"/>
                    <a:pt x="312" y="171"/>
                  </a:cubicBezTo>
                  <a:cubicBezTo>
                    <a:pt x="306" y="174"/>
                    <a:pt x="302" y="177"/>
                    <a:pt x="302" y="177"/>
                  </a:cubicBezTo>
                  <a:cubicBezTo>
                    <a:pt x="302" y="177"/>
                    <a:pt x="302" y="177"/>
                    <a:pt x="302" y="177"/>
                  </a:cubicBezTo>
                  <a:cubicBezTo>
                    <a:pt x="302" y="177"/>
                    <a:pt x="302" y="177"/>
                    <a:pt x="302" y="177"/>
                  </a:cubicBezTo>
                  <a:cubicBezTo>
                    <a:pt x="299" y="174"/>
                    <a:pt x="295" y="173"/>
                    <a:pt x="291" y="173"/>
                  </a:cubicBezTo>
                  <a:cubicBezTo>
                    <a:pt x="290" y="173"/>
                    <a:pt x="290" y="173"/>
                    <a:pt x="289" y="173"/>
                  </a:cubicBezTo>
                  <a:cubicBezTo>
                    <a:pt x="289" y="173"/>
                    <a:pt x="289" y="173"/>
                    <a:pt x="289" y="173"/>
                  </a:cubicBezTo>
                  <a:cubicBezTo>
                    <a:pt x="289" y="173"/>
                    <a:pt x="289" y="173"/>
                    <a:pt x="289" y="173"/>
                  </a:cubicBezTo>
                  <a:moveTo>
                    <a:pt x="452" y="78"/>
                  </a:moveTo>
                  <a:cubicBezTo>
                    <a:pt x="452" y="78"/>
                    <a:pt x="452" y="78"/>
                    <a:pt x="453" y="78"/>
                  </a:cubicBezTo>
                  <a:cubicBezTo>
                    <a:pt x="457" y="78"/>
                    <a:pt x="501" y="101"/>
                    <a:pt x="501" y="103"/>
                  </a:cubicBezTo>
                  <a:cubicBezTo>
                    <a:pt x="501" y="103"/>
                    <a:pt x="501" y="103"/>
                    <a:pt x="501" y="103"/>
                  </a:cubicBezTo>
                  <a:cubicBezTo>
                    <a:pt x="500" y="105"/>
                    <a:pt x="500" y="108"/>
                    <a:pt x="501" y="110"/>
                  </a:cubicBezTo>
                  <a:cubicBezTo>
                    <a:pt x="502" y="112"/>
                    <a:pt x="504" y="113"/>
                    <a:pt x="506" y="114"/>
                  </a:cubicBezTo>
                  <a:cubicBezTo>
                    <a:pt x="506" y="114"/>
                    <a:pt x="506" y="114"/>
                    <a:pt x="506" y="114"/>
                  </a:cubicBezTo>
                  <a:cubicBezTo>
                    <a:pt x="507" y="115"/>
                    <a:pt x="497" y="144"/>
                    <a:pt x="489" y="168"/>
                  </a:cubicBezTo>
                  <a:cubicBezTo>
                    <a:pt x="481" y="169"/>
                    <a:pt x="473" y="170"/>
                    <a:pt x="465" y="171"/>
                  </a:cubicBezTo>
                  <a:cubicBezTo>
                    <a:pt x="457" y="137"/>
                    <a:pt x="445" y="83"/>
                    <a:pt x="447" y="82"/>
                  </a:cubicBezTo>
                  <a:cubicBezTo>
                    <a:pt x="447" y="82"/>
                    <a:pt x="447" y="82"/>
                    <a:pt x="447" y="82"/>
                  </a:cubicBezTo>
                  <a:cubicBezTo>
                    <a:pt x="448" y="82"/>
                    <a:pt x="448" y="82"/>
                    <a:pt x="448" y="82"/>
                  </a:cubicBezTo>
                  <a:cubicBezTo>
                    <a:pt x="450" y="81"/>
                    <a:pt x="451" y="80"/>
                    <a:pt x="452" y="78"/>
                  </a:cubicBezTo>
                  <a:cubicBezTo>
                    <a:pt x="452" y="78"/>
                    <a:pt x="452" y="78"/>
                    <a:pt x="452" y="78"/>
                  </a:cubicBezTo>
                  <a:moveTo>
                    <a:pt x="277" y="92"/>
                  </a:moveTo>
                  <a:cubicBezTo>
                    <a:pt x="277" y="90"/>
                    <a:pt x="413" y="74"/>
                    <a:pt x="429" y="74"/>
                  </a:cubicBezTo>
                  <a:cubicBezTo>
                    <a:pt x="431" y="74"/>
                    <a:pt x="431" y="74"/>
                    <a:pt x="431" y="75"/>
                  </a:cubicBezTo>
                  <a:cubicBezTo>
                    <a:pt x="431" y="75"/>
                    <a:pt x="431" y="75"/>
                    <a:pt x="431" y="75"/>
                  </a:cubicBezTo>
                  <a:cubicBezTo>
                    <a:pt x="431" y="75"/>
                    <a:pt x="432" y="76"/>
                    <a:pt x="432" y="76"/>
                  </a:cubicBezTo>
                  <a:cubicBezTo>
                    <a:pt x="432" y="77"/>
                    <a:pt x="432" y="77"/>
                    <a:pt x="432" y="77"/>
                  </a:cubicBezTo>
                  <a:cubicBezTo>
                    <a:pt x="432" y="77"/>
                    <a:pt x="432" y="77"/>
                    <a:pt x="432" y="77"/>
                  </a:cubicBezTo>
                  <a:cubicBezTo>
                    <a:pt x="433" y="79"/>
                    <a:pt x="343" y="149"/>
                    <a:pt x="312" y="170"/>
                  </a:cubicBezTo>
                  <a:cubicBezTo>
                    <a:pt x="291" y="135"/>
                    <a:pt x="272" y="101"/>
                    <a:pt x="272" y="100"/>
                  </a:cubicBezTo>
                  <a:cubicBezTo>
                    <a:pt x="272" y="100"/>
                    <a:pt x="272" y="100"/>
                    <a:pt x="272" y="100"/>
                  </a:cubicBezTo>
                  <a:cubicBezTo>
                    <a:pt x="275" y="98"/>
                    <a:pt x="277" y="95"/>
                    <a:pt x="277" y="92"/>
                  </a:cubicBezTo>
                  <a:cubicBezTo>
                    <a:pt x="277" y="92"/>
                    <a:pt x="277" y="92"/>
                    <a:pt x="277" y="92"/>
                  </a:cubicBezTo>
                  <a:moveTo>
                    <a:pt x="165" y="74"/>
                  </a:moveTo>
                  <a:cubicBezTo>
                    <a:pt x="165" y="74"/>
                    <a:pt x="165" y="74"/>
                    <a:pt x="165" y="74"/>
                  </a:cubicBezTo>
                  <a:cubicBezTo>
                    <a:pt x="166" y="74"/>
                    <a:pt x="167" y="74"/>
                    <a:pt x="168" y="74"/>
                  </a:cubicBezTo>
                  <a:cubicBezTo>
                    <a:pt x="168" y="74"/>
                    <a:pt x="168" y="74"/>
                    <a:pt x="168" y="74"/>
                  </a:cubicBezTo>
                  <a:cubicBezTo>
                    <a:pt x="169" y="74"/>
                    <a:pt x="174" y="107"/>
                    <a:pt x="176" y="124"/>
                  </a:cubicBezTo>
                  <a:cubicBezTo>
                    <a:pt x="158" y="131"/>
                    <a:pt x="139" y="139"/>
                    <a:pt x="135" y="139"/>
                  </a:cubicBezTo>
                  <a:cubicBezTo>
                    <a:pt x="135" y="139"/>
                    <a:pt x="135" y="138"/>
                    <a:pt x="135" y="138"/>
                  </a:cubicBezTo>
                  <a:cubicBezTo>
                    <a:pt x="135" y="138"/>
                    <a:pt x="135" y="138"/>
                    <a:pt x="135" y="138"/>
                  </a:cubicBezTo>
                  <a:cubicBezTo>
                    <a:pt x="134" y="137"/>
                    <a:pt x="133" y="135"/>
                    <a:pt x="131" y="134"/>
                  </a:cubicBezTo>
                  <a:cubicBezTo>
                    <a:pt x="131" y="134"/>
                    <a:pt x="131" y="134"/>
                    <a:pt x="131" y="134"/>
                  </a:cubicBezTo>
                  <a:cubicBezTo>
                    <a:pt x="129" y="133"/>
                    <a:pt x="163" y="74"/>
                    <a:pt x="165" y="74"/>
                  </a:cubicBezTo>
                  <a:cubicBezTo>
                    <a:pt x="165" y="74"/>
                    <a:pt x="165" y="74"/>
                    <a:pt x="165" y="74"/>
                  </a:cubicBezTo>
                  <a:moveTo>
                    <a:pt x="171" y="74"/>
                  </a:moveTo>
                  <a:cubicBezTo>
                    <a:pt x="172" y="74"/>
                    <a:pt x="173" y="73"/>
                    <a:pt x="174" y="72"/>
                  </a:cubicBezTo>
                  <a:cubicBezTo>
                    <a:pt x="174" y="72"/>
                    <a:pt x="174" y="72"/>
                    <a:pt x="174" y="72"/>
                  </a:cubicBezTo>
                  <a:cubicBezTo>
                    <a:pt x="174" y="72"/>
                    <a:pt x="174" y="72"/>
                    <a:pt x="174" y="72"/>
                  </a:cubicBezTo>
                  <a:cubicBezTo>
                    <a:pt x="177" y="72"/>
                    <a:pt x="210" y="106"/>
                    <a:pt x="210" y="107"/>
                  </a:cubicBezTo>
                  <a:cubicBezTo>
                    <a:pt x="210" y="107"/>
                    <a:pt x="210" y="107"/>
                    <a:pt x="210" y="107"/>
                  </a:cubicBezTo>
                  <a:cubicBezTo>
                    <a:pt x="209" y="108"/>
                    <a:pt x="209" y="109"/>
                    <a:pt x="209" y="110"/>
                  </a:cubicBezTo>
                  <a:cubicBezTo>
                    <a:pt x="209" y="110"/>
                    <a:pt x="209" y="110"/>
                    <a:pt x="209" y="110"/>
                  </a:cubicBezTo>
                  <a:cubicBezTo>
                    <a:pt x="209" y="111"/>
                    <a:pt x="193" y="117"/>
                    <a:pt x="176" y="124"/>
                  </a:cubicBezTo>
                  <a:cubicBezTo>
                    <a:pt x="174" y="107"/>
                    <a:pt x="170" y="74"/>
                    <a:pt x="171" y="74"/>
                  </a:cubicBezTo>
                  <a:cubicBezTo>
                    <a:pt x="171" y="74"/>
                    <a:pt x="171" y="74"/>
                    <a:pt x="171" y="74"/>
                  </a:cubicBezTo>
                  <a:moveTo>
                    <a:pt x="8" y="0"/>
                  </a:moveTo>
                  <a:cubicBezTo>
                    <a:pt x="7" y="0"/>
                    <a:pt x="6" y="0"/>
                    <a:pt x="5" y="0"/>
                  </a:cubicBezTo>
                  <a:cubicBezTo>
                    <a:pt x="1" y="2"/>
                    <a:pt x="0" y="6"/>
                    <a:pt x="1" y="9"/>
                  </a:cubicBezTo>
                  <a:cubicBezTo>
                    <a:pt x="3" y="12"/>
                    <a:pt x="5" y="13"/>
                    <a:pt x="8" y="13"/>
                  </a:cubicBezTo>
                  <a:cubicBezTo>
                    <a:pt x="9" y="13"/>
                    <a:pt x="10" y="13"/>
                    <a:pt x="11" y="12"/>
                  </a:cubicBezTo>
                  <a:cubicBezTo>
                    <a:pt x="11" y="12"/>
                    <a:pt x="11" y="12"/>
                    <a:pt x="11" y="12"/>
                  </a:cubicBezTo>
                  <a:cubicBezTo>
                    <a:pt x="11" y="12"/>
                    <a:pt x="11" y="12"/>
                    <a:pt x="11" y="12"/>
                  </a:cubicBezTo>
                  <a:cubicBezTo>
                    <a:pt x="11" y="12"/>
                    <a:pt x="11" y="12"/>
                    <a:pt x="11" y="12"/>
                  </a:cubicBezTo>
                  <a:cubicBezTo>
                    <a:pt x="13" y="12"/>
                    <a:pt x="114" y="134"/>
                    <a:pt x="112" y="136"/>
                  </a:cubicBezTo>
                  <a:cubicBezTo>
                    <a:pt x="112" y="136"/>
                    <a:pt x="112" y="136"/>
                    <a:pt x="112" y="136"/>
                  </a:cubicBezTo>
                  <a:cubicBezTo>
                    <a:pt x="108" y="140"/>
                    <a:pt x="107" y="146"/>
                    <a:pt x="109" y="152"/>
                  </a:cubicBezTo>
                  <a:cubicBezTo>
                    <a:pt x="112" y="157"/>
                    <a:pt x="117" y="160"/>
                    <a:pt x="122" y="160"/>
                  </a:cubicBezTo>
                  <a:cubicBezTo>
                    <a:pt x="125" y="160"/>
                    <a:pt x="127" y="159"/>
                    <a:pt x="129" y="158"/>
                  </a:cubicBezTo>
                  <a:cubicBezTo>
                    <a:pt x="134" y="156"/>
                    <a:pt x="137" y="151"/>
                    <a:pt x="137" y="146"/>
                  </a:cubicBezTo>
                  <a:cubicBezTo>
                    <a:pt x="137" y="146"/>
                    <a:pt x="137" y="146"/>
                    <a:pt x="137" y="146"/>
                  </a:cubicBezTo>
                  <a:cubicBezTo>
                    <a:pt x="137" y="144"/>
                    <a:pt x="160" y="142"/>
                    <a:pt x="168" y="142"/>
                  </a:cubicBezTo>
                  <a:cubicBezTo>
                    <a:pt x="170" y="142"/>
                    <a:pt x="172" y="142"/>
                    <a:pt x="172" y="142"/>
                  </a:cubicBezTo>
                  <a:cubicBezTo>
                    <a:pt x="172" y="142"/>
                    <a:pt x="172" y="142"/>
                    <a:pt x="172" y="142"/>
                  </a:cubicBezTo>
                  <a:cubicBezTo>
                    <a:pt x="172" y="143"/>
                    <a:pt x="172" y="143"/>
                    <a:pt x="172" y="143"/>
                  </a:cubicBezTo>
                  <a:cubicBezTo>
                    <a:pt x="173" y="146"/>
                    <a:pt x="176" y="147"/>
                    <a:pt x="178" y="147"/>
                  </a:cubicBezTo>
                  <a:cubicBezTo>
                    <a:pt x="179" y="147"/>
                    <a:pt x="180" y="147"/>
                    <a:pt x="181" y="146"/>
                  </a:cubicBezTo>
                  <a:cubicBezTo>
                    <a:pt x="183" y="146"/>
                    <a:pt x="184" y="144"/>
                    <a:pt x="185" y="142"/>
                  </a:cubicBezTo>
                  <a:cubicBezTo>
                    <a:pt x="185" y="142"/>
                    <a:pt x="185" y="142"/>
                    <a:pt x="185" y="142"/>
                  </a:cubicBezTo>
                  <a:cubicBezTo>
                    <a:pt x="185" y="142"/>
                    <a:pt x="186" y="142"/>
                    <a:pt x="187" y="142"/>
                  </a:cubicBezTo>
                  <a:cubicBezTo>
                    <a:pt x="197" y="142"/>
                    <a:pt x="245" y="147"/>
                    <a:pt x="245" y="147"/>
                  </a:cubicBezTo>
                  <a:cubicBezTo>
                    <a:pt x="245" y="147"/>
                    <a:pt x="245" y="147"/>
                    <a:pt x="245" y="147"/>
                  </a:cubicBezTo>
                  <a:cubicBezTo>
                    <a:pt x="245" y="148"/>
                    <a:pt x="245" y="148"/>
                    <a:pt x="245" y="149"/>
                  </a:cubicBezTo>
                  <a:cubicBezTo>
                    <a:pt x="246" y="150"/>
                    <a:pt x="247" y="151"/>
                    <a:pt x="249" y="151"/>
                  </a:cubicBezTo>
                  <a:cubicBezTo>
                    <a:pt x="250" y="151"/>
                    <a:pt x="250" y="151"/>
                    <a:pt x="251" y="151"/>
                  </a:cubicBezTo>
                  <a:cubicBezTo>
                    <a:pt x="253" y="150"/>
                    <a:pt x="254" y="147"/>
                    <a:pt x="253" y="145"/>
                  </a:cubicBezTo>
                  <a:cubicBezTo>
                    <a:pt x="252" y="144"/>
                    <a:pt x="251" y="144"/>
                    <a:pt x="251" y="143"/>
                  </a:cubicBezTo>
                  <a:cubicBezTo>
                    <a:pt x="251" y="143"/>
                    <a:pt x="251" y="143"/>
                    <a:pt x="251" y="143"/>
                  </a:cubicBezTo>
                  <a:cubicBezTo>
                    <a:pt x="250" y="143"/>
                    <a:pt x="261" y="103"/>
                    <a:pt x="264" y="103"/>
                  </a:cubicBezTo>
                  <a:cubicBezTo>
                    <a:pt x="264" y="103"/>
                    <a:pt x="264" y="103"/>
                    <a:pt x="264" y="103"/>
                  </a:cubicBezTo>
                  <a:cubicBezTo>
                    <a:pt x="263" y="103"/>
                    <a:pt x="263" y="103"/>
                    <a:pt x="263" y="103"/>
                  </a:cubicBezTo>
                  <a:cubicBezTo>
                    <a:pt x="264" y="103"/>
                    <a:pt x="265" y="103"/>
                    <a:pt x="265" y="103"/>
                  </a:cubicBezTo>
                  <a:cubicBezTo>
                    <a:pt x="265" y="103"/>
                    <a:pt x="266" y="103"/>
                    <a:pt x="266" y="103"/>
                  </a:cubicBezTo>
                  <a:cubicBezTo>
                    <a:pt x="266" y="103"/>
                    <a:pt x="266" y="103"/>
                    <a:pt x="266" y="103"/>
                  </a:cubicBezTo>
                  <a:cubicBezTo>
                    <a:pt x="266" y="103"/>
                    <a:pt x="266" y="103"/>
                    <a:pt x="266" y="103"/>
                  </a:cubicBezTo>
                  <a:cubicBezTo>
                    <a:pt x="269" y="103"/>
                    <a:pt x="288" y="173"/>
                    <a:pt x="285" y="174"/>
                  </a:cubicBezTo>
                  <a:cubicBezTo>
                    <a:pt x="285" y="174"/>
                    <a:pt x="285" y="174"/>
                    <a:pt x="285" y="174"/>
                  </a:cubicBezTo>
                  <a:cubicBezTo>
                    <a:pt x="284" y="174"/>
                    <a:pt x="284" y="174"/>
                    <a:pt x="284" y="174"/>
                  </a:cubicBezTo>
                  <a:cubicBezTo>
                    <a:pt x="276" y="178"/>
                    <a:pt x="273" y="187"/>
                    <a:pt x="277" y="194"/>
                  </a:cubicBezTo>
                  <a:cubicBezTo>
                    <a:pt x="279" y="200"/>
                    <a:pt x="285" y="203"/>
                    <a:pt x="291" y="203"/>
                  </a:cubicBezTo>
                  <a:cubicBezTo>
                    <a:pt x="293" y="203"/>
                    <a:pt x="295" y="203"/>
                    <a:pt x="298" y="202"/>
                  </a:cubicBezTo>
                  <a:cubicBezTo>
                    <a:pt x="299" y="201"/>
                    <a:pt x="300" y="201"/>
                    <a:pt x="300" y="200"/>
                  </a:cubicBezTo>
                  <a:cubicBezTo>
                    <a:pt x="300" y="200"/>
                    <a:pt x="300" y="200"/>
                    <a:pt x="300" y="200"/>
                  </a:cubicBezTo>
                  <a:cubicBezTo>
                    <a:pt x="300" y="200"/>
                    <a:pt x="300" y="200"/>
                    <a:pt x="301" y="200"/>
                  </a:cubicBezTo>
                  <a:cubicBezTo>
                    <a:pt x="305" y="200"/>
                    <a:pt x="354" y="247"/>
                    <a:pt x="353" y="249"/>
                  </a:cubicBezTo>
                  <a:cubicBezTo>
                    <a:pt x="353" y="249"/>
                    <a:pt x="353" y="249"/>
                    <a:pt x="353" y="249"/>
                  </a:cubicBezTo>
                  <a:cubicBezTo>
                    <a:pt x="351" y="252"/>
                    <a:pt x="351" y="255"/>
                    <a:pt x="352" y="258"/>
                  </a:cubicBezTo>
                  <a:cubicBezTo>
                    <a:pt x="354" y="262"/>
                    <a:pt x="357" y="264"/>
                    <a:pt x="361" y="264"/>
                  </a:cubicBezTo>
                  <a:cubicBezTo>
                    <a:pt x="363" y="264"/>
                    <a:pt x="364" y="264"/>
                    <a:pt x="366" y="263"/>
                  </a:cubicBezTo>
                  <a:cubicBezTo>
                    <a:pt x="371" y="261"/>
                    <a:pt x="373" y="255"/>
                    <a:pt x="370" y="250"/>
                  </a:cubicBezTo>
                  <a:cubicBezTo>
                    <a:pt x="369" y="247"/>
                    <a:pt x="365" y="245"/>
                    <a:pt x="361" y="245"/>
                  </a:cubicBezTo>
                  <a:cubicBezTo>
                    <a:pt x="360" y="245"/>
                    <a:pt x="359" y="245"/>
                    <a:pt x="358" y="245"/>
                  </a:cubicBezTo>
                  <a:cubicBezTo>
                    <a:pt x="358" y="245"/>
                    <a:pt x="358" y="245"/>
                    <a:pt x="358" y="245"/>
                  </a:cubicBezTo>
                  <a:cubicBezTo>
                    <a:pt x="358" y="245"/>
                    <a:pt x="358" y="245"/>
                    <a:pt x="358" y="245"/>
                  </a:cubicBezTo>
                  <a:cubicBezTo>
                    <a:pt x="357" y="245"/>
                    <a:pt x="334" y="209"/>
                    <a:pt x="313" y="172"/>
                  </a:cubicBezTo>
                  <a:cubicBezTo>
                    <a:pt x="341" y="149"/>
                    <a:pt x="431" y="80"/>
                    <a:pt x="435" y="80"/>
                  </a:cubicBezTo>
                  <a:cubicBezTo>
                    <a:pt x="435" y="80"/>
                    <a:pt x="435" y="80"/>
                    <a:pt x="435" y="80"/>
                  </a:cubicBezTo>
                  <a:cubicBezTo>
                    <a:pt x="435" y="80"/>
                    <a:pt x="435" y="80"/>
                    <a:pt x="435" y="80"/>
                  </a:cubicBezTo>
                  <a:cubicBezTo>
                    <a:pt x="437" y="82"/>
                    <a:pt x="440" y="83"/>
                    <a:pt x="443" y="83"/>
                  </a:cubicBezTo>
                  <a:cubicBezTo>
                    <a:pt x="443" y="83"/>
                    <a:pt x="443" y="83"/>
                    <a:pt x="443" y="83"/>
                  </a:cubicBezTo>
                  <a:cubicBezTo>
                    <a:pt x="443" y="83"/>
                    <a:pt x="443" y="83"/>
                    <a:pt x="443" y="83"/>
                  </a:cubicBezTo>
                  <a:cubicBezTo>
                    <a:pt x="443" y="83"/>
                    <a:pt x="443" y="83"/>
                    <a:pt x="443" y="83"/>
                  </a:cubicBezTo>
                  <a:cubicBezTo>
                    <a:pt x="445" y="83"/>
                    <a:pt x="458" y="137"/>
                    <a:pt x="465" y="171"/>
                  </a:cubicBezTo>
                  <a:cubicBezTo>
                    <a:pt x="419" y="178"/>
                    <a:pt x="369" y="185"/>
                    <a:pt x="365" y="185"/>
                  </a:cubicBezTo>
                  <a:cubicBezTo>
                    <a:pt x="365" y="185"/>
                    <a:pt x="365" y="185"/>
                    <a:pt x="365" y="185"/>
                  </a:cubicBezTo>
                  <a:cubicBezTo>
                    <a:pt x="365" y="185"/>
                    <a:pt x="365" y="185"/>
                    <a:pt x="365" y="185"/>
                  </a:cubicBezTo>
                  <a:cubicBezTo>
                    <a:pt x="364" y="184"/>
                    <a:pt x="364" y="184"/>
                    <a:pt x="364" y="184"/>
                  </a:cubicBezTo>
                  <a:cubicBezTo>
                    <a:pt x="364" y="184"/>
                    <a:pt x="364" y="184"/>
                    <a:pt x="364" y="184"/>
                  </a:cubicBezTo>
                  <a:cubicBezTo>
                    <a:pt x="364" y="184"/>
                    <a:pt x="364" y="184"/>
                    <a:pt x="364" y="184"/>
                  </a:cubicBezTo>
                  <a:cubicBezTo>
                    <a:pt x="364" y="183"/>
                    <a:pt x="394" y="163"/>
                    <a:pt x="396" y="163"/>
                  </a:cubicBezTo>
                  <a:cubicBezTo>
                    <a:pt x="396" y="163"/>
                    <a:pt x="396" y="163"/>
                    <a:pt x="396" y="163"/>
                  </a:cubicBezTo>
                  <a:cubicBezTo>
                    <a:pt x="396" y="163"/>
                    <a:pt x="396" y="163"/>
                    <a:pt x="396" y="163"/>
                  </a:cubicBezTo>
                  <a:cubicBezTo>
                    <a:pt x="397" y="164"/>
                    <a:pt x="398" y="165"/>
                    <a:pt x="399" y="165"/>
                  </a:cubicBezTo>
                  <a:cubicBezTo>
                    <a:pt x="400" y="165"/>
                    <a:pt x="401" y="164"/>
                    <a:pt x="401" y="164"/>
                  </a:cubicBezTo>
                  <a:cubicBezTo>
                    <a:pt x="404" y="163"/>
                    <a:pt x="405" y="160"/>
                    <a:pt x="404" y="158"/>
                  </a:cubicBezTo>
                  <a:cubicBezTo>
                    <a:pt x="403" y="156"/>
                    <a:pt x="401" y="155"/>
                    <a:pt x="399" y="155"/>
                  </a:cubicBezTo>
                  <a:cubicBezTo>
                    <a:pt x="398" y="155"/>
                    <a:pt x="398" y="156"/>
                    <a:pt x="397" y="156"/>
                  </a:cubicBezTo>
                  <a:cubicBezTo>
                    <a:pt x="395" y="157"/>
                    <a:pt x="394" y="160"/>
                    <a:pt x="395" y="162"/>
                  </a:cubicBezTo>
                  <a:cubicBezTo>
                    <a:pt x="395" y="162"/>
                    <a:pt x="395" y="162"/>
                    <a:pt x="395" y="162"/>
                  </a:cubicBezTo>
                  <a:cubicBezTo>
                    <a:pt x="395" y="163"/>
                    <a:pt x="365" y="182"/>
                    <a:pt x="363" y="182"/>
                  </a:cubicBezTo>
                  <a:cubicBezTo>
                    <a:pt x="363" y="182"/>
                    <a:pt x="363" y="182"/>
                    <a:pt x="363" y="182"/>
                  </a:cubicBezTo>
                  <a:cubicBezTo>
                    <a:pt x="363" y="182"/>
                    <a:pt x="363" y="182"/>
                    <a:pt x="363" y="182"/>
                  </a:cubicBezTo>
                  <a:cubicBezTo>
                    <a:pt x="362" y="181"/>
                    <a:pt x="360" y="180"/>
                    <a:pt x="358" y="180"/>
                  </a:cubicBezTo>
                  <a:cubicBezTo>
                    <a:pt x="357" y="180"/>
                    <a:pt x="356" y="180"/>
                    <a:pt x="355" y="181"/>
                  </a:cubicBezTo>
                  <a:cubicBezTo>
                    <a:pt x="352" y="182"/>
                    <a:pt x="350" y="186"/>
                    <a:pt x="352" y="190"/>
                  </a:cubicBezTo>
                  <a:cubicBezTo>
                    <a:pt x="353" y="192"/>
                    <a:pt x="356" y="193"/>
                    <a:pt x="358" y="193"/>
                  </a:cubicBezTo>
                  <a:cubicBezTo>
                    <a:pt x="359" y="193"/>
                    <a:pt x="360" y="193"/>
                    <a:pt x="361" y="193"/>
                  </a:cubicBezTo>
                  <a:cubicBezTo>
                    <a:pt x="363" y="192"/>
                    <a:pt x="365" y="190"/>
                    <a:pt x="365" y="187"/>
                  </a:cubicBezTo>
                  <a:cubicBezTo>
                    <a:pt x="365" y="188"/>
                    <a:pt x="365" y="188"/>
                    <a:pt x="365" y="188"/>
                  </a:cubicBezTo>
                  <a:cubicBezTo>
                    <a:pt x="365" y="186"/>
                    <a:pt x="417" y="184"/>
                    <a:pt x="430" y="184"/>
                  </a:cubicBezTo>
                  <a:cubicBezTo>
                    <a:pt x="431" y="184"/>
                    <a:pt x="432" y="184"/>
                    <a:pt x="432" y="184"/>
                  </a:cubicBezTo>
                  <a:cubicBezTo>
                    <a:pt x="432" y="184"/>
                    <a:pt x="432" y="184"/>
                    <a:pt x="432" y="184"/>
                  </a:cubicBezTo>
                  <a:cubicBezTo>
                    <a:pt x="433" y="185"/>
                    <a:pt x="433" y="185"/>
                    <a:pt x="433" y="185"/>
                  </a:cubicBezTo>
                  <a:cubicBezTo>
                    <a:pt x="433" y="187"/>
                    <a:pt x="435" y="187"/>
                    <a:pt x="436" y="187"/>
                  </a:cubicBezTo>
                  <a:cubicBezTo>
                    <a:pt x="437" y="187"/>
                    <a:pt x="438" y="187"/>
                    <a:pt x="438" y="187"/>
                  </a:cubicBezTo>
                  <a:cubicBezTo>
                    <a:pt x="440" y="186"/>
                    <a:pt x="441" y="184"/>
                    <a:pt x="440" y="182"/>
                  </a:cubicBezTo>
                  <a:cubicBezTo>
                    <a:pt x="439" y="180"/>
                    <a:pt x="438" y="180"/>
                    <a:pt x="436" y="180"/>
                  </a:cubicBezTo>
                  <a:cubicBezTo>
                    <a:pt x="436" y="180"/>
                    <a:pt x="435" y="180"/>
                    <a:pt x="435" y="180"/>
                  </a:cubicBezTo>
                  <a:cubicBezTo>
                    <a:pt x="433" y="181"/>
                    <a:pt x="432" y="182"/>
                    <a:pt x="432" y="183"/>
                  </a:cubicBezTo>
                  <a:cubicBezTo>
                    <a:pt x="432" y="183"/>
                    <a:pt x="432" y="183"/>
                    <a:pt x="432" y="183"/>
                  </a:cubicBezTo>
                  <a:cubicBezTo>
                    <a:pt x="432" y="184"/>
                    <a:pt x="387" y="186"/>
                    <a:pt x="370" y="186"/>
                  </a:cubicBezTo>
                  <a:cubicBezTo>
                    <a:pt x="370" y="186"/>
                    <a:pt x="370" y="186"/>
                    <a:pt x="370" y="186"/>
                  </a:cubicBezTo>
                  <a:cubicBezTo>
                    <a:pt x="383" y="183"/>
                    <a:pt x="425" y="177"/>
                    <a:pt x="465" y="171"/>
                  </a:cubicBezTo>
                  <a:cubicBezTo>
                    <a:pt x="468" y="187"/>
                    <a:pt x="470" y="198"/>
                    <a:pt x="469" y="199"/>
                  </a:cubicBezTo>
                  <a:cubicBezTo>
                    <a:pt x="469" y="199"/>
                    <a:pt x="469" y="199"/>
                    <a:pt x="469" y="199"/>
                  </a:cubicBezTo>
                  <a:cubicBezTo>
                    <a:pt x="464" y="201"/>
                    <a:pt x="460" y="205"/>
                    <a:pt x="460" y="211"/>
                  </a:cubicBezTo>
                  <a:cubicBezTo>
                    <a:pt x="460" y="218"/>
                    <a:pt x="466" y="224"/>
                    <a:pt x="474" y="224"/>
                  </a:cubicBezTo>
                  <a:cubicBezTo>
                    <a:pt x="476" y="224"/>
                    <a:pt x="478" y="223"/>
                    <a:pt x="480" y="222"/>
                  </a:cubicBezTo>
                  <a:cubicBezTo>
                    <a:pt x="480" y="222"/>
                    <a:pt x="480" y="222"/>
                    <a:pt x="480" y="222"/>
                  </a:cubicBezTo>
                  <a:cubicBezTo>
                    <a:pt x="480" y="222"/>
                    <a:pt x="480" y="222"/>
                    <a:pt x="480" y="222"/>
                  </a:cubicBezTo>
                  <a:cubicBezTo>
                    <a:pt x="483" y="222"/>
                    <a:pt x="520" y="269"/>
                    <a:pt x="518" y="271"/>
                  </a:cubicBezTo>
                  <a:cubicBezTo>
                    <a:pt x="518" y="271"/>
                    <a:pt x="518" y="271"/>
                    <a:pt x="518" y="271"/>
                  </a:cubicBezTo>
                  <a:cubicBezTo>
                    <a:pt x="514" y="275"/>
                    <a:pt x="513" y="281"/>
                    <a:pt x="516" y="286"/>
                  </a:cubicBezTo>
                  <a:cubicBezTo>
                    <a:pt x="518" y="290"/>
                    <a:pt x="523" y="293"/>
                    <a:pt x="528" y="293"/>
                  </a:cubicBezTo>
                  <a:cubicBezTo>
                    <a:pt x="530" y="293"/>
                    <a:pt x="532" y="293"/>
                    <a:pt x="534" y="292"/>
                  </a:cubicBezTo>
                  <a:cubicBezTo>
                    <a:pt x="540" y="289"/>
                    <a:pt x="543" y="281"/>
                    <a:pt x="540" y="275"/>
                  </a:cubicBezTo>
                  <a:cubicBezTo>
                    <a:pt x="538" y="270"/>
                    <a:pt x="533" y="267"/>
                    <a:pt x="528" y="267"/>
                  </a:cubicBezTo>
                  <a:cubicBezTo>
                    <a:pt x="526" y="267"/>
                    <a:pt x="524" y="268"/>
                    <a:pt x="522" y="268"/>
                  </a:cubicBezTo>
                  <a:cubicBezTo>
                    <a:pt x="521" y="269"/>
                    <a:pt x="521" y="269"/>
                    <a:pt x="521" y="269"/>
                  </a:cubicBezTo>
                  <a:cubicBezTo>
                    <a:pt x="522" y="269"/>
                    <a:pt x="522" y="269"/>
                    <a:pt x="522" y="269"/>
                  </a:cubicBezTo>
                  <a:cubicBezTo>
                    <a:pt x="522" y="269"/>
                    <a:pt x="522" y="269"/>
                    <a:pt x="521" y="269"/>
                  </a:cubicBezTo>
                  <a:cubicBezTo>
                    <a:pt x="518" y="269"/>
                    <a:pt x="482" y="222"/>
                    <a:pt x="484" y="220"/>
                  </a:cubicBezTo>
                  <a:cubicBezTo>
                    <a:pt x="483" y="220"/>
                    <a:pt x="483" y="220"/>
                    <a:pt x="483" y="220"/>
                  </a:cubicBezTo>
                  <a:cubicBezTo>
                    <a:pt x="486" y="218"/>
                    <a:pt x="487" y="214"/>
                    <a:pt x="487" y="211"/>
                  </a:cubicBezTo>
                  <a:cubicBezTo>
                    <a:pt x="487" y="206"/>
                    <a:pt x="484" y="201"/>
                    <a:pt x="480" y="199"/>
                  </a:cubicBezTo>
                  <a:cubicBezTo>
                    <a:pt x="480" y="199"/>
                    <a:pt x="480" y="199"/>
                    <a:pt x="480" y="199"/>
                  </a:cubicBezTo>
                  <a:cubicBezTo>
                    <a:pt x="479" y="199"/>
                    <a:pt x="483" y="184"/>
                    <a:pt x="489" y="168"/>
                  </a:cubicBezTo>
                  <a:cubicBezTo>
                    <a:pt x="516" y="164"/>
                    <a:pt x="539" y="161"/>
                    <a:pt x="541" y="161"/>
                  </a:cubicBezTo>
                  <a:cubicBezTo>
                    <a:pt x="542" y="161"/>
                    <a:pt x="542" y="161"/>
                    <a:pt x="542" y="161"/>
                  </a:cubicBezTo>
                  <a:cubicBezTo>
                    <a:pt x="542" y="161"/>
                    <a:pt x="542" y="161"/>
                    <a:pt x="542" y="161"/>
                  </a:cubicBezTo>
                  <a:cubicBezTo>
                    <a:pt x="542" y="162"/>
                    <a:pt x="542" y="162"/>
                    <a:pt x="542" y="162"/>
                  </a:cubicBezTo>
                  <a:cubicBezTo>
                    <a:pt x="543" y="164"/>
                    <a:pt x="546" y="166"/>
                    <a:pt x="548" y="166"/>
                  </a:cubicBezTo>
                  <a:cubicBezTo>
                    <a:pt x="549" y="166"/>
                    <a:pt x="550" y="165"/>
                    <a:pt x="551" y="165"/>
                  </a:cubicBezTo>
                  <a:cubicBezTo>
                    <a:pt x="552" y="165"/>
                    <a:pt x="553" y="164"/>
                    <a:pt x="553" y="164"/>
                  </a:cubicBezTo>
                  <a:cubicBezTo>
                    <a:pt x="553" y="164"/>
                    <a:pt x="553" y="164"/>
                    <a:pt x="553" y="164"/>
                  </a:cubicBezTo>
                  <a:cubicBezTo>
                    <a:pt x="553" y="164"/>
                    <a:pt x="553" y="164"/>
                    <a:pt x="553" y="164"/>
                  </a:cubicBezTo>
                  <a:cubicBezTo>
                    <a:pt x="555" y="164"/>
                    <a:pt x="586" y="185"/>
                    <a:pt x="585" y="185"/>
                  </a:cubicBezTo>
                  <a:cubicBezTo>
                    <a:pt x="585" y="185"/>
                    <a:pt x="585" y="185"/>
                    <a:pt x="585" y="185"/>
                  </a:cubicBezTo>
                  <a:cubicBezTo>
                    <a:pt x="584" y="187"/>
                    <a:pt x="584" y="188"/>
                    <a:pt x="585" y="189"/>
                  </a:cubicBezTo>
                  <a:cubicBezTo>
                    <a:pt x="586" y="191"/>
                    <a:pt x="588" y="192"/>
                    <a:pt x="589" y="192"/>
                  </a:cubicBezTo>
                  <a:cubicBezTo>
                    <a:pt x="590" y="192"/>
                    <a:pt x="591" y="192"/>
                    <a:pt x="591" y="192"/>
                  </a:cubicBezTo>
                  <a:cubicBezTo>
                    <a:pt x="594" y="191"/>
                    <a:pt x="595" y="188"/>
                    <a:pt x="594" y="186"/>
                  </a:cubicBezTo>
                  <a:cubicBezTo>
                    <a:pt x="593" y="184"/>
                    <a:pt x="591" y="183"/>
                    <a:pt x="589" y="183"/>
                  </a:cubicBezTo>
                  <a:cubicBezTo>
                    <a:pt x="589" y="183"/>
                    <a:pt x="588" y="183"/>
                    <a:pt x="587" y="183"/>
                  </a:cubicBezTo>
                  <a:cubicBezTo>
                    <a:pt x="587" y="184"/>
                    <a:pt x="586" y="184"/>
                    <a:pt x="586" y="184"/>
                  </a:cubicBezTo>
                  <a:cubicBezTo>
                    <a:pt x="586" y="184"/>
                    <a:pt x="586" y="184"/>
                    <a:pt x="586" y="184"/>
                  </a:cubicBezTo>
                  <a:cubicBezTo>
                    <a:pt x="586" y="184"/>
                    <a:pt x="586" y="184"/>
                    <a:pt x="586" y="184"/>
                  </a:cubicBezTo>
                  <a:cubicBezTo>
                    <a:pt x="584" y="184"/>
                    <a:pt x="554" y="163"/>
                    <a:pt x="554" y="162"/>
                  </a:cubicBezTo>
                  <a:cubicBezTo>
                    <a:pt x="554" y="162"/>
                    <a:pt x="554" y="162"/>
                    <a:pt x="554" y="162"/>
                  </a:cubicBezTo>
                  <a:cubicBezTo>
                    <a:pt x="555" y="160"/>
                    <a:pt x="556" y="158"/>
                    <a:pt x="555" y="156"/>
                  </a:cubicBezTo>
                  <a:cubicBezTo>
                    <a:pt x="555" y="156"/>
                    <a:pt x="555" y="156"/>
                    <a:pt x="555" y="156"/>
                  </a:cubicBezTo>
                  <a:cubicBezTo>
                    <a:pt x="555" y="156"/>
                    <a:pt x="555" y="156"/>
                    <a:pt x="555" y="156"/>
                  </a:cubicBezTo>
                  <a:cubicBezTo>
                    <a:pt x="554" y="155"/>
                    <a:pt x="584" y="135"/>
                    <a:pt x="586" y="135"/>
                  </a:cubicBezTo>
                  <a:cubicBezTo>
                    <a:pt x="586" y="135"/>
                    <a:pt x="586" y="135"/>
                    <a:pt x="586" y="135"/>
                  </a:cubicBezTo>
                  <a:cubicBezTo>
                    <a:pt x="586" y="135"/>
                    <a:pt x="586" y="135"/>
                    <a:pt x="586" y="135"/>
                  </a:cubicBezTo>
                  <a:cubicBezTo>
                    <a:pt x="587" y="136"/>
                    <a:pt x="588" y="137"/>
                    <a:pt x="589" y="137"/>
                  </a:cubicBezTo>
                  <a:cubicBezTo>
                    <a:pt x="590" y="137"/>
                    <a:pt x="591" y="137"/>
                    <a:pt x="591" y="136"/>
                  </a:cubicBezTo>
                  <a:cubicBezTo>
                    <a:pt x="592" y="136"/>
                    <a:pt x="592" y="136"/>
                    <a:pt x="593" y="135"/>
                  </a:cubicBezTo>
                  <a:cubicBezTo>
                    <a:pt x="593" y="135"/>
                    <a:pt x="593" y="135"/>
                    <a:pt x="593" y="135"/>
                  </a:cubicBezTo>
                  <a:cubicBezTo>
                    <a:pt x="593" y="135"/>
                    <a:pt x="593" y="135"/>
                    <a:pt x="593" y="135"/>
                  </a:cubicBezTo>
                  <a:cubicBezTo>
                    <a:pt x="594" y="135"/>
                    <a:pt x="632" y="162"/>
                    <a:pt x="631" y="163"/>
                  </a:cubicBezTo>
                  <a:cubicBezTo>
                    <a:pt x="631" y="163"/>
                    <a:pt x="631" y="163"/>
                    <a:pt x="631" y="163"/>
                  </a:cubicBezTo>
                  <a:cubicBezTo>
                    <a:pt x="631" y="164"/>
                    <a:pt x="631" y="165"/>
                    <a:pt x="631" y="166"/>
                  </a:cubicBezTo>
                  <a:cubicBezTo>
                    <a:pt x="632" y="168"/>
                    <a:pt x="633" y="169"/>
                    <a:pt x="635" y="169"/>
                  </a:cubicBezTo>
                  <a:cubicBezTo>
                    <a:pt x="635" y="169"/>
                    <a:pt x="636" y="168"/>
                    <a:pt x="637" y="168"/>
                  </a:cubicBezTo>
                  <a:cubicBezTo>
                    <a:pt x="638" y="168"/>
                    <a:pt x="639" y="166"/>
                    <a:pt x="639" y="165"/>
                  </a:cubicBezTo>
                  <a:cubicBezTo>
                    <a:pt x="639" y="165"/>
                    <a:pt x="639" y="165"/>
                    <a:pt x="639" y="165"/>
                  </a:cubicBezTo>
                  <a:cubicBezTo>
                    <a:pt x="639" y="165"/>
                    <a:pt x="647" y="165"/>
                    <a:pt x="655" y="165"/>
                  </a:cubicBezTo>
                  <a:cubicBezTo>
                    <a:pt x="663" y="165"/>
                    <a:pt x="671" y="165"/>
                    <a:pt x="671" y="165"/>
                  </a:cubicBezTo>
                  <a:cubicBezTo>
                    <a:pt x="671" y="165"/>
                    <a:pt x="671" y="165"/>
                    <a:pt x="671" y="165"/>
                  </a:cubicBezTo>
                  <a:cubicBezTo>
                    <a:pt x="671" y="166"/>
                    <a:pt x="671" y="166"/>
                    <a:pt x="671" y="166"/>
                  </a:cubicBezTo>
                  <a:cubicBezTo>
                    <a:pt x="671" y="167"/>
                    <a:pt x="672" y="167"/>
                    <a:pt x="672" y="167"/>
                  </a:cubicBezTo>
                  <a:cubicBezTo>
                    <a:pt x="672" y="167"/>
                    <a:pt x="672" y="167"/>
                    <a:pt x="672" y="167"/>
                  </a:cubicBezTo>
                  <a:cubicBezTo>
                    <a:pt x="672" y="168"/>
                    <a:pt x="595" y="258"/>
                    <a:pt x="593" y="258"/>
                  </a:cubicBezTo>
                  <a:cubicBezTo>
                    <a:pt x="593" y="258"/>
                    <a:pt x="593" y="258"/>
                    <a:pt x="593" y="258"/>
                  </a:cubicBezTo>
                  <a:cubicBezTo>
                    <a:pt x="593" y="258"/>
                    <a:pt x="593" y="258"/>
                    <a:pt x="593" y="258"/>
                  </a:cubicBezTo>
                  <a:cubicBezTo>
                    <a:pt x="592" y="258"/>
                    <a:pt x="591" y="257"/>
                    <a:pt x="589" y="257"/>
                  </a:cubicBezTo>
                  <a:cubicBezTo>
                    <a:pt x="588" y="257"/>
                    <a:pt x="587" y="258"/>
                    <a:pt x="586" y="258"/>
                  </a:cubicBezTo>
                  <a:cubicBezTo>
                    <a:pt x="583" y="260"/>
                    <a:pt x="582" y="264"/>
                    <a:pt x="583" y="267"/>
                  </a:cubicBezTo>
                  <a:cubicBezTo>
                    <a:pt x="584" y="269"/>
                    <a:pt x="587" y="271"/>
                    <a:pt x="589" y="271"/>
                  </a:cubicBezTo>
                  <a:cubicBezTo>
                    <a:pt x="590" y="271"/>
                    <a:pt x="591" y="270"/>
                    <a:pt x="592" y="270"/>
                  </a:cubicBezTo>
                  <a:cubicBezTo>
                    <a:pt x="596" y="268"/>
                    <a:pt x="597" y="264"/>
                    <a:pt x="596" y="261"/>
                  </a:cubicBezTo>
                  <a:cubicBezTo>
                    <a:pt x="595" y="261"/>
                    <a:pt x="595" y="260"/>
                    <a:pt x="595" y="260"/>
                  </a:cubicBezTo>
                  <a:cubicBezTo>
                    <a:pt x="595" y="260"/>
                    <a:pt x="595" y="260"/>
                    <a:pt x="595" y="260"/>
                  </a:cubicBezTo>
                  <a:cubicBezTo>
                    <a:pt x="594" y="259"/>
                    <a:pt x="672" y="168"/>
                    <a:pt x="673" y="168"/>
                  </a:cubicBezTo>
                  <a:cubicBezTo>
                    <a:pt x="673" y="168"/>
                    <a:pt x="673" y="168"/>
                    <a:pt x="673" y="168"/>
                  </a:cubicBezTo>
                  <a:cubicBezTo>
                    <a:pt x="673" y="168"/>
                    <a:pt x="673" y="168"/>
                    <a:pt x="673" y="168"/>
                  </a:cubicBezTo>
                  <a:cubicBezTo>
                    <a:pt x="673" y="168"/>
                    <a:pt x="674" y="169"/>
                    <a:pt x="675" y="169"/>
                  </a:cubicBezTo>
                  <a:cubicBezTo>
                    <a:pt x="675" y="169"/>
                    <a:pt x="676" y="168"/>
                    <a:pt x="677" y="168"/>
                  </a:cubicBezTo>
                  <a:cubicBezTo>
                    <a:pt x="679" y="167"/>
                    <a:pt x="680" y="165"/>
                    <a:pt x="679" y="163"/>
                  </a:cubicBezTo>
                  <a:cubicBezTo>
                    <a:pt x="678" y="162"/>
                    <a:pt x="676" y="161"/>
                    <a:pt x="675" y="161"/>
                  </a:cubicBezTo>
                  <a:cubicBezTo>
                    <a:pt x="674" y="161"/>
                    <a:pt x="674" y="161"/>
                    <a:pt x="673" y="161"/>
                  </a:cubicBezTo>
                  <a:cubicBezTo>
                    <a:pt x="672" y="161"/>
                    <a:pt x="672" y="162"/>
                    <a:pt x="671" y="163"/>
                  </a:cubicBezTo>
                  <a:cubicBezTo>
                    <a:pt x="671" y="163"/>
                    <a:pt x="671" y="163"/>
                    <a:pt x="671" y="163"/>
                  </a:cubicBezTo>
                  <a:cubicBezTo>
                    <a:pt x="671" y="163"/>
                    <a:pt x="671" y="163"/>
                    <a:pt x="671" y="163"/>
                  </a:cubicBezTo>
                  <a:cubicBezTo>
                    <a:pt x="669" y="163"/>
                    <a:pt x="594" y="134"/>
                    <a:pt x="594" y="133"/>
                  </a:cubicBezTo>
                  <a:cubicBezTo>
                    <a:pt x="594" y="133"/>
                    <a:pt x="594" y="133"/>
                    <a:pt x="594" y="133"/>
                  </a:cubicBezTo>
                  <a:cubicBezTo>
                    <a:pt x="594" y="132"/>
                    <a:pt x="594" y="131"/>
                    <a:pt x="594" y="130"/>
                  </a:cubicBezTo>
                  <a:cubicBezTo>
                    <a:pt x="593" y="129"/>
                    <a:pt x="591" y="128"/>
                    <a:pt x="589" y="128"/>
                  </a:cubicBezTo>
                  <a:cubicBezTo>
                    <a:pt x="589" y="128"/>
                    <a:pt x="588" y="128"/>
                    <a:pt x="587" y="128"/>
                  </a:cubicBezTo>
                  <a:cubicBezTo>
                    <a:pt x="585" y="129"/>
                    <a:pt x="584" y="132"/>
                    <a:pt x="585" y="134"/>
                  </a:cubicBezTo>
                  <a:cubicBezTo>
                    <a:pt x="585" y="134"/>
                    <a:pt x="585" y="134"/>
                    <a:pt x="585" y="134"/>
                  </a:cubicBezTo>
                  <a:cubicBezTo>
                    <a:pt x="585" y="135"/>
                    <a:pt x="556" y="154"/>
                    <a:pt x="553" y="154"/>
                  </a:cubicBezTo>
                  <a:cubicBezTo>
                    <a:pt x="553" y="154"/>
                    <a:pt x="553" y="154"/>
                    <a:pt x="553" y="154"/>
                  </a:cubicBezTo>
                  <a:cubicBezTo>
                    <a:pt x="553" y="154"/>
                    <a:pt x="553" y="154"/>
                    <a:pt x="553" y="154"/>
                  </a:cubicBezTo>
                  <a:cubicBezTo>
                    <a:pt x="552" y="153"/>
                    <a:pt x="550" y="152"/>
                    <a:pt x="548" y="152"/>
                  </a:cubicBezTo>
                  <a:cubicBezTo>
                    <a:pt x="547" y="152"/>
                    <a:pt x="546" y="153"/>
                    <a:pt x="545" y="153"/>
                  </a:cubicBezTo>
                  <a:cubicBezTo>
                    <a:pt x="543" y="154"/>
                    <a:pt x="541" y="156"/>
                    <a:pt x="541" y="159"/>
                  </a:cubicBezTo>
                  <a:cubicBezTo>
                    <a:pt x="541" y="159"/>
                    <a:pt x="541" y="159"/>
                    <a:pt x="541" y="159"/>
                  </a:cubicBezTo>
                  <a:cubicBezTo>
                    <a:pt x="541" y="159"/>
                    <a:pt x="518" y="163"/>
                    <a:pt x="489" y="167"/>
                  </a:cubicBezTo>
                  <a:cubicBezTo>
                    <a:pt x="497" y="144"/>
                    <a:pt x="507" y="115"/>
                    <a:pt x="509" y="115"/>
                  </a:cubicBezTo>
                  <a:cubicBezTo>
                    <a:pt x="509" y="115"/>
                    <a:pt x="509" y="115"/>
                    <a:pt x="509" y="115"/>
                  </a:cubicBezTo>
                  <a:cubicBezTo>
                    <a:pt x="509" y="115"/>
                    <a:pt x="509" y="115"/>
                    <a:pt x="509" y="115"/>
                  </a:cubicBezTo>
                  <a:cubicBezTo>
                    <a:pt x="509" y="115"/>
                    <a:pt x="510" y="115"/>
                    <a:pt x="510" y="115"/>
                  </a:cubicBezTo>
                  <a:cubicBezTo>
                    <a:pt x="512" y="115"/>
                    <a:pt x="513" y="115"/>
                    <a:pt x="515" y="115"/>
                  </a:cubicBezTo>
                  <a:cubicBezTo>
                    <a:pt x="520" y="112"/>
                    <a:pt x="522" y="107"/>
                    <a:pt x="519" y="102"/>
                  </a:cubicBezTo>
                  <a:cubicBezTo>
                    <a:pt x="518" y="98"/>
                    <a:pt x="514" y="96"/>
                    <a:pt x="510" y="96"/>
                  </a:cubicBezTo>
                  <a:cubicBezTo>
                    <a:pt x="509" y="96"/>
                    <a:pt x="507" y="97"/>
                    <a:pt x="506" y="97"/>
                  </a:cubicBezTo>
                  <a:cubicBezTo>
                    <a:pt x="504" y="98"/>
                    <a:pt x="503" y="99"/>
                    <a:pt x="502" y="100"/>
                  </a:cubicBezTo>
                  <a:cubicBezTo>
                    <a:pt x="502" y="100"/>
                    <a:pt x="502" y="100"/>
                    <a:pt x="502" y="100"/>
                  </a:cubicBezTo>
                  <a:cubicBezTo>
                    <a:pt x="502" y="100"/>
                    <a:pt x="502" y="100"/>
                    <a:pt x="502" y="100"/>
                  </a:cubicBezTo>
                  <a:cubicBezTo>
                    <a:pt x="498" y="100"/>
                    <a:pt x="453" y="77"/>
                    <a:pt x="454" y="75"/>
                  </a:cubicBezTo>
                  <a:cubicBezTo>
                    <a:pt x="454" y="75"/>
                    <a:pt x="454" y="75"/>
                    <a:pt x="454" y="75"/>
                  </a:cubicBezTo>
                  <a:cubicBezTo>
                    <a:pt x="455" y="73"/>
                    <a:pt x="455" y="69"/>
                    <a:pt x="453" y="67"/>
                  </a:cubicBezTo>
                  <a:cubicBezTo>
                    <a:pt x="451" y="62"/>
                    <a:pt x="447" y="60"/>
                    <a:pt x="443" y="60"/>
                  </a:cubicBezTo>
                  <a:cubicBezTo>
                    <a:pt x="441" y="60"/>
                    <a:pt x="439" y="60"/>
                    <a:pt x="438" y="61"/>
                  </a:cubicBezTo>
                  <a:cubicBezTo>
                    <a:pt x="433" y="63"/>
                    <a:pt x="431" y="67"/>
                    <a:pt x="431" y="71"/>
                  </a:cubicBezTo>
                  <a:cubicBezTo>
                    <a:pt x="431" y="71"/>
                    <a:pt x="431" y="71"/>
                    <a:pt x="431" y="71"/>
                  </a:cubicBezTo>
                  <a:cubicBezTo>
                    <a:pt x="431" y="73"/>
                    <a:pt x="295" y="88"/>
                    <a:pt x="278" y="88"/>
                  </a:cubicBezTo>
                  <a:cubicBezTo>
                    <a:pt x="277" y="88"/>
                    <a:pt x="277" y="88"/>
                    <a:pt x="277" y="88"/>
                  </a:cubicBezTo>
                  <a:cubicBezTo>
                    <a:pt x="277" y="88"/>
                    <a:pt x="277" y="88"/>
                    <a:pt x="277" y="88"/>
                  </a:cubicBezTo>
                  <a:cubicBezTo>
                    <a:pt x="276" y="88"/>
                    <a:pt x="276" y="87"/>
                    <a:pt x="276" y="86"/>
                  </a:cubicBezTo>
                  <a:cubicBezTo>
                    <a:pt x="274" y="82"/>
                    <a:pt x="270" y="80"/>
                    <a:pt x="265" y="80"/>
                  </a:cubicBezTo>
                  <a:cubicBezTo>
                    <a:pt x="263" y="80"/>
                    <a:pt x="262" y="80"/>
                    <a:pt x="260" y="81"/>
                  </a:cubicBezTo>
                  <a:cubicBezTo>
                    <a:pt x="254" y="84"/>
                    <a:pt x="251" y="90"/>
                    <a:pt x="254" y="96"/>
                  </a:cubicBezTo>
                  <a:cubicBezTo>
                    <a:pt x="256" y="99"/>
                    <a:pt x="258" y="101"/>
                    <a:pt x="260" y="102"/>
                  </a:cubicBezTo>
                  <a:cubicBezTo>
                    <a:pt x="260" y="102"/>
                    <a:pt x="260" y="102"/>
                    <a:pt x="260" y="102"/>
                  </a:cubicBezTo>
                  <a:cubicBezTo>
                    <a:pt x="262" y="103"/>
                    <a:pt x="250" y="143"/>
                    <a:pt x="249" y="143"/>
                  </a:cubicBezTo>
                  <a:cubicBezTo>
                    <a:pt x="249" y="143"/>
                    <a:pt x="249" y="143"/>
                    <a:pt x="249" y="143"/>
                  </a:cubicBezTo>
                  <a:cubicBezTo>
                    <a:pt x="249" y="143"/>
                    <a:pt x="249" y="143"/>
                    <a:pt x="249" y="143"/>
                  </a:cubicBezTo>
                  <a:cubicBezTo>
                    <a:pt x="249" y="143"/>
                    <a:pt x="249" y="143"/>
                    <a:pt x="249" y="143"/>
                  </a:cubicBezTo>
                  <a:cubicBezTo>
                    <a:pt x="248" y="143"/>
                    <a:pt x="248" y="143"/>
                    <a:pt x="247" y="143"/>
                  </a:cubicBezTo>
                  <a:cubicBezTo>
                    <a:pt x="246" y="144"/>
                    <a:pt x="245" y="145"/>
                    <a:pt x="245" y="146"/>
                  </a:cubicBezTo>
                  <a:cubicBezTo>
                    <a:pt x="245" y="146"/>
                    <a:pt x="245" y="146"/>
                    <a:pt x="245" y="146"/>
                  </a:cubicBezTo>
                  <a:cubicBezTo>
                    <a:pt x="245" y="146"/>
                    <a:pt x="245" y="146"/>
                    <a:pt x="244" y="146"/>
                  </a:cubicBezTo>
                  <a:cubicBezTo>
                    <a:pt x="237" y="146"/>
                    <a:pt x="185" y="141"/>
                    <a:pt x="185" y="140"/>
                  </a:cubicBezTo>
                  <a:cubicBezTo>
                    <a:pt x="185" y="140"/>
                    <a:pt x="185" y="140"/>
                    <a:pt x="185" y="140"/>
                  </a:cubicBezTo>
                  <a:cubicBezTo>
                    <a:pt x="185" y="139"/>
                    <a:pt x="185" y="138"/>
                    <a:pt x="184" y="138"/>
                  </a:cubicBezTo>
                  <a:cubicBezTo>
                    <a:pt x="184" y="137"/>
                    <a:pt x="184" y="137"/>
                    <a:pt x="184" y="137"/>
                  </a:cubicBezTo>
                  <a:cubicBezTo>
                    <a:pt x="184" y="137"/>
                    <a:pt x="184" y="137"/>
                    <a:pt x="184" y="137"/>
                  </a:cubicBezTo>
                  <a:cubicBezTo>
                    <a:pt x="183" y="136"/>
                    <a:pt x="209" y="113"/>
                    <a:pt x="211" y="113"/>
                  </a:cubicBezTo>
                  <a:cubicBezTo>
                    <a:pt x="211" y="113"/>
                    <a:pt x="211" y="113"/>
                    <a:pt x="211" y="113"/>
                  </a:cubicBezTo>
                  <a:cubicBezTo>
                    <a:pt x="210" y="113"/>
                    <a:pt x="210" y="113"/>
                    <a:pt x="210" y="113"/>
                  </a:cubicBezTo>
                  <a:cubicBezTo>
                    <a:pt x="211" y="114"/>
                    <a:pt x="212" y="114"/>
                    <a:pt x="214" y="114"/>
                  </a:cubicBezTo>
                  <a:cubicBezTo>
                    <a:pt x="214" y="114"/>
                    <a:pt x="215" y="114"/>
                    <a:pt x="216" y="114"/>
                  </a:cubicBezTo>
                  <a:cubicBezTo>
                    <a:pt x="218" y="113"/>
                    <a:pt x="219" y="110"/>
                    <a:pt x="218" y="107"/>
                  </a:cubicBezTo>
                  <a:cubicBezTo>
                    <a:pt x="217" y="106"/>
                    <a:pt x="215" y="105"/>
                    <a:pt x="214" y="105"/>
                  </a:cubicBezTo>
                  <a:cubicBezTo>
                    <a:pt x="213" y="105"/>
                    <a:pt x="212" y="105"/>
                    <a:pt x="211" y="105"/>
                  </a:cubicBezTo>
                  <a:cubicBezTo>
                    <a:pt x="211" y="106"/>
                    <a:pt x="211" y="106"/>
                    <a:pt x="211" y="106"/>
                  </a:cubicBezTo>
                  <a:cubicBezTo>
                    <a:pt x="211" y="106"/>
                    <a:pt x="211" y="106"/>
                    <a:pt x="211" y="106"/>
                  </a:cubicBezTo>
                  <a:cubicBezTo>
                    <a:pt x="211" y="106"/>
                    <a:pt x="211" y="106"/>
                    <a:pt x="211" y="106"/>
                  </a:cubicBezTo>
                  <a:cubicBezTo>
                    <a:pt x="209" y="106"/>
                    <a:pt x="175" y="72"/>
                    <a:pt x="176" y="70"/>
                  </a:cubicBezTo>
                  <a:cubicBezTo>
                    <a:pt x="176" y="70"/>
                    <a:pt x="176" y="70"/>
                    <a:pt x="176" y="70"/>
                  </a:cubicBezTo>
                  <a:cubicBezTo>
                    <a:pt x="177" y="69"/>
                    <a:pt x="178" y="67"/>
                    <a:pt x="178" y="65"/>
                  </a:cubicBezTo>
                  <a:cubicBezTo>
                    <a:pt x="178" y="59"/>
                    <a:pt x="174" y="55"/>
                    <a:pt x="168" y="55"/>
                  </a:cubicBezTo>
                  <a:cubicBezTo>
                    <a:pt x="163" y="55"/>
                    <a:pt x="158" y="59"/>
                    <a:pt x="158" y="65"/>
                  </a:cubicBezTo>
                  <a:cubicBezTo>
                    <a:pt x="158" y="68"/>
                    <a:pt x="160" y="70"/>
                    <a:pt x="162" y="72"/>
                  </a:cubicBezTo>
                  <a:cubicBezTo>
                    <a:pt x="162" y="72"/>
                    <a:pt x="162" y="72"/>
                    <a:pt x="162" y="72"/>
                  </a:cubicBezTo>
                  <a:cubicBezTo>
                    <a:pt x="164" y="73"/>
                    <a:pt x="131" y="132"/>
                    <a:pt x="127" y="132"/>
                  </a:cubicBezTo>
                  <a:cubicBezTo>
                    <a:pt x="127" y="132"/>
                    <a:pt x="127" y="132"/>
                    <a:pt x="127" y="132"/>
                  </a:cubicBezTo>
                  <a:cubicBezTo>
                    <a:pt x="127" y="132"/>
                    <a:pt x="127" y="132"/>
                    <a:pt x="127" y="132"/>
                  </a:cubicBezTo>
                  <a:cubicBezTo>
                    <a:pt x="126" y="132"/>
                    <a:pt x="124" y="132"/>
                    <a:pt x="122" y="132"/>
                  </a:cubicBezTo>
                  <a:cubicBezTo>
                    <a:pt x="121" y="132"/>
                    <a:pt x="120" y="132"/>
                    <a:pt x="119" y="132"/>
                  </a:cubicBezTo>
                  <a:cubicBezTo>
                    <a:pt x="119" y="132"/>
                    <a:pt x="119" y="132"/>
                    <a:pt x="119" y="132"/>
                  </a:cubicBezTo>
                  <a:cubicBezTo>
                    <a:pt x="119" y="132"/>
                    <a:pt x="119" y="132"/>
                    <a:pt x="119" y="132"/>
                  </a:cubicBezTo>
                  <a:cubicBezTo>
                    <a:pt x="118" y="132"/>
                    <a:pt x="113" y="122"/>
                    <a:pt x="109" y="112"/>
                  </a:cubicBezTo>
                  <a:cubicBezTo>
                    <a:pt x="113" y="122"/>
                    <a:pt x="117" y="133"/>
                    <a:pt x="115" y="133"/>
                  </a:cubicBezTo>
                  <a:cubicBezTo>
                    <a:pt x="116" y="133"/>
                    <a:pt x="116" y="133"/>
                    <a:pt x="116" y="133"/>
                  </a:cubicBezTo>
                  <a:cubicBezTo>
                    <a:pt x="115" y="133"/>
                    <a:pt x="115" y="133"/>
                    <a:pt x="115" y="133"/>
                  </a:cubicBezTo>
                  <a:cubicBezTo>
                    <a:pt x="115" y="133"/>
                    <a:pt x="115" y="133"/>
                    <a:pt x="115" y="133"/>
                  </a:cubicBezTo>
                  <a:cubicBezTo>
                    <a:pt x="115" y="133"/>
                    <a:pt x="115" y="133"/>
                    <a:pt x="115" y="133"/>
                  </a:cubicBezTo>
                  <a:cubicBezTo>
                    <a:pt x="112" y="133"/>
                    <a:pt x="26" y="30"/>
                    <a:pt x="14" y="13"/>
                  </a:cubicBezTo>
                  <a:cubicBezTo>
                    <a:pt x="28" y="23"/>
                    <a:pt x="95" y="83"/>
                    <a:pt x="95" y="84"/>
                  </a:cubicBezTo>
                  <a:cubicBezTo>
                    <a:pt x="95" y="84"/>
                    <a:pt x="95" y="84"/>
                    <a:pt x="95" y="84"/>
                  </a:cubicBezTo>
                  <a:cubicBezTo>
                    <a:pt x="94" y="85"/>
                    <a:pt x="94" y="86"/>
                    <a:pt x="95" y="88"/>
                  </a:cubicBezTo>
                  <a:cubicBezTo>
                    <a:pt x="95" y="89"/>
                    <a:pt x="97" y="90"/>
                    <a:pt x="98" y="90"/>
                  </a:cubicBezTo>
                  <a:cubicBezTo>
                    <a:pt x="99" y="90"/>
                    <a:pt x="99" y="90"/>
                    <a:pt x="99" y="90"/>
                  </a:cubicBezTo>
                  <a:cubicBezTo>
                    <a:pt x="99" y="90"/>
                    <a:pt x="99" y="90"/>
                    <a:pt x="99" y="90"/>
                  </a:cubicBezTo>
                  <a:cubicBezTo>
                    <a:pt x="99" y="90"/>
                    <a:pt x="99" y="90"/>
                    <a:pt x="99" y="90"/>
                  </a:cubicBezTo>
                  <a:cubicBezTo>
                    <a:pt x="100" y="90"/>
                    <a:pt x="103" y="97"/>
                    <a:pt x="106" y="105"/>
                  </a:cubicBezTo>
                  <a:cubicBezTo>
                    <a:pt x="103" y="97"/>
                    <a:pt x="100" y="90"/>
                    <a:pt x="101" y="90"/>
                  </a:cubicBezTo>
                  <a:cubicBezTo>
                    <a:pt x="100" y="90"/>
                    <a:pt x="100" y="90"/>
                    <a:pt x="100" y="90"/>
                  </a:cubicBezTo>
                  <a:cubicBezTo>
                    <a:pt x="102" y="89"/>
                    <a:pt x="103" y="86"/>
                    <a:pt x="102" y="84"/>
                  </a:cubicBezTo>
                  <a:cubicBezTo>
                    <a:pt x="102" y="83"/>
                    <a:pt x="100" y="82"/>
                    <a:pt x="98" y="82"/>
                  </a:cubicBezTo>
                  <a:cubicBezTo>
                    <a:pt x="98" y="82"/>
                    <a:pt x="97" y="82"/>
                    <a:pt x="97" y="83"/>
                  </a:cubicBezTo>
                  <a:cubicBezTo>
                    <a:pt x="96" y="83"/>
                    <a:pt x="96" y="83"/>
                    <a:pt x="96" y="83"/>
                  </a:cubicBezTo>
                  <a:cubicBezTo>
                    <a:pt x="96" y="83"/>
                    <a:pt x="96" y="83"/>
                    <a:pt x="96" y="83"/>
                  </a:cubicBezTo>
                  <a:cubicBezTo>
                    <a:pt x="96" y="83"/>
                    <a:pt x="96" y="83"/>
                    <a:pt x="96" y="83"/>
                  </a:cubicBezTo>
                  <a:cubicBezTo>
                    <a:pt x="95" y="83"/>
                    <a:pt x="13" y="11"/>
                    <a:pt x="13" y="10"/>
                  </a:cubicBezTo>
                  <a:cubicBezTo>
                    <a:pt x="13" y="10"/>
                    <a:pt x="13" y="10"/>
                    <a:pt x="13" y="10"/>
                  </a:cubicBezTo>
                  <a:cubicBezTo>
                    <a:pt x="15" y="8"/>
                    <a:pt x="15" y="6"/>
                    <a:pt x="14" y="3"/>
                  </a:cubicBezTo>
                  <a:cubicBezTo>
                    <a:pt x="13" y="1"/>
                    <a:pt x="10" y="0"/>
                    <a:pt x="8"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8" name="Freeform 10"/>
            <p:cNvSpPr>
              <a:spLocks noEditPoints="1"/>
            </p:cNvSpPr>
            <p:nvPr/>
          </p:nvSpPr>
          <p:spPr bwMode="auto">
            <a:xfrm>
              <a:off x="6415088" y="4025900"/>
              <a:ext cx="315913" cy="323850"/>
            </a:xfrm>
            <a:custGeom>
              <a:avLst/>
              <a:gdLst>
                <a:gd name="T0" fmla="*/ 14 w 84"/>
                <a:gd name="T1" fmla="*/ 43 h 86"/>
                <a:gd name="T2" fmla="*/ 45 w 84"/>
                <a:gd name="T3" fmla="*/ 13 h 86"/>
                <a:gd name="T4" fmla="*/ 45 w 84"/>
                <a:gd name="T5" fmla="*/ 13 h 86"/>
                <a:gd name="T6" fmla="*/ 45 w 84"/>
                <a:gd name="T7" fmla="*/ 13 h 86"/>
                <a:gd name="T8" fmla="*/ 49 w 84"/>
                <a:gd name="T9" fmla="*/ 14 h 86"/>
                <a:gd name="T10" fmla="*/ 52 w 84"/>
                <a:gd name="T11" fmla="*/ 14 h 86"/>
                <a:gd name="T12" fmla="*/ 52 w 84"/>
                <a:gd name="T13" fmla="*/ 14 h 86"/>
                <a:gd name="T14" fmla="*/ 52 w 84"/>
                <a:gd name="T15" fmla="*/ 14 h 86"/>
                <a:gd name="T16" fmla="*/ 76 w 84"/>
                <a:gd name="T17" fmla="*/ 49 h 86"/>
                <a:gd name="T18" fmla="*/ 76 w 84"/>
                <a:gd name="T19" fmla="*/ 49 h 86"/>
                <a:gd name="T20" fmla="*/ 74 w 84"/>
                <a:gd name="T21" fmla="*/ 53 h 86"/>
                <a:gd name="T22" fmla="*/ 74 w 84"/>
                <a:gd name="T23" fmla="*/ 55 h 86"/>
                <a:gd name="T24" fmla="*/ 74 w 84"/>
                <a:gd name="T25" fmla="*/ 55 h 86"/>
                <a:gd name="T26" fmla="*/ 42 w 84"/>
                <a:gd name="T27" fmla="*/ 80 h 86"/>
                <a:gd name="T28" fmla="*/ 42 w 84"/>
                <a:gd name="T29" fmla="*/ 80 h 86"/>
                <a:gd name="T30" fmla="*/ 42 w 84"/>
                <a:gd name="T31" fmla="*/ 80 h 86"/>
                <a:gd name="T32" fmla="*/ 39 w 84"/>
                <a:gd name="T33" fmla="*/ 79 h 86"/>
                <a:gd name="T34" fmla="*/ 37 w 84"/>
                <a:gd name="T35" fmla="*/ 79 h 86"/>
                <a:gd name="T36" fmla="*/ 37 w 84"/>
                <a:gd name="T37" fmla="*/ 79 h 86"/>
                <a:gd name="T38" fmla="*/ 37 w 84"/>
                <a:gd name="T39" fmla="*/ 79 h 86"/>
                <a:gd name="T40" fmla="*/ 37 w 84"/>
                <a:gd name="T41" fmla="*/ 79 h 86"/>
                <a:gd name="T42" fmla="*/ 14 w 84"/>
                <a:gd name="T43" fmla="*/ 52 h 86"/>
                <a:gd name="T44" fmla="*/ 14 w 84"/>
                <a:gd name="T45" fmla="*/ 52 h 86"/>
                <a:gd name="T46" fmla="*/ 15 w 84"/>
                <a:gd name="T47" fmla="*/ 48 h 86"/>
                <a:gd name="T48" fmla="*/ 14 w 84"/>
                <a:gd name="T49" fmla="*/ 43 h 86"/>
                <a:gd name="T50" fmla="*/ 14 w 84"/>
                <a:gd name="T51" fmla="*/ 43 h 86"/>
                <a:gd name="T52" fmla="*/ 49 w 84"/>
                <a:gd name="T53" fmla="*/ 0 h 86"/>
                <a:gd name="T54" fmla="*/ 46 w 84"/>
                <a:gd name="T55" fmla="*/ 0 h 86"/>
                <a:gd name="T56" fmla="*/ 42 w 84"/>
                <a:gd name="T57" fmla="*/ 10 h 86"/>
                <a:gd name="T58" fmla="*/ 43 w 84"/>
                <a:gd name="T59" fmla="*/ 11 h 86"/>
                <a:gd name="T60" fmla="*/ 43 w 84"/>
                <a:gd name="T61" fmla="*/ 11 h 86"/>
                <a:gd name="T62" fmla="*/ 12 w 84"/>
                <a:gd name="T63" fmla="*/ 42 h 86"/>
                <a:gd name="T64" fmla="*/ 12 w 84"/>
                <a:gd name="T65" fmla="*/ 42 h 86"/>
                <a:gd name="T66" fmla="*/ 12 w 84"/>
                <a:gd name="T67" fmla="*/ 42 h 86"/>
                <a:gd name="T68" fmla="*/ 8 w 84"/>
                <a:gd name="T69" fmla="*/ 40 h 86"/>
                <a:gd name="T70" fmla="*/ 0 w 84"/>
                <a:gd name="T71" fmla="*/ 48 h 86"/>
                <a:gd name="T72" fmla="*/ 8 w 84"/>
                <a:gd name="T73" fmla="*/ 55 h 86"/>
                <a:gd name="T74" fmla="*/ 12 w 84"/>
                <a:gd name="T75" fmla="*/ 54 h 86"/>
                <a:gd name="T76" fmla="*/ 12 w 84"/>
                <a:gd name="T77" fmla="*/ 54 h 86"/>
                <a:gd name="T78" fmla="*/ 12 w 84"/>
                <a:gd name="T79" fmla="*/ 54 h 86"/>
                <a:gd name="T80" fmla="*/ 36 w 84"/>
                <a:gd name="T81" fmla="*/ 80 h 86"/>
                <a:gd name="T82" fmla="*/ 36 w 84"/>
                <a:gd name="T83" fmla="*/ 80 h 86"/>
                <a:gd name="T84" fmla="*/ 35 w 84"/>
                <a:gd name="T85" fmla="*/ 84 h 86"/>
                <a:gd name="T86" fmla="*/ 39 w 84"/>
                <a:gd name="T87" fmla="*/ 86 h 86"/>
                <a:gd name="T88" fmla="*/ 41 w 84"/>
                <a:gd name="T89" fmla="*/ 86 h 86"/>
                <a:gd name="T90" fmla="*/ 43 w 84"/>
                <a:gd name="T91" fmla="*/ 81 h 86"/>
                <a:gd name="T92" fmla="*/ 42 w 84"/>
                <a:gd name="T93" fmla="*/ 81 h 86"/>
                <a:gd name="T94" fmla="*/ 42 w 84"/>
                <a:gd name="T95" fmla="*/ 81 h 86"/>
                <a:gd name="T96" fmla="*/ 75 w 84"/>
                <a:gd name="T97" fmla="*/ 56 h 86"/>
                <a:gd name="T98" fmla="*/ 75 w 84"/>
                <a:gd name="T99" fmla="*/ 56 h 86"/>
                <a:gd name="T100" fmla="*/ 75 w 84"/>
                <a:gd name="T101" fmla="*/ 56 h 86"/>
                <a:gd name="T102" fmla="*/ 79 w 84"/>
                <a:gd name="T103" fmla="*/ 58 h 86"/>
                <a:gd name="T104" fmla="*/ 84 w 84"/>
                <a:gd name="T105" fmla="*/ 53 h 86"/>
                <a:gd name="T106" fmla="*/ 79 w 84"/>
                <a:gd name="T107" fmla="*/ 48 h 86"/>
                <a:gd name="T108" fmla="*/ 77 w 84"/>
                <a:gd name="T109" fmla="*/ 48 h 86"/>
                <a:gd name="T110" fmla="*/ 77 w 84"/>
                <a:gd name="T111" fmla="*/ 48 h 86"/>
                <a:gd name="T112" fmla="*/ 54 w 84"/>
                <a:gd name="T113" fmla="*/ 13 h 86"/>
                <a:gd name="T114" fmla="*/ 54 w 84"/>
                <a:gd name="T115" fmla="*/ 13 h 86"/>
                <a:gd name="T116" fmla="*/ 56 w 84"/>
                <a:gd name="T117" fmla="*/ 4 h 86"/>
                <a:gd name="T118" fmla="*/ 49 w 84"/>
                <a:gd name="T11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6">
                  <a:moveTo>
                    <a:pt x="14" y="43"/>
                  </a:moveTo>
                  <a:cubicBezTo>
                    <a:pt x="13" y="42"/>
                    <a:pt x="43" y="13"/>
                    <a:pt x="45" y="13"/>
                  </a:cubicBezTo>
                  <a:cubicBezTo>
                    <a:pt x="45" y="13"/>
                    <a:pt x="45" y="13"/>
                    <a:pt x="45" y="13"/>
                  </a:cubicBezTo>
                  <a:cubicBezTo>
                    <a:pt x="45" y="13"/>
                    <a:pt x="45" y="13"/>
                    <a:pt x="45" y="13"/>
                  </a:cubicBezTo>
                  <a:cubicBezTo>
                    <a:pt x="46" y="14"/>
                    <a:pt x="48" y="14"/>
                    <a:pt x="49" y="14"/>
                  </a:cubicBezTo>
                  <a:cubicBezTo>
                    <a:pt x="50" y="14"/>
                    <a:pt x="51" y="14"/>
                    <a:pt x="52" y="14"/>
                  </a:cubicBezTo>
                  <a:cubicBezTo>
                    <a:pt x="52" y="14"/>
                    <a:pt x="52" y="14"/>
                    <a:pt x="52" y="14"/>
                  </a:cubicBezTo>
                  <a:cubicBezTo>
                    <a:pt x="52" y="14"/>
                    <a:pt x="52" y="14"/>
                    <a:pt x="52" y="14"/>
                  </a:cubicBezTo>
                  <a:cubicBezTo>
                    <a:pt x="54" y="14"/>
                    <a:pt x="76" y="48"/>
                    <a:pt x="76" y="49"/>
                  </a:cubicBezTo>
                  <a:cubicBezTo>
                    <a:pt x="76" y="49"/>
                    <a:pt x="76" y="49"/>
                    <a:pt x="76" y="49"/>
                  </a:cubicBezTo>
                  <a:cubicBezTo>
                    <a:pt x="75" y="50"/>
                    <a:pt x="74" y="51"/>
                    <a:pt x="74" y="53"/>
                  </a:cubicBezTo>
                  <a:cubicBezTo>
                    <a:pt x="74" y="54"/>
                    <a:pt x="74" y="54"/>
                    <a:pt x="74" y="55"/>
                  </a:cubicBezTo>
                  <a:cubicBezTo>
                    <a:pt x="74" y="55"/>
                    <a:pt x="74" y="55"/>
                    <a:pt x="74" y="55"/>
                  </a:cubicBezTo>
                  <a:cubicBezTo>
                    <a:pt x="75" y="56"/>
                    <a:pt x="43" y="80"/>
                    <a:pt x="42" y="80"/>
                  </a:cubicBezTo>
                  <a:cubicBezTo>
                    <a:pt x="42" y="80"/>
                    <a:pt x="42" y="80"/>
                    <a:pt x="42" y="80"/>
                  </a:cubicBezTo>
                  <a:cubicBezTo>
                    <a:pt x="42" y="80"/>
                    <a:pt x="42" y="80"/>
                    <a:pt x="42" y="80"/>
                  </a:cubicBezTo>
                  <a:cubicBezTo>
                    <a:pt x="41" y="79"/>
                    <a:pt x="40" y="79"/>
                    <a:pt x="39" y="79"/>
                  </a:cubicBezTo>
                  <a:cubicBezTo>
                    <a:pt x="38" y="79"/>
                    <a:pt x="38" y="79"/>
                    <a:pt x="37" y="79"/>
                  </a:cubicBezTo>
                  <a:cubicBezTo>
                    <a:pt x="37" y="79"/>
                    <a:pt x="37" y="79"/>
                    <a:pt x="37" y="79"/>
                  </a:cubicBezTo>
                  <a:cubicBezTo>
                    <a:pt x="37" y="79"/>
                    <a:pt x="37" y="79"/>
                    <a:pt x="37" y="79"/>
                  </a:cubicBezTo>
                  <a:cubicBezTo>
                    <a:pt x="37" y="79"/>
                    <a:pt x="37" y="79"/>
                    <a:pt x="37" y="79"/>
                  </a:cubicBezTo>
                  <a:cubicBezTo>
                    <a:pt x="36" y="79"/>
                    <a:pt x="13" y="54"/>
                    <a:pt x="14" y="52"/>
                  </a:cubicBezTo>
                  <a:cubicBezTo>
                    <a:pt x="14" y="52"/>
                    <a:pt x="14" y="52"/>
                    <a:pt x="14" y="52"/>
                  </a:cubicBezTo>
                  <a:cubicBezTo>
                    <a:pt x="15" y="51"/>
                    <a:pt x="15" y="49"/>
                    <a:pt x="15" y="48"/>
                  </a:cubicBezTo>
                  <a:cubicBezTo>
                    <a:pt x="15" y="46"/>
                    <a:pt x="15" y="44"/>
                    <a:pt x="14" y="43"/>
                  </a:cubicBezTo>
                  <a:cubicBezTo>
                    <a:pt x="14" y="43"/>
                    <a:pt x="14" y="43"/>
                    <a:pt x="14" y="43"/>
                  </a:cubicBezTo>
                  <a:moveTo>
                    <a:pt x="49" y="0"/>
                  </a:moveTo>
                  <a:cubicBezTo>
                    <a:pt x="48" y="0"/>
                    <a:pt x="47" y="0"/>
                    <a:pt x="46" y="0"/>
                  </a:cubicBezTo>
                  <a:cubicBezTo>
                    <a:pt x="42" y="2"/>
                    <a:pt x="41" y="7"/>
                    <a:pt x="42" y="10"/>
                  </a:cubicBezTo>
                  <a:cubicBezTo>
                    <a:pt x="43" y="11"/>
                    <a:pt x="43" y="11"/>
                    <a:pt x="43" y="11"/>
                  </a:cubicBezTo>
                  <a:cubicBezTo>
                    <a:pt x="43" y="11"/>
                    <a:pt x="43" y="11"/>
                    <a:pt x="43" y="11"/>
                  </a:cubicBezTo>
                  <a:cubicBezTo>
                    <a:pt x="44" y="13"/>
                    <a:pt x="14" y="42"/>
                    <a:pt x="12" y="42"/>
                  </a:cubicBezTo>
                  <a:cubicBezTo>
                    <a:pt x="12" y="42"/>
                    <a:pt x="12" y="42"/>
                    <a:pt x="12" y="42"/>
                  </a:cubicBezTo>
                  <a:cubicBezTo>
                    <a:pt x="12" y="42"/>
                    <a:pt x="12" y="42"/>
                    <a:pt x="12" y="42"/>
                  </a:cubicBezTo>
                  <a:cubicBezTo>
                    <a:pt x="11" y="41"/>
                    <a:pt x="9" y="40"/>
                    <a:pt x="8" y="40"/>
                  </a:cubicBezTo>
                  <a:cubicBezTo>
                    <a:pt x="4" y="40"/>
                    <a:pt x="0" y="44"/>
                    <a:pt x="0" y="48"/>
                  </a:cubicBezTo>
                  <a:cubicBezTo>
                    <a:pt x="0" y="52"/>
                    <a:pt x="4" y="55"/>
                    <a:pt x="8" y="55"/>
                  </a:cubicBezTo>
                  <a:cubicBezTo>
                    <a:pt x="9" y="55"/>
                    <a:pt x="11" y="55"/>
                    <a:pt x="12" y="54"/>
                  </a:cubicBezTo>
                  <a:cubicBezTo>
                    <a:pt x="12" y="54"/>
                    <a:pt x="12" y="54"/>
                    <a:pt x="12" y="54"/>
                  </a:cubicBezTo>
                  <a:cubicBezTo>
                    <a:pt x="12" y="54"/>
                    <a:pt x="12" y="54"/>
                    <a:pt x="12" y="54"/>
                  </a:cubicBezTo>
                  <a:cubicBezTo>
                    <a:pt x="14" y="54"/>
                    <a:pt x="36" y="79"/>
                    <a:pt x="36" y="80"/>
                  </a:cubicBezTo>
                  <a:cubicBezTo>
                    <a:pt x="36" y="80"/>
                    <a:pt x="36" y="80"/>
                    <a:pt x="36" y="80"/>
                  </a:cubicBezTo>
                  <a:cubicBezTo>
                    <a:pt x="35" y="81"/>
                    <a:pt x="35" y="83"/>
                    <a:pt x="35" y="84"/>
                  </a:cubicBezTo>
                  <a:cubicBezTo>
                    <a:pt x="36" y="85"/>
                    <a:pt x="37" y="86"/>
                    <a:pt x="39" y="86"/>
                  </a:cubicBezTo>
                  <a:cubicBezTo>
                    <a:pt x="40" y="86"/>
                    <a:pt x="40" y="86"/>
                    <a:pt x="41" y="86"/>
                  </a:cubicBezTo>
                  <a:cubicBezTo>
                    <a:pt x="43" y="85"/>
                    <a:pt x="44" y="83"/>
                    <a:pt x="43" y="81"/>
                  </a:cubicBezTo>
                  <a:cubicBezTo>
                    <a:pt x="42" y="81"/>
                    <a:pt x="42" y="81"/>
                    <a:pt x="42" y="81"/>
                  </a:cubicBezTo>
                  <a:cubicBezTo>
                    <a:pt x="42" y="81"/>
                    <a:pt x="42" y="81"/>
                    <a:pt x="42" y="81"/>
                  </a:cubicBezTo>
                  <a:cubicBezTo>
                    <a:pt x="42" y="80"/>
                    <a:pt x="74" y="56"/>
                    <a:pt x="75" y="56"/>
                  </a:cubicBezTo>
                  <a:cubicBezTo>
                    <a:pt x="75" y="56"/>
                    <a:pt x="75" y="56"/>
                    <a:pt x="75" y="56"/>
                  </a:cubicBezTo>
                  <a:cubicBezTo>
                    <a:pt x="75" y="56"/>
                    <a:pt x="75" y="56"/>
                    <a:pt x="75" y="56"/>
                  </a:cubicBezTo>
                  <a:cubicBezTo>
                    <a:pt x="76" y="57"/>
                    <a:pt x="78" y="58"/>
                    <a:pt x="79" y="58"/>
                  </a:cubicBezTo>
                  <a:cubicBezTo>
                    <a:pt x="82" y="58"/>
                    <a:pt x="84" y="55"/>
                    <a:pt x="84" y="53"/>
                  </a:cubicBezTo>
                  <a:cubicBezTo>
                    <a:pt x="84" y="50"/>
                    <a:pt x="82" y="48"/>
                    <a:pt x="79" y="48"/>
                  </a:cubicBezTo>
                  <a:cubicBezTo>
                    <a:pt x="78" y="48"/>
                    <a:pt x="78" y="48"/>
                    <a:pt x="77" y="48"/>
                  </a:cubicBezTo>
                  <a:cubicBezTo>
                    <a:pt x="77" y="48"/>
                    <a:pt x="77" y="48"/>
                    <a:pt x="77" y="48"/>
                  </a:cubicBezTo>
                  <a:cubicBezTo>
                    <a:pt x="76" y="48"/>
                    <a:pt x="53" y="14"/>
                    <a:pt x="54" y="13"/>
                  </a:cubicBezTo>
                  <a:cubicBezTo>
                    <a:pt x="54" y="13"/>
                    <a:pt x="54" y="13"/>
                    <a:pt x="54" y="13"/>
                  </a:cubicBezTo>
                  <a:cubicBezTo>
                    <a:pt x="57" y="11"/>
                    <a:pt x="58" y="7"/>
                    <a:pt x="56" y="4"/>
                  </a:cubicBezTo>
                  <a:cubicBezTo>
                    <a:pt x="55" y="1"/>
                    <a:pt x="52" y="0"/>
                    <a:pt x="49"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 name="Freeform 11"/>
            <p:cNvSpPr>
              <a:spLocks/>
            </p:cNvSpPr>
            <p:nvPr/>
          </p:nvSpPr>
          <p:spPr bwMode="auto">
            <a:xfrm>
              <a:off x="4856163" y="2439988"/>
              <a:ext cx="87313" cy="74613"/>
            </a:xfrm>
            <a:custGeom>
              <a:avLst/>
              <a:gdLst>
                <a:gd name="T0" fmla="*/ 12 w 23"/>
                <a:gd name="T1" fmla="*/ 0 h 20"/>
                <a:gd name="T2" fmla="*/ 7 w 23"/>
                <a:gd name="T3" fmla="*/ 1 h 20"/>
                <a:gd name="T4" fmla="*/ 3 w 23"/>
                <a:gd name="T5" fmla="*/ 14 h 20"/>
                <a:gd name="T6" fmla="*/ 12 w 23"/>
                <a:gd name="T7" fmla="*/ 20 h 20"/>
                <a:gd name="T8" fmla="*/ 16 w 23"/>
                <a:gd name="T9" fmla="*/ 19 h 20"/>
                <a:gd name="T10" fmla="*/ 21 w 23"/>
                <a:gd name="T11" fmla="*/ 6 h 20"/>
                <a:gd name="T12" fmla="*/ 12 w 2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3" h="20">
                  <a:moveTo>
                    <a:pt x="12" y="0"/>
                  </a:moveTo>
                  <a:cubicBezTo>
                    <a:pt x="10" y="0"/>
                    <a:pt x="9" y="1"/>
                    <a:pt x="7" y="1"/>
                  </a:cubicBezTo>
                  <a:cubicBezTo>
                    <a:pt x="2" y="4"/>
                    <a:pt x="0" y="9"/>
                    <a:pt x="3" y="14"/>
                  </a:cubicBezTo>
                  <a:cubicBezTo>
                    <a:pt x="4" y="18"/>
                    <a:pt x="8" y="20"/>
                    <a:pt x="12" y="20"/>
                  </a:cubicBezTo>
                  <a:cubicBezTo>
                    <a:pt x="13" y="20"/>
                    <a:pt x="15" y="19"/>
                    <a:pt x="16" y="19"/>
                  </a:cubicBezTo>
                  <a:cubicBezTo>
                    <a:pt x="21" y="16"/>
                    <a:pt x="23" y="11"/>
                    <a:pt x="21" y="6"/>
                  </a:cubicBezTo>
                  <a:cubicBezTo>
                    <a:pt x="19" y="2"/>
                    <a:pt x="15" y="0"/>
                    <a:pt x="12"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0" name="Freeform 12"/>
            <p:cNvSpPr>
              <a:spLocks noEditPoints="1"/>
            </p:cNvSpPr>
            <p:nvPr/>
          </p:nvSpPr>
          <p:spPr bwMode="auto">
            <a:xfrm>
              <a:off x="3411538" y="2424113"/>
              <a:ext cx="1062038" cy="1203325"/>
            </a:xfrm>
            <a:custGeom>
              <a:avLst/>
              <a:gdLst>
                <a:gd name="T0" fmla="*/ 138 w 283"/>
                <a:gd name="T1" fmla="*/ 81 h 319"/>
                <a:gd name="T2" fmla="*/ 141 w 283"/>
                <a:gd name="T3" fmla="*/ 80 h 319"/>
                <a:gd name="T4" fmla="*/ 180 w 283"/>
                <a:gd name="T5" fmla="*/ 107 h 319"/>
                <a:gd name="T6" fmla="*/ 178 w 283"/>
                <a:gd name="T7" fmla="*/ 108 h 319"/>
                <a:gd name="T8" fmla="*/ 103 w 283"/>
                <a:gd name="T9" fmla="*/ 101 h 319"/>
                <a:gd name="T10" fmla="*/ 135 w 283"/>
                <a:gd name="T11" fmla="*/ 80 h 319"/>
                <a:gd name="T12" fmla="*/ 199 w 283"/>
                <a:gd name="T13" fmla="*/ 2 h 319"/>
                <a:gd name="T14" fmla="*/ 202 w 283"/>
                <a:gd name="T15" fmla="*/ 34 h 319"/>
                <a:gd name="T16" fmla="*/ 187 w 283"/>
                <a:gd name="T17" fmla="*/ 108 h 319"/>
                <a:gd name="T18" fmla="*/ 184 w 283"/>
                <a:gd name="T19" fmla="*/ 105 h 319"/>
                <a:gd name="T20" fmla="*/ 181 w 283"/>
                <a:gd name="T21" fmla="*/ 106 h 319"/>
                <a:gd name="T22" fmla="*/ 142 w 283"/>
                <a:gd name="T23" fmla="*/ 79 h 319"/>
                <a:gd name="T24" fmla="*/ 136 w 283"/>
                <a:gd name="T25" fmla="*/ 72 h 319"/>
                <a:gd name="T26" fmla="*/ 102 w 283"/>
                <a:gd name="T27" fmla="*/ 99 h 319"/>
                <a:gd name="T28" fmla="*/ 97 w 283"/>
                <a:gd name="T29" fmla="*/ 97 h 319"/>
                <a:gd name="T30" fmla="*/ 97 w 283"/>
                <a:gd name="T31" fmla="*/ 110 h 319"/>
                <a:gd name="T32" fmla="*/ 98 w 283"/>
                <a:gd name="T33" fmla="*/ 110 h 319"/>
                <a:gd name="T34" fmla="*/ 132 w 283"/>
                <a:gd name="T35" fmla="*/ 211 h 319"/>
                <a:gd name="T36" fmla="*/ 144 w 283"/>
                <a:gd name="T37" fmla="*/ 206 h 319"/>
                <a:gd name="T38" fmla="*/ 137 w 283"/>
                <a:gd name="T39" fmla="*/ 202 h 319"/>
                <a:gd name="T40" fmla="*/ 100 w 283"/>
                <a:gd name="T41" fmla="*/ 109 h 319"/>
                <a:gd name="T42" fmla="*/ 102 w 283"/>
                <a:gd name="T43" fmla="*/ 108 h 319"/>
                <a:gd name="T44" fmla="*/ 134 w 283"/>
                <a:gd name="T45" fmla="*/ 134 h 319"/>
                <a:gd name="T46" fmla="*/ 142 w 283"/>
                <a:gd name="T47" fmla="*/ 130 h 319"/>
                <a:gd name="T48" fmla="*/ 135 w 283"/>
                <a:gd name="T49" fmla="*/ 129 h 319"/>
                <a:gd name="T50" fmla="*/ 103 w 283"/>
                <a:gd name="T51" fmla="*/ 106 h 319"/>
                <a:gd name="T52" fmla="*/ 104 w 283"/>
                <a:gd name="T53" fmla="*/ 105 h 319"/>
                <a:gd name="T54" fmla="*/ 179 w 283"/>
                <a:gd name="T55" fmla="*/ 109 h 319"/>
                <a:gd name="T56" fmla="*/ 185 w 283"/>
                <a:gd name="T57" fmla="*/ 113 h 319"/>
                <a:gd name="T58" fmla="*/ 195 w 283"/>
                <a:gd name="T59" fmla="*/ 107 h 319"/>
                <a:gd name="T60" fmla="*/ 164 w 283"/>
                <a:gd name="T61" fmla="*/ 256 h 319"/>
                <a:gd name="T62" fmla="*/ 70 w 283"/>
                <a:gd name="T63" fmla="*/ 189 h 319"/>
                <a:gd name="T64" fmla="*/ 51 w 283"/>
                <a:gd name="T65" fmla="*/ 160 h 319"/>
                <a:gd name="T66" fmla="*/ 41 w 283"/>
                <a:gd name="T67" fmla="*/ 197 h 319"/>
                <a:gd name="T68" fmla="*/ 13 w 283"/>
                <a:gd name="T69" fmla="*/ 269 h 319"/>
                <a:gd name="T70" fmla="*/ 7 w 283"/>
                <a:gd name="T71" fmla="*/ 269 h 319"/>
                <a:gd name="T72" fmla="*/ 15 w 283"/>
                <a:gd name="T73" fmla="*/ 285 h 319"/>
                <a:gd name="T74" fmla="*/ 18 w 283"/>
                <a:gd name="T75" fmla="*/ 282 h 319"/>
                <a:gd name="T76" fmla="*/ 66 w 283"/>
                <a:gd name="T77" fmla="*/ 317 h 319"/>
                <a:gd name="T78" fmla="*/ 79 w 283"/>
                <a:gd name="T79" fmla="*/ 302 h 319"/>
                <a:gd name="T80" fmla="*/ 64 w 283"/>
                <a:gd name="T81" fmla="*/ 304 h 319"/>
                <a:gd name="T82" fmla="*/ 19 w 283"/>
                <a:gd name="T83" fmla="*/ 280 h 319"/>
                <a:gd name="T84" fmla="*/ 15 w 283"/>
                <a:gd name="T85" fmla="*/ 270 h 319"/>
                <a:gd name="T86" fmla="*/ 46 w 283"/>
                <a:gd name="T87" fmla="*/ 200 h 319"/>
                <a:gd name="T88" fmla="*/ 66 w 283"/>
                <a:gd name="T89" fmla="*/ 194 h 319"/>
                <a:gd name="T90" fmla="*/ 161 w 283"/>
                <a:gd name="T91" fmla="*/ 259 h 319"/>
                <a:gd name="T92" fmla="*/ 174 w 283"/>
                <a:gd name="T93" fmla="*/ 280 h 319"/>
                <a:gd name="T94" fmla="*/ 178 w 283"/>
                <a:gd name="T95" fmla="*/ 252 h 319"/>
                <a:gd name="T96" fmla="*/ 263 w 283"/>
                <a:gd name="T97" fmla="*/ 97 h 319"/>
                <a:gd name="T98" fmla="*/ 283 w 283"/>
                <a:gd name="T99" fmla="*/ 94 h 319"/>
                <a:gd name="T100" fmla="*/ 262 w 283"/>
                <a:gd name="T101" fmla="*/ 94 h 319"/>
                <a:gd name="T102" fmla="*/ 207 w 283"/>
                <a:gd name="T103" fmla="*/ 35 h 319"/>
                <a:gd name="T104" fmla="*/ 223 w 283"/>
                <a:gd name="T105" fmla="*/ 1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3" h="319">
                  <a:moveTo>
                    <a:pt x="135" y="80"/>
                  </a:moveTo>
                  <a:cubicBezTo>
                    <a:pt x="135" y="80"/>
                    <a:pt x="135" y="80"/>
                    <a:pt x="135" y="80"/>
                  </a:cubicBezTo>
                  <a:cubicBezTo>
                    <a:pt x="135" y="81"/>
                    <a:pt x="137" y="81"/>
                    <a:pt x="138" y="81"/>
                  </a:cubicBezTo>
                  <a:cubicBezTo>
                    <a:pt x="139" y="81"/>
                    <a:pt x="139" y="81"/>
                    <a:pt x="140" y="81"/>
                  </a:cubicBezTo>
                  <a:cubicBezTo>
                    <a:pt x="141" y="81"/>
                    <a:pt x="141" y="80"/>
                    <a:pt x="142" y="80"/>
                  </a:cubicBezTo>
                  <a:cubicBezTo>
                    <a:pt x="141" y="80"/>
                    <a:pt x="141" y="80"/>
                    <a:pt x="141" y="80"/>
                  </a:cubicBezTo>
                  <a:cubicBezTo>
                    <a:pt x="141" y="80"/>
                    <a:pt x="141" y="80"/>
                    <a:pt x="141" y="80"/>
                  </a:cubicBezTo>
                  <a:cubicBezTo>
                    <a:pt x="143" y="80"/>
                    <a:pt x="180" y="107"/>
                    <a:pt x="180" y="107"/>
                  </a:cubicBezTo>
                  <a:cubicBezTo>
                    <a:pt x="180" y="107"/>
                    <a:pt x="180" y="107"/>
                    <a:pt x="180" y="107"/>
                  </a:cubicBezTo>
                  <a:cubicBezTo>
                    <a:pt x="180" y="108"/>
                    <a:pt x="180" y="108"/>
                    <a:pt x="180" y="108"/>
                  </a:cubicBezTo>
                  <a:cubicBezTo>
                    <a:pt x="180" y="108"/>
                    <a:pt x="180" y="108"/>
                    <a:pt x="180" y="108"/>
                  </a:cubicBezTo>
                  <a:cubicBezTo>
                    <a:pt x="180" y="108"/>
                    <a:pt x="179" y="108"/>
                    <a:pt x="178" y="108"/>
                  </a:cubicBezTo>
                  <a:cubicBezTo>
                    <a:pt x="169" y="108"/>
                    <a:pt x="104" y="104"/>
                    <a:pt x="104" y="103"/>
                  </a:cubicBezTo>
                  <a:cubicBezTo>
                    <a:pt x="104" y="103"/>
                    <a:pt x="104" y="103"/>
                    <a:pt x="104" y="103"/>
                  </a:cubicBezTo>
                  <a:cubicBezTo>
                    <a:pt x="104" y="102"/>
                    <a:pt x="104" y="101"/>
                    <a:pt x="103" y="101"/>
                  </a:cubicBezTo>
                  <a:cubicBezTo>
                    <a:pt x="103" y="101"/>
                    <a:pt x="103" y="101"/>
                    <a:pt x="103" y="101"/>
                  </a:cubicBezTo>
                  <a:cubicBezTo>
                    <a:pt x="103" y="101"/>
                    <a:pt x="103" y="101"/>
                    <a:pt x="103" y="101"/>
                  </a:cubicBezTo>
                  <a:cubicBezTo>
                    <a:pt x="103" y="99"/>
                    <a:pt x="133" y="80"/>
                    <a:pt x="135" y="80"/>
                  </a:cubicBezTo>
                  <a:cubicBezTo>
                    <a:pt x="135" y="80"/>
                    <a:pt x="135" y="80"/>
                    <a:pt x="135" y="80"/>
                  </a:cubicBezTo>
                  <a:moveTo>
                    <a:pt x="207" y="0"/>
                  </a:moveTo>
                  <a:cubicBezTo>
                    <a:pt x="204" y="0"/>
                    <a:pt x="202" y="1"/>
                    <a:pt x="199" y="2"/>
                  </a:cubicBezTo>
                  <a:cubicBezTo>
                    <a:pt x="190" y="6"/>
                    <a:pt x="186" y="16"/>
                    <a:pt x="191" y="25"/>
                  </a:cubicBezTo>
                  <a:cubicBezTo>
                    <a:pt x="193" y="30"/>
                    <a:pt x="197" y="33"/>
                    <a:pt x="202" y="34"/>
                  </a:cubicBezTo>
                  <a:cubicBezTo>
                    <a:pt x="202" y="34"/>
                    <a:pt x="202" y="34"/>
                    <a:pt x="202" y="34"/>
                  </a:cubicBezTo>
                  <a:cubicBezTo>
                    <a:pt x="203" y="34"/>
                    <a:pt x="200" y="67"/>
                    <a:pt x="195" y="107"/>
                  </a:cubicBezTo>
                  <a:cubicBezTo>
                    <a:pt x="191" y="107"/>
                    <a:pt x="188" y="108"/>
                    <a:pt x="188" y="108"/>
                  </a:cubicBezTo>
                  <a:cubicBezTo>
                    <a:pt x="187" y="108"/>
                    <a:pt x="187" y="108"/>
                    <a:pt x="187" y="108"/>
                  </a:cubicBezTo>
                  <a:cubicBezTo>
                    <a:pt x="187" y="108"/>
                    <a:pt x="187" y="108"/>
                    <a:pt x="187" y="108"/>
                  </a:cubicBezTo>
                  <a:cubicBezTo>
                    <a:pt x="187" y="107"/>
                    <a:pt x="187" y="107"/>
                    <a:pt x="187" y="107"/>
                  </a:cubicBezTo>
                  <a:cubicBezTo>
                    <a:pt x="187" y="106"/>
                    <a:pt x="185" y="105"/>
                    <a:pt x="184" y="105"/>
                  </a:cubicBezTo>
                  <a:cubicBezTo>
                    <a:pt x="183" y="105"/>
                    <a:pt x="182" y="105"/>
                    <a:pt x="182" y="106"/>
                  </a:cubicBezTo>
                  <a:cubicBezTo>
                    <a:pt x="181" y="106"/>
                    <a:pt x="181" y="106"/>
                    <a:pt x="181" y="106"/>
                  </a:cubicBezTo>
                  <a:cubicBezTo>
                    <a:pt x="181" y="106"/>
                    <a:pt x="181" y="106"/>
                    <a:pt x="181" y="106"/>
                  </a:cubicBezTo>
                  <a:cubicBezTo>
                    <a:pt x="181" y="106"/>
                    <a:pt x="181" y="106"/>
                    <a:pt x="181" y="106"/>
                  </a:cubicBezTo>
                  <a:cubicBezTo>
                    <a:pt x="179" y="106"/>
                    <a:pt x="142" y="80"/>
                    <a:pt x="142" y="79"/>
                  </a:cubicBezTo>
                  <a:cubicBezTo>
                    <a:pt x="142" y="79"/>
                    <a:pt x="142" y="79"/>
                    <a:pt x="142" y="79"/>
                  </a:cubicBezTo>
                  <a:cubicBezTo>
                    <a:pt x="143" y="78"/>
                    <a:pt x="143" y="76"/>
                    <a:pt x="142" y="75"/>
                  </a:cubicBezTo>
                  <a:cubicBezTo>
                    <a:pt x="142" y="73"/>
                    <a:pt x="140" y="72"/>
                    <a:pt x="138" y="72"/>
                  </a:cubicBezTo>
                  <a:cubicBezTo>
                    <a:pt x="137" y="72"/>
                    <a:pt x="137" y="72"/>
                    <a:pt x="136" y="72"/>
                  </a:cubicBezTo>
                  <a:cubicBezTo>
                    <a:pt x="134" y="74"/>
                    <a:pt x="133" y="76"/>
                    <a:pt x="134" y="79"/>
                  </a:cubicBezTo>
                  <a:cubicBezTo>
                    <a:pt x="134" y="79"/>
                    <a:pt x="134" y="79"/>
                    <a:pt x="134" y="79"/>
                  </a:cubicBezTo>
                  <a:cubicBezTo>
                    <a:pt x="134" y="79"/>
                    <a:pt x="104" y="99"/>
                    <a:pt x="102" y="99"/>
                  </a:cubicBezTo>
                  <a:cubicBezTo>
                    <a:pt x="102" y="99"/>
                    <a:pt x="102" y="99"/>
                    <a:pt x="102" y="99"/>
                  </a:cubicBezTo>
                  <a:cubicBezTo>
                    <a:pt x="102" y="99"/>
                    <a:pt x="102" y="99"/>
                    <a:pt x="102" y="99"/>
                  </a:cubicBezTo>
                  <a:cubicBezTo>
                    <a:pt x="101" y="98"/>
                    <a:pt x="99" y="97"/>
                    <a:pt x="97" y="97"/>
                  </a:cubicBezTo>
                  <a:cubicBezTo>
                    <a:pt x="96" y="97"/>
                    <a:pt x="95" y="97"/>
                    <a:pt x="94" y="97"/>
                  </a:cubicBezTo>
                  <a:cubicBezTo>
                    <a:pt x="91" y="99"/>
                    <a:pt x="89" y="103"/>
                    <a:pt x="91" y="106"/>
                  </a:cubicBezTo>
                  <a:cubicBezTo>
                    <a:pt x="92" y="109"/>
                    <a:pt x="94" y="110"/>
                    <a:pt x="97" y="110"/>
                  </a:cubicBezTo>
                  <a:cubicBezTo>
                    <a:pt x="97" y="110"/>
                    <a:pt x="98" y="110"/>
                    <a:pt x="98" y="110"/>
                  </a:cubicBezTo>
                  <a:cubicBezTo>
                    <a:pt x="98" y="110"/>
                    <a:pt x="98" y="110"/>
                    <a:pt x="98" y="110"/>
                  </a:cubicBezTo>
                  <a:cubicBezTo>
                    <a:pt x="98" y="110"/>
                    <a:pt x="98" y="110"/>
                    <a:pt x="98" y="110"/>
                  </a:cubicBezTo>
                  <a:cubicBezTo>
                    <a:pt x="100" y="110"/>
                    <a:pt x="136" y="202"/>
                    <a:pt x="135" y="203"/>
                  </a:cubicBezTo>
                  <a:cubicBezTo>
                    <a:pt x="135" y="203"/>
                    <a:pt x="135" y="203"/>
                    <a:pt x="135" y="203"/>
                  </a:cubicBezTo>
                  <a:cubicBezTo>
                    <a:pt x="132" y="204"/>
                    <a:pt x="130" y="208"/>
                    <a:pt x="132" y="211"/>
                  </a:cubicBezTo>
                  <a:cubicBezTo>
                    <a:pt x="133" y="214"/>
                    <a:pt x="136" y="215"/>
                    <a:pt x="138" y="215"/>
                  </a:cubicBezTo>
                  <a:cubicBezTo>
                    <a:pt x="139" y="215"/>
                    <a:pt x="140" y="215"/>
                    <a:pt x="141" y="214"/>
                  </a:cubicBezTo>
                  <a:cubicBezTo>
                    <a:pt x="144" y="213"/>
                    <a:pt x="146" y="209"/>
                    <a:pt x="144" y="206"/>
                  </a:cubicBezTo>
                  <a:cubicBezTo>
                    <a:pt x="143" y="203"/>
                    <a:pt x="141" y="202"/>
                    <a:pt x="138" y="202"/>
                  </a:cubicBezTo>
                  <a:cubicBezTo>
                    <a:pt x="138" y="202"/>
                    <a:pt x="137" y="202"/>
                    <a:pt x="137" y="202"/>
                  </a:cubicBezTo>
                  <a:cubicBezTo>
                    <a:pt x="137" y="202"/>
                    <a:pt x="137" y="202"/>
                    <a:pt x="137" y="202"/>
                  </a:cubicBezTo>
                  <a:cubicBezTo>
                    <a:pt x="137" y="202"/>
                    <a:pt x="137" y="202"/>
                    <a:pt x="137" y="202"/>
                  </a:cubicBezTo>
                  <a:cubicBezTo>
                    <a:pt x="135" y="202"/>
                    <a:pt x="99" y="110"/>
                    <a:pt x="100" y="109"/>
                  </a:cubicBezTo>
                  <a:cubicBezTo>
                    <a:pt x="100" y="109"/>
                    <a:pt x="100" y="109"/>
                    <a:pt x="100" y="109"/>
                  </a:cubicBezTo>
                  <a:cubicBezTo>
                    <a:pt x="101" y="109"/>
                    <a:pt x="101" y="108"/>
                    <a:pt x="102" y="108"/>
                  </a:cubicBezTo>
                  <a:cubicBezTo>
                    <a:pt x="102" y="108"/>
                    <a:pt x="102" y="108"/>
                    <a:pt x="102" y="108"/>
                  </a:cubicBezTo>
                  <a:cubicBezTo>
                    <a:pt x="102" y="108"/>
                    <a:pt x="102" y="108"/>
                    <a:pt x="102" y="108"/>
                  </a:cubicBezTo>
                  <a:cubicBezTo>
                    <a:pt x="104" y="108"/>
                    <a:pt x="134" y="129"/>
                    <a:pt x="134" y="130"/>
                  </a:cubicBezTo>
                  <a:cubicBezTo>
                    <a:pt x="134" y="130"/>
                    <a:pt x="134" y="130"/>
                    <a:pt x="134" y="130"/>
                  </a:cubicBezTo>
                  <a:cubicBezTo>
                    <a:pt x="133" y="131"/>
                    <a:pt x="133" y="133"/>
                    <a:pt x="134" y="134"/>
                  </a:cubicBezTo>
                  <a:cubicBezTo>
                    <a:pt x="135" y="136"/>
                    <a:pt x="136" y="137"/>
                    <a:pt x="138" y="137"/>
                  </a:cubicBezTo>
                  <a:cubicBezTo>
                    <a:pt x="139" y="137"/>
                    <a:pt x="139" y="136"/>
                    <a:pt x="140" y="136"/>
                  </a:cubicBezTo>
                  <a:cubicBezTo>
                    <a:pt x="143" y="135"/>
                    <a:pt x="144" y="132"/>
                    <a:pt x="142" y="130"/>
                  </a:cubicBezTo>
                  <a:cubicBezTo>
                    <a:pt x="142" y="128"/>
                    <a:pt x="140" y="127"/>
                    <a:pt x="138" y="127"/>
                  </a:cubicBezTo>
                  <a:cubicBezTo>
                    <a:pt x="137" y="127"/>
                    <a:pt x="137" y="127"/>
                    <a:pt x="136" y="128"/>
                  </a:cubicBezTo>
                  <a:cubicBezTo>
                    <a:pt x="136" y="128"/>
                    <a:pt x="135" y="128"/>
                    <a:pt x="135" y="129"/>
                  </a:cubicBezTo>
                  <a:cubicBezTo>
                    <a:pt x="135" y="129"/>
                    <a:pt x="135" y="129"/>
                    <a:pt x="135" y="129"/>
                  </a:cubicBezTo>
                  <a:cubicBezTo>
                    <a:pt x="135" y="129"/>
                    <a:pt x="135" y="129"/>
                    <a:pt x="135" y="129"/>
                  </a:cubicBezTo>
                  <a:cubicBezTo>
                    <a:pt x="133" y="129"/>
                    <a:pt x="103" y="108"/>
                    <a:pt x="103" y="106"/>
                  </a:cubicBezTo>
                  <a:cubicBezTo>
                    <a:pt x="103" y="106"/>
                    <a:pt x="103" y="106"/>
                    <a:pt x="103" y="106"/>
                  </a:cubicBezTo>
                  <a:cubicBezTo>
                    <a:pt x="103" y="106"/>
                    <a:pt x="104" y="105"/>
                    <a:pt x="104" y="105"/>
                  </a:cubicBezTo>
                  <a:cubicBezTo>
                    <a:pt x="104" y="105"/>
                    <a:pt x="104" y="105"/>
                    <a:pt x="104" y="105"/>
                  </a:cubicBezTo>
                  <a:cubicBezTo>
                    <a:pt x="104" y="105"/>
                    <a:pt x="105" y="105"/>
                    <a:pt x="106" y="105"/>
                  </a:cubicBezTo>
                  <a:cubicBezTo>
                    <a:pt x="120" y="105"/>
                    <a:pt x="179" y="109"/>
                    <a:pt x="179" y="109"/>
                  </a:cubicBezTo>
                  <a:cubicBezTo>
                    <a:pt x="179" y="109"/>
                    <a:pt x="179" y="109"/>
                    <a:pt x="179" y="109"/>
                  </a:cubicBezTo>
                  <a:cubicBezTo>
                    <a:pt x="180" y="110"/>
                    <a:pt x="180" y="110"/>
                    <a:pt x="180" y="111"/>
                  </a:cubicBezTo>
                  <a:cubicBezTo>
                    <a:pt x="181" y="112"/>
                    <a:pt x="182" y="113"/>
                    <a:pt x="184" y="113"/>
                  </a:cubicBezTo>
                  <a:cubicBezTo>
                    <a:pt x="184" y="113"/>
                    <a:pt x="185" y="113"/>
                    <a:pt x="185" y="113"/>
                  </a:cubicBezTo>
                  <a:cubicBezTo>
                    <a:pt x="187" y="112"/>
                    <a:pt x="188" y="110"/>
                    <a:pt x="188" y="109"/>
                  </a:cubicBezTo>
                  <a:cubicBezTo>
                    <a:pt x="188" y="109"/>
                    <a:pt x="188" y="109"/>
                    <a:pt x="188" y="109"/>
                  </a:cubicBezTo>
                  <a:cubicBezTo>
                    <a:pt x="188" y="109"/>
                    <a:pt x="190" y="108"/>
                    <a:pt x="195" y="107"/>
                  </a:cubicBezTo>
                  <a:cubicBezTo>
                    <a:pt x="187" y="171"/>
                    <a:pt x="176" y="252"/>
                    <a:pt x="174" y="252"/>
                  </a:cubicBezTo>
                  <a:cubicBezTo>
                    <a:pt x="174" y="252"/>
                    <a:pt x="174" y="252"/>
                    <a:pt x="174" y="252"/>
                  </a:cubicBezTo>
                  <a:cubicBezTo>
                    <a:pt x="170" y="252"/>
                    <a:pt x="167" y="253"/>
                    <a:pt x="164" y="256"/>
                  </a:cubicBezTo>
                  <a:cubicBezTo>
                    <a:pt x="164" y="256"/>
                    <a:pt x="164" y="256"/>
                    <a:pt x="164" y="256"/>
                  </a:cubicBezTo>
                  <a:cubicBezTo>
                    <a:pt x="164" y="256"/>
                    <a:pt x="164" y="256"/>
                    <a:pt x="164" y="256"/>
                  </a:cubicBezTo>
                  <a:cubicBezTo>
                    <a:pt x="159" y="256"/>
                    <a:pt x="68" y="193"/>
                    <a:pt x="70" y="189"/>
                  </a:cubicBezTo>
                  <a:cubicBezTo>
                    <a:pt x="70" y="189"/>
                    <a:pt x="70" y="189"/>
                    <a:pt x="70" y="189"/>
                  </a:cubicBezTo>
                  <a:cubicBezTo>
                    <a:pt x="74" y="181"/>
                    <a:pt x="72" y="170"/>
                    <a:pt x="64" y="164"/>
                  </a:cubicBezTo>
                  <a:cubicBezTo>
                    <a:pt x="61" y="161"/>
                    <a:pt x="56" y="160"/>
                    <a:pt x="51" y="160"/>
                  </a:cubicBezTo>
                  <a:cubicBezTo>
                    <a:pt x="45" y="160"/>
                    <a:pt x="39" y="162"/>
                    <a:pt x="35" y="167"/>
                  </a:cubicBezTo>
                  <a:cubicBezTo>
                    <a:pt x="27" y="176"/>
                    <a:pt x="29" y="188"/>
                    <a:pt x="38" y="195"/>
                  </a:cubicBezTo>
                  <a:cubicBezTo>
                    <a:pt x="39" y="196"/>
                    <a:pt x="40" y="197"/>
                    <a:pt x="41" y="197"/>
                  </a:cubicBezTo>
                  <a:cubicBezTo>
                    <a:pt x="40" y="197"/>
                    <a:pt x="40" y="197"/>
                    <a:pt x="40" y="197"/>
                  </a:cubicBezTo>
                  <a:cubicBezTo>
                    <a:pt x="44" y="199"/>
                    <a:pt x="15" y="269"/>
                    <a:pt x="13" y="269"/>
                  </a:cubicBezTo>
                  <a:cubicBezTo>
                    <a:pt x="13" y="269"/>
                    <a:pt x="13" y="269"/>
                    <a:pt x="13" y="269"/>
                  </a:cubicBezTo>
                  <a:cubicBezTo>
                    <a:pt x="13" y="269"/>
                    <a:pt x="13" y="269"/>
                    <a:pt x="13" y="269"/>
                  </a:cubicBezTo>
                  <a:cubicBezTo>
                    <a:pt x="12" y="269"/>
                    <a:pt x="11" y="268"/>
                    <a:pt x="11" y="268"/>
                  </a:cubicBezTo>
                  <a:cubicBezTo>
                    <a:pt x="9" y="268"/>
                    <a:pt x="8" y="269"/>
                    <a:pt x="7" y="269"/>
                  </a:cubicBezTo>
                  <a:cubicBezTo>
                    <a:pt x="2" y="271"/>
                    <a:pt x="0" y="277"/>
                    <a:pt x="2" y="281"/>
                  </a:cubicBezTo>
                  <a:cubicBezTo>
                    <a:pt x="4" y="284"/>
                    <a:pt x="7" y="286"/>
                    <a:pt x="11" y="286"/>
                  </a:cubicBezTo>
                  <a:cubicBezTo>
                    <a:pt x="12" y="286"/>
                    <a:pt x="13" y="286"/>
                    <a:pt x="15" y="285"/>
                  </a:cubicBezTo>
                  <a:cubicBezTo>
                    <a:pt x="16" y="284"/>
                    <a:pt x="17" y="284"/>
                    <a:pt x="18" y="282"/>
                  </a:cubicBezTo>
                  <a:cubicBezTo>
                    <a:pt x="18" y="283"/>
                    <a:pt x="18" y="283"/>
                    <a:pt x="18" y="283"/>
                  </a:cubicBezTo>
                  <a:cubicBezTo>
                    <a:pt x="18" y="282"/>
                    <a:pt x="18" y="282"/>
                    <a:pt x="18" y="282"/>
                  </a:cubicBezTo>
                  <a:cubicBezTo>
                    <a:pt x="21" y="282"/>
                    <a:pt x="63" y="305"/>
                    <a:pt x="63" y="306"/>
                  </a:cubicBezTo>
                  <a:cubicBezTo>
                    <a:pt x="63" y="306"/>
                    <a:pt x="63" y="306"/>
                    <a:pt x="63" y="306"/>
                  </a:cubicBezTo>
                  <a:cubicBezTo>
                    <a:pt x="61" y="310"/>
                    <a:pt x="62" y="314"/>
                    <a:pt x="66" y="317"/>
                  </a:cubicBezTo>
                  <a:cubicBezTo>
                    <a:pt x="68" y="319"/>
                    <a:pt x="70" y="319"/>
                    <a:pt x="72" y="319"/>
                  </a:cubicBezTo>
                  <a:cubicBezTo>
                    <a:pt x="75" y="319"/>
                    <a:pt x="78" y="318"/>
                    <a:pt x="80" y="316"/>
                  </a:cubicBezTo>
                  <a:cubicBezTo>
                    <a:pt x="83" y="312"/>
                    <a:pt x="83" y="306"/>
                    <a:pt x="79" y="302"/>
                  </a:cubicBezTo>
                  <a:cubicBezTo>
                    <a:pt x="77" y="301"/>
                    <a:pt x="74" y="300"/>
                    <a:pt x="72" y="300"/>
                  </a:cubicBezTo>
                  <a:cubicBezTo>
                    <a:pt x="69" y="300"/>
                    <a:pt x="66" y="301"/>
                    <a:pt x="64" y="304"/>
                  </a:cubicBezTo>
                  <a:cubicBezTo>
                    <a:pt x="64" y="304"/>
                    <a:pt x="64" y="304"/>
                    <a:pt x="64" y="304"/>
                  </a:cubicBezTo>
                  <a:cubicBezTo>
                    <a:pt x="64" y="304"/>
                    <a:pt x="64" y="304"/>
                    <a:pt x="64" y="304"/>
                  </a:cubicBezTo>
                  <a:cubicBezTo>
                    <a:pt x="64" y="304"/>
                    <a:pt x="64" y="304"/>
                    <a:pt x="64" y="304"/>
                  </a:cubicBezTo>
                  <a:cubicBezTo>
                    <a:pt x="60" y="304"/>
                    <a:pt x="19" y="282"/>
                    <a:pt x="19" y="280"/>
                  </a:cubicBezTo>
                  <a:cubicBezTo>
                    <a:pt x="19" y="280"/>
                    <a:pt x="19" y="280"/>
                    <a:pt x="19" y="280"/>
                  </a:cubicBezTo>
                  <a:cubicBezTo>
                    <a:pt x="20" y="278"/>
                    <a:pt x="20" y="276"/>
                    <a:pt x="19" y="273"/>
                  </a:cubicBezTo>
                  <a:cubicBezTo>
                    <a:pt x="18" y="272"/>
                    <a:pt x="17" y="271"/>
                    <a:pt x="15" y="270"/>
                  </a:cubicBezTo>
                  <a:cubicBezTo>
                    <a:pt x="15" y="270"/>
                    <a:pt x="15" y="270"/>
                    <a:pt x="15" y="270"/>
                  </a:cubicBezTo>
                  <a:cubicBezTo>
                    <a:pt x="14" y="269"/>
                    <a:pt x="42" y="200"/>
                    <a:pt x="46" y="200"/>
                  </a:cubicBezTo>
                  <a:cubicBezTo>
                    <a:pt x="46" y="200"/>
                    <a:pt x="46" y="200"/>
                    <a:pt x="46" y="200"/>
                  </a:cubicBezTo>
                  <a:cubicBezTo>
                    <a:pt x="46" y="199"/>
                    <a:pt x="46" y="199"/>
                    <a:pt x="46" y="199"/>
                  </a:cubicBezTo>
                  <a:cubicBezTo>
                    <a:pt x="48" y="200"/>
                    <a:pt x="49" y="200"/>
                    <a:pt x="51" y="200"/>
                  </a:cubicBezTo>
                  <a:cubicBezTo>
                    <a:pt x="57" y="200"/>
                    <a:pt x="62" y="198"/>
                    <a:pt x="66" y="194"/>
                  </a:cubicBezTo>
                  <a:cubicBezTo>
                    <a:pt x="66" y="194"/>
                    <a:pt x="66" y="194"/>
                    <a:pt x="66" y="194"/>
                  </a:cubicBezTo>
                  <a:cubicBezTo>
                    <a:pt x="66" y="194"/>
                    <a:pt x="66" y="194"/>
                    <a:pt x="66" y="194"/>
                  </a:cubicBezTo>
                  <a:cubicBezTo>
                    <a:pt x="73" y="194"/>
                    <a:pt x="163" y="257"/>
                    <a:pt x="161" y="259"/>
                  </a:cubicBezTo>
                  <a:cubicBezTo>
                    <a:pt x="161" y="259"/>
                    <a:pt x="161" y="259"/>
                    <a:pt x="161" y="259"/>
                  </a:cubicBezTo>
                  <a:cubicBezTo>
                    <a:pt x="160" y="261"/>
                    <a:pt x="160" y="263"/>
                    <a:pt x="160" y="266"/>
                  </a:cubicBezTo>
                  <a:cubicBezTo>
                    <a:pt x="160" y="273"/>
                    <a:pt x="166" y="280"/>
                    <a:pt x="174" y="280"/>
                  </a:cubicBezTo>
                  <a:cubicBezTo>
                    <a:pt x="182" y="280"/>
                    <a:pt x="189" y="273"/>
                    <a:pt x="189" y="266"/>
                  </a:cubicBezTo>
                  <a:cubicBezTo>
                    <a:pt x="189" y="259"/>
                    <a:pt x="184" y="254"/>
                    <a:pt x="178" y="252"/>
                  </a:cubicBezTo>
                  <a:cubicBezTo>
                    <a:pt x="178" y="252"/>
                    <a:pt x="178" y="252"/>
                    <a:pt x="178" y="252"/>
                  </a:cubicBezTo>
                  <a:cubicBezTo>
                    <a:pt x="177" y="252"/>
                    <a:pt x="187" y="170"/>
                    <a:pt x="195" y="107"/>
                  </a:cubicBezTo>
                  <a:cubicBezTo>
                    <a:pt x="213" y="104"/>
                    <a:pt x="255" y="97"/>
                    <a:pt x="262" y="97"/>
                  </a:cubicBezTo>
                  <a:cubicBezTo>
                    <a:pt x="263" y="97"/>
                    <a:pt x="263" y="97"/>
                    <a:pt x="263" y="97"/>
                  </a:cubicBezTo>
                  <a:cubicBezTo>
                    <a:pt x="263" y="97"/>
                    <a:pt x="263" y="97"/>
                    <a:pt x="263" y="97"/>
                  </a:cubicBezTo>
                  <a:cubicBezTo>
                    <a:pt x="264" y="101"/>
                    <a:pt x="268" y="103"/>
                    <a:pt x="273" y="103"/>
                  </a:cubicBezTo>
                  <a:cubicBezTo>
                    <a:pt x="278" y="103"/>
                    <a:pt x="283" y="99"/>
                    <a:pt x="283" y="94"/>
                  </a:cubicBezTo>
                  <a:cubicBezTo>
                    <a:pt x="283" y="88"/>
                    <a:pt x="278" y="84"/>
                    <a:pt x="273" y="84"/>
                  </a:cubicBezTo>
                  <a:cubicBezTo>
                    <a:pt x="267" y="84"/>
                    <a:pt x="262" y="88"/>
                    <a:pt x="262" y="94"/>
                  </a:cubicBezTo>
                  <a:cubicBezTo>
                    <a:pt x="262" y="94"/>
                    <a:pt x="262" y="94"/>
                    <a:pt x="262" y="94"/>
                  </a:cubicBezTo>
                  <a:cubicBezTo>
                    <a:pt x="262" y="94"/>
                    <a:pt x="262" y="94"/>
                    <a:pt x="262" y="94"/>
                  </a:cubicBezTo>
                  <a:cubicBezTo>
                    <a:pt x="263" y="96"/>
                    <a:pt x="215" y="104"/>
                    <a:pt x="195" y="107"/>
                  </a:cubicBezTo>
                  <a:cubicBezTo>
                    <a:pt x="201" y="67"/>
                    <a:pt x="206" y="35"/>
                    <a:pt x="207" y="35"/>
                  </a:cubicBezTo>
                  <a:cubicBezTo>
                    <a:pt x="207" y="35"/>
                    <a:pt x="207" y="35"/>
                    <a:pt x="207" y="35"/>
                  </a:cubicBezTo>
                  <a:cubicBezTo>
                    <a:pt x="210" y="35"/>
                    <a:pt x="212" y="34"/>
                    <a:pt x="214" y="33"/>
                  </a:cubicBezTo>
                  <a:cubicBezTo>
                    <a:pt x="223" y="29"/>
                    <a:pt x="227" y="19"/>
                    <a:pt x="223" y="10"/>
                  </a:cubicBezTo>
                  <a:cubicBezTo>
                    <a:pt x="220" y="4"/>
                    <a:pt x="214" y="0"/>
                    <a:pt x="207"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1" name="Freeform 13"/>
            <p:cNvSpPr>
              <a:spLocks/>
            </p:cNvSpPr>
            <p:nvPr/>
          </p:nvSpPr>
          <p:spPr bwMode="auto">
            <a:xfrm>
              <a:off x="5762625" y="2805113"/>
              <a:ext cx="36513" cy="30163"/>
            </a:xfrm>
            <a:custGeom>
              <a:avLst/>
              <a:gdLst>
                <a:gd name="T0" fmla="*/ 0 w 10"/>
                <a:gd name="T1" fmla="*/ 0 h 8"/>
                <a:gd name="T2" fmla="*/ 10 w 10"/>
                <a:gd name="T3" fmla="*/ 8 h 8"/>
                <a:gd name="T4" fmla="*/ 0 w 10"/>
                <a:gd name="T5" fmla="*/ 0 h 8"/>
              </a:gdLst>
              <a:ahLst/>
              <a:cxnLst>
                <a:cxn ang="0">
                  <a:pos x="T0" y="T1"/>
                </a:cxn>
                <a:cxn ang="0">
                  <a:pos x="T2" y="T3"/>
                </a:cxn>
                <a:cxn ang="0">
                  <a:pos x="T4" y="T5"/>
                </a:cxn>
              </a:cxnLst>
              <a:rect l="0" t="0" r="r" b="b"/>
              <a:pathLst>
                <a:path w="10" h="8">
                  <a:moveTo>
                    <a:pt x="0" y="0"/>
                  </a:moveTo>
                  <a:cubicBezTo>
                    <a:pt x="3" y="3"/>
                    <a:pt x="6" y="6"/>
                    <a:pt x="10" y="8"/>
                  </a:cubicBezTo>
                  <a:cubicBezTo>
                    <a:pt x="6" y="6"/>
                    <a:pt x="3" y="3"/>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 name="Freeform 14"/>
            <p:cNvSpPr>
              <a:spLocks noEditPoints="1"/>
            </p:cNvSpPr>
            <p:nvPr/>
          </p:nvSpPr>
          <p:spPr bwMode="auto">
            <a:xfrm>
              <a:off x="5799138" y="2613025"/>
              <a:ext cx="241300" cy="293688"/>
            </a:xfrm>
            <a:custGeom>
              <a:avLst/>
              <a:gdLst>
                <a:gd name="T0" fmla="*/ 28 w 64"/>
                <a:gd name="T1" fmla="*/ 13 h 78"/>
                <a:gd name="T2" fmla="*/ 31 w 64"/>
                <a:gd name="T3" fmla="*/ 12 h 78"/>
                <a:gd name="T4" fmla="*/ 31 w 64"/>
                <a:gd name="T5" fmla="*/ 12 h 78"/>
                <a:gd name="T6" fmla="*/ 31 w 64"/>
                <a:gd name="T7" fmla="*/ 12 h 78"/>
                <a:gd name="T8" fmla="*/ 48 w 64"/>
                <a:gd name="T9" fmla="*/ 38 h 78"/>
                <a:gd name="T10" fmla="*/ 48 w 64"/>
                <a:gd name="T11" fmla="*/ 38 h 78"/>
                <a:gd name="T12" fmla="*/ 46 w 64"/>
                <a:gd name="T13" fmla="*/ 49 h 78"/>
                <a:gd name="T14" fmla="*/ 46 w 64"/>
                <a:gd name="T15" fmla="*/ 49 h 78"/>
                <a:gd name="T16" fmla="*/ 46 w 64"/>
                <a:gd name="T17" fmla="*/ 49 h 78"/>
                <a:gd name="T18" fmla="*/ 20 w 64"/>
                <a:gd name="T19" fmla="*/ 70 h 78"/>
                <a:gd name="T20" fmla="*/ 20 w 64"/>
                <a:gd name="T21" fmla="*/ 70 h 78"/>
                <a:gd name="T22" fmla="*/ 20 w 64"/>
                <a:gd name="T23" fmla="*/ 70 h 78"/>
                <a:gd name="T24" fmla="*/ 18 w 64"/>
                <a:gd name="T25" fmla="*/ 69 h 78"/>
                <a:gd name="T26" fmla="*/ 18 w 64"/>
                <a:gd name="T27" fmla="*/ 69 h 78"/>
                <a:gd name="T28" fmla="*/ 28 w 64"/>
                <a:gd name="T29" fmla="*/ 13 h 78"/>
                <a:gd name="T30" fmla="*/ 28 w 64"/>
                <a:gd name="T31" fmla="*/ 13 h 78"/>
                <a:gd name="T32" fmla="*/ 28 w 64"/>
                <a:gd name="T33" fmla="*/ 13 h 78"/>
                <a:gd name="T34" fmla="*/ 28 w 64"/>
                <a:gd name="T35" fmla="*/ 0 h 78"/>
                <a:gd name="T36" fmla="*/ 25 w 64"/>
                <a:gd name="T37" fmla="*/ 0 h 78"/>
                <a:gd name="T38" fmla="*/ 22 w 64"/>
                <a:gd name="T39" fmla="*/ 9 h 78"/>
                <a:gd name="T40" fmla="*/ 26 w 64"/>
                <a:gd name="T41" fmla="*/ 13 h 78"/>
                <a:gd name="T42" fmla="*/ 26 w 64"/>
                <a:gd name="T43" fmla="*/ 13 h 78"/>
                <a:gd name="T44" fmla="*/ 17 w 64"/>
                <a:gd name="T45" fmla="*/ 69 h 78"/>
                <a:gd name="T46" fmla="*/ 17 w 64"/>
                <a:gd name="T47" fmla="*/ 69 h 78"/>
                <a:gd name="T48" fmla="*/ 17 w 64"/>
                <a:gd name="T49" fmla="*/ 69 h 78"/>
                <a:gd name="T50" fmla="*/ 15 w 64"/>
                <a:gd name="T51" fmla="*/ 69 h 78"/>
                <a:gd name="T52" fmla="*/ 13 w 64"/>
                <a:gd name="T53" fmla="*/ 70 h 78"/>
                <a:gd name="T54" fmla="*/ 14 w 64"/>
                <a:gd name="T55" fmla="*/ 70 h 78"/>
                <a:gd name="T56" fmla="*/ 14 w 64"/>
                <a:gd name="T57" fmla="*/ 70 h 78"/>
                <a:gd name="T58" fmla="*/ 0 w 64"/>
                <a:gd name="T59" fmla="*/ 59 h 78"/>
                <a:gd name="T60" fmla="*/ 12 w 64"/>
                <a:gd name="T61" fmla="*/ 71 h 78"/>
                <a:gd name="T62" fmla="*/ 12 w 64"/>
                <a:gd name="T63" fmla="*/ 71 h 78"/>
                <a:gd name="T64" fmla="*/ 12 w 64"/>
                <a:gd name="T65" fmla="*/ 75 h 78"/>
                <a:gd name="T66" fmla="*/ 17 w 64"/>
                <a:gd name="T67" fmla="*/ 78 h 78"/>
                <a:gd name="T68" fmla="*/ 19 w 64"/>
                <a:gd name="T69" fmla="*/ 78 h 78"/>
                <a:gd name="T70" fmla="*/ 21 w 64"/>
                <a:gd name="T71" fmla="*/ 72 h 78"/>
                <a:gd name="T72" fmla="*/ 21 w 64"/>
                <a:gd name="T73" fmla="*/ 71 h 78"/>
                <a:gd name="T74" fmla="*/ 21 w 64"/>
                <a:gd name="T75" fmla="*/ 71 h 78"/>
                <a:gd name="T76" fmla="*/ 48 w 64"/>
                <a:gd name="T77" fmla="*/ 51 h 78"/>
                <a:gd name="T78" fmla="*/ 48 w 64"/>
                <a:gd name="T79" fmla="*/ 51 h 78"/>
                <a:gd name="T80" fmla="*/ 48 w 64"/>
                <a:gd name="T81" fmla="*/ 51 h 78"/>
                <a:gd name="T82" fmla="*/ 54 w 64"/>
                <a:gd name="T83" fmla="*/ 54 h 78"/>
                <a:gd name="T84" fmla="*/ 58 w 64"/>
                <a:gd name="T85" fmla="*/ 53 h 78"/>
                <a:gd name="T86" fmla="*/ 62 w 64"/>
                <a:gd name="T87" fmla="*/ 41 h 78"/>
                <a:gd name="T88" fmla="*/ 54 w 64"/>
                <a:gd name="T89" fmla="*/ 36 h 78"/>
                <a:gd name="T90" fmla="*/ 50 w 64"/>
                <a:gd name="T91" fmla="*/ 37 h 78"/>
                <a:gd name="T92" fmla="*/ 50 w 64"/>
                <a:gd name="T93" fmla="*/ 37 h 78"/>
                <a:gd name="T94" fmla="*/ 50 w 64"/>
                <a:gd name="T95" fmla="*/ 37 h 78"/>
                <a:gd name="T96" fmla="*/ 33 w 64"/>
                <a:gd name="T97" fmla="*/ 11 h 78"/>
                <a:gd name="T98" fmla="*/ 33 w 64"/>
                <a:gd name="T99" fmla="*/ 11 h 78"/>
                <a:gd name="T100" fmla="*/ 34 w 64"/>
                <a:gd name="T101" fmla="*/ 4 h 78"/>
                <a:gd name="T102" fmla="*/ 28 w 64"/>
                <a:gd name="T10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78">
                  <a:moveTo>
                    <a:pt x="28" y="13"/>
                  </a:moveTo>
                  <a:cubicBezTo>
                    <a:pt x="29" y="13"/>
                    <a:pt x="30" y="13"/>
                    <a:pt x="31" y="12"/>
                  </a:cubicBezTo>
                  <a:cubicBezTo>
                    <a:pt x="31" y="12"/>
                    <a:pt x="31" y="12"/>
                    <a:pt x="31" y="12"/>
                  </a:cubicBezTo>
                  <a:cubicBezTo>
                    <a:pt x="31" y="12"/>
                    <a:pt x="31" y="12"/>
                    <a:pt x="31" y="12"/>
                  </a:cubicBezTo>
                  <a:cubicBezTo>
                    <a:pt x="32" y="12"/>
                    <a:pt x="49" y="37"/>
                    <a:pt x="48" y="38"/>
                  </a:cubicBezTo>
                  <a:cubicBezTo>
                    <a:pt x="48" y="38"/>
                    <a:pt x="48" y="38"/>
                    <a:pt x="48" y="38"/>
                  </a:cubicBezTo>
                  <a:cubicBezTo>
                    <a:pt x="45" y="41"/>
                    <a:pt x="44" y="45"/>
                    <a:pt x="46" y="49"/>
                  </a:cubicBezTo>
                  <a:cubicBezTo>
                    <a:pt x="46" y="49"/>
                    <a:pt x="46" y="49"/>
                    <a:pt x="46" y="49"/>
                  </a:cubicBezTo>
                  <a:cubicBezTo>
                    <a:pt x="46" y="49"/>
                    <a:pt x="46" y="49"/>
                    <a:pt x="46" y="49"/>
                  </a:cubicBezTo>
                  <a:cubicBezTo>
                    <a:pt x="47" y="51"/>
                    <a:pt x="21" y="70"/>
                    <a:pt x="20" y="70"/>
                  </a:cubicBezTo>
                  <a:cubicBezTo>
                    <a:pt x="20" y="70"/>
                    <a:pt x="20" y="70"/>
                    <a:pt x="20" y="70"/>
                  </a:cubicBezTo>
                  <a:cubicBezTo>
                    <a:pt x="20" y="70"/>
                    <a:pt x="20" y="70"/>
                    <a:pt x="20" y="70"/>
                  </a:cubicBezTo>
                  <a:cubicBezTo>
                    <a:pt x="19" y="70"/>
                    <a:pt x="19" y="69"/>
                    <a:pt x="18" y="69"/>
                  </a:cubicBezTo>
                  <a:cubicBezTo>
                    <a:pt x="18" y="69"/>
                    <a:pt x="18" y="69"/>
                    <a:pt x="18" y="69"/>
                  </a:cubicBezTo>
                  <a:cubicBezTo>
                    <a:pt x="17" y="69"/>
                    <a:pt x="26" y="13"/>
                    <a:pt x="28" y="13"/>
                  </a:cubicBezTo>
                  <a:cubicBezTo>
                    <a:pt x="28" y="13"/>
                    <a:pt x="28" y="13"/>
                    <a:pt x="28" y="13"/>
                  </a:cubicBezTo>
                  <a:cubicBezTo>
                    <a:pt x="28" y="13"/>
                    <a:pt x="28" y="13"/>
                    <a:pt x="28" y="13"/>
                  </a:cubicBezTo>
                  <a:moveTo>
                    <a:pt x="28" y="0"/>
                  </a:moveTo>
                  <a:cubicBezTo>
                    <a:pt x="27" y="0"/>
                    <a:pt x="26" y="0"/>
                    <a:pt x="25" y="0"/>
                  </a:cubicBezTo>
                  <a:cubicBezTo>
                    <a:pt x="21" y="2"/>
                    <a:pt x="20" y="6"/>
                    <a:pt x="22" y="9"/>
                  </a:cubicBezTo>
                  <a:cubicBezTo>
                    <a:pt x="22" y="11"/>
                    <a:pt x="24" y="12"/>
                    <a:pt x="26" y="13"/>
                  </a:cubicBezTo>
                  <a:cubicBezTo>
                    <a:pt x="26" y="13"/>
                    <a:pt x="26" y="13"/>
                    <a:pt x="26" y="13"/>
                  </a:cubicBezTo>
                  <a:cubicBezTo>
                    <a:pt x="27" y="13"/>
                    <a:pt x="18" y="69"/>
                    <a:pt x="17" y="69"/>
                  </a:cubicBezTo>
                  <a:cubicBezTo>
                    <a:pt x="17" y="69"/>
                    <a:pt x="17" y="69"/>
                    <a:pt x="17" y="69"/>
                  </a:cubicBezTo>
                  <a:cubicBezTo>
                    <a:pt x="17" y="69"/>
                    <a:pt x="17" y="69"/>
                    <a:pt x="17" y="69"/>
                  </a:cubicBezTo>
                  <a:cubicBezTo>
                    <a:pt x="16" y="69"/>
                    <a:pt x="15" y="69"/>
                    <a:pt x="15" y="69"/>
                  </a:cubicBezTo>
                  <a:cubicBezTo>
                    <a:pt x="14" y="70"/>
                    <a:pt x="14" y="70"/>
                    <a:pt x="13" y="70"/>
                  </a:cubicBezTo>
                  <a:cubicBezTo>
                    <a:pt x="14" y="70"/>
                    <a:pt x="14" y="70"/>
                    <a:pt x="14" y="70"/>
                  </a:cubicBezTo>
                  <a:cubicBezTo>
                    <a:pt x="14" y="70"/>
                    <a:pt x="14" y="70"/>
                    <a:pt x="14" y="70"/>
                  </a:cubicBezTo>
                  <a:cubicBezTo>
                    <a:pt x="13" y="70"/>
                    <a:pt x="7" y="65"/>
                    <a:pt x="0" y="59"/>
                  </a:cubicBezTo>
                  <a:cubicBezTo>
                    <a:pt x="7" y="66"/>
                    <a:pt x="13" y="71"/>
                    <a:pt x="12" y="71"/>
                  </a:cubicBezTo>
                  <a:cubicBezTo>
                    <a:pt x="12" y="71"/>
                    <a:pt x="12" y="71"/>
                    <a:pt x="12" y="71"/>
                  </a:cubicBezTo>
                  <a:cubicBezTo>
                    <a:pt x="12" y="72"/>
                    <a:pt x="12" y="74"/>
                    <a:pt x="12" y="75"/>
                  </a:cubicBezTo>
                  <a:cubicBezTo>
                    <a:pt x="13" y="77"/>
                    <a:pt x="15" y="78"/>
                    <a:pt x="17" y="78"/>
                  </a:cubicBezTo>
                  <a:cubicBezTo>
                    <a:pt x="17" y="78"/>
                    <a:pt x="18" y="78"/>
                    <a:pt x="19" y="78"/>
                  </a:cubicBezTo>
                  <a:cubicBezTo>
                    <a:pt x="21" y="77"/>
                    <a:pt x="22" y="74"/>
                    <a:pt x="21" y="72"/>
                  </a:cubicBezTo>
                  <a:cubicBezTo>
                    <a:pt x="21" y="71"/>
                    <a:pt x="21" y="71"/>
                    <a:pt x="21" y="71"/>
                  </a:cubicBezTo>
                  <a:cubicBezTo>
                    <a:pt x="21" y="71"/>
                    <a:pt x="21" y="71"/>
                    <a:pt x="21" y="71"/>
                  </a:cubicBezTo>
                  <a:cubicBezTo>
                    <a:pt x="20" y="70"/>
                    <a:pt x="45" y="51"/>
                    <a:pt x="48" y="51"/>
                  </a:cubicBezTo>
                  <a:cubicBezTo>
                    <a:pt x="48" y="51"/>
                    <a:pt x="48" y="51"/>
                    <a:pt x="48" y="51"/>
                  </a:cubicBezTo>
                  <a:cubicBezTo>
                    <a:pt x="48" y="51"/>
                    <a:pt x="48" y="51"/>
                    <a:pt x="48" y="51"/>
                  </a:cubicBezTo>
                  <a:cubicBezTo>
                    <a:pt x="49" y="53"/>
                    <a:pt x="52" y="54"/>
                    <a:pt x="54" y="54"/>
                  </a:cubicBezTo>
                  <a:cubicBezTo>
                    <a:pt x="55" y="54"/>
                    <a:pt x="57" y="53"/>
                    <a:pt x="58" y="53"/>
                  </a:cubicBezTo>
                  <a:cubicBezTo>
                    <a:pt x="63" y="51"/>
                    <a:pt x="64" y="46"/>
                    <a:pt x="62" y="41"/>
                  </a:cubicBezTo>
                  <a:cubicBezTo>
                    <a:pt x="61" y="38"/>
                    <a:pt x="57" y="36"/>
                    <a:pt x="54" y="36"/>
                  </a:cubicBezTo>
                  <a:cubicBezTo>
                    <a:pt x="53" y="36"/>
                    <a:pt x="51" y="36"/>
                    <a:pt x="50" y="37"/>
                  </a:cubicBezTo>
                  <a:cubicBezTo>
                    <a:pt x="50" y="37"/>
                    <a:pt x="50" y="37"/>
                    <a:pt x="50" y="37"/>
                  </a:cubicBezTo>
                  <a:cubicBezTo>
                    <a:pt x="50" y="37"/>
                    <a:pt x="50" y="37"/>
                    <a:pt x="50" y="37"/>
                  </a:cubicBezTo>
                  <a:cubicBezTo>
                    <a:pt x="48" y="37"/>
                    <a:pt x="32" y="12"/>
                    <a:pt x="33" y="11"/>
                  </a:cubicBezTo>
                  <a:cubicBezTo>
                    <a:pt x="33" y="11"/>
                    <a:pt x="33" y="11"/>
                    <a:pt x="33" y="11"/>
                  </a:cubicBezTo>
                  <a:cubicBezTo>
                    <a:pt x="35" y="9"/>
                    <a:pt x="35" y="6"/>
                    <a:pt x="34" y="4"/>
                  </a:cubicBezTo>
                  <a:cubicBezTo>
                    <a:pt x="33" y="1"/>
                    <a:pt x="30" y="0"/>
                    <a:pt x="28"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 name="Freeform 15"/>
            <p:cNvSpPr>
              <a:spLocks/>
            </p:cNvSpPr>
            <p:nvPr/>
          </p:nvSpPr>
          <p:spPr bwMode="auto">
            <a:xfrm>
              <a:off x="6832600" y="3729038"/>
              <a:ext cx="30163" cy="63500"/>
            </a:xfrm>
            <a:custGeom>
              <a:avLst/>
              <a:gdLst>
                <a:gd name="T0" fmla="*/ 0 w 8"/>
                <a:gd name="T1" fmla="*/ 0 h 17"/>
                <a:gd name="T2" fmla="*/ 8 w 8"/>
                <a:gd name="T3" fmla="*/ 17 h 17"/>
                <a:gd name="T4" fmla="*/ 0 w 8"/>
                <a:gd name="T5" fmla="*/ 0 h 17"/>
              </a:gdLst>
              <a:ahLst/>
              <a:cxnLst>
                <a:cxn ang="0">
                  <a:pos x="T0" y="T1"/>
                </a:cxn>
                <a:cxn ang="0">
                  <a:pos x="T2" y="T3"/>
                </a:cxn>
                <a:cxn ang="0">
                  <a:pos x="T4" y="T5"/>
                </a:cxn>
              </a:cxnLst>
              <a:rect l="0" t="0" r="r" b="b"/>
              <a:pathLst>
                <a:path w="8" h="17">
                  <a:moveTo>
                    <a:pt x="0" y="0"/>
                  </a:moveTo>
                  <a:cubicBezTo>
                    <a:pt x="3" y="5"/>
                    <a:pt x="6" y="11"/>
                    <a:pt x="8" y="17"/>
                  </a:cubicBezTo>
                  <a:cubicBezTo>
                    <a:pt x="6" y="11"/>
                    <a:pt x="3" y="5"/>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 name="Freeform 16"/>
            <p:cNvSpPr>
              <a:spLocks/>
            </p:cNvSpPr>
            <p:nvPr/>
          </p:nvSpPr>
          <p:spPr bwMode="auto">
            <a:xfrm>
              <a:off x="6656388" y="3328988"/>
              <a:ext cx="17463" cy="3175"/>
            </a:xfrm>
            <a:custGeom>
              <a:avLst/>
              <a:gdLst>
                <a:gd name="T0" fmla="*/ 0 w 5"/>
                <a:gd name="T1" fmla="*/ 0 h 1"/>
                <a:gd name="T2" fmla="*/ 5 w 5"/>
                <a:gd name="T3" fmla="*/ 1 h 1"/>
                <a:gd name="T4" fmla="*/ 0 w 5"/>
                <a:gd name="T5" fmla="*/ 0 h 1"/>
              </a:gdLst>
              <a:ahLst/>
              <a:cxnLst>
                <a:cxn ang="0">
                  <a:pos x="T0" y="T1"/>
                </a:cxn>
                <a:cxn ang="0">
                  <a:pos x="T2" y="T3"/>
                </a:cxn>
                <a:cxn ang="0">
                  <a:pos x="T4" y="T5"/>
                </a:cxn>
              </a:cxnLst>
              <a:rect l="0" t="0" r="r" b="b"/>
              <a:pathLst>
                <a:path w="5" h="1">
                  <a:moveTo>
                    <a:pt x="0" y="0"/>
                  </a:moveTo>
                  <a:cubicBezTo>
                    <a:pt x="2" y="0"/>
                    <a:pt x="4" y="1"/>
                    <a:pt x="5" y="1"/>
                  </a:cubicBezTo>
                  <a:cubicBezTo>
                    <a:pt x="4" y="0"/>
                    <a:pt x="2" y="0"/>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 name="Freeform 17"/>
            <p:cNvSpPr>
              <a:spLocks/>
            </p:cNvSpPr>
            <p:nvPr/>
          </p:nvSpPr>
          <p:spPr bwMode="auto">
            <a:xfrm>
              <a:off x="6040438" y="3951288"/>
              <a:ext cx="44450" cy="19050"/>
            </a:xfrm>
            <a:custGeom>
              <a:avLst/>
              <a:gdLst>
                <a:gd name="T0" fmla="*/ 0 w 12"/>
                <a:gd name="T1" fmla="*/ 0 h 5"/>
                <a:gd name="T2" fmla="*/ 12 w 12"/>
                <a:gd name="T3" fmla="*/ 5 h 5"/>
                <a:gd name="T4" fmla="*/ 0 w 12"/>
                <a:gd name="T5" fmla="*/ 0 h 5"/>
              </a:gdLst>
              <a:ahLst/>
              <a:cxnLst>
                <a:cxn ang="0">
                  <a:pos x="T0" y="T1"/>
                </a:cxn>
                <a:cxn ang="0">
                  <a:pos x="T2" y="T3"/>
                </a:cxn>
                <a:cxn ang="0">
                  <a:pos x="T4" y="T5"/>
                </a:cxn>
              </a:cxnLst>
              <a:rect l="0" t="0" r="r" b="b"/>
              <a:pathLst>
                <a:path w="12" h="5">
                  <a:moveTo>
                    <a:pt x="0" y="0"/>
                  </a:moveTo>
                  <a:cubicBezTo>
                    <a:pt x="4" y="1"/>
                    <a:pt x="8" y="3"/>
                    <a:pt x="12" y="5"/>
                  </a:cubicBezTo>
                  <a:cubicBezTo>
                    <a:pt x="8" y="3"/>
                    <a:pt x="4"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 name="Freeform 18"/>
            <p:cNvSpPr>
              <a:spLocks/>
            </p:cNvSpPr>
            <p:nvPr/>
          </p:nvSpPr>
          <p:spPr bwMode="auto">
            <a:xfrm>
              <a:off x="7485063" y="3729038"/>
              <a:ext cx="11113" cy="77788"/>
            </a:xfrm>
            <a:custGeom>
              <a:avLst/>
              <a:gdLst>
                <a:gd name="T0" fmla="*/ 3 w 3"/>
                <a:gd name="T1" fmla="*/ 0 h 21"/>
                <a:gd name="T2" fmla="*/ 0 w 3"/>
                <a:gd name="T3" fmla="*/ 21 h 21"/>
                <a:gd name="T4" fmla="*/ 3 w 3"/>
                <a:gd name="T5" fmla="*/ 0 h 21"/>
              </a:gdLst>
              <a:ahLst/>
              <a:cxnLst>
                <a:cxn ang="0">
                  <a:pos x="T0" y="T1"/>
                </a:cxn>
                <a:cxn ang="0">
                  <a:pos x="T2" y="T3"/>
                </a:cxn>
                <a:cxn ang="0">
                  <a:pos x="T4" y="T5"/>
                </a:cxn>
              </a:cxnLst>
              <a:rect l="0" t="0" r="r" b="b"/>
              <a:pathLst>
                <a:path w="3" h="21">
                  <a:moveTo>
                    <a:pt x="3" y="0"/>
                  </a:moveTo>
                  <a:cubicBezTo>
                    <a:pt x="2" y="7"/>
                    <a:pt x="1" y="15"/>
                    <a:pt x="0" y="21"/>
                  </a:cubicBezTo>
                  <a:cubicBezTo>
                    <a:pt x="1" y="15"/>
                    <a:pt x="2" y="7"/>
                    <a:pt x="3"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 name="Freeform 19"/>
            <p:cNvSpPr>
              <a:spLocks noEditPoints="1"/>
            </p:cNvSpPr>
            <p:nvPr/>
          </p:nvSpPr>
          <p:spPr bwMode="auto">
            <a:xfrm>
              <a:off x="2719388" y="2635250"/>
              <a:ext cx="4916488" cy="1974850"/>
            </a:xfrm>
            <a:custGeom>
              <a:avLst/>
              <a:gdLst>
                <a:gd name="T0" fmla="*/ 893 w 1309"/>
                <a:gd name="T1" fmla="*/ 437 h 524"/>
                <a:gd name="T2" fmla="*/ 374 w 1309"/>
                <a:gd name="T3" fmla="*/ 407 h 524"/>
                <a:gd name="T4" fmla="*/ 109 w 1309"/>
                <a:gd name="T5" fmla="*/ 335 h 524"/>
                <a:gd name="T6" fmla="*/ 711 w 1309"/>
                <a:gd name="T7" fmla="*/ 231 h 524"/>
                <a:gd name="T8" fmla="*/ 511 w 1309"/>
                <a:gd name="T9" fmla="*/ 291 h 524"/>
                <a:gd name="T10" fmla="*/ 1098 w 1309"/>
                <a:gd name="T11" fmla="*/ 219 h 524"/>
                <a:gd name="T12" fmla="*/ 125 w 1309"/>
                <a:gd name="T13" fmla="*/ 212 h 524"/>
                <a:gd name="T14" fmla="*/ 774 w 1309"/>
                <a:gd name="T15" fmla="*/ 164 h 524"/>
                <a:gd name="T16" fmla="*/ 772 w 1309"/>
                <a:gd name="T17" fmla="*/ 166 h 524"/>
                <a:gd name="T18" fmla="*/ 994 w 1309"/>
                <a:gd name="T19" fmla="*/ 178 h 524"/>
                <a:gd name="T20" fmla="*/ 776 w 1309"/>
                <a:gd name="T21" fmla="*/ 159 h 524"/>
                <a:gd name="T22" fmla="*/ 776 w 1309"/>
                <a:gd name="T23" fmla="*/ 159 h 524"/>
                <a:gd name="T24" fmla="*/ 40 w 1309"/>
                <a:gd name="T25" fmla="*/ 153 h 524"/>
                <a:gd name="T26" fmla="*/ 41 w 1309"/>
                <a:gd name="T27" fmla="*/ 138 h 524"/>
                <a:gd name="T28" fmla="*/ 625 w 1309"/>
                <a:gd name="T29" fmla="*/ 165 h 524"/>
                <a:gd name="T30" fmla="*/ 523 w 1309"/>
                <a:gd name="T31" fmla="*/ 211 h 524"/>
                <a:gd name="T32" fmla="*/ 784 w 1309"/>
                <a:gd name="T33" fmla="*/ 34 h 524"/>
                <a:gd name="T34" fmla="*/ 738 w 1309"/>
                <a:gd name="T35" fmla="*/ 161 h 524"/>
                <a:gd name="T36" fmla="*/ 645 w 1309"/>
                <a:gd name="T37" fmla="*/ 268 h 524"/>
                <a:gd name="T38" fmla="*/ 686 w 1309"/>
                <a:gd name="T39" fmla="*/ 160 h 524"/>
                <a:gd name="T40" fmla="*/ 656 w 1309"/>
                <a:gd name="T41" fmla="*/ 136 h 524"/>
                <a:gd name="T42" fmla="*/ 505 w 1309"/>
                <a:gd name="T43" fmla="*/ 214 h 524"/>
                <a:gd name="T44" fmla="*/ 320 w 1309"/>
                <a:gd name="T45" fmla="*/ 318 h 524"/>
                <a:gd name="T46" fmla="*/ 85 w 1309"/>
                <a:gd name="T47" fmla="*/ 202 h 524"/>
                <a:gd name="T48" fmla="*/ 106 w 1309"/>
                <a:gd name="T49" fmla="*/ 162 h 524"/>
                <a:gd name="T50" fmla="*/ 48 w 1309"/>
                <a:gd name="T51" fmla="*/ 132 h 524"/>
                <a:gd name="T52" fmla="*/ 15 w 1309"/>
                <a:gd name="T53" fmla="*/ 168 h 524"/>
                <a:gd name="T54" fmla="*/ 55 w 1309"/>
                <a:gd name="T55" fmla="*/ 246 h 524"/>
                <a:gd name="T56" fmla="*/ 66 w 1309"/>
                <a:gd name="T57" fmla="*/ 318 h 524"/>
                <a:gd name="T58" fmla="*/ 113 w 1309"/>
                <a:gd name="T59" fmla="*/ 332 h 524"/>
                <a:gd name="T60" fmla="*/ 165 w 1309"/>
                <a:gd name="T61" fmla="*/ 300 h 524"/>
                <a:gd name="T62" fmla="*/ 375 w 1309"/>
                <a:gd name="T63" fmla="*/ 342 h 524"/>
                <a:gd name="T64" fmla="*/ 401 w 1309"/>
                <a:gd name="T65" fmla="*/ 388 h 524"/>
                <a:gd name="T66" fmla="*/ 379 w 1309"/>
                <a:gd name="T67" fmla="*/ 337 h 524"/>
                <a:gd name="T68" fmla="*/ 519 w 1309"/>
                <a:gd name="T69" fmla="*/ 309 h 524"/>
                <a:gd name="T70" fmla="*/ 641 w 1309"/>
                <a:gd name="T71" fmla="*/ 298 h 524"/>
                <a:gd name="T72" fmla="*/ 552 w 1309"/>
                <a:gd name="T73" fmla="*/ 435 h 524"/>
                <a:gd name="T74" fmla="*/ 681 w 1309"/>
                <a:gd name="T75" fmla="*/ 478 h 524"/>
                <a:gd name="T76" fmla="*/ 675 w 1309"/>
                <a:gd name="T77" fmla="*/ 489 h 524"/>
                <a:gd name="T78" fmla="*/ 758 w 1309"/>
                <a:gd name="T79" fmla="*/ 416 h 524"/>
                <a:gd name="T80" fmla="*/ 741 w 1309"/>
                <a:gd name="T81" fmla="*/ 317 h 524"/>
                <a:gd name="T82" fmla="*/ 889 w 1309"/>
                <a:gd name="T83" fmla="*/ 439 h 524"/>
                <a:gd name="T84" fmla="*/ 926 w 1309"/>
                <a:gd name="T85" fmla="*/ 363 h 524"/>
                <a:gd name="T86" fmla="*/ 871 w 1309"/>
                <a:gd name="T87" fmla="*/ 413 h 524"/>
                <a:gd name="T88" fmla="*/ 712 w 1309"/>
                <a:gd name="T89" fmla="*/ 233 h 524"/>
                <a:gd name="T90" fmla="*/ 764 w 1309"/>
                <a:gd name="T91" fmla="*/ 165 h 524"/>
                <a:gd name="T92" fmla="*/ 845 w 1309"/>
                <a:gd name="T93" fmla="*/ 209 h 524"/>
                <a:gd name="T94" fmla="*/ 912 w 1309"/>
                <a:gd name="T95" fmla="*/ 234 h 524"/>
                <a:gd name="T96" fmla="*/ 884 w 1309"/>
                <a:gd name="T97" fmla="*/ 349 h 524"/>
                <a:gd name="T98" fmla="*/ 1000 w 1309"/>
                <a:gd name="T99" fmla="*/ 192 h 524"/>
                <a:gd name="T100" fmla="*/ 1083 w 1309"/>
                <a:gd name="T101" fmla="*/ 271 h 524"/>
                <a:gd name="T102" fmla="*/ 1023 w 1309"/>
                <a:gd name="T103" fmla="*/ 286 h 524"/>
                <a:gd name="T104" fmla="*/ 1067 w 1309"/>
                <a:gd name="T105" fmla="*/ 180 h 524"/>
                <a:gd name="T106" fmla="*/ 1069 w 1309"/>
                <a:gd name="T107" fmla="*/ 194 h 524"/>
                <a:gd name="T108" fmla="*/ 1138 w 1309"/>
                <a:gd name="T109" fmla="*/ 197 h 524"/>
                <a:gd name="T110" fmla="*/ 1141 w 1309"/>
                <a:gd name="T111" fmla="*/ 192 h 524"/>
                <a:gd name="T112" fmla="*/ 1130 w 1309"/>
                <a:gd name="T113" fmla="*/ 80 h 524"/>
                <a:gd name="T114" fmla="*/ 1257 w 1309"/>
                <a:gd name="T115" fmla="*/ 243 h 524"/>
                <a:gd name="T116" fmla="*/ 1273 w 1309"/>
                <a:gd name="T117" fmla="*/ 254 h 524"/>
                <a:gd name="T118" fmla="*/ 1148 w 1309"/>
                <a:gd name="T119" fmla="*/ 135 h 524"/>
                <a:gd name="T120" fmla="*/ 1023 w 1309"/>
                <a:gd name="T121" fmla="*/ 153 h 524"/>
                <a:gd name="T122" fmla="*/ 1011 w 1309"/>
                <a:gd name="T123" fmla="*/ 101 h 524"/>
                <a:gd name="T124" fmla="*/ 848 w 1309"/>
                <a:gd name="T125" fmla="*/ 12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9" h="524">
                  <a:moveTo>
                    <a:pt x="897" y="418"/>
                  </a:moveTo>
                  <a:cubicBezTo>
                    <a:pt x="895" y="415"/>
                    <a:pt x="923" y="393"/>
                    <a:pt x="929" y="393"/>
                  </a:cubicBezTo>
                  <a:cubicBezTo>
                    <a:pt x="930" y="393"/>
                    <a:pt x="930" y="394"/>
                    <a:pt x="930" y="394"/>
                  </a:cubicBezTo>
                  <a:cubicBezTo>
                    <a:pt x="930" y="394"/>
                    <a:pt x="930" y="394"/>
                    <a:pt x="930" y="394"/>
                  </a:cubicBezTo>
                  <a:cubicBezTo>
                    <a:pt x="932" y="395"/>
                    <a:pt x="934" y="397"/>
                    <a:pt x="936" y="398"/>
                  </a:cubicBezTo>
                  <a:cubicBezTo>
                    <a:pt x="938" y="399"/>
                    <a:pt x="941" y="400"/>
                    <a:pt x="943" y="400"/>
                  </a:cubicBezTo>
                  <a:cubicBezTo>
                    <a:pt x="943" y="400"/>
                    <a:pt x="943" y="400"/>
                    <a:pt x="943" y="400"/>
                  </a:cubicBezTo>
                  <a:cubicBezTo>
                    <a:pt x="948" y="401"/>
                    <a:pt x="942" y="495"/>
                    <a:pt x="939" y="496"/>
                  </a:cubicBezTo>
                  <a:cubicBezTo>
                    <a:pt x="939" y="496"/>
                    <a:pt x="939" y="496"/>
                    <a:pt x="939" y="496"/>
                  </a:cubicBezTo>
                  <a:cubicBezTo>
                    <a:pt x="938" y="496"/>
                    <a:pt x="936" y="496"/>
                    <a:pt x="935" y="497"/>
                  </a:cubicBezTo>
                  <a:cubicBezTo>
                    <a:pt x="935" y="497"/>
                    <a:pt x="935" y="497"/>
                    <a:pt x="935" y="497"/>
                  </a:cubicBezTo>
                  <a:cubicBezTo>
                    <a:pt x="935" y="497"/>
                    <a:pt x="935" y="497"/>
                    <a:pt x="935" y="497"/>
                  </a:cubicBezTo>
                  <a:cubicBezTo>
                    <a:pt x="932" y="497"/>
                    <a:pt x="891" y="439"/>
                    <a:pt x="893" y="437"/>
                  </a:cubicBezTo>
                  <a:cubicBezTo>
                    <a:pt x="893" y="437"/>
                    <a:pt x="893" y="437"/>
                    <a:pt x="893" y="437"/>
                  </a:cubicBezTo>
                  <a:cubicBezTo>
                    <a:pt x="896" y="434"/>
                    <a:pt x="898" y="430"/>
                    <a:pt x="898" y="426"/>
                  </a:cubicBezTo>
                  <a:cubicBezTo>
                    <a:pt x="899" y="423"/>
                    <a:pt x="898" y="420"/>
                    <a:pt x="896" y="418"/>
                  </a:cubicBezTo>
                  <a:cubicBezTo>
                    <a:pt x="897" y="418"/>
                    <a:pt x="897" y="418"/>
                    <a:pt x="897" y="418"/>
                  </a:cubicBezTo>
                  <a:moveTo>
                    <a:pt x="382" y="350"/>
                  </a:moveTo>
                  <a:cubicBezTo>
                    <a:pt x="383" y="350"/>
                    <a:pt x="384" y="350"/>
                    <a:pt x="385" y="349"/>
                  </a:cubicBezTo>
                  <a:cubicBezTo>
                    <a:pt x="385" y="349"/>
                    <a:pt x="385" y="349"/>
                    <a:pt x="385" y="349"/>
                  </a:cubicBezTo>
                  <a:cubicBezTo>
                    <a:pt x="385" y="349"/>
                    <a:pt x="385" y="349"/>
                    <a:pt x="385" y="349"/>
                  </a:cubicBezTo>
                  <a:cubicBezTo>
                    <a:pt x="386" y="349"/>
                    <a:pt x="403" y="374"/>
                    <a:pt x="402" y="375"/>
                  </a:cubicBezTo>
                  <a:cubicBezTo>
                    <a:pt x="402" y="375"/>
                    <a:pt x="402" y="375"/>
                    <a:pt x="402" y="375"/>
                  </a:cubicBezTo>
                  <a:cubicBezTo>
                    <a:pt x="399" y="378"/>
                    <a:pt x="398" y="382"/>
                    <a:pt x="400" y="385"/>
                  </a:cubicBezTo>
                  <a:cubicBezTo>
                    <a:pt x="400" y="386"/>
                    <a:pt x="400" y="386"/>
                    <a:pt x="400" y="386"/>
                  </a:cubicBezTo>
                  <a:cubicBezTo>
                    <a:pt x="400" y="386"/>
                    <a:pt x="400" y="386"/>
                    <a:pt x="400" y="386"/>
                  </a:cubicBezTo>
                  <a:cubicBezTo>
                    <a:pt x="401" y="388"/>
                    <a:pt x="375" y="407"/>
                    <a:pt x="374" y="407"/>
                  </a:cubicBezTo>
                  <a:cubicBezTo>
                    <a:pt x="374" y="407"/>
                    <a:pt x="374" y="407"/>
                    <a:pt x="374" y="407"/>
                  </a:cubicBezTo>
                  <a:cubicBezTo>
                    <a:pt x="374" y="407"/>
                    <a:pt x="374" y="407"/>
                    <a:pt x="374" y="407"/>
                  </a:cubicBezTo>
                  <a:cubicBezTo>
                    <a:pt x="373" y="406"/>
                    <a:pt x="373" y="406"/>
                    <a:pt x="372" y="406"/>
                  </a:cubicBezTo>
                  <a:cubicBezTo>
                    <a:pt x="372" y="406"/>
                    <a:pt x="372" y="406"/>
                    <a:pt x="372" y="406"/>
                  </a:cubicBezTo>
                  <a:cubicBezTo>
                    <a:pt x="371" y="406"/>
                    <a:pt x="380" y="350"/>
                    <a:pt x="382" y="350"/>
                  </a:cubicBezTo>
                  <a:cubicBezTo>
                    <a:pt x="382" y="350"/>
                    <a:pt x="382" y="350"/>
                    <a:pt x="382" y="350"/>
                  </a:cubicBezTo>
                  <a:cubicBezTo>
                    <a:pt x="382" y="350"/>
                    <a:pt x="382" y="350"/>
                    <a:pt x="382" y="350"/>
                  </a:cubicBezTo>
                  <a:moveTo>
                    <a:pt x="110" y="294"/>
                  </a:moveTo>
                  <a:cubicBezTo>
                    <a:pt x="110" y="294"/>
                    <a:pt x="110" y="294"/>
                    <a:pt x="110" y="294"/>
                  </a:cubicBezTo>
                  <a:cubicBezTo>
                    <a:pt x="110" y="294"/>
                    <a:pt x="111" y="295"/>
                    <a:pt x="112" y="295"/>
                  </a:cubicBezTo>
                  <a:cubicBezTo>
                    <a:pt x="112" y="295"/>
                    <a:pt x="112" y="295"/>
                    <a:pt x="112" y="295"/>
                  </a:cubicBezTo>
                  <a:cubicBezTo>
                    <a:pt x="113" y="295"/>
                    <a:pt x="113" y="332"/>
                    <a:pt x="112" y="332"/>
                  </a:cubicBezTo>
                  <a:cubicBezTo>
                    <a:pt x="112" y="332"/>
                    <a:pt x="112" y="332"/>
                    <a:pt x="112" y="332"/>
                  </a:cubicBezTo>
                  <a:cubicBezTo>
                    <a:pt x="112" y="333"/>
                    <a:pt x="111" y="333"/>
                    <a:pt x="111" y="333"/>
                  </a:cubicBezTo>
                  <a:cubicBezTo>
                    <a:pt x="110" y="333"/>
                    <a:pt x="109" y="334"/>
                    <a:pt x="109" y="335"/>
                  </a:cubicBezTo>
                  <a:cubicBezTo>
                    <a:pt x="109" y="334"/>
                    <a:pt x="109" y="334"/>
                    <a:pt x="109" y="334"/>
                  </a:cubicBezTo>
                  <a:cubicBezTo>
                    <a:pt x="109" y="334"/>
                    <a:pt x="109" y="334"/>
                    <a:pt x="109" y="334"/>
                  </a:cubicBezTo>
                  <a:cubicBezTo>
                    <a:pt x="107" y="334"/>
                    <a:pt x="70" y="323"/>
                    <a:pt x="70" y="322"/>
                  </a:cubicBezTo>
                  <a:cubicBezTo>
                    <a:pt x="70" y="322"/>
                    <a:pt x="70" y="322"/>
                    <a:pt x="70" y="322"/>
                  </a:cubicBezTo>
                  <a:cubicBezTo>
                    <a:pt x="70" y="321"/>
                    <a:pt x="70" y="321"/>
                    <a:pt x="70" y="320"/>
                  </a:cubicBezTo>
                  <a:cubicBezTo>
                    <a:pt x="70" y="320"/>
                    <a:pt x="70" y="320"/>
                    <a:pt x="70" y="320"/>
                  </a:cubicBezTo>
                  <a:cubicBezTo>
                    <a:pt x="70" y="320"/>
                    <a:pt x="70" y="320"/>
                    <a:pt x="70" y="320"/>
                  </a:cubicBezTo>
                  <a:cubicBezTo>
                    <a:pt x="69" y="319"/>
                    <a:pt x="108" y="294"/>
                    <a:pt x="110" y="294"/>
                  </a:cubicBezTo>
                  <a:cubicBezTo>
                    <a:pt x="110" y="294"/>
                    <a:pt x="110" y="294"/>
                    <a:pt x="110" y="294"/>
                  </a:cubicBezTo>
                  <a:moveTo>
                    <a:pt x="656" y="271"/>
                  </a:moveTo>
                  <a:cubicBezTo>
                    <a:pt x="663" y="262"/>
                    <a:pt x="685" y="240"/>
                    <a:pt x="708" y="218"/>
                  </a:cubicBezTo>
                  <a:cubicBezTo>
                    <a:pt x="710" y="221"/>
                    <a:pt x="712" y="223"/>
                    <a:pt x="711" y="223"/>
                  </a:cubicBezTo>
                  <a:cubicBezTo>
                    <a:pt x="711" y="223"/>
                    <a:pt x="711" y="223"/>
                    <a:pt x="711" y="223"/>
                  </a:cubicBezTo>
                  <a:cubicBezTo>
                    <a:pt x="710" y="225"/>
                    <a:pt x="709" y="228"/>
                    <a:pt x="711" y="231"/>
                  </a:cubicBezTo>
                  <a:cubicBezTo>
                    <a:pt x="711" y="231"/>
                    <a:pt x="711" y="231"/>
                    <a:pt x="711" y="231"/>
                  </a:cubicBezTo>
                  <a:cubicBezTo>
                    <a:pt x="711" y="231"/>
                    <a:pt x="711" y="231"/>
                    <a:pt x="711" y="231"/>
                  </a:cubicBezTo>
                  <a:cubicBezTo>
                    <a:pt x="711" y="232"/>
                    <a:pt x="669" y="263"/>
                    <a:pt x="656" y="271"/>
                  </a:cubicBezTo>
                  <a:moveTo>
                    <a:pt x="516" y="214"/>
                  </a:moveTo>
                  <a:cubicBezTo>
                    <a:pt x="516" y="214"/>
                    <a:pt x="516" y="214"/>
                    <a:pt x="516" y="214"/>
                  </a:cubicBezTo>
                  <a:cubicBezTo>
                    <a:pt x="521" y="214"/>
                    <a:pt x="573" y="327"/>
                    <a:pt x="571" y="328"/>
                  </a:cubicBezTo>
                  <a:cubicBezTo>
                    <a:pt x="571" y="328"/>
                    <a:pt x="571" y="328"/>
                    <a:pt x="571" y="328"/>
                  </a:cubicBezTo>
                  <a:cubicBezTo>
                    <a:pt x="570" y="329"/>
                    <a:pt x="569" y="330"/>
                    <a:pt x="568" y="331"/>
                  </a:cubicBezTo>
                  <a:cubicBezTo>
                    <a:pt x="568" y="331"/>
                    <a:pt x="568" y="331"/>
                    <a:pt x="568" y="331"/>
                  </a:cubicBezTo>
                  <a:cubicBezTo>
                    <a:pt x="568" y="331"/>
                    <a:pt x="568" y="331"/>
                    <a:pt x="568" y="331"/>
                  </a:cubicBezTo>
                  <a:cubicBezTo>
                    <a:pt x="564" y="331"/>
                    <a:pt x="519" y="308"/>
                    <a:pt x="520" y="306"/>
                  </a:cubicBezTo>
                  <a:cubicBezTo>
                    <a:pt x="520" y="306"/>
                    <a:pt x="520" y="306"/>
                    <a:pt x="520" y="306"/>
                  </a:cubicBezTo>
                  <a:cubicBezTo>
                    <a:pt x="521" y="303"/>
                    <a:pt x="521" y="300"/>
                    <a:pt x="520" y="297"/>
                  </a:cubicBezTo>
                  <a:cubicBezTo>
                    <a:pt x="518" y="294"/>
                    <a:pt x="515" y="292"/>
                    <a:pt x="511" y="291"/>
                  </a:cubicBezTo>
                  <a:cubicBezTo>
                    <a:pt x="511" y="291"/>
                    <a:pt x="511" y="291"/>
                    <a:pt x="511" y="291"/>
                  </a:cubicBezTo>
                  <a:cubicBezTo>
                    <a:pt x="509" y="291"/>
                    <a:pt x="508" y="215"/>
                    <a:pt x="513" y="214"/>
                  </a:cubicBezTo>
                  <a:cubicBezTo>
                    <a:pt x="513" y="214"/>
                    <a:pt x="513" y="214"/>
                    <a:pt x="513" y="214"/>
                  </a:cubicBezTo>
                  <a:cubicBezTo>
                    <a:pt x="514" y="214"/>
                    <a:pt x="515" y="214"/>
                    <a:pt x="516" y="214"/>
                  </a:cubicBezTo>
                  <a:cubicBezTo>
                    <a:pt x="516" y="214"/>
                    <a:pt x="516" y="214"/>
                    <a:pt x="516" y="214"/>
                  </a:cubicBezTo>
                  <a:moveTo>
                    <a:pt x="1072" y="189"/>
                  </a:moveTo>
                  <a:cubicBezTo>
                    <a:pt x="1072" y="189"/>
                    <a:pt x="1073" y="189"/>
                    <a:pt x="1075" y="189"/>
                  </a:cubicBezTo>
                  <a:cubicBezTo>
                    <a:pt x="1088" y="189"/>
                    <a:pt x="1130" y="192"/>
                    <a:pt x="1130" y="193"/>
                  </a:cubicBezTo>
                  <a:cubicBezTo>
                    <a:pt x="1130" y="193"/>
                    <a:pt x="1130" y="193"/>
                    <a:pt x="1130" y="193"/>
                  </a:cubicBezTo>
                  <a:cubicBezTo>
                    <a:pt x="1131" y="194"/>
                    <a:pt x="1131" y="194"/>
                    <a:pt x="1131" y="195"/>
                  </a:cubicBezTo>
                  <a:cubicBezTo>
                    <a:pt x="1131" y="195"/>
                    <a:pt x="1131" y="195"/>
                    <a:pt x="1131" y="195"/>
                  </a:cubicBezTo>
                  <a:cubicBezTo>
                    <a:pt x="1132" y="196"/>
                    <a:pt x="1100" y="219"/>
                    <a:pt x="1098" y="219"/>
                  </a:cubicBezTo>
                  <a:cubicBezTo>
                    <a:pt x="1098" y="219"/>
                    <a:pt x="1098" y="219"/>
                    <a:pt x="1098" y="219"/>
                  </a:cubicBezTo>
                  <a:cubicBezTo>
                    <a:pt x="1098" y="219"/>
                    <a:pt x="1098" y="219"/>
                    <a:pt x="1098" y="219"/>
                  </a:cubicBezTo>
                  <a:cubicBezTo>
                    <a:pt x="1098" y="219"/>
                    <a:pt x="1097" y="218"/>
                    <a:pt x="1096" y="218"/>
                  </a:cubicBezTo>
                  <a:cubicBezTo>
                    <a:pt x="1095" y="218"/>
                    <a:pt x="1095" y="219"/>
                    <a:pt x="1094" y="219"/>
                  </a:cubicBezTo>
                  <a:cubicBezTo>
                    <a:pt x="1094" y="219"/>
                    <a:pt x="1094" y="219"/>
                    <a:pt x="1094" y="219"/>
                  </a:cubicBezTo>
                  <a:cubicBezTo>
                    <a:pt x="1094" y="219"/>
                    <a:pt x="1094" y="219"/>
                    <a:pt x="1094" y="219"/>
                  </a:cubicBezTo>
                  <a:cubicBezTo>
                    <a:pt x="1094" y="219"/>
                    <a:pt x="1094" y="219"/>
                    <a:pt x="1094" y="219"/>
                  </a:cubicBezTo>
                  <a:cubicBezTo>
                    <a:pt x="1093" y="219"/>
                    <a:pt x="1069" y="193"/>
                    <a:pt x="1070" y="192"/>
                  </a:cubicBezTo>
                  <a:cubicBezTo>
                    <a:pt x="1070" y="192"/>
                    <a:pt x="1070" y="192"/>
                    <a:pt x="1070" y="192"/>
                  </a:cubicBezTo>
                  <a:cubicBezTo>
                    <a:pt x="1071" y="191"/>
                    <a:pt x="1072" y="190"/>
                    <a:pt x="1072" y="189"/>
                  </a:cubicBezTo>
                  <a:cubicBezTo>
                    <a:pt x="1072" y="189"/>
                    <a:pt x="1072" y="189"/>
                    <a:pt x="1072" y="189"/>
                  </a:cubicBezTo>
                  <a:moveTo>
                    <a:pt x="76" y="193"/>
                  </a:moveTo>
                  <a:cubicBezTo>
                    <a:pt x="75" y="193"/>
                    <a:pt x="62" y="176"/>
                    <a:pt x="54" y="165"/>
                  </a:cubicBezTo>
                  <a:cubicBezTo>
                    <a:pt x="56" y="165"/>
                    <a:pt x="58" y="164"/>
                    <a:pt x="61" y="164"/>
                  </a:cubicBezTo>
                  <a:cubicBezTo>
                    <a:pt x="83" y="181"/>
                    <a:pt x="126" y="212"/>
                    <a:pt x="125" y="212"/>
                  </a:cubicBezTo>
                  <a:cubicBezTo>
                    <a:pt x="125" y="212"/>
                    <a:pt x="125" y="212"/>
                    <a:pt x="125" y="212"/>
                  </a:cubicBezTo>
                  <a:cubicBezTo>
                    <a:pt x="125" y="213"/>
                    <a:pt x="125" y="213"/>
                    <a:pt x="125" y="213"/>
                  </a:cubicBezTo>
                  <a:cubicBezTo>
                    <a:pt x="125" y="213"/>
                    <a:pt x="125" y="213"/>
                    <a:pt x="125" y="213"/>
                  </a:cubicBezTo>
                  <a:cubicBezTo>
                    <a:pt x="125" y="213"/>
                    <a:pt x="125" y="213"/>
                    <a:pt x="125" y="213"/>
                  </a:cubicBezTo>
                  <a:cubicBezTo>
                    <a:pt x="122" y="213"/>
                    <a:pt x="86" y="201"/>
                    <a:pt x="86" y="200"/>
                  </a:cubicBezTo>
                  <a:cubicBezTo>
                    <a:pt x="86" y="200"/>
                    <a:pt x="86" y="200"/>
                    <a:pt x="86" y="200"/>
                  </a:cubicBezTo>
                  <a:cubicBezTo>
                    <a:pt x="86" y="199"/>
                    <a:pt x="86" y="197"/>
                    <a:pt x="86" y="196"/>
                  </a:cubicBezTo>
                  <a:cubicBezTo>
                    <a:pt x="84" y="194"/>
                    <a:pt x="82" y="192"/>
                    <a:pt x="79" y="192"/>
                  </a:cubicBezTo>
                  <a:cubicBezTo>
                    <a:pt x="78" y="192"/>
                    <a:pt x="77" y="193"/>
                    <a:pt x="76" y="193"/>
                  </a:cubicBezTo>
                  <a:cubicBezTo>
                    <a:pt x="76" y="193"/>
                    <a:pt x="76" y="193"/>
                    <a:pt x="76" y="193"/>
                  </a:cubicBezTo>
                  <a:cubicBezTo>
                    <a:pt x="76" y="193"/>
                    <a:pt x="76" y="193"/>
                    <a:pt x="76" y="193"/>
                  </a:cubicBezTo>
                  <a:cubicBezTo>
                    <a:pt x="76" y="193"/>
                    <a:pt x="76" y="193"/>
                    <a:pt x="76" y="193"/>
                  </a:cubicBezTo>
                  <a:moveTo>
                    <a:pt x="772" y="166"/>
                  </a:moveTo>
                  <a:cubicBezTo>
                    <a:pt x="773" y="165"/>
                    <a:pt x="774" y="165"/>
                    <a:pt x="774" y="164"/>
                  </a:cubicBezTo>
                  <a:cubicBezTo>
                    <a:pt x="774" y="164"/>
                    <a:pt x="774" y="164"/>
                    <a:pt x="774" y="164"/>
                  </a:cubicBezTo>
                  <a:cubicBezTo>
                    <a:pt x="774" y="164"/>
                    <a:pt x="775" y="164"/>
                    <a:pt x="775" y="164"/>
                  </a:cubicBezTo>
                  <a:cubicBezTo>
                    <a:pt x="778" y="164"/>
                    <a:pt x="841" y="198"/>
                    <a:pt x="841" y="199"/>
                  </a:cubicBezTo>
                  <a:cubicBezTo>
                    <a:pt x="841" y="199"/>
                    <a:pt x="841" y="199"/>
                    <a:pt x="841" y="199"/>
                  </a:cubicBezTo>
                  <a:cubicBezTo>
                    <a:pt x="840" y="201"/>
                    <a:pt x="840" y="203"/>
                    <a:pt x="841" y="205"/>
                  </a:cubicBezTo>
                  <a:cubicBezTo>
                    <a:pt x="842" y="206"/>
                    <a:pt x="842" y="207"/>
                    <a:pt x="843" y="208"/>
                  </a:cubicBezTo>
                  <a:cubicBezTo>
                    <a:pt x="843" y="208"/>
                    <a:pt x="843" y="208"/>
                    <a:pt x="843" y="208"/>
                  </a:cubicBezTo>
                  <a:cubicBezTo>
                    <a:pt x="844" y="208"/>
                    <a:pt x="822" y="249"/>
                    <a:pt x="818" y="249"/>
                  </a:cubicBezTo>
                  <a:cubicBezTo>
                    <a:pt x="818" y="249"/>
                    <a:pt x="818" y="249"/>
                    <a:pt x="818" y="249"/>
                  </a:cubicBezTo>
                  <a:cubicBezTo>
                    <a:pt x="818" y="249"/>
                    <a:pt x="818" y="249"/>
                    <a:pt x="818" y="249"/>
                  </a:cubicBezTo>
                  <a:cubicBezTo>
                    <a:pt x="816" y="248"/>
                    <a:pt x="813" y="247"/>
                    <a:pt x="811" y="247"/>
                  </a:cubicBezTo>
                  <a:cubicBezTo>
                    <a:pt x="810" y="247"/>
                    <a:pt x="808" y="247"/>
                    <a:pt x="807" y="248"/>
                  </a:cubicBezTo>
                  <a:cubicBezTo>
                    <a:pt x="807" y="248"/>
                    <a:pt x="807" y="248"/>
                    <a:pt x="807" y="248"/>
                  </a:cubicBezTo>
                  <a:cubicBezTo>
                    <a:pt x="807" y="248"/>
                    <a:pt x="807" y="248"/>
                    <a:pt x="807" y="248"/>
                  </a:cubicBezTo>
                  <a:cubicBezTo>
                    <a:pt x="803" y="248"/>
                    <a:pt x="771" y="166"/>
                    <a:pt x="772" y="166"/>
                  </a:cubicBezTo>
                  <a:cubicBezTo>
                    <a:pt x="772" y="166"/>
                    <a:pt x="772" y="166"/>
                    <a:pt x="772" y="166"/>
                  </a:cubicBezTo>
                  <a:moveTo>
                    <a:pt x="54" y="165"/>
                  </a:moveTo>
                  <a:cubicBezTo>
                    <a:pt x="50" y="159"/>
                    <a:pt x="47" y="155"/>
                    <a:pt x="47" y="155"/>
                  </a:cubicBezTo>
                  <a:cubicBezTo>
                    <a:pt x="48" y="155"/>
                    <a:pt x="53" y="159"/>
                    <a:pt x="61" y="164"/>
                  </a:cubicBezTo>
                  <a:cubicBezTo>
                    <a:pt x="58" y="164"/>
                    <a:pt x="56" y="164"/>
                    <a:pt x="54" y="165"/>
                  </a:cubicBezTo>
                  <a:moveTo>
                    <a:pt x="47" y="155"/>
                  </a:moveTo>
                  <a:cubicBezTo>
                    <a:pt x="47" y="155"/>
                    <a:pt x="47" y="155"/>
                    <a:pt x="47" y="155"/>
                  </a:cubicBezTo>
                  <a:cubicBezTo>
                    <a:pt x="47" y="155"/>
                    <a:pt x="47" y="155"/>
                    <a:pt x="47" y="155"/>
                  </a:cubicBezTo>
                  <a:cubicBezTo>
                    <a:pt x="47" y="155"/>
                    <a:pt x="47" y="155"/>
                    <a:pt x="47" y="155"/>
                  </a:cubicBezTo>
                  <a:moveTo>
                    <a:pt x="872" y="144"/>
                  </a:moveTo>
                  <a:cubicBezTo>
                    <a:pt x="873" y="144"/>
                    <a:pt x="873" y="144"/>
                    <a:pt x="874" y="144"/>
                  </a:cubicBezTo>
                  <a:cubicBezTo>
                    <a:pt x="886" y="144"/>
                    <a:pt x="995" y="171"/>
                    <a:pt x="995" y="175"/>
                  </a:cubicBezTo>
                  <a:cubicBezTo>
                    <a:pt x="995" y="175"/>
                    <a:pt x="995" y="175"/>
                    <a:pt x="995" y="175"/>
                  </a:cubicBezTo>
                  <a:cubicBezTo>
                    <a:pt x="994" y="176"/>
                    <a:pt x="994" y="177"/>
                    <a:pt x="994" y="178"/>
                  </a:cubicBezTo>
                  <a:cubicBezTo>
                    <a:pt x="994" y="181"/>
                    <a:pt x="995" y="183"/>
                    <a:pt x="996" y="186"/>
                  </a:cubicBezTo>
                  <a:cubicBezTo>
                    <a:pt x="998" y="190"/>
                    <a:pt x="943" y="219"/>
                    <a:pt x="938" y="219"/>
                  </a:cubicBezTo>
                  <a:cubicBezTo>
                    <a:pt x="938" y="219"/>
                    <a:pt x="937" y="219"/>
                    <a:pt x="937" y="219"/>
                  </a:cubicBezTo>
                  <a:cubicBezTo>
                    <a:pt x="937" y="219"/>
                    <a:pt x="937" y="219"/>
                    <a:pt x="937" y="219"/>
                  </a:cubicBezTo>
                  <a:cubicBezTo>
                    <a:pt x="934" y="215"/>
                    <a:pt x="930" y="213"/>
                    <a:pt x="925" y="213"/>
                  </a:cubicBezTo>
                  <a:cubicBezTo>
                    <a:pt x="923" y="213"/>
                    <a:pt x="921" y="213"/>
                    <a:pt x="919" y="214"/>
                  </a:cubicBezTo>
                  <a:cubicBezTo>
                    <a:pt x="918" y="215"/>
                    <a:pt x="918" y="215"/>
                    <a:pt x="918" y="215"/>
                  </a:cubicBezTo>
                  <a:cubicBezTo>
                    <a:pt x="918" y="215"/>
                    <a:pt x="918" y="215"/>
                    <a:pt x="918" y="215"/>
                  </a:cubicBezTo>
                  <a:cubicBezTo>
                    <a:pt x="918" y="215"/>
                    <a:pt x="918" y="215"/>
                    <a:pt x="918" y="215"/>
                  </a:cubicBezTo>
                  <a:cubicBezTo>
                    <a:pt x="915" y="215"/>
                    <a:pt x="866" y="152"/>
                    <a:pt x="869" y="150"/>
                  </a:cubicBezTo>
                  <a:cubicBezTo>
                    <a:pt x="869" y="150"/>
                    <a:pt x="869" y="150"/>
                    <a:pt x="869" y="150"/>
                  </a:cubicBezTo>
                  <a:cubicBezTo>
                    <a:pt x="870" y="148"/>
                    <a:pt x="872" y="146"/>
                    <a:pt x="872" y="144"/>
                  </a:cubicBezTo>
                  <a:cubicBezTo>
                    <a:pt x="872" y="144"/>
                    <a:pt x="872" y="144"/>
                    <a:pt x="872" y="144"/>
                  </a:cubicBezTo>
                  <a:moveTo>
                    <a:pt x="776" y="159"/>
                  </a:moveTo>
                  <a:cubicBezTo>
                    <a:pt x="776" y="157"/>
                    <a:pt x="826" y="144"/>
                    <a:pt x="836" y="144"/>
                  </a:cubicBezTo>
                  <a:cubicBezTo>
                    <a:pt x="837" y="144"/>
                    <a:pt x="838" y="144"/>
                    <a:pt x="838" y="144"/>
                  </a:cubicBezTo>
                  <a:cubicBezTo>
                    <a:pt x="838" y="144"/>
                    <a:pt x="838" y="144"/>
                    <a:pt x="838" y="144"/>
                  </a:cubicBezTo>
                  <a:cubicBezTo>
                    <a:pt x="840" y="149"/>
                    <a:pt x="845" y="153"/>
                    <a:pt x="851" y="154"/>
                  </a:cubicBezTo>
                  <a:cubicBezTo>
                    <a:pt x="851" y="154"/>
                    <a:pt x="851" y="154"/>
                    <a:pt x="851" y="154"/>
                  </a:cubicBezTo>
                  <a:cubicBezTo>
                    <a:pt x="854" y="155"/>
                    <a:pt x="849" y="194"/>
                    <a:pt x="847" y="195"/>
                  </a:cubicBezTo>
                  <a:cubicBezTo>
                    <a:pt x="847" y="195"/>
                    <a:pt x="847" y="195"/>
                    <a:pt x="847" y="195"/>
                  </a:cubicBezTo>
                  <a:cubicBezTo>
                    <a:pt x="846" y="195"/>
                    <a:pt x="846" y="195"/>
                    <a:pt x="845" y="195"/>
                  </a:cubicBezTo>
                  <a:cubicBezTo>
                    <a:pt x="844" y="196"/>
                    <a:pt x="843" y="196"/>
                    <a:pt x="842" y="197"/>
                  </a:cubicBezTo>
                  <a:cubicBezTo>
                    <a:pt x="842" y="197"/>
                    <a:pt x="842" y="197"/>
                    <a:pt x="842" y="197"/>
                  </a:cubicBezTo>
                  <a:cubicBezTo>
                    <a:pt x="842" y="197"/>
                    <a:pt x="842" y="197"/>
                    <a:pt x="842" y="197"/>
                  </a:cubicBezTo>
                  <a:cubicBezTo>
                    <a:pt x="839" y="197"/>
                    <a:pt x="775" y="163"/>
                    <a:pt x="776" y="162"/>
                  </a:cubicBezTo>
                  <a:cubicBezTo>
                    <a:pt x="776" y="162"/>
                    <a:pt x="776" y="162"/>
                    <a:pt x="776" y="162"/>
                  </a:cubicBezTo>
                  <a:cubicBezTo>
                    <a:pt x="776" y="161"/>
                    <a:pt x="776" y="160"/>
                    <a:pt x="776" y="159"/>
                  </a:cubicBezTo>
                  <a:cubicBezTo>
                    <a:pt x="776" y="159"/>
                    <a:pt x="776" y="159"/>
                    <a:pt x="776" y="159"/>
                  </a:cubicBezTo>
                  <a:moveTo>
                    <a:pt x="48" y="137"/>
                  </a:moveTo>
                  <a:cubicBezTo>
                    <a:pt x="48" y="137"/>
                    <a:pt x="48" y="137"/>
                    <a:pt x="48" y="137"/>
                  </a:cubicBezTo>
                  <a:cubicBezTo>
                    <a:pt x="51" y="137"/>
                    <a:pt x="108" y="159"/>
                    <a:pt x="108" y="160"/>
                  </a:cubicBezTo>
                  <a:cubicBezTo>
                    <a:pt x="108" y="160"/>
                    <a:pt x="108" y="160"/>
                    <a:pt x="108" y="160"/>
                  </a:cubicBezTo>
                  <a:cubicBezTo>
                    <a:pt x="108" y="161"/>
                    <a:pt x="108" y="161"/>
                    <a:pt x="108" y="161"/>
                  </a:cubicBezTo>
                  <a:cubicBezTo>
                    <a:pt x="108" y="161"/>
                    <a:pt x="108" y="161"/>
                    <a:pt x="108" y="161"/>
                  </a:cubicBezTo>
                  <a:cubicBezTo>
                    <a:pt x="107" y="161"/>
                    <a:pt x="84" y="163"/>
                    <a:pt x="61" y="164"/>
                  </a:cubicBezTo>
                  <a:cubicBezTo>
                    <a:pt x="53" y="158"/>
                    <a:pt x="47" y="154"/>
                    <a:pt x="48" y="154"/>
                  </a:cubicBezTo>
                  <a:cubicBezTo>
                    <a:pt x="48" y="154"/>
                    <a:pt x="48" y="154"/>
                    <a:pt x="48" y="154"/>
                  </a:cubicBezTo>
                  <a:cubicBezTo>
                    <a:pt x="48" y="153"/>
                    <a:pt x="48" y="151"/>
                    <a:pt x="48" y="150"/>
                  </a:cubicBezTo>
                  <a:cubicBezTo>
                    <a:pt x="47" y="149"/>
                    <a:pt x="45" y="148"/>
                    <a:pt x="44" y="148"/>
                  </a:cubicBezTo>
                  <a:cubicBezTo>
                    <a:pt x="43" y="148"/>
                    <a:pt x="43" y="148"/>
                    <a:pt x="42" y="148"/>
                  </a:cubicBezTo>
                  <a:cubicBezTo>
                    <a:pt x="40" y="149"/>
                    <a:pt x="39" y="152"/>
                    <a:pt x="40" y="153"/>
                  </a:cubicBezTo>
                  <a:cubicBezTo>
                    <a:pt x="41" y="155"/>
                    <a:pt x="42" y="156"/>
                    <a:pt x="44" y="156"/>
                  </a:cubicBezTo>
                  <a:cubicBezTo>
                    <a:pt x="45" y="156"/>
                    <a:pt x="45" y="156"/>
                    <a:pt x="46" y="155"/>
                  </a:cubicBezTo>
                  <a:cubicBezTo>
                    <a:pt x="46" y="155"/>
                    <a:pt x="46" y="155"/>
                    <a:pt x="46" y="155"/>
                  </a:cubicBezTo>
                  <a:cubicBezTo>
                    <a:pt x="46" y="155"/>
                    <a:pt x="46" y="155"/>
                    <a:pt x="46" y="155"/>
                  </a:cubicBezTo>
                  <a:cubicBezTo>
                    <a:pt x="46" y="155"/>
                    <a:pt x="46" y="155"/>
                    <a:pt x="46" y="155"/>
                  </a:cubicBezTo>
                  <a:cubicBezTo>
                    <a:pt x="46" y="155"/>
                    <a:pt x="49" y="159"/>
                    <a:pt x="53" y="165"/>
                  </a:cubicBezTo>
                  <a:cubicBezTo>
                    <a:pt x="38" y="165"/>
                    <a:pt x="24" y="166"/>
                    <a:pt x="18" y="166"/>
                  </a:cubicBezTo>
                  <a:cubicBezTo>
                    <a:pt x="16" y="166"/>
                    <a:pt x="15" y="166"/>
                    <a:pt x="15" y="166"/>
                  </a:cubicBezTo>
                  <a:cubicBezTo>
                    <a:pt x="15" y="166"/>
                    <a:pt x="15" y="166"/>
                    <a:pt x="15" y="166"/>
                  </a:cubicBezTo>
                  <a:cubicBezTo>
                    <a:pt x="14" y="165"/>
                    <a:pt x="14" y="165"/>
                    <a:pt x="14" y="164"/>
                  </a:cubicBezTo>
                  <a:cubicBezTo>
                    <a:pt x="13" y="163"/>
                    <a:pt x="13" y="163"/>
                    <a:pt x="13" y="163"/>
                  </a:cubicBezTo>
                  <a:cubicBezTo>
                    <a:pt x="13" y="163"/>
                    <a:pt x="13" y="163"/>
                    <a:pt x="13" y="163"/>
                  </a:cubicBezTo>
                  <a:cubicBezTo>
                    <a:pt x="13" y="162"/>
                    <a:pt x="40" y="138"/>
                    <a:pt x="41" y="138"/>
                  </a:cubicBezTo>
                  <a:cubicBezTo>
                    <a:pt x="41" y="138"/>
                    <a:pt x="41" y="138"/>
                    <a:pt x="41" y="138"/>
                  </a:cubicBezTo>
                  <a:cubicBezTo>
                    <a:pt x="41" y="138"/>
                    <a:pt x="41" y="138"/>
                    <a:pt x="41" y="138"/>
                  </a:cubicBezTo>
                  <a:cubicBezTo>
                    <a:pt x="42" y="139"/>
                    <a:pt x="43" y="139"/>
                    <a:pt x="44" y="139"/>
                  </a:cubicBezTo>
                  <a:cubicBezTo>
                    <a:pt x="45" y="139"/>
                    <a:pt x="45" y="139"/>
                    <a:pt x="46" y="139"/>
                  </a:cubicBezTo>
                  <a:cubicBezTo>
                    <a:pt x="47" y="138"/>
                    <a:pt x="48" y="138"/>
                    <a:pt x="48" y="137"/>
                  </a:cubicBezTo>
                  <a:cubicBezTo>
                    <a:pt x="48" y="137"/>
                    <a:pt x="48" y="137"/>
                    <a:pt x="48" y="137"/>
                  </a:cubicBezTo>
                  <a:moveTo>
                    <a:pt x="586" y="70"/>
                  </a:moveTo>
                  <a:cubicBezTo>
                    <a:pt x="586" y="70"/>
                    <a:pt x="586" y="70"/>
                    <a:pt x="586" y="70"/>
                  </a:cubicBezTo>
                  <a:cubicBezTo>
                    <a:pt x="588" y="70"/>
                    <a:pt x="590" y="71"/>
                    <a:pt x="592" y="71"/>
                  </a:cubicBezTo>
                  <a:cubicBezTo>
                    <a:pt x="594" y="71"/>
                    <a:pt x="596" y="70"/>
                    <a:pt x="598" y="70"/>
                  </a:cubicBezTo>
                  <a:cubicBezTo>
                    <a:pt x="597" y="70"/>
                    <a:pt x="597" y="70"/>
                    <a:pt x="597" y="70"/>
                  </a:cubicBezTo>
                  <a:cubicBezTo>
                    <a:pt x="597" y="70"/>
                    <a:pt x="597" y="70"/>
                    <a:pt x="598" y="70"/>
                  </a:cubicBezTo>
                  <a:cubicBezTo>
                    <a:pt x="601" y="70"/>
                    <a:pt x="642" y="138"/>
                    <a:pt x="637" y="142"/>
                  </a:cubicBezTo>
                  <a:cubicBezTo>
                    <a:pt x="637" y="142"/>
                    <a:pt x="637" y="142"/>
                    <a:pt x="637" y="142"/>
                  </a:cubicBezTo>
                  <a:cubicBezTo>
                    <a:pt x="630" y="147"/>
                    <a:pt x="625" y="156"/>
                    <a:pt x="625" y="165"/>
                  </a:cubicBezTo>
                  <a:cubicBezTo>
                    <a:pt x="625" y="179"/>
                    <a:pt x="634" y="190"/>
                    <a:pt x="648" y="194"/>
                  </a:cubicBezTo>
                  <a:cubicBezTo>
                    <a:pt x="653" y="195"/>
                    <a:pt x="643" y="267"/>
                    <a:pt x="640" y="268"/>
                  </a:cubicBezTo>
                  <a:cubicBezTo>
                    <a:pt x="640" y="268"/>
                    <a:pt x="640" y="268"/>
                    <a:pt x="640" y="268"/>
                  </a:cubicBezTo>
                  <a:cubicBezTo>
                    <a:pt x="632" y="268"/>
                    <a:pt x="625" y="274"/>
                    <a:pt x="625" y="283"/>
                  </a:cubicBezTo>
                  <a:cubicBezTo>
                    <a:pt x="625" y="286"/>
                    <a:pt x="626" y="288"/>
                    <a:pt x="628" y="291"/>
                  </a:cubicBezTo>
                  <a:cubicBezTo>
                    <a:pt x="628" y="291"/>
                    <a:pt x="628" y="291"/>
                    <a:pt x="628" y="291"/>
                  </a:cubicBezTo>
                  <a:cubicBezTo>
                    <a:pt x="629" y="293"/>
                    <a:pt x="586" y="329"/>
                    <a:pt x="583" y="329"/>
                  </a:cubicBezTo>
                  <a:cubicBezTo>
                    <a:pt x="583" y="329"/>
                    <a:pt x="583" y="329"/>
                    <a:pt x="583" y="329"/>
                  </a:cubicBezTo>
                  <a:cubicBezTo>
                    <a:pt x="583" y="329"/>
                    <a:pt x="583" y="329"/>
                    <a:pt x="583" y="329"/>
                  </a:cubicBezTo>
                  <a:cubicBezTo>
                    <a:pt x="581" y="328"/>
                    <a:pt x="579" y="327"/>
                    <a:pt x="576" y="327"/>
                  </a:cubicBezTo>
                  <a:cubicBezTo>
                    <a:pt x="576" y="327"/>
                    <a:pt x="575" y="327"/>
                    <a:pt x="574" y="327"/>
                  </a:cubicBezTo>
                  <a:cubicBezTo>
                    <a:pt x="574" y="327"/>
                    <a:pt x="574" y="327"/>
                    <a:pt x="574" y="327"/>
                  </a:cubicBezTo>
                  <a:cubicBezTo>
                    <a:pt x="574" y="327"/>
                    <a:pt x="574" y="327"/>
                    <a:pt x="574" y="327"/>
                  </a:cubicBezTo>
                  <a:cubicBezTo>
                    <a:pt x="572" y="327"/>
                    <a:pt x="518" y="213"/>
                    <a:pt x="523" y="211"/>
                  </a:cubicBezTo>
                  <a:cubicBezTo>
                    <a:pt x="523" y="211"/>
                    <a:pt x="523" y="211"/>
                    <a:pt x="523" y="211"/>
                  </a:cubicBezTo>
                  <a:cubicBezTo>
                    <a:pt x="530" y="206"/>
                    <a:pt x="535" y="199"/>
                    <a:pt x="535" y="190"/>
                  </a:cubicBezTo>
                  <a:cubicBezTo>
                    <a:pt x="535" y="182"/>
                    <a:pt x="531" y="175"/>
                    <a:pt x="525" y="171"/>
                  </a:cubicBezTo>
                  <a:cubicBezTo>
                    <a:pt x="525" y="171"/>
                    <a:pt x="525" y="171"/>
                    <a:pt x="525" y="171"/>
                  </a:cubicBezTo>
                  <a:cubicBezTo>
                    <a:pt x="521" y="168"/>
                    <a:pt x="583" y="70"/>
                    <a:pt x="586" y="70"/>
                  </a:cubicBezTo>
                  <a:cubicBezTo>
                    <a:pt x="586" y="70"/>
                    <a:pt x="586" y="70"/>
                    <a:pt x="586" y="70"/>
                  </a:cubicBezTo>
                  <a:moveTo>
                    <a:pt x="678" y="145"/>
                  </a:moveTo>
                  <a:cubicBezTo>
                    <a:pt x="674" y="141"/>
                    <a:pt x="762" y="34"/>
                    <a:pt x="767" y="34"/>
                  </a:cubicBezTo>
                  <a:cubicBezTo>
                    <a:pt x="767" y="34"/>
                    <a:pt x="767" y="34"/>
                    <a:pt x="767" y="34"/>
                  </a:cubicBezTo>
                  <a:cubicBezTo>
                    <a:pt x="767" y="34"/>
                    <a:pt x="767" y="34"/>
                    <a:pt x="767" y="34"/>
                  </a:cubicBezTo>
                  <a:cubicBezTo>
                    <a:pt x="770" y="35"/>
                    <a:pt x="773" y="36"/>
                    <a:pt x="776" y="36"/>
                  </a:cubicBezTo>
                  <a:cubicBezTo>
                    <a:pt x="779" y="36"/>
                    <a:pt x="781" y="35"/>
                    <a:pt x="784" y="34"/>
                  </a:cubicBezTo>
                  <a:cubicBezTo>
                    <a:pt x="784" y="34"/>
                    <a:pt x="784" y="34"/>
                    <a:pt x="784" y="34"/>
                  </a:cubicBezTo>
                  <a:cubicBezTo>
                    <a:pt x="784" y="34"/>
                    <a:pt x="784" y="34"/>
                    <a:pt x="784" y="34"/>
                  </a:cubicBezTo>
                  <a:cubicBezTo>
                    <a:pt x="788" y="34"/>
                    <a:pt x="846" y="121"/>
                    <a:pt x="843" y="124"/>
                  </a:cubicBezTo>
                  <a:cubicBezTo>
                    <a:pt x="843" y="123"/>
                    <a:pt x="843" y="123"/>
                    <a:pt x="843" y="123"/>
                  </a:cubicBezTo>
                  <a:cubicBezTo>
                    <a:pt x="839" y="127"/>
                    <a:pt x="837" y="132"/>
                    <a:pt x="837" y="137"/>
                  </a:cubicBezTo>
                  <a:cubicBezTo>
                    <a:pt x="837" y="138"/>
                    <a:pt x="837" y="138"/>
                    <a:pt x="837" y="139"/>
                  </a:cubicBezTo>
                  <a:cubicBezTo>
                    <a:pt x="837" y="139"/>
                    <a:pt x="837" y="139"/>
                    <a:pt x="837" y="139"/>
                  </a:cubicBezTo>
                  <a:cubicBezTo>
                    <a:pt x="837" y="142"/>
                    <a:pt x="781" y="156"/>
                    <a:pt x="776" y="156"/>
                  </a:cubicBezTo>
                  <a:cubicBezTo>
                    <a:pt x="776" y="156"/>
                    <a:pt x="775" y="156"/>
                    <a:pt x="775" y="156"/>
                  </a:cubicBezTo>
                  <a:cubicBezTo>
                    <a:pt x="775" y="156"/>
                    <a:pt x="775" y="156"/>
                    <a:pt x="775" y="156"/>
                  </a:cubicBezTo>
                  <a:cubicBezTo>
                    <a:pt x="775" y="156"/>
                    <a:pt x="775" y="156"/>
                    <a:pt x="775" y="156"/>
                  </a:cubicBezTo>
                  <a:cubicBezTo>
                    <a:pt x="774" y="153"/>
                    <a:pt x="771" y="152"/>
                    <a:pt x="768" y="152"/>
                  </a:cubicBezTo>
                  <a:cubicBezTo>
                    <a:pt x="767" y="152"/>
                    <a:pt x="766" y="152"/>
                    <a:pt x="765" y="153"/>
                  </a:cubicBezTo>
                  <a:cubicBezTo>
                    <a:pt x="763" y="154"/>
                    <a:pt x="761" y="156"/>
                    <a:pt x="761" y="158"/>
                  </a:cubicBezTo>
                  <a:cubicBezTo>
                    <a:pt x="761" y="158"/>
                    <a:pt x="761" y="158"/>
                    <a:pt x="761" y="158"/>
                  </a:cubicBezTo>
                  <a:cubicBezTo>
                    <a:pt x="761" y="159"/>
                    <a:pt x="751" y="160"/>
                    <a:pt x="738" y="161"/>
                  </a:cubicBezTo>
                  <a:cubicBezTo>
                    <a:pt x="744" y="161"/>
                    <a:pt x="749" y="161"/>
                    <a:pt x="753" y="161"/>
                  </a:cubicBezTo>
                  <a:cubicBezTo>
                    <a:pt x="758" y="161"/>
                    <a:pt x="761" y="161"/>
                    <a:pt x="761" y="161"/>
                  </a:cubicBezTo>
                  <a:cubicBezTo>
                    <a:pt x="761" y="161"/>
                    <a:pt x="761" y="161"/>
                    <a:pt x="761" y="161"/>
                  </a:cubicBezTo>
                  <a:cubicBezTo>
                    <a:pt x="761" y="161"/>
                    <a:pt x="761" y="162"/>
                    <a:pt x="761" y="162"/>
                  </a:cubicBezTo>
                  <a:cubicBezTo>
                    <a:pt x="762" y="163"/>
                    <a:pt x="762" y="163"/>
                    <a:pt x="762" y="164"/>
                  </a:cubicBezTo>
                  <a:cubicBezTo>
                    <a:pt x="762" y="164"/>
                    <a:pt x="762" y="164"/>
                    <a:pt x="762" y="164"/>
                  </a:cubicBezTo>
                  <a:cubicBezTo>
                    <a:pt x="763" y="164"/>
                    <a:pt x="736" y="191"/>
                    <a:pt x="708" y="218"/>
                  </a:cubicBezTo>
                  <a:cubicBezTo>
                    <a:pt x="706" y="216"/>
                    <a:pt x="704" y="214"/>
                    <a:pt x="702" y="212"/>
                  </a:cubicBezTo>
                  <a:cubicBezTo>
                    <a:pt x="704" y="214"/>
                    <a:pt x="706" y="216"/>
                    <a:pt x="707" y="218"/>
                  </a:cubicBezTo>
                  <a:cubicBezTo>
                    <a:pt x="680" y="244"/>
                    <a:pt x="652" y="270"/>
                    <a:pt x="650" y="270"/>
                  </a:cubicBezTo>
                  <a:cubicBezTo>
                    <a:pt x="650" y="270"/>
                    <a:pt x="650" y="270"/>
                    <a:pt x="650" y="270"/>
                  </a:cubicBezTo>
                  <a:cubicBezTo>
                    <a:pt x="650" y="270"/>
                    <a:pt x="650" y="270"/>
                    <a:pt x="650" y="270"/>
                  </a:cubicBezTo>
                  <a:cubicBezTo>
                    <a:pt x="649" y="269"/>
                    <a:pt x="647" y="269"/>
                    <a:pt x="645" y="268"/>
                  </a:cubicBezTo>
                  <a:cubicBezTo>
                    <a:pt x="645" y="268"/>
                    <a:pt x="645" y="268"/>
                    <a:pt x="645" y="268"/>
                  </a:cubicBezTo>
                  <a:cubicBezTo>
                    <a:pt x="642" y="267"/>
                    <a:pt x="650" y="195"/>
                    <a:pt x="656" y="195"/>
                  </a:cubicBezTo>
                  <a:cubicBezTo>
                    <a:pt x="656" y="195"/>
                    <a:pt x="656" y="195"/>
                    <a:pt x="656" y="195"/>
                  </a:cubicBezTo>
                  <a:cubicBezTo>
                    <a:pt x="663" y="194"/>
                    <a:pt x="669" y="192"/>
                    <a:pt x="674" y="189"/>
                  </a:cubicBezTo>
                  <a:cubicBezTo>
                    <a:pt x="674" y="189"/>
                    <a:pt x="674" y="189"/>
                    <a:pt x="674" y="189"/>
                  </a:cubicBezTo>
                  <a:cubicBezTo>
                    <a:pt x="674" y="189"/>
                    <a:pt x="674" y="189"/>
                    <a:pt x="674" y="189"/>
                  </a:cubicBezTo>
                  <a:cubicBezTo>
                    <a:pt x="677" y="189"/>
                    <a:pt x="683" y="194"/>
                    <a:pt x="690" y="200"/>
                  </a:cubicBezTo>
                  <a:cubicBezTo>
                    <a:pt x="683" y="192"/>
                    <a:pt x="678" y="186"/>
                    <a:pt x="679" y="184"/>
                  </a:cubicBezTo>
                  <a:cubicBezTo>
                    <a:pt x="679" y="184"/>
                    <a:pt x="679" y="184"/>
                    <a:pt x="679" y="184"/>
                  </a:cubicBezTo>
                  <a:cubicBezTo>
                    <a:pt x="683" y="179"/>
                    <a:pt x="686" y="174"/>
                    <a:pt x="686" y="168"/>
                  </a:cubicBezTo>
                  <a:cubicBezTo>
                    <a:pt x="686" y="168"/>
                    <a:pt x="686" y="168"/>
                    <a:pt x="686" y="168"/>
                  </a:cubicBezTo>
                  <a:cubicBezTo>
                    <a:pt x="686" y="165"/>
                    <a:pt x="701" y="163"/>
                    <a:pt x="718" y="162"/>
                  </a:cubicBezTo>
                  <a:cubicBezTo>
                    <a:pt x="713" y="162"/>
                    <a:pt x="709" y="162"/>
                    <a:pt x="705" y="162"/>
                  </a:cubicBezTo>
                  <a:cubicBezTo>
                    <a:pt x="694" y="162"/>
                    <a:pt x="686" y="161"/>
                    <a:pt x="686" y="160"/>
                  </a:cubicBezTo>
                  <a:cubicBezTo>
                    <a:pt x="686" y="160"/>
                    <a:pt x="686" y="160"/>
                    <a:pt x="686" y="160"/>
                  </a:cubicBezTo>
                  <a:cubicBezTo>
                    <a:pt x="685" y="154"/>
                    <a:pt x="682" y="149"/>
                    <a:pt x="678" y="145"/>
                  </a:cubicBezTo>
                  <a:cubicBezTo>
                    <a:pt x="678" y="145"/>
                    <a:pt x="678" y="145"/>
                    <a:pt x="678" y="145"/>
                  </a:cubicBezTo>
                  <a:moveTo>
                    <a:pt x="789" y="31"/>
                  </a:moveTo>
                  <a:cubicBezTo>
                    <a:pt x="789" y="31"/>
                    <a:pt x="789" y="31"/>
                    <a:pt x="789" y="31"/>
                  </a:cubicBezTo>
                  <a:cubicBezTo>
                    <a:pt x="789" y="31"/>
                    <a:pt x="789" y="31"/>
                    <a:pt x="789" y="31"/>
                  </a:cubicBezTo>
                  <a:cubicBezTo>
                    <a:pt x="789" y="31"/>
                    <a:pt x="789" y="31"/>
                    <a:pt x="789" y="31"/>
                  </a:cubicBezTo>
                  <a:moveTo>
                    <a:pt x="776" y="0"/>
                  </a:moveTo>
                  <a:cubicBezTo>
                    <a:pt x="766" y="0"/>
                    <a:pt x="757" y="8"/>
                    <a:pt x="757" y="18"/>
                  </a:cubicBezTo>
                  <a:cubicBezTo>
                    <a:pt x="757" y="23"/>
                    <a:pt x="759" y="27"/>
                    <a:pt x="763" y="30"/>
                  </a:cubicBezTo>
                  <a:cubicBezTo>
                    <a:pt x="762" y="30"/>
                    <a:pt x="762" y="30"/>
                    <a:pt x="762" y="30"/>
                  </a:cubicBezTo>
                  <a:cubicBezTo>
                    <a:pt x="765" y="33"/>
                    <a:pt x="678" y="140"/>
                    <a:pt x="671" y="140"/>
                  </a:cubicBezTo>
                  <a:cubicBezTo>
                    <a:pt x="671" y="140"/>
                    <a:pt x="671" y="140"/>
                    <a:pt x="671" y="140"/>
                  </a:cubicBezTo>
                  <a:cubicBezTo>
                    <a:pt x="671" y="140"/>
                    <a:pt x="671" y="140"/>
                    <a:pt x="671" y="140"/>
                  </a:cubicBezTo>
                  <a:cubicBezTo>
                    <a:pt x="666" y="137"/>
                    <a:pt x="661" y="136"/>
                    <a:pt x="656" y="136"/>
                  </a:cubicBezTo>
                  <a:cubicBezTo>
                    <a:pt x="652" y="136"/>
                    <a:pt x="648" y="136"/>
                    <a:pt x="645" y="138"/>
                  </a:cubicBezTo>
                  <a:cubicBezTo>
                    <a:pt x="645" y="138"/>
                    <a:pt x="645" y="138"/>
                    <a:pt x="644" y="138"/>
                  </a:cubicBezTo>
                  <a:cubicBezTo>
                    <a:pt x="638" y="138"/>
                    <a:pt x="600" y="69"/>
                    <a:pt x="602" y="67"/>
                  </a:cubicBezTo>
                  <a:cubicBezTo>
                    <a:pt x="602" y="68"/>
                    <a:pt x="602" y="68"/>
                    <a:pt x="602" y="68"/>
                  </a:cubicBezTo>
                  <a:cubicBezTo>
                    <a:pt x="606" y="65"/>
                    <a:pt x="608" y="60"/>
                    <a:pt x="608" y="56"/>
                  </a:cubicBezTo>
                  <a:cubicBezTo>
                    <a:pt x="608" y="47"/>
                    <a:pt x="601" y="41"/>
                    <a:pt x="592" y="41"/>
                  </a:cubicBezTo>
                  <a:cubicBezTo>
                    <a:pt x="584" y="41"/>
                    <a:pt x="576" y="47"/>
                    <a:pt x="576" y="56"/>
                  </a:cubicBezTo>
                  <a:cubicBezTo>
                    <a:pt x="576" y="60"/>
                    <a:pt x="579" y="64"/>
                    <a:pt x="582" y="67"/>
                  </a:cubicBezTo>
                  <a:cubicBezTo>
                    <a:pt x="582" y="67"/>
                    <a:pt x="582" y="67"/>
                    <a:pt x="582" y="67"/>
                  </a:cubicBezTo>
                  <a:cubicBezTo>
                    <a:pt x="584" y="69"/>
                    <a:pt x="525" y="167"/>
                    <a:pt x="519" y="167"/>
                  </a:cubicBezTo>
                  <a:cubicBezTo>
                    <a:pt x="519" y="167"/>
                    <a:pt x="519" y="167"/>
                    <a:pt x="519" y="167"/>
                  </a:cubicBezTo>
                  <a:cubicBezTo>
                    <a:pt x="516" y="166"/>
                    <a:pt x="512" y="165"/>
                    <a:pt x="509" y="165"/>
                  </a:cubicBezTo>
                  <a:cubicBezTo>
                    <a:pt x="495" y="165"/>
                    <a:pt x="483" y="176"/>
                    <a:pt x="483" y="190"/>
                  </a:cubicBezTo>
                  <a:cubicBezTo>
                    <a:pt x="483" y="202"/>
                    <a:pt x="493" y="213"/>
                    <a:pt x="505" y="214"/>
                  </a:cubicBezTo>
                  <a:cubicBezTo>
                    <a:pt x="505" y="214"/>
                    <a:pt x="505" y="214"/>
                    <a:pt x="505" y="214"/>
                  </a:cubicBezTo>
                  <a:cubicBezTo>
                    <a:pt x="510" y="215"/>
                    <a:pt x="509" y="291"/>
                    <a:pt x="507" y="291"/>
                  </a:cubicBezTo>
                  <a:cubicBezTo>
                    <a:pt x="507" y="291"/>
                    <a:pt x="507" y="291"/>
                    <a:pt x="507" y="291"/>
                  </a:cubicBezTo>
                  <a:cubicBezTo>
                    <a:pt x="506" y="291"/>
                    <a:pt x="505" y="291"/>
                    <a:pt x="504" y="292"/>
                  </a:cubicBezTo>
                  <a:cubicBezTo>
                    <a:pt x="500" y="294"/>
                    <a:pt x="497" y="298"/>
                    <a:pt x="497" y="302"/>
                  </a:cubicBezTo>
                  <a:cubicBezTo>
                    <a:pt x="497" y="302"/>
                    <a:pt x="497" y="302"/>
                    <a:pt x="497" y="302"/>
                  </a:cubicBezTo>
                  <a:cubicBezTo>
                    <a:pt x="497" y="304"/>
                    <a:pt x="361" y="319"/>
                    <a:pt x="345" y="319"/>
                  </a:cubicBezTo>
                  <a:cubicBezTo>
                    <a:pt x="343" y="319"/>
                    <a:pt x="343" y="319"/>
                    <a:pt x="343" y="319"/>
                  </a:cubicBezTo>
                  <a:cubicBezTo>
                    <a:pt x="343" y="319"/>
                    <a:pt x="343" y="319"/>
                    <a:pt x="343" y="319"/>
                  </a:cubicBezTo>
                  <a:cubicBezTo>
                    <a:pt x="343" y="318"/>
                    <a:pt x="342" y="318"/>
                    <a:pt x="342" y="317"/>
                  </a:cubicBezTo>
                  <a:cubicBezTo>
                    <a:pt x="340" y="313"/>
                    <a:pt x="336" y="311"/>
                    <a:pt x="331" y="311"/>
                  </a:cubicBezTo>
                  <a:cubicBezTo>
                    <a:pt x="330" y="311"/>
                    <a:pt x="328" y="311"/>
                    <a:pt x="326" y="312"/>
                  </a:cubicBezTo>
                  <a:cubicBezTo>
                    <a:pt x="323" y="313"/>
                    <a:pt x="321" y="315"/>
                    <a:pt x="320" y="318"/>
                  </a:cubicBezTo>
                  <a:cubicBezTo>
                    <a:pt x="320" y="318"/>
                    <a:pt x="320" y="318"/>
                    <a:pt x="320" y="318"/>
                  </a:cubicBezTo>
                  <a:cubicBezTo>
                    <a:pt x="320" y="318"/>
                    <a:pt x="320" y="318"/>
                    <a:pt x="320" y="318"/>
                  </a:cubicBezTo>
                  <a:cubicBezTo>
                    <a:pt x="310" y="318"/>
                    <a:pt x="180" y="290"/>
                    <a:pt x="180" y="287"/>
                  </a:cubicBezTo>
                  <a:cubicBezTo>
                    <a:pt x="180" y="287"/>
                    <a:pt x="180" y="287"/>
                    <a:pt x="180" y="287"/>
                  </a:cubicBezTo>
                  <a:cubicBezTo>
                    <a:pt x="180" y="283"/>
                    <a:pt x="178" y="279"/>
                    <a:pt x="175" y="276"/>
                  </a:cubicBezTo>
                  <a:cubicBezTo>
                    <a:pt x="172" y="273"/>
                    <a:pt x="169" y="272"/>
                    <a:pt x="165" y="272"/>
                  </a:cubicBezTo>
                  <a:cubicBezTo>
                    <a:pt x="161" y="272"/>
                    <a:pt x="157" y="274"/>
                    <a:pt x="154" y="277"/>
                  </a:cubicBezTo>
                  <a:cubicBezTo>
                    <a:pt x="154" y="278"/>
                    <a:pt x="153" y="279"/>
                    <a:pt x="153" y="280"/>
                  </a:cubicBezTo>
                  <a:cubicBezTo>
                    <a:pt x="153" y="280"/>
                    <a:pt x="153" y="280"/>
                    <a:pt x="153" y="280"/>
                  </a:cubicBezTo>
                  <a:cubicBezTo>
                    <a:pt x="153" y="280"/>
                    <a:pt x="152" y="280"/>
                    <a:pt x="152" y="280"/>
                  </a:cubicBezTo>
                  <a:cubicBezTo>
                    <a:pt x="148" y="280"/>
                    <a:pt x="124" y="272"/>
                    <a:pt x="103" y="265"/>
                  </a:cubicBezTo>
                  <a:cubicBezTo>
                    <a:pt x="94" y="241"/>
                    <a:pt x="82" y="205"/>
                    <a:pt x="83" y="205"/>
                  </a:cubicBezTo>
                  <a:cubicBezTo>
                    <a:pt x="82" y="205"/>
                    <a:pt x="82" y="205"/>
                    <a:pt x="82" y="205"/>
                  </a:cubicBezTo>
                  <a:cubicBezTo>
                    <a:pt x="84" y="204"/>
                    <a:pt x="85" y="203"/>
                    <a:pt x="85" y="202"/>
                  </a:cubicBezTo>
                  <a:cubicBezTo>
                    <a:pt x="85" y="202"/>
                    <a:pt x="85" y="202"/>
                    <a:pt x="85" y="202"/>
                  </a:cubicBezTo>
                  <a:cubicBezTo>
                    <a:pt x="85" y="202"/>
                    <a:pt x="86" y="202"/>
                    <a:pt x="86" y="202"/>
                  </a:cubicBezTo>
                  <a:cubicBezTo>
                    <a:pt x="90" y="202"/>
                    <a:pt x="125" y="213"/>
                    <a:pt x="125" y="214"/>
                  </a:cubicBezTo>
                  <a:cubicBezTo>
                    <a:pt x="125" y="214"/>
                    <a:pt x="125" y="214"/>
                    <a:pt x="125" y="214"/>
                  </a:cubicBezTo>
                  <a:cubicBezTo>
                    <a:pt x="125" y="215"/>
                    <a:pt x="125" y="216"/>
                    <a:pt x="125" y="217"/>
                  </a:cubicBezTo>
                  <a:cubicBezTo>
                    <a:pt x="126" y="218"/>
                    <a:pt x="128" y="219"/>
                    <a:pt x="130" y="219"/>
                  </a:cubicBezTo>
                  <a:cubicBezTo>
                    <a:pt x="130" y="219"/>
                    <a:pt x="131" y="219"/>
                    <a:pt x="132" y="219"/>
                  </a:cubicBezTo>
                  <a:cubicBezTo>
                    <a:pt x="134" y="218"/>
                    <a:pt x="135" y="215"/>
                    <a:pt x="134" y="213"/>
                  </a:cubicBezTo>
                  <a:cubicBezTo>
                    <a:pt x="133" y="211"/>
                    <a:pt x="131" y="210"/>
                    <a:pt x="130" y="210"/>
                  </a:cubicBezTo>
                  <a:cubicBezTo>
                    <a:pt x="129" y="210"/>
                    <a:pt x="128" y="210"/>
                    <a:pt x="128" y="210"/>
                  </a:cubicBezTo>
                  <a:cubicBezTo>
                    <a:pt x="127" y="211"/>
                    <a:pt x="127" y="211"/>
                    <a:pt x="126" y="211"/>
                  </a:cubicBezTo>
                  <a:cubicBezTo>
                    <a:pt x="126" y="211"/>
                    <a:pt x="126" y="211"/>
                    <a:pt x="126" y="211"/>
                  </a:cubicBezTo>
                  <a:cubicBezTo>
                    <a:pt x="126" y="211"/>
                    <a:pt x="126" y="211"/>
                    <a:pt x="126" y="211"/>
                  </a:cubicBezTo>
                  <a:cubicBezTo>
                    <a:pt x="125" y="211"/>
                    <a:pt x="83" y="181"/>
                    <a:pt x="61" y="164"/>
                  </a:cubicBezTo>
                  <a:cubicBezTo>
                    <a:pt x="81" y="163"/>
                    <a:pt x="100" y="162"/>
                    <a:pt x="106" y="162"/>
                  </a:cubicBezTo>
                  <a:cubicBezTo>
                    <a:pt x="107" y="162"/>
                    <a:pt x="108" y="162"/>
                    <a:pt x="108" y="162"/>
                  </a:cubicBezTo>
                  <a:cubicBezTo>
                    <a:pt x="108" y="162"/>
                    <a:pt x="108" y="162"/>
                    <a:pt x="108" y="162"/>
                  </a:cubicBezTo>
                  <a:cubicBezTo>
                    <a:pt x="108" y="163"/>
                    <a:pt x="108" y="163"/>
                    <a:pt x="108" y="163"/>
                  </a:cubicBezTo>
                  <a:cubicBezTo>
                    <a:pt x="109" y="165"/>
                    <a:pt x="111" y="166"/>
                    <a:pt x="112" y="166"/>
                  </a:cubicBezTo>
                  <a:cubicBezTo>
                    <a:pt x="113" y="166"/>
                    <a:pt x="114" y="166"/>
                    <a:pt x="114" y="165"/>
                  </a:cubicBezTo>
                  <a:cubicBezTo>
                    <a:pt x="117" y="164"/>
                    <a:pt x="118" y="162"/>
                    <a:pt x="117" y="159"/>
                  </a:cubicBezTo>
                  <a:cubicBezTo>
                    <a:pt x="116" y="158"/>
                    <a:pt x="114" y="157"/>
                    <a:pt x="112" y="157"/>
                  </a:cubicBezTo>
                  <a:cubicBezTo>
                    <a:pt x="112" y="157"/>
                    <a:pt x="111" y="157"/>
                    <a:pt x="110" y="157"/>
                  </a:cubicBezTo>
                  <a:cubicBezTo>
                    <a:pt x="109" y="158"/>
                    <a:pt x="109" y="158"/>
                    <a:pt x="108" y="159"/>
                  </a:cubicBezTo>
                  <a:cubicBezTo>
                    <a:pt x="108" y="159"/>
                    <a:pt x="108" y="159"/>
                    <a:pt x="108" y="159"/>
                  </a:cubicBezTo>
                  <a:cubicBezTo>
                    <a:pt x="108" y="159"/>
                    <a:pt x="108" y="159"/>
                    <a:pt x="108" y="159"/>
                  </a:cubicBezTo>
                  <a:cubicBezTo>
                    <a:pt x="106" y="159"/>
                    <a:pt x="49" y="136"/>
                    <a:pt x="49" y="135"/>
                  </a:cubicBezTo>
                  <a:cubicBezTo>
                    <a:pt x="49" y="136"/>
                    <a:pt x="49" y="136"/>
                    <a:pt x="49" y="136"/>
                  </a:cubicBezTo>
                  <a:cubicBezTo>
                    <a:pt x="49" y="135"/>
                    <a:pt x="49" y="133"/>
                    <a:pt x="48" y="132"/>
                  </a:cubicBezTo>
                  <a:cubicBezTo>
                    <a:pt x="48" y="131"/>
                    <a:pt x="46" y="130"/>
                    <a:pt x="44" y="130"/>
                  </a:cubicBezTo>
                  <a:cubicBezTo>
                    <a:pt x="43" y="130"/>
                    <a:pt x="43" y="130"/>
                    <a:pt x="42" y="130"/>
                  </a:cubicBezTo>
                  <a:cubicBezTo>
                    <a:pt x="40" y="131"/>
                    <a:pt x="39" y="134"/>
                    <a:pt x="40" y="136"/>
                  </a:cubicBezTo>
                  <a:cubicBezTo>
                    <a:pt x="40" y="137"/>
                    <a:pt x="40" y="137"/>
                    <a:pt x="40" y="137"/>
                  </a:cubicBezTo>
                  <a:cubicBezTo>
                    <a:pt x="40" y="137"/>
                    <a:pt x="40" y="137"/>
                    <a:pt x="40" y="137"/>
                  </a:cubicBezTo>
                  <a:cubicBezTo>
                    <a:pt x="41" y="138"/>
                    <a:pt x="14" y="162"/>
                    <a:pt x="12" y="162"/>
                  </a:cubicBezTo>
                  <a:cubicBezTo>
                    <a:pt x="12" y="162"/>
                    <a:pt x="12" y="162"/>
                    <a:pt x="12" y="162"/>
                  </a:cubicBezTo>
                  <a:cubicBezTo>
                    <a:pt x="12" y="162"/>
                    <a:pt x="12" y="162"/>
                    <a:pt x="12" y="162"/>
                  </a:cubicBezTo>
                  <a:cubicBezTo>
                    <a:pt x="11" y="161"/>
                    <a:pt x="9" y="161"/>
                    <a:pt x="8" y="161"/>
                  </a:cubicBezTo>
                  <a:cubicBezTo>
                    <a:pt x="7" y="161"/>
                    <a:pt x="6" y="161"/>
                    <a:pt x="5" y="161"/>
                  </a:cubicBezTo>
                  <a:cubicBezTo>
                    <a:pt x="1" y="163"/>
                    <a:pt x="0" y="167"/>
                    <a:pt x="2" y="170"/>
                  </a:cubicBezTo>
                  <a:cubicBezTo>
                    <a:pt x="3" y="172"/>
                    <a:pt x="5" y="174"/>
                    <a:pt x="8" y="174"/>
                  </a:cubicBezTo>
                  <a:cubicBezTo>
                    <a:pt x="9" y="174"/>
                    <a:pt x="10" y="174"/>
                    <a:pt x="11" y="173"/>
                  </a:cubicBezTo>
                  <a:cubicBezTo>
                    <a:pt x="13" y="172"/>
                    <a:pt x="14" y="170"/>
                    <a:pt x="15" y="168"/>
                  </a:cubicBezTo>
                  <a:cubicBezTo>
                    <a:pt x="15" y="168"/>
                    <a:pt x="15" y="168"/>
                    <a:pt x="15" y="168"/>
                  </a:cubicBezTo>
                  <a:cubicBezTo>
                    <a:pt x="15" y="167"/>
                    <a:pt x="33" y="166"/>
                    <a:pt x="53" y="165"/>
                  </a:cubicBezTo>
                  <a:cubicBezTo>
                    <a:pt x="62" y="176"/>
                    <a:pt x="75" y="194"/>
                    <a:pt x="74" y="194"/>
                  </a:cubicBezTo>
                  <a:cubicBezTo>
                    <a:pt x="75" y="194"/>
                    <a:pt x="75" y="194"/>
                    <a:pt x="75" y="194"/>
                  </a:cubicBezTo>
                  <a:cubicBezTo>
                    <a:pt x="72" y="196"/>
                    <a:pt x="72" y="199"/>
                    <a:pt x="73" y="202"/>
                  </a:cubicBezTo>
                  <a:cubicBezTo>
                    <a:pt x="74" y="204"/>
                    <a:pt x="77" y="206"/>
                    <a:pt x="79" y="206"/>
                  </a:cubicBezTo>
                  <a:cubicBezTo>
                    <a:pt x="80" y="206"/>
                    <a:pt x="80" y="206"/>
                    <a:pt x="81" y="206"/>
                  </a:cubicBezTo>
                  <a:cubicBezTo>
                    <a:pt x="81" y="206"/>
                    <a:pt x="81" y="206"/>
                    <a:pt x="81" y="206"/>
                  </a:cubicBezTo>
                  <a:cubicBezTo>
                    <a:pt x="81" y="206"/>
                    <a:pt x="81" y="206"/>
                    <a:pt x="81" y="206"/>
                  </a:cubicBezTo>
                  <a:cubicBezTo>
                    <a:pt x="81" y="206"/>
                    <a:pt x="94" y="241"/>
                    <a:pt x="103" y="265"/>
                  </a:cubicBezTo>
                  <a:cubicBezTo>
                    <a:pt x="91" y="261"/>
                    <a:pt x="79" y="257"/>
                    <a:pt x="73" y="254"/>
                  </a:cubicBezTo>
                  <a:cubicBezTo>
                    <a:pt x="74" y="251"/>
                    <a:pt x="72" y="247"/>
                    <a:pt x="70" y="245"/>
                  </a:cubicBezTo>
                  <a:cubicBezTo>
                    <a:pt x="68" y="244"/>
                    <a:pt x="65" y="243"/>
                    <a:pt x="63" y="243"/>
                  </a:cubicBezTo>
                  <a:cubicBezTo>
                    <a:pt x="60" y="243"/>
                    <a:pt x="57" y="244"/>
                    <a:pt x="55" y="246"/>
                  </a:cubicBezTo>
                  <a:cubicBezTo>
                    <a:pt x="52" y="251"/>
                    <a:pt x="52" y="257"/>
                    <a:pt x="57" y="260"/>
                  </a:cubicBezTo>
                  <a:cubicBezTo>
                    <a:pt x="59" y="262"/>
                    <a:pt x="61" y="262"/>
                    <a:pt x="63" y="262"/>
                  </a:cubicBezTo>
                  <a:cubicBezTo>
                    <a:pt x="66" y="262"/>
                    <a:pt x="69" y="261"/>
                    <a:pt x="71" y="259"/>
                  </a:cubicBezTo>
                  <a:cubicBezTo>
                    <a:pt x="72" y="258"/>
                    <a:pt x="72" y="257"/>
                    <a:pt x="73" y="256"/>
                  </a:cubicBezTo>
                  <a:cubicBezTo>
                    <a:pt x="79" y="258"/>
                    <a:pt x="91" y="261"/>
                    <a:pt x="103" y="265"/>
                  </a:cubicBezTo>
                  <a:cubicBezTo>
                    <a:pt x="108" y="278"/>
                    <a:pt x="111" y="288"/>
                    <a:pt x="111" y="288"/>
                  </a:cubicBezTo>
                  <a:cubicBezTo>
                    <a:pt x="111" y="288"/>
                    <a:pt x="111" y="288"/>
                    <a:pt x="111" y="288"/>
                  </a:cubicBezTo>
                  <a:cubicBezTo>
                    <a:pt x="109" y="289"/>
                    <a:pt x="108" y="291"/>
                    <a:pt x="109" y="293"/>
                  </a:cubicBezTo>
                  <a:cubicBezTo>
                    <a:pt x="109" y="293"/>
                    <a:pt x="109" y="293"/>
                    <a:pt x="109" y="293"/>
                  </a:cubicBezTo>
                  <a:cubicBezTo>
                    <a:pt x="109" y="293"/>
                    <a:pt x="109" y="293"/>
                    <a:pt x="109" y="293"/>
                  </a:cubicBezTo>
                  <a:cubicBezTo>
                    <a:pt x="109" y="293"/>
                    <a:pt x="70" y="319"/>
                    <a:pt x="69" y="319"/>
                  </a:cubicBezTo>
                  <a:cubicBezTo>
                    <a:pt x="69" y="319"/>
                    <a:pt x="69" y="319"/>
                    <a:pt x="69" y="319"/>
                  </a:cubicBezTo>
                  <a:cubicBezTo>
                    <a:pt x="69" y="319"/>
                    <a:pt x="69" y="319"/>
                    <a:pt x="69" y="319"/>
                  </a:cubicBezTo>
                  <a:cubicBezTo>
                    <a:pt x="68" y="319"/>
                    <a:pt x="67" y="318"/>
                    <a:pt x="66" y="318"/>
                  </a:cubicBezTo>
                  <a:cubicBezTo>
                    <a:pt x="66" y="318"/>
                    <a:pt x="66" y="318"/>
                    <a:pt x="65" y="318"/>
                  </a:cubicBezTo>
                  <a:cubicBezTo>
                    <a:pt x="63" y="319"/>
                    <a:pt x="63" y="321"/>
                    <a:pt x="63" y="323"/>
                  </a:cubicBezTo>
                  <a:cubicBezTo>
                    <a:pt x="64" y="324"/>
                    <a:pt x="65" y="325"/>
                    <a:pt x="67" y="325"/>
                  </a:cubicBezTo>
                  <a:cubicBezTo>
                    <a:pt x="67" y="325"/>
                    <a:pt x="67" y="324"/>
                    <a:pt x="68" y="324"/>
                  </a:cubicBezTo>
                  <a:cubicBezTo>
                    <a:pt x="69" y="324"/>
                    <a:pt x="69" y="323"/>
                    <a:pt x="69" y="323"/>
                  </a:cubicBezTo>
                  <a:cubicBezTo>
                    <a:pt x="69" y="323"/>
                    <a:pt x="69" y="323"/>
                    <a:pt x="69" y="323"/>
                  </a:cubicBezTo>
                  <a:cubicBezTo>
                    <a:pt x="69" y="323"/>
                    <a:pt x="69" y="323"/>
                    <a:pt x="70" y="323"/>
                  </a:cubicBezTo>
                  <a:cubicBezTo>
                    <a:pt x="71" y="323"/>
                    <a:pt x="109" y="335"/>
                    <a:pt x="109" y="336"/>
                  </a:cubicBezTo>
                  <a:cubicBezTo>
                    <a:pt x="109" y="335"/>
                    <a:pt x="109" y="335"/>
                    <a:pt x="109" y="335"/>
                  </a:cubicBezTo>
                  <a:cubicBezTo>
                    <a:pt x="108" y="336"/>
                    <a:pt x="109" y="337"/>
                    <a:pt x="109" y="338"/>
                  </a:cubicBezTo>
                  <a:cubicBezTo>
                    <a:pt x="110" y="339"/>
                    <a:pt x="111" y="340"/>
                    <a:pt x="112" y="340"/>
                  </a:cubicBezTo>
                  <a:cubicBezTo>
                    <a:pt x="113" y="340"/>
                    <a:pt x="114" y="340"/>
                    <a:pt x="114" y="340"/>
                  </a:cubicBezTo>
                  <a:cubicBezTo>
                    <a:pt x="116" y="339"/>
                    <a:pt x="117" y="336"/>
                    <a:pt x="116" y="335"/>
                  </a:cubicBezTo>
                  <a:cubicBezTo>
                    <a:pt x="115" y="333"/>
                    <a:pt x="114" y="333"/>
                    <a:pt x="113" y="332"/>
                  </a:cubicBezTo>
                  <a:cubicBezTo>
                    <a:pt x="113" y="332"/>
                    <a:pt x="113" y="332"/>
                    <a:pt x="113" y="332"/>
                  </a:cubicBezTo>
                  <a:cubicBezTo>
                    <a:pt x="112" y="332"/>
                    <a:pt x="112" y="295"/>
                    <a:pt x="113" y="295"/>
                  </a:cubicBezTo>
                  <a:cubicBezTo>
                    <a:pt x="113" y="295"/>
                    <a:pt x="113" y="295"/>
                    <a:pt x="113" y="295"/>
                  </a:cubicBezTo>
                  <a:cubicBezTo>
                    <a:pt x="113" y="295"/>
                    <a:pt x="114" y="295"/>
                    <a:pt x="114" y="295"/>
                  </a:cubicBezTo>
                  <a:cubicBezTo>
                    <a:pt x="116" y="294"/>
                    <a:pt x="117" y="291"/>
                    <a:pt x="116" y="290"/>
                  </a:cubicBezTo>
                  <a:cubicBezTo>
                    <a:pt x="115" y="288"/>
                    <a:pt x="114" y="287"/>
                    <a:pt x="112" y="287"/>
                  </a:cubicBezTo>
                  <a:cubicBezTo>
                    <a:pt x="112" y="287"/>
                    <a:pt x="112" y="287"/>
                    <a:pt x="112" y="287"/>
                  </a:cubicBezTo>
                  <a:cubicBezTo>
                    <a:pt x="112" y="287"/>
                    <a:pt x="112" y="287"/>
                    <a:pt x="112" y="287"/>
                  </a:cubicBezTo>
                  <a:cubicBezTo>
                    <a:pt x="112" y="287"/>
                    <a:pt x="112" y="287"/>
                    <a:pt x="112" y="287"/>
                  </a:cubicBezTo>
                  <a:cubicBezTo>
                    <a:pt x="112" y="287"/>
                    <a:pt x="108" y="278"/>
                    <a:pt x="103" y="265"/>
                  </a:cubicBezTo>
                  <a:cubicBezTo>
                    <a:pt x="126" y="273"/>
                    <a:pt x="151" y="282"/>
                    <a:pt x="151" y="284"/>
                  </a:cubicBezTo>
                  <a:cubicBezTo>
                    <a:pt x="151" y="284"/>
                    <a:pt x="151" y="284"/>
                    <a:pt x="151" y="284"/>
                  </a:cubicBezTo>
                  <a:cubicBezTo>
                    <a:pt x="150" y="289"/>
                    <a:pt x="152" y="294"/>
                    <a:pt x="156" y="297"/>
                  </a:cubicBezTo>
                  <a:cubicBezTo>
                    <a:pt x="159" y="299"/>
                    <a:pt x="162" y="300"/>
                    <a:pt x="165" y="300"/>
                  </a:cubicBezTo>
                  <a:cubicBezTo>
                    <a:pt x="170" y="300"/>
                    <a:pt x="174" y="299"/>
                    <a:pt x="177" y="295"/>
                  </a:cubicBezTo>
                  <a:cubicBezTo>
                    <a:pt x="178" y="294"/>
                    <a:pt x="178" y="293"/>
                    <a:pt x="179" y="291"/>
                  </a:cubicBezTo>
                  <a:cubicBezTo>
                    <a:pt x="179" y="291"/>
                    <a:pt x="179" y="291"/>
                    <a:pt x="179" y="291"/>
                  </a:cubicBezTo>
                  <a:cubicBezTo>
                    <a:pt x="179" y="291"/>
                    <a:pt x="179" y="291"/>
                    <a:pt x="180" y="291"/>
                  </a:cubicBezTo>
                  <a:cubicBezTo>
                    <a:pt x="191" y="291"/>
                    <a:pt x="320" y="319"/>
                    <a:pt x="319" y="321"/>
                  </a:cubicBezTo>
                  <a:cubicBezTo>
                    <a:pt x="319" y="321"/>
                    <a:pt x="319" y="321"/>
                    <a:pt x="319" y="321"/>
                  </a:cubicBezTo>
                  <a:cubicBezTo>
                    <a:pt x="319" y="323"/>
                    <a:pt x="320" y="325"/>
                    <a:pt x="321" y="327"/>
                  </a:cubicBezTo>
                  <a:cubicBezTo>
                    <a:pt x="323" y="331"/>
                    <a:pt x="327" y="333"/>
                    <a:pt x="331" y="333"/>
                  </a:cubicBezTo>
                  <a:cubicBezTo>
                    <a:pt x="333" y="333"/>
                    <a:pt x="335" y="333"/>
                    <a:pt x="336" y="332"/>
                  </a:cubicBezTo>
                  <a:cubicBezTo>
                    <a:pt x="339" y="331"/>
                    <a:pt x="340" y="330"/>
                    <a:pt x="341" y="328"/>
                  </a:cubicBezTo>
                  <a:cubicBezTo>
                    <a:pt x="341" y="328"/>
                    <a:pt x="341" y="328"/>
                    <a:pt x="341" y="328"/>
                  </a:cubicBezTo>
                  <a:cubicBezTo>
                    <a:pt x="342" y="328"/>
                    <a:pt x="342" y="328"/>
                    <a:pt x="342" y="328"/>
                  </a:cubicBezTo>
                  <a:cubicBezTo>
                    <a:pt x="347" y="328"/>
                    <a:pt x="375" y="340"/>
                    <a:pt x="375" y="342"/>
                  </a:cubicBezTo>
                  <a:cubicBezTo>
                    <a:pt x="375" y="342"/>
                    <a:pt x="375" y="342"/>
                    <a:pt x="375" y="342"/>
                  </a:cubicBezTo>
                  <a:cubicBezTo>
                    <a:pt x="375" y="343"/>
                    <a:pt x="375" y="345"/>
                    <a:pt x="375" y="346"/>
                  </a:cubicBezTo>
                  <a:cubicBezTo>
                    <a:pt x="376" y="348"/>
                    <a:pt x="378" y="349"/>
                    <a:pt x="380" y="350"/>
                  </a:cubicBezTo>
                  <a:cubicBezTo>
                    <a:pt x="380" y="350"/>
                    <a:pt x="380" y="350"/>
                    <a:pt x="380" y="350"/>
                  </a:cubicBezTo>
                  <a:cubicBezTo>
                    <a:pt x="381" y="350"/>
                    <a:pt x="371" y="406"/>
                    <a:pt x="370" y="406"/>
                  </a:cubicBezTo>
                  <a:cubicBezTo>
                    <a:pt x="371" y="406"/>
                    <a:pt x="371" y="406"/>
                    <a:pt x="371" y="406"/>
                  </a:cubicBezTo>
                  <a:cubicBezTo>
                    <a:pt x="371" y="406"/>
                    <a:pt x="371" y="406"/>
                    <a:pt x="370" y="406"/>
                  </a:cubicBezTo>
                  <a:cubicBezTo>
                    <a:pt x="370" y="406"/>
                    <a:pt x="369" y="406"/>
                    <a:pt x="368" y="406"/>
                  </a:cubicBezTo>
                  <a:cubicBezTo>
                    <a:pt x="366" y="407"/>
                    <a:pt x="365" y="410"/>
                    <a:pt x="366" y="412"/>
                  </a:cubicBezTo>
                  <a:cubicBezTo>
                    <a:pt x="367" y="414"/>
                    <a:pt x="369" y="415"/>
                    <a:pt x="370" y="415"/>
                  </a:cubicBezTo>
                  <a:cubicBezTo>
                    <a:pt x="371" y="415"/>
                    <a:pt x="372" y="415"/>
                    <a:pt x="373" y="414"/>
                  </a:cubicBezTo>
                  <a:cubicBezTo>
                    <a:pt x="375" y="413"/>
                    <a:pt x="376" y="411"/>
                    <a:pt x="375" y="408"/>
                  </a:cubicBezTo>
                  <a:cubicBezTo>
                    <a:pt x="375" y="408"/>
                    <a:pt x="375" y="408"/>
                    <a:pt x="375" y="408"/>
                  </a:cubicBezTo>
                  <a:cubicBezTo>
                    <a:pt x="375" y="408"/>
                    <a:pt x="375" y="408"/>
                    <a:pt x="375" y="408"/>
                  </a:cubicBezTo>
                  <a:cubicBezTo>
                    <a:pt x="374" y="407"/>
                    <a:pt x="399" y="388"/>
                    <a:pt x="401" y="388"/>
                  </a:cubicBezTo>
                  <a:cubicBezTo>
                    <a:pt x="402" y="388"/>
                    <a:pt x="402" y="388"/>
                    <a:pt x="402" y="388"/>
                  </a:cubicBezTo>
                  <a:cubicBezTo>
                    <a:pt x="402" y="388"/>
                    <a:pt x="402" y="388"/>
                    <a:pt x="402" y="388"/>
                  </a:cubicBezTo>
                  <a:cubicBezTo>
                    <a:pt x="403" y="390"/>
                    <a:pt x="406" y="390"/>
                    <a:pt x="408" y="390"/>
                  </a:cubicBezTo>
                  <a:cubicBezTo>
                    <a:pt x="409" y="390"/>
                    <a:pt x="411" y="390"/>
                    <a:pt x="412" y="390"/>
                  </a:cubicBezTo>
                  <a:cubicBezTo>
                    <a:pt x="416" y="388"/>
                    <a:pt x="418" y="382"/>
                    <a:pt x="416" y="378"/>
                  </a:cubicBezTo>
                  <a:cubicBezTo>
                    <a:pt x="415" y="375"/>
                    <a:pt x="411" y="373"/>
                    <a:pt x="408" y="373"/>
                  </a:cubicBezTo>
                  <a:cubicBezTo>
                    <a:pt x="407" y="373"/>
                    <a:pt x="405" y="373"/>
                    <a:pt x="404" y="374"/>
                  </a:cubicBezTo>
                  <a:cubicBezTo>
                    <a:pt x="404" y="374"/>
                    <a:pt x="404" y="374"/>
                    <a:pt x="404" y="374"/>
                  </a:cubicBezTo>
                  <a:cubicBezTo>
                    <a:pt x="404" y="374"/>
                    <a:pt x="404" y="374"/>
                    <a:pt x="404" y="374"/>
                  </a:cubicBezTo>
                  <a:cubicBezTo>
                    <a:pt x="402" y="374"/>
                    <a:pt x="385" y="349"/>
                    <a:pt x="386" y="348"/>
                  </a:cubicBezTo>
                  <a:cubicBezTo>
                    <a:pt x="386" y="348"/>
                    <a:pt x="386" y="348"/>
                    <a:pt x="386" y="348"/>
                  </a:cubicBezTo>
                  <a:cubicBezTo>
                    <a:pt x="389" y="346"/>
                    <a:pt x="389" y="343"/>
                    <a:pt x="388" y="340"/>
                  </a:cubicBezTo>
                  <a:cubicBezTo>
                    <a:pt x="387" y="338"/>
                    <a:pt x="384" y="337"/>
                    <a:pt x="382" y="337"/>
                  </a:cubicBezTo>
                  <a:cubicBezTo>
                    <a:pt x="381" y="337"/>
                    <a:pt x="380" y="337"/>
                    <a:pt x="379" y="337"/>
                  </a:cubicBezTo>
                  <a:cubicBezTo>
                    <a:pt x="378" y="338"/>
                    <a:pt x="377" y="339"/>
                    <a:pt x="376" y="340"/>
                  </a:cubicBezTo>
                  <a:cubicBezTo>
                    <a:pt x="376" y="340"/>
                    <a:pt x="376" y="340"/>
                    <a:pt x="376" y="340"/>
                  </a:cubicBezTo>
                  <a:cubicBezTo>
                    <a:pt x="376" y="340"/>
                    <a:pt x="376" y="340"/>
                    <a:pt x="376" y="340"/>
                  </a:cubicBezTo>
                  <a:cubicBezTo>
                    <a:pt x="373" y="340"/>
                    <a:pt x="342" y="327"/>
                    <a:pt x="343" y="325"/>
                  </a:cubicBezTo>
                  <a:cubicBezTo>
                    <a:pt x="343" y="325"/>
                    <a:pt x="343" y="325"/>
                    <a:pt x="343" y="325"/>
                  </a:cubicBezTo>
                  <a:cubicBezTo>
                    <a:pt x="343" y="324"/>
                    <a:pt x="343" y="323"/>
                    <a:pt x="343" y="322"/>
                  </a:cubicBezTo>
                  <a:cubicBezTo>
                    <a:pt x="343" y="322"/>
                    <a:pt x="343" y="322"/>
                    <a:pt x="343" y="322"/>
                  </a:cubicBezTo>
                  <a:cubicBezTo>
                    <a:pt x="343" y="320"/>
                    <a:pt x="479" y="305"/>
                    <a:pt x="496" y="305"/>
                  </a:cubicBezTo>
                  <a:cubicBezTo>
                    <a:pt x="497" y="305"/>
                    <a:pt x="497" y="305"/>
                    <a:pt x="497" y="305"/>
                  </a:cubicBezTo>
                  <a:cubicBezTo>
                    <a:pt x="497" y="305"/>
                    <a:pt x="497" y="305"/>
                    <a:pt x="497" y="305"/>
                  </a:cubicBezTo>
                  <a:cubicBezTo>
                    <a:pt x="498" y="306"/>
                    <a:pt x="498" y="306"/>
                    <a:pt x="498" y="307"/>
                  </a:cubicBezTo>
                  <a:cubicBezTo>
                    <a:pt x="500" y="311"/>
                    <a:pt x="504" y="314"/>
                    <a:pt x="509" y="314"/>
                  </a:cubicBezTo>
                  <a:cubicBezTo>
                    <a:pt x="511" y="314"/>
                    <a:pt x="512" y="313"/>
                    <a:pt x="514" y="313"/>
                  </a:cubicBezTo>
                  <a:cubicBezTo>
                    <a:pt x="516" y="312"/>
                    <a:pt x="517" y="311"/>
                    <a:pt x="519" y="309"/>
                  </a:cubicBezTo>
                  <a:cubicBezTo>
                    <a:pt x="519" y="309"/>
                    <a:pt x="519" y="309"/>
                    <a:pt x="519" y="309"/>
                  </a:cubicBezTo>
                  <a:cubicBezTo>
                    <a:pt x="519" y="309"/>
                    <a:pt x="519" y="309"/>
                    <a:pt x="519" y="309"/>
                  </a:cubicBezTo>
                  <a:cubicBezTo>
                    <a:pt x="523" y="309"/>
                    <a:pt x="568" y="332"/>
                    <a:pt x="567" y="333"/>
                  </a:cubicBezTo>
                  <a:cubicBezTo>
                    <a:pt x="567" y="333"/>
                    <a:pt x="567" y="333"/>
                    <a:pt x="567" y="333"/>
                  </a:cubicBezTo>
                  <a:cubicBezTo>
                    <a:pt x="566" y="336"/>
                    <a:pt x="566" y="338"/>
                    <a:pt x="567" y="341"/>
                  </a:cubicBezTo>
                  <a:cubicBezTo>
                    <a:pt x="569" y="344"/>
                    <a:pt x="573" y="346"/>
                    <a:pt x="576" y="346"/>
                  </a:cubicBezTo>
                  <a:cubicBezTo>
                    <a:pt x="578" y="346"/>
                    <a:pt x="579" y="346"/>
                    <a:pt x="581" y="345"/>
                  </a:cubicBezTo>
                  <a:cubicBezTo>
                    <a:pt x="586" y="343"/>
                    <a:pt x="588" y="337"/>
                    <a:pt x="586" y="332"/>
                  </a:cubicBezTo>
                  <a:cubicBezTo>
                    <a:pt x="585" y="331"/>
                    <a:pt x="585" y="331"/>
                    <a:pt x="585" y="331"/>
                  </a:cubicBezTo>
                  <a:cubicBezTo>
                    <a:pt x="585" y="331"/>
                    <a:pt x="585" y="331"/>
                    <a:pt x="585" y="331"/>
                  </a:cubicBezTo>
                  <a:cubicBezTo>
                    <a:pt x="584" y="330"/>
                    <a:pt x="626" y="294"/>
                    <a:pt x="631" y="294"/>
                  </a:cubicBezTo>
                  <a:cubicBezTo>
                    <a:pt x="631" y="294"/>
                    <a:pt x="631" y="294"/>
                    <a:pt x="631" y="294"/>
                  </a:cubicBezTo>
                  <a:cubicBezTo>
                    <a:pt x="631" y="294"/>
                    <a:pt x="631" y="294"/>
                    <a:pt x="631" y="294"/>
                  </a:cubicBezTo>
                  <a:cubicBezTo>
                    <a:pt x="634" y="296"/>
                    <a:pt x="637" y="298"/>
                    <a:pt x="641" y="298"/>
                  </a:cubicBezTo>
                  <a:cubicBezTo>
                    <a:pt x="647" y="298"/>
                    <a:pt x="653" y="294"/>
                    <a:pt x="655" y="289"/>
                  </a:cubicBezTo>
                  <a:cubicBezTo>
                    <a:pt x="655" y="289"/>
                    <a:pt x="655" y="289"/>
                    <a:pt x="655" y="289"/>
                  </a:cubicBezTo>
                  <a:cubicBezTo>
                    <a:pt x="655" y="289"/>
                    <a:pt x="656" y="289"/>
                    <a:pt x="656" y="289"/>
                  </a:cubicBezTo>
                  <a:cubicBezTo>
                    <a:pt x="666" y="289"/>
                    <a:pt x="737" y="308"/>
                    <a:pt x="737" y="310"/>
                  </a:cubicBezTo>
                  <a:cubicBezTo>
                    <a:pt x="737" y="310"/>
                    <a:pt x="737" y="310"/>
                    <a:pt x="737" y="310"/>
                  </a:cubicBezTo>
                  <a:cubicBezTo>
                    <a:pt x="737" y="311"/>
                    <a:pt x="737" y="312"/>
                    <a:pt x="738" y="314"/>
                  </a:cubicBezTo>
                  <a:cubicBezTo>
                    <a:pt x="738" y="314"/>
                    <a:pt x="739" y="315"/>
                    <a:pt x="739" y="316"/>
                  </a:cubicBezTo>
                  <a:cubicBezTo>
                    <a:pt x="739" y="316"/>
                    <a:pt x="739" y="316"/>
                    <a:pt x="739" y="316"/>
                  </a:cubicBezTo>
                  <a:cubicBezTo>
                    <a:pt x="740" y="317"/>
                    <a:pt x="692" y="378"/>
                    <a:pt x="689" y="378"/>
                  </a:cubicBezTo>
                  <a:cubicBezTo>
                    <a:pt x="689" y="378"/>
                    <a:pt x="689" y="378"/>
                    <a:pt x="689" y="378"/>
                  </a:cubicBezTo>
                  <a:cubicBezTo>
                    <a:pt x="687" y="377"/>
                    <a:pt x="684" y="376"/>
                    <a:pt x="682" y="376"/>
                  </a:cubicBezTo>
                  <a:cubicBezTo>
                    <a:pt x="674" y="376"/>
                    <a:pt x="667" y="382"/>
                    <a:pt x="667" y="390"/>
                  </a:cubicBezTo>
                  <a:cubicBezTo>
                    <a:pt x="667" y="391"/>
                    <a:pt x="667" y="392"/>
                    <a:pt x="668" y="393"/>
                  </a:cubicBezTo>
                  <a:cubicBezTo>
                    <a:pt x="668" y="396"/>
                    <a:pt x="559" y="435"/>
                    <a:pt x="552" y="435"/>
                  </a:cubicBezTo>
                  <a:cubicBezTo>
                    <a:pt x="552" y="435"/>
                    <a:pt x="552" y="435"/>
                    <a:pt x="552" y="435"/>
                  </a:cubicBezTo>
                  <a:cubicBezTo>
                    <a:pt x="552" y="435"/>
                    <a:pt x="552" y="435"/>
                    <a:pt x="552" y="435"/>
                  </a:cubicBezTo>
                  <a:cubicBezTo>
                    <a:pt x="550" y="431"/>
                    <a:pt x="545" y="429"/>
                    <a:pt x="540" y="429"/>
                  </a:cubicBezTo>
                  <a:cubicBezTo>
                    <a:pt x="533" y="429"/>
                    <a:pt x="527" y="434"/>
                    <a:pt x="527" y="442"/>
                  </a:cubicBezTo>
                  <a:cubicBezTo>
                    <a:pt x="527" y="449"/>
                    <a:pt x="533" y="455"/>
                    <a:pt x="540" y="455"/>
                  </a:cubicBezTo>
                  <a:cubicBezTo>
                    <a:pt x="548" y="455"/>
                    <a:pt x="554" y="449"/>
                    <a:pt x="554" y="442"/>
                  </a:cubicBezTo>
                  <a:cubicBezTo>
                    <a:pt x="554" y="441"/>
                    <a:pt x="554" y="440"/>
                    <a:pt x="553" y="439"/>
                  </a:cubicBezTo>
                  <a:cubicBezTo>
                    <a:pt x="553" y="436"/>
                    <a:pt x="661" y="397"/>
                    <a:pt x="669" y="397"/>
                  </a:cubicBezTo>
                  <a:cubicBezTo>
                    <a:pt x="669" y="397"/>
                    <a:pt x="669" y="397"/>
                    <a:pt x="669" y="397"/>
                  </a:cubicBezTo>
                  <a:cubicBezTo>
                    <a:pt x="669" y="397"/>
                    <a:pt x="669" y="397"/>
                    <a:pt x="669" y="397"/>
                  </a:cubicBezTo>
                  <a:cubicBezTo>
                    <a:pt x="671" y="401"/>
                    <a:pt x="675" y="403"/>
                    <a:pt x="680" y="404"/>
                  </a:cubicBezTo>
                  <a:cubicBezTo>
                    <a:pt x="680" y="404"/>
                    <a:pt x="680" y="404"/>
                    <a:pt x="680" y="404"/>
                  </a:cubicBezTo>
                  <a:cubicBezTo>
                    <a:pt x="683" y="404"/>
                    <a:pt x="682" y="478"/>
                    <a:pt x="681" y="478"/>
                  </a:cubicBezTo>
                  <a:cubicBezTo>
                    <a:pt x="681" y="478"/>
                    <a:pt x="681" y="478"/>
                    <a:pt x="681" y="478"/>
                  </a:cubicBezTo>
                  <a:cubicBezTo>
                    <a:pt x="680" y="478"/>
                    <a:pt x="679" y="479"/>
                    <a:pt x="679" y="479"/>
                  </a:cubicBezTo>
                  <a:cubicBezTo>
                    <a:pt x="676" y="480"/>
                    <a:pt x="674" y="483"/>
                    <a:pt x="674" y="486"/>
                  </a:cubicBezTo>
                  <a:cubicBezTo>
                    <a:pt x="674" y="486"/>
                    <a:pt x="674" y="486"/>
                    <a:pt x="674" y="486"/>
                  </a:cubicBezTo>
                  <a:cubicBezTo>
                    <a:pt x="674" y="488"/>
                    <a:pt x="615" y="505"/>
                    <a:pt x="607" y="505"/>
                  </a:cubicBezTo>
                  <a:cubicBezTo>
                    <a:pt x="607" y="505"/>
                    <a:pt x="606" y="505"/>
                    <a:pt x="606" y="505"/>
                  </a:cubicBezTo>
                  <a:cubicBezTo>
                    <a:pt x="606" y="505"/>
                    <a:pt x="606" y="505"/>
                    <a:pt x="606" y="505"/>
                  </a:cubicBezTo>
                  <a:cubicBezTo>
                    <a:pt x="604" y="501"/>
                    <a:pt x="599" y="498"/>
                    <a:pt x="594" y="498"/>
                  </a:cubicBezTo>
                  <a:cubicBezTo>
                    <a:pt x="592" y="498"/>
                    <a:pt x="590" y="498"/>
                    <a:pt x="588" y="499"/>
                  </a:cubicBezTo>
                  <a:cubicBezTo>
                    <a:pt x="582" y="502"/>
                    <a:pt x="579" y="510"/>
                    <a:pt x="582" y="516"/>
                  </a:cubicBezTo>
                  <a:cubicBezTo>
                    <a:pt x="584" y="521"/>
                    <a:pt x="589" y="524"/>
                    <a:pt x="594" y="524"/>
                  </a:cubicBezTo>
                  <a:cubicBezTo>
                    <a:pt x="596" y="524"/>
                    <a:pt x="598" y="523"/>
                    <a:pt x="600" y="523"/>
                  </a:cubicBezTo>
                  <a:cubicBezTo>
                    <a:pt x="605" y="520"/>
                    <a:pt x="608" y="515"/>
                    <a:pt x="608" y="509"/>
                  </a:cubicBezTo>
                  <a:cubicBezTo>
                    <a:pt x="608" y="509"/>
                    <a:pt x="608" y="509"/>
                    <a:pt x="608" y="509"/>
                  </a:cubicBezTo>
                  <a:cubicBezTo>
                    <a:pt x="607" y="507"/>
                    <a:pt x="670" y="489"/>
                    <a:pt x="675" y="489"/>
                  </a:cubicBezTo>
                  <a:cubicBezTo>
                    <a:pt x="675" y="489"/>
                    <a:pt x="675" y="489"/>
                    <a:pt x="675" y="489"/>
                  </a:cubicBezTo>
                  <a:cubicBezTo>
                    <a:pt x="675" y="489"/>
                    <a:pt x="675" y="489"/>
                    <a:pt x="675" y="489"/>
                  </a:cubicBezTo>
                  <a:cubicBezTo>
                    <a:pt x="676" y="491"/>
                    <a:pt x="679" y="493"/>
                    <a:pt x="682" y="493"/>
                  </a:cubicBezTo>
                  <a:cubicBezTo>
                    <a:pt x="683" y="493"/>
                    <a:pt x="684" y="493"/>
                    <a:pt x="685" y="492"/>
                  </a:cubicBezTo>
                  <a:cubicBezTo>
                    <a:pt x="689" y="490"/>
                    <a:pt x="690" y="486"/>
                    <a:pt x="689" y="482"/>
                  </a:cubicBezTo>
                  <a:cubicBezTo>
                    <a:pt x="688" y="480"/>
                    <a:pt x="685" y="479"/>
                    <a:pt x="683" y="478"/>
                  </a:cubicBezTo>
                  <a:cubicBezTo>
                    <a:pt x="683" y="478"/>
                    <a:pt x="683" y="478"/>
                    <a:pt x="683" y="478"/>
                  </a:cubicBezTo>
                  <a:cubicBezTo>
                    <a:pt x="682" y="478"/>
                    <a:pt x="681" y="404"/>
                    <a:pt x="684" y="404"/>
                  </a:cubicBezTo>
                  <a:cubicBezTo>
                    <a:pt x="684" y="404"/>
                    <a:pt x="684" y="404"/>
                    <a:pt x="684" y="404"/>
                  </a:cubicBezTo>
                  <a:cubicBezTo>
                    <a:pt x="689" y="403"/>
                    <a:pt x="693" y="400"/>
                    <a:pt x="695" y="396"/>
                  </a:cubicBezTo>
                  <a:cubicBezTo>
                    <a:pt x="695" y="396"/>
                    <a:pt x="695" y="396"/>
                    <a:pt x="695" y="396"/>
                  </a:cubicBezTo>
                  <a:cubicBezTo>
                    <a:pt x="695" y="396"/>
                    <a:pt x="695" y="396"/>
                    <a:pt x="696" y="396"/>
                  </a:cubicBezTo>
                  <a:cubicBezTo>
                    <a:pt x="704" y="396"/>
                    <a:pt x="759" y="413"/>
                    <a:pt x="758" y="416"/>
                  </a:cubicBezTo>
                  <a:cubicBezTo>
                    <a:pt x="758" y="416"/>
                    <a:pt x="758" y="416"/>
                    <a:pt x="758" y="416"/>
                  </a:cubicBezTo>
                  <a:cubicBezTo>
                    <a:pt x="758" y="417"/>
                    <a:pt x="758" y="418"/>
                    <a:pt x="758" y="419"/>
                  </a:cubicBezTo>
                  <a:cubicBezTo>
                    <a:pt x="758" y="429"/>
                    <a:pt x="766" y="437"/>
                    <a:pt x="776" y="437"/>
                  </a:cubicBezTo>
                  <a:cubicBezTo>
                    <a:pt x="786" y="437"/>
                    <a:pt x="795" y="429"/>
                    <a:pt x="795" y="419"/>
                  </a:cubicBezTo>
                  <a:cubicBezTo>
                    <a:pt x="795" y="409"/>
                    <a:pt x="786" y="401"/>
                    <a:pt x="776" y="401"/>
                  </a:cubicBezTo>
                  <a:cubicBezTo>
                    <a:pt x="769" y="401"/>
                    <a:pt x="763" y="405"/>
                    <a:pt x="760" y="411"/>
                  </a:cubicBezTo>
                  <a:cubicBezTo>
                    <a:pt x="760" y="411"/>
                    <a:pt x="760" y="411"/>
                    <a:pt x="760" y="411"/>
                  </a:cubicBezTo>
                  <a:cubicBezTo>
                    <a:pt x="760" y="411"/>
                    <a:pt x="759" y="411"/>
                    <a:pt x="759" y="411"/>
                  </a:cubicBezTo>
                  <a:cubicBezTo>
                    <a:pt x="749" y="411"/>
                    <a:pt x="696" y="395"/>
                    <a:pt x="696" y="392"/>
                  </a:cubicBezTo>
                  <a:cubicBezTo>
                    <a:pt x="696" y="392"/>
                    <a:pt x="696" y="392"/>
                    <a:pt x="696" y="392"/>
                  </a:cubicBezTo>
                  <a:cubicBezTo>
                    <a:pt x="696" y="391"/>
                    <a:pt x="696" y="391"/>
                    <a:pt x="696" y="390"/>
                  </a:cubicBezTo>
                  <a:cubicBezTo>
                    <a:pt x="696" y="386"/>
                    <a:pt x="695" y="383"/>
                    <a:pt x="692" y="380"/>
                  </a:cubicBezTo>
                  <a:cubicBezTo>
                    <a:pt x="692" y="380"/>
                    <a:pt x="692" y="380"/>
                    <a:pt x="692" y="380"/>
                  </a:cubicBezTo>
                  <a:cubicBezTo>
                    <a:pt x="690" y="378"/>
                    <a:pt x="739" y="317"/>
                    <a:pt x="741" y="317"/>
                  </a:cubicBezTo>
                  <a:cubicBezTo>
                    <a:pt x="741" y="317"/>
                    <a:pt x="741" y="317"/>
                    <a:pt x="741" y="317"/>
                  </a:cubicBezTo>
                  <a:cubicBezTo>
                    <a:pt x="741" y="317"/>
                    <a:pt x="741" y="317"/>
                    <a:pt x="741" y="317"/>
                  </a:cubicBezTo>
                  <a:cubicBezTo>
                    <a:pt x="742" y="318"/>
                    <a:pt x="743" y="318"/>
                    <a:pt x="745" y="318"/>
                  </a:cubicBezTo>
                  <a:cubicBezTo>
                    <a:pt x="746" y="318"/>
                    <a:pt x="747" y="318"/>
                    <a:pt x="748" y="317"/>
                  </a:cubicBezTo>
                  <a:cubicBezTo>
                    <a:pt x="748" y="317"/>
                    <a:pt x="749" y="316"/>
                    <a:pt x="750" y="316"/>
                  </a:cubicBezTo>
                  <a:cubicBezTo>
                    <a:pt x="749" y="316"/>
                    <a:pt x="749" y="316"/>
                    <a:pt x="749" y="316"/>
                  </a:cubicBezTo>
                  <a:cubicBezTo>
                    <a:pt x="749" y="316"/>
                    <a:pt x="750" y="316"/>
                    <a:pt x="750" y="316"/>
                  </a:cubicBezTo>
                  <a:cubicBezTo>
                    <a:pt x="752" y="316"/>
                    <a:pt x="870" y="414"/>
                    <a:pt x="868" y="417"/>
                  </a:cubicBezTo>
                  <a:cubicBezTo>
                    <a:pt x="868" y="417"/>
                    <a:pt x="868" y="417"/>
                    <a:pt x="868" y="417"/>
                  </a:cubicBezTo>
                  <a:cubicBezTo>
                    <a:pt x="867" y="419"/>
                    <a:pt x="866" y="421"/>
                    <a:pt x="866" y="424"/>
                  </a:cubicBezTo>
                  <a:cubicBezTo>
                    <a:pt x="865" y="433"/>
                    <a:pt x="872" y="440"/>
                    <a:pt x="881" y="441"/>
                  </a:cubicBezTo>
                  <a:cubicBezTo>
                    <a:pt x="882" y="441"/>
                    <a:pt x="882" y="441"/>
                    <a:pt x="882" y="441"/>
                  </a:cubicBezTo>
                  <a:cubicBezTo>
                    <a:pt x="885" y="441"/>
                    <a:pt x="887" y="440"/>
                    <a:pt x="889" y="439"/>
                  </a:cubicBezTo>
                  <a:cubicBezTo>
                    <a:pt x="889" y="439"/>
                    <a:pt x="889" y="439"/>
                    <a:pt x="889" y="439"/>
                  </a:cubicBezTo>
                  <a:cubicBezTo>
                    <a:pt x="889" y="439"/>
                    <a:pt x="889" y="439"/>
                    <a:pt x="889" y="439"/>
                  </a:cubicBezTo>
                  <a:cubicBezTo>
                    <a:pt x="893" y="439"/>
                    <a:pt x="933" y="497"/>
                    <a:pt x="931" y="499"/>
                  </a:cubicBezTo>
                  <a:cubicBezTo>
                    <a:pt x="931" y="499"/>
                    <a:pt x="931" y="499"/>
                    <a:pt x="931" y="499"/>
                  </a:cubicBezTo>
                  <a:cubicBezTo>
                    <a:pt x="929" y="501"/>
                    <a:pt x="927" y="504"/>
                    <a:pt x="927" y="508"/>
                  </a:cubicBezTo>
                  <a:cubicBezTo>
                    <a:pt x="926" y="515"/>
                    <a:pt x="932" y="522"/>
                    <a:pt x="940" y="522"/>
                  </a:cubicBezTo>
                  <a:cubicBezTo>
                    <a:pt x="940" y="522"/>
                    <a:pt x="940" y="522"/>
                    <a:pt x="941" y="522"/>
                  </a:cubicBezTo>
                  <a:cubicBezTo>
                    <a:pt x="948" y="522"/>
                    <a:pt x="954" y="516"/>
                    <a:pt x="954" y="509"/>
                  </a:cubicBezTo>
                  <a:cubicBezTo>
                    <a:pt x="955" y="503"/>
                    <a:pt x="950" y="497"/>
                    <a:pt x="944" y="496"/>
                  </a:cubicBezTo>
                  <a:cubicBezTo>
                    <a:pt x="944" y="496"/>
                    <a:pt x="944" y="496"/>
                    <a:pt x="944" y="496"/>
                  </a:cubicBezTo>
                  <a:cubicBezTo>
                    <a:pt x="941" y="495"/>
                    <a:pt x="946" y="401"/>
                    <a:pt x="951" y="401"/>
                  </a:cubicBezTo>
                  <a:cubicBezTo>
                    <a:pt x="951" y="401"/>
                    <a:pt x="951" y="401"/>
                    <a:pt x="951" y="401"/>
                  </a:cubicBezTo>
                  <a:cubicBezTo>
                    <a:pt x="959" y="400"/>
                    <a:pt x="967" y="395"/>
                    <a:pt x="971" y="388"/>
                  </a:cubicBezTo>
                  <a:cubicBezTo>
                    <a:pt x="978" y="376"/>
                    <a:pt x="973" y="361"/>
                    <a:pt x="960" y="354"/>
                  </a:cubicBezTo>
                  <a:cubicBezTo>
                    <a:pt x="957" y="352"/>
                    <a:pt x="952" y="351"/>
                    <a:pt x="948" y="351"/>
                  </a:cubicBezTo>
                  <a:cubicBezTo>
                    <a:pt x="940" y="351"/>
                    <a:pt x="931" y="355"/>
                    <a:pt x="926" y="363"/>
                  </a:cubicBezTo>
                  <a:cubicBezTo>
                    <a:pt x="926" y="363"/>
                    <a:pt x="926" y="363"/>
                    <a:pt x="926" y="363"/>
                  </a:cubicBezTo>
                  <a:cubicBezTo>
                    <a:pt x="926" y="363"/>
                    <a:pt x="926" y="363"/>
                    <a:pt x="925" y="363"/>
                  </a:cubicBezTo>
                  <a:cubicBezTo>
                    <a:pt x="921" y="363"/>
                    <a:pt x="909" y="359"/>
                    <a:pt x="896" y="354"/>
                  </a:cubicBezTo>
                  <a:cubicBezTo>
                    <a:pt x="911" y="360"/>
                    <a:pt x="924" y="367"/>
                    <a:pt x="923" y="369"/>
                  </a:cubicBezTo>
                  <a:cubicBezTo>
                    <a:pt x="923" y="369"/>
                    <a:pt x="923" y="369"/>
                    <a:pt x="923" y="369"/>
                  </a:cubicBezTo>
                  <a:cubicBezTo>
                    <a:pt x="921" y="376"/>
                    <a:pt x="922" y="382"/>
                    <a:pt x="926" y="388"/>
                  </a:cubicBezTo>
                  <a:cubicBezTo>
                    <a:pt x="926" y="388"/>
                    <a:pt x="926" y="388"/>
                    <a:pt x="926" y="388"/>
                  </a:cubicBezTo>
                  <a:cubicBezTo>
                    <a:pt x="928" y="392"/>
                    <a:pt x="898" y="414"/>
                    <a:pt x="894" y="414"/>
                  </a:cubicBezTo>
                  <a:cubicBezTo>
                    <a:pt x="893" y="414"/>
                    <a:pt x="893" y="414"/>
                    <a:pt x="893" y="413"/>
                  </a:cubicBezTo>
                  <a:cubicBezTo>
                    <a:pt x="893" y="413"/>
                    <a:pt x="893" y="413"/>
                    <a:pt x="893" y="413"/>
                  </a:cubicBezTo>
                  <a:cubicBezTo>
                    <a:pt x="890" y="411"/>
                    <a:pt x="887" y="410"/>
                    <a:pt x="883" y="409"/>
                  </a:cubicBezTo>
                  <a:cubicBezTo>
                    <a:pt x="883" y="409"/>
                    <a:pt x="882" y="409"/>
                    <a:pt x="882" y="409"/>
                  </a:cubicBezTo>
                  <a:cubicBezTo>
                    <a:pt x="878" y="409"/>
                    <a:pt x="874" y="411"/>
                    <a:pt x="871" y="413"/>
                  </a:cubicBezTo>
                  <a:cubicBezTo>
                    <a:pt x="871" y="413"/>
                    <a:pt x="871" y="413"/>
                    <a:pt x="871" y="413"/>
                  </a:cubicBezTo>
                  <a:cubicBezTo>
                    <a:pt x="871" y="413"/>
                    <a:pt x="871" y="413"/>
                    <a:pt x="871" y="413"/>
                  </a:cubicBezTo>
                  <a:cubicBezTo>
                    <a:pt x="867" y="413"/>
                    <a:pt x="750" y="316"/>
                    <a:pt x="751" y="314"/>
                  </a:cubicBezTo>
                  <a:cubicBezTo>
                    <a:pt x="751" y="314"/>
                    <a:pt x="751" y="314"/>
                    <a:pt x="751" y="314"/>
                  </a:cubicBezTo>
                  <a:cubicBezTo>
                    <a:pt x="752" y="312"/>
                    <a:pt x="753" y="310"/>
                    <a:pt x="752" y="307"/>
                  </a:cubicBezTo>
                  <a:cubicBezTo>
                    <a:pt x="750" y="305"/>
                    <a:pt x="747" y="303"/>
                    <a:pt x="745" y="303"/>
                  </a:cubicBezTo>
                  <a:cubicBezTo>
                    <a:pt x="744" y="303"/>
                    <a:pt x="742" y="303"/>
                    <a:pt x="741" y="304"/>
                  </a:cubicBezTo>
                  <a:cubicBezTo>
                    <a:pt x="740" y="305"/>
                    <a:pt x="738" y="306"/>
                    <a:pt x="738" y="307"/>
                  </a:cubicBezTo>
                  <a:cubicBezTo>
                    <a:pt x="738" y="307"/>
                    <a:pt x="738" y="307"/>
                    <a:pt x="738" y="307"/>
                  </a:cubicBezTo>
                  <a:cubicBezTo>
                    <a:pt x="738" y="307"/>
                    <a:pt x="738" y="307"/>
                    <a:pt x="737" y="307"/>
                  </a:cubicBezTo>
                  <a:cubicBezTo>
                    <a:pt x="732" y="307"/>
                    <a:pt x="656" y="287"/>
                    <a:pt x="657" y="284"/>
                  </a:cubicBezTo>
                  <a:cubicBezTo>
                    <a:pt x="657" y="285"/>
                    <a:pt x="657" y="285"/>
                    <a:pt x="657" y="285"/>
                  </a:cubicBezTo>
                  <a:cubicBezTo>
                    <a:pt x="657" y="284"/>
                    <a:pt x="657" y="283"/>
                    <a:pt x="657" y="283"/>
                  </a:cubicBezTo>
                  <a:cubicBezTo>
                    <a:pt x="657" y="280"/>
                    <a:pt x="656" y="278"/>
                    <a:pt x="655" y="275"/>
                  </a:cubicBezTo>
                  <a:cubicBezTo>
                    <a:pt x="653" y="273"/>
                    <a:pt x="710" y="233"/>
                    <a:pt x="712" y="233"/>
                  </a:cubicBezTo>
                  <a:cubicBezTo>
                    <a:pt x="712" y="233"/>
                    <a:pt x="712" y="233"/>
                    <a:pt x="712" y="233"/>
                  </a:cubicBezTo>
                  <a:cubicBezTo>
                    <a:pt x="712" y="233"/>
                    <a:pt x="712" y="233"/>
                    <a:pt x="712" y="233"/>
                  </a:cubicBezTo>
                  <a:cubicBezTo>
                    <a:pt x="714" y="234"/>
                    <a:pt x="716" y="235"/>
                    <a:pt x="718" y="235"/>
                  </a:cubicBezTo>
                  <a:cubicBezTo>
                    <a:pt x="719" y="235"/>
                    <a:pt x="720" y="235"/>
                    <a:pt x="721" y="234"/>
                  </a:cubicBezTo>
                  <a:cubicBezTo>
                    <a:pt x="725" y="233"/>
                    <a:pt x="726" y="228"/>
                    <a:pt x="724" y="225"/>
                  </a:cubicBezTo>
                  <a:cubicBezTo>
                    <a:pt x="723" y="222"/>
                    <a:pt x="720" y="220"/>
                    <a:pt x="718" y="220"/>
                  </a:cubicBezTo>
                  <a:cubicBezTo>
                    <a:pt x="716" y="220"/>
                    <a:pt x="715" y="221"/>
                    <a:pt x="714" y="221"/>
                  </a:cubicBezTo>
                  <a:cubicBezTo>
                    <a:pt x="713" y="222"/>
                    <a:pt x="713" y="222"/>
                    <a:pt x="713" y="222"/>
                  </a:cubicBezTo>
                  <a:cubicBezTo>
                    <a:pt x="713" y="222"/>
                    <a:pt x="713" y="222"/>
                    <a:pt x="713" y="222"/>
                  </a:cubicBezTo>
                  <a:cubicBezTo>
                    <a:pt x="713" y="222"/>
                    <a:pt x="713" y="222"/>
                    <a:pt x="713" y="222"/>
                  </a:cubicBezTo>
                  <a:cubicBezTo>
                    <a:pt x="713" y="222"/>
                    <a:pt x="711" y="220"/>
                    <a:pt x="708" y="218"/>
                  </a:cubicBezTo>
                  <a:cubicBezTo>
                    <a:pt x="735" y="191"/>
                    <a:pt x="763" y="165"/>
                    <a:pt x="764" y="165"/>
                  </a:cubicBezTo>
                  <a:cubicBezTo>
                    <a:pt x="764" y="165"/>
                    <a:pt x="764" y="165"/>
                    <a:pt x="764" y="165"/>
                  </a:cubicBezTo>
                  <a:cubicBezTo>
                    <a:pt x="764" y="165"/>
                    <a:pt x="764" y="165"/>
                    <a:pt x="764" y="165"/>
                  </a:cubicBezTo>
                  <a:cubicBezTo>
                    <a:pt x="765" y="166"/>
                    <a:pt x="767" y="167"/>
                    <a:pt x="768" y="167"/>
                  </a:cubicBezTo>
                  <a:cubicBezTo>
                    <a:pt x="769" y="167"/>
                    <a:pt x="769" y="167"/>
                    <a:pt x="770" y="166"/>
                  </a:cubicBezTo>
                  <a:cubicBezTo>
                    <a:pt x="770" y="167"/>
                    <a:pt x="770" y="167"/>
                    <a:pt x="770" y="167"/>
                  </a:cubicBezTo>
                  <a:cubicBezTo>
                    <a:pt x="770" y="167"/>
                    <a:pt x="770" y="167"/>
                    <a:pt x="770" y="167"/>
                  </a:cubicBezTo>
                  <a:cubicBezTo>
                    <a:pt x="772" y="167"/>
                    <a:pt x="805" y="248"/>
                    <a:pt x="802" y="250"/>
                  </a:cubicBezTo>
                  <a:cubicBezTo>
                    <a:pt x="802" y="250"/>
                    <a:pt x="802" y="250"/>
                    <a:pt x="802" y="250"/>
                  </a:cubicBezTo>
                  <a:cubicBezTo>
                    <a:pt x="793" y="254"/>
                    <a:pt x="790" y="265"/>
                    <a:pt x="794" y="273"/>
                  </a:cubicBezTo>
                  <a:cubicBezTo>
                    <a:pt x="797" y="280"/>
                    <a:pt x="804" y="284"/>
                    <a:pt x="811" y="284"/>
                  </a:cubicBezTo>
                  <a:cubicBezTo>
                    <a:pt x="814" y="284"/>
                    <a:pt x="817" y="283"/>
                    <a:pt x="819" y="282"/>
                  </a:cubicBezTo>
                  <a:cubicBezTo>
                    <a:pt x="829" y="278"/>
                    <a:pt x="833" y="267"/>
                    <a:pt x="828" y="258"/>
                  </a:cubicBezTo>
                  <a:cubicBezTo>
                    <a:pt x="827" y="255"/>
                    <a:pt x="825" y="253"/>
                    <a:pt x="822" y="251"/>
                  </a:cubicBezTo>
                  <a:cubicBezTo>
                    <a:pt x="823" y="251"/>
                    <a:pt x="823" y="251"/>
                    <a:pt x="823" y="251"/>
                  </a:cubicBezTo>
                  <a:cubicBezTo>
                    <a:pt x="820" y="249"/>
                    <a:pt x="844" y="209"/>
                    <a:pt x="845" y="209"/>
                  </a:cubicBezTo>
                  <a:cubicBezTo>
                    <a:pt x="845" y="209"/>
                    <a:pt x="845" y="209"/>
                    <a:pt x="845" y="209"/>
                  </a:cubicBezTo>
                  <a:cubicBezTo>
                    <a:pt x="845" y="209"/>
                    <a:pt x="845" y="209"/>
                    <a:pt x="845" y="209"/>
                  </a:cubicBezTo>
                  <a:cubicBezTo>
                    <a:pt x="846" y="209"/>
                    <a:pt x="847" y="209"/>
                    <a:pt x="848" y="209"/>
                  </a:cubicBezTo>
                  <a:cubicBezTo>
                    <a:pt x="849" y="209"/>
                    <a:pt x="850" y="209"/>
                    <a:pt x="851" y="208"/>
                  </a:cubicBezTo>
                  <a:cubicBezTo>
                    <a:pt x="855" y="207"/>
                    <a:pt x="857" y="202"/>
                    <a:pt x="855" y="199"/>
                  </a:cubicBezTo>
                  <a:cubicBezTo>
                    <a:pt x="854" y="197"/>
                    <a:pt x="852" y="195"/>
                    <a:pt x="850" y="195"/>
                  </a:cubicBezTo>
                  <a:cubicBezTo>
                    <a:pt x="850" y="195"/>
                    <a:pt x="850" y="195"/>
                    <a:pt x="850" y="195"/>
                  </a:cubicBezTo>
                  <a:cubicBezTo>
                    <a:pt x="849" y="194"/>
                    <a:pt x="852" y="155"/>
                    <a:pt x="856" y="155"/>
                  </a:cubicBezTo>
                  <a:cubicBezTo>
                    <a:pt x="856" y="155"/>
                    <a:pt x="856" y="155"/>
                    <a:pt x="856" y="155"/>
                  </a:cubicBezTo>
                  <a:cubicBezTo>
                    <a:pt x="859" y="155"/>
                    <a:pt x="862" y="154"/>
                    <a:pt x="864" y="153"/>
                  </a:cubicBezTo>
                  <a:cubicBezTo>
                    <a:pt x="864" y="153"/>
                    <a:pt x="864" y="153"/>
                    <a:pt x="864" y="153"/>
                  </a:cubicBezTo>
                  <a:cubicBezTo>
                    <a:pt x="864" y="153"/>
                    <a:pt x="864" y="153"/>
                    <a:pt x="864" y="153"/>
                  </a:cubicBezTo>
                  <a:cubicBezTo>
                    <a:pt x="869" y="153"/>
                    <a:pt x="917" y="215"/>
                    <a:pt x="914" y="217"/>
                  </a:cubicBezTo>
                  <a:cubicBezTo>
                    <a:pt x="915" y="217"/>
                    <a:pt x="915" y="217"/>
                    <a:pt x="915" y="217"/>
                  </a:cubicBezTo>
                  <a:cubicBezTo>
                    <a:pt x="910" y="222"/>
                    <a:pt x="909" y="228"/>
                    <a:pt x="912" y="234"/>
                  </a:cubicBezTo>
                  <a:cubicBezTo>
                    <a:pt x="913" y="236"/>
                    <a:pt x="914" y="238"/>
                    <a:pt x="916" y="239"/>
                  </a:cubicBezTo>
                  <a:cubicBezTo>
                    <a:pt x="915" y="239"/>
                    <a:pt x="915" y="239"/>
                    <a:pt x="915" y="239"/>
                  </a:cubicBezTo>
                  <a:cubicBezTo>
                    <a:pt x="918" y="241"/>
                    <a:pt x="860" y="330"/>
                    <a:pt x="858" y="330"/>
                  </a:cubicBezTo>
                  <a:cubicBezTo>
                    <a:pt x="858" y="330"/>
                    <a:pt x="858" y="330"/>
                    <a:pt x="858" y="330"/>
                  </a:cubicBezTo>
                  <a:cubicBezTo>
                    <a:pt x="858" y="330"/>
                    <a:pt x="858" y="330"/>
                    <a:pt x="858" y="330"/>
                  </a:cubicBezTo>
                  <a:cubicBezTo>
                    <a:pt x="857" y="329"/>
                    <a:pt x="856" y="329"/>
                    <a:pt x="855" y="329"/>
                  </a:cubicBezTo>
                  <a:cubicBezTo>
                    <a:pt x="854" y="329"/>
                    <a:pt x="853" y="329"/>
                    <a:pt x="852" y="330"/>
                  </a:cubicBezTo>
                  <a:cubicBezTo>
                    <a:pt x="848" y="332"/>
                    <a:pt x="847" y="336"/>
                    <a:pt x="848" y="340"/>
                  </a:cubicBezTo>
                  <a:cubicBezTo>
                    <a:pt x="850" y="342"/>
                    <a:pt x="852" y="344"/>
                    <a:pt x="855" y="344"/>
                  </a:cubicBezTo>
                  <a:cubicBezTo>
                    <a:pt x="856" y="344"/>
                    <a:pt x="858" y="344"/>
                    <a:pt x="859" y="343"/>
                  </a:cubicBezTo>
                  <a:cubicBezTo>
                    <a:pt x="860" y="343"/>
                    <a:pt x="861" y="342"/>
                    <a:pt x="862" y="341"/>
                  </a:cubicBezTo>
                  <a:cubicBezTo>
                    <a:pt x="862" y="341"/>
                    <a:pt x="862" y="341"/>
                    <a:pt x="862" y="341"/>
                  </a:cubicBezTo>
                  <a:cubicBezTo>
                    <a:pt x="862" y="341"/>
                    <a:pt x="862" y="341"/>
                    <a:pt x="862" y="341"/>
                  </a:cubicBezTo>
                  <a:cubicBezTo>
                    <a:pt x="863" y="341"/>
                    <a:pt x="873" y="344"/>
                    <a:pt x="884" y="349"/>
                  </a:cubicBezTo>
                  <a:cubicBezTo>
                    <a:pt x="872" y="344"/>
                    <a:pt x="863" y="339"/>
                    <a:pt x="863" y="338"/>
                  </a:cubicBezTo>
                  <a:cubicBezTo>
                    <a:pt x="863" y="338"/>
                    <a:pt x="863" y="338"/>
                    <a:pt x="863" y="338"/>
                  </a:cubicBezTo>
                  <a:cubicBezTo>
                    <a:pt x="863" y="337"/>
                    <a:pt x="863" y="335"/>
                    <a:pt x="862" y="333"/>
                  </a:cubicBezTo>
                  <a:cubicBezTo>
                    <a:pt x="862" y="332"/>
                    <a:pt x="861" y="332"/>
                    <a:pt x="860" y="331"/>
                  </a:cubicBezTo>
                  <a:cubicBezTo>
                    <a:pt x="860" y="331"/>
                    <a:pt x="860" y="331"/>
                    <a:pt x="860" y="331"/>
                  </a:cubicBezTo>
                  <a:cubicBezTo>
                    <a:pt x="859" y="330"/>
                    <a:pt x="916" y="241"/>
                    <a:pt x="919" y="241"/>
                  </a:cubicBezTo>
                  <a:cubicBezTo>
                    <a:pt x="919" y="241"/>
                    <a:pt x="919" y="241"/>
                    <a:pt x="919" y="241"/>
                  </a:cubicBezTo>
                  <a:cubicBezTo>
                    <a:pt x="919" y="241"/>
                    <a:pt x="919" y="241"/>
                    <a:pt x="919" y="241"/>
                  </a:cubicBezTo>
                  <a:cubicBezTo>
                    <a:pt x="921" y="242"/>
                    <a:pt x="923" y="242"/>
                    <a:pt x="925" y="242"/>
                  </a:cubicBezTo>
                  <a:cubicBezTo>
                    <a:pt x="928" y="242"/>
                    <a:pt x="930" y="242"/>
                    <a:pt x="932" y="241"/>
                  </a:cubicBezTo>
                  <a:cubicBezTo>
                    <a:pt x="939" y="238"/>
                    <a:pt x="942" y="230"/>
                    <a:pt x="940" y="223"/>
                  </a:cubicBezTo>
                  <a:cubicBezTo>
                    <a:pt x="940" y="223"/>
                    <a:pt x="940" y="223"/>
                    <a:pt x="940" y="223"/>
                  </a:cubicBezTo>
                  <a:cubicBezTo>
                    <a:pt x="939" y="220"/>
                    <a:pt x="990" y="192"/>
                    <a:pt x="999" y="192"/>
                  </a:cubicBezTo>
                  <a:cubicBezTo>
                    <a:pt x="999" y="192"/>
                    <a:pt x="999" y="192"/>
                    <a:pt x="1000" y="192"/>
                  </a:cubicBezTo>
                  <a:cubicBezTo>
                    <a:pt x="1000" y="192"/>
                    <a:pt x="1000" y="192"/>
                    <a:pt x="1000" y="192"/>
                  </a:cubicBezTo>
                  <a:cubicBezTo>
                    <a:pt x="1003" y="196"/>
                    <a:pt x="1008" y="200"/>
                    <a:pt x="1013" y="201"/>
                  </a:cubicBezTo>
                  <a:cubicBezTo>
                    <a:pt x="1013" y="201"/>
                    <a:pt x="1013" y="201"/>
                    <a:pt x="1013" y="201"/>
                  </a:cubicBezTo>
                  <a:cubicBezTo>
                    <a:pt x="1018" y="202"/>
                    <a:pt x="1008" y="276"/>
                    <a:pt x="1004" y="276"/>
                  </a:cubicBezTo>
                  <a:cubicBezTo>
                    <a:pt x="1004" y="276"/>
                    <a:pt x="1004" y="276"/>
                    <a:pt x="1004" y="276"/>
                  </a:cubicBezTo>
                  <a:cubicBezTo>
                    <a:pt x="993" y="277"/>
                    <a:pt x="984" y="286"/>
                    <a:pt x="984" y="297"/>
                  </a:cubicBezTo>
                  <a:cubicBezTo>
                    <a:pt x="984" y="308"/>
                    <a:pt x="994" y="317"/>
                    <a:pt x="1005" y="317"/>
                  </a:cubicBezTo>
                  <a:cubicBezTo>
                    <a:pt x="1017" y="317"/>
                    <a:pt x="1026" y="308"/>
                    <a:pt x="1026" y="297"/>
                  </a:cubicBezTo>
                  <a:cubicBezTo>
                    <a:pt x="1026" y="295"/>
                    <a:pt x="1026" y="293"/>
                    <a:pt x="1025" y="291"/>
                  </a:cubicBezTo>
                  <a:cubicBezTo>
                    <a:pt x="1025" y="291"/>
                    <a:pt x="1025" y="291"/>
                    <a:pt x="1025" y="291"/>
                  </a:cubicBezTo>
                  <a:cubicBezTo>
                    <a:pt x="1024" y="287"/>
                    <a:pt x="1073" y="268"/>
                    <a:pt x="1076" y="268"/>
                  </a:cubicBezTo>
                  <a:cubicBezTo>
                    <a:pt x="1076" y="268"/>
                    <a:pt x="1076" y="268"/>
                    <a:pt x="1076" y="268"/>
                  </a:cubicBezTo>
                  <a:cubicBezTo>
                    <a:pt x="1076" y="268"/>
                    <a:pt x="1076" y="268"/>
                    <a:pt x="1076" y="268"/>
                  </a:cubicBezTo>
                  <a:cubicBezTo>
                    <a:pt x="1078" y="270"/>
                    <a:pt x="1080" y="271"/>
                    <a:pt x="1083" y="271"/>
                  </a:cubicBezTo>
                  <a:cubicBezTo>
                    <a:pt x="1083" y="271"/>
                    <a:pt x="1084" y="271"/>
                    <a:pt x="1085" y="271"/>
                  </a:cubicBezTo>
                  <a:cubicBezTo>
                    <a:pt x="1085" y="271"/>
                    <a:pt x="1085" y="271"/>
                    <a:pt x="1085" y="271"/>
                  </a:cubicBezTo>
                  <a:cubicBezTo>
                    <a:pt x="1085" y="271"/>
                    <a:pt x="1085" y="271"/>
                    <a:pt x="1085" y="271"/>
                  </a:cubicBezTo>
                  <a:cubicBezTo>
                    <a:pt x="1085" y="271"/>
                    <a:pt x="1090" y="279"/>
                    <a:pt x="1095" y="290"/>
                  </a:cubicBezTo>
                  <a:cubicBezTo>
                    <a:pt x="1090" y="279"/>
                    <a:pt x="1087" y="270"/>
                    <a:pt x="1087" y="270"/>
                  </a:cubicBezTo>
                  <a:cubicBezTo>
                    <a:pt x="1087" y="270"/>
                    <a:pt x="1087" y="270"/>
                    <a:pt x="1087" y="270"/>
                  </a:cubicBezTo>
                  <a:cubicBezTo>
                    <a:pt x="1090" y="268"/>
                    <a:pt x="1091" y="264"/>
                    <a:pt x="1090" y="261"/>
                  </a:cubicBezTo>
                  <a:cubicBezTo>
                    <a:pt x="1088" y="258"/>
                    <a:pt x="1086" y="257"/>
                    <a:pt x="1083" y="257"/>
                  </a:cubicBezTo>
                  <a:cubicBezTo>
                    <a:pt x="1082" y="257"/>
                    <a:pt x="1080" y="257"/>
                    <a:pt x="1079" y="257"/>
                  </a:cubicBezTo>
                  <a:cubicBezTo>
                    <a:pt x="1076" y="259"/>
                    <a:pt x="1074" y="262"/>
                    <a:pt x="1075" y="266"/>
                  </a:cubicBezTo>
                  <a:cubicBezTo>
                    <a:pt x="1075" y="266"/>
                    <a:pt x="1075" y="266"/>
                    <a:pt x="1075" y="266"/>
                  </a:cubicBezTo>
                  <a:cubicBezTo>
                    <a:pt x="1076" y="267"/>
                    <a:pt x="1032" y="286"/>
                    <a:pt x="1024" y="286"/>
                  </a:cubicBezTo>
                  <a:cubicBezTo>
                    <a:pt x="1024" y="286"/>
                    <a:pt x="1023" y="286"/>
                    <a:pt x="1023" y="286"/>
                  </a:cubicBezTo>
                  <a:cubicBezTo>
                    <a:pt x="1023" y="286"/>
                    <a:pt x="1023" y="286"/>
                    <a:pt x="1023" y="286"/>
                  </a:cubicBezTo>
                  <a:cubicBezTo>
                    <a:pt x="1020" y="282"/>
                    <a:pt x="1016" y="279"/>
                    <a:pt x="1011" y="277"/>
                  </a:cubicBezTo>
                  <a:cubicBezTo>
                    <a:pt x="1011" y="277"/>
                    <a:pt x="1011" y="277"/>
                    <a:pt x="1011" y="277"/>
                  </a:cubicBezTo>
                  <a:cubicBezTo>
                    <a:pt x="1007" y="276"/>
                    <a:pt x="1016" y="202"/>
                    <a:pt x="1021" y="202"/>
                  </a:cubicBezTo>
                  <a:cubicBezTo>
                    <a:pt x="1021" y="202"/>
                    <a:pt x="1021" y="202"/>
                    <a:pt x="1021" y="202"/>
                  </a:cubicBezTo>
                  <a:cubicBezTo>
                    <a:pt x="1031" y="201"/>
                    <a:pt x="1040" y="195"/>
                    <a:pt x="1044" y="186"/>
                  </a:cubicBezTo>
                  <a:cubicBezTo>
                    <a:pt x="1044" y="184"/>
                    <a:pt x="1046" y="184"/>
                    <a:pt x="1048" y="184"/>
                  </a:cubicBezTo>
                  <a:cubicBezTo>
                    <a:pt x="1048" y="184"/>
                    <a:pt x="1048" y="184"/>
                    <a:pt x="1048" y="184"/>
                  </a:cubicBezTo>
                  <a:cubicBezTo>
                    <a:pt x="1046" y="183"/>
                    <a:pt x="1045" y="182"/>
                    <a:pt x="1045" y="180"/>
                  </a:cubicBezTo>
                  <a:cubicBezTo>
                    <a:pt x="1045" y="180"/>
                    <a:pt x="1045" y="180"/>
                    <a:pt x="1045" y="180"/>
                  </a:cubicBezTo>
                  <a:cubicBezTo>
                    <a:pt x="1045" y="179"/>
                    <a:pt x="1045" y="178"/>
                    <a:pt x="1045" y="178"/>
                  </a:cubicBezTo>
                  <a:cubicBezTo>
                    <a:pt x="1045" y="172"/>
                    <a:pt x="1043" y="167"/>
                    <a:pt x="1040" y="163"/>
                  </a:cubicBezTo>
                  <a:cubicBezTo>
                    <a:pt x="1040" y="163"/>
                    <a:pt x="1040" y="163"/>
                    <a:pt x="1040" y="163"/>
                  </a:cubicBezTo>
                  <a:cubicBezTo>
                    <a:pt x="1037" y="159"/>
                    <a:pt x="1115" y="80"/>
                    <a:pt x="1121" y="78"/>
                  </a:cubicBezTo>
                  <a:cubicBezTo>
                    <a:pt x="1120" y="84"/>
                    <a:pt x="1068" y="180"/>
                    <a:pt x="1067" y="180"/>
                  </a:cubicBezTo>
                  <a:cubicBezTo>
                    <a:pt x="1067" y="180"/>
                    <a:pt x="1067" y="180"/>
                    <a:pt x="1067" y="180"/>
                  </a:cubicBezTo>
                  <a:cubicBezTo>
                    <a:pt x="1067" y="180"/>
                    <a:pt x="1067" y="180"/>
                    <a:pt x="1067" y="180"/>
                  </a:cubicBezTo>
                  <a:cubicBezTo>
                    <a:pt x="1066" y="180"/>
                    <a:pt x="1065" y="180"/>
                    <a:pt x="1064" y="180"/>
                  </a:cubicBezTo>
                  <a:cubicBezTo>
                    <a:pt x="1061" y="180"/>
                    <a:pt x="1059" y="182"/>
                    <a:pt x="1058" y="184"/>
                  </a:cubicBezTo>
                  <a:cubicBezTo>
                    <a:pt x="1058" y="184"/>
                    <a:pt x="1058" y="184"/>
                    <a:pt x="1058" y="184"/>
                  </a:cubicBezTo>
                  <a:cubicBezTo>
                    <a:pt x="1057" y="185"/>
                    <a:pt x="1056" y="185"/>
                    <a:pt x="1055" y="185"/>
                  </a:cubicBezTo>
                  <a:cubicBezTo>
                    <a:pt x="1054" y="185"/>
                    <a:pt x="1054" y="185"/>
                    <a:pt x="1053" y="185"/>
                  </a:cubicBezTo>
                  <a:cubicBezTo>
                    <a:pt x="1055" y="186"/>
                    <a:pt x="1057" y="187"/>
                    <a:pt x="1057" y="187"/>
                  </a:cubicBezTo>
                  <a:cubicBezTo>
                    <a:pt x="1057" y="187"/>
                    <a:pt x="1057" y="187"/>
                    <a:pt x="1057" y="187"/>
                  </a:cubicBezTo>
                  <a:cubicBezTo>
                    <a:pt x="1057" y="187"/>
                    <a:pt x="1057" y="187"/>
                    <a:pt x="1057" y="187"/>
                  </a:cubicBezTo>
                  <a:cubicBezTo>
                    <a:pt x="1057" y="191"/>
                    <a:pt x="1060" y="195"/>
                    <a:pt x="1064" y="195"/>
                  </a:cubicBezTo>
                  <a:cubicBezTo>
                    <a:pt x="1066" y="195"/>
                    <a:pt x="1067" y="194"/>
                    <a:pt x="1069" y="194"/>
                  </a:cubicBezTo>
                  <a:cubicBezTo>
                    <a:pt x="1069" y="194"/>
                    <a:pt x="1069" y="194"/>
                    <a:pt x="1069" y="194"/>
                  </a:cubicBezTo>
                  <a:cubicBezTo>
                    <a:pt x="1069" y="194"/>
                    <a:pt x="1069" y="194"/>
                    <a:pt x="1069" y="194"/>
                  </a:cubicBezTo>
                  <a:cubicBezTo>
                    <a:pt x="1070" y="194"/>
                    <a:pt x="1093" y="219"/>
                    <a:pt x="1093" y="220"/>
                  </a:cubicBezTo>
                  <a:cubicBezTo>
                    <a:pt x="1093" y="220"/>
                    <a:pt x="1093" y="220"/>
                    <a:pt x="1093" y="220"/>
                  </a:cubicBezTo>
                  <a:cubicBezTo>
                    <a:pt x="1092" y="221"/>
                    <a:pt x="1091" y="222"/>
                    <a:pt x="1092" y="224"/>
                  </a:cubicBezTo>
                  <a:cubicBezTo>
                    <a:pt x="1093" y="225"/>
                    <a:pt x="1094" y="226"/>
                    <a:pt x="1096" y="226"/>
                  </a:cubicBezTo>
                  <a:cubicBezTo>
                    <a:pt x="1096" y="226"/>
                    <a:pt x="1097" y="226"/>
                    <a:pt x="1097" y="226"/>
                  </a:cubicBezTo>
                  <a:cubicBezTo>
                    <a:pt x="1099" y="225"/>
                    <a:pt x="1100" y="222"/>
                    <a:pt x="1099" y="221"/>
                  </a:cubicBezTo>
                  <a:cubicBezTo>
                    <a:pt x="1099" y="220"/>
                    <a:pt x="1099" y="220"/>
                    <a:pt x="1099" y="220"/>
                  </a:cubicBezTo>
                  <a:cubicBezTo>
                    <a:pt x="1099" y="220"/>
                    <a:pt x="1099" y="220"/>
                    <a:pt x="1099" y="220"/>
                  </a:cubicBezTo>
                  <a:cubicBezTo>
                    <a:pt x="1099" y="220"/>
                    <a:pt x="1130" y="196"/>
                    <a:pt x="1132" y="196"/>
                  </a:cubicBezTo>
                  <a:cubicBezTo>
                    <a:pt x="1132" y="196"/>
                    <a:pt x="1132" y="196"/>
                    <a:pt x="1132" y="196"/>
                  </a:cubicBezTo>
                  <a:cubicBezTo>
                    <a:pt x="1132" y="196"/>
                    <a:pt x="1132" y="196"/>
                    <a:pt x="1132" y="196"/>
                  </a:cubicBezTo>
                  <a:cubicBezTo>
                    <a:pt x="1133" y="197"/>
                    <a:pt x="1134" y="197"/>
                    <a:pt x="1136" y="197"/>
                  </a:cubicBezTo>
                  <a:cubicBezTo>
                    <a:pt x="1136" y="197"/>
                    <a:pt x="1137" y="197"/>
                    <a:pt x="1138" y="197"/>
                  </a:cubicBezTo>
                  <a:cubicBezTo>
                    <a:pt x="1138" y="197"/>
                    <a:pt x="1138" y="197"/>
                    <a:pt x="1138" y="197"/>
                  </a:cubicBezTo>
                  <a:cubicBezTo>
                    <a:pt x="1138" y="197"/>
                    <a:pt x="1138" y="197"/>
                    <a:pt x="1138" y="197"/>
                  </a:cubicBezTo>
                  <a:cubicBezTo>
                    <a:pt x="1139" y="197"/>
                    <a:pt x="1171" y="245"/>
                    <a:pt x="1169" y="247"/>
                  </a:cubicBezTo>
                  <a:cubicBezTo>
                    <a:pt x="1169" y="247"/>
                    <a:pt x="1169" y="247"/>
                    <a:pt x="1169" y="247"/>
                  </a:cubicBezTo>
                  <a:cubicBezTo>
                    <a:pt x="1164" y="251"/>
                    <a:pt x="1162" y="258"/>
                    <a:pt x="1165" y="264"/>
                  </a:cubicBezTo>
                  <a:cubicBezTo>
                    <a:pt x="1168" y="269"/>
                    <a:pt x="1173" y="272"/>
                    <a:pt x="1179" y="272"/>
                  </a:cubicBezTo>
                  <a:cubicBezTo>
                    <a:pt x="1181" y="272"/>
                    <a:pt x="1183" y="272"/>
                    <a:pt x="1185" y="271"/>
                  </a:cubicBezTo>
                  <a:cubicBezTo>
                    <a:pt x="1193" y="268"/>
                    <a:pt x="1196" y="259"/>
                    <a:pt x="1192" y="252"/>
                  </a:cubicBezTo>
                  <a:cubicBezTo>
                    <a:pt x="1190" y="246"/>
                    <a:pt x="1184" y="243"/>
                    <a:pt x="1179" y="243"/>
                  </a:cubicBezTo>
                  <a:cubicBezTo>
                    <a:pt x="1177" y="243"/>
                    <a:pt x="1175" y="244"/>
                    <a:pt x="1173" y="245"/>
                  </a:cubicBezTo>
                  <a:cubicBezTo>
                    <a:pt x="1173" y="245"/>
                    <a:pt x="1173" y="245"/>
                    <a:pt x="1173" y="245"/>
                  </a:cubicBezTo>
                  <a:cubicBezTo>
                    <a:pt x="1173" y="245"/>
                    <a:pt x="1173" y="245"/>
                    <a:pt x="1173" y="245"/>
                  </a:cubicBezTo>
                  <a:cubicBezTo>
                    <a:pt x="1169" y="245"/>
                    <a:pt x="1138" y="197"/>
                    <a:pt x="1139" y="196"/>
                  </a:cubicBezTo>
                  <a:cubicBezTo>
                    <a:pt x="1139" y="196"/>
                    <a:pt x="1139" y="196"/>
                    <a:pt x="1139" y="196"/>
                  </a:cubicBezTo>
                  <a:cubicBezTo>
                    <a:pt x="1140" y="195"/>
                    <a:pt x="1141" y="194"/>
                    <a:pt x="1141" y="192"/>
                  </a:cubicBezTo>
                  <a:cubicBezTo>
                    <a:pt x="1141" y="190"/>
                    <a:pt x="1139" y="187"/>
                    <a:pt x="1136" y="187"/>
                  </a:cubicBezTo>
                  <a:cubicBezTo>
                    <a:pt x="1133" y="187"/>
                    <a:pt x="1131" y="189"/>
                    <a:pt x="1131" y="191"/>
                  </a:cubicBezTo>
                  <a:cubicBezTo>
                    <a:pt x="1131" y="191"/>
                    <a:pt x="1131" y="191"/>
                    <a:pt x="1131" y="191"/>
                  </a:cubicBezTo>
                  <a:cubicBezTo>
                    <a:pt x="1131" y="191"/>
                    <a:pt x="1130" y="191"/>
                    <a:pt x="1129" y="191"/>
                  </a:cubicBezTo>
                  <a:cubicBezTo>
                    <a:pt x="1119" y="191"/>
                    <a:pt x="1072" y="188"/>
                    <a:pt x="1072" y="187"/>
                  </a:cubicBezTo>
                  <a:cubicBezTo>
                    <a:pt x="1072" y="187"/>
                    <a:pt x="1072" y="187"/>
                    <a:pt x="1072" y="187"/>
                  </a:cubicBezTo>
                  <a:cubicBezTo>
                    <a:pt x="1072" y="185"/>
                    <a:pt x="1071" y="183"/>
                    <a:pt x="1069" y="181"/>
                  </a:cubicBezTo>
                  <a:cubicBezTo>
                    <a:pt x="1069" y="182"/>
                    <a:pt x="1069" y="182"/>
                    <a:pt x="1069" y="182"/>
                  </a:cubicBezTo>
                  <a:cubicBezTo>
                    <a:pt x="1068" y="181"/>
                    <a:pt x="1122" y="80"/>
                    <a:pt x="1125" y="80"/>
                  </a:cubicBezTo>
                  <a:cubicBezTo>
                    <a:pt x="1125" y="80"/>
                    <a:pt x="1125" y="80"/>
                    <a:pt x="1125" y="80"/>
                  </a:cubicBezTo>
                  <a:cubicBezTo>
                    <a:pt x="1125" y="80"/>
                    <a:pt x="1125" y="80"/>
                    <a:pt x="1125" y="80"/>
                  </a:cubicBezTo>
                  <a:cubicBezTo>
                    <a:pt x="1126" y="80"/>
                    <a:pt x="1127" y="80"/>
                    <a:pt x="1129" y="80"/>
                  </a:cubicBezTo>
                  <a:cubicBezTo>
                    <a:pt x="1129" y="80"/>
                    <a:pt x="1130" y="80"/>
                    <a:pt x="1130" y="80"/>
                  </a:cubicBezTo>
                  <a:cubicBezTo>
                    <a:pt x="1130" y="80"/>
                    <a:pt x="1130" y="80"/>
                    <a:pt x="1130" y="80"/>
                  </a:cubicBezTo>
                  <a:cubicBezTo>
                    <a:pt x="1130" y="80"/>
                    <a:pt x="1130" y="80"/>
                    <a:pt x="1130" y="80"/>
                  </a:cubicBezTo>
                  <a:cubicBezTo>
                    <a:pt x="1133" y="80"/>
                    <a:pt x="1146" y="135"/>
                    <a:pt x="1143" y="136"/>
                  </a:cubicBezTo>
                  <a:cubicBezTo>
                    <a:pt x="1143" y="136"/>
                    <a:pt x="1143" y="136"/>
                    <a:pt x="1143" y="136"/>
                  </a:cubicBezTo>
                  <a:cubicBezTo>
                    <a:pt x="1143" y="136"/>
                    <a:pt x="1142" y="136"/>
                    <a:pt x="1142" y="137"/>
                  </a:cubicBezTo>
                  <a:cubicBezTo>
                    <a:pt x="1133" y="141"/>
                    <a:pt x="1129" y="151"/>
                    <a:pt x="1133" y="160"/>
                  </a:cubicBezTo>
                  <a:cubicBezTo>
                    <a:pt x="1136" y="167"/>
                    <a:pt x="1143" y="171"/>
                    <a:pt x="1150" y="171"/>
                  </a:cubicBezTo>
                  <a:cubicBezTo>
                    <a:pt x="1153" y="171"/>
                    <a:pt x="1155" y="170"/>
                    <a:pt x="1158" y="169"/>
                  </a:cubicBezTo>
                  <a:cubicBezTo>
                    <a:pt x="1161" y="168"/>
                    <a:pt x="1163" y="166"/>
                    <a:pt x="1164" y="164"/>
                  </a:cubicBezTo>
                  <a:cubicBezTo>
                    <a:pt x="1164" y="164"/>
                    <a:pt x="1164" y="164"/>
                    <a:pt x="1164" y="164"/>
                  </a:cubicBezTo>
                  <a:cubicBezTo>
                    <a:pt x="1164" y="164"/>
                    <a:pt x="1165" y="164"/>
                    <a:pt x="1165" y="164"/>
                  </a:cubicBezTo>
                  <a:cubicBezTo>
                    <a:pt x="1171" y="164"/>
                    <a:pt x="1256" y="212"/>
                    <a:pt x="1254" y="217"/>
                  </a:cubicBezTo>
                  <a:cubicBezTo>
                    <a:pt x="1253" y="220"/>
                    <a:pt x="1252" y="224"/>
                    <a:pt x="1252" y="228"/>
                  </a:cubicBezTo>
                  <a:cubicBezTo>
                    <a:pt x="1252" y="233"/>
                    <a:pt x="1254" y="238"/>
                    <a:pt x="1257" y="243"/>
                  </a:cubicBezTo>
                  <a:cubicBezTo>
                    <a:pt x="1257" y="243"/>
                    <a:pt x="1257" y="243"/>
                    <a:pt x="1257" y="243"/>
                  </a:cubicBezTo>
                  <a:cubicBezTo>
                    <a:pt x="1259" y="247"/>
                    <a:pt x="1178" y="318"/>
                    <a:pt x="1154" y="334"/>
                  </a:cubicBezTo>
                  <a:cubicBezTo>
                    <a:pt x="1151" y="326"/>
                    <a:pt x="1143" y="320"/>
                    <a:pt x="1134" y="320"/>
                  </a:cubicBezTo>
                  <a:cubicBezTo>
                    <a:pt x="1126" y="320"/>
                    <a:pt x="1120" y="324"/>
                    <a:pt x="1116" y="329"/>
                  </a:cubicBezTo>
                  <a:cubicBezTo>
                    <a:pt x="1113" y="324"/>
                    <a:pt x="1108" y="316"/>
                    <a:pt x="1103" y="307"/>
                  </a:cubicBezTo>
                  <a:cubicBezTo>
                    <a:pt x="1109" y="319"/>
                    <a:pt x="1113" y="329"/>
                    <a:pt x="1113" y="334"/>
                  </a:cubicBezTo>
                  <a:cubicBezTo>
                    <a:pt x="1112" y="336"/>
                    <a:pt x="1112" y="339"/>
                    <a:pt x="1112" y="341"/>
                  </a:cubicBezTo>
                  <a:cubicBezTo>
                    <a:pt x="1112" y="353"/>
                    <a:pt x="1122" y="363"/>
                    <a:pt x="1134" y="363"/>
                  </a:cubicBezTo>
                  <a:cubicBezTo>
                    <a:pt x="1146" y="363"/>
                    <a:pt x="1156" y="353"/>
                    <a:pt x="1156" y="341"/>
                  </a:cubicBezTo>
                  <a:cubicBezTo>
                    <a:pt x="1156" y="341"/>
                    <a:pt x="1156" y="341"/>
                    <a:pt x="1156" y="341"/>
                  </a:cubicBezTo>
                  <a:cubicBezTo>
                    <a:pt x="1169" y="323"/>
                    <a:pt x="1255" y="249"/>
                    <a:pt x="1262" y="249"/>
                  </a:cubicBezTo>
                  <a:cubicBezTo>
                    <a:pt x="1262" y="249"/>
                    <a:pt x="1263" y="249"/>
                    <a:pt x="1263" y="249"/>
                  </a:cubicBezTo>
                  <a:cubicBezTo>
                    <a:pt x="1263" y="249"/>
                    <a:pt x="1263" y="249"/>
                    <a:pt x="1263" y="249"/>
                  </a:cubicBezTo>
                  <a:cubicBezTo>
                    <a:pt x="1266" y="251"/>
                    <a:pt x="1269" y="253"/>
                    <a:pt x="1273" y="254"/>
                  </a:cubicBezTo>
                  <a:cubicBezTo>
                    <a:pt x="1273" y="254"/>
                    <a:pt x="1273" y="254"/>
                    <a:pt x="1273" y="254"/>
                  </a:cubicBezTo>
                  <a:cubicBezTo>
                    <a:pt x="1275" y="255"/>
                    <a:pt x="1274" y="272"/>
                    <a:pt x="1272" y="290"/>
                  </a:cubicBezTo>
                  <a:cubicBezTo>
                    <a:pt x="1275" y="272"/>
                    <a:pt x="1278" y="255"/>
                    <a:pt x="1281" y="255"/>
                  </a:cubicBezTo>
                  <a:cubicBezTo>
                    <a:pt x="1281" y="255"/>
                    <a:pt x="1281" y="255"/>
                    <a:pt x="1281" y="255"/>
                  </a:cubicBezTo>
                  <a:cubicBezTo>
                    <a:pt x="1297" y="255"/>
                    <a:pt x="1309" y="243"/>
                    <a:pt x="1309" y="228"/>
                  </a:cubicBezTo>
                  <a:cubicBezTo>
                    <a:pt x="1309" y="212"/>
                    <a:pt x="1297" y="200"/>
                    <a:pt x="1281" y="200"/>
                  </a:cubicBezTo>
                  <a:cubicBezTo>
                    <a:pt x="1272" y="200"/>
                    <a:pt x="1264" y="204"/>
                    <a:pt x="1258" y="210"/>
                  </a:cubicBezTo>
                  <a:cubicBezTo>
                    <a:pt x="1258" y="210"/>
                    <a:pt x="1258" y="210"/>
                    <a:pt x="1258" y="210"/>
                  </a:cubicBezTo>
                  <a:cubicBezTo>
                    <a:pt x="1248" y="210"/>
                    <a:pt x="1166" y="163"/>
                    <a:pt x="1167" y="159"/>
                  </a:cubicBezTo>
                  <a:cubicBezTo>
                    <a:pt x="1167" y="159"/>
                    <a:pt x="1167" y="159"/>
                    <a:pt x="1167" y="159"/>
                  </a:cubicBezTo>
                  <a:cubicBezTo>
                    <a:pt x="1169" y="155"/>
                    <a:pt x="1169" y="150"/>
                    <a:pt x="1167" y="145"/>
                  </a:cubicBezTo>
                  <a:cubicBezTo>
                    <a:pt x="1164" y="139"/>
                    <a:pt x="1157" y="135"/>
                    <a:pt x="1150" y="135"/>
                  </a:cubicBezTo>
                  <a:cubicBezTo>
                    <a:pt x="1149" y="135"/>
                    <a:pt x="1149" y="135"/>
                    <a:pt x="1148" y="135"/>
                  </a:cubicBezTo>
                  <a:cubicBezTo>
                    <a:pt x="1149" y="135"/>
                    <a:pt x="1149" y="135"/>
                    <a:pt x="1149" y="135"/>
                  </a:cubicBezTo>
                  <a:cubicBezTo>
                    <a:pt x="1149" y="135"/>
                    <a:pt x="1149" y="135"/>
                    <a:pt x="1148" y="135"/>
                  </a:cubicBezTo>
                  <a:cubicBezTo>
                    <a:pt x="1145" y="135"/>
                    <a:pt x="1132" y="80"/>
                    <a:pt x="1134" y="79"/>
                  </a:cubicBezTo>
                  <a:cubicBezTo>
                    <a:pt x="1134" y="79"/>
                    <a:pt x="1134" y="79"/>
                    <a:pt x="1134" y="79"/>
                  </a:cubicBezTo>
                  <a:cubicBezTo>
                    <a:pt x="1135" y="79"/>
                    <a:pt x="1135" y="79"/>
                    <a:pt x="1135" y="79"/>
                  </a:cubicBezTo>
                  <a:cubicBezTo>
                    <a:pt x="1141" y="76"/>
                    <a:pt x="1144" y="68"/>
                    <a:pt x="1141" y="62"/>
                  </a:cubicBezTo>
                  <a:cubicBezTo>
                    <a:pt x="1139" y="57"/>
                    <a:pt x="1134" y="54"/>
                    <a:pt x="1129" y="54"/>
                  </a:cubicBezTo>
                  <a:cubicBezTo>
                    <a:pt x="1127" y="54"/>
                    <a:pt x="1125" y="55"/>
                    <a:pt x="1123" y="56"/>
                  </a:cubicBezTo>
                  <a:cubicBezTo>
                    <a:pt x="1116" y="59"/>
                    <a:pt x="1113" y="66"/>
                    <a:pt x="1117" y="73"/>
                  </a:cubicBezTo>
                  <a:cubicBezTo>
                    <a:pt x="1117" y="74"/>
                    <a:pt x="1118" y="74"/>
                    <a:pt x="1118" y="75"/>
                  </a:cubicBezTo>
                  <a:cubicBezTo>
                    <a:pt x="1118" y="75"/>
                    <a:pt x="1118" y="75"/>
                    <a:pt x="1118" y="75"/>
                  </a:cubicBezTo>
                  <a:cubicBezTo>
                    <a:pt x="1120" y="77"/>
                    <a:pt x="1041" y="158"/>
                    <a:pt x="1035" y="158"/>
                  </a:cubicBezTo>
                  <a:cubicBezTo>
                    <a:pt x="1034" y="158"/>
                    <a:pt x="1034" y="158"/>
                    <a:pt x="1034" y="158"/>
                  </a:cubicBezTo>
                  <a:cubicBezTo>
                    <a:pt x="1034" y="158"/>
                    <a:pt x="1034" y="158"/>
                    <a:pt x="1034" y="158"/>
                  </a:cubicBezTo>
                  <a:cubicBezTo>
                    <a:pt x="1031" y="155"/>
                    <a:pt x="1027" y="154"/>
                    <a:pt x="1023" y="153"/>
                  </a:cubicBezTo>
                  <a:cubicBezTo>
                    <a:pt x="1023" y="153"/>
                    <a:pt x="1023" y="153"/>
                    <a:pt x="1023" y="153"/>
                  </a:cubicBezTo>
                  <a:cubicBezTo>
                    <a:pt x="1018" y="153"/>
                    <a:pt x="1019" y="84"/>
                    <a:pt x="1022" y="84"/>
                  </a:cubicBezTo>
                  <a:cubicBezTo>
                    <a:pt x="1022" y="84"/>
                    <a:pt x="1022" y="84"/>
                    <a:pt x="1022" y="84"/>
                  </a:cubicBezTo>
                  <a:cubicBezTo>
                    <a:pt x="1028" y="83"/>
                    <a:pt x="1033" y="77"/>
                    <a:pt x="1033" y="71"/>
                  </a:cubicBezTo>
                  <a:cubicBezTo>
                    <a:pt x="1033" y="64"/>
                    <a:pt x="1027" y="58"/>
                    <a:pt x="1020" y="58"/>
                  </a:cubicBezTo>
                  <a:cubicBezTo>
                    <a:pt x="1015" y="58"/>
                    <a:pt x="1011" y="60"/>
                    <a:pt x="1009" y="63"/>
                  </a:cubicBezTo>
                  <a:cubicBezTo>
                    <a:pt x="1009" y="63"/>
                    <a:pt x="1009" y="63"/>
                    <a:pt x="1009" y="63"/>
                  </a:cubicBezTo>
                  <a:cubicBezTo>
                    <a:pt x="1009" y="63"/>
                    <a:pt x="1009" y="63"/>
                    <a:pt x="1008" y="63"/>
                  </a:cubicBezTo>
                  <a:cubicBezTo>
                    <a:pt x="1006" y="63"/>
                    <a:pt x="1000" y="60"/>
                    <a:pt x="994" y="57"/>
                  </a:cubicBezTo>
                  <a:cubicBezTo>
                    <a:pt x="1001" y="61"/>
                    <a:pt x="1008" y="65"/>
                    <a:pt x="1007" y="66"/>
                  </a:cubicBezTo>
                  <a:cubicBezTo>
                    <a:pt x="1007" y="66"/>
                    <a:pt x="1007" y="66"/>
                    <a:pt x="1007" y="66"/>
                  </a:cubicBezTo>
                  <a:cubicBezTo>
                    <a:pt x="1007" y="68"/>
                    <a:pt x="1006" y="69"/>
                    <a:pt x="1006" y="71"/>
                  </a:cubicBezTo>
                  <a:cubicBezTo>
                    <a:pt x="1006" y="76"/>
                    <a:pt x="1010" y="81"/>
                    <a:pt x="1014" y="83"/>
                  </a:cubicBezTo>
                  <a:cubicBezTo>
                    <a:pt x="1014" y="83"/>
                    <a:pt x="1014" y="83"/>
                    <a:pt x="1014" y="83"/>
                  </a:cubicBezTo>
                  <a:cubicBezTo>
                    <a:pt x="1016" y="83"/>
                    <a:pt x="1013" y="92"/>
                    <a:pt x="1011" y="101"/>
                  </a:cubicBezTo>
                  <a:cubicBezTo>
                    <a:pt x="1013" y="93"/>
                    <a:pt x="1016" y="85"/>
                    <a:pt x="1018" y="84"/>
                  </a:cubicBezTo>
                  <a:cubicBezTo>
                    <a:pt x="1020" y="87"/>
                    <a:pt x="1021" y="153"/>
                    <a:pt x="1016" y="153"/>
                  </a:cubicBezTo>
                  <a:cubicBezTo>
                    <a:pt x="1016" y="153"/>
                    <a:pt x="1016" y="153"/>
                    <a:pt x="1016" y="153"/>
                  </a:cubicBezTo>
                  <a:cubicBezTo>
                    <a:pt x="1016" y="153"/>
                    <a:pt x="1016" y="153"/>
                    <a:pt x="1016" y="153"/>
                  </a:cubicBezTo>
                  <a:cubicBezTo>
                    <a:pt x="1016" y="153"/>
                    <a:pt x="1016" y="153"/>
                    <a:pt x="1016" y="153"/>
                  </a:cubicBezTo>
                  <a:cubicBezTo>
                    <a:pt x="1014" y="153"/>
                    <a:pt x="1012" y="151"/>
                    <a:pt x="1011" y="147"/>
                  </a:cubicBezTo>
                  <a:cubicBezTo>
                    <a:pt x="1012" y="151"/>
                    <a:pt x="1012" y="154"/>
                    <a:pt x="1010" y="155"/>
                  </a:cubicBezTo>
                  <a:cubicBezTo>
                    <a:pt x="1004" y="157"/>
                    <a:pt x="999" y="162"/>
                    <a:pt x="996" y="168"/>
                  </a:cubicBezTo>
                  <a:cubicBezTo>
                    <a:pt x="996" y="168"/>
                    <a:pt x="996" y="168"/>
                    <a:pt x="994" y="168"/>
                  </a:cubicBezTo>
                  <a:cubicBezTo>
                    <a:pt x="978" y="168"/>
                    <a:pt x="874" y="142"/>
                    <a:pt x="874" y="139"/>
                  </a:cubicBezTo>
                  <a:cubicBezTo>
                    <a:pt x="874" y="139"/>
                    <a:pt x="874" y="139"/>
                    <a:pt x="874" y="139"/>
                  </a:cubicBezTo>
                  <a:cubicBezTo>
                    <a:pt x="874" y="138"/>
                    <a:pt x="874" y="138"/>
                    <a:pt x="874" y="137"/>
                  </a:cubicBezTo>
                  <a:cubicBezTo>
                    <a:pt x="874" y="127"/>
                    <a:pt x="866" y="119"/>
                    <a:pt x="855" y="119"/>
                  </a:cubicBezTo>
                  <a:cubicBezTo>
                    <a:pt x="853" y="119"/>
                    <a:pt x="850" y="120"/>
                    <a:pt x="848" y="121"/>
                  </a:cubicBezTo>
                  <a:cubicBezTo>
                    <a:pt x="848" y="120"/>
                    <a:pt x="848" y="120"/>
                    <a:pt x="848" y="120"/>
                  </a:cubicBezTo>
                  <a:cubicBezTo>
                    <a:pt x="848" y="121"/>
                    <a:pt x="848" y="121"/>
                    <a:pt x="848" y="121"/>
                  </a:cubicBezTo>
                  <a:cubicBezTo>
                    <a:pt x="843" y="121"/>
                    <a:pt x="786" y="34"/>
                    <a:pt x="789" y="31"/>
                  </a:cubicBezTo>
                  <a:cubicBezTo>
                    <a:pt x="789" y="31"/>
                    <a:pt x="789" y="31"/>
                    <a:pt x="789" y="31"/>
                  </a:cubicBezTo>
                  <a:cubicBezTo>
                    <a:pt x="791" y="31"/>
                    <a:pt x="800" y="38"/>
                    <a:pt x="810" y="45"/>
                  </a:cubicBezTo>
                  <a:cubicBezTo>
                    <a:pt x="800" y="37"/>
                    <a:pt x="791" y="29"/>
                    <a:pt x="792" y="28"/>
                  </a:cubicBezTo>
                  <a:cubicBezTo>
                    <a:pt x="792" y="28"/>
                    <a:pt x="792" y="28"/>
                    <a:pt x="792" y="28"/>
                  </a:cubicBezTo>
                  <a:cubicBezTo>
                    <a:pt x="794" y="25"/>
                    <a:pt x="795" y="22"/>
                    <a:pt x="795" y="18"/>
                  </a:cubicBezTo>
                  <a:cubicBezTo>
                    <a:pt x="795" y="8"/>
                    <a:pt x="787" y="0"/>
                    <a:pt x="776"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8" name="Freeform 20"/>
            <p:cNvSpPr>
              <a:spLocks/>
            </p:cNvSpPr>
            <p:nvPr/>
          </p:nvSpPr>
          <p:spPr bwMode="auto">
            <a:xfrm>
              <a:off x="6035675" y="2900363"/>
              <a:ext cx="52388" cy="41275"/>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cubicBezTo>
                    <a:pt x="9" y="4"/>
                    <a:pt x="4" y="8"/>
                    <a:pt x="0" y="11"/>
                  </a:cubicBezTo>
                  <a:cubicBezTo>
                    <a:pt x="4" y="8"/>
                    <a:pt x="10" y="4"/>
                    <a:pt x="14"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9" name="Freeform 21"/>
            <p:cNvSpPr>
              <a:spLocks noEditPoints="1"/>
            </p:cNvSpPr>
            <p:nvPr/>
          </p:nvSpPr>
          <p:spPr bwMode="auto">
            <a:xfrm>
              <a:off x="5457825" y="2247900"/>
              <a:ext cx="1231900" cy="652463"/>
            </a:xfrm>
            <a:custGeom>
              <a:avLst/>
              <a:gdLst>
                <a:gd name="T0" fmla="*/ 294 w 328"/>
                <a:gd name="T1" fmla="*/ 53 h 173"/>
                <a:gd name="T2" fmla="*/ 290 w 328"/>
                <a:gd name="T3" fmla="*/ 68 h 173"/>
                <a:gd name="T4" fmla="*/ 237 w 328"/>
                <a:gd name="T5" fmla="*/ 89 h 173"/>
                <a:gd name="T6" fmla="*/ 255 w 328"/>
                <a:gd name="T7" fmla="*/ 21 h 173"/>
                <a:gd name="T8" fmla="*/ 257 w 328"/>
                <a:gd name="T9" fmla="*/ 22 h 173"/>
                <a:gd name="T10" fmla="*/ 257 w 328"/>
                <a:gd name="T11" fmla="*/ 0 h 173"/>
                <a:gd name="T12" fmla="*/ 252 w 328"/>
                <a:gd name="T13" fmla="*/ 20 h 173"/>
                <a:gd name="T14" fmla="*/ 230 w 328"/>
                <a:gd name="T15" fmla="*/ 84 h 173"/>
                <a:gd name="T16" fmla="*/ 225 w 328"/>
                <a:gd name="T17" fmla="*/ 84 h 173"/>
                <a:gd name="T18" fmla="*/ 213 w 328"/>
                <a:gd name="T19" fmla="*/ 59 h 173"/>
                <a:gd name="T20" fmla="*/ 199 w 328"/>
                <a:gd name="T21" fmla="*/ 34 h 173"/>
                <a:gd name="T22" fmla="*/ 185 w 328"/>
                <a:gd name="T23" fmla="*/ 44 h 173"/>
                <a:gd name="T24" fmla="*/ 104 w 328"/>
                <a:gd name="T25" fmla="*/ 22 h 173"/>
                <a:gd name="T26" fmla="*/ 88 w 328"/>
                <a:gd name="T27" fmla="*/ 38 h 173"/>
                <a:gd name="T28" fmla="*/ 16 w 328"/>
                <a:gd name="T29" fmla="*/ 52 h 173"/>
                <a:gd name="T30" fmla="*/ 6 w 328"/>
                <a:gd name="T31" fmla="*/ 48 h 173"/>
                <a:gd name="T32" fmla="*/ 12 w 328"/>
                <a:gd name="T33" fmla="*/ 61 h 173"/>
                <a:gd name="T34" fmla="*/ 86 w 328"/>
                <a:gd name="T35" fmla="*/ 42 h 173"/>
                <a:gd name="T36" fmla="*/ 104 w 328"/>
                <a:gd name="T37" fmla="*/ 54 h 173"/>
                <a:gd name="T38" fmla="*/ 128 w 328"/>
                <a:gd name="T39" fmla="*/ 41 h 173"/>
                <a:gd name="T40" fmla="*/ 192 w 328"/>
                <a:gd name="T41" fmla="*/ 53 h 173"/>
                <a:gd name="T42" fmla="*/ 210 w 328"/>
                <a:gd name="T43" fmla="*/ 60 h 173"/>
                <a:gd name="T44" fmla="*/ 222 w 328"/>
                <a:gd name="T45" fmla="*/ 86 h 173"/>
                <a:gd name="T46" fmla="*/ 222 w 328"/>
                <a:gd name="T47" fmla="*/ 101 h 173"/>
                <a:gd name="T48" fmla="*/ 205 w 328"/>
                <a:gd name="T49" fmla="*/ 130 h 173"/>
                <a:gd name="T50" fmla="*/ 178 w 328"/>
                <a:gd name="T51" fmla="*/ 162 h 173"/>
                <a:gd name="T52" fmla="*/ 181 w 328"/>
                <a:gd name="T53" fmla="*/ 166 h 173"/>
                <a:gd name="T54" fmla="*/ 198 w 328"/>
                <a:gd name="T55" fmla="*/ 172 h 173"/>
                <a:gd name="T56" fmla="*/ 226 w 328"/>
                <a:gd name="T57" fmla="*/ 150 h 173"/>
                <a:gd name="T58" fmla="*/ 211 w 328"/>
                <a:gd name="T59" fmla="*/ 132 h 173"/>
                <a:gd name="T60" fmla="*/ 225 w 328"/>
                <a:gd name="T61" fmla="*/ 103 h 173"/>
                <a:gd name="T62" fmla="*/ 230 w 328"/>
                <a:gd name="T63" fmla="*/ 103 h 173"/>
                <a:gd name="T64" fmla="*/ 244 w 328"/>
                <a:gd name="T65" fmla="*/ 146 h 173"/>
                <a:gd name="T66" fmla="*/ 242 w 328"/>
                <a:gd name="T67" fmla="*/ 149 h 173"/>
                <a:gd name="T68" fmla="*/ 242 w 328"/>
                <a:gd name="T69" fmla="*/ 151 h 173"/>
                <a:gd name="T70" fmla="*/ 248 w 328"/>
                <a:gd name="T71" fmla="*/ 154 h 173"/>
                <a:gd name="T72" fmla="*/ 250 w 328"/>
                <a:gd name="T73" fmla="*/ 153 h 173"/>
                <a:gd name="T74" fmla="*/ 251 w 328"/>
                <a:gd name="T75" fmla="*/ 152 h 173"/>
                <a:gd name="T76" fmla="*/ 246 w 328"/>
                <a:gd name="T77" fmla="*/ 146 h 173"/>
                <a:gd name="T78" fmla="*/ 232 w 328"/>
                <a:gd name="T79" fmla="*/ 102 h 173"/>
                <a:gd name="T80" fmla="*/ 238 w 328"/>
                <a:gd name="T81" fmla="*/ 92 h 173"/>
                <a:gd name="T82" fmla="*/ 292 w 328"/>
                <a:gd name="T83" fmla="*/ 72 h 173"/>
                <a:gd name="T84" fmla="*/ 324 w 328"/>
                <a:gd name="T85" fmla="*/ 57 h 173"/>
                <a:gd name="T86" fmla="*/ 297 w 328"/>
                <a:gd name="T87" fmla="*/ 50 h 173"/>
                <a:gd name="T88" fmla="*/ 266 w 328"/>
                <a:gd name="T89" fmla="*/ 17 h 173"/>
                <a:gd name="T90" fmla="*/ 257 w 328"/>
                <a:gd name="T9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173">
                  <a:moveTo>
                    <a:pt x="263" y="20"/>
                  </a:moveTo>
                  <a:cubicBezTo>
                    <a:pt x="263" y="20"/>
                    <a:pt x="263" y="20"/>
                    <a:pt x="263" y="20"/>
                  </a:cubicBezTo>
                  <a:cubicBezTo>
                    <a:pt x="266" y="20"/>
                    <a:pt x="296" y="51"/>
                    <a:pt x="294" y="53"/>
                  </a:cubicBezTo>
                  <a:cubicBezTo>
                    <a:pt x="294" y="53"/>
                    <a:pt x="294" y="53"/>
                    <a:pt x="294" y="53"/>
                  </a:cubicBezTo>
                  <a:cubicBezTo>
                    <a:pt x="290" y="57"/>
                    <a:pt x="289" y="63"/>
                    <a:pt x="290" y="68"/>
                  </a:cubicBezTo>
                  <a:cubicBezTo>
                    <a:pt x="290" y="68"/>
                    <a:pt x="290" y="68"/>
                    <a:pt x="290" y="68"/>
                  </a:cubicBezTo>
                  <a:cubicBezTo>
                    <a:pt x="291" y="71"/>
                    <a:pt x="242" y="89"/>
                    <a:pt x="237" y="89"/>
                  </a:cubicBezTo>
                  <a:cubicBezTo>
                    <a:pt x="237" y="89"/>
                    <a:pt x="237" y="89"/>
                    <a:pt x="237" y="89"/>
                  </a:cubicBezTo>
                  <a:cubicBezTo>
                    <a:pt x="237" y="89"/>
                    <a:pt x="237" y="89"/>
                    <a:pt x="237" y="89"/>
                  </a:cubicBezTo>
                  <a:cubicBezTo>
                    <a:pt x="236" y="87"/>
                    <a:pt x="234" y="86"/>
                    <a:pt x="233" y="85"/>
                  </a:cubicBezTo>
                  <a:cubicBezTo>
                    <a:pt x="233" y="85"/>
                    <a:pt x="233" y="85"/>
                    <a:pt x="233" y="85"/>
                  </a:cubicBezTo>
                  <a:cubicBezTo>
                    <a:pt x="231" y="84"/>
                    <a:pt x="253" y="21"/>
                    <a:pt x="255" y="21"/>
                  </a:cubicBezTo>
                  <a:cubicBezTo>
                    <a:pt x="255" y="21"/>
                    <a:pt x="255" y="21"/>
                    <a:pt x="255" y="21"/>
                  </a:cubicBezTo>
                  <a:cubicBezTo>
                    <a:pt x="255" y="21"/>
                    <a:pt x="255" y="21"/>
                    <a:pt x="255" y="21"/>
                  </a:cubicBezTo>
                  <a:cubicBezTo>
                    <a:pt x="256" y="21"/>
                    <a:pt x="256" y="22"/>
                    <a:pt x="257" y="22"/>
                  </a:cubicBezTo>
                  <a:cubicBezTo>
                    <a:pt x="259" y="22"/>
                    <a:pt x="261" y="21"/>
                    <a:pt x="263" y="20"/>
                  </a:cubicBezTo>
                  <a:cubicBezTo>
                    <a:pt x="263" y="20"/>
                    <a:pt x="263" y="20"/>
                    <a:pt x="263" y="20"/>
                  </a:cubicBezTo>
                  <a:moveTo>
                    <a:pt x="257" y="0"/>
                  </a:moveTo>
                  <a:cubicBezTo>
                    <a:pt x="251" y="0"/>
                    <a:pt x="246" y="5"/>
                    <a:pt x="246" y="11"/>
                  </a:cubicBezTo>
                  <a:cubicBezTo>
                    <a:pt x="246" y="15"/>
                    <a:pt x="248" y="19"/>
                    <a:pt x="252" y="20"/>
                  </a:cubicBezTo>
                  <a:cubicBezTo>
                    <a:pt x="252" y="20"/>
                    <a:pt x="252" y="20"/>
                    <a:pt x="252" y="20"/>
                  </a:cubicBezTo>
                  <a:cubicBezTo>
                    <a:pt x="254" y="21"/>
                    <a:pt x="232" y="84"/>
                    <a:pt x="230" y="84"/>
                  </a:cubicBezTo>
                  <a:cubicBezTo>
                    <a:pt x="230" y="84"/>
                    <a:pt x="230" y="84"/>
                    <a:pt x="230" y="84"/>
                  </a:cubicBezTo>
                  <a:cubicBezTo>
                    <a:pt x="230" y="84"/>
                    <a:pt x="230" y="84"/>
                    <a:pt x="230" y="84"/>
                  </a:cubicBezTo>
                  <a:cubicBezTo>
                    <a:pt x="229" y="84"/>
                    <a:pt x="229" y="84"/>
                    <a:pt x="228" y="84"/>
                  </a:cubicBezTo>
                  <a:cubicBezTo>
                    <a:pt x="227" y="84"/>
                    <a:pt x="226" y="84"/>
                    <a:pt x="225" y="85"/>
                  </a:cubicBezTo>
                  <a:cubicBezTo>
                    <a:pt x="225" y="84"/>
                    <a:pt x="225" y="84"/>
                    <a:pt x="225" y="84"/>
                  </a:cubicBezTo>
                  <a:cubicBezTo>
                    <a:pt x="225" y="85"/>
                    <a:pt x="225" y="85"/>
                    <a:pt x="225" y="85"/>
                  </a:cubicBezTo>
                  <a:cubicBezTo>
                    <a:pt x="223" y="85"/>
                    <a:pt x="211" y="60"/>
                    <a:pt x="214" y="59"/>
                  </a:cubicBezTo>
                  <a:cubicBezTo>
                    <a:pt x="213" y="59"/>
                    <a:pt x="213" y="59"/>
                    <a:pt x="213" y="59"/>
                  </a:cubicBezTo>
                  <a:cubicBezTo>
                    <a:pt x="220" y="55"/>
                    <a:pt x="222" y="47"/>
                    <a:pt x="219" y="41"/>
                  </a:cubicBezTo>
                  <a:cubicBezTo>
                    <a:pt x="216" y="36"/>
                    <a:pt x="211" y="33"/>
                    <a:pt x="205" y="33"/>
                  </a:cubicBezTo>
                  <a:cubicBezTo>
                    <a:pt x="203" y="33"/>
                    <a:pt x="201" y="33"/>
                    <a:pt x="199" y="34"/>
                  </a:cubicBezTo>
                  <a:cubicBezTo>
                    <a:pt x="195" y="36"/>
                    <a:pt x="192" y="39"/>
                    <a:pt x="191" y="43"/>
                  </a:cubicBezTo>
                  <a:cubicBezTo>
                    <a:pt x="191" y="43"/>
                    <a:pt x="191" y="43"/>
                    <a:pt x="191" y="43"/>
                  </a:cubicBezTo>
                  <a:cubicBezTo>
                    <a:pt x="191" y="44"/>
                    <a:pt x="189" y="44"/>
                    <a:pt x="185" y="44"/>
                  </a:cubicBezTo>
                  <a:cubicBezTo>
                    <a:pt x="168" y="44"/>
                    <a:pt x="121" y="39"/>
                    <a:pt x="121" y="37"/>
                  </a:cubicBezTo>
                  <a:cubicBezTo>
                    <a:pt x="121" y="37"/>
                    <a:pt x="121" y="37"/>
                    <a:pt x="121" y="37"/>
                  </a:cubicBezTo>
                  <a:cubicBezTo>
                    <a:pt x="121" y="28"/>
                    <a:pt x="114" y="22"/>
                    <a:pt x="104" y="22"/>
                  </a:cubicBezTo>
                  <a:cubicBezTo>
                    <a:pt x="95" y="22"/>
                    <a:pt x="88" y="29"/>
                    <a:pt x="88" y="38"/>
                  </a:cubicBezTo>
                  <a:cubicBezTo>
                    <a:pt x="88" y="38"/>
                    <a:pt x="88" y="38"/>
                    <a:pt x="88" y="38"/>
                  </a:cubicBezTo>
                  <a:cubicBezTo>
                    <a:pt x="88" y="38"/>
                    <a:pt x="88" y="38"/>
                    <a:pt x="88" y="38"/>
                  </a:cubicBezTo>
                  <a:cubicBezTo>
                    <a:pt x="88" y="41"/>
                    <a:pt x="24" y="52"/>
                    <a:pt x="17" y="52"/>
                  </a:cubicBezTo>
                  <a:cubicBezTo>
                    <a:pt x="16" y="52"/>
                    <a:pt x="16" y="52"/>
                    <a:pt x="16" y="52"/>
                  </a:cubicBezTo>
                  <a:cubicBezTo>
                    <a:pt x="16" y="52"/>
                    <a:pt x="16" y="52"/>
                    <a:pt x="16" y="52"/>
                  </a:cubicBezTo>
                  <a:cubicBezTo>
                    <a:pt x="16" y="51"/>
                    <a:pt x="16" y="51"/>
                    <a:pt x="16" y="51"/>
                  </a:cubicBezTo>
                  <a:cubicBezTo>
                    <a:pt x="14" y="48"/>
                    <a:pt x="12" y="47"/>
                    <a:pt x="9" y="47"/>
                  </a:cubicBezTo>
                  <a:cubicBezTo>
                    <a:pt x="8" y="47"/>
                    <a:pt x="7" y="47"/>
                    <a:pt x="6" y="48"/>
                  </a:cubicBezTo>
                  <a:cubicBezTo>
                    <a:pt x="2" y="49"/>
                    <a:pt x="0" y="54"/>
                    <a:pt x="2" y="57"/>
                  </a:cubicBezTo>
                  <a:cubicBezTo>
                    <a:pt x="3" y="60"/>
                    <a:pt x="6" y="61"/>
                    <a:pt x="9" y="61"/>
                  </a:cubicBezTo>
                  <a:cubicBezTo>
                    <a:pt x="10" y="61"/>
                    <a:pt x="11" y="61"/>
                    <a:pt x="12" y="61"/>
                  </a:cubicBezTo>
                  <a:cubicBezTo>
                    <a:pt x="15" y="60"/>
                    <a:pt x="17" y="57"/>
                    <a:pt x="16" y="54"/>
                  </a:cubicBezTo>
                  <a:cubicBezTo>
                    <a:pt x="16" y="54"/>
                    <a:pt x="16" y="54"/>
                    <a:pt x="16" y="54"/>
                  </a:cubicBezTo>
                  <a:cubicBezTo>
                    <a:pt x="16" y="53"/>
                    <a:pt x="73" y="42"/>
                    <a:pt x="86" y="42"/>
                  </a:cubicBezTo>
                  <a:cubicBezTo>
                    <a:pt x="87" y="42"/>
                    <a:pt x="88" y="43"/>
                    <a:pt x="89" y="43"/>
                  </a:cubicBezTo>
                  <a:cubicBezTo>
                    <a:pt x="88" y="43"/>
                    <a:pt x="88" y="43"/>
                    <a:pt x="88" y="43"/>
                  </a:cubicBezTo>
                  <a:cubicBezTo>
                    <a:pt x="91" y="49"/>
                    <a:pt x="97" y="54"/>
                    <a:pt x="104" y="54"/>
                  </a:cubicBezTo>
                  <a:cubicBezTo>
                    <a:pt x="112" y="54"/>
                    <a:pt x="119" y="49"/>
                    <a:pt x="121" y="42"/>
                  </a:cubicBezTo>
                  <a:cubicBezTo>
                    <a:pt x="121" y="42"/>
                    <a:pt x="121" y="42"/>
                    <a:pt x="121" y="42"/>
                  </a:cubicBezTo>
                  <a:cubicBezTo>
                    <a:pt x="121" y="41"/>
                    <a:pt x="124" y="41"/>
                    <a:pt x="128" y="41"/>
                  </a:cubicBezTo>
                  <a:cubicBezTo>
                    <a:pt x="145" y="41"/>
                    <a:pt x="191" y="46"/>
                    <a:pt x="191" y="48"/>
                  </a:cubicBezTo>
                  <a:cubicBezTo>
                    <a:pt x="191" y="48"/>
                    <a:pt x="191" y="48"/>
                    <a:pt x="191" y="48"/>
                  </a:cubicBezTo>
                  <a:cubicBezTo>
                    <a:pt x="191" y="49"/>
                    <a:pt x="191" y="51"/>
                    <a:pt x="192" y="53"/>
                  </a:cubicBezTo>
                  <a:cubicBezTo>
                    <a:pt x="195" y="58"/>
                    <a:pt x="200" y="61"/>
                    <a:pt x="205" y="61"/>
                  </a:cubicBezTo>
                  <a:cubicBezTo>
                    <a:pt x="207" y="61"/>
                    <a:pt x="208" y="61"/>
                    <a:pt x="210" y="60"/>
                  </a:cubicBezTo>
                  <a:cubicBezTo>
                    <a:pt x="210" y="60"/>
                    <a:pt x="210" y="60"/>
                    <a:pt x="210" y="60"/>
                  </a:cubicBezTo>
                  <a:cubicBezTo>
                    <a:pt x="210" y="60"/>
                    <a:pt x="210" y="60"/>
                    <a:pt x="210" y="60"/>
                  </a:cubicBezTo>
                  <a:cubicBezTo>
                    <a:pt x="213" y="60"/>
                    <a:pt x="224" y="85"/>
                    <a:pt x="222" y="86"/>
                  </a:cubicBezTo>
                  <a:cubicBezTo>
                    <a:pt x="222" y="86"/>
                    <a:pt x="222" y="86"/>
                    <a:pt x="222" y="86"/>
                  </a:cubicBezTo>
                  <a:cubicBezTo>
                    <a:pt x="218" y="88"/>
                    <a:pt x="217" y="94"/>
                    <a:pt x="219" y="98"/>
                  </a:cubicBezTo>
                  <a:cubicBezTo>
                    <a:pt x="220" y="99"/>
                    <a:pt x="221" y="101"/>
                    <a:pt x="222" y="101"/>
                  </a:cubicBezTo>
                  <a:cubicBezTo>
                    <a:pt x="222" y="101"/>
                    <a:pt x="222" y="101"/>
                    <a:pt x="222" y="101"/>
                  </a:cubicBezTo>
                  <a:cubicBezTo>
                    <a:pt x="223" y="103"/>
                    <a:pt x="210" y="130"/>
                    <a:pt x="206" y="130"/>
                  </a:cubicBezTo>
                  <a:cubicBezTo>
                    <a:pt x="206" y="130"/>
                    <a:pt x="205" y="130"/>
                    <a:pt x="205" y="130"/>
                  </a:cubicBezTo>
                  <a:cubicBezTo>
                    <a:pt x="205" y="130"/>
                    <a:pt x="205" y="130"/>
                    <a:pt x="205" y="130"/>
                  </a:cubicBezTo>
                  <a:cubicBezTo>
                    <a:pt x="203" y="129"/>
                    <a:pt x="201" y="128"/>
                    <a:pt x="198" y="128"/>
                  </a:cubicBezTo>
                  <a:cubicBezTo>
                    <a:pt x="185" y="128"/>
                    <a:pt x="175" y="138"/>
                    <a:pt x="175" y="150"/>
                  </a:cubicBezTo>
                  <a:cubicBezTo>
                    <a:pt x="175" y="155"/>
                    <a:pt x="176" y="159"/>
                    <a:pt x="178" y="162"/>
                  </a:cubicBezTo>
                  <a:cubicBezTo>
                    <a:pt x="178" y="162"/>
                    <a:pt x="178" y="162"/>
                    <a:pt x="178" y="162"/>
                  </a:cubicBezTo>
                  <a:cubicBezTo>
                    <a:pt x="179" y="163"/>
                    <a:pt x="174" y="168"/>
                    <a:pt x="168" y="173"/>
                  </a:cubicBezTo>
                  <a:cubicBezTo>
                    <a:pt x="174" y="169"/>
                    <a:pt x="179" y="166"/>
                    <a:pt x="181" y="166"/>
                  </a:cubicBezTo>
                  <a:cubicBezTo>
                    <a:pt x="182" y="166"/>
                    <a:pt x="182" y="166"/>
                    <a:pt x="182" y="166"/>
                  </a:cubicBezTo>
                  <a:cubicBezTo>
                    <a:pt x="182" y="166"/>
                    <a:pt x="182" y="166"/>
                    <a:pt x="182" y="166"/>
                  </a:cubicBezTo>
                  <a:cubicBezTo>
                    <a:pt x="186" y="170"/>
                    <a:pt x="192" y="172"/>
                    <a:pt x="198" y="172"/>
                  </a:cubicBezTo>
                  <a:cubicBezTo>
                    <a:pt x="210" y="172"/>
                    <a:pt x="219" y="164"/>
                    <a:pt x="221" y="153"/>
                  </a:cubicBezTo>
                  <a:cubicBezTo>
                    <a:pt x="221" y="153"/>
                    <a:pt x="221" y="153"/>
                    <a:pt x="221" y="153"/>
                  </a:cubicBezTo>
                  <a:cubicBezTo>
                    <a:pt x="221" y="151"/>
                    <a:pt x="223" y="151"/>
                    <a:pt x="226" y="150"/>
                  </a:cubicBezTo>
                  <a:cubicBezTo>
                    <a:pt x="223" y="150"/>
                    <a:pt x="221" y="149"/>
                    <a:pt x="221" y="148"/>
                  </a:cubicBezTo>
                  <a:cubicBezTo>
                    <a:pt x="221" y="148"/>
                    <a:pt x="221" y="148"/>
                    <a:pt x="221" y="148"/>
                  </a:cubicBezTo>
                  <a:cubicBezTo>
                    <a:pt x="220" y="141"/>
                    <a:pt x="216" y="136"/>
                    <a:pt x="211" y="132"/>
                  </a:cubicBezTo>
                  <a:cubicBezTo>
                    <a:pt x="211" y="132"/>
                    <a:pt x="211" y="132"/>
                    <a:pt x="211" y="132"/>
                  </a:cubicBezTo>
                  <a:cubicBezTo>
                    <a:pt x="207" y="130"/>
                    <a:pt x="223" y="103"/>
                    <a:pt x="225" y="103"/>
                  </a:cubicBezTo>
                  <a:cubicBezTo>
                    <a:pt x="225" y="103"/>
                    <a:pt x="225" y="103"/>
                    <a:pt x="225" y="103"/>
                  </a:cubicBezTo>
                  <a:cubicBezTo>
                    <a:pt x="225" y="103"/>
                    <a:pt x="225" y="103"/>
                    <a:pt x="225" y="103"/>
                  </a:cubicBezTo>
                  <a:cubicBezTo>
                    <a:pt x="226" y="103"/>
                    <a:pt x="227" y="103"/>
                    <a:pt x="228" y="103"/>
                  </a:cubicBezTo>
                  <a:cubicBezTo>
                    <a:pt x="229" y="103"/>
                    <a:pt x="229" y="103"/>
                    <a:pt x="230" y="103"/>
                  </a:cubicBezTo>
                  <a:cubicBezTo>
                    <a:pt x="230" y="103"/>
                    <a:pt x="230" y="103"/>
                    <a:pt x="230" y="103"/>
                  </a:cubicBezTo>
                  <a:cubicBezTo>
                    <a:pt x="230" y="103"/>
                    <a:pt x="230" y="103"/>
                    <a:pt x="230" y="103"/>
                  </a:cubicBezTo>
                  <a:cubicBezTo>
                    <a:pt x="232" y="103"/>
                    <a:pt x="245" y="146"/>
                    <a:pt x="244" y="146"/>
                  </a:cubicBezTo>
                  <a:cubicBezTo>
                    <a:pt x="244" y="146"/>
                    <a:pt x="244" y="146"/>
                    <a:pt x="244" y="146"/>
                  </a:cubicBezTo>
                  <a:cubicBezTo>
                    <a:pt x="243" y="147"/>
                    <a:pt x="242" y="148"/>
                    <a:pt x="242" y="150"/>
                  </a:cubicBezTo>
                  <a:cubicBezTo>
                    <a:pt x="242" y="149"/>
                    <a:pt x="242" y="149"/>
                    <a:pt x="242" y="149"/>
                  </a:cubicBezTo>
                  <a:cubicBezTo>
                    <a:pt x="242" y="150"/>
                    <a:pt x="240" y="150"/>
                    <a:pt x="237" y="150"/>
                  </a:cubicBezTo>
                  <a:cubicBezTo>
                    <a:pt x="240" y="151"/>
                    <a:pt x="242" y="151"/>
                    <a:pt x="242" y="151"/>
                  </a:cubicBezTo>
                  <a:cubicBezTo>
                    <a:pt x="242" y="151"/>
                    <a:pt x="242" y="151"/>
                    <a:pt x="242" y="151"/>
                  </a:cubicBezTo>
                  <a:cubicBezTo>
                    <a:pt x="242" y="151"/>
                    <a:pt x="242" y="152"/>
                    <a:pt x="242" y="152"/>
                  </a:cubicBezTo>
                  <a:cubicBezTo>
                    <a:pt x="243" y="154"/>
                    <a:pt x="245" y="155"/>
                    <a:pt x="246" y="155"/>
                  </a:cubicBezTo>
                  <a:cubicBezTo>
                    <a:pt x="247" y="155"/>
                    <a:pt x="248" y="155"/>
                    <a:pt x="248" y="154"/>
                  </a:cubicBezTo>
                  <a:cubicBezTo>
                    <a:pt x="249" y="154"/>
                    <a:pt x="250" y="154"/>
                    <a:pt x="250" y="153"/>
                  </a:cubicBezTo>
                  <a:cubicBezTo>
                    <a:pt x="250" y="153"/>
                    <a:pt x="250" y="153"/>
                    <a:pt x="250" y="153"/>
                  </a:cubicBezTo>
                  <a:cubicBezTo>
                    <a:pt x="250" y="153"/>
                    <a:pt x="250" y="153"/>
                    <a:pt x="250" y="153"/>
                  </a:cubicBezTo>
                  <a:cubicBezTo>
                    <a:pt x="251" y="153"/>
                    <a:pt x="256" y="155"/>
                    <a:pt x="262" y="158"/>
                  </a:cubicBezTo>
                  <a:cubicBezTo>
                    <a:pt x="256" y="155"/>
                    <a:pt x="251" y="152"/>
                    <a:pt x="251" y="152"/>
                  </a:cubicBezTo>
                  <a:cubicBezTo>
                    <a:pt x="251" y="152"/>
                    <a:pt x="251" y="152"/>
                    <a:pt x="251" y="152"/>
                  </a:cubicBezTo>
                  <a:cubicBezTo>
                    <a:pt x="251" y="151"/>
                    <a:pt x="251" y="150"/>
                    <a:pt x="251" y="148"/>
                  </a:cubicBezTo>
                  <a:cubicBezTo>
                    <a:pt x="250" y="147"/>
                    <a:pt x="248" y="146"/>
                    <a:pt x="246" y="146"/>
                  </a:cubicBezTo>
                  <a:cubicBezTo>
                    <a:pt x="246" y="146"/>
                    <a:pt x="246" y="146"/>
                    <a:pt x="246" y="146"/>
                  </a:cubicBezTo>
                  <a:cubicBezTo>
                    <a:pt x="246" y="146"/>
                    <a:pt x="246" y="146"/>
                    <a:pt x="246" y="146"/>
                  </a:cubicBezTo>
                  <a:cubicBezTo>
                    <a:pt x="246" y="146"/>
                    <a:pt x="246" y="146"/>
                    <a:pt x="246" y="146"/>
                  </a:cubicBezTo>
                  <a:cubicBezTo>
                    <a:pt x="245" y="146"/>
                    <a:pt x="231" y="103"/>
                    <a:pt x="232" y="102"/>
                  </a:cubicBezTo>
                  <a:cubicBezTo>
                    <a:pt x="232" y="102"/>
                    <a:pt x="232" y="102"/>
                    <a:pt x="232" y="102"/>
                  </a:cubicBezTo>
                  <a:cubicBezTo>
                    <a:pt x="237" y="101"/>
                    <a:pt x="239" y="96"/>
                    <a:pt x="238" y="92"/>
                  </a:cubicBezTo>
                  <a:cubicBezTo>
                    <a:pt x="238" y="92"/>
                    <a:pt x="238" y="92"/>
                    <a:pt x="238" y="92"/>
                  </a:cubicBezTo>
                  <a:cubicBezTo>
                    <a:pt x="237" y="90"/>
                    <a:pt x="283" y="72"/>
                    <a:pt x="291" y="72"/>
                  </a:cubicBezTo>
                  <a:cubicBezTo>
                    <a:pt x="292" y="72"/>
                    <a:pt x="292" y="72"/>
                    <a:pt x="292" y="73"/>
                  </a:cubicBezTo>
                  <a:cubicBezTo>
                    <a:pt x="292" y="72"/>
                    <a:pt x="292" y="72"/>
                    <a:pt x="292" y="72"/>
                  </a:cubicBezTo>
                  <a:cubicBezTo>
                    <a:pt x="295" y="78"/>
                    <a:pt x="301" y="81"/>
                    <a:pt x="308" y="81"/>
                  </a:cubicBezTo>
                  <a:cubicBezTo>
                    <a:pt x="310" y="81"/>
                    <a:pt x="313" y="81"/>
                    <a:pt x="315" y="80"/>
                  </a:cubicBezTo>
                  <a:cubicBezTo>
                    <a:pt x="324" y="76"/>
                    <a:pt x="328" y="65"/>
                    <a:pt x="324" y="57"/>
                  </a:cubicBezTo>
                  <a:cubicBezTo>
                    <a:pt x="321" y="51"/>
                    <a:pt x="314" y="47"/>
                    <a:pt x="308" y="47"/>
                  </a:cubicBezTo>
                  <a:cubicBezTo>
                    <a:pt x="305" y="47"/>
                    <a:pt x="302" y="47"/>
                    <a:pt x="300" y="49"/>
                  </a:cubicBezTo>
                  <a:cubicBezTo>
                    <a:pt x="299" y="49"/>
                    <a:pt x="298" y="49"/>
                    <a:pt x="297" y="50"/>
                  </a:cubicBezTo>
                  <a:cubicBezTo>
                    <a:pt x="298" y="50"/>
                    <a:pt x="298" y="50"/>
                    <a:pt x="298" y="50"/>
                  </a:cubicBezTo>
                  <a:cubicBezTo>
                    <a:pt x="298" y="50"/>
                    <a:pt x="297" y="50"/>
                    <a:pt x="297" y="50"/>
                  </a:cubicBezTo>
                  <a:cubicBezTo>
                    <a:pt x="293" y="50"/>
                    <a:pt x="264" y="19"/>
                    <a:pt x="266" y="17"/>
                  </a:cubicBezTo>
                  <a:cubicBezTo>
                    <a:pt x="266" y="17"/>
                    <a:pt x="266" y="17"/>
                    <a:pt x="266" y="17"/>
                  </a:cubicBezTo>
                  <a:cubicBezTo>
                    <a:pt x="267" y="16"/>
                    <a:pt x="268" y="13"/>
                    <a:pt x="268" y="11"/>
                  </a:cubicBezTo>
                  <a:cubicBezTo>
                    <a:pt x="268" y="5"/>
                    <a:pt x="263" y="0"/>
                    <a:pt x="257"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0" name="Freeform 22"/>
            <p:cNvSpPr>
              <a:spLocks/>
            </p:cNvSpPr>
            <p:nvPr/>
          </p:nvSpPr>
          <p:spPr bwMode="auto">
            <a:xfrm>
              <a:off x="7312025" y="3098800"/>
              <a:ext cx="12700" cy="26988"/>
            </a:xfrm>
            <a:custGeom>
              <a:avLst/>
              <a:gdLst>
                <a:gd name="T0" fmla="*/ 0 w 3"/>
                <a:gd name="T1" fmla="*/ 0 h 7"/>
                <a:gd name="T2" fmla="*/ 3 w 3"/>
                <a:gd name="T3" fmla="*/ 7 h 7"/>
                <a:gd name="T4" fmla="*/ 0 w 3"/>
                <a:gd name="T5" fmla="*/ 0 h 7"/>
              </a:gdLst>
              <a:ahLst/>
              <a:cxnLst>
                <a:cxn ang="0">
                  <a:pos x="T0" y="T1"/>
                </a:cxn>
                <a:cxn ang="0">
                  <a:pos x="T2" y="T3"/>
                </a:cxn>
                <a:cxn ang="0">
                  <a:pos x="T4" y="T5"/>
                </a:cxn>
              </a:cxnLst>
              <a:rect l="0" t="0" r="r" b="b"/>
              <a:pathLst>
                <a:path w="3" h="7">
                  <a:moveTo>
                    <a:pt x="0" y="0"/>
                  </a:moveTo>
                  <a:cubicBezTo>
                    <a:pt x="1" y="2"/>
                    <a:pt x="2" y="4"/>
                    <a:pt x="3" y="7"/>
                  </a:cubicBezTo>
                  <a:cubicBezTo>
                    <a:pt x="2" y="4"/>
                    <a:pt x="1" y="2"/>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1" name="Freeform 23"/>
            <p:cNvSpPr>
              <a:spLocks/>
            </p:cNvSpPr>
            <p:nvPr/>
          </p:nvSpPr>
          <p:spPr bwMode="auto">
            <a:xfrm>
              <a:off x="6307138" y="2813050"/>
              <a:ext cx="41275" cy="3175"/>
            </a:xfrm>
            <a:custGeom>
              <a:avLst/>
              <a:gdLst>
                <a:gd name="T0" fmla="*/ 5 w 11"/>
                <a:gd name="T1" fmla="*/ 0 h 1"/>
                <a:gd name="T2" fmla="*/ 0 w 11"/>
                <a:gd name="T3" fmla="*/ 0 h 1"/>
                <a:gd name="T4" fmla="*/ 5 w 11"/>
                <a:gd name="T5" fmla="*/ 1 h 1"/>
                <a:gd name="T6" fmla="*/ 11 w 11"/>
                <a:gd name="T7" fmla="*/ 0 h 1"/>
                <a:gd name="T8" fmla="*/ 5 w 11"/>
                <a:gd name="T9" fmla="*/ 0 h 1"/>
              </a:gdLst>
              <a:ahLst/>
              <a:cxnLst>
                <a:cxn ang="0">
                  <a:pos x="T0" y="T1"/>
                </a:cxn>
                <a:cxn ang="0">
                  <a:pos x="T2" y="T3"/>
                </a:cxn>
                <a:cxn ang="0">
                  <a:pos x="T4" y="T5"/>
                </a:cxn>
                <a:cxn ang="0">
                  <a:pos x="T6" y="T7"/>
                </a:cxn>
                <a:cxn ang="0">
                  <a:pos x="T8" y="T9"/>
                </a:cxn>
              </a:cxnLst>
              <a:rect l="0" t="0" r="r" b="b"/>
              <a:pathLst>
                <a:path w="11" h="1">
                  <a:moveTo>
                    <a:pt x="5" y="0"/>
                  </a:moveTo>
                  <a:cubicBezTo>
                    <a:pt x="4" y="0"/>
                    <a:pt x="2" y="0"/>
                    <a:pt x="0" y="0"/>
                  </a:cubicBezTo>
                  <a:cubicBezTo>
                    <a:pt x="2" y="1"/>
                    <a:pt x="4" y="1"/>
                    <a:pt x="5" y="1"/>
                  </a:cubicBezTo>
                  <a:cubicBezTo>
                    <a:pt x="7" y="1"/>
                    <a:pt x="9" y="0"/>
                    <a:pt x="11" y="0"/>
                  </a:cubicBezTo>
                  <a:cubicBezTo>
                    <a:pt x="9" y="0"/>
                    <a:pt x="7" y="0"/>
                    <a:pt x="5"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2" name="Freeform 24"/>
            <p:cNvSpPr>
              <a:spLocks/>
            </p:cNvSpPr>
            <p:nvPr/>
          </p:nvSpPr>
          <p:spPr bwMode="auto">
            <a:xfrm>
              <a:off x="6442075" y="2843213"/>
              <a:ext cx="11113" cy="7938"/>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2"/>
                    <a:pt x="1"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3" name="Freeform 25"/>
            <p:cNvSpPr>
              <a:spLocks/>
            </p:cNvSpPr>
            <p:nvPr/>
          </p:nvSpPr>
          <p:spPr bwMode="auto">
            <a:xfrm>
              <a:off x="6502400" y="3136900"/>
              <a:ext cx="14288" cy="52388"/>
            </a:xfrm>
            <a:custGeom>
              <a:avLst/>
              <a:gdLst>
                <a:gd name="T0" fmla="*/ 0 w 4"/>
                <a:gd name="T1" fmla="*/ 0 h 14"/>
                <a:gd name="T2" fmla="*/ 4 w 4"/>
                <a:gd name="T3" fmla="*/ 14 h 14"/>
                <a:gd name="T4" fmla="*/ 0 w 4"/>
                <a:gd name="T5" fmla="*/ 0 h 14"/>
              </a:gdLst>
              <a:ahLst/>
              <a:cxnLst>
                <a:cxn ang="0">
                  <a:pos x="T0" y="T1"/>
                </a:cxn>
                <a:cxn ang="0">
                  <a:pos x="T2" y="T3"/>
                </a:cxn>
                <a:cxn ang="0">
                  <a:pos x="T4" y="T5"/>
                </a:cxn>
              </a:cxnLst>
              <a:rect l="0" t="0" r="r" b="b"/>
              <a:pathLst>
                <a:path w="4" h="14">
                  <a:moveTo>
                    <a:pt x="0" y="0"/>
                  </a:moveTo>
                  <a:cubicBezTo>
                    <a:pt x="1" y="4"/>
                    <a:pt x="2" y="9"/>
                    <a:pt x="4" y="14"/>
                  </a:cubicBezTo>
                  <a:cubicBezTo>
                    <a:pt x="3" y="9"/>
                    <a:pt x="1"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4" name="Freeform 26"/>
            <p:cNvSpPr>
              <a:spLocks noEditPoints="1"/>
            </p:cNvSpPr>
            <p:nvPr/>
          </p:nvSpPr>
          <p:spPr bwMode="auto">
            <a:xfrm>
              <a:off x="5980113" y="2941638"/>
              <a:ext cx="528638" cy="195263"/>
            </a:xfrm>
            <a:custGeom>
              <a:avLst/>
              <a:gdLst>
                <a:gd name="T0" fmla="*/ 95 w 141"/>
                <a:gd name="T1" fmla="*/ 22 h 52"/>
                <a:gd name="T2" fmla="*/ 101 w 141"/>
                <a:gd name="T3" fmla="*/ 23 h 52"/>
                <a:gd name="T4" fmla="*/ 103 w 141"/>
                <a:gd name="T5" fmla="*/ 22 h 52"/>
                <a:gd name="T6" fmla="*/ 133 w 141"/>
                <a:gd name="T7" fmla="*/ 41 h 52"/>
                <a:gd name="T8" fmla="*/ 132 w 141"/>
                <a:gd name="T9" fmla="*/ 42 h 52"/>
                <a:gd name="T10" fmla="*/ 70 w 141"/>
                <a:gd name="T11" fmla="*/ 45 h 52"/>
                <a:gd name="T12" fmla="*/ 65 w 141"/>
                <a:gd name="T13" fmla="*/ 45 h 52"/>
                <a:gd name="T14" fmla="*/ 64 w 141"/>
                <a:gd name="T15" fmla="*/ 43 h 52"/>
                <a:gd name="T16" fmla="*/ 95 w 141"/>
                <a:gd name="T17" fmla="*/ 22 h 52"/>
                <a:gd name="T18" fmla="*/ 15 w 141"/>
                <a:gd name="T19" fmla="*/ 0 h 52"/>
                <a:gd name="T20" fmla="*/ 7 w 141"/>
                <a:gd name="T21" fmla="*/ 6 h 52"/>
                <a:gd name="T22" fmla="*/ 4 w 141"/>
                <a:gd name="T23" fmla="*/ 5 h 52"/>
                <a:gd name="T24" fmla="*/ 1 w 141"/>
                <a:gd name="T25" fmla="*/ 10 h 52"/>
                <a:gd name="T26" fmla="*/ 6 w 141"/>
                <a:gd name="T27" fmla="*/ 12 h 52"/>
                <a:gd name="T28" fmla="*/ 7 w 141"/>
                <a:gd name="T29" fmla="*/ 11 h 52"/>
                <a:gd name="T30" fmla="*/ 52 w 141"/>
                <a:gd name="T31" fmla="*/ 43 h 52"/>
                <a:gd name="T32" fmla="*/ 52 w 141"/>
                <a:gd name="T33" fmla="*/ 49 h 52"/>
                <a:gd name="T34" fmla="*/ 61 w 141"/>
                <a:gd name="T35" fmla="*/ 52 h 52"/>
                <a:gd name="T36" fmla="*/ 65 w 141"/>
                <a:gd name="T37" fmla="*/ 47 h 52"/>
                <a:gd name="T38" fmla="*/ 132 w 141"/>
                <a:gd name="T39" fmla="*/ 43 h 52"/>
                <a:gd name="T40" fmla="*/ 133 w 141"/>
                <a:gd name="T41" fmla="*/ 44 h 52"/>
                <a:gd name="T42" fmla="*/ 137 w 141"/>
                <a:gd name="T43" fmla="*/ 46 h 52"/>
                <a:gd name="T44" fmla="*/ 137 w 141"/>
                <a:gd name="T45" fmla="*/ 46 h 52"/>
                <a:gd name="T46" fmla="*/ 138 w 141"/>
                <a:gd name="T47" fmla="*/ 46 h 52"/>
                <a:gd name="T48" fmla="*/ 140 w 141"/>
                <a:gd name="T49" fmla="*/ 41 h 52"/>
                <a:gd name="T50" fmla="*/ 138 w 141"/>
                <a:gd name="T51" fmla="*/ 39 h 52"/>
                <a:gd name="T52" fmla="*/ 137 w 141"/>
                <a:gd name="T53" fmla="*/ 39 h 52"/>
                <a:gd name="T54" fmla="*/ 137 w 141"/>
                <a:gd name="T55" fmla="*/ 39 h 52"/>
                <a:gd name="T56" fmla="*/ 135 w 141"/>
                <a:gd name="T57" fmla="*/ 39 h 52"/>
                <a:gd name="T58" fmla="*/ 133 w 141"/>
                <a:gd name="T59" fmla="*/ 40 h 52"/>
                <a:gd name="T60" fmla="*/ 103 w 141"/>
                <a:gd name="T61" fmla="*/ 21 h 52"/>
                <a:gd name="T62" fmla="*/ 103 w 141"/>
                <a:gd name="T63" fmla="*/ 17 h 52"/>
                <a:gd name="T64" fmla="*/ 97 w 141"/>
                <a:gd name="T65" fmla="*/ 15 h 52"/>
                <a:gd name="T66" fmla="*/ 95 w 141"/>
                <a:gd name="T67" fmla="*/ 21 h 52"/>
                <a:gd name="T68" fmla="*/ 63 w 141"/>
                <a:gd name="T69" fmla="*/ 41 h 52"/>
                <a:gd name="T70" fmla="*/ 58 w 141"/>
                <a:gd name="T71" fmla="*/ 39 h 52"/>
                <a:gd name="T72" fmla="*/ 53 w 141"/>
                <a:gd name="T73" fmla="*/ 41 h 52"/>
                <a:gd name="T74" fmla="*/ 53 w 141"/>
                <a:gd name="T75" fmla="*/ 41 h 52"/>
                <a:gd name="T76" fmla="*/ 8 w 141"/>
                <a:gd name="T77" fmla="*/ 10 h 52"/>
                <a:gd name="T78" fmla="*/ 8 w 141"/>
                <a:gd name="T79" fmla="*/ 7 h 52"/>
                <a:gd name="T80" fmla="*/ 15 w 141"/>
                <a:gd name="T8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52">
                  <a:moveTo>
                    <a:pt x="96" y="22"/>
                  </a:moveTo>
                  <a:cubicBezTo>
                    <a:pt x="95" y="22"/>
                    <a:pt x="95" y="22"/>
                    <a:pt x="95" y="22"/>
                  </a:cubicBezTo>
                  <a:cubicBezTo>
                    <a:pt x="96" y="23"/>
                    <a:pt x="98" y="24"/>
                    <a:pt x="99" y="24"/>
                  </a:cubicBezTo>
                  <a:cubicBezTo>
                    <a:pt x="100" y="24"/>
                    <a:pt x="100" y="23"/>
                    <a:pt x="101" y="23"/>
                  </a:cubicBezTo>
                  <a:cubicBezTo>
                    <a:pt x="102" y="23"/>
                    <a:pt x="102" y="23"/>
                    <a:pt x="103" y="22"/>
                  </a:cubicBezTo>
                  <a:cubicBezTo>
                    <a:pt x="103" y="22"/>
                    <a:pt x="103" y="22"/>
                    <a:pt x="103" y="22"/>
                  </a:cubicBezTo>
                  <a:cubicBezTo>
                    <a:pt x="103" y="22"/>
                    <a:pt x="103" y="22"/>
                    <a:pt x="103" y="22"/>
                  </a:cubicBezTo>
                  <a:cubicBezTo>
                    <a:pt x="104" y="22"/>
                    <a:pt x="133" y="40"/>
                    <a:pt x="133" y="41"/>
                  </a:cubicBezTo>
                  <a:cubicBezTo>
                    <a:pt x="133" y="41"/>
                    <a:pt x="133" y="41"/>
                    <a:pt x="133" y="41"/>
                  </a:cubicBezTo>
                  <a:cubicBezTo>
                    <a:pt x="132" y="41"/>
                    <a:pt x="132" y="42"/>
                    <a:pt x="132" y="42"/>
                  </a:cubicBezTo>
                  <a:cubicBezTo>
                    <a:pt x="132" y="42"/>
                    <a:pt x="132" y="42"/>
                    <a:pt x="132" y="42"/>
                  </a:cubicBezTo>
                  <a:cubicBezTo>
                    <a:pt x="132" y="43"/>
                    <a:pt x="86" y="45"/>
                    <a:pt x="70" y="45"/>
                  </a:cubicBezTo>
                  <a:cubicBezTo>
                    <a:pt x="67" y="45"/>
                    <a:pt x="65" y="45"/>
                    <a:pt x="65" y="45"/>
                  </a:cubicBezTo>
                  <a:cubicBezTo>
                    <a:pt x="65" y="45"/>
                    <a:pt x="65" y="45"/>
                    <a:pt x="65" y="45"/>
                  </a:cubicBezTo>
                  <a:cubicBezTo>
                    <a:pt x="65" y="44"/>
                    <a:pt x="64" y="43"/>
                    <a:pt x="64" y="43"/>
                  </a:cubicBezTo>
                  <a:cubicBezTo>
                    <a:pt x="64" y="43"/>
                    <a:pt x="64" y="43"/>
                    <a:pt x="64" y="43"/>
                  </a:cubicBezTo>
                  <a:cubicBezTo>
                    <a:pt x="64" y="43"/>
                    <a:pt x="64" y="43"/>
                    <a:pt x="64" y="43"/>
                  </a:cubicBezTo>
                  <a:cubicBezTo>
                    <a:pt x="64" y="42"/>
                    <a:pt x="94" y="22"/>
                    <a:pt x="95" y="22"/>
                  </a:cubicBezTo>
                  <a:cubicBezTo>
                    <a:pt x="96" y="22"/>
                    <a:pt x="96" y="22"/>
                    <a:pt x="96" y="22"/>
                  </a:cubicBezTo>
                  <a:moveTo>
                    <a:pt x="15" y="0"/>
                  </a:moveTo>
                  <a:cubicBezTo>
                    <a:pt x="11" y="3"/>
                    <a:pt x="8" y="6"/>
                    <a:pt x="7" y="6"/>
                  </a:cubicBezTo>
                  <a:cubicBezTo>
                    <a:pt x="7" y="6"/>
                    <a:pt x="7" y="6"/>
                    <a:pt x="7" y="6"/>
                  </a:cubicBezTo>
                  <a:cubicBezTo>
                    <a:pt x="7" y="6"/>
                    <a:pt x="7" y="6"/>
                    <a:pt x="7" y="6"/>
                  </a:cubicBezTo>
                  <a:cubicBezTo>
                    <a:pt x="6" y="5"/>
                    <a:pt x="5" y="5"/>
                    <a:pt x="4" y="5"/>
                  </a:cubicBezTo>
                  <a:cubicBezTo>
                    <a:pt x="4" y="5"/>
                    <a:pt x="3" y="5"/>
                    <a:pt x="3" y="5"/>
                  </a:cubicBezTo>
                  <a:cubicBezTo>
                    <a:pt x="1" y="6"/>
                    <a:pt x="0" y="8"/>
                    <a:pt x="1" y="10"/>
                  </a:cubicBezTo>
                  <a:cubicBezTo>
                    <a:pt x="1" y="12"/>
                    <a:pt x="3" y="12"/>
                    <a:pt x="4" y="12"/>
                  </a:cubicBezTo>
                  <a:cubicBezTo>
                    <a:pt x="5" y="12"/>
                    <a:pt x="6" y="12"/>
                    <a:pt x="6" y="12"/>
                  </a:cubicBezTo>
                  <a:cubicBezTo>
                    <a:pt x="7" y="12"/>
                    <a:pt x="7" y="12"/>
                    <a:pt x="7" y="11"/>
                  </a:cubicBezTo>
                  <a:cubicBezTo>
                    <a:pt x="7" y="11"/>
                    <a:pt x="7" y="11"/>
                    <a:pt x="7" y="11"/>
                  </a:cubicBezTo>
                  <a:cubicBezTo>
                    <a:pt x="7" y="11"/>
                    <a:pt x="7" y="11"/>
                    <a:pt x="7" y="11"/>
                  </a:cubicBezTo>
                  <a:cubicBezTo>
                    <a:pt x="9" y="11"/>
                    <a:pt x="52" y="42"/>
                    <a:pt x="52" y="43"/>
                  </a:cubicBezTo>
                  <a:cubicBezTo>
                    <a:pt x="52" y="43"/>
                    <a:pt x="52" y="43"/>
                    <a:pt x="52" y="43"/>
                  </a:cubicBezTo>
                  <a:cubicBezTo>
                    <a:pt x="51" y="44"/>
                    <a:pt x="51" y="47"/>
                    <a:pt x="52" y="49"/>
                  </a:cubicBezTo>
                  <a:cubicBezTo>
                    <a:pt x="53" y="51"/>
                    <a:pt x="55" y="52"/>
                    <a:pt x="58" y="52"/>
                  </a:cubicBezTo>
                  <a:cubicBezTo>
                    <a:pt x="59" y="52"/>
                    <a:pt x="60" y="52"/>
                    <a:pt x="61" y="52"/>
                  </a:cubicBezTo>
                  <a:cubicBezTo>
                    <a:pt x="63" y="51"/>
                    <a:pt x="65" y="49"/>
                    <a:pt x="65" y="46"/>
                  </a:cubicBezTo>
                  <a:cubicBezTo>
                    <a:pt x="65" y="47"/>
                    <a:pt x="65" y="47"/>
                    <a:pt x="65" y="47"/>
                  </a:cubicBezTo>
                  <a:cubicBezTo>
                    <a:pt x="65" y="45"/>
                    <a:pt x="117" y="43"/>
                    <a:pt x="129" y="43"/>
                  </a:cubicBezTo>
                  <a:cubicBezTo>
                    <a:pt x="131" y="43"/>
                    <a:pt x="132" y="43"/>
                    <a:pt x="132" y="43"/>
                  </a:cubicBezTo>
                  <a:cubicBezTo>
                    <a:pt x="132" y="43"/>
                    <a:pt x="132" y="43"/>
                    <a:pt x="132" y="43"/>
                  </a:cubicBezTo>
                  <a:cubicBezTo>
                    <a:pt x="133" y="44"/>
                    <a:pt x="133" y="44"/>
                    <a:pt x="133" y="44"/>
                  </a:cubicBezTo>
                  <a:cubicBezTo>
                    <a:pt x="133" y="46"/>
                    <a:pt x="135" y="46"/>
                    <a:pt x="136" y="46"/>
                  </a:cubicBezTo>
                  <a:cubicBezTo>
                    <a:pt x="136" y="46"/>
                    <a:pt x="137" y="46"/>
                    <a:pt x="137" y="46"/>
                  </a:cubicBezTo>
                  <a:cubicBezTo>
                    <a:pt x="137" y="46"/>
                    <a:pt x="137" y="46"/>
                    <a:pt x="137" y="46"/>
                  </a:cubicBezTo>
                  <a:cubicBezTo>
                    <a:pt x="137" y="46"/>
                    <a:pt x="137" y="46"/>
                    <a:pt x="137" y="46"/>
                  </a:cubicBezTo>
                  <a:cubicBezTo>
                    <a:pt x="137" y="46"/>
                    <a:pt x="138" y="49"/>
                    <a:pt x="139" y="52"/>
                  </a:cubicBezTo>
                  <a:cubicBezTo>
                    <a:pt x="138" y="48"/>
                    <a:pt x="138" y="46"/>
                    <a:pt x="138" y="46"/>
                  </a:cubicBezTo>
                  <a:cubicBezTo>
                    <a:pt x="138" y="46"/>
                    <a:pt x="138" y="46"/>
                    <a:pt x="138" y="46"/>
                  </a:cubicBezTo>
                  <a:cubicBezTo>
                    <a:pt x="140" y="45"/>
                    <a:pt x="141" y="43"/>
                    <a:pt x="140" y="41"/>
                  </a:cubicBezTo>
                  <a:cubicBezTo>
                    <a:pt x="140" y="40"/>
                    <a:pt x="139" y="39"/>
                    <a:pt x="138" y="39"/>
                  </a:cubicBezTo>
                  <a:cubicBezTo>
                    <a:pt x="138" y="39"/>
                    <a:pt x="138" y="39"/>
                    <a:pt x="138" y="39"/>
                  </a:cubicBezTo>
                  <a:cubicBezTo>
                    <a:pt x="138" y="39"/>
                    <a:pt x="139" y="33"/>
                    <a:pt x="141" y="25"/>
                  </a:cubicBezTo>
                  <a:cubicBezTo>
                    <a:pt x="139" y="33"/>
                    <a:pt x="137" y="39"/>
                    <a:pt x="137" y="39"/>
                  </a:cubicBezTo>
                  <a:cubicBezTo>
                    <a:pt x="137" y="39"/>
                    <a:pt x="137" y="39"/>
                    <a:pt x="137" y="39"/>
                  </a:cubicBezTo>
                  <a:cubicBezTo>
                    <a:pt x="137" y="39"/>
                    <a:pt x="137" y="39"/>
                    <a:pt x="137" y="39"/>
                  </a:cubicBezTo>
                  <a:cubicBezTo>
                    <a:pt x="137" y="39"/>
                    <a:pt x="136" y="39"/>
                    <a:pt x="136" y="39"/>
                  </a:cubicBezTo>
                  <a:cubicBezTo>
                    <a:pt x="136" y="39"/>
                    <a:pt x="135" y="39"/>
                    <a:pt x="135" y="39"/>
                  </a:cubicBezTo>
                  <a:cubicBezTo>
                    <a:pt x="134" y="39"/>
                    <a:pt x="134" y="40"/>
                    <a:pt x="133" y="40"/>
                  </a:cubicBezTo>
                  <a:cubicBezTo>
                    <a:pt x="133" y="40"/>
                    <a:pt x="133" y="40"/>
                    <a:pt x="133" y="40"/>
                  </a:cubicBezTo>
                  <a:cubicBezTo>
                    <a:pt x="133" y="40"/>
                    <a:pt x="133" y="40"/>
                    <a:pt x="133" y="40"/>
                  </a:cubicBezTo>
                  <a:cubicBezTo>
                    <a:pt x="132" y="40"/>
                    <a:pt x="103" y="22"/>
                    <a:pt x="103" y="21"/>
                  </a:cubicBezTo>
                  <a:cubicBezTo>
                    <a:pt x="103" y="21"/>
                    <a:pt x="103" y="21"/>
                    <a:pt x="103" y="21"/>
                  </a:cubicBezTo>
                  <a:cubicBezTo>
                    <a:pt x="104" y="20"/>
                    <a:pt x="104" y="18"/>
                    <a:pt x="103" y="17"/>
                  </a:cubicBezTo>
                  <a:cubicBezTo>
                    <a:pt x="103" y="15"/>
                    <a:pt x="101" y="14"/>
                    <a:pt x="99" y="14"/>
                  </a:cubicBezTo>
                  <a:cubicBezTo>
                    <a:pt x="98" y="14"/>
                    <a:pt x="98" y="15"/>
                    <a:pt x="97" y="15"/>
                  </a:cubicBezTo>
                  <a:cubicBezTo>
                    <a:pt x="95" y="16"/>
                    <a:pt x="94" y="19"/>
                    <a:pt x="95" y="21"/>
                  </a:cubicBezTo>
                  <a:cubicBezTo>
                    <a:pt x="95" y="21"/>
                    <a:pt x="95" y="21"/>
                    <a:pt x="95" y="21"/>
                  </a:cubicBezTo>
                  <a:cubicBezTo>
                    <a:pt x="95" y="22"/>
                    <a:pt x="65" y="41"/>
                    <a:pt x="63" y="41"/>
                  </a:cubicBezTo>
                  <a:cubicBezTo>
                    <a:pt x="63" y="41"/>
                    <a:pt x="63" y="41"/>
                    <a:pt x="63" y="41"/>
                  </a:cubicBezTo>
                  <a:cubicBezTo>
                    <a:pt x="63" y="41"/>
                    <a:pt x="63" y="41"/>
                    <a:pt x="63" y="41"/>
                  </a:cubicBezTo>
                  <a:cubicBezTo>
                    <a:pt x="62" y="40"/>
                    <a:pt x="60" y="39"/>
                    <a:pt x="58" y="39"/>
                  </a:cubicBezTo>
                  <a:cubicBezTo>
                    <a:pt x="57" y="39"/>
                    <a:pt x="56" y="39"/>
                    <a:pt x="55" y="40"/>
                  </a:cubicBezTo>
                  <a:cubicBezTo>
                    <a:pt x="54" y="40"/>
                    <a:pt x="54" y="41"/>
                    <a:pt x="53" y="41"/>
                  </a:cubicBezTo>
                  <a:cubicBezTo>
                    <a:pt x="53" y="41"/>
                    <a:pt x="53" y="41"/>
                    <a:pt x="53" y="41"/>
                  </a:cubicBezTo>
                  <a:cubicBezTo>
                    <a:pt x="53" y="41"/>
                    <a:pt x="53" y="41"/>
                    <a:pt x="53" y="41"/>
                  </a:cubicBezTo>
                  <a:cubicBezTo>
                    <a:pt x="51" y="41"/>
                    <a:pt x="8" y="11"/>
                    <a:pt x="8" y="10"/>
                  </a:cubicBezTo>
                  <a:cubicBezTo>
                    <a:pt x="8" y="10"/>
                    <a:pt x="8" y="10"/>
                    <a:pt x="8" y="10"/>
                  </a:cubicBezTo>
                  <a:cubicBezTo>
                    <a:pt x="9" y="9"/>
                    <a:pt x="9" y="8"/>
                    <a:pt x="8" y="7"/>
                  </a:cubicBezTo>
                  <a:cubicBezTo>
                    <a:pt x="8" y="7"/>
                    <a:pt x="8" y="7"/>
                    <a:pt x="8" y="7"/>
                  </a:cubicBezTo>
                  <a:cubicBezTo>
                    <a:pt x="8" y="7"/>
                    <a:pt x="8" y="7"/>
                    <a:pt x="8" y="7"/>
                  </a:cubicBezTo>
                  <a:cubicBezTo>
                    <a:pt x="8" y="6"/>
                    <a:pt x="11" y="4"/>
                    <a:pt x="15"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5" name="Freeform 27"/>
            <p:cNvSpPr>
              <a:spLocks/>
            </p:cNvSpPr>
            <p:nvPr/>
          </p:nvSpPr>
          <p:spPr bwMode="auto">
            <a:xfrm>
              <a:off x="6508750" y="3016250"/>
              <a:ext cx="7938" cy="19050"/>
            </a:xfrm>
            <a:custGeom>
              <a:avLst/>
              <a:gdLst>
                <a:gd name="T0" fmla="*/ 2 w 2"/>
                <a:gd name="T1" fmla="*/ 0 h 5"/>
                <a:gd name="T2" fmla="*/ 0 w 2"/>
                <a:gd name="T3" fmla="*/ 5 h 5"/>
                <a:gd name="T4" fmla="*/ 2 w 2"/>
                <a:gd name="T5" fmla="*/ 0 h 5"/>
              </a:gdLst>
              <a:ahLst/>
              <a:cxnLst>
                <a:cxn ang="0">
                  <a:pos x="T0" y="T1"/>
                </a:cxn>
                <a:cxn ang="0">
                  <a:pos x="T2" y="T3"/>
                </a:cxn>
                <a:cxn ang="0">
                  <a:pos x="T4" y="T5"/>
                </a:cxn>
              </a:cxnLst>
              <a:rect l="0" t="0" r="r" b="b"/>
              <a:pathLst>
                <a:path w="2" h="5">
                  <a:moveTo>
                    <a:pt x="2" y="0"/>
                  </a:moveTo>
                  <a:cubicBezTo>
                    <a:pt x="1" y="2"/>
                    <a:pt x="1" y="4"/>
                    <a:pt x="0" y="5"/>
                  </a:cubicBezTo>
                  <a:cubicBezTo>
                    <a:pt x="1" y="4"/>
                    <a:pt x="1" y="2"/>
                    <a:pt x="2" y="0"/>
                  </a:cubicBezTo>
                </a:path>
              </a:pathLst>
            </a:custGeom>
            <a:grpFill/>
            <a:ln>
              <a:noFill/>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grpSp>
      <p:sp>
        <p:nvSpPr>
          <p:cNvPr id="30" name="Picture Placeholder 29"/>
          <p:cNvSpPr>
            <a:spLocks noGrp="1"/>
          </p:cNvSpPr>
          <p:nvPr>
            <p:ph type="pic" sz="quarter" idx="10"/>
          </p:nvPr>
        </p:nvSpPr>
        <p:spPr>
          <a:xfrm>
            <a:off x="1328527" y="2091686"/>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a:ln w="76200">
            <a:solidFill>
              <a:schemeClr val="tx2">
                <a:lumMod val="85000"/>
              </a:schemeClr>
            </a:solidFill>
          </a:ln>
        </p:spPr>
        <p:txBody>
          <a:bodyPr wrap="square" anchor="ctr" anchorCtr="0">
            <a:noAutofit/>
          </a:bodyPr>
          <a:lstStyle>
            <a:lvl1pPr algn="ctr">
              <a:defRPr/>
            </a:lvl1pPr>
          </a:lstStyle>
          <a:p>
            <a:endParaRPr lang="en-US" dirty="0"/>
          </a:p>
        </p:txBody>
      </p:sp>
      <p:sp>
        <p:nvSpPr>
          <p:cNvPr id="31" name="Picture Placeholder 30"/>
          <p:cNvSpPr>
            <a:spLocks noGrp="1"/>
          </p:cNvSpPr>
          <p:nvPr>
            <p:ph type="pic" sz="quarter" idx="11"/>
          </p:nvPr>
        </p:nvSpPr>
        <p:spPr>
          <a:xfrm>
            <a:off x="6286481" y="2091686"/>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a:ln w="76200">
            <a:solidFill>
              <a:schemeClr val="tx2">
                <a:lumMod val="85000"/>
              </a:schemeClr>
            </a:solidFill>
          </a:ln>
        </p:spPr>
        <p:txBody>
          <a:bodyPr wrap="square" anchor="ctr" anchorCtr="0">
            <a:noAutofit/>
          </a:bodyPr>
          <a:lstStyle>
            <a:lvl1pPr algn="ctr">
              <a:defRPr/>
            </a:lvl1pPr>
          </a:lstStyle>
          <a:p>
            <a:endParaRPr lang="en-US" dirty="0"/>
          </a:p>
        </p:txBody>
      </p:sp>
      <p:sp>
        <p:nvSpPr>
          <p:cNvPr id="32" name="Picture Placeholder 31"/>
          <p:cNvSpPr>
            <a:spLocks noGrp="1"/>
          </p:cNvSpPr>
          <p:nvPr>
            <p:ph type="pic" sz="quarter" idx="12"/>
          </p:nvPr>
        </p:nvSpPr>
        <p:spPr>
          <a:xfrm>
            <a:off x="3807504" y="2091686"/>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a:ln w="76200">
            <a:solidFill>
              <a:schemeClr val="tx2">
                <a:lumMod val="85000"/>
              </a:schemeClr>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275042850"/>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op Active Social Flatform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11" name="Rectangle 10"/>
          <p:cNvSpPr/>
          <p:nvPr userDrawn="1"/>
        </p:nvSpPr>
        <p:spPr>
          <a:xfrm>
            <a:off x="0" y="3257542"/>
            <a:ext cx="9144000" cy="1885958"/>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Tree>
    <p:extLst>
      <p:ext uri="{BB962C8B-B14F-4D97-AF65-F5344CB8AC3E}">
        <p14:creationId xmlns:p14="http://schemas.microsoft.com/office/powerpoint/2010/main" val="981163341"/>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ocial Media Us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grpSp>
        <p:nvGrpSpPr>
          <p:cNvPr id="11" name="Group 274"/>
          <p:cNvGrpSpPr>
            <a:grpSpLocks noChangeAspect="1"/>
          </p:cNvGrpSpPr>
          <p:nvPr userDrawn="1"/>
        </p:nvGrpSpPr>
        <p:grpSpPr>
          <a:xfrm>
            <a:off x="662940" y="1159323"/>
            <a:ext cx="7818120" cy="3890370"/>
            <a:chOff x="538789" y="1131575"/>
            <a:chExt cx="5819028" cy="2895599"/>
          </a:xfrm>
          <a:pattFill prst="dkUpDiag">
            <a:fgClr>
              <a:schemeClr val="tx2">
                <a:lumMod val="75000"/>
              </a:schemeClr>
            </a:fgClr>
            <a:bgClr>
              <a:schemeClr val="tx2">
                <a:lumMod val="75000"/>
                <a:lumOff val="25000"/>
              </a:schemeClr>
            </a:bgClr>
          </a:pattFill>
        </p:grpSpPr>
        <p:grpSp>
          <p:nvGrpSpPr>
            <p:cNvPr id="12" name="Group 341"/>
            <p:cNvGrpSpPr/>
            <p:nvPr/>
          </p:nvGrpSpPr>
          <p:grpSpPr>
            <a:xfrm>
              <a:off x="2984512" y="2355982"/>
              <a:ext cx="1110006" cy="1241414"/>
              <a:chOff x="4097338" y="2217738"/>
              <a:chExt cx="1139825" cy="1274763"/>
            </a:xfrm>
            <a:grpFill/>
          </p:grpSpPr>
          <p:sp>
            <p:nvSpPr>
              <p:cNvPr id="183" name="Freeform 5"/>
              <p:cNvSpPr>
                <a:spLocks/>
              </p:cNvSpPr>
              <p:nvPr/>
            </p:nvSpPr>
            <p:spPr bwMode="auto">
              <a:xfrm>
                <a:off x="5102225" y="3086100"/>
                <a:ext cx="120650" cy="233363"/>
              </a:xfrm>
              <a:custGeom>
                <a:avLst/>
                <a:gdLst/>
                <a:ahLst/>
                <a:cxnLst>
                  <a:cxn ang="0">
                    <a:pos x="9" y="114"/>
                  </a:cxn>
                  <a:cxn ang="0">
                    <a:pos x="18" y="94"/>
                  </a:cxn>
                  <a:cxn ang="0">
                    <a:pos x="11" y="71"/>
                  </a:cxn>
                  <a:cxn ang="0">
                    <a:pos x="40" y="43"/>
                  </a:cxn>
                  <a:cxn ang="0">
                    <a:pos x="71" y="13"/>
                  </a:cxn>
                  <a:cxn ang="0">
                    <a:pos x="73" y="0"/>
                  </a:cxn>
                  <a:cxn ang="0">
                    <a:pos x="91" y="42"/>
                  </a:cxn>
                  <a:cxn ang="0">
                    <a:pos x="91" y="49"/>
                  </a:cxn>
                  <a:cxn ang="0">
                    <a:pos x="84" y="47"/>
                  </a:cxn>
                  <a:cxn ang="0">
                    <a:pos x="64" y="126"/>
                  </a:cxn>
                  <a:cxn ang="0">
                    <a:pos x="25" y="175"/>
                  </a:cxn>
                  <a:cxn ang="0">
                    <a:pos x="5" y="151"/>
                  </a:cxn>
                  <a:cxn ang="0">
                    <a:pos x="5" y="140"/>
                  </a:cxn>
                  <a:cxn ang="0">
                    <a:pos x="0" y="122"/>
                  </a:cxn>
                  <a:cxn ang="0">
                    <a:pos x="9" y="114"/>
                  </a:cxn>
                </a:cxnLst>
                <a:rect l="0" t="0" r="r" b="b"/>
                <a:pathLst>
                  <a:path w="91" h="175">
                    <a:moveTo>
                      <a:pt x="9" y="114"/>
                    </a:moveTo>
                    <a:cubicBezTo>
                      <a:pt x="9" y="114"/>
                      <a:pt x="18" y="95"/>
                      <a:pt x="18" y="94"/>
                    </a:cubicBezTo>
                    <a:cubicBezTo>
                      <a:pt x="18" y="89"/>
                      <a:pt x="11" y="78"/>
                      <a:pt x="11" y="71"/>
                    </a:cubicBezTo>
                    <a:cubicBezTo>
                      <a:pt x="11" y="49"/>
                      <a:pt x="27" y="50"/>
                      <a:pt x="40" y="43"/>
                    </a:cubicBezTo>
                    <a:cubicBezTo>
                      <a:pt x="50" y="37"/>
                      <a:pt x="64" y="20"/>
                      <a:pt x="71" y="13"/>
                    </a:cubicBezTo>
                    <a:cubicBezTo>
                      <a:pt x="73" y="11"/>
                      <a:pt x="72" y="4"/>
                      <a:pt x="73" y="0"/>
                    </a:cubicBezTo>
                    <a:cubicBezTo>
                      <a:pt x="88" y="2"/>
                      <a:pt x="87" y="31"/>
                      <a:pt x="91" y="42"/>
                    </a:cubicBezTo>
                    <a:cubicBezTo>
                      <a:pt x="91" y="49"/>
                      <a:pt x="91" y="49"/>
                      <a:pt x="91" y="49"/>
                    </a:cubicBezTo>
                    <a:cubicBezTo>
                      <a:pt x="89" y="48"/>
                      <a:pt x="85" y="47"/>
                      <a:pt x="84" y="47"/>
                    </a:cubicBezTo>
                    <a:cubicBezTo>
                      <a:pt x="84" y="79"/>
                      <a:pt x="74" y="101"/>
                      <a:pt x="64" y="126"/>
                    </a:cubicBezTo>
                    <a:cubicBezTo>
                      <a:pt x="56" y="146"/>
                      <a:pt x="52" y="175"/>
                      <a:pt x="25" y="175"/>
                    </a:cubicBezTo>
                    <a:cubicBezTo>
                      <a:pt x="14" y="175"/>
                      <a:pt x="5" y="163"/>
                      <a:pt x="5" y="151"/>
                    </a:cubicBezTo>
                    <a:cubicBezTo>
                      <a:pt x="5" y="145"/>
                      <a:pt x="6" y="143"/>
                      <a:pt x="5" y="140"/>
                    </a:cubicBezTo>
                    <a:cubicBezTo>
                      <a:pt x="0" y="136"/>
                      <a:pt x="0" y="129"/>
                      <a:pt x="0" y="122"/>
                    </a:cubicBezTo>
                    <a:cubicBezTo>
                      <a:pt x="0" y="121"/>
                      <a:pt x="8" y="114"/>
                      <a:pt x="9"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84" name="Freeform 6"/>
              <p:cNvSpPr>
                <a:spLocks/>
              </p:cNvSpPr>
              <p:nvPr/>
            </p:nvSpPr>
            <p:spPr bwMode="auto">
              <a:xfrm>
                <a:off x="4097338" y="2217738"/>
                <a:ext cx="1139825" cy="1274763"/>
              </a:xfrm>
              <a:custGeom>
                <a:avLst/>
                <a:gdLst/>
                <a:ahLst/>
                <a:cxnLst>
                  <a:cxn ang="0">
                    <a:pos x="499" y="66"/>
                  </a:cxn>
                  <a:cxn ang="0">
                    <a:pos x="527" y="81"/>
                  </a:cxn>
                  <a:cxn ang="0">
                    <a:pos x="609" y="86"/>
                  </a:cxn>
                  <a:cxn ang="0">
                    <a:pos x="644" y="89"/>
                  </a:cxn>
                  <a:cxn ang="0">
                    <a:pos x="644" y="136"/>
                  </a:cxn>
                  <a:cxn ang="0">
                    <a:pos x="620" y="115"/>
                  </a:cxn>
                  <a:cxn ang="0">
                    <a:pos x="679" y="223"/>
                  </a:cxn>
                  <a:cxn ang="0">
                    <a:pos x="699" y="267"/>
                  </a:cxn>
                  <a:cxn ang="0">
                    <a:pos x="730" y="310"/>
                  </a:cxn>
                  <a:cxn ang="0">
                    <a:pos x="755" y="348"/>
                  </a:cxn>
                  <a:cxn ang="0">
                    <a:pos x="787" y="359"/>
                  </a:cxn>
                  <a:cxn ang="0">
                    <a:pos x="853" y="346"/>
                  </a:cxn>
                  <a:cxn ang="0">
                    <a:pos x="826" y="425"/>
                  </a:cxn>
                  <a:cxn ang="0">
                    <a:pos x="719" y="541"/>
                  </a:cxn>
                  <a:cxn ang="0">
                    <a:pos x="708" y="600"/>
                  </a:cxn>
                  <a:cxn ang="0">
                    <a:pos x="721" y="638"/>
                  </a:cxn>
                  <a:cxn ang="0">
                    <a:pos x="720" y="676"/>
                  </a:cxn>
                  <a:cxn ang="0">
                    <a:pos x="660" y="745"/>
                  </a:cxn>
                  <a:cxn ang="0">
                    <a:pos x="659" y="788"/>
                  </a:cxn>
                  <a:cxn ang="0">
                    <a:pos x="643" y="816"/>
                  </a:cxn>
                  <a:cxn ang="0">
                    <a:pos x="627" y="846"/>
                  </a:cxn>
                  <a:cxn ang="0">
                    <a:pos x="592" y="902"/>
                  </a:cxn>
                  <a:cxn ang="0">
                    <a:pos x="538" y="946"/>
                  </a:cxn>
                  <a:cxn ang="0">
                    <a:pos x="512" y="944"/>
                  </a:cxn>
                  <a:cxn ang="0">
                    <a:pos x="452" y="949"/>
                  </a:cxn>
                  <a:cxn ang="0">
                    <a:pos x="440" y="929"/>
                  </a:cxn>
                  <a:cxn ang="0">
                    <a:pos x="431" y="893"/>
                  </a:cxn>
                  <a:cxn ang="0">
                    <a:pos x="395" y="789"/>
                  </a:cxn>
                  <a:cxn ang="0">
                    <a:pos x="360" y="708"/>
                  </a:cxn>
                  <a:cxn ang="0">
                    <a:pos x="382" y="621"/>
                  </a:cxn>
                  <a:cxn ang="0">
                    <a:pos x="364" y="558"/>
                  </a:cxn>
                  <a:cxn ang="0">
                    <a:pos x="337" y="490"/>
                  </a:cxn>
                  <a:cxn ang="0">
                    <a:pos x="342" y="461"/>
                  </a:cxn>
                  <a:cxn ang="0">
                    <a:pos x="295" y="443"/>
                  </a:cxn>
                  <a:cxn ang="0">
                    <a:pos x="206" y="433"/>
                  </a:cxn>
                  <a:cxn ang="0">
                    <a:pos x="164" y="434"/>
                  </a:cxn>
                  <a:cxn ang="0">
                    <a:pos x="109" y="439"/>
                  </a:cxn>
                  <a:cxn ang="0">
                    <a:pos x="40" y="369"/>
                  </a:cxn>
                  <a:cxn ang="0">
                    <a:pos x="7" y="338"/>
                  </a:cxn>
                  <a:cxn ang="0">
                    <a:pos x="7" y="324"/>
                  </a:cxn>
                  <a:cxn ang="0">
                    <a:pos x="18" y="269"/>
                  </a:cxn>
                  <a:cxn ang="0">
                    <a:pos x="22" y="199"/>
                  </a:cxn>
                  <a:cxn ang="0">
                    <a:pos x="77" y="132"/>
                  </a:cxn>
                  <a:cxn ang="0">
                    <a:pos x="104" y="77"/>
                  </a:cxn>
                  <a:cxn ang="0">
                    <a:pos x="141" y="36"/>
                  </a:cxn>
                  <a:cxn ang="0">
                    <a:pos x="187" y="35"/>
                  </a:cxn>
                  <a:cxn ang="0">
                    <a:pos x="273" y="6"/>
                  </a:cxn>
                  <a:cxn ang="0">
                    <a:pos x="307" y="4"/>
                  </a:cxn>
                  <a:cxn ang="0">
                    <a:pos x="338" y="0"/>
                  </a:cxn>
                  <a:cxn ang="0">
                    <a:pos x="358" y="6"/>
                  </a:cxn>
                  <a:cxn ang="0">
                    <a:pos x="357" y="27"/>
                  </a:cxn>
                  <a:cxn ang="0">
                    <a:pos x="371" y="64"/>
                  </a:cxn>
                  <a:cxn ang="0">
                    <a:pos x="455" y="100"/>
                  </a:cxn>
                  <a:cxn ang="0">
                    <a:pos x="464" y="84"/>
                  </a:cxn>
                  <a:cxn ang="0">
                    <a:pos x="490" y="66"/>
                  </a:cxn>
                </a:cxnLst>
                <a:rect l="0" t="0" r="r" b="b"/>
                <a:pathLst>
                  <a:path w="856" h="957">
                    <a:moveTo>
                      <a:pt x="490" y="66"/>
                    </a:moveTo>
                    <a:cubicBezTo>
                      <a:pt x="499" y="66"/>
                      <a:pt x="499" y="66"/>
                      <a:pt x="499" y="66"/>
                    </a:cubicBezTo>
                    <a:cubicBezTo>
                      <a:pt x="499" y="73"/>
                      <a:pt x="504" y="74"/>
                      <a:pt x="506" y="77"/>
                    </a:cubicBezTo>
                    <a:cubicBezTo>
                      <a:pt x="510" y="82"/>
                      <a:pt x="520" y="78"/>
                      <a:pt x="527" y="81"/>
                    </a:cubicBezTo>
                    <a:cubicBezTo>
                      <a:pt x="541" y="86"/>
                      <a:pt x="561" y="93"/>
                      <a:pt x="576" y="93"/>
                    </a:cubicBezTo>
                    <a:cubicBezTo>
                      <a:pt x="591" y="93"/>
                      <a:pt x="595" y="86"/>
                      <a:pt x="609" y="86"/>
                    </a:cubicBezTo>
                    <a:cubicBezTo>
                      <a:pt x="617" y="86"/>
                      <a:pt x="622" y="92"/>
                      <a:pt x="632" y="92"/>
                    </a:cubicBezTo>
                    <a:cubicBezTo>
                      <a:pt x="638" y="92"/>
                      <a:pt x="638" y="90"/>
                      <a:pt x="644" y="89"/>
                    </a:cubicBezTo>
                    <a:cubicBezTo>
                      <a:pt x="647" y="96"/>
                      <a:pt x="653" y="102"/>
                      <a:pt x="653" y="111"/>
                    </a:cubicBezTo>
                    <a:cubicBezTo>
                      <a:pt x="653" y="115"/>
                      <a:pt x="646" y="131"/>
                      <a:pt x="644" y="136"/>
                    </a:cubicBezTo>
                    <a:cubicBezTo>
                      <a:pt x="635" y="135"/>
                      <a:pt x="627" y="115"/>
                      <a:pt x="620" y="107"/>
                    </a:cubicBezTo>
                    <a:cubicBezTo>
                      <a:pt x="620" y="115"/>
                      <a:pt x="620" y="115"/>
                      <a:pt x="620" y="115"/>
                    </a:cubicBezTo>
                    <a:cubicBezTo>
                      <a:pt x="662" y="189"/>
                      <a:pt x="662" y="189"/>
                      <a:pt x="662" y="189"/>
                    </a:cubicBezTo>
                    <a:cubicBezTo>
                      <a:pt x="659" y="198"/>
                      <a:pt x="673" y="218"/>
                      <a:pt x="679" y="223"/>
                    </a:cubicBezTo>
                    <a:cubicBezTo>
                      <a:pt x="679" y="246"/>
                      <a:pt x="679" y="246"/>
                      <a:pt x="679" y="246"/>
                    </a:cubicBezTo>
                    <a:cubicBezTo>
                      <a:pt x="684" y="258"/>
                      <a:pt x="692" y="258"/>
                      <a:pt x="699" y="267"/>
                    </a:cubicBezTo>
                    <a:cubicBezTo>
                      <a:pt x="707" y="278"/>
                      <a:pt x="702" y="289"/>
                      <a:pt x="710" y="297"/>
                    </a:cubicBezTo>
                    <a:cubicBezTo>
                      <a:pt x="717" y="304"/>
                      <a:pt x="722" y="305"/>
                      <a:pt x="730" y="310"/>
                    </a:cubicBezTo>
                    <a:cubicBezTo>
                      <a:pt x="737" y="316"/>
                      <a:pt x="741" y="334"/>
                      <a:pt x="755" y="334"/>
                    </a:cubicBezTo>
                    <a:cubicBezTo>
                      <a:pt x="755" y="341"/>
                      <a:pt x="759" y="343"/>
                      <a:pt x="755" y="348"/>
                    </a:cubicBezTo>
                    <a:cubicBezTo>
                      <a:pt x="761" y="352"/>
                      <a:pt x="767" y="366"/>
                      <a:pt x="774" y="366"/>
                    </a:cubicBezTo>
                    <a:cubicBezTo>
                      <a:pt x="781" y="366"/>
                      <a:pt x="782" y="361"/>
                      <a:pt x="787" y="359"/>
                    </a:cubicBezTo>
                    <a:cubicBezTo>
                      <a:pt x="794" y="357"/>
                      <a:pt x="798" y="360"/>
                      <a:pt x="805" y="359"/>
                    </a:cubicBezTo>
                    <a:cubicBezTo>
                      <a:pt x="822" y="356"/>
                      <a:pt x="838" y="350"/>
                      <a:pt x="853" y="346"/>
                    </a:cubicBezTo>
                    <a:cubicBezTo>
                      <a:pt x="855" y="348"/>
                      <a:pt x="856" y="350"/>
                      <a:pt x="856" y="352"/>
                    </a:cubicBezTo>
                    <a:cubicBezTo>
                      <a:pt x="856" y="377"/>
                      <a:pt x="837" y="410"/>
                      <a:pt x="826" y="425"/>
                    </a:cubicBezTo>
                    <a:cubicBezTo>
                      <a:pt x="812" y="443"/>
                      <a:pt x="807" y="459"/>
                      <a:pt x="790" y="471"/>
                    </a:cubicBezTo>
                    <a:cubicBezTo>
                      <a:pt x="761" y="494"/>
                      <a:pt x="730" y="501"/>
                      <a:pt x="719" y="541"/>
                    </a:cubicBezTo>
                    <a:cubicBezTo>
                      <a:pt x="716" y="552"/>
                      <a:pt x="704" y="555"/>
                      <a:pt x="704" y="567"/>
                    </a:cubicBezTo>
                    <a:cubicBezTo>
                      <a:pt x="704" y="581"/>
                      <a:pt x="708" y="587"/>
                      <a:pt x="708" y="600"/>
                    </a:cubicBezTo>
                    <a:cubicBezTo>
                      <a:pt x="708" y="615"/>
                      <a:pt x="724" y="623"/>
                      <a:pt x="724" y="631"/>
                    </a:cubicBezTo>
                    <a:cubicBezTo>
                      <a:pt x="724" y="634"/>
                      <a:pt x="722" y="637"/>
                      <a:pt x="721" y="638"/>
                    </a:cubicBezTo>
                    <a:cubicBezTo>
                      <a:pt x="721" y="649"/>
                      <a:pt x="721" y="649"/>
                      <a:pt x="721" y="649"/>
                    </a:cubicBezTo>
                    <a:cubicBezTo>
                      <a:pt x="721" y="656"/>
                      <a:pt x="720" y="664"/>
                      <a:pt x="720" y="676"/>
                    </a:cubicBezTo>
                    <a:cubicBezTo>
                      <a:pt x="722" y="679"/>
                      <a:pt x="723" y="682"/>
                      <a:pt x="723" y="685"/>
                    </a:cubicBezTo>
                    <a:cubicBezTo>
                      <a:pt x="723" y="720"/>
                      <a:pt x="665" y="716"/>
                      <a:pt x="660" y="745"/>
                    </a:cubicBezTo>
                    <a:cubicBezTo>
                      <a:pt x="654" y="746"/>
                      <a:pt x="647" y="753"/>
                      <a:pt x="647" y="758"/>
                    </a:cubicBezTo>
                    <a:cubicBezTo>
                      <a:pt x="647" y="768"/>
                      <a:pt x="659" y="774"/>
                      <a:pt x="659" y="788"/>
                    </a:cubicBezTo>
                    <a:cubicBezTo>
                      <a:pt x="659" y="795"/>
                      <a:pt x="658" y="809"/>
                      <a:pt x="656" y="813"/>
                    </a:cubicBezTo>
                    <a:cubicBezTo>
                      <a:pt x="653" y="817"/>
                      <a:pt x="646" y="815"/>
                      <a:pt x="643" y="816"/>
                    </a:cubicBezTo>
                    <a:cubicBezTo>
                      <a:pt x="632" y="822"/>
                      <a:pt x="626" y="826"/>
                      <a:pt x="621" y="837"/>
                    </a:cubicBezTo>
                    <a:cubicBezTo>
                      <a:pt x="624" y="839"/>
                      <a:pt x="627" y="842"/>
                      <a:pt x="627" y="846"/>
                    </a:cubicBezTo>
                    <a:cubicBezTo>
                      <a:pt x="627" y="859"/>
                      <a:pt x="615" y="868"/>
                      <a:pt x="610" y="874"/>
                    </a:cubicBezTo>
                    <a:cubicBezTo>
                      <a:pt x="600" y="883"/>
                      <a:pt x="599" y="893"/>
                      <a:pt x="592" y="902"/>
                    </a:cubicBezTo>
                    <a:cubicBezTo>
                      <a:pt x="581" y="916"/>
                      <a:pt x="576" y="929"/>
                      <a:pt x="558" y="938"/>
                    </a:cubicBezTo>
                    <a:cubicBezTo>
                      <a:pt x="550" y="941"/>
                      <a:pt x="539" y="938"/>
                      <a:pt x="538" y="946"/>
                    </a:cubicBezTo>
                    <a:cubicBezTo>
                      <a:pt x="532" y="946"/>
                      <a:pt x="529" y="949"/>
                      <a:pt x="525" y="949"/>
                    </a:cubicBezTo>
                    <a:cubicBezTo>
                      <a:pt x="520" y="949"/>
                      <a:pt x="517" y="944"/>
                      <a:pt x="512" y="944"/>
                    </a:cubicBezTo>
                    <a:cubicBezTo>
                      <a:pt x="494" y="944"/>
                      <a:pt x="483" y="957"/>
                      <a:pt x="466" y="957"/>
                    </a:cubicBezTo>
                    <a:cubicBezTo>
                      <a:pt x="459" y="957"/>
                      <a:pt x="455" y="953"/>
                      <a:pt x="452" y="949"/>
                    </a:cubicBezTo>
                    <a:cubicBezTo>
                      <a:pt x="449" y="949"/>
                      <a:pt x="449" y="950"/>
                      <a:pt x="448" y="951"/>
                    </a:cubicBezTo>
                    <a:cubicBezTo>
                      <a:pt x="448" y="942"/>
                      <a:pt x="443" y="932"/>
                      <a:pt x="440" y="929"/>
                    </a:cubicBezTo>
                    <a:cubicBezTo>
                      <a:pt x="443" y="925"/>
                      <a:pt x="445" y="922"/>
                      <a:pt x="445" y="917"/>
                    </a:cubicBezTo>
                    <a:cubicBezTo>
                      <a:pt x="445" y="910"/>
                      <a:pt x="433" y="897"/>
                      <a:pt x="431" y="893"/>
                    </a:cubicBezTo>
                    <a:cubicBezTo>
                      <a:pt x="415" y="866"/>
                      <a:pt x="395" y="840"/>
                      <a:pt x="395" y="801"/>
                    </a:cubicBezTo>
                    <a:cubicBezTo>
                      <a:pt x="395" y="794"/>
                      <a:pt x="395" y="792"/>
                      <a:pt x="395" y="789"/>
                    </a:cubicBezTo>
                    <a:cubicBezTo>
                      <a:pt x="395" y="783"/>
                      <a:pt x="389" y="781"/>
                      <a:pt x="386" y="774"/>
                    </a:cubicBezTo>
                    <a:cubicBezTo>
                      <a:pt x="374" y="754"/>
                      <a:pt x="360" y="737"/>
                      <a:pt x="360" y="708"/>
                    </a:cubicBezTo>
                    <a:cubicBezTo>
                      <a:pt x="360" y="677"/>
                      <a:pt x="388" y="670"/>
                      <a:pt x="388" y="646"/>
                    </a:cubicBezTo>
                    <a:cubicBezTo>
                      <a:pt x="388" y="635"/>
                      <a:pt x="384" y="631"/>
                      <a:pt x="382" y="621"/>
                    </a:cubicBezTo>
                    <a:cubicBezTo>
                      <a:pt x="379" y="602"/>
                      <a:pt x="376" y="596"/>
                      <a:pt x="371" y="585"/>
                    </a:cubicBezTo>
                    <a:cubicBezTo>
                      <a:pt x="368" y="576"/>
                      <a:pt x="370" y="566"/>
                      <a:pt x="364" y="558"/>
                    </a:cubicBezTo>
                    <a:cubicBezTo>
                      <a:pt x="352" y="544"/>
                      <a:pt x="327" y="528"/>
                      <a:pt x="327" y="508"/>
                    </a:cubicBezTo>
                    <a:cubicBezTo>
                      <a:pt x="327" y="503"/>
                      <a:pt x="334" y="492"/>
                      <a:pt x="337" y="490"/>
                    </a:cubicBezTo>
                    <a:cubicBezTo>
                      <a:pt x="336" y="486"/>
                      <a:pt x="337" y="485"/>
                      <a:pt x="337" y="483"/>
                    </a:cubicBezTo>
                    <a:cubicBezTo>
                      <a:pt x="337" y="478"/>
                      <a:pt x="337" y="465"/>
                      <a:pt x="342" y="461"/>
                    </a:cubicBezTo>
                    <a:cubicBezTo>
                      <a:pt x="337" y="451"/>
                      <a:pt x="329" y="443"/>
                      <a:pt x="314" y="443"/>
                    </a:cubicBezTo>
                    <a:cubicBezTo>
                      <a:pt x="306" y="443"/>
                      <a:pt x="299" y="443"/>
                      <a:pt x="295" y="443"/>
                    </a:cubicBezTo>
                    <a:cubicBezTo>
                      <a:pt x="282" y="443"/>
                      <a:pt x="279" y="417"/>
                      <a:pt x="261" y="417"/>
                    </a:cubicBezTo>
                    <a:cubicBezTo>
                      <a:pt x="239" y="417"/>
                      <a:pt x="223" y="427"/>
                      <a:pt x="206" y="433"/>
                    </a:cubicBezTo>
                    <a:cubicBezTo>
                      <a:pt x="199" y="435"/>
                      <a:pt x="197" y="440"/>
                      <a:pt x="191" y="440"/>
                    </a:cubicBezTo>
                    <a:cubicBezTo>
                      <a:pt x="184" y="440"/>
                      <a:pt x="173" y="434"/>
                      <a:pt x="164" y="434"/>
                    </a:cubicBezTo>
                    <a:cubicBezTo>
                      <a:pt x="147" y="434"/>
                      <a:pt x="139" y="443"/>
                      <a:pt x="122" y="443"/>
                    </a:cubicBezTo>
                    <a:cubicBezTo>
                      <a:pt x="117" y="443"/>
                      <a:pt x="111" y="440"/>
                      <a:pt x="109" y="439"/>
                    </a:cubicBezTo>
                    <a:cubicBezTo>
                      <a:pt x="97" y="430"/>
                      <a:pt x="71" y="415"/>
                      <a:pt x="62" y="401"/>
                    </a:cubicBezTo>
                    <a:cubicBezTo>
                      <a:pt x="53" y="388"/>
                      <a:pt x="51" y="377"/>
                      <a:pt x="40" y="369"/>
                    </a:cubicBezTo>
                    <a:cubicBezTo>
                      <a:pt x="37" y="366"/>
                      <a:pt x="13" y="346"/>
                      <a:pt x="13" y="344"/>
                    </a:cubicBezTo>
                    <a:cubicBezTo>
                      <a:pt x="11" y="341"/>
                      <a:pt x="10" y="340"/>
                      <a:pt x="7" y="338"/>
                    </a:cubicBezTo>
                    <a:cubicBezTo>
                      <a:pt x="9" y="338"/>
                      <a:pt x="9" y="338"/>
                      <a:pt x="9" y="338"/>
                    </a:cubicBezTo>
                    <a:cubicBezTo>
                      <a:pt x="9" y="331"/>
                      <a:pt x="7" y="328"/>
                      <a:pt x="7" y="324"/>
                    </a:cubicBezTo>
                    <a:cubicBezTo>
                      <a:pt x="7" y="317"/>
                      <a:pt x="3" y="315"/>
                      <a:pt x="0" y="309"/>
                    </a:cubicBezTo>
                    <a:cubicBezTo>
                      <a:pt x="10" y="304"/>
                      <a:pt x="18" y="280"/>
                      <a:pt x="18" y="269"/>
                    </a:cubicBezTo>
                    <a:cubicBezTo>
                      <a:pt x="18" y="250"/>
                      <a:pt x="10" y="238"/>
                      <a:pt x="10" y="220"/>
                    </a:cubicBezTo>
                    <a:cubicBezTo>
                      <a:pt x="10" y="211"/>
                      <a:pt x="20" y="206"/>
                      <a:pt x="22" y="199"/>
                    </a:cubicBezTo>
                    <a:cubicBezTo>
                      <a:pt x="28" y="182"/>
                      <a:pt x="41" y="158"/>
                      <a:pt x="52" y="144"/>
                    </a:cubicBezTo>
                    <a:cubicBezTo>
                      <a:pt x="58" y="135"/>
                      <a:pt x="69" y="136"/>
                      <a:pt x="77" y="132"/>
                    </a:cubicBezTo>
                    <a:cubicBezTo>
                      <a:pt x="84" y="128"/>
                      <a:pt x="95" y="119"/>
                      <a:pt x="97" y="112"/>
                    </a:cubicBezTo>
                    <a:cubicBezTo>
                      <a:pt x="102" y="96"/>
                      <a:pt x="96" y="89"/>
                      <a:pt x="104" y="77"/>
                    </a:cubicBezTo>
                    <a:cubicBezTo>
                      <a:pt x="116" y="63"/>
                      <a:pt x="131" y="49"/>
                      <a:pt x="142" y="36"/>
                    </a:cubicBezTo>
                    <a:cubicBezTo>
                      <a:pt x="141" y="36"/>
                      <a:pt x="141" y="36"/>
                      <a:pt x="141" y="36"/>
                    </a:cubicBezTo>
                    <a:cubicBezTo>
                      <a:pt x="145" y="31"/>
                      <a:pt x="146" y="27"/>
                      <a:pt x="150" y="24"/>
                    </a:cubicBezTo>
                    <a:cubicBezTo>
                      <a:pt x="161" y="32"/>
                      <a:pt x="172" y="35"/>
                      <a:pt x="187" y="35"/>
                    </a:cubicBezTo>
                    <a:cubicBezTo>
                      <a:pt x="197" y="35"/>
                      <a:pt x="198" y="29"/>
                      <a:pt x="204" y="27"/>
                    </a:cubicBezTo>
                    <a:cubicBezTo>
                      <a:pt x="221" y="18"/>
                      <a:pt x="254" y="6"/>
                      <a:pt x="273" y="6"/>
                    </a:cubicBezTo>
                    <a:cubicBezTo>
                      <a:pt x="280" y="6"/>
                      <a:pt x="285" y="10"/>
                      <a:pt x="289" y="10"/>
                    </a:cubicBezTo>
                    <a:cubicBezTo>
                      <a:pt x="294" y="10"/>
                      <a:pt x="301" y="4"/>
                      <a:pt x="307" y="4"/>
                    </a:cubicBezTo>
                    <a:cubicBezTo>
                      <a:pt x="313" y="4"/>
                      <a:pt x="316" y="7"/>
                      <a:pt x="321" y="7"/>
                    </a:cubicBezTo>
                    <a:cubicBezTo>
                      <a:pt x="329" y="7"/>
                      <a:pt x="330" y="0"/>
                      <a:pt x="338" y="0"/>
                    </a:cubicBezTo>
                    <a:cubicBezTo>
                      <a:pt x="347" y="0"/>
                      <a:pt x="344" y="8"/>
                      <a:pt x="351" y="8"/>
                    </a:cubicBezTo>
                    <a:cubicBezTo>
                      <a:pt x="354" y="8"/>
                      <a:pt x="355" y="6"/>
                      <a:pt x="358" y="6"/>
                    </a:cubicBezTo>
                    <a:cubicBezTo>
                      <a:pt x="358" y="12"/>
                      <a:pt x="351" y="11"/>
                      <a:pt x="351" y="17"/>
                    </a:cubicBezTo>
                    <a:cubicBezTo>
                      <a:pt x="351" y="21"/>
                      <a:pt x="357" y="23"/>
                      <a:pt x="357" y="27"/>
                    </a:cubicBezTo>
                    <a:cubicBezTo>
                      <a:pt x="357" y="33"/>
                      <a:pt x="351" y="37"/>
                      <a:pt x="351" y="44"/>
                    </a:cubicBezTo>
                    <a:cubicBezTo>
                      <a:pt x="351" y="55"/>
                      <a:pt x="363" y="64"/>
                      <a:pt x="371" y="64"/>
                    </a:cubicBezTo>
                    <a:cubicBezTo>
                      <a:pt x="377" y="64"/>
                      <a:pt x="380" y="64"/>
                      <a:pt x="384" y="64"/>
                    </a:cubicBezTo>
                    <a:cubicBezTo>
                      <a:pt x="412" y="64"/>
                      <a:pt x="423" y="100"/>
                      <a:pt x="455" y="100"/>
                    </a:cubicBezTo>
                    <a:cubicBezTo>
                      <a:pt x="459" y="100"/>
                      <a:pt x="464" y="95"/>
                      <a:pt x="464" y="93"/>
                    </a:cubicBezTo>
                    <a:cubicBezTo>
                      <a:pt x="464" y="90"/>
                      <a:pt x="464" y="87"/>
                      <a:pt x="464" y="84"/>
                    </a:cubicBezTo>
                    <a:cubicBezTo>
                      <a:pt x="464" y="70"/>
                      <a:pt x="475" y="70"/>
                      <a:pt x="488" y="66"/>
                    </a:cubicBezTo>
                    <a:lnTo>
                      <a:pt x="490"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grpSp>
        <p:grpSp>
          <p:nvGrpSpPr>
            <p:cNvPr id="13" name="Group 274"/>
            <p:cNvGrpSpPr/>
            <p:nvPr/>
          </p:nvGrpSpPr>
          <p:grpSpPr>
            <a:xfrm>
              <a:off x="1945621" y="2801220"/>
              <a:ext cx="759070" cy="1225954"/>
              <a:chOff x="3030538" y="2674938"/>
              <a:chExt cx="779463" cy="1258888"/>
            </a:xfrm>
            <a:grpFill/>
          </p:grpSpPr>
          <p:sp>
            <p:nvSpPr>
              <p:cNvPr id="181" name="Freeform 22"/>
              <p:cNvSpPr>
                <a:spLocks/>
              </p:cNvSpPr>
              <p:nvPr/>
            </p:nvSpPr>
            <p:spPr bwMode="auto">
              <a:xfrm>
                <a:off x="3541713" y="2881313"/>
                <a:ext cx="39688" cy="31750"/>
              </a:xfrm>
              <a:custGeom>
                <a:avLst/>
                <a:gdLst/>
                <a:ahLst/>
                <a:cxnLst>
                  <a:cxn ang="0">
                    <a:pos x="10" y="0"/>
                  </a:cxn>
                  <a:cxn ang="0">
                    <a:pos x="20" y="4"/>
                  </a:cxn>
                  <a:cxn ang="0">
                    <a:pos x="27" y="5"/>
                  </a:cxn>
                  <a:cxn ang="0">
                    <a:pos x="30" y="9"/>
                  </a:cxn>
                  <a:cxn ang="0">
                    <a:pos x="18" y="23"/>
                  </a:cxn>
                  <a:cxn ang="0">
                    <a:pos x="0" y="11"/>
                  </a:cxn>
                  <a:cxn ang="0">
                    <a:pos x="9" y="0"/>
                  </a:cxn>
                  <a:cxn ang="0">
                    <a:pos x="10" y="0"/>
                  </a:cxn>
                </a:cxnLst>
                <a:rect l="0" t="0" r="r" b="b"/>
                <a:pathLst>
                  <a:path w="30" h="23">
                    <a:moveTo>
                      <a:pt x="10" y="0"/>
                    </a:moveTo>
                    <a:cubicBezTo>
                      <a:pt x="13" y="1"/>
                      <a:pt x="16" y="4"/>
                      <a:pt x="20" y="4"/>
                    </a:cubicBezTo>
                    <a:cubicBezTo>
                      <a:pt x="21" y="9"/>
                      <a:pt x="25" y="5"/>
                      <a:pt x="27" y="5"/>
                    </a:cubicBezTo>
                    <a:cubicBezTo>
                      <a:pt x="29" y="5"/>
                      <a:pt x="30" y="8"/>
                      <a:pt x="30" y="9"/>
                    </a:cubicBezTo>
                    <a:cubicBezTo>
                      <a:pt x="30" y="12"/>
                      <a:pt x="23" y="23"/>
                      <a:pt x="18" y="23"/>
                    </a:cubicBezTo>
                    <a:cubicBezTo>
                      <a:pt x="11" y="23"/>
                      <a:pt x="0" y="15"/>
                      <a:pt x="0" y="11"/>
                    </a:cubicBezTo>
                    <a:cubicBezTo>
                      <a:pt x="0" y="4"/>
                      <a:pt x="3" y="0"/>
                      <a:pt x="9" y="0"/>
                    </a:cubicBezTo>
                    <a:cubicBezTo>
                      <a:pt x="9" y="0"/>
                      <a:pt x="10" y="0"/>
                      <a:pt x="1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82" name="Freeform 23"/>
              <p:cNvSpPr>
                <a:spLocks/>
              </p:cNvSpPr>
              <p:nvPr/>
            </p:nvSpPr>
            <p:spPr bwMode="auto">
              <a:xfrm>
                <a:off x="3030538" y="2674938"/>
                <a:ext cx="779463" cy="1258888"/>
              </a:xfrm>
              <a:custGeom>
                <a:avLst/>
                <a:gdLst/>
                <a:ahLst/>
                <a:cxnLst>
                  <a:cxn ang="0">
                    <a:pos x="46" y="91"/>
                  </a:cxn>
                  <a:cxn ang="0">
                    <a:pos x="51" y="51"/>
                  </a:cxn>
                  <a:cxn ang="0">
                    <a:pos x="59" y="46"/>
                  </a:cxn>
                  <a:cxn ang="0">
                    <a:pos x="82" y="18"/>
                  </a:cxn>
                  <a:cxn ang="0">
                    <a:pos x="128" y="6"/>
                  </a:cxn>
                  <a:cxn ang="0">
                    <a:pos x="126" y="42"/>
                  </a:cxn>
                  <a:cxn ang="0">
                    <a:pos x="136" y="13"/>
                  </a:cxn>
                  <a:cxn ang="0">
                    <a:pos x="146" y="5"/>
                  </a:cxn>
                  <a:cxn ang="0">
                    <a:pos x="194" y="24"/>
                  </a:cxn>
                  <a:cxn ang="0">
                    <a:pos x="227" y="20"/>
                  </a:cxn>
                  <a:cxn ang="0">
                    <a:pos x="233" y="26"/>
                  </a:cxn>
                  <a:cxn ang="0">
                    <a:pos x="270" y="50"/>
                  </a:cxn>
                  <a:cxn ang="0">
                    <a:pos x="328" y="84"/>
                  </a:cxn>
                  <a:cxn ang="0">
                    <a:pos x="354" y="89"/>
                  </a:cxn>
                  <a:cxn ang="0">
                    <a:pos x="389" y="130"/>
                  </a:cxn>
                  <a:cxn ang="0">
                    <a:pos x="383" y="170"/>
                  </a:cxn>
                  <a:cxn ang="0">
                    <a:pos x="403" y="185"/>
                  </a:cxn>
                  <a:cxn ang="0">
                    <a:pos x="454" y="175"/>
                  </a:cxn>
                  <a:cxn ang="0">
                    <a:pos x="467" y="191"/>
                  </a:cxn>
                  <a:cxn ang="0">
                    <a:pos x="513" y="191"/>
                  </a:cxn>
                  <a:cxn ang="0">
                    <a:pos x="575" y="220"/>
                  </a:cxn>
                  <a:cxn ang="0">
                    <a:pos x="549" y="310"/>
                  </a:cxn>
                  <a:cxn ang="0">
                    <a:pos x="532" y="374"/>
                  </a:cxn>
                  <a:cxn ang="0">
                    <a:pos x="522" y="405"/>
                  </a:cxn>
                  <a:cxn ang="0">
                    <a:pos x="485" y="449"/>
                  </a:cxn>
                  <a:cxn ang="0">
                    <a:pos x="429" y="474"/>
                  </a:cxn>
                  <a:cxn ang="0">
                    <a:pos x="412" y="524"/>
                  </a:cxn>
                  <a:cxn ang="0">
                    <a:pos x="388" y="559"/>
                  </a:cxn>
                  <a:cxn ang="0">
                    <a:pos x="311" y="614"/>
                  </a:cxn>
                  <a:cxn ang="0">
                    <a:pos x="297" y="619"/>
                  </a:cxn>
                  <a:cxn ang="0">
                    <a:pos x="308" y="654"/>
                  </a:cxn>
                  <a:cxn ang="0">
                    <a:pos x="244" y="677"/>
                  </a:cxn>
                  <a:cxn ang="0">
                    <a:pos x="240" y="707"/>
                  </a:cxn>
                  <a:cxn ang="0">
                    <a:pos x="205" y="711"/>
                  </a:cxn>
                  <a:cxn ang="0">
                    <a:pos x="225" y="730"/>
                  </a:cxn>
                  <a:cxn ang="0">
                    <a:pos x="214" y="739"/>
                  </a:cxn>
                  <a:cxn ang="0">
                    <a:pos x="178" y="787"/>
                  </a:cxn>
                  <a:cxn ang="0">
                    <a:pos x="176" y="846"/>
                  </a:cxn>
                  <a:cxn ang="0">
                    <a:pos x="161" y="884"/>
                  </a:cxn>
                  <a:cxn ang="0">
                    <a:pos x="200" y="935"/>
                  </a:cxn>
                  <a:cxn ang="0">
                    <a:pos x="169" y="945"/>
                  </a:cxn>
                  <a:cxn ang="0">
                    <a:pos x="127" y="921"/>
                  </a:cxn>
                  <a:cxn ang="0">
                    <a:pos x="92" y="903"/>
                  </a:cxn>
                  <a:cxn ang="0">
                    <a:pos x="93" y="889"/>
                  </a:cxn>
                  <a:cxn ang="0">
                    <a:pos x="84" y="857"/>
                  </a:cxn>
                  <a:cxn ang="0">
                    <a:pos x="82" y="791"/>
                  </a:cxn>
                  <a:cxn ang="0">
                    <a:pos x="86" y="782"/>
                  </a:cxn>
                  <a:cxn ang="0">
                    <a:pos x="112" y="718"/>
                  </a:cxn>
                  <a:cxn ang="0">
                    <a:pos x="95" y="708"/>
                  </a:cxn>
                  <a:cxn ang="0">
                    <a:pos x="102" y="680"/>
                  </a:cxn>
                  <a:cxn ang="0">
                    <a:pos x="114" y="626"/>
                  </a:cxn>
                  <a:cxn ang="0">
                    <a:pos x="124" y="562"/>
                  </a:cxn>
                  <a:cxn ang="0">
                    <a:pos x="136" y="494"/>
                  </a:cxn>
                  <a:cxn ang="0">
                    <a:pos x="143" y="434"/>
                  </a:cxn>
                  <a:cxn ang="0">
                    <a:pos x="104" y="370"/>
                  </a:cxn>
                  <a:cxn ang="0">
                    <a:pos x="62" y="330"/>
                  </a:cxn>
                  <a:cxn ang="0">
                    <a:pos x="28" y="261"/>
                  </a:cxn>
                  <a:cxn ang="0">
                    <a:pos x="11" y="242"/>
                  </a:cxn>
                  <a:cxn ang="0">
                    <a:pos x="18" y="191"/>
                  </a:cxn>
                  <a:cxn ang="0">
                    <a:pos x="14" y="148"/>
                  </a:cxn>
                  <a:cxn ang="0">
                    <a:pos x="47" y="106"/>
                  </a:cxn>
                </a:cxnLst>
                <a:rect l="0" t="0" r="r" b="b"/>
                <a:pathLst>
                  <a:path w="586" h="945">
                    <a:moveTo>
                      <a:pt x="49" y="103"/>
                    </a:moveTo>
                    <a:cubicBezTo>
                      <a:pt x="49" y="102"/>
                      <a:pt x="49" y="101"/>
                      <a:pt x="49" y="100"/>
                    </a:cubicBezTo>
                    <a:cubicBezTo>
                      <a:pt x="49" y="97"/>
                      <a:pt x="46" y="94"/>
                      <a:pt x="46" y="91"/>
                    </a:cubicBezTo>
                    <a:cubicBezTo>
                      <a:pt x="46" y="85"/>
                      <a:pt x="48" y="84"/>
                      <a:pt x="48" y="79"/>
                    </a:cubicBezTo>
                    <a:cubicBezTo>
                      <a:pt x="48" y="70"/>
                      <a:pt x="40" y="71"/>
                      <a:pt x="40" y="63"/>
                    </a:cubicBezTo>
                    <a:cubicBezTo>
                      <a:pt x="40" y="57"/>
                      <a:pt x="49" y="55"/>
                      <a:pt x="51" y="51"/>
                    </a:cubicBezTo>
                    <a:cubicBezTo>
                      <a:pt x="55" y="52"/>
                      <a:pt x="53" y="52"/>
                      <a:pt x="57" y="51"/>
                    </a:cubicBezTo>
                    <a:cubicBezTo>
                      <a:pt x="57" y="50"/>
                      <a:pt x="57" y="49"/>
                      <a:pt x="57" y="48"/>
                    </a:cubicBezTo>
                    <a:cubicBezTo>
                      <a:pt x="57" y="48"/>
                      <a:pt x="58" y="46"/>
                      <a:pt x="59" y="46"/>
                    </a:cubicBezTo>
                    <a:cubicBezTo>
                      <a:pt x="59" y="42"/>
                      <a:pt x="64" y="40"/>
                      <a:pt x="66" y="39"/>
                    </a:cubicBezTo>
                    <a:cubicBezTo>
                      <a:pt x="69" y="37"/>
                      <a:pt x="69" y="31"/>
                      <a:pt x="70" y="28"/>
                    </a:cubicBezTo>
                    <a:cubicBezTo>
                      <a:pt x="72" y="21"/>
                      <a:pt x="76" y="19"/>
                      <a:pt x="82" y="18"/>
                    </a:cubicBezTo>
                    <a:cubicBezTo>
                      <a:pt x="93" y="14"/>
                      <a:pt x="100" y="12"/>
                      <a:pt x="111" y="9"/>
                    </a:cubicBezTo>
                    <a:cubicBezTo>
                      <a:pt x="117" y="7"/>
                      <a:pt x="118" y="0"/>
                      <a:pt x="124" y="0"/>
                    </a:cubicBezTo>
                    <a:cubicBezTo>
                      <a:pt x="126" y="0"/>
                      <a:pt x="128" y="5"/>
                      <a:pt x="128" y="6"/>
                    </a:cubicBezTo>
                    <a:cubicBezTo>
                      <a:pt x="128" y="9"/>
                      <a:pt x="125" y="11"/>
                      <a:pt x="123" y="11"/>
                    </a:cubicBezTo>
                    <a:cubicBezTo>
                      <a:pt x="122" y="18"/>
                      <a:pt x="119" y="25"/>
                      <a:pt x="119" y="29"/>
                    </a:cubicBezTo>
                    <a:cubicBezTo>
                      <a:pt x="119" y="34"/>
                      <a:pt x="122" y="42"/>
                      <a:pt x="126" y="42"/>
                    </a:cubicBezTo>
                    <a:cubicBezTo>
                      <a:pt x="128" y="42"/>
                      <a:pt x="131" y="37"/>
                      <a:pt x="131" y="35"/>
                    </a:cubicBezTo>
                    <a:cubicBezTo>
                      <a:pt x="131" y="30"/>
                      <a:pt x="125" y="27"/>
                      <a:pt x="125" y="21"/>
                    </a:cubicBezTo>
                    <a:cubicBezTo>
                      <a:pt x="125" y="15"/>
                      <a:pt x="132" y="16"/>
                      <a:pt x="136" y="13"/>
                    </a:cubicBezTo>
                    <a:cubicBezTo>
                      <a:pt x="147" y="13"/>
                      <a:pt x="147" y="13"/>
                      <a:pt x="147" y="13"/>
                    </a:cubicBezTo>
                    <a:cubicBezTo>
                      <a:pt x="145" y="8"/>
                      <a:pt x="139" y="10"/>
                      <a:pt x="139" y="5"/>
                    </a:cubicBezTo>
                    <a:cubicBezTo>
                      <a:pt x="146" y="5"/>
                      <a:pt x="146" y="5"/>
                      <a:pt x="146" y="5"/>
                    </a:cubicBezTo>
                    <a:cubicBezTo>
                      <a:pt x="148" y="12"/>
                      <a:pt x="158" y="14"/>
                      <a:pt x="165" y="16"/>
                    </a:cubicBezTo>
                    <a:cubicBezTo>
                      <a:pt x="165" y="20"/>
                      <a:pt x="167" y="23"/>
                      <a:pt x="170" y="24"/>
                    </a:cubicBezTo>
                    <a:cubicBezTo>
                      <a:pt x="177" y="24"/>
                      <a:pt x="190" y="24"/>
                      <a:pt x="194" y="24"/>
                    </a:cubicBezTo>
                    <a:cubicBezTo>
                      <a:pt x="194" y="28"/>
                      <a:pt x="199" y="29"/>
                      <a:pt x="203" y="29"/>
                    </a:cubicBezTo>
                    <a:cubicBezTo>
                      <a:pt x="209" y="28"/>
                      <a:pt x="214" y="28"/>
                      <a:pt x="216" y="22"/>
                    </a:cubicBezTo>
                    <a:cubicBezTo>
                      <a:pt x="217" y="21"/>
                      <a:pt x="226" y="21"/>
                      <a:pt x="227" y="20"/>
                    </a:cubicBezTo>
                    <a:cubicBezTo>
                      <a:pt x="232" y="20"/>
                      <a:pt x="240" y="21"/>
                      <a:pt x="240" y="21"/>
                    </a:cubicBezTo>
                    <a:cubicBezTo>
                      <a:pt x="238" y="23"/>
                      <a:pt x="234" y="23"/>
                      <a:pt x="233" y="22"/>
                    </a:cubicBezTo>
                    <a:cubicBezTo>
                      <a:pt x="233" y="26"/>
                      <a:pt x="233" y="26"/>
                      <a:pt x="233" y="26"/>
                    </a:cubicBezTo>
                    <a:cubicBezTo>
                      <a:pt x="236" y="32"/>
                      <a:pt x="245" y="33"/>
                      <a:pt x="252" y="36"/>
                    </a:cubicBezTo>
                    <a:cubicBezTo>
                      <a:pt x="258" y="37"/>
                      <a:pt x="256" y="44"/>
                      <a:pt x="258" y="50"/>
                    </a:cubicBezTo>
                    <a:cubicBezTo>
                      <a:pt x="270" y="50"/>
                      <a:pt x="270" y="50"/>
                      <a:pt x="270" y="50"/>
                    </a:cubicBezTo>
                    <a:cubicBezTo>
                      <a:pt x="279" y="58"/>
                      <a:pt x="283" y="57"/>
                      <a:pt x="288" y="68"/>
                    </a:cubicBezTo>
                    <a:cubicBezTo>
                      <a:pt x="289" y="70"/>
                      <a:pt x="293" y="70"/>
                      <a:pt x="295" y="70"/>
                    </a:cubicBezTo>
                    <a:cubicBezTo>
                      <a:pt x="298" y="83"/>
                      <a:pt x="316" y="81"/>
                      <a:pt x="328" y="84"/>
                    </a:cubicBezTo>
                    <a:cubicBezTo>
                      <a:pt x="340" y="84"/>
                      <a:pt x="340" y="84"/>
                      <a:pt x="340" y="84"/>
                    </a:cubicBezTo>
                    <a:cubicBezTo>
                      <a:pt x="343" y="85"/>
                      <a:pt x="350" y="89"/>
                      <a:pt x="354" y="89"/>
                    </a:cubicBezTo>
                    <a:cubicBezTo>
                      <a:pt x="354" y="89"/>
                      <a:pt x="354" y="89"/>
                      <a:pt x="354" y="89"/>
                    </a:cubicBezTo>
                    <a:cubicBezTo>
                      <a:pt x="355" y="89"/>
                      <a:pt x="356" y="89"/>
                      <a:pt x="357" y="89"/>
                    </a:cubicBezTo>
                    <a:cubicBezTo>
                      <a:pt x="364" y="89"/>
                      <a:pt x="373" y="104"/>
                      <a:pt x="381" y="106"/>
                    </a:cubicBezTo>
                    <a:cubicBezTo>
                      <a:pt x="381" y="111"/>
                      <a:pt x="386" y="125"/>
                      <a:pt x="389" y="130"/>
                    </a:cubicBezTo>
                    <a:cubicBezTo>
                      <a:pt x="391" y="134"/>
                      <a:pt x="397" y="134"/>
                      <a:pt x="397" y="139"/>
                    </a:cubicBezTo>
                    <a:cubicBezTo>
                      <a:pt x="390" y="148"/>
                      <a:pt x="377" y="152"/>
                      <a:pt x="377" y="165"/>
                    </a:cubicBezTo>
                    <a:cubicBezTo>
                      <a:pt x="377" y="170"/>
                      <a:pt x="381" y="169"/>
                      <a:pt x="383" y="170"/>
                    </a:cubicBezTo>
                    <a:cubicBezTo>
                      <a:pt x="387" y="172"/>
                      <a:pt x="390" y="176"/>
                      <a:pt x="390" y="180"/>
                    </a:cubicBezTo>
                    <a:cubicBezTo>
                      <a:pt x="401" y="180"/>
                      <a:pt x="401" y="180"/>
                      <a:pt x="401" y="180"/>
                    </a:cubicBezTo>
                    <a:cubicBezTo>
                      <a:pt x="401" y="182"/>
                      <a:pt x="402" y="185"/>
                      <a:pt x="403" y="185"/>
                    </a:cubicBezTo>
                    <a:cubicBezTo>
                      <a:pt x="405" y="185"/>
                      <a:pt x="407" y="182"/>
                      <a:pt x="408" y="180"/>
                    </a:cubicBezTo>
                    <a:cubicBezTo>
                      <a:pt x="413" y="173"/>
                      <a:pt x="418" y="164"/>
                      <a:pt x="425" y="164"/>
                    </a:cubicBezTo>
                    <a:cubicBezTo>
                      <a:pt x="433" y="164"/>
                      <a:pt x="449" y="172"/>
                      <a:pt x="454" y="175"/>
                    </a:cubicBezTo>
                    <a:cubicBezTo>
                      <a:pt x="458" y="178"/>
                      <a:pt x="462" y="177"/>
                      <a:pt x="463" y="180"/>
                    </a:cubicBezTo>
                    <a:cubicBezTo>
                      <a:pt x="464" y="184"/>
                      <a:pt x="464" y="187"/>
                      <a:pt x="464" y="191"/>
                    </a:cubicBezTo>
                    <a:cubicBezTo>
                      <a:pt x="467" y="191"/>
                      <a:pt x="467" y="191"/>
                      <a:pt x="467" y="191"/>
                    </a:cubicBezTo>
                    <a:cubicBezTo>
                      <a:pt x="471" y="190"/>
                      <a:pt x="472" y="186"/>
                      <a:pt x="476" y="186"/>
                    </a:cubicBezTo>
                    <a:cubicBezTo>
                      <a:pt x="486" y="186"/>
                      <a:pt x="487" y="194"/>
                      <a:pt x="496" y="194"/>
                    </a:cubicBezTo>
                    <a:cubicBezTo>
                      <a:pt x="513" y="191"/>
                      <a:pt x="513" y="191"/>
                      <a:pt x="513" y="191"/>
                    </a:cubicBezTo>
                    <a:cubicBezTo>
                      <a:pt x="521" y="193"/>
                      <a:pt x="529" y="196"/>
                      <a:pt x="534" y="198"/>
                    </a:cubicBezTo>
                    <a:cubicBezTo>
                      <a:pt x="538" y="205"/>
                      <a:pt x="551" y="217"/>
                      <a:pt x="558" y="220"/>
                    </a:cubicBezTo>
                    <a:cubicBezTo>
                      <a:pt x="565" y="221"/>
                      <a:pt x="569" y="219"/>
                      <a:pt x="575" y="220"/>
                    </a:cubicBezTo>
                    <a:cubicBezTo>
                      <a:pt x="584" y="223"/>
                      <a:pt x="586" y="232"/>
                      <a:pt x="586" y="242"/>
                    </a:cubicBezTo>
                    <a:cubicBezTo>
                      <a:pt x="586" y="274"/>
                      <a:pt x="568" y="283"/>
                      <a:pt x="556" y="301"/>
                    </a:cubicBezTo>
                    <a:cubicBezTo>
                      <a:pt x="553" y="305"/>
                      <a:pt x="551" y="306"/>
                      <a:pt x="549" y="310"/>
                    </a:cubicBezTo>
                    <a:cubicBezTo>
                      <a:pt x="544" y="317"/>
                      <a:pt x="540" y="317"/>
                      <a:pt x="535" y="322"/>
                    </a:cubicBezTo>
                    <a:cubicBezTo>
                      <a:pt x="529" y="328"/>
                      <a:pt x="535" y="343"/>
                      <a:pt x="535" y="353"/>
                    </a:cubicBezTo>
                    <a:cubicBezTo>
                      <a:pt x="535" y="361"/>
                      <a:pt x="532" y="369"/>
                      <a:pt x="532" y="374"/>
                    </a:cubicBezTo>
                    <a:cubicBezTo>
                      <a:pt x="532" y="377"/>
                      <a:pt x="530" y="378"/>
                      <a:pt x="530" y="380"/>
                    </a:cubicBezTo>
                    <a:cubicBezTo>
                      <a:pt x="528" y="382"/>
                      <a:pt x="524" y="386"/>
                      <a:pt x="524" y="390"/>
                    </a:cubicBezTo>
                    <a:cubicBezTo>
                      <a:pt x="524" y="394"/>
                      <a:pt x="523" y="403"/>
                      <a:pt x="522" y="405"/>
                    </a:cubicBezTo>
                    <a:cubicBezTo>
                      <a:pt x="515" y="415"/>
                      <a:pt x="513" y="419"/>
                      <a:pt x="506" y="428"/>
                    </a:cubicBezTo>
                    <a:cubicBezTo>
                      <a:pt x="505" y="431"/>
                      <a:pt x="505" y="436"/>
                      <a:pt x="504" y="438"/>
                    </a:cubicBezTo>
                    <a:cubicBezTo>
                      <a:pt x="502" y="443"/>
                      <a:pt x="492" y="449"/>
                      <a:pt x="485" y="449"/>
                    </a:cubicBezTo>
                    <a:cubicBezTo>
                      <a:pt x="476" y="449"/>
                      <a:pt x="470" y="449"/>
                      <a:pt x="463" y="452"/>
                    </a:cubicBezTo>
                    <a:cubicBezTo>
                      <a:pt x="461" y="453"/>
                      <a:pt x="460" y="455"/>
                      <a:pt x="459" y="457"/>
                    </a:cubicBezTo>
                    <a:cubicBezTo>
                      <a:pt x="448" y="467"/>
                      <a:pt x="437" y="461"/>
                      <a:pt x="429" y="474"/>
                    </a:cubicBezTo>
                    <a:cubicBezTo>
                      <a:pt x="426" y="479"/>
                      <a:pt x="420" y="479"/>
                      <a:pt x="416" y="483"/>
                    </a:cubicBezTo>
                    <a:cubicBezTo>
                      <a:pt x="411" y="489"/>
                      <a:pt x="412" y="495"/>
                      <a:pt x="412" y="503"/>
                    </a:cubicBezTo>
                    <a:cubicBezTo>
                      <a:pt x="412" y="524"/>
                      <a:pt x="412" y="524"/>
                      <a:pt x="412" y="524"/>
                    </a:cubicBezTo>
                    <a:cubicBezTo>
                      <a:pt x="403" y="528"/>
                      <a:pt x="398" y="536"/>
                      <a:pt x="394" y="545"/>
                    </a:cubicBezTo>
                    <a:cubicBezTo>
                      <a:pt x="394" y="545"/>
                      <a:pt x="394" y="545"/>
                      <a:pt x="394" y="545"/>
                    </a:cubicBezTo>
                    <a:cubicBezTo>
                      <a:pt x="391" y="550"/>
                      <a:pt x="391" y="553"/>
                      <a:pt x="388" y="559"/>
                    </a:cubicBezTo>
                    <a:cubicBezTo>
                      <a:pt x="380" y="571"/>
                      <a:pt x="371" y="572"/>
                      <a:pt x="364" y="584"/>
                    </a:cubicBezTo>
                    <a:cubicBezTo>
                      <a:pt x="355" y="597"/>
                      <a:pt x="351" y="619"/>
                      <a:pt x="331" y="619"/>
                    </a:cubicBezTo>
                    <a:cubicBezTo>
                      <a:pt x="324" y="619"/>
                      <a:pt x="314" y="614"/>
                      <a:pt x="311" y="614"/>
                    </a:cubicBezTo>
                    <a:cubicBezTo>
                      <a:pt x="305" y="614"/>
                      <a:pt x="299" y="609"/>
                      <a:pt x="293" y="609"/>
                    </a:cubicBezTo>
                    <a:cubicBezTo>
                      <a:pt x="291" y="609"/>
                      <a:pt x="289" y="610"/>
                      <a:pt x="289" y="611"/>
                    </a:cubicBezTo>
                    <a:cubicBezTo>
                      <a:pt x="289" y="615"/>
                      <a:pt x="296" y="617"/>
                      <a:pt x="297" y="619"/>
                    </a:cubicBezTo>
                    <a:cubicBezTo>
                      <a:pt x="300" y="622"/>
                      <a:pt x="300" y="627"/>
                      <a:pt x="302" y="632"/>
                    </a:cubicBezTo>
                    <a:cubicBezTo>
                      <a:pt x="304" y="637"/>
                      <a:pt x="311" y="637"/>
                      <a:pt x="311" y="642"/>
                    </a:cubicBezTo>
                    <a:cubicBezTo>
                      <a:pt x="311" y="647"/>
                      <a:pt x="311" y="650"/>
                      <a:pt x="308" y="654"/>
                    </a:cubicBezTo>
                    <a:cubicBezTo>
                      <a:pt x="304" y="660"/>
                      <a:pt x="301" y="663"/>
                      <a:pt x="297" y="667"/>
                    </a:cubicBezTo>
                    <a:cubicBezTo>
                      <a:pt x="289" y="675"/>
                      <a:pt x="280" y="673"/>
                      <a:pt x="270" y="676"/>
                    </a:cubicBezTo>
                    <a:cubicBezTo>
                      <a:pt x="263" y="678"/>
                      <a:pt x="248" y="673"/>
                      <a:pt x="244" y="677"/>
                    </a:cubicBezTo>
                    <a:cubicBezTo>
                      <a:pt x="238" y="683"/>
                      <a:pt x="243" y="696"/>
                      <a:pt x="240" y="703"/>
                    </a:cubicBezTo>
                    <a:cubicBezTo>
                      <a:pt x="240" y="702"/>
                      <a:pt x="240" y="702"/>
                      <a:pt x="240" y="702"/>
                    </a:cubicBezTo>
                    <a:cubicBezTo>
                      <a:pt x="240" y="703"/>
                      <a:pt x="240" y="706"/>
                      <a:pt x="240" y="707"/>
                    </a:cubicBezTo>
                    <a:cubicBezTo>
                      <a:pt x="240" y="709"/>
                      <a:pt x="233" y="712"/>
                      <a:pt x="229" y="712"/>
                    </a:cubicBezTo>
                    <a:cubicBezTo>
                      <a:pt x="220" y="712"/>
                      <a:pt x="218" y="706"/>
                      <a:pt x="210" y="706"/>
                    </a:cubicBezTo>
                    <a:cubicBezTo>
                      <a:pt x="207" y="706"/>
                      <a:pt x="205" y="709"/>
                      <a:pt x="205" y="711"/>
                    </a:cubicBezTo>
                    <a:cubicBezTo>
                      <a:pt x="205" y="717"/>
                      <a:pt x="211" y="729"/>
                      <a:pt x="214" y="729"/>
                    </a:cubicBezTo>
                    <a:cubicBezTo>
                      <a:pt x="217" y="729"/>
                      <a:pt x="219" y="726"/>
                      <a:pt x="221" y="726"/>
                    </a:cubicBezTo>
                    <a:cubicBezTo>
                      <a:pt x="222" y="728"/>
                      <a:pt x="225" y="728"/>
                      <a:pt x="225" y="730"/>
                    </a:cubicBezTo>
                    <a:cubicBezTo>
                      <a:pt x="225" y="733"/>
                      <a:pt x="221" y="736"/>
                      <a:pt x="220" y="736"/>
                    </a:cubicBezTo>
                    <a:cubicBezTo>
                      <a:pt x="215" y="736"/>
                      <a:pt x="213" y="732"/>
                      <a:pt x="209" y="732"/>
                    </a:cubicBezTo>
                    <a:cubicBezTo>
                      <a:pt x="209" y="737"/>
                      <a:pt x="211" y="738"/>
                      <a:pt x="214" y="739"/>
                    </a:cubicBezTo>
                    <a:cubicBezTo>
                      <a:pt x="206" y="747"/>
                      <a:pt x="206" y="755"/>
                      <a:pt x="203" y="766"/>
                    </a:cubicBezTo>
                    <a:cubicBezTo>
                      <a:pt x="202" y="770"/>
                      <a:pt x="194" y="771"/>
                      <a:pt x="191" y="771"/>
                    </a:cubicBezTo>
                    <a:cubicBezTo>
                      <a:pt x="184" y="773"/>
                      <a:pt x="178" y="779"/>
                      <a:pt x="178" y="787"/>
                    </a:cubicBezTo>
                    <a:cubicBezTo>
                      <a:pt x="178" y="804"/>
                      <a:pt x="198" y="798"/>
                      <a:pt x="198" y="811"/>
                    </a:cubicBezTo>
                    <a:cubicBezTo>
                      <a:pt x="198" y="824"/>
                      <a:pt x="187" y="825"/>
                      <a:pt x="181" y="831"/>
                    </a:cubicBezTo>
                    <a:cubicBezTo>
                      <a:pt x="177" y="835"/>
                      <a:pt x="178" y="841"/>
                      <a:pt x="176" y="846"/>
                    </a:cubicBezTo>
                    <a:cubicBezTo>
                      <a:pt x="173" y="852"/>
                      <a:pt x="166" y="850"/>
                      <a:pt x="162" y="854"/>
                    </a:cubicBezTo>
                    <a:cubicBezTo>
                      <a:pt x="156" y="859"/>
                      <a:pt x="154" y="865"/>
                      <a:pt x="154" y="874"/>
                    </a:cubicBezTo>
                    <a:cubicBezTo>
                      <a:pt x="154" y="878"/>
                      <a:pt x="158" y="883"/>
                      <a:pt x="161" y="884"/>
                    </a:cubicBezTo>
                    <a:cubicBezTo>
                      <a:pt x="169" y="888"/>
                      <a:pt x="168" y="908"/>
                      <a:pt x="174" y="914"/>
                    </a:cubicBezTo>
                    <a:cubicBezTo>
                      <a:pt x="184" y="924"/>
                      <a:pt x="196" y="928"/>
                      <a:pt x="207" y="934"/>
                    </a:cubicBezTo>
                    <a:cubicBezTo>
                      <a:pt x="206" y="936"/>
                      <a:pt x="203" y="935"/>
                      <a:pt x="200" y="935"/>
                    </a:cubicBezTo>
                    <a:cubicBezTo>
                      <a:pt x="194" y="935"/>
                      <a:pt x="183" y="943"/>
                      <a:pt x="179" y="943"/>
                    </a:cubicBezTo>
                    <a:cubicBezTo>
                      <a:pt x="176" y="943"/>
                      <a:pt x="176" y="943"/>
                      <a:pt x="174" y="943"/>
                    </a:cubicBezTo>
                    <a:cubicBezTo>
                      <a:pt x="173" y="943"/>
                      <a:pt x="171" y="945"/>
                      <a:pt x="169" y="945"/>
                    </a:cubicBezTo>
                    <a:cubicBezTo>
                      <a:pt x="165" y="945"/>
                      <a:pt x="162" y="945"/>
                      <a:pt x="157" y="945"/>
                    </a:cubicBezTo>
                    <a:cubicBezTo>
                      <a:pt x="147" y="945"/>
                      <a:pt x="151" y="933"/>
                      <a:pt x="143" y="931"/>
                    </a:cubicBezTo>
                    <a:cubicBezTo>
                      <a:pt x="137" y="929"/>
                      <a:pt x="127" y="929"/>
                      <a:pt x="127" y="921"/>
                    </a:cubicBezTo>
                    <a:cubicBezTo>
                      <a:pt x="124" y="921"/>
                      <a:pt x="122" y="921"/>
                      <a:pt x="119" y="921"/>
                    </a:cubicBezTo>
                    <a:cubicBezTo>
                      <a:pt x="115" y="921"/>
                      <a:pt x="114" y="917"/>
                      <a:pt x="114" y="915"/>
                    </a:cubicBezTo>
                    <a:cubicBezTo>
                      <a:pt x="102" y="915"/>
                      <a:pt x="98" y="909"/>
                      <a:pt x="92" y="903"/>
                    </a:cubicBezTo>
                    <a:cubicBezTo>
                      <a:pt x="91" y="902"/>
                      <a:pt x="88" y="900"/>
                      <a:pt x="88" y="899"/>
                    </a:cubicBezTo>
                    <a:cubicBezTo>
                      <a:pt x="88" y="895"/>
                      <a:pt x="96" y="895"/>
                      <a:pt x="97" y="891"/>
                    </a:cubicBezTo>
                    <a:cubicBezTo>
                      <a:pt x="95" y="891"/>
                      <a:pt x="94" y="890"/>
                      <a:pt x="93" y="889"/>
                    </a:cubicBezTo>
                    <a:cubicBezTo>
                      <a:pt x="94" y="887"/>
                      <a:pt x="96" y="884"/>
                      <a:pt x="96" y="882"/>
                    </a:cubicBezTo>
                    <a:cubicBezTo>
                      <a:pt x="96" y="871"/>
                      <a:pt x="84" y="873"/>
                      <a:pt x="84" y="863"/>
                    </a:cubicBezTo>
                    <a:cubicBezTo>
                      <a:pt x="84" y="860"/>
                      <a:pt x="84" y="859"/>
                      <a:pt x="84" y="857"/>
                    </a:cubicBezTo>
                    <a:cubicBezTo>
                      <a:pt x="84" y="848"/>
                      <a:pt x="78" y="832"/>
                      <a:pt x="78" y="825"/>
                    </a:cubicBezTo>
                    <a:cubicBezTo>
                      <a:pt x="78" y="817"/>
                      <a:pt x="88" y="814"/>
                      <a:pt x="88" y="807"/>
                    </a:cubicBezTo>
                    <a:cubicBezTo>
                      <a:pt x="88" y="803"/>
                      <a:pt x="83" y="796"/>
                      <a:pt x="82" y="791"/>
                    </a:cubicBezTo>
                    <a:cubicBezTo>
                      <a:pt x="82" y="787"/>
                      <a:pt x="82" y="787"/>
                      <a:pt x="82" y="787"/>
                    </a:cubicBezTo>
                    <a:cubicBezTo>
                      <a:pt x="82" y="787"/>
                      <a:pt x="82" y="787"/>
                      <a:pt x="82" y="787"/>
                    </a:cubicBezTo>
                    <a:cubicBezTo>
                      <a:pt x="82" y="784"/>
                      <a:pt x="84" y="782"/>
                      <a:pt x="86" y="782"/>
                    </a:cubicBezTo>
                    <a:cubicBezTo>
                      <a:pt x="94" y="782"/>
                      <a:pt x="91" y="790"/>
                      <a:pt x="98" y="790"/>
                    </a:cubicBezTo>
                    <a:cubicBezTo>
                      <a:pt x="112" y="725"/>
                      <a:pt x="112" y="725"/>
                      <a:pt x="112" y="725"/>
                    </a:cubicBezTo>
                    <a:cubicBezTo>
                      <a:pt x="112" y="718"/>
                      <a:pt x="112" y="718"/>
                      <a:pt x="112" y="718"/>
                    </a:cubicBezTo>
                    <a:cubicBezTo>
                      <a:pt x="111" y="718"/>
                      <a:pt x="109" y="717"/>
                      <a:pt x="108" y="718"/>
                    </a:cubicBezTo>
                    <a:cubicBezTo>
                      <a:pt x="105" y="719"/>
                      <a:pt x="105" y="723"/>
                      <a:pt x="102" y="723"/>
                    </a:cubicBezTo>
                    <a:cubicBezTo>
                      <a:pt x="98" y="723"/>
                      <a:pt x="95" y="713"/>
                      <a:pt x="95" y="708"/>
                    </a:cubicBezTo>
                    <a:cubicBezTo>
                      <a:pt x="95" y="699"/>
                      <a:pt x="98" y="696"/>
                      <a:pt x="100" y="688"/>
                    </a:cubicBezTo>
                    <a:cubicBezTo>
                      <a:pt x="103" y="688"/>
                      <a:pt x="104" y="687"/>
                      <a:pt x="104" y="685"/>
                    </a:cubicBezTo>
                    <a:cubicBezTo>
                      <a:pt x="104" y="683"/>
                      <a:pt x="102" y="680"/>
                      <a:pt x="102" y="680"/>
                    </a:cubicBezTo>
                    <a:cubicBezTo>
                      <a:pt x="100" y="680"/>
                      <a:pt x="99" y="668"/>
                      <a:pt x="99" y="665"/>
                    </a:cubicBezTo>
                    <a:cubicBezTo>
                      <a:pt x="99" y="655"/>
                      <a:pt x="106" y="645"/>
                      <a:pt x="109" y="639"/>
                    </a:cubicBezTo>
                    <a:cubicBezTo>
                      <a:pt x="111" y="635"/>
                      <a:pt x="112" y="629"/>
                      <a:pt x="114" y="626"/>
                    </a:cubicBezTo>
                    <a:cubicBezTo>
                      <a:pt x="116" y="624"/>
                      <a:pt x="118" y="625"/>
                      <a:pt x="118" y="623"/>
                    </a:cubicBezTo>
                    <a:cubicBezTo>
                      <a:pt x="121" y="613"/>
                      <a:pt x="121" y="605"/>
                      <a:pt x="124" y="595"/>
                    </a:cubicBezTo>
                    <a:cubicBezTo>
                      <a:pt x="124" y="562"/>
                      <a:pt x="124" y="562"/>
                      <a:pt x="124" y="562"/>
                    </a:cubicBezTo>
                    <a:cubicBezTo>
                      <a:pt x="121" y="554"/>
                      <a:pt x="126" y="548"/>
                      <a:pt x="126" y="541"/>
                    </a:cubicBezTo>
                    <a:cubicBezTo>
                      <a:pt x="126" y="524"/>
                      <a:pt x="136" y="513"/>
                      <a:pt x="136" y="498"/>
                    </a:cubicBezTo>
                    <a:cubicBezTo>
                      <a:pt x="136" y="497"/>
                      <a:pt x="136" y="495"/>
                      <a:pt x="136" y="494"/>
                    </a:cubicBezTo>
                    <a:cubicBezTo>
                      <a:pt x="136" y="491"/>
                      <a:pt x="138" y="483"/>
                      <a:pt x="139" y="478"/>
                    </a:cubicBezTo>
                    <a:cubicBezTo>
                      <a:pt x="139" y="465"/>
                      <a:pt x="139" y="465"/>
                      <a:pt x="139" y="459"/>
                    </a:cubicBezTo>
                    <a:cubicBezTo>
                      <a:pt x="139" y="453"/>
                      <a:pt x="143" y="441"/>
                      <a:pt x="143" y="434"/>
                    </a:cubicBezTo>
                    <a:cubicBezTo>
                      <a:pt x="143" y="429"/>
                      <a:pt x="141" y="403"/>
                      <a:pt x="140" y="399"/>
                    </a:cubicBezTo>
                    <a:cubicBezTo>
                      <a:pt x="136" y="388"/>
                      <a:pt x="128" y="381"/>
                      <a:pt x="121" y="377"/>
                    </a:cubicBezTo>
                    <a:cubicBezTo>
                      <a:pt x="114" y="374"/>
                      <a:pt x="109" y="375"/>
                      <a:pt x="104" y="370"/>
                    </a:cubicBezTo>
                    <a:cubicBezTo>
                      <a:pt x="99" y="365"/>
                      <a:pt x="96" y="363"/>
                      <a:pt x="90" y="362"/>
                    </a:cubicBezTo>
                    <a:cubicBezTo>
                      <a:pt x="78" y="358"/>
                      <a:pt x="72" y="351"/>
                      <a:pt x="64" y="343"/>
                    </a:cubicBezTo>
                    <a:cubicBezTo>
                      <a:pt x="60" y="340"/>
                      <a:pt x="62" y="335"/>
                      <a:pt x="62" y="330"/>
                    </a:cubicBezTo>
                    <a:cubicBezTo>
                      <a:pt x="62" y="323"/>
                      <a:pt x="55" y="319"/>
                      <a:pt x="53" y="313"/>
                    </a:cubicBezTo>
                    <a:cubicBezTo>
                      <a:pt x="50" y="302"/>
                      <a:pt x="41" y="294"/>
                      <a:pt x="38" y="285"/>
                    </a:cubicBezTo>
                    <a:cubicBezTo>
                      <a:pt x="35" y="275"/>
                      <a:pt x="32" y="269"/>
                      <a:pt x="28" y="261"/>
                    </a:cubicBezTo>
                    <a:cubicBezTo>
                      <a:pt x="27" y="258"/>
                      <a:pt x="24" y="259"/>
                      <a:pt x="23" y="257"/>
                    </a:cubicBezTo>
                    <a:cubicBezTo>
                      <a:pt x="20" y="254"/>
                      <a:pt x="19" y="248"/>
                      <a:pt x="17" y="245"/>
                    </a:cubicBezTo>
                    <a:cubicBezTo>
                      <a:pt x="16" y="242"/>
                      <a:pt x="12" y="243"/>
                      <a:pt x="11" y="242"/>
                    </a:cubicBezTo>
                    <a:cubicBezTo>
                      <a:pt x="6" y="237"/>
                      <a:pt x="0" y="228"/>
                      <a:pt x="0" y="220"/>
                    </a:cubicBezTo>
                    <a:cubicBezTo>
                      <a:pt x="0" y="215"/>
                      <a:pt x="3" y="209"/>
                      <a:pt x="5" y="207"/>
                    </a:cubicBezTo>
                    <a:cubicBezTo>
                      <a:pt x="8" y="200"/>
                      <a:pt x="16" y="198"/>
                      <a:pt x="18" y="191"/>
                    </a:cubicBezTo>
                    <a:cubicBezTo>
                      <a:pt x="14" y="189"/>
                      <a:pt x="15" y="191"/>
                      <a:pt x="12" y="191"/>
                    </a:cubicBezTo>
                    <a:cubicBezTo>
                      <a:pt x="5" y="191"/>
                      <a:pt x="5" y="182"/>
                      <a:pt x="5" y="176"/>
                    </a:cubicBezTo>
                    <a:cubicBezTo>
                      <a:pt x="5" y="166"/>
                      <a:pt x="16" y="168"/>
                      <a:pt x="14" y="148"/>
                    </a:cubicBezTo>
                    <a:cubicBezTo>
                      <a:pt x="26" y="148"/>
                      <a:pt x="29" y="136"/>
                      <a:pt x="32" y="129"/>
                    </a:cubicBezTo>
                    <a:cubicBezTo>
                      <a:pt x="37" y="119"/>
                      <a:pt x="49" y="123"/>
                      <a:pt x="51" y="111"/>
                    </a:cubicBezTo>
                    <a:cubicBezTo>
                      <a:pt x="49" y="110"/>
                      <a:pt x="47" y="107"/>
                      <a:pt x="47" y="106"/>
                    </a:cubicBezTo>
                    <a:cubicBezTo>
                      <a:pt x="49" y="103"/>
                      <a:pt x="49" y="103"/>
                      <a:pt x="49" y="1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grpSp>
        <p:grpSp>
          <p:nvGrpSpPr>
            <p:cNvPr id="14" name="Group 277"/>
            <p:cNvGrpSpPr/>
            <p:nvPr/>
          </p:nvGrpSpPr>
          <p:grpSpPr>
            <a:xfrm>
              <a:off x="538789" y="1131575"/>
              <a:ext cx="2523022" cy="1757766"/>
              <a:chOff x="1585913" y="960438"/>
              <a:chExt cx="2590800" cy="1804987"/>
            </a:xfrm>
            <a:grpFill/>
          </p:grpSpPr>
          <p:sp>
            <p:nvSpPr>
              <p:cNvPr id="118" name="Freeform 21"/>
              <p:cNvSpPr>
                <a:spLocks/>
              </p:cNvSpPr>
              <p:nvPr/>
            </p:nvSpPr>
            <p:spPr bwMode="auto">
              <a:xfrm>
                <a:off x="3359150" y="2703513"/>
                <a:ext cx="12700" cy="14288"/>
              </a:xfrm>
              <a:custGeom>
                <a:avLst/>
                <a:gdLst/>
                <a:ahLst/>
                <a:cxnLst>
                  <a:cxn ang="0">
                    <a:pos x="9" y="4"/>
                  </a:cxn>
                  <a:cxn ang="0">
                    <a:pos x="9" y="0"/>
                  </a:cxn>
                  <a:cxn ang="0">
                    <a:pos x="5" y="0"/>
                  </a:cxn>
                  <a:cxn ang="0">
                    <a:pos x="0" y="9"/>
                  </a:cxn>
                  <a:cxn ang="0">
                    <a:pos x="4" y="9"/>
                  </a:cxn>
                  <a:cxn ang="0">
                    <a:pos x="9" y="4"/>
                  </a:cxn>
                </a:cxnLst>
                <a:rect l="0" t="0" r="r" b="b"/>
                <a:pathLst>
                  <a:path w="9" h="11">
                    <a:moveTo>
                      <a:pt x="9" y="4"/>
                    </a:moveTo>
                    <a:cubicBezTo>
                      <a:pt x="9" y="0"/>
                      <a:pt x="9" y="0"/>
                      <a:pt x="9" y="0"/>
                    </a:cubicBezTo>
                    <a:cubicBezTo>
                      <a:pt x="8" y="0"/>
                      <a:pt x="6" y="0"/>
                      <a:pt x="5" y="0"/>
                    </a:cubicBezTo>
                    <a:cubicBezTo>
                      <a:pt x="2" y="0"/>
                      <a:pt x="0" y="5"/>
                      <a:pt x="0" y="9"/>
                    </a:cubicBezTo>
                    <a:cubicBezTo>
                      <a:pt x="0" y="11"/>
                      <a:pt x="2" y="9"/>
                      <a:pt x="4" y="9"/>
                    </a:cubicBezTo>
                    <a:cubicBezTo>
                      <a:pt x="6" y="9"/>
                      <a:pt x="8" y="5"/>
                      <a:pt x="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19" name="Freeform 39"/>
              <p:cNvSpPr>
                <a:spLocks/>
              </p:cNvSpPr>
              <p:nvPr/>
            </p:nvSpPr>
            <p:spPr bwMode="auto">
              <a:xfrm>
                <a:off x="3989388" y="1552575"/>
                <a:ext cx="169863" cy="77788"/>
              </a:xfrm>
              <a:custGeom>
                <a:avLst/>
                <a:gdLst/>
                <a:ahLst/>
                <a:cxnLst>
                  <a:cxn ang="0">
                    <a:pos x="127" y="31"/>
                  </a:cxn>
                  <a:cxn ang="0">
                    <a:pos x="108" y="47"/>
                  </a:cxn>
                  <a:cxn ang="0">
                    <a:pos x="74" y="58"/>
                  </a:cxn>
                  <a:cxn ang="0">
                    <a:pos x="34" y="50"/>
                  </a:cxn>
                  <a:cxn ang="0">
                    <a:pos x="14" y="42"/>
                  </a:cxn>
                  <a:cxn ang="0">
                    <a:pos x="18" y="40"/>
                  </a:cxn>
                  <a:cxn ang="0">
                    <a:pos x="21" y="27"/>
                  </a:cxn>
                  <a:cxn ang="0">
                    <a:pos x="2" y="25"/>
                  </a:cxn>
                  <a:cxn ang="0">
                    <a:pos x="25" y="21"/>
                  </a:cxn>
                  <a:cxn ang="0">
                    <a:pos x="23" y="18"/>
                  </a:cxn>
                  <a:cxn ang="0">
                    <a:pos x="0" y="8"/>
                  </a:cxn>
                  <a:cxn ang="0">
                    <a:pos x="9" y="9"/>
                  </a:cxn>
                  <a:cxn ang="0">
                    <a:pos x="9" y="5"/>
                  </a:cxn>
                  <a:cxn ang="0">
                    <a:pos x="17" y="0"/>
                  </a:cxn>
                  <a:cxn ang="0">
                    <a:pos x="21" y="0"/>
                  </a:cxn>
                  <a:cxn ang="0">
                    <a:pos x="23" y="7"/>
                  </a:cxn>
                  <a:cxn ang="0">
                    <a:pos x="30" y="16"/>
                  </a:cxn>
                  <a:cxn ang="0">
                    <a:pos x="38" y="13"/>
                  </a:cxn>
                  <a:cxn ang="0">
                    <a:pos x="38" y="8"/>
                  </a:cxn>
                  <a:cxn ang="0">
                    <a:pos x="44" y="12"/>
                  </a:cxn>
                  <a:cxn ang="0">
                    <a:pos x="54" y="9"/>
                  </a:cxn>
                  <a:cxn ang="0">
                    <a:pos x="60" y="12"/>
                  </a:cxn>
                  <a:cxn ang="0">
                    <a:pos x="60" y="8"/>
                  </a:cxn>
                  <a:cxn ang="0">
                    <a:pos x="74" y="9"/>
                  </a:cxn>
                  <a:cxn ang="0">
                    <a:pos x="89" y="8"/>
                  </a:cxn>
                  <a:cxn ang="0">
                    <a:pos x="91" y="1"/>
                  </a:cxn>
                  <a:cxn ang="0">
                    <a:pos x="96" y="1"/>
                  </a:cxn>
                  <a:cxn ang="0">
                    <a:pos x="104" y="7"/>
                  </a:cxn>
                  <a:cxn ang="0">
                    <a:pos x="115" y="4"/>
                  </a:cxn>
                  <a:cxn ang="0">
                    <a:pos x="112" y="8"/>
                  </a:cxn>
                  <a:cxn ang="0">
                    <a:pos x="128" y="30"/>
                  </a:cxn>
                  <a:cxn ang="0">
                    <a:pos x="127" y="31"/>
                  </a:cxn>
                </a:cxnLst>
                <a:rect l="0" t="0" r="r" b="b"/>
                <a:pathLst>
                  <a:path w="128" h="58">
                    <a:moveTo>
                      <a:pt x="127" y="31"/>
                    </a:moveTo>
                    <a:cubicBezTo>
                      <a:pt x="124" y="38"/>
                      <a:pt x="113" y="45"/>
                      <a:pt x="108" y="47"/>
                    </a:cubicBezTo>
                    <a:cubicBezTo>
                      <a:pt x="97" y="51"/>
                      <a:pt x="89" y="58"/>
                      <a:pt x="74" y="58"/>
                    </a:cubicBezTo>
                    <a:cubicBezTo>
                      <a:pt x="57" y="58"/>
                      <a:pt x="46" y="54"/>
                      <a:pt x="34" y="50"/>
                    </a:cubicBezTo>
                    <a:cubicBezTo>
                      <a:pt x="28" y="49"/>
                      <a:pt x="24" y="42"/>
                      <a:pt x="14" y="42"/>
                    </a:cubicBezTo>
                    <a:cubicBezTo>
                      <a:pt x="16" y="41"/>
                      <a:pt x="17" y="40"/>
                      <a:pt x="18" y="40"/>
                    </a:cubicBezTo>
                    <a:cubicBezTo>
                      <a:pt x="18" y="34"/>
                      <a:pt x="20" y="32"/>
                      <a:pt x="21" y="27"/>
                    </a:cubicBezTo>
                    <a:cubicBezTo>
                      <a:pt x="14" y="25"/>
                      <a:pt x="6" y="30"/>
                      <a:pt x="2" y="25"/>
                    </a:cubicBezTo>
                    <a:cubicBezTo>
                      <a:pt x="8" y="25"/>
                      <a:pt x="20" y="23"/>
                      <a:pt x="25" y="21"/>
                    </a:cubicBezTo>
                    <a:cubicBezTo>
                      <a:pt x="23" y="20"/>
                      <a:pt x="23" y="19"/>
                      <a:pt x="23" y="18"/>
                    </a:cubicBezTo>
                    <a:cubicBezTo>
                      <a:pt x="18" y="18"/>
                      <a:pt x="1" y="13"/>
                      <a:pt x="0" y="8"/>
                    </a:cubicBezTo>
                    <a:cubicBezTo>
                      <a:pt x="4" y="7"/>
                      <a:pt x="7" y="8"/>
                      <a:pt x="9" y="9"/>
                    </a:cubicBezTo>
                    <a:cubicBezTo>
                      <a:pt x="9" y="8"/>
                      <a:pt x="9" y="7"/>
                      <a:pt x="9" y="5"/>
                    </a:cubicBezTo>
                    <a:cubicBezTo>
                      <a:pt x="13" y="5"/>
                      <a:pt x="14" y="0"/>
                      <a:pt x="17" y="0"/>
                    </a:cubicBezTo>
                    <a:cubicBezTo>
                      <a:pt x="18" y="0"/>
                      <a:pt x="19" y="0"/>
                      <a:pt x="21" y="0"/>
                    </a:cubicBezTo>
                    <a:cubicBezTo>
                      <a:pt x="21" y="3"/>
                      <a:pt x="23" y="4"/>
                      <a:pt x="23" y="7"/>
                    </a:cubicBezTo>
                    <a:cubicBezTo>
                      <a:pt x="23" y="10"/>
                      <a:pt x="27" y="16"/>
                      <a:pt x="30" y="16"/>
                    </a:cubicBezTo>
                    <a:cubicBezTo>
                      <a:pt x="33" y="16"/>
                      <a:pt x="36" y="14"/>
                      <a:pt x="38" y="13"/>
                    </a:cubicBezTo>
                    <a:cubicBezTo>
                      <a:pt x="37" y="10"/>
                      <a:pt x="37" y="9"/>
                      <a:pt x="38" y="8"/>
                    </a:cubicBezTo>
                    <a:cubicBezTo>
                      <a:pt x="40" y="9"/>
                      <a:pt x="41" y="12"/>
                      <a:pt x="44" y="12"/>
                    </a:cubicBezTo>
                    <a:cubicBezTo>
                      <a:pt x="54" y="9"/>
                      <a:pt x="54" y="9"/>
                      <a:pt x="54" y="9"/>
                    </a:cubicBezTo>
                    <a:cubicBezTo>
                      <a:pt x="58" y="10"/>
                      <a:pt x="59" y="11"/>
                      <a:pt x="60" y="12"/>
                    </a:cubicBezTo>
                    <a:cubicBezTo>
                      <a:pt x="60" y="11"/>
                      <a:pt x="60" y="9"/>
                      <a:pt x="60" y="8"/>
                    </a:cubicBezTo>
                    <a:cubicBezTo>
                      <a:pt x="67" y="8"/>
                      <a:pt x="70" y="9"/>
                      <a:pt x="74" y="9"/>
                    </a:cubicBezTo>
                    <a:cubicBezTo>
                      <a:pt x="80" y="9"/>
                      <a:pt x="85" y="4"/>
                      <a:pt x="89" y="8"/>
                    </a:cubicBezTo>
                    <a:cubicBezTo>
                      <a:pt x="89" y="4"/>
                      <a:pt x="90" y="3"/>
                      <a:pt x="91" y="1"/>
                    </a:cubicBezTo>
                    <a:cubicBezTo>
                      <a:pt x="94" y="2"/>
                      <a:pt x="94" y="2"/>
                      <a:pt x="96" y="1"/>
                    </a:cubicBezTo>
                    <a:cubicBezTo>
                      <a:pt x="96" y="6"/>
                      <a:pt x="100" y="7"/>
                      <a:pt x="104" y="7"/>
                    </a:cubicBezTo>
                    <a:cubicBezTo>
                      <a:pt x="108" y="7"/>
                      <a:pt x="111" y="4"/>
                      <a:pt x="115" y="4"/>
                    </a:cubicBezTo>
                    <a:cubicBezTo>
                      <a:pt x="113" y="5"/>
                      <a:pt x="112" y="7"/>
                      <a:pt x="112" y="8"/>
                    </a:cubicBezTo>
                    <a:cubicBezTo>
                      <a:pt x="112" y="21"/>
                      <a:pt x="128" y="18"/>
                      <a:pt x="128" y="30"/>
                    </a:cubicBezTo>
                    <a:lnTo>
                      <a:pt x="127"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0" name="Freeform 40"/>
              <p:cNvSpPr>
                <a:spLocks/>
              </p:cNvSpPr>
              <p:nvPr/>
            </p:nvSpPr>
            <p:spPr bwMode="auto">
              <a:xfrm>
                <a:off x="2971800" y="2487613"/>
                <a:ext cx="174625" cy="60325"/>
              </a:xfrm>
              <a:custGeom>
                <a:avLst/>
                <a:gdLst/>
                <a:ahLst/>
                <a:cxnLst>
                  <a:cxn ang="0">
                    <a:pos x="131" y="40"/>
                  </a:cxn>
                  <a:cxn ang="0">
                    <a:pos x="114" y="45"/>
                  </a:cxn>
                  <a:cxn ang="0">
                    <a:pos x="88" y="42"/>
                  </a:cxn>
                  <a:cxn ang="0">
                    <a:pos x="88" y="39"/>
                  </a:cxn>
                  <a:cxn ang="0">
                    <a:pos x="93" y="35"/>
                  </a:cxn>
                  <a:cxn ang="0">
                    <a:pos x="78" y="26"/>
                  </a:cxn>
                  <a:cxn ang="0">
                    <a:pos x="73" y="22"/>
                  </a:cxn>
                  <a:cxn ang="0">
                    <a:pos x="64" y="22"/>
                  </a:cxn>
                  <a:cxn ang="0">
                    <a:pos x="48" y="15"/>
                  </a:cxn>
                  <a:cxn ang="0">
                    <a:pos x="35" y="15"/>
                  </a:cxn>
                  <a:cxn ang="0">
                    <a:pos x="34" y="10"/>
                  </a:cxn>
                  <a:cxn ang="0">
                    <a:pos x="28" y="9"/>
                  </a:cxn>
                  <a:cxn ang="0">
                    <a:pos x="4" y="20"/>
                  </a:cxn>
                  <a:cxn ang="0">
                    <a:pos x="0" y="20"/>
                  </a:cxn>
                  <a:cxn ang="0">
                    <a:pos x="36" y="0"/>
                  </a:cxn>
                  <a:cxn ang="0">
                    <a:pos x="79" y="11"/>
                  </a:cxn>
                  <a:cxn ang="0">
                    <a:pos x="86" y="17"/>
                  </a:cxn>
                  <a:cxn ang="0">
                    <a:pos x="114" y="28"/>
                  </a:cxn>
                  <a:cxn ang="0">
                    <a:pos x="114" y="31"/>
                  </a:cxn>
                  <a:cxn ang="0">
                    <a:pos x="120" y="31"/>
                  </a:cxn>
                  <a:cxn ang="0">
                    <a:pos x="131" y="40"/>
                  </a:cxn>
                </a:cxnLst>
                <a:rect l="0" t="0" r="r" b="b"/>
                <a:pathLst>
                  <a:path w="131" h="45">
                    <a:moveTo>
                      <a:pt x="131" y="40"/>
                    </a:moveTo>
                    <a:cubicBezTo>
                      <a:pt x="127" y="45"/>
                      <a:pt x="119" y="45"/>
                      <a:pt x="114" y="45"/>
                    </a:cubicBezTo>
                    <a:cubicBezTo>
                      <a:pt x="104" y="45"/>
                      <a:pt x="97" y="42"/>
                      <a:pt x="88" y="42"/>
                    </a:cubicBezTo>
                    <a:cubicBezTo>
                      <a:pt x="88" y="41"/>
                      <a:pt x="88" y="40"/>
                      <a:pt x="88" y="39"/>
                    </a:cubicBezTo>
                    <a:cubicBezTo>
                      <a:pt x="90" y="39"/>
                      <a:pt x="92" y="38"/>
                      <a:pt x="93" y="35"/>
                    </a:cubicBezTo>
                    <a:cubicBezTo>
                      <a:pt x="86" y="32"/>
                      <a:pt x="79" y="33"/>
                      <a:pt x="78" y="26"/>
                    </a:cubicBezTo>
                    <a:cubicBezTo>
                      <a:pt x="74" y="26"/>
                      <a:pt x="75" y="23"/>
                      <a:pt x="73" y="22"/>
                    </a:cubicBezTo>
                    <a:cubicBezTo>
                      <a:pt x="69" y="20"/>
                      <a:pt x="67" y="22"/>
                      <a:pt x="64" y="22"/>
                    </a:cubicBezTo>
                    <a:cubicBezTo>
                      <a:pt x="57" y="22"/>
                      <a:pt x="54" y="15"/>
                      <a:pt x="48" y="15"/>
                    </a:cubicBezTo>
                    <a:cubicBezTo>
                      <a:pt x="35" y="15"/>
                      <a:pt x="35" y="15"/>
                      <a:pt x="35" y="15"/>
                    </a:cubicBezTo>
                    <a:cubicBezTo>
                      <a:pt x="33" y="13"/>
                      <a:pt x="33" y="12"/>
                      <a:pt x="34" y="10"/>
                    </a:cubicBezTo>
                    <a:cubicBezTo>
                      <a:pt x="33" y="9"/>
                      <a:pt x="30" y="9"/>
                      <a:pt x="28" y="9"/>
                    </a:cubicBezTo>
                    <a:cubicBezTo>
                      <a:pt x="20" y="9"/>
                      <a:pt x="8" y="15"/>
                      <a:pt x="4" y="20"/>
                    </a:cubicBezTo>
                    <a:cubicBezTo>
                      <a:pt x="0" y="20"/>
                      <a:pt x="0" y="20"/>
                      <a:pt x="0" y="20"/>
                    </a:cubicBezTo>
                    <a:cubicBezTo>
                      <a:pt x="7" y="8"/>
                      <a:pt x="16" y="0"/>
                      <a:pt x="36" y="0"/>
                    </a:cubicBezTo>
                    <a:cubicBezTo>
                      <a:pt x="55" y="0"/>
                      <a:pt x="64" y="11"/>
                      <a:pt x="79" y="11"/>
                    </a:cubicBezTo>
                    <a:cubicBezTo>
                      <a:pt x="82" y="11"/>
                      <a:pt x="86" y="16"/>
                      <a:pt x="86" y="17"/>
                    </a:cubicBezTo>
                    <a:cubicBezTo>
                      <a:pt x="93" y="23"/>
                      <a:pt x="104" y="28"/>
                      <a:pt x="114" y="28"/>
                    </a:cubicBezTo>
                    <a:cubicBezTo>
                      <a:pt x="114" y="28"/>
                      <a:pt x="113" y="30"/>
                      <a:pt x="114" y="31"/>
                    </a:cubicBezTo>
                    <a:cubicBezTo>
                      <a:pt x="120" y="31"/>
                      <a:pt x="120" y="31"/>
                      <a:pt x="120" y="31"/>
                    </a:cubicBezTo>
                    <a:cubicBezTo>
                      <a:pt x="125" y="32"/>
                      <a:pt x="127" y="39"/>
                      <a:pt x="131" y="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1" name="Freeform 41"/>
              <p:cNvSpPr>
                <a:spLocks/>
              </p:cNvSpPr>
              <p:nvPr/>
            </p:nvSpPr>
            <p:spPr bwMode="auto">
              <a:xfrm>
                <a:off x="2995613" y="2509838"/>
                <a:ext cx="9525" cy="11113"/>
              </a:xfrm>
              <a:custGeom>
                <a:avLst/>
                <a:gdLst/>
                <a:ahLst/>
                <a:cxnLst>
                  <a:cxn ang="0">
                    <a:pos x="6" y="0"/>
                  </a:cxn>
                  <a:cxn ang="0">
                    <a:pos x="6" y="7"/>
                  </a:cxn>
                  <a:cxn ang="0">
                    <a:pos x="0" y="7"/>
                  </a:cxn>
                  <a:cxn ang="0">
                    <a:pos x="4" y="3"/>
                  </a:cxn>
                  <a:cxn ang="0">
                    <a:pos x="4" y="0"/>
                  </a:cxn>
                  <a:cxn ang="0">
                    <a:pos x="5" y="0"/>
                  </a:cxn>
                  <a:cxn ang="0">
                    <a:pos x="6" y="0"/>
                  </a:cxn>
                </a:cxnLst>
                <a:rect l="0" t="0" r="r" b="b"/>
                <a:pathLst>
                  <a:path w="7" h="8">
                    <a:moveTo>
                      <a:pt x="6" y="0"/>
                    </a:moveTo>
                    <a:cubicBezTo>
                      <a:pt x="6" y="3"/>
                      <a:pt x="7" y="5"/>
                      <a:pt x="6" y="7"/>
                    </a:cubicBezTo>
                    <a:cubicBezTo>
                      <a:pt x="5" y="7"/>
                      <a:pt x="0" y="8"/>
                      <a:pt x="0" y="7"/>
                    </a:cubicBezTo>
                    <a:cubicBezTo>
                      <a:pt x="0" y="4"/>
                      <a:pt x="2" y="3"/>
                      <a:pt x="4" y="3"/>
                    </a:cubicBezTo>
                    <a:cubicBezTo>
                      <a:pt x="4" y="0"/>
                      <a:pt x="4" y="0"/>
                      <a:pt x="4" y="0"/>
                    </a:cubicBezTo>
                    <a:cubicBezTo>
                      <a:pt x="5" y="0"/>
                      <a:pt x="5" y="0"/>
                      <a:pt x="5" y="0"/>
                    </a:cubicBez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2" name="Freeform 42"/>
              <p:cNvSpPr>
                <a:spLocks/>
              </p:cNvSpPr>
              <p:nvPr/>
            </p:nvSpPr>
            <p:spPr bwMode="auto">
              <a:xfrm>
                <a:off x="3082925" y="2568575"/>
                <a:ext cx="28575" cy="14288"/>
              </a:xfrm>
              <a:custGeom>
                <a:avLst/>
                <a:gdLst/>
                <a:ahLst/>
                <a:cxnLst>
                  <a:cxn ang="0">
                    <a:pos x="18" y="3"/>
                  </a:cxn>
                  <a:cxn ang="0">
                    <a:pos x="22" y="7"/>
                  </a:cxn>
                  <a:cxn ang="0">
                    <a:pos x="7" y="10"/>
                  </a:cxn>
                  <a:cxn ang="0">
                    <a:pos x="0" y="3"/>
                  </a:cxn>
                  <a:cxn ang="0">
                    <a:pos x="5" y="0"/>
                  </a:cxn>
                  <a:cxn ang="0">
                    <a:pos x="19" y="4"/>
                  </a:cxn>
                  <a:cxn ang="0">
                    <a:pos x="18" y="3"/>
                  </a:cxn>
                </a:cxnLst>
                <a:rect l="0" t="0" r="r" b="b"/>
                <a:pathLst>
                  <a:path w="22" h="10">
                    <a:moveTo>
                      <a:pt x="18" y="3"/>
                    </a:moveTo>
                    <a:cubicBezTo>
                      <a:pt x="21" y="4"/>
                      <a:pt x="22" y="5"/>
                      <a:pt x="22" y="7"/>
                    </a:cubicBezTo>
                    <a:cubicBezTo>
                      <a:pt x="17" y="8"/>
                      <a:pt x="13" y="10"/>
                      <a:pt x="7" y="10"/>
                    </a:cubicBezTo>
                    <a:cubicBezTo>
                      <a:pt x="4" y="10"/>
                      <a:pt x="0" y="7"/>
                      <a:pt x="0" y="3"/>
                    </a:cubicBezTo>
                    <a:cubicBezTo>
                      <a:pt x="0" y="1"/>
                      <a:pt x="3" y="0"/>
                      <a:pt x="5" y="0"/>
                    </a:cubicBezTo>
                    <a:cubicBezTo>
                      <a:pt x="10" y="0"/>
                      <a:pt x="16" y="3"/>
                      <a:pt x="19" y="4"/>
                    </a:cubicBezTo>
                    <a:lnTo>
                      <a:pt x="18"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3" name="Freeform 43"/>
              <p:cNvSpPr>
                <a:spLocks/>
              </p:cNvSpPr>
              <p:nvPr/>
            </p:nvSpPr>
            <p:spPr bwMode="auto">
              <a:xfrm>
                <a:off x="3267075" y="2568575"/>
                <a:ext cx="23813" cy="9525"/>
              </a:xfrm>
              <a:custGeom>
                <a:avLst/>
                <a:gdLst/>
                <a:ahLst/>
                <a:cxnLst>
                  <a:cxn ang="0">
                    <a:pos x="18" y="4"/>
                  </a:cxn>
                  <a:cxn ang="0">
                    <a:pos x="11" y="7"/>
                  </a:cxn>
                  <a:cxn ang="0">
                    <a:pos x="0" y="2"/>
                  </a:cxn>
                  <a:cxn ang="0">
                    <a:pos x="5" y="0"/>
                  </a:cxn>
                  <a:cxn ang="0">
                    <a:pos x="18" y="4"/>
                  </a:cxn>
                </a:cxnLst>
                <a:rect l="0" t="0" r="r" b="b"/>
                <a:pathLst>
                  <a:path w="18" h="7">
                    <a:moveTo>
                      <a:pt x="18" y="4"/>
                    </a:moveTo>
                    <a:cubicBezTo>
                      <a:pt x="17" y="7"/>
                      <a:pt x="14" y="7"/>
                      <a:pt x="11" y="7"/>
                    </a:cubicBezTo>
                    <a:cubicBezTo>
                      <a:pt x="6" y="7"/>
                      <a:pt x="0" y="7"/>
                      <a:pt x="0" y="2"/>
                    </a:cubicBezTo>
                    <a:cubicBezTo>
                      <a:pt x="0" y="0"/>
                      <a:pt x="4" y="0"/>
                      <a:pt x="5" y="0"/>
                    </a:cubicBezTo>
                    <a:cubicBezTo>
                      <a:pt x="6" y="0"/>
                      <a:pt x="17" y="2"/>
                      <a:pt x="18"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4" name="Freeform 44"/>
              <p:cNvSpPr>
                <a:spLocks/>
              </p:cNvSpPr>
              <p:nvPr/>
            </p:nvSpPr>
            <p:spPr bwMode="auto">
              <a:xfrm>
                <a:off x="3146425" y="2543175"/>
                <a:ext cx="100013" cy="39688"/>
              </a:xfrm>
              <a:custGeom>
                <a:avLst/>
                <a:gdLst/>
                <a:ahLst/>
                <a:cxnLst>
                  <a:cxn ang="0">
                    <a:pos x="64" y="11"/>
                  </a:cxn>
                  <a:cxn ang="0">
                    <a:pos x="75" y="21"/>
                  </a:cxn>
                  <a:cxn ang="0">
                    <a:pos x="59" y="21"/>
                  </a:cxn>
                  <a:cxn ang="0">
                    <a:pos x="51" y="24"/>
                  </a:cxn>
                  <a:cxn ang="0">
                    <a:pos x="47" y="22"/>
                  </a:cxn>
                  <a:cxn ang="0">
                    <a:pos x="37" y="30"/>
                  </a:cxn>
                  <a:cxn ang="0">
                    <a:pos x="31" y="24"/>
                  </a:cxn>
                  <a:cxn ang="0">
                    <a:pos x="11" y="23"/>
                  </a:cxn>
                  <a:cxn ang="0">
                    <a:pos x="6" y="23"/>
                  </a:cxn>
                  <a:cxn ang="0">
                    <a:pos x="6" y="27"/>
                  </a:cxn>
                  <a:cxn ang="0">
                    <a:pos x="0" y="19"/>
                  </a:cxn>
                  <a:cxn ang="0">
                    <a:pos x="3" y="18"/>
                  </a:cxn>
                  <a:cxn ang="0">
                    <a:pos x="22" y="17"/>
                  </a:cxn>
                  <a:cxn ang="0">
                    <a:pos x="19" y="8"/>
                  </a:cxn>
                  <a:cxn ang="0">
                    <a:pos x="14" y="3"/>
                  </a:cxn>
                  <a:cxn ang="0">
                    <a:pos x="17" y="0"/>
                  </a:cxn>
                  <a:cxn ang="0">
                    <a:pos x="28" y="3"/>
                  </a:cxn>
                  <a:cxn ang="0">
                    <a:pos x="41" y="1"/>
                  </a:cxn>
                  <a:cxn ang="0">
                    <a:pos x="66" y="13"/>
                  </a:cxn>
                  <a:cxn ang="0">
                    <a:pos x="64" y="11"/>
                  </a:cxn>
                </a:cxnLst>
                <a:rect l="0" t="0" r="r" b="b"/>
                <a:pathLst>
                  <a:path w="75" h="30">
                    <a:moveTo>
                      <a:pt x="64" y="11"/>
                    </a:moveTo>
                    <a:cubicBezTo>
                      <a:pt x="68" y="15"/>
                      <a:pt x="72" y="16"/>
                      <a:pt x="75" y="21"/>
                    </a:cubicBezTo>
                    <a:cubicBezTo>
                      <a:pt x="59" y="21"/>
                      <a:pt x="59" y="21"/>
                      <a:pt x="59" y="21"/>
                    </a:cubicBezTo>
                    <a:cubicBezTo>
                      <a:pt x="56" y="23"/>
                      <a:pt x="54" y="24"/>
                      <a:pt x="51" y="24"/>
                    </a:cubicBezTo>
                    <a:cubicBezTo>
                      <a:pt x="49" y="24"/>
                      <a:pt x="49" y="22"/>
                      <a:pt x="47" y="22"/>
                    </a:cubicBezTo>
                    <a:cubicBezTo>
                      <a:pt x="41" y="22"/>
                      <a:pt x="41" y="30"/>
                      <a:pt x="37" y="30"/>
                    </a:cubicBezTo>
                    <a:cubicBezTo>
                      <a:pt x="33" y="30"/>
                      <a:pt x="34" y="26"/>
                      <a:pt x="31" y="24"/>
                    </a:cubicBezTo>
                    <a:cubicBezTo>
                      <a:pt x="27" y="22"/>
                      <a:pt x="17" y="23"/>
                      <a:pt x="11" y="23"/>
                    </a:cubicBezTo>
                    <a:cubicBezTo>
                      <a:pt x="8" y="23"/>
                      <a:pt x="8" y="24"/>
                      <a:pt x="6" y="23"/>
                    </a:cubicBezTo>
                    <a:cubicBezTo>
                      <a:pt x="6" y="24"/>
                      <a:pt x="6" y="25"/>
                      <a:pt x="6" y="27"/>
                    </a:cubicBezTo>
                    <a:cubicBezTo>
                      <a:pt x="3" y="26"/>
                      <a:pt x="0" y="22"/>
                      <a:pt x="0" y="19"/>
                    </a:cubicBezTo>
                    <a:cubicBezTo>
                      <a:pt x="1" y="19"/>
                      <a:pt x="2" y="18"/>
                      <a:pt x="3" y="18"/>
                    </a:cubicBezTo>
                    <a:cubicBezTo>
                      <a:pt x="13" y="18"/>
                      <a:pt x="17" y="20"/>
                      <a:pt x="22" y="17"/>
                    </a:cubicBezTo>
                    <a:cubicBezTo>
                      <a:pt x="20" y="15"/>
                      <a:pt x="19" y="12"/>
                      <a:pt x="19" y="8"/>
                    </a:cubicBezTo>
                    <a:cubicBezTo>
                      <a:pt x="17" y="8"/>
                      <a:pt x="14" y="6"/>
                      <a:pt x="14" y="3"/>
                    </a:cubicBezTo>
                    <a:cubicBezTo>
                      <a:pt x="14" y="2"/>
                      <a:pt x="16" y="0"/>
                      <a:pt x="17" y="0"/>
                    </a:cubicBezTo>
                    <a:cubicBezTo>
                      <a:pt x="21" y="0"/>
                      <a:pt x="24" y="3"/>
                      <a:pt x="28" y="3"/>
                    </a:cubicBezTo>
                    <a:cubicBezTo>
                      <a:pt x="34" y="3"/>
                      <a:pt x="36" y="1"/>
                      <a:pt x="41" y="1"/>
                    </a:cubicBezTo>
                    <a:cubicBezTo>
                      <a:pt x="55" y="1"/>
                      <a:pt x="58" y="9"/>
                      <a:pt x="66" y="13"/>
                    </a:cubicBezTo>
                    <a:lnTo>
                      <a:pt x="64"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5" name="Freeform 45"/>
              <p:cNvSpPr>
                <a:spLocks/>
              </p:cNvSpPr>
              <p:nvPr/>
            </p:nvSpPr>
            <p:spPr bwMode="auto">
              <a:xfrm>
                <a:off x="3076575" y="2455863"/>
                <a:ext cx="9525" cy="11113"/>
              </a:xfrm>
              <a:custGeom>
                <a:avLst/>
                <a:gdLst/>
                <a:ahLst/>
                <a:cxnLst>
                  <a:cxn ang="0">
                    <a:pos x="2" y="0"/>
                  </a:cxn>
                  <a:cxn ang="0">
                    <a:pos x="7" y="6"/>
                  </a:cxn>
                  <a:cxn ang="0">
                    <a:pos x="5" y="8"/>
                  </a:cxn>
                  <a:cxn ang="0">
                    <a:pos x="0" y="0"/>
                  </a:cxn>
                  <a:cxn ang="0">
                    <a:pos x="2" y="0"/>
                  </a:cxn>
                </a:cxnLst>
                <a:rect l="0" t="0" r="r" b="b"/>
                <a:pathLst>
                  <a:path w="7" h="8">
                    <a:moveTo>
                      <a:pt x="2" y="0"/>
                    </a:moveTo>
                    <a:cubicBezTo>
                      <a:pt x="6" y="0"/>
                      <a:pt x="7" y="3"/>
                      <a:pt x="7" y="6"/>
                    </a:cubicBezTo>
                    <a:cubicBezTo>
                      <a:pt x="7" y="7"/>
                      <a:pt x="6" y="8"/>
                      <a:pt x="5" y="8"/>
                    </a:cubicBezTo>
                    <a:cubicBezTo>
                      <a:pt x="0" y="8"/>
                      <a:pt x="0" y="3"/>
                      <a:pt x="0" y="0"/>
                    </a:cubicBezTo>
                    <a:cubicBezTo>
                      <a:pt x="0" y="0"/>
                      <a:pt x="2" y="0"/>
                      <a:pt x="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6" name="Freeform 46"/>
              <p:cNvSpPr>
                <a:spLocks/>
              </p:cNvSpPr>
              <p:nvPr/>
            </p:nvSpPr>
            <p:spPr bwMode="auto">
              <a:xfrm>
                <a:off x="3068638" y="2422525"/>
                <a:ext cx="14288" cy="4763"/>
              </a:xfrm>
              <a:custGeom>
                <a:avLst/>
                <a:gdLst/>
                <a:ahLst/>
                <a:cxnLst>
                  <a:cxn ang="0">
                    <a:pos x="0" y="3"/>
                  </a:cxn>
                  <a:cxn ang="0">
                    <a:pos x="6" y="0"/>
                  </a:cxn>
                  <a:cxn ang="0">
                    <a:pos x="11" y="3"/>
                  </a:cxn>
                  <a:cxn ang="0">
                    <a:pos x="0" y="3"/>
                  </a:cxn>
                </a:cxnLst>
                <a:rect l="0" t="0" r="r" b="b"/>
                <a:pathLst>
                  <a:path w="11" h="4">
                    <a:moveTo>
                      <a:pt x="0" y="3"/>
                    </a:moveTo>
                    <a:cubicBezTo>
                      <a:pt x="1" y="2"/>
                      <a:pt x="4" y="0"/>
                      <a:pt x="6" y="0"/>
                    </a:cubicBezTo>
                    <a:cubicBezTo>
                      <a:pt x="9" y="0"/>
                      <a:pt x="10" y="2"/>
                      <a:pt x="11" y="3"/>
                    </a:cubicBezTo>
                    <a:cubicBezTo>
                      <a:pt x="7" y="4"/>
                      <a:pt x="2" y="3"/>
                      <a:pt x="0"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7" name="Freeform 47"/>
              <p:cNvSpPr>
                <a:spLocks/>
              </p:cNvSpPr>
              <p:nvPr/>
            </p:nvSpPr>
            <p:spPr bwMode="auto">
              <a:xfrm>
                <a:off x="3094038" y="2428875"/>
                <a:ext cx="4763" cy="6350"/>
              </a:xfrm>
              <a:custGeom>
                <a:avLst/>
                <a:gdLst/>
                <a:ahLst/>
                <a:cxnLst>
                  <a:cxn ang="0">
                    <a:pos x="3" y="4"/>
                  </a:cxn>
                  <a:cxn ang="0">
                    <a:pos x="1" y="0"/>
                  </a:cxn>
                  <a:cxn ang="0">
                    <a:pos x="3" y="4"/>
                  </a:cxn>
                </a:cxnLst>
                <a:rect l="0" t="0" r="r" b="b"/>
                <a:pathLst>
                  <a:path w="3" h="4">
                    <a:moveTo>
                      <a:pt x="3" y="4"/>
                    </a:moveTo>
                    <a:cubicBezTo>
                      <a:pt x="2" y="4"/>
                      <a:pt x="0" y="1"/>
                      <a:pt x="1" y="0"/>
                    </a:cubicBezTo>
                    <a:lnTo>
                      <a:pt x="3"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8" name="Freeform 48"/>
              <p:cNvSpPr>
                <a:spLocks/>
              </p:cNvSpPr>
              <p:nvPr/>
            </p:nvSpPr>
            <p:spPr bwMode="auto">
              <a:xfrm>
                <a:off x="3154363" y="2517775"/>
                <a:ext cx="11113" cy="7938"/>
              </a:xfrm>
              <a:custGeom>
                <a:avLst/>
                <a:gdLst/>
                <a:ahLst/>
                <a:cxnLst>
                  <a:cxn ang="0">
                    <a:pos x="0" y="4"/>
                  </a:cxn>
                  <a:cxn ang="0">
                    <a:pos x="0" y="7"/>
                  </a:cxn>
                  <a:cxn ang="0">
                    <a:pos x="2" y="7"/>
                  </a:cxn>
                  <a:cxn ang="0">
                    <a:pos x="9" y="4"/>
                  </a:cxn>
                  <a:cxn ang="0">
                    <a:pos x="9" y="0"/>
                  </a:cxn>
                  <a:cxn ang="0">
                    <a:pos x="0" y="4"/>
                  </a:cxn>
                </a:cxnLst>
                <a:rect l="0" t="0" r="r" b="b"/>
                <a:pathLst>
                  <a:path w="9" h="7">
                    <a:moveTo>
                      <a:pt x="0" y="4"/>
                    </a:moveTo>
                    <a:cubicBezTo>
                      <a:pt x="0" y="5"/>
                      <a:pt x="0" y="6"/>
                      <a:pt x="0" y="7"/>
                    </a:cubicBezTo>
                    <a:cubicBezTo>
                      <a:pt x="0" y="7"/>
                      <a:pt x="1" y="7"/>
                      <a:pt x="2" y="7"/>
                    </a:cubicBezTo>
                    <a:cubicBezTo>
                      <a:pt x="4" y="7"/>
                      <a:pt x="7" y="6"/>
                      <a:pt x="9" y="4"/>
                    </a:cubicBezTo>
                    <a:cubicBezTo>
                      <a:pt x="9" y="0"/>
                      <a:pt x="9" y="0"/>
                      <a:pt x="9" y="0"/>
                    </a:cubicBezTo>
                    <a:cubicBezTo>
                      <a:pt x="7" y="3"/>
                      <a:pt x="4" y="5"/>
                      <a:pt x="0"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29" name="Freeform 49"/>
              <p:cNvSpPr>
                <a:spLocks/>
              </p:cNvSpPr>
              <p:nvPr/>
            </p:nvSpPr>
            <p:spPr bwMode="auto">
              <a:xfrm>
                <a:off x="2301875" y="1979613"/>
                <a:ext cx="966788" cy="473075"/>
              </a:xfrm>
              <a:custGeom>
                <a:avLst/>
                <a:gdLst/>
                <a:ahLst/>
                <a:cxnLst>
                  <a:cxn ang="0">
                    <a:pos x="543" y="285"/>
                  </a:cxn>
                  <a:cxn ang="0">
                    <a:pos x="555" y="317"/>
                  </a:cxn>
                  <a:cxn ang="0">
                    <a:pos x="560" y="338"/>
                  </a:cxn>
                  <a:cxn ang="0">
                    <a:pos x="542" y="345"/>
                  </a:cxn>
                  <a:cxn ang="0">
                    <a:pos x="507" y="287"/>
                  </a:cxn>
                  <a:cxn ang="0">
                    <a:pos x="474" y="283"/>
                  </a:cxn>
                  <a:cxn ang="0">
                    <a:pos x="460" y="283"/>
                  </a:cxn>
                  <a:cxn ang="0">
                    <a:pos x="443" y="286"/>
                  </a:cxn>
                  <a:cxn ang="0">
                    <a:pos x="412" y="292"/>
                  </a:cxn>
                  <a:cxn ang="0">
                    <a:pos x="393" y="291"/>
                  </a:cxn>
                  <a:cxn ang="0">
                    <a:pos x="357" y="309"/>
                  </a:cxn>
                  <a:cxn ang="0">
                    <a:pos x="343" y="342"/>
                  </a:cxn>
                  <a:cxn ang="0">
                    <a:pos x="282" y="290"/>
                  </a:cxn>
                  <a:cxn ang="0">
                    <a:pos x="246" y="281"/>
                  </a:cxn>
                  <a:cxn ang="0">
                    <a:pos x="207" y="262"/>
                  </a:cxn>
                  <a:cxn ang="0">
                    <a:pos x="170" y="268"/>
                  </a:cxn>
                  <a:cxn ang="0">
                    <a:pos x="95" y="252"/>
                  </a:cxn>
                  <a:cxn ang="0">
                    <a:pos x="47" y="214"/>
                  </a:cxn>
                  <a:cxn ang="0">
                    <a:pos x="4" y="141"/>
                  </a:cxn>
                  <a:cxn ang="0">
                    <a:pos x="4" y="95"/>
                  </a:cxn>
                  <a:cxn ang="0">
                    <a:pos x="0" y="23"/>
                  </a:cxn>
                  <a:cxn ang="0">
                    <a:pos x="20" y="27"/>
                  </a:cxn>
                  <a:cxn ang="0">
                    <a:pos x="20" y="5"/>
                  </a:cxn>
                  <a:cxn ang="0">
                    <a:pos x="373" y="0"/>
                  </a:cxn>
                  <a:cxn ang="0">
                    <a:pos x="406" y="11"/>
                  </a:cxn>
                  <a:cxn ang="0">
                    <a:pos x="408" y="45"/>
                  </a:cxn>
                  <a:cxn ang="0">
                    <a:pos x="423" y="42"/>
                  </a:cxn>
                  <a:cxn ang="0">
                    <a:pos x="441" y="40"/>
                  </a:cxn>
                  <a:cxn ang="0">
                    <a:pos x="456" y="42"/>
                  </a:cxn>
                  <a:cxn ang="0">
                    <a:pos x="472" y="47"/>
                  </a:cxn>
                  <a:cxn ang="0">
                    <a:pos x="510" y="48"/>
                  </a:cxn>
                  <a:cxn ang="0">
                    <a:pos x="490" y="54"/>
                  </a:cxn>
                  <a:cxn ang="0">
                    <a:pos x="472" y="69"/>
                  </a:cxn>
                  <a:cxn ang="0">
                    <a:pos x="471" y="121"/>
                  </a:cxn>
                  <a:cxn ang="0">
                    <a:pos x="480" y="88"/>
                  </a:cxn>
                  <a:cxn ang="0">
                    <a:pos x="501" y="57"/>
                  </a:cxn>
                  <a:cxn ang="0">
                    <a:pos x="516" y="87"/>
                  </a:cxn>
                  <a:cxn ang="0">
                    <a:pos x="531" y="97"/>
                  </a:cxn>
                  <a:cxn ang="0">
                    <a:pos x="527" y="123"/>
                  </a:cxn>
                  <a:cxn ang="0">
                    <a:pos x="564" y="97"/>
                  </a:cxn>
                  <a:cxn ang="0">
                    <a:pos x="610" y="84"/>
                  </a:cxn>
                  <a:cxn ang="0">
                    <a:pos x="653" y="65"/>
                  </a:cxn>
                  <a:cxn ang="0">
                    <a:pos x="675" y="63"/>
                  </a:cxn>
                  <a:cxn ang="0">
                    <a:pos x="699" y="28"/>
                  </a:cxn>
                  <a:cxn ang="0">
                    <a:pos x="726" y="73"/>
                  </a:cxn>
                  <a:cxn ang="0">
                    <a:pos x="701" y="80"/>
                  </a:cxn>
                  <a:cxn ang="0">
                    <a:pos x="681" y="113"/>
                  </a:cxn>
                  <a:cxn ang="0">
                    <a:pos x="690" y="118"/>
                  </a:cxn>
                  <a:cxn ang="0">
                    <a:pos x="676" y="122"/>
                  </a:cxn>
                  <a:cxn ang="0">
                    <a:pos x="648" y="132"/>
                  </a:cxn>
                  <a:cxn ang="0">
                    <a:pos x="642" y="134"/>
                  </a:cxn>
                  <a:cxn ang="0">
                    <a:pos x="635" y="137"/>
                  </a:cxn>
                  <a:cxn ang="0">
                    <a:pos x="627" y="161"/>
                  </a:cxn>
                  <a:cxn ang="0">
                    <a:pos x="622" y="159"/>
                  </a:cxn>
                  <a:cxn ang="0">
                    <a:pos x="615" y="186"/>
                  </a:cxn>
                  <a:cxn ang="0">
                    <a:pos x="614" y="178"/>
                  </a:cxn>
                  <a:cxn ang="0">
                    <a:pos x="608" y="170"/>
                  </a:cxn>
                  <a:cxn ang="0">
                    <a:pos x="611" y="192"/>
                  </a:cxn>
                  <a:cxn ang="0">
                    <a:pos x="614" y="196"/>
                  </a:cxn>
                  <a:cxn ang="0">
                    <a:pos x="614" y="205"/>
                  </a:cxn>
                  <a:cxn ang="0">
                    <a:pos x="607" y="213"/>
                  </a:cxn>
                  <a:cxn ang="0">
                    <a:pos x="607" y="221"/>
                  </a:cxn>
                  <a:cxn ang="0">
                    <a:pos x="589" y="232"/>
                  </a:cxn>
                </a:cxnLst>
                <a:rect l="0" t="0" r="r" b="b"/>
                <a:pathLst>
                  <a:path w="726" h="356">
                    <a:moveTo>
                      <a:pt x="590" y="233"/>
                    </a:moveTo>
                    <a:cubicBezTo>
                      <a:pt x="569" y="245"/>
                      <a:pt x="543" y="253"/>
                      <a:pt x="543" y="285"/>
                    </a:cubicBezTo>
                    <a:cubicBezTo>
                      <a:pt x="543" y="300"/>
                      <a:pt x="555" y="304"/>
                      <a:pt x="555" y="318"/>
                    </a:cubicBezTo>
                    <a:cubicBezTo>
                      <a:pt x="555" y="317"/>
                      <a:pt x="555" y="317"/>
                      <a:pt x="555" y="317"/>
                    </a:cubicBezTo>
                    <a:cubicBezTo>
                      <a:pt x="555" y="320"/>
                      <a:pt x="555" y="320"/>
                      <a:pt x="555" y="320"/>
                    </a:cubicBezTo>
                    <a:cubicBezTo>
                      <a:pt x="556" y="326"/>
                      <a:pt x="560" y="330"/>
                      <a:pt x="560" y="338"/>
                    </a:cubicBezTo>
                    <a:cubicBezTo>
                      <a:pt x="560" y="347"/>
                      <a:pt x="558" y="356"/>
                      <a:pt x="551" y="356"/>
                    </a:cubicBezTo>
                    <a:cubicBezTo>
                      <a:pt x="544" y="356"/>
                      <a:pt x="544" y="349"/>
                      <a:pt x="542" y="345"/>
                    </a:cubicBezTo>
                    <a:cubicBezTo>
                      <a:pt x="537" y="338"/>
                      <a:pt x="532" y="335"/>
                      <a:pt x="529" y="328"/>
                    </a:cubicBezTo>
                    <a:cubicBezTo>
                      <a:pt x="522" y="314"/>
                      <a:pt x="527" y="287"/>
                      <a:pt x="507" y="287"/>
                    </a:cubicBezTo>
                    <a:cubicBezTo>
                      <a:pt x="503" y="287"/>
                      <a:pt x="502" y="293"/>
                      <a:pt x="498" y="293"/>
                    </a:cubicBezTo>
                    <a:cubicBezTo>
                      <a:pt x="490" y="293"/>
                      <a:pt x="485" y="283"/>
                      <a:pt x="474" y="283"/>
                    </a:cubicBezTo>
                    <a:cubicBezTo>
                      <a:pt x="468" y="283"/>
                      <a:pt x="467" y="286"/>
                      <a:pt x="463" y="286"/>
                    </a:cubicBezTo>
                    <a:cubicBezTo>
                      <a:pt x="462" y="286"/>
                      <a:pt x="460" y="284"/>
                      <a:pt x="460" y="283"/>
                    </a:cubicBezTo>
                    <a:cubicBezTo>
                      <a:pt x="453" y="285"/>
                      <a:pt x="444" y="284"/>
                      <a:pt x="436" y="286"/>
                    </a:cubicBezTo>
                    <a:cubicBezTo>
                      <a:pt x="441" y="288"/>
                      <a:pt x="440" y="288"/>
                      <a:pt x="443" y="286"/>
                    </a:cubicBezTo>
                    <a:cubicBezTo>
                      <a:pt x="442" y="293"/>
                      <a:pt x="438" y="297"/>
                      <a:pt x="443" y="301"/>
                    </a:cubicBezTo>
                    <a:cubicBezTo>
                      <a:pt x="431" y="307"/>
                      <a:pt x="421" y="292"/>
                      <a:pt x="412" y="292"/>
                    </a:cubicBezTo>
                    <a:cubicBezTo>
                      <a:pt x="409" y="292"/>
                      <a:pt x="408" y="295"/>
                      <a:pt x="405" y="295"/>
                    </a:cubicBezTo>
                    <a:cubicBezTo>
                      <a:pt x="400" y="295"/>
                      <a:pt x="398" y="291"/>
                      <a:pt x="393" y="291"/>
                    </a:cubicBezTo>
                    <a:cubicBezTo>
                      <a:pt x="380" y="291"/>
                      <a:pt x="374" y="302"/>
                      <a:pt x="368" y="307"/>
                    </a:cubicBezTo>
                    <a:cubicBezTo>
                      <a:pt x="365" y="311"/>
                      <a:pt x="361" y="308"/>
                      <a:pt x="357" y="309"/>
                    </a:cubicBezTo>
                    <a:cubicBezTo>
                      <a:pt x="347" y="313"/>
                      <a:pt x="341" y="325"/>
                      <a:pt x="341" y="338"/>
                    </a:cubicBezTo>
                    <a:cubicBezTo>
                      <a:pt x="341" y="339"/>
                      <a:pt x="343" y="341"/>
                      <a:pt x="343" y="342"/>
                    </a:cubicBezTo>
                    <a:cubicBezTo>
                      <a:pt x="336" y="342"/>
                      <a:pt x="325" y="339"/>
                      <a:pt x="321" y="336"/>
                    </a:cubicBezTo>
                    <a:cubicBezTo>
                      <a:pt x="307" y="322"/>
                      <a:pt x="308" y="290"/>
                      <a:pt x="282" y="290"/>
                    </a:cubicBezTo>
                    <a:cubicBezTo>
                      <a:pt x="272" y="290"/>
                      <a:pt x="275" y="302"/>
                      <a:pt x="266" y="302"/>
                    </a:cubicBezTo>
                    <a:cubicBezTo>
                      <a:pt x="257" y="302"/>
                      <a:pt x="250" y="287"/>
                      <a:pt x="246" y="281"/>
                    </a:cubicBezTo>
                    <a:cubicBezTo>
                      <a:pt x="239" y="268"/>
                      <a:pt x="230" y="266"/>
                      <a:pt x="215" y="262"/>
                    </a:cubicBezTo>
                    <a:cubicBezTo>
                      <a:pt x="207" y="262"/>
                      <a:pt x="207" y="262"/>
                      <a:pt x="207" y="262"/>
                    </a:cubicBezTo>
                    <a:cubicBezTo>
                      <a:pt x="207" y="268"/>
                      <a:pt x="207" y="268"/>
                      <a:pt x="207" y="268"/>
                    </a:cubicBezTo>
                    <a:cubicBezTo>
                      <a:pt x="170" y="268"/>
                      <a:pt x="170" y="268"/>
                      <a:pt x="170" y="268"/>
                    </a:cubicBezTo>
                    <a:cubicBezTo>
                      <a:pt x="123" y="252"/>
                      <a:pt x="123" y="252"/>
                      <a:pt x="123" y="252"/>
                    </a:cubicBezTo>
                    <a:cubicBezTo>
                      <a:pt x="95" y="252"/>
                      <a:pt x="95" y="252"/>
                      <a:pt x="95" y="252"/>
                    </a:cubicBezTo>
                    <a:cubicBezTo>
                      <a:pt x="88" y="239"/>
                      <a:pt x="66" y="230"/>
                      <a:pt x="50" y="223"/>
                    </a:cubicBezTo>
                    <a:cubicBezTo>
                      <a:pt x="47" y="222"/>
                      <a:pt x="48" y="217"/>
                      <a:pt x="47" y="214"/>
                    </a:cubicBezTo>
                    <a:cubicBezTo>
                      <a:pt x="40" y="198"/>
                      <a:pt x="28" y="193"/>
                      <a:pt x="30" y="175"/>
                    </a:cubicBezTo>
                    <a:cubicBezTo>
                      <a:pt x="21" y="174"/>
                      <a:pt x="11" y="154"/>
                      <a:pt x="4" y="141"/>
                    </a:cubicBezTo>
                    <a:cubicBezTo>
                      <a:pt x="2" y="137"/>
                      <a:pt x="6" y="134"/>
                      <a:pt x="8" y="133"/>
                    </a:cubicBezTo>
                    <a:cubicBezTo>
                      <a:pt x="3" y="123"/>
                      <a:pt x="8" y="107"/>
                      <a:pt x="4" y="95"/>
                    </a:cubicBezTo>
                    <a:cubicBezTo>
                      <a:pt x="0" y="85"/>
                      <a:pt x="11" y="60"/>
                      <a:pt x="11" y="46"/>
                    </a:cubicBezTo>
                    <a:cubicBezTo>
                      <a:pt x="11" y="36"/>
                      <a:pt x="0" y="32"/>
                      <a:pt x="0" y="23"/>
                    </a:cubicBezTo>
                    <a:cubicBezTo>
                      <a:pt x="0" y="20"/>
                      <a:pt x="5" y="20"/>
                      <a:pt x="7" y="20"/>
                    </a:cubicBezTo>
                    <a:cubicBezTo>
                      <a:pt x="13" y="20"/>
                      <a:pt x="17" y="23"/>
                      <a:pt x="20" y="27"/>
                    </a:cubicBezTo>
                    <a:cubicBezTo>
                      <a:pt x="22" y="24"/>
                      <a:pt x="26" y="19"/>
                      <a:pt x="26" y="15"/>
                    </a:cubicBezTo>
                    <a:cubicBezTo>
                      <a:pt x="26" y="11"/>
                      <a:pt x="22" y="10"/>
                      <a:pt x="20" y="5"/>
                    </a:cubicBezTo>
                    <a:cubicBezTo>
                      <a:pt x="373" y="5"/>
                      <a:pt x="373" y="5"/>
                      <a:pt x="373" y="5"/>
                    </a:cubicBezTo>
                    <a:cubicBezTo>
                      <a:pt x="373" y="0"/>
                      <a:pt x="373" y="0"/>
                      <a:pt x="373" y="0"/>
                    </a:cubicBezTo>
                    <a:cubicBezTo>
                      <a:pt x="379" y="4"/>
                      <a:pt x="378" y="8"/>
                      <a:pt x="384" y="11"/>
                    </a:cubicBezTo>
                    <a:cubicBezTo>
                      <a:pt x="406" y="11"/>
                      <a:pt x="406" y="11"/>
                      <a:pt x="406" y="11"/>
                    </a:cubicBezTo>
                    <a:cubicBezTo>
                      <a:pt x="415" y="20"/>
                      <a:pt x="426" y="20"/>
                      <a:pt x="443" y="20"/>
                    </a:cubicBezTo>
                    <a:cubicBezTo>
                      <a:pt x="431" y="28"/>
                      <a:pt x="418" y="32"/>
                      <a:pt x="408" y="45"/>
                    </a:cubicBezTo>
                    <a:cubicBezTo>
                      <a:pt x="415" y="45"/>
                      <a:pt x="415" y="45"/>
                      <a:pt x="415" y="45"/>
                    </a:cubicBezTo>
                    <a:cubicBezTo>
                      <a:pt x="418" y="43"/>
                      <a:pt x="420" y="42"/>
                      <a:pt x="423" y="42"/>
                    </a:cubicBezTo>
                    <a:cubicBezTo>
                      <a:pt x="425" y="46"/>
                      <a:pt x="426" y="46"/>
                      <a:pt x="429" y="46"/>
                    </a:cubicBezTo>
                    <a:cubicBezTo>
                      <a:pt x="437" y="46"/>
                      <a:pt x="437" y="40"/>
                      <a:pt x="441" y="40"/>
                    </a:cubicBezTo>
                    <a:cubicBezTo>
                      <a:pt x="446" y="40"/>
                      <a:pt x="454" y="32"/>
                      <a:pt x="461" y="31"/>
                    </a:cubicBezTo>
                    <a:cubicBezTo>
                      <a:pt x="461" y="37"/>
                      <a:pt x="458" y="38"/>
                      <a:pt x="456" y="42"/>
                    </a:cubicBezTo>
                    <a:cubicBezTo>
                      <a:pt x="465" y="42"/>
                      <a:pt x="465" y="42"/>
                      <a:pt x="465" y="42"/>
                    </a:cubicBezTo>
                    <a:cubicBezTo>
                      <a:pt x="465" y="45"/>
                      <a:pt x="469" y="47"/>
                      <a:pt x="472" y="47"/>
                    </a:cubicBezTo>
                    <a:cubicBezTo>
                      <a:pt x="478" y="47"/>
                      <a:pt x="480" y="43"/>
                      <a:pt x="484" y="43"/>
                    </a:cubicBezTo>
                    <a:cubicBezTo>
                      <a:pt x="495" y="43"/>
                      <a:pt x="500" y="48"/>
                      <a:pt x="510" y="48"/>
                    </a:cubicBezTo>
                    <a:cubicBezTo>
                      <a:pt x="510" y="54"/>
                      <a:pt x="510" y="54"/>
                      <a:pt x="510" y="54"/>
                    </a:cubicBezTo>
                    <a:cubicBezTo>
                      <a:pt x="503" y="56"/>
                      <a:pt x="493" y="54"/>
                      <a:pt x="490" y="54"/>
                    </a:cubicBezTo>
                    <a:cubicBezTo>
                      <a:pt x="480" y="54"/>
                      <a:pt x="462" y="66"/>
                      <a:pt x="462" y="75"/>
                    </a:cubicBezTo>
                    <a:cubicBezTo>
                      <a:pt x="466" y="72"/>
                      <a:pt x="468" y="69"/>
                      <a:pt x="472" y="69"/>
                    </a:cubicBezTo>
                    <a:cubicBezTo>
                      <a:pt x="465" y="78"/>
                      <a:pt x="461" y="101"/>
                      <a:pt x="461" y="112"/>
                    </a:cubicBezTo>
                    <a:cubicBezTo>
                      <a:pt x="461" y="117"/>
                      <a:pt x="466" y="121"/>
                      <a:pt x="471" y="121"/>
                    </a:cubicBezTo>
                    <a:cubicBezTo>
                      <a:pt x="478" y="121"/>
                      <a:pt x="480" y="108"/>
                      <a:pt x="480" y="102"/>
                    </a:cubicBezTo>
                    <a:cubicBezTo>
                      <a:pt x="480" y="97"/>
                      <a:pt x="480" y="88"/>
                      <a:pt x="480" y="88"/>
                    </a:cubicBezTo>
                    <a:cubicBezTo>
                      <a:pt x="480" y="82"/>
                      <a:pt x="480" y="69"/>
                      <a:pt x="485" y="69"/>
                    </a:cubicBezTo>
                    <a:cubicBezTo>
                      <a:pt x="501" y="68"/>
                      <a:pt x="494" y="57"/>
                      <a:pt x="501" y="57"/>
                    </a:cubicBezTo>
                    <a:cubicBezTo>
                      <a:pt x="504" y="57"/>
                      <a:pt x="521" y="65"/>
                      <a:pt x="521" y="70"/>
                    </a:cubicBezTo>
                    <a:cubicBezTo>
                      <a:pt x="521" y="77"/>
                      <a:pt x="517" y="81"/>
                      <a:pt x="516" y="87"/>
                    </a:cubicBezTo>
                    <a:cubicBezTo>
                      <a:pt x="521" y="87"/>
                      <a:pt x="520" y="85"/>
                      <a:pt x="525" y="84"/>
                    </a:cubicBezTo>
                    <a:cubicBezTo>
                      <a:pt x="526" y="91"/>
                      <a:pt x="526" y="94"/>
                      <a:pt x="531" y="97"/>
                    </a:cubicBezTo>
                    <a:cubicBezTo>
                      <a:pt x="526" y="103"/>
                      <a:pt x="521" y="106"/>
                      <a:pt x="521" y="112"/>
                    </a:cubicBezTo>
                    <a:cubicBezTo>
                      <a:pt x="521" y="117"/>
                      <a:pt x="523" y="123"/>
                      <a:pt x="527" y="123"/>
                    </a:cubicBezTo>
                    <a:cubicBezTo>
                      <a:pt x="539" y="123"/>
                      <a:pt x="559" y="112"/>
                      <a:pt x="568" y="108"/>
                    </a:cubicBezTo>
                    <a:cubicBezTo>
                      <a:pt x="567" y="103"/>
                      <a:pt x="565" y="99"/>
                      <a:pt x="564" y="97"/>
                    </a:cubicBezTo>
                    <a:cubicBezTo>
                      <a:pt x="567" y="97"/>
                      <a:pt x="567" y="97"/>
                      <a:pt x="569" y="97"/>
                    </a:cubicBezTo>
                    <a:cubicBezTo>
                      <a:pt x="582" y="97"/>
                      <a:pt x="610" y="101"/>
                      <a:pt x="610" y="84"/>
                    </a:cubicBezTo>
                    <a:cubicBezTo>
                      <a:pt x="611" y="84"/>
                      <a:pt x="627" y="68"/>
                      <a:pt x="630" y="66"/>
                    </a:cubicBezTo>
                    <a:cubicBezTo>
                      <a:pt x="632" y="64"/>
                      <a:pt x="643" y="65"/>
                      <a:pt x="653" y="65"/>
                    </a:cubicBezTo>
                    <a:cubicBezTo>
                      <a:pt x="657" y="65"/>
                      <a:pt x="660" y="65"/>
                      <a:pt x="664" y="65"/>
                    </a:cubicBezTo>
                    <a:cubicBezTo>
                      <a:pt x="668" y="65"/>
                      <a:pt x="672" y="63"/>
                      <a:pt x="675" y="63"/>
                    </a:cubicBezTo>
                    <a:cubicBezTo>
                      <a:pt x="680" y="62"/>
                      <a:pt x="678" y="61"/>
                      <a:pt x="680" y="59"/>
                    </a:cubicBezTo>
                    <a:cubicBezTo>
                      <a:pt x="688" y="51"/>
                      <a:pt x="688" y="36"/>
                      <a:pt x="699" y="28"/>
                    </a:cubicBezTo>
                    <a:cubicBezTo>
                      <a:pt x="704" y="35"/>
                      <a:pt x="712" y="25"/>
                      <a:pt x="716" y="32"/>
                    </a:cubicBezTo>
                    <a:cubicBezTo>
                      <a:pt x="723" y="44"/>
                      <a:pt x="717" y="62"/>
                      <a:pt x="726" y="73"/>
                    </a:cubicBezTo>
                    <a:cubicBezTo>
                      <a:pt x="723" y="77"/>
                      <a:pt x="718" y="80"/>
                      <a:pt x="712" y="80"/>
                    </a:cubicBezTo>
                    <a:cubicBezTo>
                      <a:pt x="706" y="80"/>
                      <a:pt x="706" y="78"/>
                      <a:pt x="701" y="80"/>
                    </a:cubicBezTo>
                    <a:cubicBezTo>
                      <a:pt x="694" y="87"/>
                      <a:pt x="679" y="92"/>
                      <a:pt x="679" y="109"/>
                    </a:cubicBezTo>
                    <a:cubicBezTo>
                      <a:pt x="679" y="110"/>
                      <a:pt x="680" y="112"/>
                      <a:pt x="681" y="113"/>
                    </a:cubicBezTo>
                    <a:cubicBezTo>
                      <a:pt x="681" y="115"/>
                      <a:pt x="683" y="121"/>
                      <a:pt x="686" y="121"/>
                    </a:cubicBezTo>
                    <a:cubicBezTo>
                      <a:pt x="687" y="121"/>
                      <a:pt x="690" y="118"/>
                      <a:pt x="690" y="118"/>
                    </a:cubicBezTo>
                    <a:cubicBezTo>
                      <a:pt x="690" y="121"/>
                      <a:pt x="690" y="121"/>
                      <a:pt x="690" y="121"/>
                    </a:cubicBezTo>
                    <a:cubicBezTo>
                      <a:pt x="685" y="122"/>
                      <a:pt x="678" y="124"/>
                      <a:pt x="676" y="122"/>
                    </a:cubicBezTo>
                    <a:cubicBezTo>
                      <a:pt x="667" y="129"/>
                      <a:pt x="652" y="126"/>
                      <a:pt x="643" y="132"/>
                    </a:cubicBezTo>
                    <a:cubicBezTo>
                      <a:pt x="648" y="132"/>
                      <a:pt x="648" y="132"/>
                      <a:pt x="648" y="132"/>
                    </a:cubicBezTo>
                    <a:cubicBezTo>
                      <a:pt x="652" y="132"/>
                      <a:pt x="656" y="129"/>
                      <a:pt x="659" y="132"/>
                    </a:cubicBezTo>
                    <a:cubicBezTo>
                      <a:pt x="653" y="134"/>
                      <a:pt x="648" y="134"/>
                      <a:pt x="642" y="134"/>
                    </a:cubicBezTo>
                    <a:cubicBezTo>
                      <a:pt x="641" y="134"/>
                      <a:pt x="639" y="133"/>
                      <a:pt x="638" y="133"/>
                    </a:cubicBezTo>
                    <a:cubicBezTo>
                      <a:pt x="637" y="134"/>
                      <a:pt x="635" y="135"/>
                      <a:pt x="635" y="137"/>
                    </a:cubicBezTo>
                    <a:cubicBezTo>
                      <a:pt x="635" y="139"/>
                      <a:pt x="639" y="142"/>
                      <a:pt x="639" y="142"/>
                    </a:cubicBezTo>
                    <a:cubicBezTo>
                      <a:pt x="638" y="145"/>
                      <a:pt x="630" y="161"/>
                      <a:pt x="627" y="161"/>
                    </a:cubicBezTo>
                    <a:cubicBezTo>
                      <a:pt x="626" y="161"/>
                      <a:pt x="625" y="158"/>
                      <a:pt x="624" y="157"/>
                    </a:cubicBezTo>
                    <a:cubicBezTo>
                      <a:pt x="622" y="159"/>
                      <a:pt x="622" y="159"/>
                      <a:pt x="622" y="159"/>
                    </a:cubicBezTo>
                    <a:cubicBezTo>
                      <a:pt x="623" y="163"/>
                      <a:pt x="626" y="164"/>
                      <a:pt x="626" y="168"/>
                    </a:cubicBezTo>
                    <a:cubicBezTo>
                      <a:pt x="626" y="170"/>
                      <a:pt x="617" y="186"/>
                      <a:pt x="615" y="186"/>
                    </a:cubicBezTo>
                    <a:cubicBezTo>
                      <a:pt x="615" y="186"/>
                      <a:pt x="614" y="184"/>
                      <a:pt x="614" y="183"/>
                    </a:cubicBezTo>
                    <a:cubicBezTo>
                      <a:pt x="614" y="181"/>
                      <a:pt x="614" y="180"/>
                      <a:pt x="614" y="178"/>
                    </a:cubicBezTo>
                    <a:cubicBezTo>
                      <a:pt x="614" y="175"/>
                      <a:pt x="610" y="168"/>
                      <a:pt x="609" y="164"/>
                    </a:cubicBezTo>
                    <a:cubicBezTo>
                      <a:pt x="608" y="166"/>
                      <a:pt x="608" y="170"/>
                      <a:pt x="608" y="170"/>
                    </a:cubicBezTo>
                    <a:cubicBezTo>
                      <a:pt x="608" y="173"/>
                      <a:pt x="611" y="181"/>
                      <a:pt x="611" y="185"/>
                    </a:cubicBezTo>
                    <a:cubicBezTo>
                      <a:pt x="611" y="189"/>
                      <a:pt x="608" y="189"/>
                      <a:pt x="611" y="192"/>
                    </a:cubicBezTo>
                    <a:cubicBezTo>
                      <a:pt x="612" y="192"/>
                      <a:pt x="613" y="192"/>
                      <a:pt x="614" y="192"/>
                    </a:cubicBezTo>
                    <a:cubicBezTo>
                      <a:pt x="614" y="193"/>
                      <a:pt x="614" y="195"/>
                      <a:pt x="614" y="196"/>
                    </a:cubicBezTo>
                    <a:cubicBezTo>
                      <a:pt x="614" y="200"/>
                      <a:pt x="610" y="201"/>
                      <a:pt x="608" y="201"/>
                    </a:cubicBezTo>
                    <a:cubicBezTo>
                      <a:pt x="610" y="205"/>
                      <a:pt x="612" y="205"/>
                      <a:pt x="614" y="205"/>
                    </a:cubicBezTo>
                    <a:cubicBezTo>
                      <a:pt x="613" y="210"/>
                      <a:pt x="611" y="210"/>
                      <a:pt x="607" y="210"/>
                    </a:cubicBezTo>
                    <a:cubicBezTo>
                      <a:pt x="607" y="213"/>
                      <a:pt x="607" y="213"/>
                      <a:pt x="607" y="213"/>
                    </a:cubicBezTo>
                    <a:cubicBezTo>
                      <a:pt x="612" y="216"/>
                      <a:pt x="612" y="216"/>
                      <a:pt x="612" y="216"/>
                    </a:cubicBezTo>
                    <a:cubicBezTo>
                      <a:pt x="611" y="218"/>
                      <a:pt x="610" y="221"/>
                      <a:pt x="607" y="221"/>
                    </a:cubicBezTo>
                    <a:cubicBezTo>
                      <a:pt x="602" y="222"/>
                      <a:pt x="600" y="226"/>
                      <a:pt x="596" y="226"/>
                    </a:cubicBezTo>
                    <a:cubicBezTo>
                      <a:pt x="591" y="228"/>
                      <a:pt x="591" y="230"/>
                      <a:pt x="589" y="232"/>
                    </a:cubicBezTo>
                    <a:lnTo>
                      <a:pt x="590" y="2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0" name="Freeform 50"/>
              <p:cNvSpPr>
                <a:spLocks/>
              </p:cNvSpPr>
              <p:nvPr/>
            </p:nvSpPr>
            <p:spPr bwMode="auto">
              <a:xfrm>
                <a:off x="2030413" y="1400175"/>
                <a:ext cx="1425575" cy="736600"/>
              </a:xfrm>
              <a:custGeom>
                <a:avLst/>
                <a:gdLst/>
                <a:ahLst/>
                <a:cxnLst>
                  <a:cxn ang="0">
                    <a:pos x="950" y="501"/>
                  </a:cxn>
                  <a:cxn ang="0">
                    <a:pos x="950" y="527"/>
                  </a:cxn>
                  <a:cxn ang="0">
                    <a:pos x="955" y="469"/>
                  </a:cxn>
                  <a:cxn ang="0">
                    <a:pos x="944" y="436"/>
                  </a:cxn>
                  <a:cxn ang="0">
                    <a:pos x="982" y="418"/>
                  </a:cxn>
                  <a:cxn ang="0">
                    <a:pos x="1060" y="356"/>
                  </a:cxn>
                  <a:cxn ang="0">
                    <a:pos x="1050" y="346"/>
                  </a:cxn>
                  <a:cxn ang="0">
                    <a:pos x="991" y="310"/>
                  </a:cxn>
                  <a:cxn ang="0">
                    <a:pos x="965" y="247"/>
                  </a:cxn>
                  <a:cxn ang="0">
                    <a:pos x="908" y="267"/>
                  </a:cxn>
                  <a:cxn ang="0">
                    <a:pos x="831" y="204"/>
                  </a:cxn>
                  <a:cxn ang="0">
                    <a:pos x="794" y="247"/>
                  </a:cxn>
                  <a:cxn ang="0">
                    <a:pos x="783" y="387"/>
                  </a:cxn>
                  <a:cxn ang="0">
                    <a:pos x="726" y="334"/>
                  </a:cxn>
                  <a:cxn ang="0">
                    <a:pos x="607" y="306"/>
                  </a:cxn>
                  <a:cxn ang="0">
                    <a:pos x="595" y="216"/>
                  </a:cxn>
                  <a:cxn ang="0">
                    <a:pos x="633" y="178"/>
                  </a:cxn>
                  <a:cxn ang="0">
                    <a:pos x="675" y="146"/>
                  </a:cxn>
                  <a:cxn ang="0">
                    <a:pos x="686" y="127"/>
                  </a:cxn>
                  <a:cxn ang="0">
                    <a:pos x="722" y="120"/>
                  </a:cxn>
                  <a:cxn ang="0">
                    <a:pos x="746" y="61"/>
                  </a:cxn>
                  <a:cxn ang="0">
                    <a:pos x="702" y="67"/>
                  </a:cxn>
                  <a:cxn ang="0">
                    <a:pos x="665" y="74"/>
                  </a:cxn>
                  <a:cxn ang="0">
                    <a:pos x="625" y="55"/>
                  </a:cxn>
                  <a:cxn ang="0">
                    <a:pos x="574" y="0"/>
                  </a:cxn>
                  <a:cxn ang="0">
                    <a:pos x="555" y="38"/>
                  </a:cxn>
                  <a:cxn ang="0">
                    <a:pos x="567" y="98"/>
                  </a:cxn>
                  <a:cxn ang="0">
                    <a:pos x="492" y="92"/>
                  </a:cxn>
                  <a:cxn ang="0">
                    <a:pos x="430" y="75"/>
                  </a:cxn>
                  <a:cxn ang="0">
                    <a:pos x="387" y="89"/>
                  </a:cxn>
                  <a:cxn ang="0">
                    <a:pos x="333" y="81"/>
                  </a:cxn>
                  <a:cxn ang="0">
                    <a:pos x="202" y="42"/>
                  </a:cxn>
                  <a:cxn ang="0">
                    <a:pos x="138" y="40"/>
                  </a:cxn>
                  <a:cxn ang="0">
                    <a:pos x="61" y="70"/>
                  </a:cxn>
                  <a:cxn ang="0">
                    <a:pos x="0" y="242"/>
                  </a:cxn>
                  <a:cxn ang="0">
                    <a:pos x="67" y="253"/>
                  </a:cxn>
                  <a:cxn ang="0">
                    <a:pos x="124" y="316"/>
                  </a:cxn>
                  <a:cxn ang="0">
                    <a:pos x="136" y="366"/>
                  </a:cxn>
                  <a:cxn ang="0">
                    <a:pos x="181" y="413"/>
                  </a:cxn>
                  <a:cxn ang="0">
                    <a:pos x="224" y="440"/>
                  </a:cxn>
                  <a:cxn ang="0">
                    <a:pos x="610" y="446"/>
                  </a:cxn>
                  <a:cxn ang="0">
                    <a:pos x="676" y="453"/>
                  </a:cxn>
                  <a:cxn ang="0">
                    <a:pos x="705" y="477"/>
                  </a:cxn>
                  <a:cxn ang="0">
                    <a:pos x="759" y="512"/>
                  </a:cxn>
                  <a:cxn ang="0">
                    <a:pos x="732" y="553"/>
                  </a:cxn>
                  <a:cxn ang="0">
                    <a:pos x="772" y="543"/>
                  </a:cxn>
                  <a:cxn ang="0">
                    <a:pos x="814" y="519"/>
                  </a:cxn>
                  <a:cxn ang="0">
                    <a:pos x="879" y="498"/>
                  </a:cxn>
                  <a:cxn ang="0">
                    <a:pos x="928" y="505"/>
                  </a:cxn>
                </a:cxnLst>
                <a:rect l="0" t="0" r="r" b="b"/>
                <a:pathLst>
                  <a:path w="1071" h="553">
                    <a:moveTo>
                      <a:pt x="928" y="503"/>
                    </a:moveTo>
                    <a:cubicBezTo>
                      <a:pt x="928" y="502"/>
                      <a:pt x="928" y="502"/>
                      <a:pt x="928" y="502"/>
                    </a:cubicBezTo>
                    <a:cubicBezTo>
                      <a:pt x="928" y="502"/>
                      <a:pt x="931" y="502"/>
                      <a:pt x="932" y="502"/>
                    </a:cubicBezTo>
                    <a:cubicBezTo>
                      <a:pt x="935" y="502"/>
                      <a:pt x="946" y="504"/>
                      <a:pt x="950" y="501"/>
                    </a:cubicBezTo>
                    <a:cubicBezTo>
                      <a:pt x="954" y="498"/>
                      <a:pt x="954" y="493"/>
                      <a:pt x="960" y="492"/>
                    </a:cubicBezTo>
                    <a:cubicBezTo>
                      <a:pt x="960" y="498"/>
                      <a:pt x="960" y="499"/>
                      <a:pt x="967" y="499"/>
                    </a:cubicBezTo>
                    <a:cubicBezTo>
                      <a:pt x="957" y="500"/>
                      <a:pt x="941" y="507"/>
                      <a:pt x="941" y="516"/>
                    </a:cubicBezTo>
                    <a:cubicBezTo>
                      <a:pt x="941" y="520"/>
                      <a:pt x="947" y="527"/>
                      <a:pt x="950" y="527"/>
                    </a:cubicBezTo>
                    <a:cubicBezTo>
                      <a:pt x="953" y="527"/>
                      <a:pt x="961" y="516"/>
                      <a:pt x="970" y="513"/>
                    </a:cubicBezTo>
                    <a:cubicBezTo>
                      <a:pt x="972" y="513"/>
                      <a:pt x="1003" y="501"/>
                      <a:pt x="1003" y="497"/>
                    </a:cubicBezTo>
                    <a:cubicBezTo>
                      <a:pt x="1003" y="493"/>
                      <a:pt x="991" y="492"/>
                      <a:pt x="988" y="492"/>
                    </a:cubicBezTo>
                    <a:cubicBezTo>
                      <a:pt x="976" y="492"/>
                      <a:pt x="955" y="480"/>
                      <a:pt x="955" y="469"/>
                    </a:cubicBezTo>
                    <a:cubicBezTo>
                      <a:pt x="955" y="466"/>
                      <a:pt x="959" y="463"/>
                      <a:pt x="960" y="458"/>
                    </a:cubicBezTo>
                    <a:cubicBezTo>
                      <a:pt x="958" y="458"/>
                      <a:pt x="953" y="457"/>
                      <a:pt x="949" y="457"/>
                    </a:cubicBezTo>
                    <a:cubicBezTo>
                      <a:pt x="951" y="453"/>
                      <a:pt x="967" y="451"/>
                      <a:pt x="967" y="442"/>
                    </a:cubicBezTo>
                    <a:cubicBezTo>
                      <a:pt x="967" y="434"/>
                      <a:pt x="954" y="436"/>
                      <a:pt x="944" y="436"/>
                    </a:cubicBezTo>
                    <a:cubicBezTo>
                      <a:pt x="925" y="436"/>
                      <a:pt x="916" y="449"/>
                      <a:pt x="903" y="451"/>
                    </a:cubicBezTo>
                    <a:cubicBezTo>
                      <a:pt x="909" y="439"/>
                      <a:pt x="918" y="443"/>
                      <a:pt x="928" y="433"/>
                    </a:cubicBezTo>
                    <a:cubicBezTo>
                      <a:pt x="934" y="427"/>
                      <a:pt x="929" y="423"/>
                      <a:pt x="939" y="420"/>
                    </a:cubicBezTo>
                    <a:cubicBezTo>
                      <a:pt x="955" y="415"/>
                      <a:pt x="965" y="418"/>
                      <a:pt x="982" y="418"/>
                    </a:cubicBezTo>
                    <a:cubicBezTo>
                      <a:pt x="1004" y="418"/>
                      <a:pt x="1016" y="425"/>
                      <a:pt x="1029" y="408"/>
                    </a:cubicBezTo>
                    <a:cubicBezTo>
                      <a:pt x="1035" y="400"/>
                      <a:pt x="1071" y="398"/>
                      <a:pt x="1071" y="384"/>
                    </a:cubicBezTo>
                    <a:cubicBezTo>
                      <a:pt x="1071" y="374"/>
                      <a:pt x="1067" y="370"/>
                      <a:pt x="1063" y="363"/>
                    </a:cubicBezTo>
                    <a:cubicBezTo>
                      <a:pt x="1060" y="363"/>
                      <a:pt x="1065" y="359"/>
                      <a:pt x="1060" y="356"/>
                    </a:cubicBezTo>
                    <a:cubicBezTo>
                      <a:pt x="1060" y="351"/>
                      <a:pt x="1060" y="351"/>
                      <a:pt x="1060" y="351"/>
                    </a:cubicBezTo>
                    <a:cubicBezTo>
                      <a:pt x="1050" y="357"/>
                      <a:pt x="1029" y="364"/>
                      <a:pt x="1018" y="364"/>
                    </a:cubicBezTo>
                    <a:cubicBezTo>
                      <a:pt x="1017" y="364"/>
                      <a:pt x="1014" y="363"/>
                      <a:pt x="1014" y="362"/>
                    </a:cubicBezTo>
                    <a:cubicBezTo>
                      <a:pt x="1022" y="358"/>
                      <a:pt x="1047" y="354"/>
                      <a:pt x="1050" y="346"/>
                    </a:cubicBezTo>
                    <a:cubicBezTo>
                      <a:pt x="1050" y="344"/>
                      <a:pt x="1046" y="343"/>
                      <a:pt x="1046" y="341"/>
                    </a:cubicBezTo>
                    <a:cubicBezTo>
                      <a:pt x="1035" y="342"/>
                      <a:pt x="1013" y="337"/>
                      <a:pt x="1013" y="322"/>
                    </a:cubicBezTo>
                    <a:cubicBezTo>
                      <a:pt x="1013" y="321"/>
                      <a:pt x="1013" y="321"/>
                      <a:pt x="1013" y="321"/>
                    </a:cubicBezTo>
                    <a:cubicBezTo>
                      <a:pt x="1003" y="321"/>
                      <a:pt x="997" y="315"/>
                      <a:pt x="991" y="310"/>
                    </a:cubicBezTo>
                    <a:cubicBezTo>
                      <a:pt x="994" y="309"/>
                      <a:pt x="998" y="308"/>
                      <a:pt x="998" y="302"/>
                    </a:cubicBezTo>
                    <a:cubicBezTo>
                      <a:pt x="998" y="298"/>
                      <a:pt x="994" y="295"/>
                      <a:pt x="995" y="290"/>
                    </a:cubicBezTo>
                    <a:cubicBezTo>
                      <a:pt x="991" y="289"/>
                      <a:pt x="977" y="280"/>
                      <a:pt x="980" y="272"/>
                    </a:cubicBezTo>
                    <a:cubicBezTo>
                      <a:pt x="985" y="262"/>
                      <a:pt x="966" y="259"/>
                      <a:pt x="965" y="247"/>
                    </a:cubicBezTo>
                    <a:cubicBezTo>
                      <a:pt x="964" y="247"/>
                      <a:pt x="959" y="243"/>
                      <a:pt x="958" y="242"/>
                    </a:cubicBezTo>
                    <a:cubicBezTo>
                      <a:pt x="954" y="244"/>
                      <a:pt x="947" y="248"/>
                      <a:pt x="947" y="254"/>
                    </a:cubicBezTo>
                    <a:cubicBezTo>
                      <a:pt x="947" y="261"/>
                      <a:pt x="933" y="277"/>
                      <a:pt x="922" y="277"/>
                    </a:cubicBezTo>
                    <a:cubicBezTo>
                      <a:pt x="914" y="277"/>
                      <a:pt x="913" y="267"/>
                      <a:pt x="908" y="267"/>
                    </a:cubicBezTo>
                    <a:cubicBezTo>
                      <a:pt x="900" y="267"/>
                      <a:pt x="897" y="246"/>
                      <a:pt x="896" y="236"/>
                    </a:cubicBezTo>
                    <a:cubicBezTo>
                      <a:pt x="894" y="224"/>
                      <a:pt x="870" y="233"/>
                      <a:pt x="870" y="216"/>
                    </a:cubicBezTo>
                    <a:cubicBezTo>
                      <a:pt x="858" y="215"/>
                      <a:pt x="855" y="200"/>
                      <a:pt x="843" y="200"/>
                    </a:cubicBezTo>
                    <a:cubicBezTo>
                      <a:pt x="837" y="200"/>
                      <a:pt x="837" y="204"/>
                      <a:pt x="831" y="204"/>
                    </a:cubicBezTo>
                    <a:cubicBezTo>
                      <a:pt x="818" y="204"/>
                      <a:pt x="810" y="197"/>
                      <a:pt x="797" y="197"/>
                    </a:cubicBezTo>
                    <a:cubicBezTo>
                      <a:pt x="791" y="197"/>
                      <a:pt x="784" y="200"/>
                      <a:pt x="784" y="208"/>
                    </a:cubicBezTo>
                    <a:cubicBezTo>
                      <a:pt x="784" y="212"/>
                      <a:pt x="800" y="218"/>
                      <a:pt x="786" y="227"/>
                    </a:cubicBezTo>
                    <a:cubicBezTo>
                      <a:pt x="780" y="231"/>
                      <a:pt x="794" y="241"/>
                      <a:pt x="794" y="247"/>
                    </a:cubicBezTo>
                    <a:cubicBezTo>
                      <a:pt x="796" y="260"/>
                      <a:pt x="783" y="264"/>
                      <a:pt x="778" y="266"/>
                    </a:cubicBezTo>
                    <a:cubicBezTo>
                      <a:pt x="788" y="283"/>
                      <a:pt x="803" y="289"/>
                      <a:pt x="803" y="318"/>
                    </a:cubicBezTo>
                    <a:cubicBezTo>
                      <a:pt x="803" y="326"/>
                      <a:pt x="777" y="346"/>
                      <a:pt x="768" y="347"/>
                    </a:cubicBezTo>
                    <a:cubicBezTo>
                      <a:pt x="783" y="355"/>
                      <a:pt x="777" y="379"/>
                      <a:pt x="783" y="387"/>
                    </a:cubicBezTo>
                    <a:cubicBezTo>
                      <a:pt x="782" y="389"/>
                      <a:pt x="776" y="392"/>
                      <a:pt x="775" y="397"/>
                    </a:cubicBezTo>
                    <a:cubicBezTo>
                      <a:pt x="770" y="397"/>
                      <a:pt x="766" y="406"/>
                      <a:pt x="762" y="403"/>
                    </a:cubicBezTo>
                    <a:cubicBezTo>
                      <a:pt x="751" y="394"/>
                      <a:pt x="736" y="380"/>
                      <a:pt x="736" y="367"/>
                    </a:cubicBezTo>
                    <a:cubicBezTo>
                      <a:pt x="736" y="353"/>
                      <a:pt x="738" y="342"/>
                      <a:pt x="726" y="334"/>
                    </a:cubicBezTo>
                    <a:cubicBezTo>
                      <a:pt x="697" y="334"/>
                      <a:pt x="697" y="334"/>
                      <a:pt x="697" y="334"/>
                    </a:cubicBezTo>
                    <a:cubicBezTo>
                      <a:pt x="681" y="322"/>
                      <a:pt x="662" y="315"/>
                      <a:pt x="643" y="308"/>
                    </a:cubicBezTo>
                    <a:cubicBezTo>
                      <a:pt x="640" y="306"/>
                      <a:pt x="629" y="299"/>
                      <a:pt x="623" y="299"/>
                    </a:cubicBezTo>
                    <a:cubicBezTo>
                      <a:pt x="617" y="299"/>
                      <a:pt x="614" y="306"/>
                      <a:pt x="607" y="306"/>
                    </a:cubicBezTo>
                    <a:cubicBezTo>
                      <a:pt x="607" y="295"/>
                      <a:pt x="600" y="270"/>
                      <a:pt x="590" y="270"/>
                    </a:cubicBezTo>
                    <a:cubicBezTo>
                      <a:pt x="586" y="270"/>
                      <a:pt x="584" y="274"/>
                      <a:pt x="579" y="275"/>
                    </a:cubicBezTo>
                    <a:cubicBezTo>
                      <a:pt x="581" y="269"/>
                      <a:pt x="579" y="268"/>
                      <a:pt x="579" y="255"/>
                    </a:cubicBezTo>
                    <a:cubicBezTo>
                      <a:pt x="579" y="237"/>
                      <a:pt x="584" y="227"/>
                      <a:pt x="595" y="216"/>
                    </a:cubicBezTo>
                    <a:cubicBezTo>
                      <a:pt x="598" y="213"/>
                      <a:pt x="606" y="196"/>
                      <a:pt x="609" y="194"/>
                    </a:cubicBezTo>
                    <a:cubicBezTo>
                      <a:pt x="617" y="192"/>
                      <a:pt x="630" y="196"/>
                      <a:pt x="630" y="186"/>
                    </a:cubicBezTo>
                    <a:cubicBezTo>
                      <a:pt x="630" y="179"/>
                      <a:pt x="613" y="178"/>
                      <a:pt x="607" y="175"/>
                    </a:cubicBezTo>
                    <a:cubicBezTo>
                      <a:pt x="611" y="176"/>
                      <a:pt x="597" y="167"/>
                      <a:pt x="633" y="178"/>
                    </a:cubicBezTo>
                    <a:cubicBezTo>
                      <a:pt x="643" y="181"/>
                      <a:pt x="637" y="169"/>
                      <a:pt x="642" y="169"/>
                    </a:cubicBezTo>
                    <a:cubicBezTo>
                      <a:pt x="643" y="169"/>
                      <a:pt x="647" y="169"/>
                      <a:pt x="652" y="169"/>
                    </a:cubicBezTo>
                    <a:cubicBezTo>
                      <a:pt x="662" y="169"/>
                      <a:pt x="668" y="158"/>
                      <a:pt x="675" y="153"/>
                    </a:cubicBezTo>
                    <a:cubicBezTo>
                      <a:pt x="675" y="146"/>
                      <a:pt x="675" y="146"/>
                      <a:pt x="675" y="146"/>
                    </a:cubicBezTo>
                    <a:cubicBezTo>
                      <a:pt x="660" y="142"/>
                      <a:pt x="645" y="145"/>
                      <a:pt x="639" y="131"/>
                    </a:cubicBezTo>
                    <a:cubicBezTo>
                      <a:pt x="639" y="131"/>
                      <a:pt x="643" y="131"/>
                      <a:pt x="647" y="131"/>
                    </a:cubicBezTo>
                    <a:cubicBezTo>
                      <a:pt x="652" y="135"/>
                      <a:pt x="658" y="141"/>
                      <a:pt x="666" y="141"/>
                    </a:cubicBezTo>
                    <a:cubicBezTo>
                      <a:pt x="673" y="141"/>
                      <a:pt x="686" y="132"/>
                      <a:pt x="686" y="127"/>
                    </a:cubicBezTo>
                    <a:cubicBezTo>
                      <a:pt x="686" y="125"/>
                      <a:pt x="680" y="117"/>
                      <a:pt x="683" y="117"/>
                    </a:cubicBezTo>
                    <a:cubicBezTo>
                      <a:pt x="693" y="117"/>
                      <a:pt x="696" y="126"/>
                      <a:pt x="703" y="126"/>
                    </a:cubicBezTo>
                    <a:cubicBezTo>
                      <a:pt x="707" y="126"/>
                      <a:pt x="709" y="123"/>
                      <a:pt x="717" y="123"/>
                    </a:cubicBezTo>
                    <a:cubicBezTo>
                      <a:pt x="715" y="120"/>
                      <a:pt x="717" y="112"/>
                      <a:pt x="722" y="120"/>
                    </a:cubicBezTo>
                    <a:cubicBezTo>
                      <a:pt x="725" y="125"/>
                      <a:pt x="748" y="105"/>
                      <a:pt x="748" y="100"/>
                    </a:cubicBezTo>
                    <a:cubicBezTo>
                      <a:pt x="748" y="96"/>
                      <a:pt x="738" y="91"/>
                      <a:pt x="738" y="89"/>
                    </a:cubicBezTo>
                    <a:cubicBezTo>
                      <a:pt x="738" y="85"/>
                      <a:pt x="732" y="78"/>
                      <a:pt x="746" y="72"/>
                    </a:cubicBezTo>
                    <a:cubicBezTo>
                      <a:pt x="748" y="68"/>
                      <a:pt x="746" y="68"/>
                      <a:pt x="746" y="61"/>
                    </a:cubicBezTo>
                    <a:cubicBezTo>
                      <a:pt x="732" y="61"/>
                      <a:pt x="735" y="50"/>
                      <a:pt x="717" y="50"/>
                    </a:cubicBezTo>
                    <a:cubicBezTo>
                      <a:pt x="713" y="49"/>
                      <a:pt x="710" y="47"/>
                      <a:pt x="706" y="47"/>
                    </a:cubicBezTo>
                    <a:cubicBezTo>
                      <a:pt x="701" y="47"/>
                      <a:pt x="695" y="50"/>
                      <a:pt x="695" y="55"/>
                    </a:cubicBezTo>
                    <a:cubicBezTo>
                      <a:pt x="695" y="61"/>
                      <a:pt x="702" y="63"/>
                      <a:pt x="702" y="67"/>
                    </a:cubicBezTo>
                    <a:cubicBezTo>
                      <a:pt x="702" y="72"/>
                      <a:pt x="692" y="72"/>
                      <a:pt x="689" y="76"/>
                    </a:cubicBezTo>
                    <a:cubicBezTo>
                      <a:pt x="686" y="84"/>
                      <a:pt x="687" y="90"/>
                      <a:pt x="681" y="98"/>
                    </a:cubicBezTo>
                    <a:cubicBezTo>
                      <a:pt x="671" y="110"/>
                      <a:pt x="658" y="90"/>
                      <a:pt x="658" y="85"/>
                    </a:cubicBezTo>
                    <a:cubicBezTo>
                      <a:pt x="658" y="79"/>
                      <a:pt x="665" y="81"/>
                      <a:pt x="665" y="74"/>
                    </a:cubicBezTo>
                    <a:cubicBezTo>
                      <a:pt x="665" y="71"/>
                      <a:pt x="652" y="59"/>
                      <a:pt x="649" y="59"/>
                    </a:cubicBezTo>
                    <a:cubicBezTo>
                      <a:pt x="636" y="59"/>
                      <a:pt x="645" y="78"/>
                      <a:pt x="631" y="78"/>
                    </a:cubicBezTo>
                    <a:cubicBezTo>
                      <a:pt x="631" y="70"/>
                      <a:pt x="630" y="65"/>
                      <a:pt x="621" y="60"/>
                    </a:cubicBezTo>
                    <a:cubicBezTo>
                      <a:pt x="622" y="58"/>
                      <a:pt x="623" y="57"/>
                      <a:pt x="625" y="55"/>
                    </a:cubicBezTo>
                    <a:cubicBezTo>
                      <a:pt x="618" y="51"/>
                      <a:pt x="609" y="55"/>
                      <a:pt x="603" y="48"/>
                    </a:cubicBezTo>
                    <a:cubicBezTo>
                      <a:pt x="606" y="47"/>
                      <a:pt x="614" y="44"/>
                      <a:pt x="614" y="38"/>
                    </a:cubicBezTo>
                    <a:cubicBezTo>
                      <a:pt x="614" y="29"/>
                      <a:pt x="601" y="30"/>
                      <a:pt x="601" y="23"/>
                    </a:cubicBezTo>
                    <a:cubicBezTo>
                      <a:pt x="601" y="10"/>
                      <a:pt x="591" y="1"/>
                      <a:pt x="574" y="0"/>
                    </a:cubicBezTo>
                    <a:cubicBezTo>
                      <a:pt x="565" y="0"/>
                      <a:pt x="569" y="6"/>
                      <a:pt x="569" y="10"/>
                    </a:cubicBezTo>
                    <a:cubicBezTo>
                      <a:pt x="564" y="11"/>
                      <a:pt x="557" y="10"/>
                      <a:pt x="557" y="17"/>
                    </a:cubicBezTo>
                    <a:cubicBezTo>
                      <a:pt x="557" y="21"/>
                      <a:pt x="561" y="23"/>
                      <a:pt x="561" y="28"/>
                    </a:cubicBezTo>
                    <a:cubicBezTo>
                      <a:pt x="561" y="32"/>
                      <a:pt x="555" y="32"/>
                      <a:pt x="555" y="38"/>
                    </a:cubicBezTo>
                    <a:cubicBezTo>
                      <a:pt x="555" y="52"/>
                      <a:pt x="585" y="44"/>
                      <a:pt x="585" y="59"/>
                    </a:cubicBezTo>
                    <a:cubicBezTo>
                      <a:pt x="585" y="61"/>
                      <a:pt x="581" y="72"/>
                      <a:pt x="581" y="72"/>
                    </a:cubicBezTo>
                    <a:cubicBezTo>
                      <a:pt x="584" y="70"/>
                      <a:pt x="587" y="69"/>
                      <a:pt x="591" y="67"/>
                    </a:cubicBezTo>
                    <a:cubicBezTo>
                      <a:pt x="596" y="85"/>
                      <a:pt x="567" y="77"/>
                      <a:pt x="567" y="98"/>
                    </a:cubicBezTo>
                    <a:cubicBezTo>
                      <a:pt x="553" y="102"/>
                      <a:pt x="564" y="88"/>
                      <a:pt x="561" y="83"/>
                    </a:cubicBezTo>
                    <a:cubicBezTo>
                      <a:pt x="559" y="81"/>
                      <a:pt x="547" y="78"/>
                      <a:pt x="541" y="78"/>
                    </a:cubicBezTo>
                    <a:cubicBezTo>
                      <a:pt x="533" y="78"/>
                      <a:pt x="530" y="82"/>
                      <a:pt x="530" y="92"/>
                    </a:cubicBezTo>
                    <a:cubicBezTo>
                      <a:pt x="522" y="91"/>
                      <a:pt x="517" y="92"/>
                      <a:pt x="492" y="92"/>
                    </a:cubicBezTo>
                    <a:cubicBezTo>
                      <a:pt x="468" y="92"/>
                      <a:pt x="441" y="83"/>
                      <a:pt x="435" y="65"/>
                    </a:cubicBezTo>
                    <a:cubicBezTo>
                      <a:pt x="427" y="67"/>
                      <a:pt x="400" y="68"/>
                      <a:pt x="400" y="78"/>
                    </a:cubicBezTo>
                    <a:cubicBezTo>
                      <a:pt x="400" y="81"/>
                      <a:pt x="403" y="82"/>
                      <a:pt x="406" y="82"/>
                    </a:cubicBezTo>
                    <a:cubicBezTo>
                      <a:pt x="413" y="82"/>
                      <a:pt x="425" y="79"/>
                      <a:pt x="430" y="75"/>
                    </a:cubicBezTo>
                    <a:cubicBezTo>
                      <a:pt x="432" y="90"/>
                      <a:pt x="409" y="78"/>
                      <a:pt x="409" y="93"/>
                    </a:cubicBezTo>
                    <a:cubicBezTo>
                      <a:pt x="409" y="96"/>
                      <a:pt x="414" y="106"/>
                      <a:pt x="412" y="106"/>
                    </a:cubicBezTo>
                    <a:cubicBezTo>
                      <a:pt x="403" y="106"/>
                      <a:pt x="401" y="95"/>
                      <a:pt x="394" y="92"/>
                    </a:cubicBezTo>
                    <a:cubicBezTo>
                      <a:pt x="387" y="89"/>
                      <a:pt x="387" y="89"/>
                      <a:pt x="387" y="89"/>
                    </a:cubicBezTo>
                    <a:cubicBezTo>
                      <a:pt x="377" y="89"/>
                      <a:pt x="370" y="89"/>
                      <a:pt x="359" y="89"/>
                    </a:cubicBezTo>
                    <a:cubicBezTo>
                      <a:pt x="350" y="89"/>
                      <a:pt x="344" y="92"/>
                      <a:pt x="335" y="93"/>
                    </a:cubicBezTo>
                    <a:cubicBezTo>
                      <a:pt x="317" y="93"/>
                      <a:pt x="317" y="87"/>
                      <a:pt x="317" y="86"/>
                    </a:cubicBezTo>
                    <a:cubicBezTo>
                      <a:pt x="317" y="82"/>
                      <a:pt x="331" y="83"/>
                      <a:pt x="333" y="81"/>
                    </a:cubicBezTo>
                    <a:cubicBezTo>
                      <a:pt x="321" y="64"/>
                      <a:pt x="323" y="66"/>
                      <a:pt x="298" y="68"/>
                    </a:cubicBezTo>
                    <a:cubicBezTo>
                      <a:pt x="271" y="70"/>
                      <a:pt x="258" y="48"/>
                      <a:pt x="231" y="48"/>
                    </a:cubicBezTo>
                    <a:cubicBezTo>
                      <a:pt x="223" y="48"/>
                      <a:pt x="219" y="54"/>
                      <a:pt x="212" y="54"/>
                    </a:cubicBezTo>
                    <a:cubicBezTo>
                      <a:pt x="207" y="54"/>
                      <a:pt x="202" y="46"/>
                      <a:pt x="202" y="42"/>
                    </a:cubicBezTo>
                    <a:cubicBezTo>
                      <a:pt x="193" y="44"/>
                      <a:pt x="193" y="54"/>
                      <a:pt x="184" y="54"/>
                    </a:cubicBezTo>
                    <a:cubicBezTo>
                      <a:pt x="176" y="54"/>
                      <a:pt x="164" y="34"/>
                      <a:pt x="161" y="34"/>
                    </a:cubicBezTo>
                    <a:cubicBezTo>
                      <a:pt x="153" y="34"/>
                      <a:pt x="156" y="47"/>
                      <a:pt x="146" y="47"/>
                    </a:cubicBezTo>
                    <a:cubicBezTo>
                      <a:pt x="143" y="47"/>
                      <a:pt x="140" y="44"/>
                      <a:pt x="138" y="40"/>
                    </a:cubicBezTo>
                    <a:cubicBezTo>
                      <a:pt x="125" y="44"/>
                      <a:pt x="120" y="44"/>
                      <a:pt x="108" y="49"/>
                    </a:cubicBezTo>
                    <a:cubicBezTo>
                      <a:pt x="103" y="50"/>
                      <a:pt x="91" y="59"/>
                      <a:pt x="87" y="55"/>
                    </a:cubicBezTo>
                    <a:cubicBezTo>
                      <a:pt x="76" y="44"/>
                      <a:pt x="78" y="58"/>
                      <a:pt x="74" y="58"/>
                    </a:cubicBezTo>
                    <a:cubicBezTo>
                      <a:pt x="45" y="59"/>
                      <a:pt x="65" y="70"/>
                      <a:pt x="61" y="70"/>
                    </a:cubicBezTo>
                    <a:cubicBezTo>
                      <a:pt x="50" y="70"/>
                      <a:pt x="30" y="67"/>
                      <a:pt x="12" y="56"/>
                    </a:cubicBezTo>
                    <a:cubicBezTo>
                      <a:pt x="11" y="56"/>
                      <a:pt x="6" y="52"/>
                      <a:pt x="6" y="51"/>
                    </a:cubicBezTo>
                    <a:cubicBezTo>
                      <a:pt x="3" y="52"/>
                      <a:pt x="5" y="52"/>
                      <a:pt x="0" y="51"/>
                    </a:cubicBezTo>
                    <a:cubicBezTo>
                      <a:pt x="0" y="242"/>
                      <a:pt x="0" y="242"/>
                      <a:pt x="0" y="242"/>
                    </a:cubicBezTo>
                    <a:cubicBezTo>
                      <a:pt x="6" y="247"/>
                      <a:pt x="19" y="240"/>
                      <a:pt x="25" y="248"/>
                    </a:cubicBezTo>
                    <a:cubicBezTo>
                      <a:pt x="29" y="254"/>
                      <a:pt x="38" y="266"/>
                      <a:pt x="47" y="266"/>
                    </a:cubicBezTo>
                    <a:cubicBezTo>
                      <a:pt x="53" y="266"/>
                      <a:pt x="53" y="257"/>
                      <a:pt x="59" y="255"/>
                    </a:cubicBezTo>
                    <a:cubicBezTo>
                      <a:pt x="62" y="254"/>
                      <a:pt x="64" y="255"/>
                      <a:pt x="67" y="253"/>
                    </a:cubicBezTo>
                    <a:cubicBezTo>
                      <a:pt x="81" y="266"/>
                      <a:pt x="87" y="271"/>
                      <a:pt x="99" y="288"/>
                    </a:cubicBezTo>
                    <a:cubicBezTo>
                      <a:pt x="100" y="290"/>
                      <a:pt x="103" y="291"/>
                      <a:pt x="105" y="295"/>
                    </a:cubicBezTo>
                    <a:cubicBezTo>
                      <a:pt x="106" y="300"/>
                      <a:pt x="108" y="306"/>
                      <a:pt x="113" y="311"/>
                    </a:cubicBezTo>
                    <a:cubicBezTo>
                      <a:pt x="116" y="314"/>
                      <a:pt x="121" y="313"/>
                      <a:pt x="124" y="316"/>
                    </a:cubicBezTo>
                    <a:cubicBezTo>
                      <a:pt x="128" y="320"/>
                      <a:pt x="135" y="322"/>
                      <a:pt x="135" y="332"/>
                    </a:cubicBezTo>
                    <a:cubicBezTo>
                      <a:pt x="135" y="336"/>
                      <a:pt x="129" y="337"/>
                      <a:pt x="129" y="340"/>
                    </a:cubicBezTo>
                    <a:cubicBezTo>
                      <a:pt x="129" y="343"/>
                      <a:pt x="132" y="344"/>
                      <a:pt x="132" y="347"/>
                    </a:cubicBezTo>
                    <a:cubicBezTo>
                      <a:pt x="132" y="352"/>
                      <a:pt x="130" y="364"/>
                      <a:pt x="136" y="366"/>
                    </a:cubicBezTo>
                    <a:cubicBezTo>
                      <a:pt x="140" y="367"/>
                      <a:pt x="143" y="367"/>
                      <a:pt x="146" y="370"/>
                    </a:cubicBezTo>
                    <a:cubicBezTo>
                      <a:pt x="150" y="373"/>
                      <a:pt x="145" y="379"/>
                      <a:pt x="150" y="383"/>
                    </a:cubicBezTo>
                    <a:cubicBezTo>
                      <a:pt x="150" y="383"/>
                      <a:pt x="162" y="390"/>
                      <a:pt x="162" y="391"/>
                    </a:cubicBezTo>
                    <a:cubicBezTo>
                      <a:pt x="165" y="401"/>
                      <a:pt x="166" y="413"/>
                      <a:pt x="181" y="413"/>
                    </a:cubicBezTo>
                    <a:cubicBezTo>
                      <a:pt x="183" y="422"/>
                      <a:pt x="199" y="416"/>
                      <a:pt x="202" y="428"/>
                    </a:cubicBezTo>
                    <a:cubicBezTo>
                      <a:pt x="204" y="432"/>
                      <a:pt x="215" y="433"/>
                      <a:pt x="219" y="437"/>
                    </a:cubicBezTo>
                    <a:cubicBezTo>
                      <a:pt x="220" y="438"/>
                      <a:pt x="222" y="439"/>
                      <a:pt x="224" y="440"/>
                    </a:cubicBezTo>
                    <a:cubicBezTo>
                      <a:pt x="224" y="440"/>
                      <a:pt x="224" y="440"/>
                      <a:pt x="224" y="440"/>
                    </a:cubicBezTo>
                    <a:cubicBezTo>
                      <a:pt x="577" y="440"/>
                      <a:pt x="577" y="440"/>
                      <a:pt x="577" y="440"/>
                    </a:cubicBezTo>
                    <a:cubicBezTo>
                      <a:pt x="577" y="435"/>
                      <a:pt x="577" y="435"/>
                      <a:pt x="577" y="435"/>
                    </a:cubicBezTo>
                    <a:cubicBezTo>
                      <a:pt x="583" y="439"/>
                      <a:pt x="582" y="443"/>
                      <a:pt x="588" y="446"/>
                    </a:cubicBezTo>
                    <a:cubicBezTo>
                      <a:pt x="610" y="446"/>
                      <a:pt x="610" y="446"/>
                      <a:pt x="610" y="446"/>
                    </a:cubicBezTo>
                    <a:cubicBezTo>
                      <a:pt x="619" y="455"/>
                      <a:pt x="630" y="455"/>
                      <a:pt x="647" y="455"/>
                    </a:cubicBezTo>
                    <a:cubicBezTo>
                      <a:pt x="652" y="453"/>
                      <a:pt x="653" y="455"/>
                      <a:pt x="658" y="452"/>
                    </a:cubicBezTo>
                    <a:cubicBezTo>
                      <a:pt x="662" y="450"/>
                      <a:pt x="661" y="443"/>
                      <a:pt x="665" y="443"/>
                    </a:cubicBezTo>
                    <a:cubicBezTo>
                      <a:pt x="670" y="443"/>
                      <a:pt x="674" y="451"/>
                      <a:pt x="676" y="453"/>
                    </a:cubicBezTo>
                    <a:cubicBezTo>
                      <a:pt x="677" y="451"/>
                      <a:pt x="676" y="448"/>
                      <a:pt x="676" y="447"/>
                    </a:cubicBezTo>
                    <a:cubicBezTo>
                      <a:pt x="677" y="447"/>
                      <a:pt x="678" y="447"/>
                      <a:pt x="680" y="447"/>
                    </a:cubicBezTo>
                    <a:cubicBezTo>
                      <a:pt x="682" y="447"/>
                      <a:pt x="701" y="462"/>
                      <a:pt x="702" y="463"/>
                    </a:cubicBezTo>
                    <a:cubicBezTo>
                      <a:pt x="704" y="469"/>
                      <a:pt x="702" y="473"/>
                      <a:pt x="705" y="477"/>
                    </a:cubicBezTo>
                    <a:cubicBezTo>
                      <a:pt x="715" y="487"/>
                      <a:pt x="729" y="485"/>
                      <a:pt x="740" y="492"/>
                    </a:cubicBezTo>
                    <a:cubicBezTo>
                      <a:pt x="752" y="492"/>
                      <a:pt x="752" y="492"/>
                      <a:pt x="752" y="492"/>
                    </a:cubicBezTo>
                    <a:cubicBezTo>
                      <a:pt x="757" y="495"/>
                      <a:pt x="763" y="500"/>
                      <a:pt x="763" y="506"/>
                    </a:cubicBezTo>
                    <a:cubicBezTo>
                      <a:pt x="763" y="509"/>
                      <a:pt x="762" y="512"/>
                      <a:pt x="759" y="512"/>
                    </a:cubicBezTo>
                    <a:cubicBezTo>
                      <a:pt x="754" y="512"/>
                      <a:pt x="748" y="506"/>
                      <a:pt x="747" y="504"/>
                    </a:cubicBezTo>
                    <a:cubicBezTo>
                      <a:pt x="745" y="511"/>
                      <a:pt x="741" y="532"/>
                      <a:pt x="735" y="532"/>
                    </a:cubicBezTo>
                    <a:cubicBezTo>
                      <a:pt x="730" y="538"/>
                      <a:pt x="725" y="541"/>
                      <a:pt x="725" y="547"/>
                    </a:cubicBezTo>
                    <a:cubicBezTo>
                      <a:pt x="726" y="549"/>
                      <a:pt x="729" y="553"/>
                      <a:pt x="732" y="553"/>
                    </a:cubicBezTo>
                    <a:cubicBezTo>
                      <a:pt x="736" y="553"/>
                      <a:pt x="736" y="550"/>
                      <a:pt x="738" y="548"/>
                    </a:cubicBezTo>
                    <a:cubicBezTo>
                      <a:pt x="742" y="544"/>
                      <a:pt x="748" y="545"/>
                      <a:pt x="755" y="545"/>
                    </a:cubicBezTo>
                    <a:cubicBezTo>
                      <a:pt x="760" y="545"/>
                      <a:pt x="763" y="548"/>
                      <a:pt x="765" y="546"/>
                    </a:cubicBezTo>
                    <a:cubicBezTo>
                      <a:pt x="768" y="545"/>
                      <a:pt x="770" y="544"/>
                      <a:pt x="772" y="543"/>
                    </a:cubicBezTo>
                    <a:cubicBezTo>
                      <a:pt x="772" y="540"/>
                      <a:pt x="771" y="538"/>
                      <a:pt x="770" y="536"/>
                    </a:cubicBezTo>
                    <a:cubicBezTo>
                      <a:pt x="769" y="534"/>
                      <a:pt x="767" y="533"/>
                      <a:pt x="767" y="531"/>
                    </a:cubicBezTo>
                    <a:cubicBezTo>
                      <a:pt x="767" y="529"/>
                      <a:pt x="771" y="528"/>
                      <a:pt x="773" y="528"/>
                    </a:cubicBezTo>
                    <a:cubicBezTo>
                      <a:pt x="782" y="525"/>
                      <a:pt x="803" y="519"/>
                      <a:pt x="814" y="519"/>
                    </a:cubicBezTo>
                    <a:cubicBezTo>
                      <a:pt x="815" y="519"/>
                      <a:pt x="831" y="503"/>
                      <a:pt x="834" y="501"/>
                    </a:cubicBezTo>
                    <a:cubicBezTo>
                      <a:pt x="836" y="499"/>
                      <a:pt x="847" y="500"/>
                      <a:pt x="857" y="500"/>
                    </a:cubicBezTo>
                    <a:cubicBezTo>
                      <a:pt x="861" y="500"/>
                      <a:pt x="864" y="500"/>
                      <a:pt x="868" y="500"/>
                    </a:cubicBezTo>
                    <a:cubicBezTo>
                      <a:pt x="872" y="500"/>
                      <a:pt x="876" y="498"/>
                      <a:pt x="879" y="498"/>
                    </a:cubicBezTo>
                    <a:cubicBezTo>
                      <a:pt x="884" y="497"/>
                      <a:pt x="882" y="496"/>
                      <a:pt x="884" y="494"/>
                    </a:cubicBezTo>
                    <a:cubicBezTo>
                      <a:pt x="892" y="486"/>
                      <a:pt x="892" y="471"/>
                      <a:pt x="903" y="463"/>
                    </a:cubicBezTo>
                    <a:cubicBezTo>
                      <a:pt x="908" y="470"/>
                      <a:pt x="916" y="460"/>
                      <a:pt x="920" y="467"/>
                    </a:cubicBezTo>
                    <a:cubicBezTo>
                      <a:pt x="926" y="478"/>
                      <a:pt x="922" y="494"/>
                      <a:pt x="928" y="505"/>
                    </a:cubicBezTo>
                    <a:lnTo>
                      <a:pt x="928" y="5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1" name="Freeform 51"/>
              <p:cNvSpPr>
                <a:spLocks/>
              </p:cNvSpPr>
              <p:nvPr/>
            </p:nvSpPr>
            <p:spPr bwMode="auto">
              <a:xfrm>
                <a:off x="1585913" y="1417638"/>
                <a:ext cx="623888" cy="457200"/>
              </a:xfrm>
              <a:custGeom>
                <a:avLst/>
                <a:gdLst/>
                <a:ahLst/>
                <a:cxnLst>
                  <a:cxn ang="0">
                    <a:pos x="334" y="228"/>
                  </a:cxn>
                  <a:cxn ang="0">
                    <a:pos x="381" y="252"/>
                  </a:cxn>
                  <a:cxn ang="0">
                    <a:pos x="401" y="239"/>
                  </a:cxn>
                  <a:cxn ang="0">
                    <a:pos x="439" y="281"/>
                  </a:cxn>
                  <a:cxn ang="0">
                    <a:pos x="458" y="302"/>
                  </a:cxn>
                  <a:cxn ang="0">
                    <a:pos x="463" y="326"/>
                  </a:cxn>
                  <a:cxn ang="0">
                    <a:pos x="440" y="314"/>
                  </a:cxn>
                  <a:cxn ang="0">
                    <a:pos x="427" y="300"/>
                  </a:cxn>
                  <a:cxn ang="0">
                    <a:pos x="426" y="286"/>
                  </a:cxn>
                  <a:cxn ang="0">
                    <a:pos x="414" y="286"/>
                  </a:cxn>
                  <a:cxn ang="0">
                    <a:pos x="412" y="270"/>
                  </a:cxn>
                  <a:cxn ang="0">
                    <a:pos x="390" y="261"/>
                  </a:cxn>
                  <a:cxn ang="0">
                    <a:pos x="363" y="252"/>
                  </a:cxn>
                  <a:cxn ang="0">
                    <a:pos x="299" y="236"/>
                  </a:cxn>
                  <a:cxn ang="0">
                    <a:pos x="240" y="221"/>
                  </a:cxn>
                  <a:cxn ang="0">
                    <a:pos x="200" y="252"/>
                  </a:cxn>
                  <a:cxn ang="0">
                    <a:pos x="199" y="245"/>
                  </a:cxn>
                  <a:cxn ang="0">
                    <a:pos x="218" y="219"/>
                  </a:cxn>
                  <a:cxn ang="0">
                    <a:pos x="213" y="214"/>
                  </a:cxn>
                  <a:cxn ang="0">
                    <a:pos x="173" y="260"/>
                  </a:cxn>
                  <a:cxn ang="0">
                    <a:pos x="143" y="288"/>
                  </a:cxn>
                  <a:cxn ang="0">
                    <a:pos x="79" y="322"/>
                  </a:cxn>
                  <a:cxn ang="0">
                    <a:pos x="57" y="328"/>
                  </a:cxn>
                  <a:cxn ang="0">
                    <a:pos x="92" y="307"/>
                  </a:cxn>
                  <a:cxn ang="0">
                    <a:pos x="148" y="256"/>
                  </a:cxn>
                  <a:cxn ang="0">
                    <a:pos x="125" y="262"/>
                  </a:cxn>
                  <a:cxn ang="0">
                    <a:pos x="110" y="266"/>
                  </a:cxn>
                  <a:cxn ang="0">
                    <a:pos x="88" y="261"/>
                  </a:cxn>
                  <a:cxn ang="0">
                    <a:pos x="76" y="264"/>
                  </a:cxn>
                  <a:cxn ang="0">
                    <a:pos x="72" y="244"/>
                  </a:cxn>
                  <a:cxn ang="0">
                    <a:pos x="60" y="245"/>
                  </a:cxn>
                  <a:cxn ang="0">
                    <a:pos x="37" y="224"/>
                  </a:cxn>
                  <a:cxn ang="0">
                    <a:pos x="52" y="180"/>
                  </a:cxn>
                  <a:cxn ang="0">
                    <a:pos x="79" y="152"/>
                  </a:cxn>
                  <a:cxn ang="0">
                    <a:pos x="85" y="145"/>
                  </a:cxn>
                  <a:cxn ang="0">
                    <a:pos x="60" y="153"/>
                  </a:cxn>
                  <a:cxn ang="0">
                    <a:pos x="18" y="150"/>
                  </a:cxn>
                  <a:cxn ang="0">
                    <a:pos x="13" y="133"/>
                  </a:cxn>
                  <a:cxn ang="0">
                    <a:pos x="40" y="106"/>
                  </a:cxn>
                  <a:cxn ang="0">
                    <a:pos x="64" y="116"/>
                  </a:cxn>
                  <a:cxn ang="0">
                    <a:pos x="50" y="95"/>
                  </a:cxn>
                  <a:cxn ang="0">
                    <a:pos x="13" y="68"/>
                  </a:cxn>
                  <a:cxn ang="0">
                    <a:pos x="44" y="56"/>
                  </a:cxn>
                  <a:cxn ang="0">
                    <a:pos x="117" y="13"/>
                  </a:cxn>
                  <a:cxn ang="0">
                    <a:pos x="150" y="7"/>
                  </a:cxn>
                  <a:cxn ang="0">
                    <a:pos x="157" y="7"/>
                  </a:cxn>
                  <a:cxn ang="0">
                    <a:pos x="189" y="11"/>
                  </a:cxn>
                  <a:cxn ang="0">
                    <a:pos x="236" y="20"/>
                  </a:cxn>
                  <a:cxn ang="0">
                    <a:pos x="307" y="28"/>
                  </a:cxn>
                  <a:cxn ang="0">
                    <a:pos x="334" y="36"/>
                  </a:cxn>
                </a:cxnLst>
                <a:rect l="0" t="0" r="r" b="b"/>
                <a:pathLst>
                  <a:path w="469" h="343">
                    <a:moveTo>
                      <a:pt x="334" y="37"/>
                    </a:moveTo>
                    <a:cubicBezTo>
                      <a:pt x="334" y="228"/>
                      <a:pt x="334" y="228"/>
                      <a:pt x="334" y="228"/>
                    </a:cubicBezTo>
                    <a:cubicBezTo>
                      <a:pt x="340" y="233"/>
                      <a:pt x="353" y="226"/>
                      <a:pt x="359" y="234"/>
                    </a:cubicBezTo>
                    <a:cubicBezTo>
                      <a:pt x="363" y="240"/>
                      <a:pt x="372" y="252"/>
                      <a:pt x="381" y="252"/>
                    </a:cubicBezTo>
                    <a:cubicBezTo>
                      <a:pt x="387" y="252"/>
                      <a:pt x="387" y="243"/>
                      <a:pt x="393" y="241"/>
                    </a:cubicBezTo>
                    <a:cubicBezTo>
                      <a:pt x="396" y="240"/>
                      <a:pt x="398" y="241"/>
                      <a:pt x="401" y="239"/>
                    </a:cubicBezTo>
                    <a:cubicBezTo>
                      <a:pt x="415" y="252"/>
                      <a:pt x="421" y="257"/>
                      <a:pt x="433" y="274"/>
                    </a:cubicBezTo>
                    <a:cubicBezTo>
                      <a:pt x="434" y="276"/>
                      <a:pt x="437" y="277"/>
                      <a:pt x="439" y="281"/>
                    </a:cubicBezTo>
                    <a:cubicBezTo>
                      <a:pt x="440" y="286"/>
                      <a:pt x="442" y="292"/>
                      <a:pt x="447" y="297"/>
                    </a:cubicBezTo>
                    <a:cubicBezTo>
                      <a:pt x="450" y="300"/>
                      <a:pt x="455" y="299"/>
                      <a:pt x="458" y="302"/>
                    </a:cubicBezTo>
                    <a:cubicBezTo>
                      <a:pt x="462" y="306"/>
                      <a:pt x="469" y="308"/>
                      <a:pt x="469" y="318"/>
                    </a:cubicBezTo>
                    <a:cubicBezTo>
                      <a:pt x="469" y="322"/>
                      <a:pt x="463" y="323"/>
                      <a:pt x="463" y="326"/>
                    </a:cubicBezTo>
                    <a:cubicBezTo>
                      <a:pt x="461" y="326"/>
                      <a:pt x="461" y="327"/>
                      <a:pt x="459" y="327"/>
                    </a:cubicBezTo>
                    <a:cubicBezTo>
                      <a:pt x="451" y="327"/>
                      <a:pt x="440" y="318"/>
                      <a:pt x="440" y="314"/>
                    </a:cubicBezTo>
                    <a:cubicBezTo>
                      <a:pt x="440" y="310"/>
                      <a:pt x="440" y="311"/>
                      <a:pt x="440" y="307"/>
                    </a:cubicBezTo>
                    <a:cubicBezTo>
                      <a:pt x="440" y="300"/>
                      <a:pt x="435" y="300"/>
                      <a:pt x="427" y="300"/>
                    </a:cubicBezTo>
                    <a:cubicBezTo>
                      <a:pt x="421" y="300"/>
                      <a:pt x="419" y="296"/>
                      <a:pt x="419" y="294"/>
                    </a:cubicBezTo>
                    <a:cubicBezTo>
                      <a:pt x="419" y="290"/>
                      <a:pt x="426" y="290"/>
                      <a:pt x="426" y="286"/>
                    </a:cubicBezTo>
                    <a:cubicBezTo>
                      <a:pt x="426" y="283"/>
                      <a:pt x="426" y="281"/>
                      <a:pt x="426" y="281"/>
                    </a:cubicBezTo>
                    <a:cubicBezTo>
                      <a:pt x="417" y="281"/>
                      <a:pt x="420" y="286"/>
                      <a:pt x="414" y="286"/>
                    </a:cubicBezTo>
                    <a:cubicBezTo>
                      <a:pt x="412" y="286"/>
                      <a:pt x="407" y="282"/>
                      <a:pt x="407" y="280"/>
                    </a:cubicBezTo>
                    <a:cubicBezTo>
                      <a:pt x="407" y="274"/>
                      <a:pt x="410" y="273"/>
                      <a:pt x="412" y="270"/>
                    </a:cubicBezTo>
                    <a:cubicBezTo>
                      <a:pt x="409" y="268"/>
                      <a:pt x="405" y="264"/>
                      <a:pt x="404" y="267"/>
                    </a:cubicBezTo>
                    <a:cubicBezTo>
                      <a:pt x="397" y="267"/>
                      <a:pt x="394" y="264"/>
                      <a:pt x="390" y="261"/>
                    </a:cubicBezTo>
                    <a:cubicBezTo>
                      <a:pt x="389" y="264"/>
                      <a:pt x="387" y="269"/>
                      <a:pt x="384" y="269"/>
                    </a:cubicBezTo>
                    <a:cubicBezTo>
                      <a:pt x="375" y="269"/>
                      <a:pt x="368" y="256"/>
                      <a:pt x="363" y="252"/>
                    </a:cubicBezTo>
                    <a:cubicBezTo>
                      <a:pt x="352" y="243"/>
                      <a:pt x="337" y="244"/>
                      <a:pt x="323" y="236"/>
                    </a:cubicBezTo>
                    <a:cubicBezTo>
                      <a:pt x="299" y="236"/>
                      <a:pt x="299" y="236"/>
                      <a:pt x="299" y="236"/>
                    </a:cubicBezTo>
                    <a:cubicBezTo>
                      <a:pt x="285" y="232"/>
                      <a:pt x="265" y="230"/>
                      <a:pt x="258" y="214"/>
                    </a:cubicBezTo>
                    <a:cubicBezTo>
                      <a:pt x="252" y="217"/>
                      <a:pt x="244" y="219"/>
                      <a:pt x="240" y="221"/>
                    </a:cubicBezTo>
                    <a:cubicBezTo>
                      <a:pt x="241" y="224"/>
                      <a:pt x="242" y="225"/>
                      <a:pt x="244" y="227"/>
                    </a:cubicBezTo>
                    <a:cubicBezTo>
                      <a:pt x="238" y="236"/>
                      <a:pt x="210" y="252"/>
                      <a:pt x="200" y="252"/>
                    </a:cubicBezTo>
                    <a:cubicBezTo>
                      <a:pt x="198" y="252"/>
                      <a:pt x="195" y="251"/>
                      <a:pt x="195" y="249"/>
                    </a:cubicBezTo>
                    <a:cubicBezTo>
                      <a:pt x="195" y="246"/>
                      <a:pt x="198" y="246"/>
                      <a:pt x="199" y="245"/>
                    </a:cubicBezTo>
                    <a:cubicBezTo>
                      <a:pt x="197" y="242"/>
                      <a:pt x="199" y="242"/>
                      <a:pt x="199" y="240"/>
                    </a:cubicBezTo>
                    <a:cubicBezTo>
                      <a:pt x="199" y="230"/>
                      <a:pt x="205" y="223"/>
                      <a:pt x="218" y="219"/>
                    </a:cubicBezTo>
                    <a:cubicBezTo>
                      <a:pt x="218" y="217"/>
                      <a:pt x="218" y="216"/>
                      <a:pt x="218" y="214"/>
                    </a:cubicBezTo>
                    <a:cubicBezTo>
                      <a:pt x="214" y="214"/>
                      <a:pt x="215" y="214"/>
                      <a:pt x="213" y="214"/>
                    </a:cubicBezTo>
                    <a:cubicBezTo>
                      <a:pt x="203" y="214"/>
                      <a:pt x="173" y="239"/>
                      <a:pt x="173" y="253"/>
                    </a:cubicBezTo>
                    <a:cubicBezTo>
                      <a:pt x="173" y="255"/>
                      <a:pt x="173" y="258"/>
                      <a:pt x="173" y="260"/>
                    </a:cubicBezTo>
                    <a:cubicBezTo>
                      <a:pt x="173" y="270"/>
                      <a:pt x="164" y="273"/>
                      <a:pt x="154" y="277"/>
                    </a:cubicBezTo>
                    <a:cubicBezTo>
                      <a:pt x="148" y="280"/>
                      <a:pt x="146" y="284"/>
                      <a:pt x="143" y="288"/>
                    </a:cubicBezTo>
                    <a:cubicBezTo>
                      <a:pt x="136" y="297"/>
                      <a:pt x="121" y="301"/>
                      <a:pt x="114" y="308"/>
                    </a:cubicBezTo>
                    <a:cubicBezTo>
                      <a:pt x="107" y="315"/>
                      <a:pt x="91" y="320"/>
                      <a:pt x="79" y="322"/>
                    </a:cubicBezTo>
                    <a:cubicBezTo>
                      <a:pt x="63" y="324"/>
                      <a:pt x="54" y="343"/>
                      <a:pt x="35" y="337"/>
                    </a:cubicBezTo>
                    <a:cubicBezTo>
                      <a:pt x="41" y="329"/>
                      <a:pt x="49" y="333"/>
                      <a:pt x="57" y="328"/>
                    </a:cubicBezTo>
                    <a:cubicBezTo>
                      <a:pt x="62" y="325"/>
                      <a:pt x="66" y="316"/>
                      <a:pt x="71" y="314"/>
                    </a:cubicBezTo>
                    <a:cubicBezTo>
                      <a:pt x="78" y="309"/>
                      <a:pt x="87" y="314"/>
                      <a:pt x="92" y="307"/>
                    </a:cubicBezTo>
                    <a:cubicBezTo>
                      <a:pt x="99" y="297"/>
                      <a:pt x="117" y="290"/>
                      <a:pt x="127" y="283"/>
                    </a:cubicBezTo>
                    <a:cubicBezTo>
                      <a:pt x="137" y="276"/>
                      <a:pt x="137" y="263"/>
                      <a:pt x="148" y="256"/>
                    </a:cubicBezTo>
                    <a:cubicBezTo>
                      <a:pt x="141" y="256"/>
                      <a:pt x="141" y="256"/>
                      <a:pt x="141" y="256"/>
                    </a:cubicBezTo>
                    <a:cubicBezTo>
                      <a:pt x="135" y="259"/>
                      <a:pt x="132" y="262"/>
                      <a:pt x="125" y="262"/>
                    </a:cubicBezTo>
                    <a:cubicBezTo>
                      <a:pt x="120" y="262"/>
                      <a:pt x="117" y="260"/>
                      <a:pt x="113" y="258"/>
                    </a:cubicBezTo>
                    <a:cubicBezTo>
                      <a:pt x="112" y="262"/>
                      <a:pt x="110" y="263"/>
                      <a:pt x="110" y="266"/>
                    </a:cubicBezTo>
                    <a:cubicBezTo>
                      <a:pt x="99" y="262"/>
                      <a:pt x="96" y="260"/>
                      <a:pt x="89" y="254"/>
                    </a:cubicBezTo>
                    <a:cubicBezTo>
                      <a:pt x="88" y="257"/>
                      <a:pt x="88" y="259"/>
                      <a:pt x="88" y="261"/>
                    </a:cubicBezTo>
                    <a:cubicBezTo>
                      <a:pt x="84" y="261"/>
                      <a:pt x="85" y="261"/>
                      <a:pt x="83" y="261"/>
                    </a:cubicBezTo>
                    <a:cubicBezTo>
                      <a:pt x="80" y="261"/>
                      <a:pt x="78" y="264"/>
                      <a:pt x="76" y="264"/>
                    </a:cubicBezTo>
                    <a:cubicBezTo>
                      <a:pt x="74" y="264"/>
                      <a:pt x="72" y="257"/>
                      <a:pt x="72" y="253"/>
                    </a:cubicBezTo>
                    <a:cubicBezTo>
                      <a:pt x="72" y="248"/>
                      <a:pt x="72" y="248"/>
                      <a:pt x="72" y="244"/>
                    </a:cubicBezTo>
                    <a:cubicBezTo>
                      <a:pt x="72" y="243"/>
                      <a:pt x="72" y="238"/>
                      <a:pt x="68" y="238"/>
                    </a:cubicBezTo>
                    <a:cubicBezTo>
                      <a:pt x="65" y="238"/>
                      <a:pt x="61" y="245"/>
                      <a:pt x="60" y="245"/>
                    </a:cubicBezTo>
                    <a:cubicBezTo>
                      <a:pt x="54" y="245"/>
                      <a:pt x="33" y="229"/>
                      <a:pt x="30" y="225"/>
                    </a:cubicBezTo>
                    <a:cubicBezTo>
                      <a:pt x="32" y="225"/>
                      <a:pt x="35" y="224"/>
                      <a:pt x="37" y="224"/>
                    </a:cubicBezTo>
                    <a:cubicBezTo>
                      <a:pt x="33" y="214"/>
                      <a:pt x="19" y="212"/>
                      <a:pt x="19" y="205"/>
                    </a:cubicBezTo>
                    <a:cubicBezTo>
                      <a:pt x="19" y="191"/>
                      <a:pt x="43" y="180"/>
                      <a:pt x="52" y="180"/>
                    </a:cubicBezTo>
                    <a:cubicBezTo>
                      <a:pt x="56" y="180"/>
                      <a:pt x="86" y="169"/>
                      <a:pt x="86" y="163"/>
                    </a:cubicBezTo>
                    <a:cubicBezTo>
                      <a:pt x="86" y="160"/>
                      <a:pt x="79" y="153"/>
                      <a:pt x="79" y="152"/>
                    </a:cubicBezTo>
                    <a:cubicBezTo>
                      <a:pt x="83" y="150"/>
                      <a:pt x="82" y="150"/>
                      <a:pt x="85" y="152"/>
                    </a:cubicBezTo>
                    <a:cubicBezTo>
                      <a:pt x="85" y="145"/>
                      <a:pt x="85" y="145"/>
                      <a:pt x="85" y="145"/>
                    </a:cubicBezTo>
                    <a:cubicBezTo>
                      <a:pt x="81" y="145"/>
                      <a:pt x="81" y="145"/>
                      <a:pt x="79" y="145"/>
                    </a:cubicBezTo>
                    <a:cubicBezTo>
                      <a:pt x="72" y="145"/>
                      <a:pt x="69" y="153"/>
                      <a:pt x="60" y="153"/>
                    </a:cubicBezTo>
                    <a:cubicBezTo>
                      <a:pt x="51" y="153"/>
                      <a:pt x="48" y="148"/>
                      <a:pt x="41" y="150"/>
                    </a:cubicBezTo>
                    <a:cubicBezTo>
                      <a:pt x="32" y="150"/>
                      <a:pt x="21" y="150"/>
                      <a:pt x="18" y="150"/>
                    </a:cubicBezTo>
                    <a:cubicBezTo>
                      <a:pt x="17" y="143"/>
                      <a:pt x="12" y="141"/>
                      <a:pt x="12" y="137"/>
                    </a:cubicBezTo>
                    <a:cubicBezTo>
                      <a:pt x="12" y="136"/>
                      <a:pt x="13" y="134"/>
                      <a:pt x="13" y="133"/>
                    </a:cubicBezTo>
                    <a:cubicBezTo>
                      <a:pt x="6" y="133"/>
                      <a:pt x="2" y="130"/>
                      <a:pt x="0" y="126"/>
                    </a:cubicBezTo>
                    <a:cubicBezTo>
                      <a:pt x="11" y="119"/>
                      <a:pt x="29" y="113"/>
                      <a:pt x="40" y="106"/>
                    </a:cubicBezTo>
                    <a:cubicBezTo>
                      <a:pt x="48" y="106"/>
                      <a:pt x="48" y="106"/>
                      <a:pt x="48" y="106"/>
                    </a:cubicBezTo>
                    <a:cubicBezTo>
                      <a:pt x="48" y="120"/>
                      <a:pt x="55" y="116"/>
                      <a:pt x="64" y="116"/>
                    </a:cubicBezTo>
                    <a:cubicBezTo>
                      <a:pt x="70" y="116"/>
                      <a:pt x="71" y="118"/>
                      <a:pt x="76" y="116"/>
                    </a:cubicBezTo>
                    <a:cubicBezTo>
                      <a:pt x="72" y="102"/>
                      <a:pt x="63" y="101"/>
                      <a:pt x="50" y="95"/>
                    </a:cubicBezTo>
                    <a:cubicBezTo>
                      <a:pt x="46" y="94"/>
                      <a:pt x="41" y="80"/>
                      <a:pt x="37" y="78"/>
                    </a:cubicBezTo>
                    <a:cubicBezTo>
                      <a:pt x="31" y="75"/>
                      <a:pt x="13" y="71"/>
                      <a:pt x="13" y="68"/>
                    </a:cubicBezTo>
                    <a:cubicBezTo>
                      <a:pt x="13" y="68"/>
                      <a:pt x="20" y="57"/>
                      <a:pt x="20" y="56"/>
                    </a:cubicBezTo>
                    <a:cubicBezTo>
                      <a:pt x="44" y="56"/>
                      <a:pt x="44" y="56"/>
                      <a:pt x="44" y="56"/>
                    </a:cubicBezTo>
                    <a:cubicBezTo>
                      <a:pt x="57" y="38"/>
                      <a:pt x="77" y="21"/>
                      <a:pt x="101" y="14"/>
                    </a:cubicBezTo>
                    <a:cubicBezTo>
                      <a:pt x="107" y="12"/>
                      <a:pt x="111" y="15"/>
                      <a:pt x="117" y="13"/>
                    </a:cubicBezTo>
                    <a:cubicBezTo>
                      <a:pt x="124" y="10"/>
                      <a:pt x="128" y="0"/>
                      <a:pt x="136" y="0"/>
                    </a:cubicBezTo>
                    <a:cubicBezTo>
                      <a:pt x="142" y="0"/>
                      <a:pt x="144" y="5"/>
                      <a:pt x="150" y="7"/>
                    </a:cubicBezTo>
                    <a:cubicBezTo>
                      <a:pt x="147" y="10"/>
                      <a:pt x="147" y="11"/>
                      <a:pt x="146" y="13"/>
                    </a:cubicBezTo>
                    <a:cubicBezTo>
                      <a:pt x="150" y="14"/>
                      <a:pt x="154" y="11"/>
                      <a:pt x="157" y="7"/>
                    </a:cubicBezTo>
                    <a:cubicBezTo>
                      <a:pt x="162" y="9"/>
                      <a:pt x="163" y="10"/>
                      <a:pt x="167" y="11"/>
                    </a:cubicBezTo>
                    <a:cubicBezTo>
                      <a:pt x="189" y="11"/>
                      <a:pt x="189" y="11"/>
                      <a:pt x="189" y="11"/>
                    </a:cubicBezTo>
                    <a:cubicBezTo>
                      <a:pt x="194" y="15"/>
                      <a:pt x="196" y="17"/>
                      <a:pt x="202" y="20"/>
                    </a:cubicBezTo>
                    <a:cubicBezTo>
                      <a:pt x="236" y="20"/>
                      <a:pt x="236" y="20"/>
                      <a:pt x="236" y="20"/>
                    </a:cubicBezTo>
                    <a:cubicBezTo>
                      <a:pt x="245" y="29"/>
                      <a:pt x="272" y="31"/>
                      <a:pt x="286" y="31"/>
                    </a:cubicBezTo>
                    <a:cubicBezTo>
                      <a:pt x="294" y="31"/>
                      <a:pt x="299" y="28"/>
                      <a:pt x="307" y="28"/>
                    </a:cubicBezTo>
                    <a:cubicBezTo>
                      <a:pt x="319" y="28"/>
                      <a:pt x="323" y="34"/>
                      <a:pt x="334" y="37"/>
                    </a:cubicBezTo>
                    <a:cubicBezTo>
                      <a:pt x="334" y="36"/>
                      <a:pt x="334" y="36"/>
                      <a:pt x="334" y="36"/>
                    </a:cubicBezTo>
                    <a:lnTo>
                      <a:pt x="334"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2" name="Freeform 52"/>
              <p:cNvSpPr>
                <a:spLocks/>
              </p:cNvSpPr>
              <p:nvPr/>
            </p:nvSpPr>
            <p:spPr bwMode="auto">
              <a:xfrm>
                <a:off x="2149475" y="1820863"/>
                <a:ext cx="28575" cy="38100"/>
              </a:xfrm>
              <a:custGeom>
                <a:avLst/>
                <a:gdLst/>
                <a:ahLst/>
                <a:cxnLst>
                  <a:cxn ang="0">
                    <a:pos x="9" y="11"/>
                  </a:cxn>
                  <a:cxn ang="0">
                    <a:pos x="0" y="11"/>
                  </a:cxn>
                  <a:cxn ang="0">
                    <a:pos x="11" y="2"/>
                  </a:cxn>
                  <a:cxn ang="0">
                    <a:pos x="22" y="25"/>
                  </a:cxn>
                  <a:cxn ang="0">
                    <a:pos x="18" y="29"/>
                  </a:cxn>
                  <a:cxn ang="0">
                    <a:pos x="9" y="20"/>
                  </a:cxn>
                  <a:cxn ang="0">
                    <a:pos x="9" y="11"/>
                  </a:cxn>
                </a:cxnLst>
                <a:rect l="0" t="0" r="r" b="b"/>
                <a:pathLst>
                  <a:path w="22" h="29">
                    <a:moveTo>
                      <a:pt x="9" y="11"/>
                    </a:moveTo>
                    <a:cubicBezTo>
                      <a:pt x="2" y="9"/>
                      <a:pt x="5" y="7"/>
                      <a:pt x="0" y="11"/>
                    </a:cubicBezTo>
                    <a:cubicBezTo>
                      <a:pt x="0" y="0"/>
                      <a:pt x="2" y="0"/>
                      <a:pt x="11" y="2"/>
                    </a:cubicBezTo>
                    <a:cubicBezTo>
                      <a:pt x="10" y="14"/>
                      <a:pt x="22" y="15"/>
                      <a:pt x="22" y="25"/>
                    </a:cubicBezTo>
                    <a:cubicBezTo>
                      <a:pt x="22" y="28"/>
                      <a:pt x="20" y="29"/>
                      <a:pt x="18" y="29"/>
                    </a:cubicBezTo>
                    <a:cubicBezTo>
                      <a:pt x="14" y="29"/>
                      <a:pt x="9" y="20"/>
                      <a:pt x="9" y="20"/>
                    </a:cubicBezTo>
                    <a:cubicBezTo>
                      <a:pt x="9" y="16"/>
                      <a:pt x="8" y="13"/>
                      <a:pt x="9"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3" name="Freeform 53"/>
              <p:cNvSpPr>
                <a:spLocks/>
              </p:cNvSpPr>
              <p:nvPr/>
            </p:nvSpPr>
            <p:spPr bwMode="auto">
              <a:xfrm>
                <a:off x="2105025" y="1776413"/>
                <a:ext cx="30163" cy="46038"/>
              </a:xfrm>
              <a:custGeom>
                <a:avLst/>
                <a:gdLst/>
                <a:ahLst/>
                <a:cxnLst>
                  <a:cxn ang="0">
                    <a:pos x="15" y="18"/>
                  </a:cxn>
                  <a:cxn ang="0">
                    <a:pos x="19" y="18"/>
                  </a:cxn>
                  <a:cxn ang="0">
                    <a:pos x="19" y="35"/>
                  </a:cxn>
                  <a:cxn ang="0">
                    <a:pos x="11" y="17"/>
                  </a:cxn>
                  <a:cxn ang="0">
                    <a:pos x="0" y="4"/>
                  </a:cxn>
                  <a:cxn ang="0">
                    <a:pos x="5" y="0"/>
                  </a:cxn>
                  <a:cxn ang="0">
                    <a:pos x="15" y="0"/>
                  </a:cxn>
                  <a:cxn ang="0">
                    <a:pos x="15" y="18"/>
                  </a:cxn>
                </a:cxnLst>
                <a:rect l="0" t="0" r="r" b="b"/>
                <a:pathLst>
                  <a:path w="23" h="35">
                    <a:moveTo>
                      <a:pt x="15" y="18"/>
                    </a:moveTo>
                    <a:cubicBezTo>
                      <a:pt x="15" y="19"/>
                      <a:pt x="19" y="19"/>
                      <a:pt x="19" y="18"/>
                    </a:cubicBezTo>
                    <a:cubicBezTo>
                      <a:pt x="19" y="24"/>
                      <a:pt x="23" y="30"/>
                      <a:pt x="19" y="35"/>
                    </a:cubicBezTo>
                    <a:cubicBezTo>
                      <a:pt x="13" y="30"/>
                      <a:pt x="11" y="24"/>
                      <a:pt x="11" y="17"/>
                    </a:cubicBezTo>
                    <a:cubicBezTo>
                      <a:pt x="5" y="16"/>
                      <a:pt x="0" y="11"/>
                      <a:pt x="0" y="4"/>
                    </a:cubicBezTo>
                    <a:cubicBezTo>
                      <a:pt x="0" y="1"/>
                      <a:pt x="3" y="0"/>
                      <a:pt x="5" y="0"/>
                    </a:cubicBezTo>
                    <a:cubicBezTo>
                      <a:pt x="13" y="0"/>
                      <a:pt x="9" y="3"/>
                      <a:pt x="15" y="0"/>
                    </a:cubicBezTo>
                    <a:cubicBezTo>
                      <a:pt x="15" y="11"/>
                      <a:pt x="13" y="11"/>
                      <a:pt x="15"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4" name="Freeform 54"/>
              <p:cNvSpPr>
                <a:spLocks/>
              </p:cNvSpPr>
              <p:nvPr/>
            </p:nvSpPr>
            <p:spPr bwMode="auto">
              <a:xfrm>
                <a:off x="2389188" y="1335088"/>
                <a:ext cx="307975" cy="161925"/>
              </a:xfrm>
              <a:custGeom>
                <a:avLst/>
                <a:gdLst/>
                <a:ahLst/>
                <a:cxnLst>
                  <a:cxn ang="0">
                    <a:pos x="214" y="96"/>
                  </a:cxn>
                  <a:cxn ang="0">
                    <a:pos x="209" y="100"/>
                  </a:cxn>
                  <a:cxn ang="0">
                    <a:pos x="215" y="103"/>
                  </a:cxn>
                  <a:cxn ang="0">
                    <a:pos x="220" y="110"/>
                  </a:cxn>
                  <a:cxn ang="0">
                    <a:pos x="195" y="118"/>
                  </a:cxn>
                  <a:cxn ang="0">
                    <a:pos x="158" y="104"/>
                  </a:cxn>
                  <a:cxn ang="0">
                    <a:pos x="147" y="112"/>
                  </a:cxn>
                  <a:cxn ang="0">
                    <a:pos x="115" y="121"/>
                  </a:cxn>
                  <a:cxn ang="0">
                    <a:pos x="75" y="121"/>
                  </a:cxn>
                  <a:cxn ang="0">
                    <a:pos x="68" y="110"/>
                  </a:cxn>
                  <a:cxn ang="0">
                    <a:pos x="43" y="108"/>
                  </a:cxn>
                  <a:cxn ang="0">
                    <a:pos x="23" y="92"/>
                  </a:cxn>
                  <a:cxn ang="0">
                    <a:pos x="65" y="82"/>
                  </a:cxn>
                  <a:cxn ang="0">
                    <a:pos x="80" y="81"/>
                  </a:cxn>
                  <a:cxn ang="0">
                    <a:pos x="69" y="77"/>
                  </a:cxn>
                  <a:cxn ang="0">
                    <a:pos x="45" y="77"/>
                  </a:cxn>
                  <a:cxn ang="0">
                    <a:pos x="12" y="69"/>
                  </a:cxn>
                  <a:cxn ang="0">
                    <a:pos x="29" y="60"/>
                  </a:cxn>
                  <a:cxn ang="0">
                    <a:pos x="14" y="59"/>
                  </a:cxn>
                  <a:cxn ang="0">
                    <a:pos x="0" y="51"/>
                  </a:cxn>
                  <a:cxn ang="0">
                    <a:pos x="56" y="13"/>
                  </a:cxn>
                  <a:cxn ang="0">
                    <a:pos x="64" y="29"/>
                  </a:cxn>
                  <a:cxn ang="0">
                    <a:pos x="78" y="21"/>
                  </a:cxn>
                  <a:cxn ang="0">
                    <a:pos x="98" y="34"/>
                  </a:cxn>
                  <a:cxn ang="0">
                    <a:pos x="111" y="31"/>
                  </a:cxn>
                  <a:cxn ang="0">
                    <a:pos x="109" y="23"/>
                  </a:cxn>
                  <a:cxn ang="0">
                    <a:pos x="118" y="23"/>
                  </a:cxn>
                  <a:cxn ang="0">
                    <a:pos x="133" y="35"/>
                  </a:cxn>
                  <a:cxn ang="0">
                    <a:pos x="140" y="51"/>
                  </a:cxn>
                  <a:cxn ang="0">
                    <a:pos x="146" y="48"/>
                  </a:cxn>
                  <a:cxn ang="0">
                    <a:pos x="136" y="17"/>
                  </a:cxn>
                  <a:cxn ang="0">
                    <a:pos x="144" y="12"/>
                  </a:cxn>
                  <a:cxn ang="0">
                    <a:pos x="156" y="12"/>
                  </a:cxn>
                  <a:cxn ang="0">
                    <a:pos x="156" y="7"/>
                  </a:cxn>
                  <a:cxn ang="0">
                    <a:pos x="169" y="0"/>
                  </a:cxn>
                  <a:cxn ang="0">
                    <a:pos x="184" y="10"/>
                  </a:cxn>
                  <a:cxn ang="0">
                    <a:pos x="175" y="24"/>
                  </a:cxn>
                  <a:cxn ang="0">
                    <a:pos x="187" y="62"/>
                  </a:cxn>
                  <a:cxn ang="0">
                    <a:pos x="232" y="92"/>
                  </a:cxn>
                  <a:cxn ang="0">
                    <a:pos x="214" y="96"/>
                  </a:cxn>
                </a:cxnLst>
                <a:rect l="0" t="0" r="r" b="b"/>
                <a:pathLst>
                  <a:path w="232" h="121">
                    <a:moveTo>
                      <a:pt x="214" y="96"/>
                    </a:moveTo>
                    <a:cubicBezTo>
                      <a:pt x="211" y="96"/>
                      <a:pt x="209" y="97"/>
                      <a:pt x="209" y="100"/>
                    </a:cubicBezTo>
                    <a:cubicBezTo>
                      <a:pt x="209" y="103"/>
                      <a:pt x="214" y="103"/>
                      <a:pt x="215" y="103"/>
                    </a:cubicBezTo>
                    <a:cubicBezTo>
                      <a:pt x="216" y="107"/>
                      <a:pt x="218" y="108"/>
                      <a:pt x="220" y="110"/>
                    </a:cubicBezTo>
                    <a:cubicBezTo>
                      <a:pt x="216" y="118"/>
                      <a:pt x="206" y="118"/>
                      <a:pt x="195" y="118"/>
                    </a:cubicBezTo>
                    <a:cubicBezTo>
                      <a:pt x="177" y="118"/>
                      <a:pt x="171" y="104"/>
                      <a:pt x="158" y="104"/>
                    </a:cubicBezTo>
                    <a:cubicBezTo>
                      <a:pt x="150" y="104"/>
                      <a:pt x="154" y="109"/>
                      <a:pt x="147" y="112"/>
                    </a:cubicBezTo>
                    <a:cubicBezTo>
                      <a:pt x="135" y="118"/>
                      <a:pt x="124" y="115"/>
                      <a:pt x="115" y="121"/>
                    </a:cubicBezTo>
                    <a:cubicBezTo>
                      <a:pt x="95" y="121"/>
                      <a:pt x="87" y="121"/>
                      <a:pt x="75" y="121"/>
                    </a:cubicBezTo>
                    <a:cubicBezTo>
                      <a:pt x="68" y="121"/>
                      <a:pt x="73" y="114"/>
                      <a:pt x="68" y="110"/>
                    </a:cubicBezTo>
                    <a:cubicBezTo>
                      <a:pt x="63" y="107"/>
                      <a:pt x="49" y="108"/>
                      <a:pt x="43" y="108"/>
                    </a:cubicBezTo>
                    <a:cubicBezTo>
                      <a:pt x="34" y="108"/>
                      <a:pt x="26" y="98"/>
                      <a:pt x="23" y="92"/>
                    </a:cubicBezTo>
                    <a:cubicBezTo>
                      <a:pt x="33" y="85"/>
                      <a:pt x="47" y="82"/>
                      <a:pt x="65" y="82"/>
                    </a:cubicBezTo>
                    <a:cubicBezTo>
                      <a:pt x="72" y="82"/>
                      <a:pt x="75" y="82"/>
                      <a:pt x="80" y="81"/>
                    </a:cubicBezTo>
                    <a:cubicBezTo>
                      <a:pt x="77" y="80"/>
                      <a:pt x="73" y="77"/>
                      <a:pt x="69" y="77"/>
                    </a:cubicBezTo>
                    <a:cubicBezTo>
                      <a:pt x="60" y="77"/>
                      <a:pt x="50" y="77"/>
                      <a:pt x="45" y="77"/>
                    </a:cubicBezTo>
                    <a:cubicBezTo>
                      <a:pt x="36" y="77"/>
                      <a:pt x="12" y="81"/>
                      <a:pt x="12" y="69"/>
                    </a:cubicBezTo>
                    <a:cubicBezTo>
                      <a:pt x="12" y="59"/>
                      <a:pt x="24" y="63"/>
                      <a:pt x="29" y="60"/>
                    </a:cubicBezTo>
                    <a:cubicBezTo>
                      <a:pt x="22" y="58"/>
                      <a:pt x="19" y="59"/>
                      <a:pt x="14" y="59"/>
                    </a:cubicBezTo>
                    <a:cubicBezTo>
                      <a:pt x="9" y="59"/>
                      <a:pt x="0" y="53"/>
                      <a:pt x="0" y="51"/>
                    </a:cubicBezTo>
                    <a:cubicBezTo>
                      <a:pt x="0" y="29"/>
                      <a:pt x="41" y="13"/>
                      <a:pt x="56" y="13"/>
                    </a:cubicBezTo>
                    <a:cubicBezTo>
                      <a:pt x="63" y="13"/>
                      <a:pt x="62" y="26"/>
                      <a:pt x="64" y="29"/>
                    </a:cubicBezTo>
                    <a:cubicBezTo>
                      <a:pt x="68" y="26"/>
                      <a:pt x="71" y="21"/>
                      <a:pt x="78" y="21"/>
                    </a:cubicBezTo>
                    <a:cubicBezTo>
                      <a:pt x="90" y="21"/>
                      <a:pt x="94" y="26"/>
                      <a:pt x="98" y="34"/>
                    </a:cubicBezTo>
                    <a:cubicBezTo>
                      <a:pt x="102" y="33"/>
                      <a:pt x="106" y="32"/>
                      <a:pt x="111" y="31"/>
                    </a:cubicBezTo>
                    <a:cubicBezTo>
                      <a:pt x="110" y="27"/>
                      <a:pt x="109" y="25"/>
                      <a:pt x="109" y="23"/>
                    </a:cubicBezTo>
                    <a:cubicBezTo>
                      <a:pt x="118" y="23"/>
                      <a:pt x="118" y="23"/>
                      <a:pt x="118" y="23"/>
                    </a:cubicBezTo>
                    <a:cubicBezTo>
                      <a:pt x="124" y="25"/>
                      <a:pt x="131" y="30"/>
                      <a:pt x="133" y="35"/>
                    </a:cubicBezTo>
                    <a:cubicBezTo>
                      <a:pt x="135" y="40"/>
                      <a:pt x="132" y="51"/>
                      <a:pt x="140" y="51"/>
                    </a:cubicBezTo>
                    <a:cubicBezTo>
                      <a:pt x="144" y="51"/>
                      <a:pt x="144" y="50"/>
                      <a:pt x="146" y="48"/>
                    </a:cubicBezTo>
                    <a:cubicBezTo>
                      <a:pt x="142" y="42"/>
                      <a:pt x="136" y="21"/>
                      <a:pt x="136" y="17"/>
                    </a:cubicBezTo>
                    <a:cubicBezTo>
                      <a:pt x="136" y="14"/>
                      <a:pt x="140" y="12"/>
                      <a:pt x="144" y="12"/>
                    </a:cubicBezTo>
                    <a:cubicBezTo>
                      <a:pt x="152" y="12"/>
                      <a:pt x="149" y="15"/>
                      <a:pt x="156" y="12"/>
                    </a:cubicBezTo>
                    <a:cubicBezTo>
                      <a:pt x="156" y="10"/>
                      <a:pt x="156" y="9"/>
                      <a:pt x="156" y="7"/>
                    </a:cubicBezTo>
                    <a:cubicBezTo>
                      <a:pt x="156" y="3"/>
                      <a:pt x="162" y="0"/>
                      <a:pt x="169" y="0"/>
                    </a:cubicBezTo>
                    <a:cubicBezTo>
                      <a:pt x="177" y="0"/>
                      <a:pt x="184" y="3"/>
                      <a:pt x="184" y="10"/>
                    </a:cubicBezTo>
                    <a:cubicBezTo>
                      <a:pt x="184" y="16"/>
                      <a:pt x="175" y="20"/>
                      <a:pt x="175" y="24"/>
                    </a:cubicBezTo>
                    <a:cubicBezTo>
                      <a:pt x="175" y="40"/>
                      <a:pt x="187" y="50"/>
                      <a:pt x="187" y="62"/>
                    </a:cubicBezTo>
                    <a:cubicBezTo>
                      <a:pt x="187" y="76"/>
                      <a:pt x="224" y="85"/>
                      <a:pt x="232" y="92"/>
                    </a:cubicBezTo>
                    <a:cubicBezTo>
                      <a:pt x="224" y="97"/>
                      <a:pt x="222" y="96"/>
                      <a:pt x="214" y="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5" name="Freeform 55"/>
              <p:cNvSpPr>
                <a:spLocks/>
              </p:cNvSpPr>
              <p:nvPr/>
            </p:nvSpPr>
            <p:spPr bwMode="auto">
              <a:xfrm>
                <a:off x="2274888" y="1309688"/>
                <a:ext cx="173038" cy="114300"/>
              </a:xfrm>
              <a:custGeom>
                <a:avLst/>
                <a:gdLst/>
                <a:ahLst/>
                <a:cxnLst>
                  <a:cxn ang="0">
                    <a:pos x="28" y="82"/>
                  </a:cxn>
                  <a:cxn ang="0">
                    <a:pos x="22" y="73"/>
                  </a:cxn>
                  <a:cxn ang="0">
                    <a:pos x="0" y="64"/>
                  </a:cxn>
                  <a:cxn ang="0">
                    <a:pos x="22" y="21"/>
                  </a:cxn>
                  <a:cxn ang="0">
                    <a:pos x="16" y="5"/>
                  </a:cxn>
                  <a:cxn ang="0">
                    <a:pos x="42" y="5"/>
                  </a:cxn>
                  <a:cxn ang="0">
                    <a:pos x="60" y="2"/>
                  </a:cxn>
                  <a:cxn ang="0">
                    <a:pos x="84" y="11"/>
                  </a:cxn>
                  <a:cxn ang="0">
                    <a:pos x="99" y="10"/>
                  </a:cxn>
                  <a:cxn ang="0">
                    <a:pos x="130" y="29"/>
                  </a:cxn>
                  <a:cxn ang="0">
                    <a:pos x="102" y="38"/>
                  </a:cxn>
                  <a:cxn ang="0">
                    <a:pos x="69" y="71"/>
                  </a:cxn>
                  <a:cxn ang="0">
                    <a:pos x="35" y="86"/>
                  </a:cxn>
                  <a:cxn ang="0">
                    <a:pos x="28" y="82"/>
                  </a:cxn>
                </a:cxnLst>
                <a:rect l="0" t="0" r="r" b="b"/>
                <a:pathLst>
                  <a:path w="130" h="86">
                    <a:moveTo>
                      <a:pt x="28" y="82"/>
                    </a:moveTo>
                    <a:cubicBezTo>
                      <a:pt x="26" y="82"/>
                      <a:pt x="23" y="75"/>
                      <a:pt x="22" y="73"/>
                    </a:cubicBezTo>
                    <a:cubicBezTo>
                      <a:pt x="18" y="68"/>
                      <a:pt x="0" y="69"/>
                      <a:pt x="0" y="64"/>
                    </a:cubicBezTo>
                    <a:cubicBezTo>
                      <a:pt x="0" y="49"/>
                      <a:pt x="22" y="37"/>
                      <a:pt x="22" y="21"/>
                    </a:cubicBezTo>
                    <a:cubicBezTo>
                      <a:pt x="22" y="17"/>
                      <a:pt x="16" y="10"/>
                      <a:pt x="16" y="5"/>
                    </a:cubicBezTo>
                    <a:cubicBezTo>
                      <a:pt x="27" y="1"/>
                      <a:pt x="32" y="5"/>
                      <a:pt x="42" y="5"/>
                    </a:cubicBezTo>
                    <a:cubicBezTo>
                      <a:pt x="48" y="5"/>
                      <a:pt x="52" y="0"/>
                      <a:pt x="60" y="2"/>
                    </a:cubicBezTo>
                    <a:cubicBezTo>
                      <a:pt x="70" y="5"/>
                      <a:pt x="74" y="10"/>
                      <a:pt x="84" y="11"/>
                    </a:cubicBezTo>
                    <a:cubicBezTo>
                      <a:pt x="88" y="15"/>
                      <a:pt x="93" y="10"/>
                      <a:pt x="99" y="10"/>
                    </a:cubicBezTo>
                    <a:cubicBezTo>
                      <a:pt x="108" y="10"/>
                      <a:pt x="130" y="19"/>
                      <a:pt x="130" y="29"/>
                    </a:cubicBezTo>
                    <a:cubicBezTo>
                      <a:pt x="130" y="34"/>
                      <a:pt x="106" y="37"/>
                      <a:pt x="102" y="38"/>
                    </a:cubicBezTo>
                    <a:cubicBezTo>
                      <a:pt x="88" y="43"/>
                      <a:pt x="69" y="61"/>
                      <a:pt x="69" y="71"/>
                    </a:cubicBezTo>
                    <a:cubicBezTo>
                      <a:pt x="69" y="75"/>
                      <a:pt x="38" y="86"/>
                      <a:pt x="35" y="86"/>
                    </a:cubicBezTo>
                    <a:cubicBezTo>
                      <a:pt x="32" y="86"/>
                      <a:pt x="30" y="82"/>
                      <a:pt x="28"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6" name="Freeform 56"/>
              <p:cNvSpPr>
                <a:spLocks/>
              </p:cNvSpPr>
              <p:nvPr/>
            </p:nvSpPr>
            <p:spPr bwMode="auto">
              <a:xfrm>
                <a:off x="2413000" y="1228725"/>
                <a:ext cx="204788" cy="87313"/>
              </a:xfrm>
              <a:custGeom>
                <a:avLst/>
                <a:gdLst/>
                <a:ahLst/>
                <a:cxnLst>
                  <a:cxn ang="0">
                    <a:pos x="53" y="65"/>
                  </a:cxn>
                  <a:cxn ang="0">
                    <a:pos x="41" y="59"/>
                  </a:cxn>
                  <a:cxn ang="0">
                    <a:pos x="53" y="53"/>
                  </a:cxn>
                  <a:cxn ang="0">
                    <a:pos x="46" y="43"/>
                  </a:cxn>
                  <a:cxn ang="0">
                    <a:pos x="41" y="49"/>
                  </a:cxn>
                  <a:cxn ang="0">
                    <a:pos x="22" y="52"/>
                  </a:cxn>
                  <a:cxn ang="0">
                    <a:pos x="7" y="49"/>
                  </a:cxn>
                  <a:cxn ang="0">
                    <a:pos x="0" y="42"/>
                  </a:cxn>
                  <a:cxn ang="0">
                    <a:pos x="0" y="36"/>
                  </a:cxn>
                  <a:cxn ang="0">
                    <a:pos x="11" y="31"/>
                  </a:cxn>
                  <a:cxn ang="0">
                    <a:pos x="31" y="36"/>
                  </a:cxn>
                  <a:cxn ang="0">
                    <a:pos x="11" y="30"/>
                  </a:cxn>
                  <a:cxn ang="0">
                    <a:pos x="11" y="23"/>
                  </a:cxn>
                  <a:cxn ang="0">
                    <a:pos x="19" y="23"/>
                  </a:cxn>
                  <a:cxn ang="0">
                    <a:pos x="38" y="26"/>
                  </a:cxn>
                  <a:cxn ang="0">
                    <a:pos x="16" y="22"/>
                  </a:cxn>
                  <a:cxn ang="0">
                    <a:pos x="25" y="17"/>
                  </a:cxn>
                  <a:cxn ang="0">
                    <a:pos x="36" y="18"/>
                  </a:cxn>
                  <a:cxn ang="0">
                    <a:pos x="23" y="12"/>
                  </a:cxn>
                  <a:cxn ang="0">
                    <a:pos x="38" y="12"/>
                  </a:cxn>
                  <a:cxn ang="0">
                    <a:pos x="45" y="19"/>
                  </a:cxn>
                  <a:cxn ang="0">
                    <a:pos x="55" y="19"/>
                  </a:cxn>
                  <a:cxn ang="0">
                    <a:pos x="97" y="36"/>
                  </a:cxn>
                  <a:cxn ang="0">
                    <a:pos x="107" y="30"/>
                  </a:cxn>
                  <a:cxn ang="0">
                    <a:pos x="98" y="29"/>
                  </a:cxn>
                  <a:cxn ang="0">
                    <a:pos x="102" y="27"/>
                  </a:cxn>
                  <a:cxn ang="0">
                    <a:pos x="102" y="21"/>
                  </a:cxn>
                  <a:cxn ang="0">
                    <a:pos x="91" y="15"/>
                  </a:cxn>
                  <a:cxn ang="0">
                    <a:pos x="107" y="0"/>
                  </a:cxn>
                  <a:cxn ang="0">
                    <a:pos x="116" y="4"/>
                  </a:cxn>
                  <a:cxn ang="0">
                    <a:pos x="116" y="9"/>
                  </a:cxn>
                  <a:cxn ang="0">
                    <a:pos x="132" y="26"/>
                  </a:cxn>
                  <a:cxn ang="0">
                    <a:pos x="144" y="20"/>
                  </a:cxn>
                  <a:cxn ang="0">
                    <a:pos x="154" y="31"/>
                  </a:cxn>
                  <a:cxn ang="0">
                    <a:pos x="140" y="52"/>
                  </a:cxn>
                  <a:cxn ang="0">
                    <a:pos x="111" y="51"/>
                  </a:cxn>
                  <a:cxn ang="0">
                    <a:pos x="82" y="59"/>
                  </a:cxn>
                  <a:cxn ang="0">
                    <a:pos x="53" y="65"/>
                  </a:cxn>
                </a:cxnLst>
                <a:rect l="0" t="0" r="r" b="b"/>
                <a:pathLst>
                  <a:path w="154" h="65">
                    <a:moveTo>
                      <a:pt x="53" y="65"/>
                    </a:moveTo>
                    <a:cubicBezTo>
                      <a:pt x="48" y="65"/>
                      <a:pt x="41" y="61"/>
                      <a:pt x="41" y="59"/>
                    </a:cubicBezTo>
                    <a:cubicBezTo>
                      <a:pt x="41" y="52"/>
                      <a:pt x="47" y="53"/>
                      <a:pt x="53" y="53"/>
                    </a:cubicBezTo>
                    <a:cubicBezTo>
                      <a:pt x="50" y="50"/>
                      <a:pt x="46" y="48"/>
                      <a:pt x="46" y="43"/>
                    </a:cubicBezTo>
                    <a:cubicBezTo>
                      <a:pt x="43" y="44"/>
                      <a:pt x="41" y="46"/>
                      <a:pt x="41" y="49"/>
                    </a:cubicBezTo>
                    <a:cubicBezTo>
                      <a:pt x="33" y="50"/>
                      <a:pt x="27" y="52"/>
                      <a:pt x="22" y="52"/>
                    </a:cubicBezTo>
                    <a:cubicBezTo>
                      <a:pt x="16" y="52"/>
                      <a:pt x="10" y="49"/>
                      <a:pt x="7" y="49"/>
                    </a:cubicBezTo>
                    <a:cubicBezTo>
                      <a:pt x="3" y="49"/>
                      <a:pt x="0" y="46"/>
                      <a:pt x="0" y="42"/>
                    </a:cubicBezTo>
                    <a:cubicBezTo>
                      <a:pt x="0" y="38"/>
                      <a:pt x="2" y="39"/>
                      <a:pt x="0" y="36"/>
                    </a:cubicBezTo>
                    <a:cubicBezTo>
                      <a:pt x="5" y="35"/>
                      <a:pt x="7" y="31"/>
                      <a:pt x="11" y="31"/>
                    </a:cubicBezTo>
                    <a:cubicBezTo>
                      <a:pt x="20" y="31"/>
                      <a:pt x="24" y="35"/>
                      <a:pt x="31" y="36"/>
                    </a:cubicBezTo>
                    <a:cubicBezTo>
                      <a:pt x="24" y="35"/>
                      <a:pt x="17" y="32"/>
                      <a:pt x="11" y="30"/>
                    </a:cubicBezTo>
                    <a:cubicBezTo>
                      <a:pt x="11" y="23"/>
                      <a:pt x="11" y="23"/>
                      <a:pt x="11" y="23"/>
                    </a:cubicBezTo>
                    <a:cubicBezTo>
                      <a:pt x="15" y="23"/>
                      <a:pt x="19" y="23"/>
                      <a:pt x="19" y="23"/>
                    </a:cubicBezTo>
                    <a:cubicBezTo>
                      <a:pt x="20" y="23"/>
                      <a:pt x="34" y="26"/>
                      <a:pt x="38" y="26"/>
                    </a:cubicBezTo>
                    <a:cubicBezTo>
                      <a:pt x="30" y="25"/>
                      <a:pt x="23" y="26"/>
                      <a:pt x="16" y="22"/>
                    </a:cubicBezTo>
                    <a:cubicBezTo>
                      <a:pt x="18" y="19"/>
                      <a:pt x="22" y="17"/>
                      <a:pt x="25" y="17"/>
                    </a:cubicBezTo>
                    <a:cubicBezTo>
                      <a:pt x="31" y="17"/>
                      <a:pt x="32" y="19"/>
                      <a:pt x="36" y="18"/>
                    </a:cubicBezTo>
                    <a:cubicBezTo>
                      <a:pt x="31" y="19"/>
                      <a:pt x="23" y="18"/>
                      <a:pt x="23" y="12"/>
                    </a:cubicBezTo>
                    <a:cubicBezTo>
                      <a:pt x="31" y="11"/>
                      <a:pt x="34" y="12"/>
                      <a:pt x="38" y="12"/>
                    </a:cubicBezTo>
                    <a:cubicBezTo>
                      <a:pt x="39" y="12"/>
                      <a:pt x="45" y="14"/>
                      <a:pt x="45" y="19"/>
                    </a:cubicBezTo>
                    <a:cubicBezTo>
                      <a:pt x="50" y="19"/>
                      <a:pt x="54" y="19"/>
                      <a:pt x="55" y="19"/>
                    </a:cubicBezTo>
                    <a:cubicBezTo>
                      <a:pt x="68" y="19"/>
                      <a:pt x="78" y="36"/>
                      <a:pt x="97" y="36"/>
                    </a:cubicBezTo>
                    <a:cubicBezTo>
                      <a:pt x="103" y="36"/>
                      <a:pt x="105" y="34"/>
                      <a:pt x="107" y="30"/>
                    </a:cubicBezTo>
                    <a:cubicBezTo>
                      <a:pt x="102" y="30"/>
                      <a:pt x="100" y="30"/>
                      <a:pt x="98" y="29"/>
                    </a:cubicBezTo>
                    <a:cubicBezTo>
                      <a:pt x="98" y="28"/>
                      <a:pt x="101" y="27"/>
                      <a:pt x="102" y="27"/>
                    </a:cubicBezTo>
                    <a:cubicBezTo>
                      <a:pt x="102" y="21"/>
                      <a:pt x="102" y="21"/>
                      <a:pt x="102" y="21"/>
                    </a:cubicBezTo>
                    <a:cubicBezTo>
                      <a:pt x="99" y="21"/>
                      <a:pt x="91" y="19"/>
                      <a:pt x="91" y="15"/>
                    </a:cubicBezTo>
                    <a:cubicBezTo>
                      <a:pt x="91" y="7"/>
                      <a:pt x="103" y="4"/>
                      <a:pt x="107" y="0"/>
                    </a:cubicBezTo>
                    <a:cubicBezTo>
                      <a:pt x="110" y="2"/>
                      <a:pt x="113" y="4"/>
                      <a:pt x="116" y="4"/>
                    </a:cubicBezTo>
                    <a:cubicBezTo>
                      <a:pt x="115" y="7"/>
                      <a:pt x="116" y="8"/>
                      <a:pt x="116" y="9"/>
                    </a:cubicBezTo>
                    <a:cubicBezTo>
                      <a:pt x="116" y="16"/>
                      <a:pt x="124" y="26"/>
                      <a:pt x="132" y="26"/>
                    </a:cubicBezTo>
                    <a:cubicBezTo>
                      <a:pt x="136" y="26"/>
                      <a:pt x="139" y="20"/>
                      <a:pt x="144" y="20"/>
                    </a:cubicBezTo>
                    <a:cubicBezTo>
                      <a:pt x="150" y="20"/>
                      <a:pt x="154" y="26"/>
                      <a:pt x="154" y="31"/>
                    </a:cubicBezTo>
                    <a:cubicBezTo>
                      <a:pt x="154" y="37"/>
                      <a:pt x="144" y="51"/>
                      <a:pt x="140" y="52"/>
                    </a:cubicBezTo>
                    <a:cubicBezTo>
                      <a:pt x="137" y="53"/>
                      <a:pt x="111" y="50"/>
                      <a:pt x="111" y="51"/>
                    </a:cubicBezTo>
                    <a:cubicBezTo>
                      <a:pt x="111" y="52"/>
                      <a:pt x="83" y="58"/>
                      <a:pt x="82" y="59"/>
                    </a:cubicBezTo>
                    <a:cubicBezTo>
                      <a:pt x="73" y="62"/>
                      <a:pt x="64" y="65"/>
                      <a:pt x="53" y="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7" name="Freeform 57"/>
              <p:cNvSpPr>
                <a:spLocks/>
              </p:cNvSpPr>
              <p:nvPr/>
            </p:nvSpPr>
            <p:spPr bwMode="auto">
              <a:xfrm>
                <a:off x="2382838" y="1260475"/>
                <a:ext cx="28575" cy="20638"/>
              </a:xfrm>
              <a:custGeom>
                <a:avLst/>
                <a:gdLst/>
                <a:ahLst/>
                <a:cxnLst>
                  <a:cxn ang="0">
                    <a:pos x="8" y="16"/>
                  </a:cxn>
                  <a:cxn ang="0">
                    <a:pos x="0" y="11"/>
                  </a:cxn>
                  <a:cxn ang="0">
                    <a:pos x="21" y="0"/>
                  </a:cxn>
                  <a:cxn ang="0">
                    <a:pos x="8" y="16"/>
                  </a:cxn>
                </a:cxnLst>
                <a:rect l="0" t="0" r="r" b="b"/>
                <a:pathLst>
                  <a:path w="21" h="16">
                    <a:moveTo>
                      <a:pt x="8" y="16"/>
                    </a:moveTo>
                    <a:cubicBezTo>
                      <a:pt x="4" y="16"/>
                      <a:pt x="0" y="14"/>
                      <a:pt x="0" y="11"/>
                    </a:cubicBezTo>
                    <a:cubicBezTo>
                      <a:pt x="0" y="3"/>
                      <a:pt x="16" y="0"/>
                      <a:pt x="21" y="0"/>
                    </a:cubicBezTo>
                    <a:cubicBezTo>
                      <a:pt x="20" y="7"/>
                      <a:pt x="13" y="16"/>
                      <a:pt x="8"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8" name="Freeform 58"/>
              <p:cNvSpPr>
                <a:spLocks/>
              </p:cNvSpPr>
              <p:nvPr/>
            </p:nvSpPr>
            <p:spPr bwMode="auto">
              <a:xfrm>
                <a:off x="2457450" y="1230313"/>
                <a:ext cx="22225" cy="7938"/>
              </a:xfrm>
              <a:custGeom>
                <a:avLst/>
                <a:gdLst/>
                <a:ahLst/>
                <a:cxnLst>
                  <a:cxn ang="0">
                    <a:pos x="6" y="6"/>
                  </a:cxn>
                  <a:cxn ang="0">
                    <a:pos x="0" y="0"/>
                  </a:cxn>
                  <a:cxn ang="0">
                    <a:pos x="16" y="0"/>
                  </a:cxn>
                  <a:cxn ang="0">
                    <a:pos x="16" y="6"/>
                  </a:cxn>
                  <a:cxn ang="0">
                    <a:pos x="6" y="6"/>
                  </a:cxn>
                </a:cxnLst>
                <a:rect l="0" t="0" r="r" b="b"/>
                <a:pathLst>
                  <a:path w="16" h="6">
                    <a:moveTo>
                      <a:pt x="6" y="6"/>
                    </a:moveTo>
                    <a:cubicBezTo>
                      <a:pt x="4" y="6"/>
                      <a:pt x="0" y="4"/>
                      <a:pt x="0" y="0"/>
                    </a:cubicBezTo>
                    <a:cubicBezTo>
                      <a:pt x="16" y="0"/>
                      <a:pt x="16" y="0"/>
                      <a:pt x="16" y="0"/>
                    </a:cubicBezTo>
                    <a:cubicBezTo>
                      <a:pt x="16" y="6"/>
                      <a:pt x="16" y="6"/>
                      <a:pt x="16" y="6"/>
                    </a:cubicBezTo>
                    <a:cubicBezTo>
                      <a:pt x="14" y="6"/>
                      <a:pt x="6" y="6"/>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39" name="Freeform 59"/>
              <p:cNvSpPr>
                <a:spLocks/>
              </p:cNvSpPr>
              <p:nvPr/>
            </p:nvSpPr>
            <p:spPr bwMode="auto">
              <a:xfrm>
                <a:off x="2324100" y="1203325"/>
                <a:ext cx="117475" cy="65088"/>
              </a:xfrm>
              <a:custGeom>
                <a:avLst/>
                <a:gdLst/>
                <a:ahLst/>
                <a:cxnLst>
                  <a:cxn ang="0">
                    <a:pos x="88" y="8"/>
                  </a:cxn>
                  <a:cxn ang="0">
                    <a:pos x="82" y="15"/>
                  </a:cxn>
                  <a:cxn ang="0">
                    <a:pos x="86" y="24"/>
                  </a:cxn>
                  <a:cxn ang="0">
                    <a:pos x="67" y="38"/>
                  </a:cxn>
                  <a:cxn ang="0">
                    <a:pos x="56" y="26"/>
                  </a:cxn>
                  <a:cxn ang="0">
                    <a:pos x="41" y="39"/>
                  </a:cxn>
                  <a:cxn ang="0">
                    <a:pos x="32" y="49"/>
                  </a:cxn>
                  <a:cxn ang="0">
                    <a:pos x="24" y="42"/>
                  </a:cxn>
                  <a:cxn ang="0">
                    <a:pos x="12" y="42"/>
                  </a:cxn>
                  <a:cxn ang="0">
                    <a:pos x="4" y="46"/>
                  </a:cxn>
                  <a:cxn ang="0">
                    <a:pos x="0" y="39"/>
                  </a:cxn>
                  <a:cxn ang="0">
                    <a:pos x="10" y="31"/>
                  </a:cxn>
                  <a:cxn ang="0">
                    <a:pos x="31" y="23"/>
                  </a:cxn>
                  <a:cxn ang="0">
                    <a:pos x="54" y="6"/>
                  </a:cxn>
                  <a:cxn ang="0">
                    <a:pos x="62" y="7"/>
                  </a:cxn>
                  <a:cxn ang="0">
                    <a:pos x="88" y="8"/>
                  </a:cxn>
                </a:cxnLst>
                <a:rect l="0" t="0" r="r" b="b"/>
                <a:pathLst>
                  <a:path w="88" h="49">
                    <a:moveTo>
                      <a:pt x="88" y="8"/>
                    </a:moveTo>
                    <a:cubicBezTo>
                      <a:pt x="88" y="11"/>
                      <a:pt x="86" y="14"/>
                      <a:pt x="82" y="15"/>
                    </a:cubicBezTo>
                    <a:cubicBezTo>
                      <a:pt x="83" y="19"/>
                      <a:pt x="86" y="20"/>
                      <a:pt x="86" y="24"/>
                    </a:cubicBezTo>
                    <a:cubicBezTo>
                      <a:pt x="67" y="38"/>
                      <a:pt x="67" y="38"/>
                      <a:pt x="67" y="38"/>
                    </a:cubicBezTo>
                    <a:cubicBezTo>
                      <a:pt x="60" y="38"/>
                      <a:pt x="60" y="28"/>
                      <a:pt x="56" y="26"/>
                    </a:cubicBezTo>
                    <a:cubicBezTo>
                      <a:pt x="55" y="33"/>
                      <a:pt x="48" y="40"/>
                      <a:pt x="41" y="39"/>
                    </a:cubicBezTo>
                    <a:cubicBezTo>
                      <a:pt x="40" y="44"/>
                      <a:pt x="37" y="49"/>
                      <a:pt x="32" y="49"/>
                    </a:cubicBezTo>
                    <a:cubicBezTo>
                      <a:pt x="28" y="49"/>
                      <a:pt x="25" y="44"/>
                      <a:pt x="24" y="42"/>
                    </a:cubicBezTo>
                    <a:cubicBezTo>
                      <a:pt x="19" y="45"/>
                      <a:pt x="16" y="42"/>
                      <a:pt x="12" y="42"/>
                    </a:cubicBezTo>
                    <a:cubicBezTo>
                      <a:pt x="9" y="42"/>
                      <a:pt x="8" y="45"/>
                      <a:pt x="4" y="46"/>
                    </a:cubicBezTo>
                    <a:cubicBezTo>
                      <a:pt x="4" y="43"/>
                      <a:pt x="0" y="41"/>
                      <a:pt x="0" y="39"/>
                    </a:cubicBezTo>
                    <a:cubicBezTo>
                      <a:pt x="0" y="38"/>
                      <a:pt x="8" y="32"/>
                      <a:pt x="10" y="31"/>
                    </a:cubicBezTo>
                    <a:cubicBezTo>
                      <a:pt x="17" y="28"/>
                      <a:pt x="23" y="27"/>
                      <a:pt x="31" y="23"/>
                    </a:cubicBezTo>
                    <a:cubicBezTo>
                      <a:pt x="39" y="18"/>
                      <a:pt x="41" y="6"/>
                      <a:pt x="54" y="6"/>
                    </a:cubicBezTo>
                    <a:cubicBezTo>
                      <a:pt x="57" y="6"/>
                      <a:pt x="58" y="7"/>
                      <a:pt x="62" y="7"/>
                    </a:cubicBezTo>
                    <a:cubicBezTo>
                      <a:pt x="62" y="7"/>
                      <a:pt x="88" y="0"/>
                      <a:pt x="88"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0" name="Freeform 60"/>
              <p:cNvSpPr>
                <a:spLocks/>
              </p:cNvSpPr>
              <p:nvPr/>
            </p:nvSpPr>
            <p:spPr bwMode="auto">
              <a:xfrm>
                <a:off x="2481263" y="1162050"/>
                <a:ext cx="66675" cy="20638"/>
              </a:xfrm>
              <a:custGeom>
                <a:avLst/>
                <a:gdLst/>
                <a:ahLst/>
                <a:cxnLst>
                  <a:cxn ang="0">
                    <a:pos x="20" y="15"/>
                  </a:cxn>
                  <a:cxn ang="0">
                    <a:pos x="9" y="12"/>
                  </a:cxn>
                  <a:cxn ang="0">
                    <a:pos x="0" y="15"/>
                  </a:cxn>
                  <a:cxn ang="0">
                    <a:pos x="32" y="0"/>
                  </a:cxn>
                  <a:cxn ang="0">
                    <a:pos x="50" y="11"/>
                  </a:cxn>
                  <a:cxn ang="0">
                    <a:pos x="39" y="15"/>
                  </a:cxn>
                  <a:cxn ang="0">
                    <a:pos x="20" y="15"/>
                  </a:cxn>
                </a:cxnLst>
                <a:rect l="0" t="0" r="r" b="b"/>
                <a:pathLst>
                  <a:path w="50" h="15">
                    <a:moveTo>
                      <a:pt x="20" y="15"/>
                    </a:moveTo>
                    <a:cubicBezTo>
                      <a:pt x="14" y="15"/>
                      <a:pt x="13" y="12"/>
                      <a:pt x="9" y="12"/>
                    </a:cubicBezTo>
                    <a:cubicBezTo>
                      <a:pt x="5" y="12"/>
                      <a:pt x="3" y="15"/>
                      <a:pt x="0" y="15"/>
                    </a:cubicBezTo>
                    <a:cubicBezTo>
                      <a:pt x="0" y="9"/>
                      <a:pt x="26" y="0"/>
                      <a:pt x="32" y="0"/>
                    </a:cubicBezTo>
                    <a:cubicBezTo>
                      <a:pt x="41" y="0"/>
                      <a:pt x="49" y="5"/>
                      <a:pt x="50" y="11"/>
                    </a:cubicBezTo>
                    <a:cubicBezTo>
                      <a:pt x="47" y="12"/>
                      <a:pt x="44" y="15"/>
                      <a:pt x="39" y="15"/>
                    </a:cubicBezTo>
                    <a:cubicBezTo>
                      <a:pt x="27" y="15"/>
                      <a:pt x="29" y="15"/>
                      <a:pt x="20"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1" name="Freeform 61"/>
              <p:cNvSpPr>
                <a:spLocks/>
              </p:cNvSpPr>
              <p:nvPr/>
            </p:nvSpPr>
            <p:spPr bwMode="auto">
              <a:xfrm>
                <a:off x="2482850" y="1185863"/>
                <a:ext cx="58738" cy="30163"/>
              </a:xfrm>
              <a:custGeom>
                <a:avLst/>
                <a:gdLst/>
                <a:ahLst/>
                <a:cxnLst>
                  <a:cxn ang="0">
                    <a:pos x="38" y="10"/>
                  </a:cxn>
                  <a:cxn ang="0">
                    <a:pos x="14" y="23"/>
                  </a:cxn>
                  <a:cxn ang="0">
                    <a:pos x="0" y="11"/>
                  </a:cxn>
                  <a:cxn ang="0">
                    <a:pos x="36" y="0"/>
                  </a:cxn>
                  <a:cxn ang="0">
                    <a:pos x="44" y="5"/>
                  </a:cxn>
                  <a:cxn ang="0">
                    <a:pos x="25" y="10"/>
                  </a:cxn>
                  <a:cxn ang="0">
                    <a:pos x="38" y="10"/>
                  </a:cxn>
                </a:cxnLst>
                <a:rect l="0" t="0" r="r" b="b"/>
                <a:pathLst>
                  <a:path w="44" h="23">
                    <a:moveTo>
                      <a:pt x="38" y="10"/>
                    </a:moveTo>
                    <a:cubicBezTo>
                      <a:pt x="38" y="19"/>
                      <a:pt x="24" y="23"/>
                      <a:pt x="14" y="23"/>
                    </a:cubicBezTo>
                    <a:cubicBezTo>
                      <a:pt x="8" y="23"/>
                      <a:pt x="0" y="15"/>
                      <a:pt x="0" y="11"/>
                    </a:cubicBezTo>
                    <a:cubicBezTo>
                      <a:pt x="0" y="1"/>
                      <a:pt x="27" y="0"/>
                      <a:pt x="36" y="0"/>
                    </a:cubicBezTo>
                    <a:cubicBezTo>
                      <a:pt x="41" y="0"/>
                      <a:pt x="43" y="3"/>
                      <a:pt x="44" y="5"/>
                    </a:cubicBezTo>
                    <a:cubicBezTo>
                      <a:pt x="39" y="9"/>
                      <a:pt x="32" y="10"/>
                      <a:pt x="25" y="10"/>
                    </a:cubicBezTo>
                    <a:lnTo>
                      <a:pt x="38"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2" name="Freeform 62"/>
              <p:cNvSpPr>
                <a:spLocks/>
              </p:cNvSpPr>
              <p:nvPr/>
            </p:nvSpPr>
            <p:spPr bwMode="auto">
              <a:xfrm>
                <a:off x="2454275" y="1181100"/>
                <a:ext cx="20638" cy="22225"/>
              </a:xfrm>
              <a:custGeom>
                <a:avLst/>
                <a:gdLst/>
                <a:ahLst/>
                <a:cxnLst>
                  <a:cxn ang="0">
                    <a:pos x="15" y="12"/>
                  </a:cxn>
                  <a:cxn ang="0">
                    <a:pos x="9" y="17"/>
                  </a:cxn>
                  <a:cxn ang="0">
                    <a:pos x="0" y="11"/>
                  </a:cxn>
                  <a:cxn ang="0">
                    <a:pos x="15" y="12"/>
                  </a:cxn>
                </a:cxnLst>
                <a:rect l="0" t="0" r="r" b="b"/>
                <a:pathLst>
                  <a:path w="15" h="17">
                    <a:moveTo>
                      <a:pt x="15" y="12"/>
                    </a:moveTo>
                    <a:cubicBezTo>
                      <a:pt x="13" y="15"/>
                      <a:pt x="12" y="17"/>
                      <a:pt x="9" y="17"/>
                    </a:cubicBezTo>
                    <a:cubicBezTo>
                      <a:pt x="5" y="17"/>
                      <a:pt x="0" y="13"/>
                      <a:pt x="0" y="11"/>
                    </a:cubicBezTo>
                    <a:cubicBezTo>
                      <a:pt x="0" y="0"/>
                      <a:pt x="12" y="11"/>
                      <a:pt x="15"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3" name="Freeform 63"/>
              <p:cNvSpPr>
                <a:spLocks/>
              </p:cNvSpPr>
              <p:nvPr/>
            </p:nvSpPr>
            <p:spPr bwMode="auto">
              <a:xfrm>
                <a:off x="2671763" y="1335088"/>
                <a:ext cx="100013" cy="80963"/>
              </a:xfrm>
              <a:custGeom>
                <a:avLst/>
                <a:gdLst/>
                <a:ahLst/>
                <a:cxnLst>
                  <a:cxn ang="0">
                    <a:pos x="66" y="23"/>
                  </a:cxn>
                  <a:cxn ang="0">
                    <a:pos x="65" y="30"/>
                  </a:cxn>
                  <a:cxn ang="0">
                    <a:pos x="75" y="32"/>
                  </a:cxn>
                  <a:cxn ang="0">
                    <a:pos x="57" y="55"/>
                  </a:cxn>
                  <a:cxn ang="0">
                    <a:pos x="49" y="61"/>
                  </a:cxn>
                  <a:cxn ang="0">
                    <a:pos x="39" y="54"/>
                  </a:cxn>
                  <a:cxn ang="0">
                    <a:pos x="0" y="30"/>
                  </a:cxn>
                  <a:cxn ang="0">
                    <a:pos x="0" y="23"/>
                  </a:cxn>
                  <a:cxn ang="0">
                    <a:pos x="20" y="28"/>
                  </a:cxn>
                  <a:cxn ang="0">
                    <a:pos x="27" y="28"/>
                  </a:cxn>
                  <a:cxn ang="0">
                    <a:pos x="27" y="16"/>
                  </a:cxn>
                  <a:cxn ang="0">
                    <a:pos x="12" y="11"/>
                  </a:cxn>
                  <a:cxn ang="0">
                    <a:pos x="16" y="7"/>
                  </a:cxn>
                  <a:cxn ang="0">
                    <a:pos x="42" y="2"/>
                  </a:cxn>
                  <a:cxn ang="0">
                    <a:pos x="60" y="2"/>
                  </a:cxn>
                  <a:cxn ang="0">
                    <a:pos x="64" y="6"/>
                  </a:cxn>
                  <a:cxn ang="0">
                    <a:pos x="50" y="22"/>
                  </a:cxn>
                  <a:cxn ang="0">
                    <a:pos x="66" y="23"/>
                  </a:cxn>
                </a:cxnLst>
                <a:rect l="0" t="0" r="r" b="b"/>
                <a:pathLst>
                  <a:path w="75" h="61">
                    <a:moveTo>
                      <a:pt x="66" y="23"/>
                    </a:moveTo>
                    <a:cubicBezTo>
                      <a:pt x="66" y="29"/>
                      <a:pt x="65" y="25"/>
                      <a:pt x="65" y="30"/>
                    </a:cubicBezTo>
                    <a:cubicBezTo>
                      <a:pt x="67" y="30"/>
                      <a:pt x="72" y="31"/>
                      <a:pt x="75" y="32"/>
                    </a:cubicBezTo>
                    <a:cubicBezTo>
                      <a:pt x="73" y="56"/>
                      <a:pt x="72" y="49"/>
                      <a:pt x="57" y="55"/>
                    </a:cubicBezTo>
                    <a:cubicBezTo>
                      <a:pt x="53" y="56"/>
                      <a:pt x="53" y="61"/>
                      <a:pt x="49" y="61"/>
                    </a:cubicBezTo>
                    <a:cubicBezTo>
                      <a:pt x="42" y="61"/>
                      <a:pt x="42" y="56"/>
                      <a:pt x="39" y="54"/>
                    </a:cubicBezTo>
                    <a:cubicBezTo>
                      <a:pt x="27" y="41"/>
                      <a:pt x="13" y="43"/>
                      <a:pt x="0" y="30"/>
                    </a:cubicBezTo>
                    <a:cubicBezTo>
                      <a:pt x="0" y="23"/>
                      <a:pt x="0" y="23"/>
                      <a:pt x="0" y="23"/>
                    </a:cubicBezTo>
                    <a:cubicBezTo>
                      <a:pt x="6" y="23"/>
                      <a:pt x="12" y="28"/>
                      <a:pt x="20" y="28"/>
                    </a:cubicBezTo>
                    <a:cubicBezTo>
                      <a:pt x="24" y="28"/>
                      <a:pt x="23" y="28"/>
                      <a:pt x="27" y="28"/>
                    </a:cubicBezTo>
                    <a:cubicBezTo>
                      <a:pt x="27" y="16"/>
                      <a:pt x="27" y="16"/>
                      <a:pt x="27" y="16"/>
                    </a:cubicBezTo>
                    <a:cubicBezTo>
                      <a:pt x="21" y="15"/>
                      <a:pt x="12" y="16"/>
                      <a:pt x="12" y="11"/>
                    </a:cubicBezTo>
                    <a:cubicBezTo>
                      <a:pt x="12" y="9"/>
                      <a:pt x="15" y="8"/>
                      <a:pt x="16" y="7"/>
                    </a:cubicBezTo>
                    <a:cubicBezTo>
                      <a:pt x="23" y="0"/>
                      <a:pt x="32" y="2"/>
                      <a:pt x="42" y="2"/>
                    </a:cubicBezTo>
                    <a:cubicBezTo>
                      <a:pt x="50" y="2"/>
                      <a:pt x="60" y="2"/>
                      <a:pt x="60" y="2"/>
                    </a:cubicBezTo>
                    <a:cubicBezTo>
                      <a:pt x="61" y="2"/>
                      <a:pt x="64" y="4"/>
                      <a:pt x="64" y="6"/>
                    </a:cubicBezTo>
                    <a:cubicBezTo>
                      <a:pt x="64" y="15"/>
                      <a:pt x="53" y="18"/>
                      <a:pt x="50" y="22"/>
                    </a:cubicBezTo>
                    <a:cubicBezTo>
                      <a:pt x="53" y="22"/>
                      <a:pt x="66" y="18"/>
                      <a:pt x="66"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4" name="Freeform 64"/>
              <p:cNvSpPr>
                <a:spLocks/>
              </p:cNvSpPr>
              <p:nvPr/>
            </p:nvSpPr>
            <p:spPr bwMode="auto">
              <a:xfrm>
                <a:off x="2636838" y="1236663"/>
                <a:ext cx="111125" cy="60325"/>
              </a:xfrm>
              <a:custGeom>
                <a:avLst/>
                <a:gdLst/>
                <a:ahLst/>
                <a:cxnLst>
                  <a:cxn ang="0">
                    <a:pos x="4" y="11"/>
                  </a:cxn>
                  <a:cxn ang="0">
                    <a:pos x="0" y="2"/>
                  </a:cxn>
                  <a:cxn ang="0">
                    <a:pos x="5" y="2"/>
                  </a:cxn>
                  <a:cxn ang="0">
                    <a:pos x="38" y="20"/>
                  </a:cxn>
                  <a:cxn ang="0">
                    <a:pos x="29" y="13"/>
                  </a:cxn>
                  <a:cxn ang="0">
                    <a:pos x="29" y="8"/>
                  </a:cxn>
                  <a:cxn ang="0">
                    <a:pos x="54" y="17"/>
                  </a:cxn>
                  <a:cxn ang="0">
                    <a:pos x="54" y="8"/>
                  </a:cxn>
                  <a:cxn ang="0">
                    <a:pos x="38" y="1"/>
                  </a:cxn>
                  <a:cxn ang="0">
                    <a:pos x="46" y="1"/>
                  </a:cxn>
                  <a:cxn ang="0">
                    <a:pos x="66" y="5"/>
                  </a:cxn>
                  <a:cxn ang="0">
                    <a:pos x="75" y="2"/>
                  </a:cxn>
                  <a:cxn ang="0">
                    <a:pos x="84" y="13"/>
                  </a:cxn>
                  <a:cxn ang="0">
                    <a:pos x="80" y="41"/>
                  </a:cxn>
                  <a:cxn ang="0">
                    <a:pos x="62" y="43"/>
                  </a:cxn>
                  <a:cxn ang="0">
                    <a:pos x="48" y="41"/>
                  </a:cxn>
                  <a:cxn ang="0">
                    <a:pos x="51" y="36"/>
                  </a:cxn>
                  <a:cxn ang="0">
                    <a:pos x="51" y="32"/>
                  </a:cxn>
                  <a:cxn ang="0">
                    <a:pos x="62" y="25"/>
                  </a:cxn>
                  <a:cxn ang="0">
                    <a:pos x="57" y="24"/>
                  </a:cxn>
                  <a:cxn ang="0">
                    <a:pos x="25" y="28"/>
                  </a:cxn>
                  <a:cxn ang="0">
                    <a:pos x="20" y="23"/>
                  </a:cxn>
                  <a:cxn ang="0">
                    <a:pos x="13" y="23"/>
                  </a:cxn>
                  <a:cxn ang="0">
                    <a:pos x="12" y="19"/>
                  </a:cxn>
                  <a:cxn ang="0">
                    <a:pos x="1" y="14"/>
                  </a:cxn>
                  <a:cxn ang="0">
                    <a:pos x="1" y="6"/>
                  </a:cxn>
                  <a:cxn ang="0">
                    <a:pos x="4" y="11"/>
                  </a:cxn>
                </a:cxnLst>
                <a:rect l="0" t="0" r="r" b="b"/>
                <a:pathLst>
                  <a:path w="84" h="45">
                    <a:moveTo>
                      <a:pt x="4" y="11"/>
                    </a:moveTo>
                    <a:cubicBezTo>
                      <a:pt x="2" y="9"/>
                      <a:pt x="0" y="6"/>
                      <a:pt x="0" y="2"/>
                    </a:cubicBezTo>
                    <a:cubicBezTo>
                      <a:pt x="1" y="2"/>
                      <a:pt x="3" y="2"/>
                      <a:pt x="5" y="2"/>
                    </a:cubicBezTo>
                    <a:cubicBezTo>
                      <a:pt x="18" y="2"/>
                      <a:pt x="24" y="24"/>
                      <a:pt x="38" y="20"/>
                    </a:cubicBezTo>
                    <a:cubicBezTo>
                      <a:pt x="35" y="18"/>
                      <a:pt x="31" y="15"/>
                      <a:pt x="29" y="13"/>
                    </a:cubicBezTo>
                    <a:cubicBezTo>
                      <a:pt x="29" y="8"/>
                      <a:pt x="29" y="8"/>
                      <a:pt x="29" y="8"/>
                    </a:cubicBezTo>
                    <a:cubicBezTo>
                      <a:pt x="39" y="8"/>
                      <a:pt x="43" y="17"/>
                      <a:pt x="54" y="17"/>
                    </a:cubicBezTo>
                    <a:cubicBezTo>
                      <a:pt x="54" y="8"/>
                      <a:pt x="54" y="8"/>
                      <a:pt x="54" y="8"/>
                    </a:cubicBezTo>
                    <a:cubicBezTo>
                      <a:pt x="46" y="8"/>
                      <a:pt x="40" y="8"/>
                      <a:pt x="38" y="1"/>
                    </a:cubicBezTo>
                    <a:cubicBezTo>
                      <a:pt x="41" y="0"/>
                      <a:pt x="43" y="1"/>
                      <a:pt x="46" y="1"/>
                    </a:cubicBezTo>
                    <a:cubicBezTo>
                      <a:pt x="53" y="1"/>
                      <a:pt x="58" y="5"/>
                      <a:pt x="66" y="5"/>
                    </a:cubicBezTo>
                    <a:cubicBezTo>
                      <a:pt x="69" y="5"/>
                      <a:pt x="71" y="2"/>
                      <a:pt x="75" y="2"/>
                    </a:cubicBezTo>
                    <a:cubicBezTo>
                      <a:pt x="83" y="2"/>
                      <a:pt x="84" y="6"/>
                      <a:pt x="84" y="13"/>
                    </a:cubicBezTo>
                    <a:cubicBezTo>
                      <a:pt x="84" y="23"/>
                      <a:pt x="78" y="28"/>
                      <a:pt x="80" y="41"/>
                    </a:cubicBezTo>
                    <a:cubicBezTo>
                      <a:pt x="73" y="43"/>
                      <a:pt x="64" y="43"/>
                      <a:pt x="62" y="43"/>
                    </a:cubicBezTo>
                    <a:cubicBezTo>
                      <a:pt x="60" y="43"/>
                      <a:pt x="48" y="45"/>
                      <a:pt x="48" y="41"/>
                    </a:cubicBezTo>
                    <a:cubicBezTo>
                      <a:pt x="48" y="39"/>
                      <a:pt x="50" y="37"/>
                      <a:pt x="51" y="36"/>
                    </a:cubicBezTo>
                    <a:cubicBezTo>
                      <a:pt x="51" y="35"/>
                      <a:pt x="51" y="33"/>
                      <a:pt x="51" y="32"/>
                    </a:cubicBezTo>
                    <a:cubicBezTo>
                      <a:pt x="51" y="28"/>
                      <a:pt x="60" y="28"/>
                      <a:pt x="62" y="25"/>
                    </a:cubicBezTo>
                    <a:cubicBezTo>
                      <a:pt x="61" y="24"/>
                      <a:pt x="59" y="24"/>
                      <a:pt x="57" y="24"/>
                    </a:cubicBezTo>
                    <a:cubicBezTo>
                      <a:pt x="49" y="24"/>
                      <a:pt x="34" y="28"/>
                      <a:pt x="25" y="28"/>
                    </a:cubicBezTo>
                    <a:cubicBezTo>
                      <a:pt x="22" y="28"/>
                      <a:pt x="20" y="26"/>
                      <a:pt x="20" y="23"/>
                    </a:cubicBezTo>
                    <a:cubicBezTo>
                      <a:pt x="13" y="23"/>
                      <a:pt x="13" y="23"/>
                      <a:pt x="13" y="23"/>
                    </a:cubicBezTo>
                    <a:cubicBezTo>
                      <a:pt x="12" y="19"/>
                      <a:pt x="12" y="19"/>
                      <a:pt x="12" y="19"/>
                    </a:cubicBezTo>
                    <a:cubicBezTo>
                      <a:pt x="7" y="20"/>
                      <a:pt x="4" y="17"/>
                      <a:pt x="1" y="14"/>
                    </a:cubicBezTo>
                    <a:cubicBezTo>
                      <a:pt x="1" y="6"/>
                      <a:pt x="1" y="6"/>
                      <a:pt x="1" y="6"/>
                    </a:cubicBezTo>
                    <a:lnTo>
                      <a:pt x="4"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5" name="Freeform 65"/>
              <p:cNvSpPr>
                <a:spLocks/>
              </p:cNvSpPr>
              <p:nvPr/>
            </p:nvSpPr>
            <p:spPr bwMode="auto">
              <a:xfrm>
                <a:off x="2720975" y="1462088"/>
                <a:ext cx="65088" cy="38100"/>
              </a:xfrm>
              <a:custGeom>
                <a:avLst/>
                <a:gdLst/>
                <a:ahLst/>
                <a:cxnLst>
                  <a:cxn ang="0">
                    <a:pos x="38" y="29"/>
                  </a:cxn>
                  <a:cxn ang="0">
                    <a:pos x="0" y="16"/>
                  </a:cxn>
                  <a:cxn ang="0">
                    <a:pos x="9" y="14"/>
                  </a:cxn>
                  <a:cxn ang="0">
                    <a:pos x="22" y="0"/>
                  </a:cxn>
                  <a:cxn ang="0">
                    <a:pos x="49" y="22"/>
                  </a:cxn>
                  <a:cxn ang="0">
                    <a:pos x="38" y="29"/>
                  </a:cxn>
                </a:cxnLst>
                <a:rect l="0" t="0" r="r" b="b"/>
                <a:pathLst>
                  <a:path w="49" h="29">
                    <a:moveTo>
                      <a:pt x="38" y="29"/>
                    </a:moveTo>
                    <a:cubicBezTo>
                      <a:pt x="32" y="29"/>
                      <a:pt x="0" y="17"/>
                      <a:pt x="0" y="16"/>
                    </a:cubicBezTo>
                    <a:cubicBezTo>
                      <a:pt x="0" y="12"/>
                      <a:pt x="8" y="14"/>
                      <a:pt x="9" y="14"/>
                    </a:cubicBezTo>
                    <a:cubicBezTo>
                      <a:pt x="15" y="12"/>
                      <a:pt x="13" y="0"/>
                      <a:pt x="22" y="0"/>
                    </a:cubicBezTo>
                    <a:cubicBezTo>
                      <a:pt x="28" y="0"/>
                      <a:pt x="46" y="16"/>
                      <a:pt x="49" y="22"/>
                    </a:cubicBezTo>
                    <a:cubicBezTo>
                      <a:pt x="45" y="25"/>
                      <a:pt x="43" y="29"/>
                      <a:pt x="38"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6" name="Freeform 66"/>
              <p:cNvSpPr>
                <a:spLocks/>
              </p:cNvSpPr>
              <p:nvPr/>
            </p:nvSpPr>
            <p:spPr bwMode="auto">
              <a:xfrm>
                <a:off x="2784475" y="1323975"/>
                <a:ext cx="85725" cy="69850"/>
              </a:xfrm>
              <a:custGeom>
                <a:avLst/>
                <a:gdLst/>
                <a:ahLst/>
                <a:cxnLst>
                  <a:cxn ang="0">
                    <a:pos x="65" y="11"/>
                  </a:cxn>
                  <a:cxn ang="0">
                    <a:pos x="57" y="18"/>
                  </a:cxn>
                  <a:cxn ang="0">
                    <a:pos x="32" y="35"/>
                  </a:cxn>
                  <a:cxn ang="0">
                    <a:pos x="20" y="38"/>
                  </a:cxn>
                  <a:cxn ang="0">
                    <a:pos x="25" y="38"/>
                  </a:cxn>
                  <a:cxn ang="0">
                    <a:pos x="15" y="53"/>
                  </a:cxn>
                  <a:cxn ang="0">
                    <a:pos x="6" y="53"/>
                  </a:cxn>
                  <a:cxn ang="0">
                    <a:pos x="7" y="40"/>
                  </a:cxn>
                  <a:cxn ang="0">
                    <a:pos x="0" y="19"/>
                  </a:cxn>
                  <a:cxn ang="0">
                    <a:pos x="0" y="11"/>
                  </a:cxn>
                  <a:cxn ang="0">
                    <a:pos x="10" y="11"/>
                  </a:cxn>
                  <a:cxn ang="0">
                    <a:pos x="10" y="7"/>
                  </a:cxn>
                  <a:cxn ang="0">
                    <a:pos x="22" y="0"/>
                  </a:cxn>
                  <a:cxn ang="0">
                    <a:pos x="65" y="5"/>
                  </a:cxn>
                  <a:cxn ang="0">
                    <a:pos x="65" y="11"/>
                  </a:cxn>
                </a:cxnLst>
                <a:rect l="0" t="0" r="r" b="b"/>
                <a:pathLst>
                  <a:path w="65" h="53">
                    <a:moveTo>
                      <a:pt x="65" y="11"/>
                    </a:moveTo>
                    <a:cubicBezTo>
                      <a:pt x="65" y="12"/>
                      <a:pt x="57" y="18"/>
                      <a:pt x="57" y="18"/>
                    </a:cubicBezTo>
                    <a:cubicBezTo>
                      <a:pt x="51" y="26"/>
                      <a:pt x="45" y="35"/>
                      <a:pt x="32" y="35"/>
                    </a:cubicBezTo>
                    <a:cubicBezTo>
                      <a:pt x="22" y="35"/>
                      <a:pt x="22" y="30"/>
                      <a:pt x="20" y="38"/>
                    </a:cubicBezTo>
                    <a:cubicBezTo>
                      <a:pt x="25" y="38"/>
                      <a:pt x="25" y="38"/>
                      <a:pt x="25" y="38"/>
                    </a:cubicBezTo>
                    <a:cubicBezTo>
                      <a:pt x="24" y="46"/>
                      <a:pt x="21" y="48"/>
                      <a:pt x="15" y="53"/>
                    </a:cubicBezTo>
                    <a:cubicBezTo>
                      <a:pt x="6" y="53"/>
                      <a:pt x="6" y="53"/>
                      <a:pt x="6" y="53"/>
                    </a:cubicBezTo>
                    <a:cubicBezTo>
                      <a:pt x="6" y="47"/>
                      <a:pt x="6" y="42"/>
                      <a:pt x="7" y="40"/>
                    </a:cubicBezTo>
                    <a:cubicBezTo>
                      <a:pt x="0" y="33"/>
                      <a:pt x="3" y="27"/>
                      <a:pt x="0" y="19"/>
                    </a:cubicBezTo>
                    <a:cubicBezTo>
                      <a:pt x="0" y="11"/>
                      <a:pt x="0" y="11"/>
                      <a:pt x="0" y="11"/>
                    </a:cubicBezTo>
                    <a:cubicBezTo>
                      <a:pt x="3" y="11"/>
                      <a:pt x="8" y="11"/>
                      <a:pt x="10" y="11"/>
                    </a:cubicBezTo>
                    <a:cubicBezTo>
                      <a:pt x="9" y="11"/>
                      <a:pt x="10" y="8"/>
                      <a:pt x="10" y="7"/>
                    </a:cubicBezTo>
                    <a:cubicBezTo>
                      <a:pt x="10" y="6"/>
                      <a:pt x="13" y="0"/>
                      <a:pt x="22" y="0"/>
                    </a:cubicBezTo>
                    <a:cubicBezTo>
                      <a:pt x="37" y="0"/>
                      <a:pt x="49" y="5"/>
                      <a:pt x="65" y="5"/>
                    </a:cubicBezTo>
                    <a:cubicBezTo>
                      <a:pt x="65" y="8"/>
                      <a:pt x="65" y="9"/>
                      <a:pt x="65"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7" name="Freeform 67"/>
              <p:cNvSpPr>
                <a:spLocks/>
              </p:cNvSpPr>
              <p:nvPr/>
            </p:nvSpPr>
            <p:spPr bwMode="auto">
              <a:xfrm>
                <a:off x="2608263" y="1198563"/>
                <a:ext cx="28575" cy="23813"/>
              </a:xfrm>
              <a:custGeom>
                <a:avLst/>
                <a:gdLst/>
                <a:ahLst/>
                <a:cxnLst>
                  <a:cxn ang="0">
                    <a:pos x="21" y="12"/>
                  </a:cxn>
                  <a:cxn ang="0">
                    <a:pos x="15" y="18"/>
                  </a:cxn>
                  <a:cxn ang="0">
                    <a:pos x="0" y="0"/>
                  </a:cxn>
                  <a:cxn ang="0">
                    <a:pos x="21" y="12"/>
                  </a:cxn>
                </a:cxnLst>
                <a:rect l="0" t="0" r="r" b="b"/>
                <a:pathLst>
                  <a:path w="21" h="18">
                    <a:moveTo>
                      <a:pt x="21" y="12"/>
                    </a:moveTo>
                    <a:cubicBezTo>
                      <a:pt x="21" y="16"/>
                      <a:pt x="18" y="18"/>
                      <a:pt x="15" y="18"/>
                    </a:cubicBezTo>
                    <a:cubicBezTo>
                      <a:pt x="10" y="18"/>
                      <a:pt x="0" y="6"/>
                      <a:pt x="0" y="0"/>
                    </a:cubicBezTo>
                    <a:cubicBezTo>
                      <a:pt x="11" y="0"/>
                      <a:pt x="12" y="9"/>
                      <a:pt x="2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8" name="Freeform 68"/>
              <p:cNvSpPr>
                <a:spLocks/>
              </p:cNvSpPr>
              <p:nvPr/>
            </p:nvSpPr>
            <p:spPr bwMode="auto">
              <a:xfrm>
                <a:off x="2625725" y="1277938"/>
                <a:ext cx="19050" cy="15875"/>
              </a:xfrm>
              <a:custGeom>
                <a:avLst/>
                <a:gdLst/>
                <a:ahLst/>
                <a:cxnLst>
                  <a:cxn ang="0">
                    <a:pos x="12" y="0"/>
                  </a:cxn>
                  <a:cxn ang="0">
                    <a:pos x="15" y="6"/>
                  </a:cxn>
                  <a:cxn ang="0">
                    <a:pos x="9" y="12"/>
                  </a:cxn>
                  <a:cxn ang="0">
                    <a:pos x="0" y="12"/>
                  </a:cxn>
                  <a:cxn ang="0">
                    <a:pos x="12" y="0"/>
                  </a:cxn>
                </a:cxnLst>
                <a:rect l="0" t="0" r="r" b="b"/>
                <a:pathLst>
                  <a:path w="15" h="12">
                    <a:moveTo>
                      <a:pt x="12" y="0"/>
                    </a:moveTo>
                    <a:cubicBezTo>
                      <a:pt x="13" y="2"/>
                      <a:pt x="15" y="3"/>
                      <a:pt x="15" y="6"/>
                    </a:cubicBezTo>
                    <a:cubicBezTo>
                      <a:pt x="15" y="12"/>
                      <a:pt x="11" y="12"/>
                      <a:pt x="9" y="12"/>
                    </a:cubicBezTo>
                    <a:cubicBezTo>
                      <a:pt x="4" y="12"/>
                      <a:pt x="3" y="11"/>
                      <a:pt x="0" y="12"/>
                    </a:cubicBezTo>
                    <a:cubicBezTo>
                      <a:pt x="2" y="4"/>
                      <a:pt x="6" y="2"/>
                      <a:pt x="1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9" name="Freeform 69"/>
              <p:cNvSpPr>
                <a:spLocks/>
              </p:cNvSpPr>
              <p:nvPr/>
            </p:nvSpPr>
            <p:spPr bwMode="auto">
              <a:xfrm>
                <a:off x="2614613" y="1139825"/>
                <a:ext cx="109538" cy="57150"/>
              </a:xfrm>
              <a:custGeom>
                <a:avLst/>
                <a:gdLst/>
                <a:ahLst/>
                <a:cxnLst>
                  <a:cxn ang="0">
                    <a:pos x="54" y="32"/>
                  </a:cxn>
                  <a:cxn ang="0">
                    <a:pos x="33" y="30"/>
                  </a:cxn>
                  <a:cxn ang="0">
                    <a:pos x="19" y="29"/>
                  </a:cxn>
                  <a:cxn ang="0">
                    <a:pos x="7" y="25"/>
                  </a:cxn>
                  <a:cxn ang="0">
                    <a:pos x="20" y="20"/>
                  </a:cxn>
                  <a:cxn ang="0">
                    <a:pos x="20" y="15"/>
                  </a:cxn>
                  <a:cxn ang="0">
                    <a:pos x="5" y="15"/>
                  </a:cxn>
                  <a:cxn ang="0">
                    <a:pos x="8" y="10"/>
                  </a:cxn>
                  <a:cxn ang="0">
                    <a:pos x="0" y="3"/>
                  </a:cxn>
                  <a:cxn ang="0">
                    <a:pos x="14" y="0"/>
                  </a:cxn>
                  <a:cxn ang="0">
                    <a:pos x="31" y="8"/>
                  </a:cxn>
                  <a:cxn ang="0">
                    <a:pos x="40" y="4"/>
                  </a:cxn>
                  <a:cxn ang="0">
                    <a:pos x="53" y="15"/>
                  </a:cxn>
                  <a:cxn ang="0">
                    <a:pos x="60" y="11"/>
                  </a:cxn>
                  <a:cxn ang="0">
                    <a:pos x="73" y="21"/>
                  </a:cxn>
                  <a:cxn ang="0">
                    <a:pos x="70" y="26"/>
                  </a:cxn>
                  <a:cxn ang="0">
                    <a:pos x="82" y="37"/>
                  </a:cxn>
                  <a:cxn ang="0">
                    <a:pos x="74" y="43"/>
                  </a:cxn>
                  <a:cxn ang="0">
                    <a:pos x="54" y="32"/>
                  </a:cxn>
                </a:cxnLst>
                <a:rect l="0" t="0" r="r" b="b"/>
                <a:pathLst>
                  <a:path w="82" h="43">
                    <a:moveTo>
                      <a:pt x="54" y="32"/>
                    </a:moveTo>
                    <a:cubicBezTo>
                      <a:pt x="46" y="32"/>
                      <a:pt x="41" y="29"/>
                      <a:pt x="33" y="30"/>
                    </a:cubicBezTo>
                    <a:cubicBezTo>
                      <a:pt x="31" y="26"/>
                      <a:pt x="25" y="29"/>
                      <a:pt x="19" y="29"/>
                    </a:cubicBezTo>
                    <a:cubicBezTo>
                      <a:pt x="13" y="29"/>
                      <a:pt x="11" y="29"/>
                      <a:pt x="7" y="25"/>
                    </a:cubicBezTo>
                    <a:cubicBezTo>
                      <a:pt x="11" y="21"/>
                      <a:pt x="15" y="22"/>
                      <a:pt x="20" y="20"/>
                    </a:cubicBezTo>
                    <a:cubicBezTo>
                      <a:pt x="19" y="18"/>
                      <a:pt x="19" y="16"/>
                      <a:pt x="20" y="15"/>
                    </a:cubicBezTo>
                    <a:cubicBezTo>
                      <a:pt x="10" y="15"/>
                      <a:pt x="8" y="17"/>
                      <a:pt x="5" y="15"/>
                    </a:cubicBezTo>
                    <a:cubicBezTo>
                      <a:pt x="6" y="14"/>
                      <a:pt x="7" y="12"/>
                      <a:pt x="8" y="10"/>
                    </a:cubicBezTo>
                    <a:cubicBezTo>
                      <a:pt x="2" y="10"/>
                      <a:pt x="0" y="9"/>
                      <a:pt x="0" y="3"/>
                    </a:cubicBezTo>
                    <a:cubicBezTo>
                      <a:pt x="6" y="3"/>
                      <a:pt x="9" y="0"/>
                      <a:pt x="14" y="0"/>
                    </a:cubicBezTo>
                    <a:cubicBezTo>
                      <a:pt x="24" y="0"/>
                      <a:pt x="26" y="8"/>
                      <a:pt x="31" y="8"/>
                    </a:cubicBezTo>
                    <a:cubicBezTo>
                      <a:pt x="35" y="8"/>
                      <a:pt x="36" y="4"/>
                      <a:pt x="40" y="4"/>
                    </a:cubicBezTo>
                    <a:cubicBezTo>
                      <a:pt x="49" y="4"/>
                      <a:pt x="48" y="15"/>
                      <a:pt x="53" y="15"/>
                    </a:cubicBezTo>
                    <a:cubicBezTo>
                      <a:pt x="56" y="15"/>
                      <a:pt x="57" y="11"/>
                      <a:pt x="60" y="11"/>
                    </a:cubicBezTo>
                    <a:cubicBezTo>
                      <a:pt x="66" y="11"/>
                      <a:pt x="71" y="19"/>
                      <a:pt x="73" y="21"/>
                    </a:cubicBezTo>
                    <a:cubicBezTo>
                      <a:pt x="72" y="22"/>
                      <a:pt x="70" y="24"/>
                      <a:pt x="70" y="26"/>
                    </a:cubicBezTo>
                    <a:cubicBezTo>
                      <a:pt x="73" y="29"/>
                      <a:pt x="82" y="33"/>
                      <a:pt x="82" y="37"/>
                    </a:cubicBezTo>
                    <a:cubicBezTo>
                      <a:pt x="82" y="42"/>
                      <a:pt x="77" y="43"/>
                      <a:pt x="74" y="43"/>
                    </a:cubicBezTo>
                    <a:cubicBezTo>
                      <a:pt x="63" y="43"/>
                      <a:pt x="64" y="32"/>
                      <a:pt x="54" y="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0" name="Freeform 70"/>
              <p:cNvSpPr>
                <a:spLocks/>
              </p:cNvSpPr>
              <p:nvPr/>
            </p:nvSpPr>
            <p:spPr bwMode="auto">
              <a:xfrm>
                <a:off x="2657475" y="1189038"/>
                <a:ext cx="30163" cy="9525"/>
              </a:xfrm>
              <a:custGeom>
                <a:avLst/>
                <a:gdLst/>
                <a:ahLst/>
                <a:cxnLst>
                  <a:cxn ang="0">
                    <a:pos x="8" y="7"/>
                  </a:cxn>
                  <a:cxn ang="0">
                    <a:pos x="12" y="0"/>
                  </a:cxn>
                  <a:cxn ang="0">
                    <a:pos x="23" y="4"/>
                  </a:cxn>
                  <a:cxn ang="0">
                    <a:pos x="8" y="7"/>
                  </a:cxn>
                </a:cxnLst>
                <a:rect l="0" t="0" r="r" b="b"/>
                <a:pathLst>
                  <a:path w="23" h="7">
                    <a:moveTo>
                      <a:pt x="8" y="7"/>
                    </a:moveTo>
                    <a:cubicBezTo>
                      <a:pt x="0" y="7"/>
                      <a:pt x="11" y="0"/>
                      <a:pt x="12" y="0"/>
                    </a:cubicBezTo>
                    <a:cubicBezTo>
                      <a:pt x="17" y="0"/>
                      <a:pt x="19" y="3"/>
                      <a:pt x="23" y="4"/>
                    </a:cubicBezTo>
                    <a:cubicBezTo>
                      <a:pt x="20" y="7"/>
                      <a:pt x="15" y="7"/>
                      <a:pt x="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1" name="Freeform 71"/>
              <p:cNvSpPr>
                <a:spLocks/>
              </p:cNvSpPr>
              <p:nvPr/>
            </p:nvSpPr>
            <p:spPr bwMode="auto">
              <a:xfrm>
                <a:off x="2765425" y="1223963"/>
                <a:ext cx="287338" cy="90488"/>
              </a:xfrm>
              <a:custGeom>
                <a:avLst/>
                <a:gdLst/>
                <a:ahLst/>
                <a:cxnLst>
                  <a:cxn ang="0">
                    <a:pos x="215" y="45"/>
                  </a:cxn>
                  <a:cxn ang="0">
                    <a:pos x="210" y="51"/>
                  </a:cxn>
                  <a:cxn ang="0">
                    <a:pos x="216" y="52"/>
                  </a:cxn>
                  <a:cxn ang="0">
                    <a:pos x="179" y="67"/>
                  </a:cxn>
                  <a:cxn ang="0">
                    <a:pos x="170" y="60"/>
                  </a:cxn>
                  <a:cxn ang="0">
                    <a:pos x="159" y="66"/>
                  </a:cxn>
                  <a:cxn ang="0">
                    <a:pos x="124" y="66"/>
                  </a:cxn>
                  <a:cxn ang="0">
                    <a:pos x="102" y="60"/>
                  </a:cxn>
                  <a:cxn ang="0">
                    <a:pos x="97" y="60"/>
                  </a:cxn>
                  <a:cxn ang="0">
                    <a:pos x="84" y="67"/>
                  </a:cxn>
                  <a:cxn ang="0">
                    <a:pos x="53" y="47"/>
                  </a:cxn>
                  <a:cxn ang="0">
                    <a:pos x="58" y="40"/>
                  </a:cxn>
                  <a:cxn ang="0">
                    <a:pos x="40" y="18"/>
                  </a:cxn>
                  <a:cxn ang="0">
                    <a:pos x="32" y="22"/>
                  </a:cxn>
                  <a:cxn ang="0">
                    <a:pos x="0" y="7"/>
                  </a:cxn>
                  <a:cxn ang="0">
                    <a:pos x="13" y="0"/>
                  </a:cxn>
                  <a:cxn ang="0">
                    <a:pos x="51" y="15"/>
                  </a:cxn>
                  <a:cxn ang="0">
                    <a:pos x="60" y="12"/>
                  </a:cxn>
                  <a:cxn ang="0">
                    <a:pos x="68" y="12"/>
                  </a:cxn>
                  <a:cxn ang="0">
                    <a:pos x="89" y="25"/>
                  </a:cxn>
                  <a:cxn ang="0">
                    <a:pos x="71" y="25"/>
                  </a:cxn>
                  <a:cxn ang="0">
                    <a:pos x="91" y="35"/>
                  </a:cxn>
                  <a:cxn ang="0">
                    <a:pos x="88" y="38"/>
                  </a:cxn>
                  <a:cxn ang="0">
                    <a:pos x="95" y="40"/>
                  </a:cxn>
                  <a:cxn ang="0">
                    <a:pos x="125" y="45"/>
                  </a:cxn>
                  <a:cxn ang="0">
                    <a:pos x="181" y="34"/>
                  </a:cxn>
                  <a:cxn ang="0">
                    <a:pos x="216" y="46"/>
                  </a:cxn>
                  <a:cxn ang="0">
                    <a:pos x="211" y="47"/>
                  </a:cxn>
                  <a:cxn ang="0">
                    <a:pos x="215" y="45"/>
                  </a:cxn>
                </a:cxnLst>
                <a:rect l="0" t="0" r="r" b="b"/>
                <a:pathLst>
                  <a:path w="216" h="68">
                    <a:moveTo>
                      <a:pt x="215" y="45"/>
                    </a:moveTo>
                    <a:cubicBezTo>
                      <a:pt x="213" y="46"/>
                      <a:pt x="211" y="48"/>
                      <a:pt x="210" y="51"/>
                    </a:cubicBezTo>
                    <a:cubicBezTo>
                      <a:pt x="213" y="52"/>
                      <a:pt x="216" y="52"/>
                      <a:pt x="216" y="52"/>
                    </a:cubicBezTo>
                    <a:cubicBezTo>
                      <a:pt x="215" y="67"/>
                      <a:pt x="195" y="67"/>
                      <a:pt x="179" y="67"/>
                    </a:cubicBezTo>
                    <a:cubicBezTo>
                      <a:pt x="174" y="67"/>
                      <a:pt x="171" y="64"/>
                      <a:pt x="170" y="60"/>
                    </a:cubicBezTo>
                    <a:cubicBezTo>
                      <a:pt x="164" y="61"/>
                      <a:pt x="163" y="64"/>
                      <a:pt x="159" y="66"/>
                    </a:cubicBezTo>
                    <a:cubicBezTo>
                      <a:pt x="124" y="66"/>
                      <a:pt x="124" y="66"/>
                      <a:pt x="124" y="66"/>
                    </a:cubicBezTo>
                    <a:cubicBezTo>
                      <a:pt x="115" y="68"/>
                      <a:pt x="101" y="67"/>
                      <a:pt x="102" y="60"/>
                    </a:cubicBezTo>
                    <a:cubicBezTo>
                      <a:pt x="97" y="60"/>
                      <a:pt x="97" y="60"/>
                      <a:pt x="97" y="60"/>
                    </a:cubicBezTo>
                    <a:cubicBezTo>
                      <a:pt x="95" y="62"/>
                      <a:pt x="88" y="67"/>
                      <a:pt x="84" y="67"/>
                    </a:cubicBezTo>
                    <a:cubicBezTo>
                      <a:pt x="75" y="67"/>
                      <a:pt x="53" y="56"/>
                      <a:pt x="53" y="47"/>
                    </a:cubicBezTo>
                    <a:cubicBezTo>
                      <a:pt x="53" y="44"/>
                      <a:pt x="56" y="41"/>
                      <a:pt x="58" y="40"/>
                    </a:cubicBezTo>
                    <a:cubicBezTo>
                      <a:pt x="50" y="32"/>
                      <a:pt x="48" y="25"/>
                      <a:pt x="40" y="18"/>
                    </a:cubicBezTo>
                    <a:cubicBezTo>
                      <a:pt x="38" y="20"/>
                      <a:pt x="35" y="22"/>
                      <a:pt x="32" y="22"/>
                    </a:cubicBezTo>
                    <a:cubicBezTo>
                      <a:pt x="27" y="22"/>
                      <a:pt x="0" y="11"/>
                      <a:pt x="0" y="7"/>
                    </a:cubicBezTo>
                    <a:cubicBezTo>
                      <a:pt x="0" y="0"/>
                      <a:pt x="8" y="0"/>
                      <a:pt x="13" y="0"/>
                    </a:cubicBezTo>
                    <a:cubicBezTo>
                      <a:pt x="33" y="0"/>
                      <a:pt x="36" y="15"/>
                      <a:pt x="51" y="15"/>
                    </a:cubicBezTo>
                    <a:cubicBezTo>
                      <a:pt x="56" y="15"/>
                      <a:pt x="58" y="15"/>
                      <a:pt x="60" y="12"/>
                    </a:cubicBezTo>
                    <a:cubicBezTo>
                      <a:pt x="63" y="12"/>
                      <a:pt x="68" y="12"/>
                      <a:pt x="68" y="12"/>
                    </a:cubicBezTo>
                    <a:cubicBezTo>
                      <a:pt x="65" y="22"/>
                      <a:pt x="85" y="19"/>
                      <a:pt x="89" y="25"/>
                    </a:cubicBezTo>
                    <a:cubicBezTo>
                      <a:pt x="71" y="25"/>
                      <a:pt x="71" y="25"/>
                      <a:pt x="71" y="25"/>
                    </a:cubicBezTo>
                    <a:cubicBezTo>
                      <a:pt x="74" y="37"/>
                      <a:pt x="85" y="30"/>
                      <a:pt x="91" y="35"/>
                    </a:cubicBezTo>
                    <a:cubicBezTo>
                      <a:pt x="90" y="36"/>
                      <a:pt x="88" y="36"/>
                      <a:pt x="88" y="38"/>
                    </a:cubicBezTo>
                    <a:cubicBezTo>
                      <a:pt x="88" y="44"/>
                      <a:pt x="93" y="41"/>
                      <a:pt x="95" y="40"/>
                    </a:cubicBezTo>
                    <a:cubicBezTo>
                      <a:pt x="106" y="42"/>
                      <a:pt x="114" y="45"/>
                      <a:pt x="125" y="45"/>
                    </a:cubicBezTo>
                    <a:cubicBezTo>
                      <a:pt x="150" y="45"/>
                      <a:pt x="158" y="34"/>
                      <a:pt x="181" y="34"/>
                    </a:cubicBezTo>
                    <a:cubicBezTo>
                      <a:pt x="198" y="34"/>
                      <a:pt x="210" y="35"/>
                      <a:pt x="216" y="46"/>
                    </a:cubicBezTo>
                    <a:cubicBezTo>
                      <a:pt x="215" y="47"/>
                      <a:pt x="213" y="47"/>
                      <a:pt x="211" y="47"/>
                    </a:cubicBezTo>
                    <a:lnTo>
                      <a:pt x="215"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2" name="Freeform 72"/>
              <p:cNvSpPr>
                <a:spLocks/>
              </p:cNvSpPr>
              <p:nvPr/>
            </p:nvSpPr>
            <p:spPr bwMode="auto">
              <a:xfrm>
                <a:off x="2768600" y="1271588"/>
                <a:ext cx="49213" cy="38100"/>
              </a:xfrm>
              <a:custGeom>
                <a:avLst/>
                <a:gdLst/>
                <a:ahLst/>
                <a:cxnLst>
                  <a:cxn ang="0">
                    <a:pos x="6" y="10"/>
                  </a:cxn>
                  <a:cxn ang="0">
                    <a:pos x="19" y="0"/>
                  </a:cxn>
                  <a:cxn ang="0">
                    <a:pos x="37" y="15"/>
                  </a:cxn>
                  <a:cxn ang="0">
                    <a:pos x="29" y="29"/>
                  </a:cxn>
                  <a:cxn ang="0">
                    <a:pos x="0" y="17"/>
                  </a:cxn>
                  <a:cxn ang="0">
                    <a:pos x="6" y="10"/>
                  </a:cxn>
                </a:cxnLst>
                <a:rect l="0" t="0" r="r" b="b"/>
                <a:pathLst>
                  <a:path w="37" h="29">
                    <a:moveTo>
                      <a:pt x="6" y="10"/>
                    </a:moveTo>
                    <a:cubicBezTo>
                      <a:pt x="10" y="10"/>
                      <a:pt x="9" y="0"/>
                      <a:pt x="19" y="0"/>
                    </a:cubicBezTo>
                    <a:cubicBezTo>
                      <a:pt x="27" y="0"/>
                      <a:pt x="37" y="9"/>
                      <a:pt x="37" y="15"/>
                    </a:cubicBezTo>
                    <a:cubicBezTo>
                      <a:pt x="37" y="22"/>
                      <a:pt x="35" y="29"/>
                      <a:pt x="29" y="29"/>
                    </a:cubicBezTo>
                    <a:cubicBezTo>
                      <a:pt x="25" y="29"/>
                      <a:pt x="0" y="17"/>
                      <a:pt x="0" y="17"/>
                    </a:cubicBezTo>
                    <a:cubicBezTo>
                      <a:pt x="0" y="13"/>
                      <a:pt x="5" y="10"/>
                      <a:pt x="6"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3" name="Freeform 73"/>
              <p:cNvSpPr>
                <a:spLocks/>
              </p:cNvSpPr>
              <p:nvPr/>
            </p:nvSpPr>
            <p:spPr bwMode="auto">
              <a:xfrm>
                <a:off x="2774950" y="1198563"/>
                <a:ext cx="46038" cy="12700"/>
              </a:xfrm>
              <a:custGeom>
                <a:avLst/>
                <a:gdLst/>
                <a:ahLst/>
                <a:cxnLst>
                  <a:cxn ang="0">
                    <a:pos x="29" y="0"/>
                  </a:cxn>
                  <a:cxn ang="0">
                    <a:pos x="35" y="0"/>
                  </a:cxn>
                  <a:cxn ang="0">
                    <a:pos x="35" y="6"/>
                  </a:cxn>
                  <a:cxn ang="0">
                    <a:pos x="28" y="10"/>
                  </a:cxn>
                  <a:cxn ang="0">
                    <a:pos x="0" y="5"/>
                  </a:cxn>
                  <a:cxn ang="0">
                    <a:pos x="29" y="0"/>
                  </a:cxn>
                </a:cxnLst>
                <a:rect l="0" t="0" r="r" b="b"/>
                <a:pathLst>
                  <a:path w="35" h="10">
                    <a:moveTo>
                      <a:pt x="29" y="0"/>
                    </a:moveTo>
                    <a:cubicBezTo>
                      <a:pt x="34" y="0"/>
                      <a:pt x="30" y="1"/>
                      <a:pt x="35" y="0"/>
                    </a:cubicBezTo>
                    <a:cubicBezTo>
                      <a:pt x="35" y="3"/>
                      <a:pt x="35" y="5"/>
                      <a:pt x="35" y="6"/>
                    </a:cubicBezTo>
                    <a:cubicBezTo>
                      <a:pt x="35" y="8"/>
                      <a:pt x="32" y="10"/>
                      <a:pt x="28" y="10"/>
                    </a:cubicBezTo>
                    <a:cubicBezTo>
                      <a:pt x="26" y="10"/>
                      <a:pt x="0" y="5"/>
                      <a:pt x="0" y="5"/>
                    </a:cubicBezTo>
                    <a:cubicBezTo>
                      <a:pt x="5" y="1"/>
                      <a:pt x="21" y="0"/>
                      <a:pt x="2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4" name="Freeform 74"/>
              <p:cNvSpPr>
                <a:spLocks/>
              </p:cNvSpPr>
              <p:nvPr/>
            </p:nvSpPr>
            <p:spPr bwMode="auto">
              <a:xfrm>
                <a:off x="2740025" y="1154113"/>
                <a:ext cx="53975" cy="44450"/>
              </a:xfrm>
              <a:custGeom>
                <a:avLst/>
                <a:gdLst/>
                <a:ahLst/>
                <a:cxnLst>
                  <a:cxn ang="0">
                    <a:pos x="10" y="28"/>
                  </a:cxn>
                  <a:cxn ang="0">
                    <a:pos x="14" y="23"/>
                  </a:cxn>
                  <a:cxn ang="0">
                    <a:pos x="0" y="7"/>
                  </a:cxn>
                  <a:cxn ang="0">
                    <a:pos x="10" y="0"/>
                  </a:cxn>
                  <a:cxn ang="0">
                    <a:pos x="25" y="7"/>
                  </a:cxn>
                  <a:cxn ang="0">
                    <a:pos x="41" y="17"/>
                  </a:cxn>
                  <a:cxn ang="0">
                    <a:pos x="41" y="28"/>
                  </a:cxn>
                  <a:cxn ang="0">
                    <a:pos x="10" y="28"/>
                  </a:cxn>
                </a:cxnLst>
                <a:rect l="0" t="0" r="r" b="b"/>
                <a:pathLst>
                  <a:path w="41" h="33">
                    <a:moveTo>
                      <a:pt x="10" y="28"/>
                    </a:moveTo>
                    <a:cubicBezTo>
                      <a:pt x="10" y="26"/>
                      <a:pt x="13" y="24"/>
                      <a:pt x="14" y="23"/>
                    </a:cubicBezTo>
                    <a:cubicBezTo>
                      <a:pt x="9" y="18"/>
                      <a:pt x="0" y="15"/>
                      <a:pt x="0" y="7"/>
                    </a:cubicBezTo>
                    <a:cubicBezTo>
                      <a:pt x="0" y="2"/>
                      <a:pt x="6" y="0"/>
                      <a:pt x="10" y="0"/>
                    </a:cubicBezTo>
                    <a:cubicBezTo>
                      <a:pt x="11" y="4"/>
                      <a:pt x="21" y="7"/>
                      <a:pt x="25" y="7"/>
                    </a:cubicBezTo>
                    <a:cubicBezTo>
                      <a:pt x="25" y="17"/>
                      <a:pt x="41" y="7"/>
                      <a:pt x="41" y="17"/>
                    </a:cubicBezTo>
                    <a:cubicBezTo>
                      <a:pt x="41" y="20"/>
                      <a:pt x="39" y="23"/>
                      <a:pt x="41" y="28"/>
                    </a:cubicBezTo>
                    <a:cubicBezTo>
                      <a:pt x="25" y="31"/>
                      <a:pt x="10" y="33"/>
                      <a:pt x="10"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5" name="Freeform 75"/>
              <p:cNvSpPr>
                <a:spLocks/>
              </p:cNvSpPr>
              <p:nvPr/>
            </p:nvSpPr>
            <p:spPr bwMode="auto">
              <a:xfrm>
                <a:off x="2719388" y="1114425"/>
                <a:ext cx="20638" cy="12700"/>
              </a:xfrm>
              <a:custGeom>
                <a:avLst/>
                <a:gdLst/>
                <a:ahLst/>
                <a:cxnLst>
                  <a:cxn ang="0">
                    <a:pos x="16" y="0"/>
                  </a:cxn>
                  <a:cxn ang="0">
                    <a:pos x="16" y="9"/>
                  </a:cxn>
                  <a:cxn ang="0">
                    <a:pos x="8" y="9"/>
                  </a:cxn>
                  <a:cxn ang="0">
                    <a:pos x="0" y="0"/>
                  </a:cxn>
                  <a:cxn ang="0">
                    <a:pos x="16" y="0"/>
                  </a:cxn>
                </a:cxnLst>
                <a:rect l="0" t="0" r="r" b="b"/>
                <a:pathLst>
                  <a:path w="16" h="9">
                    <a:moveTo>
                      <a:pt x="16" y="0"/>
                    </a:moveTo>
                    <a:cubicBezTo>
                      <a:pt x="16" y="9"/>
                      <a:pt x="16" y="9"/>
                      <a:pt x="16" y="9"/>
                    </a:cubicBezTo>
                    <a:cubicBezTo>
                      <a:pt x="8" y="9"/>
                      <a:pt x="8" y="9"/>
                      <a:pt x="8" y="9"/>
                    </a:cubicBezTo>
                    <a:cubicBezTo>
                      <a:pt x="6" y="7"/>
                      <a:pt x="0" y="6"/>
                      <a:pt x="0" y="0"/>
                    </a:cubicBezTo>
                    <a:cubicBezTo>
                      <a:pt x="6" y="0"/>
                      <a:pt x="13" y="0"/>
                      <a:pt x="1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6" name="Freeform 76"/>
              <p:cNvSpPr>
                <a:spLocks/>
              </p:cNvSpPr>
              <p:nvPr/>
            </p:nvSpPr>
            <p:spPr bwMode="auto">
              <a:xfrm>
                <a:off x="2776538" y="1062038"/>
                <a:ext cx="184150" cy="123825"/>
              </a:xfrm>
              <a:custGeom>
                <a:avLst/>
                <a:gdLst/>
                <a:ahLst/>
                <a:cxnLst>
                  <a:cxn ang="0">
                    <a:pos x="92" y="37"/>
                  </a:cxn>
                  <a:cxn ang="0">
                    <a:pos x="97" y="37"/>
                  </a:cxn>
                  <a:cxn ang="0">
                    <a:pos x="97" y="32"/>
                  </a:cxn>
                  <a:cxn ang="0">
                    <a:pos x="95" y="28"/>
                  </a:cxn>
                  <a:cxn ang="0">
                    <a:pos x="100" y="28"/>
                  </a:cxn>
                  <a:cxn ang="0">
                    <a:pos x="105" y="36"/>
                  </a:cxn>
                  <a:cxn ang="0">
                    <a:pos x="111" y="43"/>
                  </a:cxn>
                  <a:cxn ang="0">
                    <a:pos x="108" y="49"/>
                  </a:cxn>
                  <a:cxn ang="0">
                    <a:pos x="115" y="49"/>
                  </a:cxn>
                  <a:cxn ang="0">
                    <a:pos x="137" y="55"/>
                  </a:cxn>
                  <a:cxn ang="0">
                    <a:pos x="136" y="61"/>
                  </a:cxn>
                  <a:cxn ang="0">
                    <a:pos x="126" y="64"/>
                  </a:cxn>
                  <a:cxn ang="0">
                    <a:pos x="105" y="78"/>
                  </a:cxn>
                  <a:cxn ang="0">
                    <a:pos x="98" y="69"/>
                  </a:cxn>
                  <a:cxn ang="0">
                    <a:pos x="93" y="76"/>
                  </a:cxn>
                  <a:cxn ang="0">
                    <a:pos x="99" y="84"/>
                  </a:cxn>
                  <a:cxn ang="0">
                    <a:pos x="91" y="84"/>
                  </a:cxn>
                  <a:cxn ang="0">
                    <a:pos x="91" y="90"/>
                  </a:cxn>
                  <a:cxn ang="0">
                    <a:pos x="75" y="82"/>
                  </a:cxn>
                  <a:cxn ang="0">
                    <a:pos x="64" y="92"/>
                  </a:cxn>
                  <a:cxn ang="0">
                    <a:pos x="47" y="84"/>
                  </a:cxn>
                  <a:cxn ang="0">
                    <a:pos x="53" y="81"/>
                  </a:cxn>
                  <a:cxn ang="0">
                    <a:pos x="33" y="70"/>
                  </a:cxn>
                  <a:cxn ang="0">
                    <a:pos x="66" y="61"/>
                  </a:cxn>
                  <a:cxn ang="0">
                    <a:pos x="48" y="58"/>
                  </a:cxn>
                  <a:cxn ang="0">
                    <a:pos x="35" y="61"/>
                  </a:cxn>
                  <a:cxn ang="0">
                    <a:pos x="29" y="56"/>
                  </a:cxn>
                  <a:cxn ang="0">
                    <a:pos x="19" y="59"/>
                  </a:cxn>
                  <a:cxn ang="0">
                    <a:pos x="16" y="55"/>
                  </a:cxn>
                  <a:cxn ang="0">
                    <a:pos x="26" y="49"/>
                  </a:cxn>
                  <a:cxn ang="0">
                    <a:pos x="0" y="35"/>
                  </a:cxn>
                  <a:cxn ang="0">
                    <a:pos x="7" y="35"/>
                  </a:cxn>
                  <a:cxn ang="0">
                    <a:pos x="20" y="39"/>
                  </a:cxn>
                  <a:cxn ang="0">
                    <a:pos x="24" y="36"/>
                  </a:cxn>
                  <a:cxn ang="0">
                    <a:pos x="5" y="26"/>
                  </a:cxn>
                  <a:cxn ang="0">
                    <a:pos x="15" y="22"/>
                  </a:cxn>
                  <a:cxn ang="0">
                    <a:pos x="27" y="25"/>
                  </a:cxn>
                  <a:cxn ang="0">
                    <a:pos x="32" y="20"/>
                  </a:cxn>
                  <a:cxn ang="0">
                    <a:pos x="19" y="20"/>
                  </a:cxn>
                  <a:cxn ang="0">
                    <a:pos x="14" y="13"/>
                  </a:cxn>
                  <a:cxn ang="0">
                    <a:pos x="30" y="9"/>
                  </a:cxn>
                  <a:cxn ang="0">
                    <a:pos x="38" y="9"/>
                  </a:cxn>
                  <a:cxn ang="0">
                    <a:pos x="25" y="0"/>
                  </a:cxn>
                  <a:cxn ang="0">
                    <a:pos x="53" y="5"/>
                  </a:cxn>
                  <a:cxn ang="0">
                    <a:pos x="67" y="24"/>
                  </a:cxn>
                  <a:cxn ang="0">
                    <a:pos x="84" y="25"/>
                  </a:cxn>
                  <a:cxn ang="0">
                    <a:pos x="92" y="37"/>
                  </a:cxn>
                </a:cxnLst>
                <a:rect l="0" t="0" r="r" b="b"/>
                <a:pathLst>
                  <a:path w="138" h="92">
                    <a:moveTo>
                      <a:pt x="92" y="37"/>
                    </a:moveTo>
                    <a:cubicBezTo>
                      <a:pt x="97" y="37"/>
                      <a:pt x="97" y="37"/>
                      <a:pt x="97" y="37"/>
                    </a:cubicBezTo>
                    <a:cubicBezTo>
                      <a:pt x="97" y="32"/>
                      <a:pt x="97" y="32"/>
                      <a:pt x="97" y="32"/>
                    </a:cubicBezTo>
                    <a:cubicBezTo>
                      <a:pt x="95" y="28"/>
                      <a:pt x="95" y="28"/>
                      <a:pt x="95" y="28"/>
                    </a:cubicBezTo>
                    <a:cubicBezTo>
                      <a:pt x="97" y="28"/>
                      <a:pt x="98" y="28"/>
                      <a:pt x="100" y="28"/>
                    </a:cubicBezTo>
                    <a:cubicBezTo>
                      <a:pt x="106" y="28"/>
                      <a:pt x="105" y="31"/>
                      <a:pt x="105" y="36"/>
                    </a:cubicBezTo>
                    <a:cubicBezTo>
                      <a:pt x="105" y="39"/>
                      <a:pt x="111" y="39"/>
                      <a:pt x="111" y="43"/>
                    </a:cubicBezTo>
                    <a:cubicBezTo>
                      <a:pt x="111" y="46"/>
                      <a:pt x="108" y="46"/>
                      <a:pt x="108" y="49"/>
                    </a:cubicBezTo>
                    <a:cubicBezTo>
                      <a:pt x="108" y="53"/>
                      <a:pt x="114" y="49"/>
                      <a:pt x="115" y="49"/>
                    </a:cubicBezTo>
                    <a:cubicBezTo>
                      <a:pt x="120" y="49"/>
                      <a:pt x="131" y="54"/>
                      <a:pt x="137" y="55"/>
                    </a:cubicBezTo>
                    <a:cubicBezTo>
                      <a:pt x="137" y="58"/>
                      <a:pt x="138" y="60"/>
                      <a:pt x="136" y="61"/>
                    </a:cubicBezTo>
                    <a:cubicBezTo>
                      <a:pt x="135" y="64"/>
                      <a:pt x="130" y="63"/>
                      <a:pt x="126" y="64"/>
                    </a:cubicBezTo>
                    <a:cubicBezTo>
                      <a:pt x="117" y="65"/>
                      <a:pt x="111" y="78"/>
                      <a:pt x="105" y="78"/>
                    </a:cubicBezTo>
                    <a:cubicBezTo>
                      <a:pt x="100" y="78"/>
                      <a:pt x="100" y="74"/>
                      <a:pt x="98" y="69"/>
                    </a:cubicBezTo>
                    <a:cubicBezTo>
                      <a:pt x="96" y="71"/>
                      <a:pt x="95" y="73"/>
                      <a:pt x="93" y="76"/>
                    </a:cubicBezTo>
                    <a:cubicBezTo>
                      <a:pt x="96" y="80"/>
                      <a:pt x="97" y="81"/>
                      <a:pt x="99" y="84"/>
                    </a:cubicBezTo>
                    <a:cubicBezTo>
                      <a:pt x="91" y="84"/>
                      <a:pt x="91" y="84"/>
                      <a:pt x="91" y="84"/>
                    </a:cubicBezTo>
                    <a:cubicBezTo>
                      <a:pt x="91" y="90"/>
                      <a:pt x="91" y="90"/>
                      <a:pt x="91" y="90"/>
                    </a:cubicBezTo>
                    <a:cubicBezTo>
                      <a:pt x="87" y="91"/>
                      <a:pt x="79" y="85"/>
                      <a:pt x="75" y="82"/>
                    </a:cubicBezTo>
                    <a:cubicBezTo>
                      <a:pt x="75" y="90"/>
                      <a:pt x="71" y="92"/>
                      <a:pt x="64" y="92"/>
                    </a:cubicBezTo>
                    <a:cubicBezTo>
                      <a:pt x="57" y="92"/>
                      <a:pt x="48" y="91"/>
                      <a:pt x="47" y="84"/>
                    </a:cubicBezTo>
                    <a:cubicBezTo>
                      <a:pt x="50" y="84"/>
                      <a:pt x="51" y="83"/>
                      <a:pt x="53" y="81"/>
                    </a:cubicBezTo>
                    <a:cubicBezTo>
                      <a:pt x="45" y="81"/>
                      <a:pt x="33" y="77"/>
                      <a:pt x="33" y="70"/>
                    </a:cubicBezTo>
                    <a:cubicBezTo>
                      <a:pt x="33" y="62"/>
                      <a:pt x="60" y="63"/>
                      <a:pt x="66" y="61"/>
                    </a:cubicBezTo>
                    <a:cubicBezTo>
                      <a:pt x="60" y="60"/>
                      <a:pt x="55" y="58"/>
                      <a:pt x="48" y="58"/>
                    </a:cubicBezTo>
                    <a:cubicBezTo>
                      <a:pt x="41" y="58"/>
                      <a:pt x="40" y="61"/>
                      <a:pt x="35" y="61"/>
                    </a:cubicBezTo>
                    <a:cubicBezTo>
                      <a:pt x="30" y="61"/>
                      <a:pt x="30" y="58"/>
                      <a:pt x="29" y="56"/>
                    </a:cubicBezTo>
                    <a:cubicBezTo>
                      <a:pt x="24" y="58"/>
                      <a:pt x="23" y="59"/>
                      <a:pt x="19" y="59"/>
                    </a:cubicBezTo>
                    <a:cubicBezTo>
                      <a:pt x="16" y="59"/>
                      <a:pt x="16" y="58"/>
                      <a:pt x="16" y="55"/>
                    </a:cubicBezTo>
                    <a:cubicBezTo>
                      <a:pt x="20" y="53"/>
                      <a:pt x="23" y="53"/>
                      <a:pt x="26" y="49"/>
                    </a:cubicBezTo>
                    <a:cubicBezTo>
                      <a:pt x="11" y="49"/>
                      <a:pt x="2" y="48"/>
                      <a:pt x="0" y="35"/>
                    </a:cubicBezTo>
                    <a:cubicBezTo>
                      <a:pt x="7" y="35"/>
                      <a:pt x="7" y="35"/>
                      <a:pt x="7" y="35"/>
                    </a:cubicBezTo>
                    <a:cubicBezTo>
                      <a:pt x="9" y="37"/>
                      <a:pt x="16" y="39"/>
                      <a:pt x="20" y="39"/>
                    </a:cubicBezTo>
                    <a:cubicBezTo>
                      <a:pt x="22" y="39"/>
                      <a:pt x="24" y="36"/>
                      <a:pt x="24" y="36"/>
                    </a:cubicBezTo>
                    <a:cubicBezTo>
                      <a:pt x="19" y="34"/>
                      <a:pt x="5" y="31"/>
                      <a:pt x="5" y="26"/>
                    </a:cubicBezTo>
                    <a:cubicBezTo>
                      <a:pt x="5" y="21"/>
                      <a:pt x="11" y="22"/>
                      <a:pt x="15" y="22"/>
                    </a:cubicBezTo>
                    <a:cubicBezTo>
                      <a:pt x="21" y="22"/>
                      <a:pt x="23" y="25"/>
                      <a:pt x="27" y="25"/>
                    </a:cubicBezTo>
                    <a:cubicBezTo>
                      <a:pt x="30" y="25"/>
                      <a:pt x="30" y="22"/>
                      <a:pt x="32" y="20"/>
                    </a:cubicBezTo>
                    <a:cubicBezTo>
                      <a:pt x="27" y="18"/>
                      <a:pt x="22" y="20"/>
                      <a:pt x="19" y="20"/>
                    </a:cubicBezTo>
                    <a:cubicBezTo>
                      <a:pt x="18" y="20"/>
                      <a:pt x="14" y="14"/>
                      <a:pt x="14" y="13"/>
                    </a:cubicBezTo>
                    <a:cubicBezTo>
                      <a:pt x="19" y="10"/>
                      <a:pt x="23" y="8"/>
                      <a:pt x="30" y="9"/>
                    </a:cubicBezTo>
                    <a:cubicBezTo>
                      <a:pt x="38" y="9"/>
                      <a:pt x="38" y="9"/>
                      <a:pt x="38" y="9"/>
                    </a:cubicBezTo>
                    <a:cubicBezTo>
                      <a:pt x="33" y="7"/>
                      <a:pt x="25" y="6"/>
                      <a:pt x="25" y="0"/>
                    </a:cubicBezTo>
                    <a:cubicBezTo>
                      <a:pt x="36" y="1"/>
                      <a:pt x="45" y="2"/>
                      <a:pt x="53" y="5"/>
                    </a:cubicBezTo>
                    <a:cubicBezTo>
                      <a:pt x="61" y="9"/>
                      <a:pt x="60" y="21"/>
                      <a:pt x="67" y="24"/>
                    </a:cubicBezTo>
                    <a:cubicBezTo>
                      <a:pt x="73" y="27"/>
                      <a:pt x="78" y="22"/>
                      <a:pt x="84" y="25"/>
                    </a:cubicBezTo>
                    <a:cubicBezTo>
                      <a:pt x="91" y="28"/>
                      <a:pt x="88" y="33"/>
                      <a:pt x="92"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7" name="Freeform 77"/>
              <p:cNvSpPr>
                <a:spLocks/>
              </p:cNvSpPr>
              <p:nvPr/>
            </p:nvSpPr>
            <p:spPr bwMode="auto">
              <a:xfrm>
                <a:off x="2925763" y="1574800"/>
                <a:ext cx="117475" cy="74613"/>
              </a:xfrm>
              <a:custGeom>
                <a:avLst/>
                <a:gdLst/>
                <a:ahLst/>
                <a:cxnLst>
                  <a:cxn ang="0">
                    <a:pos x="6" y="39"/>
                  </a:cxn>
                  <a:cxn ang="0">
                    <a:pos x="11" y="33"/>
                  </a:cxn>
                  <a:cxn ang="0">
                    <a:pos x="11" y="27"/>
                  </a:cxn>
                  <a:cxn ang="0">
                    <a:pos x="25" y="0"/>
                  </a:cxn>
                  <a:cxn ang="0">
                    <a:pos x="32" y="13"/>
                  </a:cxn>
                  <a:cxn ang="0">
                    <a:pos x="36" y="9"/>
                  </a:cxn>
                  <a:cxn ang="0">
                    <a:pos x="67" y="27"/>
                  </a:cxn>
                  <a:cxn ang="0">
                    <a:pos x="70" y="35"/>
                  </a:cxn>
                  <a:cxn ang="0">
                    <a:pos x="89" y="43"/>
                  </a:cxn>
                  <a:cxn ang="0">
                    <a:pos x="75" y="48"/>
                  </a:cxn>
                  <a:cxn ang="0">
                    <a:pos x="63" y="48"/>
                  </a:cxn>
                  <a:cxn ang="0">
                    <a:pos x="46" y="37"/>
                  </a:cxn>
                  <a:cxn ang="0">
                    <a:pos x="25" y="53"/>
                  </a:cxn>
                  <a:cxn ang="0">
                    <a:pos x="22" y="57"/>
                  </a:cxn>
                  <a:cxn ang="0">
                    <a:pos x="19" y="48"/>
                  </a:cxn>
                  <a:cxn ang="0">
                    <a:pos x="0" y="48"/>
                  </a:cxn>
                  <a:cxn ang="0">
                    <a:pos x="6" y="39"/>
                  </a:cxn>
                </a:cxnLst>
                <a:rect l="0" t="0" r="r" b="b"/>
                <a:pathLst>
                  <a:path w="89" h="57">
                    <a:moveTo>
                      <a:pt x="6" y="39"/>
                    </a:moveTo>
                    <a:cubicBezTo>
                      <a:pt x="9" y="37"/>
                      <a:pt x="11" y="36"/>
                      <a:pt x="11" y="33"/>
                    </a:cubicBezTo>
                    <a:cubicBezTo>
                      <a:pt x="11" y="29"/>
                      <a:pt x="11" y="31"/>
                      <a:pt x="11" y="27"/>
                    </a:cubicBezTo>
                    <a:cubicBezTo>
                      <a:pt x="11" y="19"/>
                      <a:pt x="13" y="2"/>
                      <a:pt x="25" y="0"/>
                    </a:cubicBezTo>
                    <a:cubicBezTo>
                      <a:pt x="28" y="7"/>
                      <a:pt x="30" y="8"/>
                      <a:pt x="32" y="13"/>
                    </a:cubicBezTo>
                    <a:cubicBezTo>
                      <a:pt x="33" y="11"/>
                      <a:pt x="35" y="10"/>
                      <a:pt x="36" y="9"/>
                    </a:cubicBezTo>
                    <a:cubicBezTo>
                      <a:pt x="45" y="21"/>
                      <a:pt x="59" y="16"/>
                      <a:pt x="67" y="27"/>
                    </a:cubicBezTo>
                    <a:cubicBezTo>
                      <a:pt x="69" y="30"/>
                      <a:pt x="68" y="33"/>
                      <a:pt x="70" y="35"/>
                    </a:cubicBezTo>
                    <a:cubicBezTo>
                      <a:pt x="77" y="40"/>
                      <a:pt x="85" y="38"/>
                      <a:pt x="89" y="43"/>
                    </a:cubicBezTo>
                    <a:cubicBezTo>
                      <a:pt x="84" y="46"/>
                      <a:pt x="80" y="48"/>
                      <a:pt x="75" y="48"/>
                    </a:cubicBezTo>
                    <a:cubicBezTo>
                      <a:pt x="69" y="48"/>
                      <a:pt x="67" y="48"/>
                      <a:pt x="63" y="48"/>
                    </a:cubicBezTo>
                    <a:cubicBezTo>
                      <a:pt x="63" y="48"/>
                      <a:pt x="49" y="38"/>
                      <a:pt x="46" y="37"/>
                    </a:cubicBezTo>
                    <a:cubicBezTo>
                      <a:pt x="46" y="47"/>
                      <a:pt x="31" y="56"/>
                      <a:pt x="25" y="53"/>
                    </a:cubicBezTo>
                    <a:cubicBezTo>
                      <a:pt x="24" y="55"/>
                      <a:pt x="24" y="57"/>
                      <a:pt x="22" y="57"/>
                    </a:cubicBezTo>
                    <a:cubicBezTo>
                      <a:pt x="16" y="57"/>
                      <a:pt x="18" y="52"/>
                      <a:pt x="19" y="48"/>
                    </a:cubicBezTo>
                    <a:cubicBezTo>
                      <a:pt x="12" y="46"/>
                      <a:pt x="3" y="48"/>
                      <a:pt x="0" y="48"/>
                    </a:cubicBezTo>
                    <a:cubicBezTo>
                      <a:pt x="0" y="40"/>
                      <a:pt x="5" y="41"/>
                      <a:pt x="6"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8" name="Freeform 78"/>
              <p:cNvSpPr>
                <a:spLocks/>
              </p:cNvSpPr>
              <p:nvPr/>
            </p:nvSpPr>
            <p:spPr bwMode="auto">
              <a:xfrm>
                <a:off x="3094038" y="1500188"/>
                <a:ext cx="36513" cy="36513"/>
              </a:xfrm>
              <a:custGeom>
                <a:avLst/>
                <a:gdLst/>
                <a:ahLst/>
                <a:cxnLst>
                  <a:cxn ang="0">
                    <a:pos x="27" y="18"/>
                  </a:cxn>
                  <a:cxn ang="0">
                    <a:pos x="11" y="28"/>
                  </a:cxn>
                  <a:cxn ang="0">
                    <a:pos x="0" y="18"/>
                  </a:cxn>
                  <a:cxn ang="0">
                    <a:pos x="27" y="18"/>
                  </a:cxn>
                </a:cxnLst>
                <a:rect l="0" t="0" r="r" b="b"/>
                <a:pathLst>
                  <a:path w="27" h="28">
                    <a:moveTo>
                      <a:pt x="27" y="18"/>
                    </a:moveTo>
                    <a:cubicBezTo>
                      <a:pt x="27" y="24"/>
                      <a:pt x="16" y="28"/>
                      <a:pt x="11" y="28"/>
                    </a:cubicBezTo>
                    <a:cubicBezTo>
                      <a:pt x="4" y="28"/>
                      <a:pt x="0" y="23"/>
                      <a:pt x="0" y="18"/>
                    </a:cubicBezTo>
                    <a:cubicBezTo>
                      <a:pt x="0" y="0"/>
                      <a:pt x="27" y="3"/>
                      <a:pt x="27"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59" name="Freeform 79"/>
              <p:cNvSpPr>
                <a:spLocks/>
              </p:cNvSpPr>
              <p:nvPr/>
            </p:nvSpPr>
            <p:spPr bwMode="auto">
              <a:xfrm>
                <a:off x="2984500" y="1652588"/>
                <a:ext cx="30163" cy="23813"/>
              </a:xfrm>
              <a:custGeom>
                <a:avLst/>
                <a:gdLst/>
                <a:ahLst/>
                <a:cxnLst>
                  <a:cxn ang="0">
                    <a:pos x="10" y="1"/>
                  </a:cxn>
                  <a:cxn ang="0">
                    <a:pos x="22" y="3"/>
                  </a:cxn>
                  <a:cxn ang="0">
                    <a:pos x="0" y="18"/>
                  </a:cxn>
                  <a:cxn ang="0">
                    <a:pos x="0" y="12"/>
                  </a:cxn>
                  <a:cxn ang="0">
                    <a:pos x="10" y="1"/>
                  </a:cxn>
                </a:cxnLst>
                <a:rect l="0" t="0" r="r" b="b"/>
                <a:pathLst>
                  <a:path w="22" h="18">
                    <a:moveTo>
                      <a:pt x="10" y="1"/>
                    </a:moveTo>
                    <a:cubicBezTo>
                      <a:pt x="19" y="0"/>
                      <a:pt x="17" y="0"/>
                      <a:pt x="22" y="3"/>
                    </a:cubicBezTo>
                    <a:cubicBezTo>
                      <a:pt x="18" y="8"/>
                      <a:pt x="7" y="17"/>
                      <a:pt x="0" y="18"/>
                    </a:cubicBezTo>
                    <a:cubicBezTo>
                      <a:pt x="0" y="12"/>
                      <a:pt x="0" y="12"/>
                      <a:pt x="0" y="12"/>
                    </a:cubicBezTo>
                    <a:cubicBezTo>
                      <a:pt x="4" y="7"/>
                      <a:pt x="9" y="4"/>
                      <a:pt x="10"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0" name="Freeform 80"/>
              <p:cNvSpPr>
                <a:spLocks/>
              </p:cNvSpPr>
              <p:nvPr/>
            </p:nvSpPr>
            <p:spPr bwMode="auto">
              <a:xfrm>
                <a:off x="3032125" y="1336675"/>
                <a:ext cx="79375" cy="33338"/>
              </a:xfrm>
              <a:custGeom>
                <a:avLst/>
                <a:gdLst/>
                <a:ahLst/>
                <a:cxnLst>
                  <a:cxn ang="0">
                    <a:pos x="22" y="25"/>
                  </a:cxn>
                  <a:cxn ang="0">
                    <a:pos x="9" y="16"/>
                  </a:cxn>
                  <a:cxn ang="0">
                    <a:pos x="0" y="6"/>
                  </a:cxn>
                  <a:cxn ang="0">
                    <a:pos x="8" y="0"/>
                  </a:cxn>
                  <a:cxn ang="0">
                    <a:pos x="30" y="3"/>
                  </a:cxn>
                  <a:cxn ang="0">
                    <a:pos x="60" y="17"/>
                  </a:cxn>
                  <a:cxn ang="0">
                    <a:pos x="52" y="24"/>
                  </a:cxn>
                  <a:cxn ang="0">
                    <a:pos x="39" y="21"/>
                  </a:cxn>
                  <a:cxn ang="0">
                    <a:pos x="22" y="25"/>
                  </a:cxn>
                </a:cxnLst>
                <a:rect l="0" t="0" r="r" b="b"/>
                <a:pathLst>
                  <a:path w="60" h="25">
                    <a:moveTo>
                      <a:pt x="22" y="25"/>
                    </a:moveTo>
                    <a:cubicBezTo>
                      <a:pt x="14" y="25"/>
                      <a:pt x="6" y="23"/>
                      <a:pt x="9" y="16"/>
                    </a:cubicBezTo>
                    <a:cubicBezTo>
                      <a:pt x="5" y="13"/>
                      <a:pt x="0" y="11"/>
                      <a:pt x="0" y="6"/>
                    </a:cubicBezTo>
                    <a:cubicBezTo>
                      <a:pt x="0" y="2"/>
                      <a:pt x="4" y="0"/>
                      <a:pt x="8" y="0"/>
                    </a:cubicBezTo>
                    <a:cubicBezTo>
                      <a:pt x="18" y="0"/>
                      <a:pt x="21" y="3"/>
                      <a:pt x="30" y="3"/>
                    </a:cubicBezTo>
                    <a:cubicBezTo>
                      <a:pt x="42" y="3"/>
                      <a:pt x="52" y="13"/>
                      <a:pt x="60" y="17"/>
                    </a:cubicBezTo>
                    <a:cubicBezTo>
                      <a:pt x="59" y="21"/>
                      <a:pt x="56" y="24"/>
                      <a:pt x="52" y="24"/>
                    </a:cubicBezTo>
                    <a:cubicBezTo>
                      <a:pt x="46" y="24"/>
                      <a:pt x="44" y="21"/>
                      <a:pt x="39" y="21"/>
                    </a:cubicBezTo>
                    <a:cubicBezTo>
                      <a:pt x="34" y="21"/>
                      <a:pt x="30" y="25"/>
                      <a:pt x="22"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1" name="Freeform 81"/>
              <p:cNvSpPr>
                <a:spLocks/>
              </p:cNvSpPr>
              <p:nvPr/>
            </p:nvSpPr>
            <p:spPr bwMode="auto">
              <a:xfrm>
                <a:off x="3040063" y="1666875"/>
                <a:ext cx="17463" cy="20638"/>
              </a:xfrm>
              <a:custGeom>
                <a:avLst/>
                <a:gdLst/>
                <a:ahLst/>
                <a:cxnLst>
                  <a:cxn ang="0">
                    <a:pos x="14" y="6"/>
                  </a:cxn>
                  <a:cxn ang="0">
                    <a:pos x="6" y="15"/>
                  </a:cxn>
                  <a:cxn ang="0">
                    <a:pos x="0" y="9"/>
                  </a:cxn>
                  <a:cxn ang="0">
                    <a:pos x="14" y="6"/>
                  </a:cxn>
                </a:cxnLst>
                <a:rect l="0" t="0" r="r" b="b"/>
                <a:pathLst>
                  <a:path w="14" h="15">
                    <a:moveTo>
                      <a:pt x="14" y="6"/>
                    </a:moveTo>
                    <a:cubicBezTo>
                      <a:pt x="12" y="9"/>
                      <a:pt x="11" y="15"/>
                      <a:pt x="6" y="15"/>
                    </a:cubicBezTo>
                    <a:cubicBezTo>
                      <a:pt x="5" y="15"/>
                      <a:pt x="0" y="9"/>
                      <a:pt x="0" y="9"/>
                    </a:cubicBezTo>
                    <a:cubicBezTo>
                      <a:pt x="0" y="1"/>
                      <a:pt x="10" y="0"/>
                      <a:pt x="14"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2" name="Freeform 82"/>
              <p:cNvSpPr>
                <a:spLocks/>
              </p:cNvSpPr>
              <p:nvPr/>
            </p:nvSpPr>
            <p:spPr bwMode="auto">
              <a:xfrm>
                <a:off x="3136900" y="1509713"/>
                <a:ext cx="19050" cy="11113"/>
              </a:xfrm>
              <a:custGeom>
                <a:avLst/>
                <a:gdLst/>
                <a:ahLst/>
                <a:cxnLst>
                  <a:cxn ang="0">
                    <a:pos x="5" y="8"/>
                  </a:cxn>
                  <a:cxn ang="0">
                    <a:pos x="0" y="4"/>
                  </a:cxn>
                  <a:cxn ang="0">
                    <a:pos x="5" y="0"/>
                  </a:cxn>
                  <a:cxn ang="0">
                    <a:pos x="14" y="7"/>
                  </a:cxn>
                  <a:cxn ang="0">
                    <a:pos x="5" y="8"/>
                  </a:cxn>
                </a:cxnLst>
                <a:rect l="0" t="0" r="r" b="b"/>
                <a:pathLst>
                  <a:path w="14" h="8">
                    <a:moveTo>
                      <a:pt x="5" y="8"/>
                    </a:moveTo>
                    <a:cubicBezTo>
                      <a:pt x="2" y="8"/>
                      <a:pt x="0" y="7"/>
                      <a:pt x="0" y="4"/>
                    </a:cubicBezTo>
                    <a:cubicBezTo>
                      <a:pt x="0" y="3"/>
                      <a:pt x="4" y="0"/>
                      <a:pt x="5" y="0"/>
                    </a:cubicBezTo>
                    <a:cubicBezTo>
                      <a:pt x="9" y="0"/>
                      <a:pt x="13" y="5"/>
                      <a:pt x="14" y="7"/>
                    </a:cubicBezTo>
                    <a:cubicBezTo>
                      <a:pt x="8" y="8"/>
                      <a:pt x="10" y="8"/>
                      <a:pt x="5"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3" name="Freeform 83"/>
              <p:cNvSpPr>
                <a:spLocks/>
              </p:cNvSpPr>
              <p:nvPr/>
            </p:nvSpPr>
            <p:spPr bwMode="auto">
              <a:xfrm>
                <a:off x="3052763" y="1476375"/>
                <a:ext cx="20638" cy="12700"/>
              </a:xfrm>
              <a:custGeom>
                <a:avLst/>
                <a:gdLst/>
                <a:ahLst/>
                <a:cxnLst>
                  <a:cxn ang="0">
                    <a:pos x="5" y="10"/>
                  </a:cxn>
                  <a:cxn ang="0">
                    <a:pos x="15" y="0"/>
                  </a:cxn>
                  <a:cxn ang="0">
                    <a:pos x="5" y="10"/>
                  </a:cxn>
                </a:cxnLst>
                <a:rect l="0" t="0" r="r" b="b"/>
                <a:pathLst>
                  <a:path w="15" h="10">
                    <a:moveTo>
                      <a:pt x="5" y="10"/>
                    </a:moveTo>
                    <a:cubicBezTo>
                      <a:pt x="0" y="10"/>
                      <a:pt x="10" y="0"/>
                      <a:pt x="15" y="0"/>
                    </a:cubicBezTo>
                    <a:cubicBezTo>
                      <a:pt x="14" y="6"/>
                      <a:pt x="10" y="10"/>
                      <a:pt x="5"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4" name="Freeform 84"/>
              <p:cNvSpPr>
                <a:spLocks/>
              </p:cNvSpPr>
              <p:nvPr/>
            </p:nvSpPr>
            <p:spPr bwMode="auto">
              <a:xfrm>
                <a:off x="2876550" y="1335088"/>
                <a:ext cx="482600" cy="347663"/>
              </a:xfrm>
              <a:custGeom>
                <a:avLst/>
                <a:gdLst/>
                <a:ahLst/>
                <a:cxnLst>
                  <a:cxn ang="0">
                    <a:pos x="333" y="196"/>
                  </a:cxn>
                  <a:cxn ang="0">
                    <a:pos x="281" y="171"/>
                  </a:cxn>
                  <a:cxn ang="0">
                    <a:pos x="289" y="177"/>
                  </a:cxn>
                  <a:cxn ang="0">
                    <a:pos x="283" y="184"/>
                  </a:cxn>
                  <a:cxn ang="0">
                    <a:pos x="298" y="201"/>
                  </a:cxn>
                  <a:cxn ang="0">
                    <a:pos x="318" y="206"/>
                  </a:cxn>
                  <a:cxn ang="0">
                    <a:pos x="326" y="225"/>
                  </a:cxn>
                  <a:cxn ang="0">
                    <a:pos x="278" y="225"/>
                  </a:cxn>
                  <a:cxn ang="0">
                    <a:pos x="304" y="256"/>
                  </a:cxn>
                  <a:cxn ang="0">
                    <a:pos x="295" y="256"/>
                  </a:cxn>
                  <a:cxn ang="0">
                    <a:pos x="233" y="226"/>
                  </a:cxn>
                  <a:cxn ang="0">
                    <a:pos x="190" y="210"/>
                  </a:cxn>
                  <a:cxn ang="0">
                    <a:pos x="169" y="214"/>
                  </a:cxn>
                  <a:cxn ang="0">
                    <a:pos x="168" y="189"/>
                  </a:cxn>
                  <a:cxn ang="0">
                    <a:pos x="207" y="183"/>
                  </a:cxn>
                  <a:cxn ang="0">
                    <a:pos x="210" y="167"/>
                  </a:cxn>
                  <a:cxn ang="0">
                    <a:pos x="186" y="115"/>
                  </a:cxn>
                  <a:cxn ang="0">
                    <a:pos x="168" y="115"/>
                  </a:cxn>
                  <a:cxn ang="0">
                    <a:pos x="146" y="85"/>
                  </a:cxn>
                  <a:cxn ang="0">
                    <a:pos x="122" y="91"/>
                  </a:cxn>
                  <a:cxn ang="0">
                    <a:pos x="41" y="82"/>
                  </a:cxn>
                  <a:cxn ang="0">
                    <a:pos x="11" y="69"/>
                  </a:cxn>
                  <a:cxn ang="0">
                    <a:pos x="30" y="65"/>
                  </a:cxn>
                  <a:cxn ang="0">
                    <a:pos x="0" y="48"/>
                  </a:cxn>
                  <a:cxn ang="0">
                    <a:pos x="11" y="16"/>
                  </a:cxn>
                  <a:cxn ang="0">
                    <a:pos x="61" y="4"/>
                  </a:cxn>
                  <a:cxn ang="0">
                    <a:pos x="46" y="32"/>
                  </a:cxn>
                  <a:cxn ang="0">
                    <a:pos x="50" y="47"/>
                  </a:cxn>
                  <a:cxn ang="0">
                    <a:pos x="55" y="26"/>
                  </a:cxn>
                  <a:cxn ang="0">
                    <a:pos x="120" y="29"/>
                  </a:cxn>
                  <a:cxn ang="0">
                    <a:pos x="128" y="34"/>
                  </a:cxn>
                  <a:cxn ang="0">
                    <a:pos x="156" y="27"/>
                  </a:cxn>
                  <a:cxn ang="0">
                    <a:pos x="217" y="56"/>
                  </a:cxn>
                  <a:cxn ang="0">
                    <a:pos x="242" y="65"/>
                  </a:cxn>
                  <a:cxn ang="0">
                    <a:pos x="273" y="85"/>
                  </a:cxn>
                  <a:cxn ang="0">
                    <a:pos x="293" y="95"/>
                  </a:cxn>
                  <a:cxn ang="0">
                    <a:pos x="291" y="102"/>
                  </a:cxn>
                  <a:cxn ang="0">
                    <a:pos x="283" y="116"/>
                  </a:cxn>
                  <a:cxn ang="0">
                    <a:pos x="317" y="135"/>
                  </a:cxn>
                  <a:cxn ang="0">
                    <a:pos x="342" y="153"/>
                  </a:cxn>
                  <a:cxn ang="0">
                    <a:pos x="362" y="165"/>
                  </a:cxn>
                  <a:cxn ang="0">
                    <a:pos x="349" y="178"/>
                  </a:cxn>
                </a:cxnLst>
                <a:rect l="0" t="0" r="r" b="b"/>
                <a:pathLst>
                  <a:path w="362" h="261">
                    <a:moveTo>
                      <a:pt x="339" y="184"/>
                    </a:moveTo>
                    <a:cubicBezTo>
                      <a:pt x="339" y="189"/>
                      <a:pt x="338" y="196"/>
                      <a:pt x="333" y="196"/>
                    </a:cubicBezTo>
                    <a:cubicBezTo>
                      <a:pt x="311" y="196"/>
                      <a:pt x="311" y="166"/>
                      <a:pt x="289" y="166"/>
                    </a:cubicBezTo>
                    <a:cubicBezTo>
                      <a:pt x="287" y="166"/>
                      <a:pt x="281" y="171"/>
                      <a:pt x="281" y="171"/>
                    </a:cubicBezTo>
                    <a:cubicBezTo>
                      <a:pt x="284" y="173"/>
                      <a:pt x="285" y="173"/>
                      <a:pt x="289" y="172"/>
                    </a:cubicBezTo>
                    <a:cubicBezTo>
                      <a:pt x="289" y="177"/>
                      <a:pt x="289" y="177"/>
                      <a:pt x="289" y="177"/>
                    </a:cubicBezTo>
                    <a:cubicBezTo>
                      <a:pt x="287" y="178"/>
                      <a:pt x="284" y="178"/>
                      <a:pt x="283" y="177"/>
                    </a:cubicBezTo>
                    <a:cubicBezTo>
                      <a:pt x="283" y="184"/>
                      <a:pt x="283" y="184"/>
                      <a:pt x="283" y="184"/>
                    </a:cubicBezTo>
                    <a:cubicBezTo>
                      <a:pt x="288" y="184"/>
                      <a:pt x="288" y="184"/>
                      <a:pt x="288" y="184"/>
                    </a:cubicBezTo>
                    <a:cubicBezTo>
                      <a:pt x="289" y="189"/>
                      <a:pt x="295" y="199"/>
                      <a:pt x="298" y="201"/>
                    </a:cubicBezTo>
                    <a:cubicBezTo>
                      <a:pt x="307" y="204"/>
                      <a:pt x="310" y="198"/>
                      <a:pt x="311" y="206"/>
                    </a:cubicBezTo>
                    <a:cubicBezTo>
                      <a:pt x="315" y="206"/>
                      <a:pt x="315" y="206"/>
                      <a:pt x="318" y="206"/>
                    </a:cubicBezTo>
                    <a:cubicBezTo>
                      <a:pt x="318" y="213"/>
                      <a:pt x="318" y="213"/>
                      <a:pt x="318" y="215"/>
                    </a:cubicBezTo>
                    <a:cubicBezTo>
                      <a:pt x="318" y="218"/>
                      <a:pt x="326" y="220"/>
                      <a:pt x="326" y="225"/>
                    </a:cubicBezTo>
                    <a:cubicBezTo>
                      <a:pt x="326" y="229"/>
                      <a:pt x="321" y="238"/>
                      <a:pt x="319" y="242"/>
                    </a:cubicBezTo>
                    <a:cubicBezTo>
                      <a:pt x="311" y="242"/>
                      <a:pt x="283" y="231"/>
                      <a:pt x="278" y="225"/>
                    </a:cubicBezTo>
                    <a:cubicBezTo>
                      <a:pt x="272" y="225"/>
                      <a:pt x="272" y="225"/>
                      <a:pt x="272" y="225"/>
                    </a:cubicBezTo>
                    <a:cubicBezTo>
                      <a:pt x="279" y="234"/>
                      <a:pt x="304" y="243"/>
                      <a:pt x="304" y="256"/>
                    </a:cubicBezTo>
                    <a:cubicBezTo>
                      <a:pt x="304" y="259"/>
                      <a:pt x="301" y="261"/>
                      <a:pt x="299" y="261"/>
                    </a:cubicBezTo>
                    <a:cubicBezTo>
                      <a:pt x="297" y="261"/>
                      <a:pt x="296" y="256"/>
                      <a:pt x="295" y="256"/>
                    </a:cubicBezTo>
                    <a:cubicBezTo>
                      <a:pt x="282" y="249"/>
                      <a:pt x="274" y="252"/>
                      <a:pt x="263" y="245"/>
                    </a:cubicBezTo>
                    <a:cubicBezTo>
                      <a:pt x="252" y="239"/>
                      <a:pt x="226" y="240"/>
                      <a:pt x="233" y="226"/>
                    </a:cubicBezTo>
                    <a:cubicBezTo>
                      <a:pt x="219" y="219"/>
                      <a:pt x="212" y="211"/>
                      <a:pt x="199" y="204"/>
                    </a:cubicBezTo>
                    <a:cubicBezTo>
                      <a:pt x="197" y="207"/>
                      <a:pt x="194" y="210"/>
                      <a:pt x="190" y="210"/>
                    </a:cubicBezTo>
                    <a:cubicBezTo>
                      <a:pt x="186" y="210"/>
                      <a:pt x="187" y="207"/>
                      <a:pt x="183" y="207"/>
                    </a:cubicBezTo>
                    <a:cubicBezTo>
                      <a:pt x="177" y="207"/>
                      <a:pt x="175" y="214"/>
                      <a:pt x="169" y="214"/>
                    </a:cubicBezTo>
                    <a:cubicBezTo>
                      <a:pt x="165" y="214"/>
                      <a:pt x="150" y="208"/>
                      <a:pt x="150" y="201"/>
                    </a:cubicBezTo>
                    <a:cubicBezTo>
                      <a:pt x="150" y="197"/>
                      <a:pt x="162" y="189"/>
                      <a:pt x="168" y="189"/>
                    </a:cubicBezTo>
                    <a:cubicBezTo>
                      <a:pt x="176" y="189"/>
                      <a:pt x="183" y="189"/>
                      <a:pt x="187" y="189"/>
                    </a:cubicBezTo>
                    <a:cubicBezTo>
                      <a:pt x="191" y="189"/>
                      <a:pt x="202" y="187"/>
                      <a:pt x="207" y="183"/>
                    </a:cubicBezTo>
                    <a:cubicBezTo>
                      <a:pt x="205" y="182"/>
                      <a:pt x="199" y="178"/>
                      <a:pt x="199" y="174"/>
                    </a:cubicBezTo>
                    <a:cubicBezTo>
                      <a:pt x="199" y="167"/>
                      <a:pt x="207" y="171"/>
                      <a:pt x="210" y="167"/>
                    </a:cubicBezTo>
                    <a:cubicBezTo>
                      <a:pt x="214" y="163"/>
                      <a:pt x="223" y="154"/>
                      <a:pt x="223" y="148"/>
                    </a:cubicBezTo>
                    <a:cubicBezTo>
                      <a:pt x="223" y="136"/>
                      <a:pt x="195" y="115"/>
                      <a:pt x="186" y="115"/>
                    </a:cubicBezTo>
                    <a:cubicBezTo>
                      <a:pt x="180" y="115"/>
                      <a:pt x="177" y="120"/>
                      <a:pt x="172" y="120"/>
                    </a:cubicBezTo>
                    <a:cubicBezTo>
                      <a:pt x="170" y="120"/>
                      <a:pt x="168" y="115"/>
                      <a:pt x="168" y="115"/>
                    </a:cubicBezTo>
                    <a:cubicBezTo>
                      <a:pt x="168" y="110"/>
                      <a:pt x="176" y="109"/>
                      <a:pt x="179" y="109"/>
                    </a:cubicBezTo>
                    <a:cubicBezTo>
                      <a:pt x="175" y="105"/>
                      <a:pt x="151" y="85"/>
                      <a:pt x="146" y="85"/>
                    </a:cubicBezTo>
                    <a:cubicBezTo>
                      <a:pt x="140" y="85"/>
                      <a:pt x="133" y="101"/>
                      <a:pt x="125" y="101"/>
                    </a:cubicBezTo>
                    <a:cubicBezTo>
                      <a:pt x="120" y="101"/>
                      <a:pt x="121" y="94"/>
                      <a:pt x="122" y="91"/>
                    </a:cubicBezTo>
                    <a:cubicBezTo>
                      <a:pt x="108" y="90"/>
                      <a:pt x="75" y="91"/>
                      <a:pt x="55" y="91"/>
                    </a:cubicBezTo>
                    <a:cubicBezTo>
                      <a:pt x="51" y="91"/>
                      <a:pt x="44" y="86"/>
                      <a:pt x="41" y="82"/>
                    </a:cubicBezTo>
                    <a:cubicBezTo>
                      <a:pt x="20" y="82"/>
                      <a:pt x="20" y="82"/>
                      <a:pt x="20" y="82"/>
                    </a:cubicBezTo>
                    <a:cubicBezTo>
                      <a:pt x="18" y="76"/>
                      <a:pt x="11" y="75"/>
                      <a:pt x="11" y="69"/>
                    </a:cubicBezTo>
                    <a:cubicBezTo>
                      <a:pt x="16" y="67"/>
                      <a:pt x="23" y="70"/>
                      <a:pt x="30" y="70"/>
                    </a:cubicBezTo>
                    <a:cubicBezTo>
                      <a:pt x="30" y="65"/>
                      <a:pt x="30" y="65"/>
                      <a:pt x="30" y="65"/>
                    </a:cubicBezTo>
                    <a:cubicBezTo>
                      <a:pt x="26" y="62"/>
                      <a:pt x="6" y="60"/>
                      <a:pt x="6" y="60"/>
                    </a:cubicBezTo>
                    <a:cubicBezTo>
                      <a:pt x="6" y="60"/>
                      <a:pt x="0" y="52"/>
                      <a:pt x="0" y="48"/>
                    </a:cubicBezTo>
                    <a:cubicBezTo>
                      <a:pt x="0" y="36"/>
                      <a:pt x="2" y="33"/>
                      <a:pt x="8" y="29"/>
                    </a:cubicBezTo>
                    <a:cubicBezTo>
                      <a:pt x="12" y="26"/>
                      <a:pt x="10" y="18"/>
                      <a:pt x="11" y="16"/>
                    </a:cubicBezTo>
                    <a:cubicBezTo>
                      <a:pt x="20" y="7"/>
                      <a:pt x="32" y="0"/>
                      <a:pt x="47" y="0"/>
                    </a:cubicBezTo>
                    <a:cubicBezTo>
                      <a:pt x="47" y="0"/>
                      <a:pt x="61" y="4"/>
                      <a:pt x="61" y="4"/>
                    </a:cubicBezTo>
                    <a:cubicBezTo>
                      <a:pt x="57" y="14"/>
                      <a:pt x="42" y="14"/>
                      <a:pt x="42" y="27"/>
                    </a:cubicBezTo>
                    <a:cubicBezTo>
                      <a:pt x="42" y="30"/>
                      <a:pt x="44" y="32"/>
                      <a:pt x="46" y="32"/>
                    </a:cubicBezTo>
                    <a:cubicBezTo>
                      <a:pt x="45" y="35"/>
                      <a:pt x="46" y="40"/>
                      <a:pt x="46" y="40"/>
                    </a:cubicBezTo>
                    <a:cubicBezTo>
                      <a:pt x="46" y="43"/>
                      <a:pt x="45" y="47"/>
                      <a:pt x="50" y="47"/>
                    </a:cubicBezTo>
                    <a:cubicBezTo>
                      <a:pt x="53" y="47"/>
                      <a:pt x="59" y="42"/>
                      <a:pt x="59" y="38"/>
                    </a:cubicBezTo>
                    <a:cubicBezTo>
                      <a:pt x="59" y="34"/>
                      <a:pt x="55" y="31"/>
                      <a:pt x="55" y="26"/>
                    </a:cubicBezTo>
                    <a:cubicBezTo>
                      <a:pt x="55" y="10"/>
                      <a:pt x="84" y="4"/>
                      <a:pt x="102" y="4"/>
                    </a:cubicBezTo>
                    <a:cubicBezTo>
                      <a:pt x="113" y="4"/>
                      <a:pt x="120" y="20"/>
                      <a:pt x="120" y="29"/>
                    </a:cubicBezTo>
                    <a:cubicBezTo>
                      <a:pt x="120" y="31"/>
                      <a:pt x="117" y="38"/>
                      <a:pt x="120" y="38"/>
                    </a:cubicBezTo>
                    <a:cubicBezTo>
                      <a:pt x="122" y="38"/>
                      <a:pt x="124" y="34"/>
                      <a:pt x="128" y="34"/>
                    </a:cubicBezTo>
                    <a:cubicBezTo>
                      <a:pt x="133" y="34"/>
                      <a:pt x="135" y="38"/>
                      <a:pt x="138" y="38"/>
                    </a:cubicBezTo>
                    <a:cubicBezTo>
                      <a:pt x="146" y="38"/>
                      <a:pt x="148" y="27"/>
                      <a:pt x="156" y="27"/>
                    </a:cubicBezTo>
                    <a:cubicBezTo>
                      <a:pt x="165" y="27"/>
                      <a:pt x="183" y="30"/>
                      <a:pt x="189" y="34"/>
                    </a:cubicBezTo>
                    <a:cubicBezTo>
                      <a:pt x="199" y="41"/>
                      <a:pt x="202" y="56"/>
                      <a:pt x="217" y="56"/>
                    </a:cubicBezTo>
                    <a:cubicBezTo>
                      <a:pt x="223" y="56"/>
                      <a:pt x="224" y="56"/>
                      <a:pt x="228" y="56"/>
                    </a:cubicBezTo>
                    <a:cubicBezTo>
                      <a:pt x="232" y="56"/>
                      <a:pt x="243" y="57"/>
                      <a:pt x="242" y="65"/>
                    </a:cubicBezTo>
                    <a:cubicBezTo>
                      <a:pt x="254" y="69"/>
                      <a:pt x="261" y="76"/>
                      <a:pt x="273" y="77"/>
                    </a:cubicBezTo>
                    <a:cubicBezTo>
                      <a:pt x="273" y="85"/>
                      <a:pt x="273" y="85"/>
                      <a:pt x="273" y="85"/>
                    </a:cubicBezTo>
                    <a:cubicBezTo>
                      <a:pt x="276" y="85"/>
                      <a:pt x="281" y="85"/>
                      <a:pt x="281" y="85"/>
                    </a:cubicBezTo>
                    <a:cubicBezTo>
                      <a:pt x="287" y="85"/>
                      <a:pt x="290" y="89"/>
                      <a:pt x="293" y="95"/>
                    </a:cubicBezTo>
                    <a:cubicBezTo>
                      <a:pt x="287" y="96"/>
                      <a:pt x="281" y="96"/>
                      <a:pt x="277" y="101"/>
                    </a:cubicBezTo>
                    <a:cubicBezTo>
                      <a:pt x="285" y="102"/>
                      <a:pt x="287" y="102"/>
                      <a:pt x="291" y="102"/>
                    </a:cubicBezTo>
                    <a:cubicBezTo>
                      <a:pt x="293" y="102"/>
                      <a:pt x="296" y="103"/>
                      <a:pt x="297" y="106"/>
                    </a:cubicBezTo>
                    <a:cubicBezTo>
                      <a:pt x="290" y="110"/>
                      <a:pt x="287" y="110"/>
                      <a:pt x="283" y="116"/>
                    </a:cubicBezTo>
                    <a:cubicBezTo>
                      <a:pt x="287" y="118"/>
                      <a:pt x="289" y="120"/>
                      <a:pt x="295" y="120"/>
                    </a:cubicBezTo>
                    <a:cubicBezTo>
                      <a:pt x="296" y="130"/>
                      <a:pt x="308" y="134"/>
                      <a:pt x="317" y="135"/>
                    </a:cubicBezTo>
                    <a:cubicBezTo>
                      <a:pt x="318" y="143"/>
                      <a:pt x="320" y="151"/>
                      <a:pt x="327" y="151"/>
                    </a:cubicBezTo>
                    <a:cubicBezTo>
                      <a:pt x="337" y="151"/>
                      <a:pt x="339" y="145"/>
                      <a:pt x="342" y="153"/>
                    </a:cubicBezTo>
                    <a:cubicBezTo>
                      <a:pt x="344" y="155"/>
                      <a:pt x="348" y="155"/>
                      <a:pt x="350" y="155"/>
                    </a:cubicBezTo>
                    <a:cubicBezTo>
                      <a:pt x="359" y="155"/>
                      <a:pt x="362" y="158"/>
                      <a:pt x="362" y="165"/>
                    </a:cubicBezTo>
                    <a:cubicBezTo>
                      <a:pt x="362" y="171"/>
                      <a:pt x="355" y="173"/>
                      <a:pt x="349" y="173"/>
                    </a:cubicBezTo>
                    <a:cubicBezTo>
                      <a:pt x="349" y="178"/>
                      <a:pt x="349" y="176"/>
                      <a:pt x="349" y="178"/>
                    </a:cubicBezTo>
                    <a:cubicBezTo>
                      <a:pt x="349" y="180"/>
                      <a:pt x="348" y="184"/>
                      <a:pt x="339"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5" name="Freeform 85"/>
              <p:cNvSpPr>
                <a:spLocks/>
              </p:cNvSpPr>
              <p:nvPr/>
            </p:nvSpPr>
            <p:spPr bwMode="auto">
              <a:xfrm>
                <a:off x="3073400" y="1635125"/>
                <a:ext cx="14288" cy="12700"/>
              </a:xfrm>
              <a:custGeom>
                <a:avLst/>
                <a:gdLst/>
                <a:ahLst/>
                <a:cxnLst>
                  <a:cxn ang="0">
                    <a:pos x="10" y="6"/>
                  </a:cxn>
                  <a:cxn ang="0">
                    <a:pos x="0" y="6"/>
                  </a:cxn>
                  <a:cxn ang="0">
                    <a:pos x="10" y="6"/>
                  </a:cxn>
                </a:cxnLst>
                <a:rect l="0" t="0" r="r" b="b"/>
                <a:pathLst>
                  <a:path w="10" h="9">
                    <a:moveTo>
                      <a:pt x="10" y="6"/>
                    </a:moveTo>
                    <a:cubicBezTo>
                      <a:pt x="6" y="9"/>
                      <a:pt x="5" y="9"/>
                      <a:pt x="0" y="6"/>
                    </a:cubicBezTo>
                    <a:cubicBezTo>
                      <a:pt x="5" y="0"/>
                      <a:pt x="5" y="3"/>
                      <a:pt x="10"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6" name="Freeform 86"/>
              <p:cNvSpPr>
                <a:spLocks/>
              </p:cNvSpPr>
              <p:nvPr/>
            </p:nvSpPr>
            <p:spPr bwMode="auto">
              <a:xfrm>
                <a:off x="2974975" y="1568450"/>
                <a:ext cx="12700" cy="12700"/>
              </a:xfrm>
              <a:custGeom>
                <a:avLst/>
                <a:gdLst/>
                <a:ahLst/>
                <a:cxnLst>
                  <a:cxn ang="0">
                    <a:pos x="1" y="2"/>
                  </a:cxn>
                  <a:cxn ang="0">
                    <a:pos x="9" y="9"/>
                  </a:cxn>
                  <a:cxn ang="0">
                    <a:pos x="1" y="2"/>
                  </a:cxn>
                </a:cxnLst>
                <a:rect l="0" t="0" r="r" b="b"/>
                <a:pathLst>
                  <a:path w="9" h="9">
                    <a:moveTo>
                      <a:pt x="1" y="2"/>
                    </a:moveTo>
                    <a:cubicBezTo>
                      <a:pt x="6" y="0"/>
                      <a:pt x="6" y="5"/>
                      <a:pt x="9" y="9"/>
                    </a:cubicBezTo>
                    <a:cubicBezTo>
                      <a:pt x="4" y="9"/>
                      <a:pt x="0" y="5"/>
                      <a:pt x="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7" name="Freeform 87"/>
              <p:cNvSpPr>
                <a:spLocks/>
              </p:cNvSpPr>
              <p:nvPr/>
            </p:nvSpPr>
            <p:spPr bwMode="auto">
              <a:xfrm>
                <a:off x="2847975" y="985838"/>
                <a:ext cx="514350" cy="269875"/>
              </a:xfrm>
              <a:custGeom>
                <a:avLst/>
                <a:gdLst/>
                <a:ahLst/>
                <a:cxnLst>
                  <a:cxn ang="0">
                    <a:pos x="307" y="16"/>
                  </a:cxn>
                  <a:cxn ang="0">
                    <a:pos x="350" y="9"/>
                  </a:cxn>
                  <a:cxn ang="0">
                    <a:pos x="386" y="28"/>
                  </a:cxn>
                  <a:cxn ang="0">
                    <a:pos x="313" y="51"/>
                  </a:cxn>
                  <a:cxn ang="0">
                    <a:pos x="295" y="74"/>
                  </a:cxn>
                  <a:cxn ang="0">
                    <a:pos x="231" y="108"/>
                  </a:cxn>
                  <a:cxn ang="0">
                    <a:pos x="216" y="118"/>
                  </a:cxn>
                  <a:cxn ang="0">
                    <a:pos x="216" y="137"/>
                  </a:cxn>
                  <a:cxn ang="0">
                    <a:pos x="174" y="157"/>
                  </a:cxn>
                  <a:cxn ang="0">
                    <a:pos x="158" y="184"/>
                  </a:cxn>
                  <a:cxn ang="0">
                    <a:pos x="176" y="188"/>
                  </a:cxn>
                  <a:cxn ang="0">
                    <a:pos x="126" y="197"/>
                  </a:cxn>
                  <a:cxn ang="0">
                    <a:pos x="80" y="201"/>
                  </a:cxn>
                  <a:cxn ang="0">
                    <a:pos x="33" y="197"/>
                  </a:cxn>
                  <a:cxn ang="0">
                    <a:pos x="60" y="176"/>
                  </a:cxn>
                  <a:cxn ang="0">
                    <a:pos x="57" y="158"/>
                  </a:cxn>
                  <a:cxn ang="0">
                    <a:pos x="92" y="170"/>
                  </a:cxn>
                  <a:cxn ang="0">
                    <a:pos x="66" y="148"/>
                  </a:cxn>
                  <a:cxn ang="0">
                    <a:pos x="55" y="151"/>
                  </a:cxn>
                  <a:cxn ang="0">
                    <a:pos x="68" y="131"/>
                  </a:cxn>
                  <a:cxn ang="0">
                    <a:pos x="62" y="97"/>
                  </a:cxn>
                  <a:cxn ang="0">
                    <a:pos x="67" y="89"/>
                  </a:cxn>
                  <a:cxn ang="0">
                    <a:pos x="97" y="90"/>
                  </a:cxn>
                  <a:cxn ang="0">
                    <a:pos x="108" y="91"/>
                  </a:cxn>
                  <a:cxn ang="0">
                    <a:pos x="133" y="86"/>
                  </a:cxn>
                  <a:cxn ang="0">
                    <a:pos x="147" y="74"/>
                  </a:cxn>
                  <a:cxn ang="0">
                    <a:pos x="99" y="81"/>
                  </a:cxn>
                  <a:cxn ang="0">
                    <a:pos x="72" y="76"/>
                  </a:cxn>
                  <a:cxn ang="0">
                    <a:pos x="57" y="81"/>
                  </a:cxn>
                  <a:cxn ang="0">
                    <a:pos x="44" y="67"/>
                  </a:cxn>
                  <a:cxn ang="0">
                    <a:pos x="51" y="53"/>
                  </a:cxn>
                  <a:cxn ang="0">
                    <a:pos x="25" y="60"/>
                  </a:cxn>
                  <a:cxn ang="0">
                    <a:pos x="29" y="49"/>
                  </a:cxn>
                  <a:cxn ang="0">
                    <a:pos x="9" y="52"/>
                  </a:cxn>
                  <a:cxn ang="0">
                    <a:pos x="44" y="36"/>
                  </a:cxn>
                  <a:cxn ang="0">
                    <a:pos x="57" y="32"/>
                  </a:cxn>
                  <a:cxn ang="0">
                    <a:pos x="104" y="32"/>
                  </a:cxn>
                  <a:cxn ang="0">
                    <a:pos x="135" y="11"/>
                  </a:cxn>
                  <a:cxn ang="0">
                    <a:pos x="196" y="6"/>
                  </a:cxn>
                  <a:cxn ang="0">
                    <a:pos x="218" y="8"/>
                  </a:cxn>
                  <a:cxn ang="0">
                    <a:pos x="245" y="3"/>
                  </a:cxn>
                  <a:cxn ang="0">
                    <a:pos x="315" y="11"/>
                  </a:cxn>
                </a:cxnLst>
                <a:rect l="0" t="0" r="r" b="b"/>
                <a:pathLst>
                  <a:path w="386" h="203">
                    <a:moveTo>
                      <a:pt x="315" y="11"/>
                    </a:moveTo>
                    <a:cubicBezTo>
                      <a:pt x="312" y="14"/>
                      <a:pt x="310" y="15"/>
                      <a:pt x="307" y="16"/>
                    </a:cubicBezTo>
                    <a:cubicBezTo>
                      <a:pt x="342" y="6"/>
                      <a:pt x="342" y="6"/>
                      <a:pt x="342" y="6"/>
                    </a:cubicBezTo>
                    <a:cubicBezTo>
                      <a:pt x="345" y="7"/>
                      <a:pt x="347" y="8"/>
                      <a:pt x="350" y="9"/>
                    </a:cubicBezTo>
                    <a:cubicBezTo>
                      <a:pt x="355" y="11"/>
                      <a:pt x="355" y="14"/>
                      <a:pt x="358" y="17"/>
                    </a:cubicBezTo>
                    <a:cubicBezTo>
                      <a:pt x="363" y="22"/>
                      <a:pt x="386" y="20"/>
                      <a:pt x="386" y="28"/>
                    </a:cubicBezTo>
                    <a:cubicBezTo>
                      <a:pt x="386" y="33"/>
                      <a:pt x="378" y="32"/>
                      <a:pt x="375" y="34"/>
                    </a:cubicBezTo>
                    <a:cubicBezTo>
                      <a:pt x="358" y="48"/>
                      <a:pt x="336" y="40"/>
                      <a:pt x="313" y="51"/>
                    </a:cubicBezTo>
                    <a:cubicBezTo>
                      <a:pt x="317" y="56"/>
                      <a:pt x="335" y="52"/>
                      <a:pt x="346" y="52"/>
                    </a:cubicBezTo>
                    <a:cubicBezTo>
                      <a:pt x="336" y="63"/>
                      <a:pt x="311" y="69"/>
                      <a:pt x="295" y="74"/>
                    </a:cubicBezTo>
                    <a:cubicBezTo>
                      <a:pt x="277" y="80"/>
                      <a:pt x="267" y="97"/>
                      <a:pt x="254" y="107"/>
                    </a:cubicBezTo>
                    <a:cubicBezTo>
                      <a:pt x="248" y="112"/>
                      <a:pt x="238" y="106"/>
                      <a:pt x="231" y="108"/>
                    </a:cubicBezTo>
                    <a:cubicBezTo>
                      <a:pt x="221" y="112"/>
                      <a:pt x="210" y="112"/>
                      <a:pt x="203" y="118"/>
                    </a:cubicBezTo>
                    <a:cubicBezTo>
                      <a:pt x="216" y="118"/>
                      <a:pt x="216" y="118"/>
                      <a:pt x="216" y="118"/>
                    </a:cubicBezTo>
                    <a:cubicBezTo>
                      <a:pt x="217" y="128"/>
                      <a:pt x="211" y="127"/>
                      <a:pt x="203" y="126"/>
                    </a:cubicBezTo>
                    <a:cubicBezTo>
                      <a:pt x="208" y="129"/>
                      <a:pt x="213" y="131"/>
                      <a:pt x="216" y="137"/>
                    </a:cubicBezTo>
                    <a:cubicBezTo>
                      <a:pt x="206" y="141"/>
                      <a:pt x="203" y="152"/>
                      <a:pt x="196" y="157"/>
                    </a:cubicBezTo>
                    <a:cubicBezTo>
                      <a:pt x="177" y="157"/>
                      <a:pt x="177" y="157"/>
                      <a:pt x="174" y="157"/>
                    </a:cubicBezTo>
                    <a:cubicBezTo>
                      <a:pt x="175" y="160"/>
                      <a:pt x="177" y="161"/>
                      <a:pt x="177" y="164"/>
                    </a:cubicBezTo>
                    <a:cubicBezTo>
                      <a:pt x="177" y="178"/>
                      <a:pt x="158" y="169"/>
                      <a:pt x="158" y="184"/>
                    </a:cubicBezTo>
                    <a:cubicBezTo>
                      <a:pt x="165" y="184"/>
                      <a:pt x="166" y="184"/>
                      <a:pt x="169" y="184"/>
                    </a:cubicBezTo>
                    <a:cubicBezTo>
                      <a:pt x="171" y="184"/>
                      <a:pt x="176" y="184"/>
                      <a:pt x="176" y="188"/>
                    </a:cubicBezTo>
                    <a:cubicBezTo>
                      <a:pt x="176" y="195"/>
                      <a:pt x="151" y="203"/>
                      <a:pt x="141" y="203"/>
                    </a:cubicBezTo>
                    <a:cubicBezTo>
                      <a:pt x="131" y="203"/>
                      <a:pt x="135" y="197"/>
                      <a:pt x="126" y="197"/>
                    </a:cubicBezTo>
                    <a:cubicBezTo>
                      <a:pt x="113" y="197"/>
                      <a:pt x="104" y="197"/>
                      <a:pt x="93" y="197"/>
                    </a:cubicBezTo>
                    <a:cubicBezTo>
                      <a:pt x="89" y="197"/>
                      <a:pt x="86" y="201"/>
                      <a:pt x="80" y="201"/>
                    </a:cubicBezTo>
                    <a:cubicBezTo>
                      <a:pt x="65" y="201"/>
                      <a:pt x="53" y="197"/>
                      <a:pt x="38" y="192"/>
                    </a:cubicBezTo>
                    <a:cubicBezTo>
                      <a:pt x="37" y="194"/>
                      <a:pt x="35" y="197"/>
                      <a:pt x="33" y="197"/>
                    </a:cubicBezTo>
                    <a:cubicBezTo>
                      <a:pt x="29" y="197"/>
                      <a:pt x="28" y="194"/>
                      <a:pt x="28" y="193"/>
                    </a:cubicBezTo>
                    <a:cubicBezTo>
                      <a:pt x="28" y="176"/>
                      <a:pt x="51" y="182"/>
                      <a:pt x="60" y="176"/>
                    </a:cubicBezTo>
                    <a:cubicBezTo>
                      <a:pt x="55" y="172"/>
                      <a:pt x="46" y="170"/>
                      <a:pt x="46" y="162"/>
                    </a:cubicBezTo>
                    <a:cubicBezTo>
                      <a:pt x="46" y="156"/>
                      <a:pt x="52" y="158"/>
                      <a:pt x="57" y="158"/>
                    </a:cubicBezTo>
                    <a:cubicBezTo>
                      <a:pt x="71" y="158"/>
                      <a:pt x="76" y="165"/>
                      <a:pt x="84" y="170"/>
                    </a:cubicBezTo>
                    <a:cubicBezTo>
                      <a:pt x="92" y="170"/>
                      <a:pt x="92" y="170"/>
                      <a:pt x="92" y="170"/>
                    </a:cubicBezTo>
                    <a:cubicBezTo>
                      <a:pt x="86" y="164"/>
                      <a:pt x="72" y="159"/>
                      <a:pt x="72" y="148"/>
                    </a:cubicBezTo>
                    <a:cubicBezTo>
                      <a:pt x="66" y="148"/>
                      <a:pt x="66" y="148"/>
                      <a:pt x="66" y="148"/>
                    </a:cubicBezTo>
                    <a:cubicBezTo>
                      <a:pt x="63" y="149"/>
                      <a:pt x="63" y="149"/>
                      <a:pt x="61" y="151"/>
                    </a:cubicBezTo>
                    <a:cubicBezTo>
                      <a:pt x="55" y="151"/>
                      <a:pt x="55" y="151"/>
                      <a:pt x="55" y="151"/>
                    </a:cubicBezTo>
                    <a:cubicBezTo>
                      <a:pt x="55" y="146"/>
                      <a:pt x="55" y="146"/>
                      <a:pt x="55" y="146"/>
                    </a:cubicBezTo>
                    <a:cubicBezTo>
                      <a:pt x="58" y="138"/>
                      <a:pt x="61" y="134"/>
                      <a:pt x="68" y="131"/>
                    </a:cubicBezTo>
                    <a:cubicBezTo>
                      <a:pt x="79" y="128"/>
                      <a:pt x="92" y="132"/>
                      <a:pt x="92" y="119"/>
                    </a:cubicBezTo>
                    <a:cubicBezTo>
                      <a:pt x="92" y="105"/>
                      <a:pt x="62" y="105"/>
                      <a:pt x="62" y="97"/>
                    </a:cubicBezTo>
                    <a:cubicBezTo>
                      <a:pt x="62" y="93"/>
                      <a:pt x="69" y="94"/>
                      <a:pt x="73" y="94"/>
                    </a:cubicBezTo>
                    <a:cubicBezTo>
                      <a:pt x="68" y="94"/>
                      <a:pt x="67" y="92"/>
                      <a:pt x="67" y="89"/>
                    </a:cubicBezTo>
                    <a:cubicBezTo>
                      <a:pt x="69" y="88"/>
                      <a:pt x="71" y="89"/>
                      <a:pt x="73" y="89"/>
                    </a:cubicBezTo>
                    <a:cubicBezTo>
                      <a:pt x="78" y="89"/>
                      <a:pt x="88" y="87"/>
                      <a:pt x="97" y="90"/>
                    </a:cubicBezTo>
                    <a:cubicBezTo>
                      <a:pt x="108" y="93"/>
                      <a:pt x="112" y="106"/>
                      <a:pt x="124" y="104"/>
                    </a:cubicBezTo>
                    <a:cubicBezTo>
                      <a:pt x="122" y="102"/>
                      <a:pt x="108" y="93"/>
                      <a:pt x="108" y="91"/>
                    </a:cubicBezTo>
                    <a:cubicBezTo>
                      <a:pt x="108" y="89"/>
                      <a:pt x="110" y="88"/>
                      <a:pt x="111" y="86"/>
                    </a:cubicBezTo>
                    <a:cubicBezTo>
                      <a:pt x="133" y="86"/>
                      <a:pt x="133" y="86"/>
                      <a:pt x="133" y="86"/>
                    </a:cubicBezTo>
                    <a:cubicBezTo>
                      <a:pt x="141" y="83"/>
                      <a:pt x="149" y="81"/>
                      <a:pt x="154" y="74"/>
                    </a:cubicBezTo>
                    <a:cubicBezTo>
                      <a:pt x="147" y="74"/>
                      <a:pt x="147" y="74"/>
                      <a:pt x="147" y="74"/>
                    </a:cubicBezTo>
                    <a:cubicBezTo>
                      <a:pt x="138" y="81"/>
                      <a:pt x="128" y="84"/>
                      <a:pt x="114" y="84"/>
                    </a:cubicBezTo>
                    <a:cubicBezTo>
                      <a:pt x="106" y="84"/>
                      <a:pt x="103" y="81"/>
                      <a:pt x="99" y="81"/>
                    </a:cubicBezTo>
                    <a:cubicBezTo>
                      <a:pt x="95" y="81"/>
                      <a:pt x="93" y="85"/>
                      <a:pt x="90" y="85"/>
                    </a:cubicBezTo>
                    <a:cubicBezTo>
                      <a:pt x="81" y="85"/>
                      <a:pt x="70" y="82"/>
                      <a:pt x="72" y="76"/>
                    </a:cubicBezTo>
                    <a:cubicBezTo>
                      <a:pt x="67" y="76"/>
                      <a:pt x="67" y="76"/>
                      <a:pt x="67" y="76"/>
                    </a:cubicBezTo>
                    <a:cubicBezTo>
                      <a:pt x="63" y="78"/>
                      <a:pt x="61" y="81"/>
                      <a:pt x="57" y="81"/>
                    </a:cubicBezTo>
                    <a:cubicBezTo>
                      <a:pt x="48" y="81"/>
                      <a:pt x="36" y="75"/>
                      <a:pt x="33" y="71"/>
                    </a:cubicBezTo>
                    <a:cubicBezTo>
                      <a:pt x="36" y="69"/>
                      <a:pt x="39" y="67"/>
                      <a:pt x="44" y="67"/>
                    </a:cubicBezTo>
                    <a:cubicBezTo>
                      <a:pt x="36" y="67"/>
                      <a:pt x="27" y="66"/>
                      <a:pt x="24" y="67"/>
                    </a:cubicBezTo>
                    <a:cubicBezTo>
                      <a:pt x="29" y="55"/>
                      <a:pt x="40" y="56"/>
                      <a:pt x="51" y="53"/>
                    </a:cubicBezTo>
                    <a:cubicBezTo>
                      <a:pt x="47" y="52"/>
                      <a:pt x="46" y="52"/>
                      <a:pt x="42" y="52"/>
                    </a:cubicBezTo>
                    <a:cubicBezTo>
                      <a:pt x="33" y="52"/>
                      <a:pt x="33" y="60"/>
                      <a:pt x="25" y="60"/>
                    </a:cubicBezTo>
                    <a:cubicBezTo>
                      <a:pt x="22" y="60"/>
                      <a:pt x="18" y="57"/>
                      <a:pt x="17" y="56"/>
                    </a:cubicBezTo>
                    <a:cubicBezTo>
                      <a:pt x="21" y="52"/>
                      <a:pt x="24" y="51"/>
                      <a:pt x="29" y="49"/>
                    </a:cubicBezTo>
                    <a:cubicBezTo>
                      <a:pt x="16" y="49"/>
                      <a:pt x="16" y="49"/>
                      <a:pt x="16" y="49"/>
                    </a:cubicBezTo>
                    <a:cubicBezTo>
                      <a:pt x="13" y="50"/>
                      <a:pt x="11" y="51"/>
                      <a:pt x="9" y="52"/>
                    </a:cubicBezTo>
                    <a:cubicBezTo>
                      <a:pt x="7" y="52"/>
                      <a:pt x="2" y="52"/>
                      <a:pt x="0" y="52"/>
                    </a:cubicBezTo>
                    <a:cubicBezTo>
                      <a:pt x="2" y="41"/>
                      <a:pt x="31" y="36"/>
                      <a:pt x="44" y="36"/>
                    </a:cubicBezTo>
                    <a:cubicBezTo>
                      <a:pt x="49" y="36"/>
                      <a:pt x="52" y="36"/>
                      <a:pt x="53" y="36"/>
                    </a:cubicBezTo>
                    <a:cubicBezTo>
                      <a:pt x="55" y="36"/>
                      <a:pt x="57" y="34"/>
                      <a:pt x="57" y="32"/>
                    </a:cubicBezTo>
                    <a:cubicBezTo>
                      <a:pt x="71" y="32"/>
                      <a:pt x="65" y="22"/>
                      <a:pt x="74" y="22"/>
                    </a:cubicBezTo>
                    <a:cubicBezTo>
                      <a:pt x="83" y="22"/>
                      <a:pt x="100" y="31"/>
                      <a:pt x="104" y="32"/>
                    </a:cubicBezTo>
                    <a:cubicBezTo>
                      <a:pt x="108" y="22"/>
                      <a:pt x="113" y="12"/>
                      <a:pt x="126" y="12"/>
                    </a:cubicBezTo>
                    <a:cubicBezTo>
                      <a:pt x="134" y="12"/>
                      <a:pt x="129" y="16"/>
                      <a:pt x="135" y="11"/>
                    </a:cubicBezTo>
                    <a:cubicBezTo>
                      <a:pt x="137" y="7"/>
                      <a:pt x="141" y="6"/>
                      <a:pt x="145" y="6"/>
                    </a:cubicBezTo>
                    <a:cubicBezTo>
                      <a:pt x="168" y="6"/>
                      <a:pt x="173" y="6"/>
                      <a:pt x="196" y="6"/>
                    </a:cubicBezTo>
                    <a:cubicBezTo>
                      <a:pt x="197" y="4"/>
                      <a:pt x="199" y="3"/>
                      <a:pt x="201" y="3"/>
                    </a:cubicBezTo>
                    <a:cubicBezTo>
                      <a:pt x="209" y="3"/>
                      <a:pt x="211" y="8"/>
                      <a:pt x="218" y="8"/>
                    </a:cubicBezTo>
                    <a:cubicBezTo>
                      <a:pt x="224" y="8"/>
                      <a:pt x="226" y="0"/>
                      <a:pt x="232" y="0"/>
                    </a:cubicBezTo>
                    <a:cubicBezTo>
                      <a:pt x="239" y="0"/>
                      <a:pt x="241" y="3"/>
                      <a:pt x="245" y="3"/>
                    </a:cubicBezTo>
                    <a:cubicBezTo>
                      <a:pt x="250" y="3"/>
                      <a:pt x="253" y="3"/>
                      <a:pt x="258" y="3"/>
                    </a:cubicBezTo>
                    <a:cubicBezTo>
                      <a:pt x="268" y="3"/>
                      <a:pt x="306" y="2"/>
                      <a:pt x="315"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8" name="Freeform 88"/>
              <p:cNvSpPr>
                <a:spLocks/>
              </p:cNvSpPr>
              <p:nvPr/>
            </p:nvSpPr>
            <p:spPr bwMode="auto">
              <a:xfrm>
                <a:off x="3170238" y="960438"/>
                <a:ext cx="1006475" cy="765175"/>
              </a:xfrm>
              <a:custGeom>
                <a:avLst/>
                <a:gdLst/>
                <a:ahLst/>
                <a:cxnLst>
                  <a:cxn ang="0">
                    <a:pos x="280" y="372"/>
                  </a:cxn>
                  <a:cxn ang="0">
                    <a:pos x="267" y="360"/>
                  </a:cxn>
                  <a:cxn ang="0">
                    <a:pos x="228" y="336"/>
                  </a:cxn>
                  <a:cxn ang="0">
                    <a:pos x="215" y="302"/>
                  </a:cxn>
                  <a:cxn ang="0">
                    <a:pos x="109" y="219"/>
                  </a:cxn>
                  <a:cxn ang="0">
                    <a:pos x="73" y="223"/>
                  </a:cxn>
                  <a:cxn ang="0">
                    <a:pos x="43" y="217"/>
                  </a:cxn>
                  <a:cxn ang="0">
                    <a:pos x="19" y="202"/>
                  </a:cxn>
                  <a:cxn ang="0">
                    <a:pos x="51" y="190"/>
                  </a:cxn>
                  <a:cxn ang="0">
                    <a:pos x="64" y="180"/>
                  </a:cxn>
                  <a:cxn ang="0">
                    <a:pos x="0" y="166"/>
                  </a:cxn>
                  <a:cxn ang="0">
                    <a:pos x="84" y="141"/>
                  </a:cxn>
                  <a:cxn ang="0">
                    <a:pos x="72" y="102"/>
                  </a:cxn>
                  <a:cxn ang="0">
                    <a:pos x="144" y="59"/>
                  </a:cxn>
                  <a:cxn ang="0">
                    <a:pos x="237" y="56"/>
                  </a:cxn>
                  <a:cxn ang="0">
                    <a:pos x="260" y="53"/>
                  </a:cxn>
                  <a:cxn ang="0">
                    <a:pos x="274" y="38"/>
                  </a:cxn>
                  <a:cxn ang="0">
                    <a:pos x="309" y="36"/>
                  </a:cxn>
                  <a:cxn ang="0">
                    <a:pos x="355" y="15"/>
                  </a:cxn>
                  <a:cxn ang="0">
                    <a:pos x="391" y="13"/>
                  </a:cxn>
                  <a:cxn ang="0">
                    <a:pos x="534" y="0"/>
                  </a:cxn>
                  <a:cxn ang="0">
                    <a:pos x="594" y="48"/>
                  </a:cxn>
                  <a:cxn ang="0">
                    <a:pos x="570" y="75"/>
                  </a:cxn>
                  <a:cxn ang="0">
                    <a:pos x="603" y="102"/>
                  </a:cxn>
                  <a:cxn ang="0">
                    <a:pos x="684" y="66"/>
                  </a:cxn>
                  <a:cxn ang="0">
                    <a:pos x="730" y="51"/>
                  </a:cxn>
                  <a:cxn ang="0">
                    <a:pos x="702" y="94"/>
                  </a:cxn>
                  <a:cxn ang="0">
                    <a:pos x="691" y="114"/>
                  </a:cxn>
                  <a:cxn ang="0">
                    <a:pos x="654" y="150"/>
                  </a:cxn>
                  <a:cxn ang="0">
                    <a:pos x="677" y="178"/>
                  </a:cxn>
                  <a:cxn ang="0">
                    <a:pos x="657" y="202"/>
                  </a:cxn>
                  <a:cxn ang="0">
                    <a:pos x="669" y="236"/>
                  </a:cxn>
                  <a:cxn ang="0">
                    <a:pos x="673" y="260"/>
                  </a:cxn>
                  <a:cxn ang="0">
                    <a:pos x="633" y="295"/>
                  </a:cxn>
                  <a:cxn ang="0">
                    <a:pos x="637" y="305"/>
                  </a:cxn>
                  <a:cxn ang="0">
                    <a:pos x="601" y="297"/>
                  </a:cxn>
                  <a:cxn ang="0">
                    <a:pos x="633" y="358"/>
                  </a:cxn>
                  <a:cxn ang="0">
                    <a:pos x="596" y="347"/>
                  </a:cxn>
                  <a:cxn ang="0">
                    <a:pos x="616" y="375"/>
                  </a:cxn>
                  <a:cxn ang="0">
                    <a:pos x="518" y="408"/>
                  </a:cxn>
                  <a:cxn ang="0">
                    <a:pos x="483" y="445"/>
                  </a:cxn>
                  <a:cxn ang="0">
                    <a:pos x="443" y="449"/>
                  </a:cxn>
                  <a:cxn ang="0">
                    <a:pos x="402" y="485"/>
                  </a:cxn>
                  <a:cxn ang="0">
                    <a:pos x="384" y="523"/>
                  </a:cxn>
                  <a:cxn ang="0">
                    <a:pos x="362" y="571"/>
                  </a:cxn>
                  <a:cxn ang="0">
                    <a:pos x="313" y="560"/>
                  </a:cxn>
                  <a:cxn ang="0">
                    <a:pos x="270" y="499"/>
                  </a:cxn>
                  <a:cxn ang="0">
                    <a:pos x="256" y="475"/>
                  </a:cxn>
                  <a:cxn ang="0">
                    <a:pos x="237" y="438"/>
                  </a:cxn>
                  <a:cxn ang="0">
                    <a:pos x="255" y="403"/>
                  </a:cxn>
                </a:cxnLst>
                <a:rect l="0" t="0" r="r" b="b"/>
                <a:pathLst>
                  <a:path w="756" h="575">
                    <a:moveTo>
                      <a:pt x="255" y="403"/>
                    </a:moveTo>
                    <a:cubicBezTo>
                      <a:pt x="261" y="400"/>
                      <a:pt x="261" y="400"/>
                      <a:pt x="267" y="402"/>
                    </a:cubicBezTo>
                    <a:cubicBezTo>
                      <a:pt x="270" y="389"/>
                      <a:pt x="276" y="385"/>
                      <a:pt x="280" y="372"/>
                    </a:cubicBezTo>
                    <a:cubicBezTo>
                      <a:pt x="266" y="368"/>
                      <a:pt x="234" y="366"/>
                      <a:pt x="233" y="353"/>
                    </a:cubicBezTo>
                    <a:cubicBezTo>
                      <a:pt x="237" y="352"/>
                      <a:pt x="236" y="353"/>
                      <a:pt x="240" y="353"/>
                    </a:cubicBezTo>
                    <a:cubicBezTo>
                      <a:pt x="250" y="353"/>
                      <a:pt x="256" y="360"/>
                      <a:pt x="267" y="360"/>
                    </a:cubicBezTo>
                    <a:cubicBezTo>
                      <a:pt x="271" y="360"/>
                      <a:pt x="271" y="356"/>
                      <a:pt x="271" y="353"/>
                    </a:cubicBezTo>
                    <a:cubicBezTo>
                      <a:pt x="258" y="349"/>
                      <a:pt x="254" y="328"/>
                      <a:pt x="239" y="328"/>
                    </a:cubicBezTo>
                    <a:cubicBezTo>
                      <a:pt x="235" y="328"/>
                      <a:pt x="234" y="336"/>
                      <a:pt x="228" y="336"/>
                    </a:cubicBezTo>
                    <a:cubicBezTo>
                      <a:pt x="220" y="336"/>
                      <a:pt x="216" y="335"/>
                      <a:pt x="216" y="328"/>
                    </a:cubicBezTo>
                    <a:cubicBezTo>
                      <a:pt x="216" y="318"/>
                      <a:pt x="226" y="319"/>
                      <a:pt x="226" y="309"/>
                    </a:cubicBezTo>
                    <a:cubicBezTo>
                      <a:pt x="226" y="303"/>
                      <a:pt x="219" y="302"/>
                      <a:pt x="215" y="302"/>
                    </a:cubicBezTo>
                    <a:cubicBezTo>
                      <a:pt x="215" y="295"/>
                      <a:pt x="215" y="295"/>
                      <a:pt x="215" y="295"/>
                    </a:cubicBezTo>
                    <a:cubicBezTo>
                      <a:pt x="203" y="257"/>
                      <a:pt x="172" y="219"/>
                      <a:pt x="122" y="219"/>
                    </a:cubicBezTo>
                    <a:cubicBezTo>
                      <a:pt x="115" y="219"/>
                      <a:pt x="113" y="219"/>
                      <a:pt x="109" y="219"/>
                    </a:cubicBezTo>
                    <a:cubicBezTo>
                      <a:pt x="103" y="219"/>
                      <a:pt x="101" y="224"/>
                      <a:pt x="95" y="224"/>
                    </a:cubicBezTo>
                    <a:cubicBezTo>
                      <a:pt x="91" y="224"/>
                      <a:pt x="87" y="221"/>
                      <a:pt x="82" y="221"/>
                    </a:cubicBezTo>
                    <a:cubicBezTo>
                      <a:pt x="77" y="221"/>
                      <a:pt x="75" y="222"/>
                      <a:pt x="73" y="223"/>
                    </a:cubicBezTo>
                    <a:cubicBezTo>
                      <a:pt x="74" y="224"/>
                      <a:pt x="76" y="226"/>
                      <a:pt x="77" y="226"/>
                    </a:cubicBezTo>
                    <a:cubicBezTo>
                      <a:pt x="75" y="229"/>
                      <a:pt x="75" y="228"/>
                      <a:pt x="72" y="228"/>
                    </a:cubicBezTo>
                    <a:cubicBezTo>
                      <a:pt x="62" y="228"/>
                      <a:pt x="48" y="224"/>
                      <a:pt x="43" y="217"/>
                    </a:cubicBezTo>
                    <a:cubicBezTo>
                      <a:pt x="47" y="214"/>
                      <a:pt x="50" y="214"/>
                      <a:pt x="52" y="210"/>
                    </a:cubicBezTo>
                    <a:cubicBezTo>
                      <a:pt x="45" y="207"/>
                      <a:pt x="39" y="202"/>
                      <a:pt x="34" y="202"/>
                    </a:cubicBezTo>
                    <a:cubicBezTo>
                      <a:pt x="24" y="202"/>
                      <a:pt x="27" y="206"/>
                      <a:pt x="19" y="202"/>
                    </a:cubicBezTo>
                    <a:cubicBezTo>
                      <a:pt x="19" y="196"/>
                      <a:pt x="28" y="194"/>
                      <a:pt x="32" y="194"/>
                    </a:cubicBezTo>
                    <a:cubicBezTo>
                      <a:pt x="37" y="194"/>
                      <a:pt x="40" y="194"/>
                      <a:pt x="43" y="194"/>
                    </a:cubicBezTo>
                    <a:cubicBezTo>
                      <a:pt x="47" y="194"/>
                      <a:pt x="49" y="193"/>
                      <a:pt x="51" y="190"/>
                    </a:cubicBezTo>
                    <a:cubicBezTo>
                      <a:pt x="76" y="190"/>
                      <a:pt x="76" y="190"/>
                      <a:pt x="76" y="190"/>
                    </a:cubicBezTo>
                    <a:cubicBezTo>
                      <a:pt x="80" y="187"/>
                      <a:pt x="80" y="185"/>
                      <a:pt x="82" y="180"/>
                    </a:cubicBezTo>
                    <a:cubicBezTo>
                      <a:pt x="64" y="180"/>
                      <a:pt x="64" y="180"/>
                      <a:pt x="64" y="180"/>
                    </a:cubicBezTo>
                    <a:cubicBezTo>
                      <a:pt x="63" y="183"/>
                      <a:pt x="62" y="185"/>
                      <a:pt x="60" y="185"/>
                    </a:cubicBezTo>
                    <a:cubicBezTo>
                      <a:pt x="53" y="185"/>
                      <a:pt x="50" y="185"/>
                      <a:pt x="44" y="185"/>
                    </a:cubicBezTo>
                    <a:cubicBezTo>
                      <a:pt x="42" y="185"/>
                      <a:pt x="0" y="173"/>
                      <a:pt x="0" y="166"/>
                    </a:cubicBezTo>
                    <a:cubicBezTo>
                      <a:pt x="0" y="152"/>
                      <a:pt x="16" y="157"/>
                      <a:pt x="25" y="154"/>
                    </a:cubicBezTo>
                    <a:cubicBezTo>
                      <a:pt x="33" y="151"/>
                      <a:pt x="38" y="146"/>
                      <a:pt x="46" y="144"/>
                    </a:cubicBezTo>
                    <a:cubicBezTo>
                      <a:pt x="58" y="140"/>
                      <a:pt x="74" y="146"/>
                      <a:pt x="84" y="141"/>
                    </a:cubicBezTo>
                    <a:cubicBezTo>
                      <a:pt x="91" y="136"/>
                      <a:pt x="96" y="128"/>
                      <a:pt x="96" y="117"/>
                    </a:cubicBezTo>
                    <a:cubicBezTo>
                      <a:pt x="88" y="116"/>
                      <a:pt x="63" y="117"/>
                      <a:pt x="63" y="109"/>
                    </a:cubicBezTo>
                    <a:cubicBezTo>
                      <a:pt x="63" y="105"/>
                      <a:pt x="69" y="102"/>
                      <a:pt x="72" y="102"/>
                    </a:cubicBezTo>
                    <a:cubicBezTo>
                      <a:pt x="87" y="97"/>
                      <a:pt x="106" y="86"/>
                      <a:pt x="115" y="78"/>
                    </a:cubicBezTo>
                    <a:cubicBezTo>
                      <a:pt x="119" y="80"/>
                      <a:pt x="122" y="81"/>
                      <a:pt x="127" y="81"/>
                    </a:cubicBezTo>
                    <a:cubicBezTo>
                      <a:pt x="142" y="81"/>
                      <a:pt x="130" y="61"/>
                      <a:pt x="144" y="59"/>
                    </a:cubicBezTo>
                    <a:cubicBezTo>
                      <a:pt x="162" y="57"/>
                      <a:pt x="169" y="52"/>
                      <a:pt x="185" y="52"/>
                    </a:cubicBezTo>
                    <a:cubicBezTo>
                      <a:pt x="198" y="49"/>
                      <a:pt x="206" y="42"/>
                      <a:pt x="218" y="42"/>
                    </a:cubicBezTo>
                    <a:cubicBezTo>
                      <a:pt x="226" y="42"/>
                      <a:pt x="229" y="56"/>
                      <a:pt x="237" y="56"/>
                    </a:cubicBezTo>
                    <a:cubicBezTo>
                      <a:pt x="237" y="52"/>
                      <a:pt x="235" y="50"/>
                      <a:pt x="235" y="47"/>
                    </a:cubicBezTo>
                    <a:cubicBezTo>
                      <a:pt x="239" y="42"/>
                      <a:pt x="239" y="42"/>
                      <a:pt x="239" y="42"/>
                    </a:cubicBezTo>
                    <a:cubicBezTo>
                      <a:pt x="244" y="51"/>
                      <a:pt x="252" y="50"/>
                      <a:pt x="260" y="53"/>
                    </a:cubicBezTo>
                    <a:cubicBezTo>
                      <a:pt x="262" y="53"/>
                      <a:pt x="267" y="53"/>
                      <a:pt x="267" y="53"/>
                    </a:cubicBezTo>
                    <a:cubicBezTo>
                      <a:pt x="266" y="50"/>
                      <a:pt x="263" y="47"/>
                      <a:pt x="263" y="44"/>
                    </a:cubicBezTo>
                    <a:cubicBezTo>
                      <a:pt x="263" y="38"/>
                      <a:pt x="270" y="38"/>
                      <a:pt x="274" y="38"/>
                    </a:cubicBezTo>
                    <a:cubicBezTo>
                      <a:pt x="293" y="38"/>
                      <a:pt x="303" y="48"/>
                      <a:pt x="314" y="53"/>
                    </a:cubicBezTo>
                    <a:cubicBezTo>
                      <a:pt x="334" y="53"/>
                      <a:pt x="334" y="53"/>
                      <a:pt x="334" y="53"/>
                    </a:cubicBezTo>
                    <a:cubicBezTo>
                      <a:pt x="327" y="50"/>
                      <a:pt x="309" y="44"/>
                      <a:pt x="309" y="36"/>
                    </a:cubicBezTo>
                    <a:cubicBezTo>
                      <a:pt x="309" y="29"/>
                      <a:pt x="322" y="31"/>
                      <a:pt x="326" y="30"/>
                    </a:cubicBezTo>
                    <a:cubicBezTo>
                      <a:pt x="323" y="27"/>
                      <a:pt x="320" y="27"/>
                      <a:pt x="318" y="24"/>
                    </a:cubicBezTo>
                    <a:cubicBezTo>
                      <a:pt x="330" y="18"/>
                      <a:pt x="341" y="15"/>
                      <a:pt x="355" y="15"/>
                    </a:cubicBezTo>
                    <a:cubicBezTo>
                      <a:pt x="366" y="15"/>
                      <a:pt x="373" y="15"/>
                      <a:pt x="382" y="18"/>
                    </a:cubicBezTo>
                    <a:cubicBezTo>
                      <a:pt x="391" y="18"/>
                      <a:pt x="391" y="18"/>
                      <a:pt x="391" y="18"/>
                    </a:cubicBezTo>
                    <a:cubicBezTo>
                      <a:pt x="391" y="13"/>
                      <a:pt x="391" y="13"/>
                      <a:pt x="391" y="13"/>
                    </a:cubicBezTo>
                    <a:cubicBezTo>
                      <a:pt x="398" y="12"/>
                      <a:pt x="402" y="13"/>
                      <a:pt x="409" y="13"/>
                    </a:cubicBezTo>
                    <a:cubicBezTo>
                      <a:pt x="430" y="13"/>
                      <a:pt x="447" y="0"/>
                      <a:pt x="470" y="0"/>
                    </a:cubicBezTo>
                    <a:cubicBezTo>
                      <a:pt x="495" y="0"/>
                      <a:pt x="512" y="0"/>
                      <a:pt x="534" y="0"/>
                    </a:cubicBezTo>
                    <a:cubicBezTo>
                      <a:pt x="560" y="0"/>
                      <a:pt x="579" y="17"/>
                      <a:pt x="600" y="26"/>
                    </a:cubicBezTo>
                    <a:cubicBezTo>
                      <a:pt x="612" y="31"/>
                      <a:pt x="627" y="28"/>
                      <a:pt x="638" y="30"/>
                    </a:cubicBezTo>
                    <a:cubicBezTo>
                      <a:pt x="636" y="46"/>
                      <a:pt x="606" y="44"/>
                      <a:pt x="594" y="48"/>
                    </a:cubicBezTo>
                    <a:cubicBezTo>
                      <a:pt x="497" y="53"/>
                      <a:pt x="497" y="53"/>
                      <a:pt x="497" y="53"/>
                    </a:cubicBezTo>
                    <a:cubicBezTo>
                      <a:pt x="505" y="59"/>
                      <a:pt x="579" y="50"/>
                      <a:pt x="587" y="53"/>
                    </a:cubicBezTo>
                    <a:cubicBezTo>
                      <a:pt x="586" y="57"/>
                      <a:pt x="567" y="75"/>
                      <a:pt x="570" y="75"/>
                    </a:cubicBezTo>
                    <a:cubicBezTo>
                      <a:pt x="581" y="75"/>
                      <a:pt x="607" y="50"/>
                      <a:pt x="622" y="50"/>
                    </a:cubicBezTo>
                    <a:cubicBezTo>
                      <a:pt x="630" y="50"/>
                      <a:pt x="633" y="57"/>
                      <a:pt x="633" y="64"/>
                    </a:cubicBezTo>
                    <a:cubicBezTo>
                      <a:pt x="633" y="67"/>
                      <a:pt x="605" y="97"/>
                      <a:pt x="603" y="102"/>
                    </a:cubicBezTo>
                    <a:cubicBezTo>
                      <a:pt x="615" y="99"/>
                      <a:pt x="637" y="70"/>
                      <a:pt x="644" y="64"/>
                    </a:cubicBezTo>
                    <a:cubicBezTo>
                      <a:pt x="655" y="64"/>
                      <a:pt x="674" y="64"/>
                      <a:pt x="674" y="64"/>
                    </a:cubicBezTo>
                    <a:cubicBezTo>
                      <a:pt x="674" y="64"/>
                      <a:pt x="682" y="66"/>
                      <a:pt x="684" y="66"/>
                    </a:cubicBezTo>
                    <a:cubicBezTo>
                      <a:pt x="692" y="63"/>
                      <a:pt x="693" y="60"/>
                      <a:pt x="700" y="57"/>
                    </a:cubicBezTo>
                    <a:cubicBezTo>
                      <a:pt x="721" y="57"/>
                      <a:pt x="721" y="57"/>
                      <a:pt x="721" y="57"/>
                    </a:cubicBezTo>
                    <a:cubicBezTo>
                      <a:pt x="723" y="52"/>
                      <a:pt x="726" y="51"/>
                      <a:pt x="730" y="51"/>
                    </a:cubicBezTo>
                    <a:cubicBezTo>
                      <a:pt x="736" y="51"/>
                      <a:pt x="756" y="61"/>
                      <a:pt x="756" y="67"/>
                    </a:cubicBezTo>
                    <a:cubicBezTo>
                      <a:pt x="756" y="72"/>
                      <a:pt x="748" y="76"/>
                      <a:pt x="745" y="77"/>
                    </a:cubicBezTo>
                    <a:cubicBezTo>
                      <a:pt x="731" y="82"/>
                      <a:pt x="722" y="94"/>
                      <a:pt x="702" y="94"/>
                    </a:cubicBezTo>
                    <a:cubicBezTo>
                      <a:pt x="707" y="97"/>
                      <a:pt x="708" y="97"/>
                      <a:pt x="711" y="94"/>
                    </a:cubicBezTo>
                    <a:cubicBezTo>
                      <a:pt x="711" y="107"/>
                      <a:pt x="699" y="107"/>
                      <a:pt x="691" y="109"/>
                    </a:cubicBezTo>
                    <a:cubicBezTo>
                      <a:pt x="694" y="115"/>
                      <a:pt x="691" y="110"/>
                      <a:pt x="691" y="114"/>
                    </a:cubicBezTo>
                    <a:cubicBezTo>
                      <a:pt x="691" y="121"/>
                      <a:pt x="680" y="123"/>
                      <a:pt x="671" y="125"/>
                    </a:cubicBezTo>
                    <a:cubicBezTo>
                      <a:pt x="672" y="130"/>
                      <a:pt x="671" y="130"/>
                      <a:pt x="671" y="132"/>
                    </a:cubicBezTo>
                    <a:cubicBezTo>
                      <a:pt x="671" y="141"/>
                      <a:pt x="662" y="144"/>
                      <a:pt x="654" y="150"/>
                    </a:cubicBezTo>
                    <a:cubicBezTo>
                      <a:pt x="648" y="154"/>
                      <a:pt x="649" y="165"/>
                      <a:pt x="646" y="169"/>
                    </a:cubicBezTo>
                    <a:cubicBezTo>
                      <a:pt x="651" y="172"/>
                      <a:pt x="655" y="169"/>
                      <a:pt x="659" y="169"/>
                    </a:cubicBezTo>
                    <a:cubicBezTo>
                      <a:pt x="667" y="169"/>
                      <a:pt x="673" y="174"/>
                      <a:pt x="677" y="178"/>
                    </a:cubicBezTo>
                    <a:cubicBezTo>
                      <a:pt x="675" y="179"/>
                      <a:pt x="672" y="180"/>
                      <a:pt x="669" y="180"/>
                    </a:cubicBezTo>
                    <a:cubicBezTo>
                      <a:pt x="671" y="187"/>
                      <a:pt x="688" y="185"/>
                      <a:pt x="688" y="196"/>
                    </a:cubicBezTo>
                    <a:cubicBezTo>
                      <a:pt x="688" y="206"/>
                      <a:pt x="665" y="202"/>
                      <a:pt x="657" y="202"/>
                    </a:cubicBezTo>
                    <a:cubicBezTo>
                      <a:pt x="652" y="202"/>
                      <a:pt x="648" y="206"/>
                      <a:pt x="648" y="209"/>
                    </a:cubicBezTo>
                    <a:cubicBezTo>
                      <a:pt x="648" y="217"/>
                      <a:pt x="656" y="217"/>
                      <a:pt x="663" y="217"/>
                    </a:cubicBezTo>
                    <a:cubicBezTo>
                      <a:pt x="663" y="226"/>
                      <a:pt x="669" y="229"/>
                      <a:pt x="669" y="236"/>
                    </a:cubicBezTo>
                    <a:cubicBezTo>
                      <a:pt x="669" y="239"/>
                      <a:pt x="667" y="243"/>
                      <a:pt x="669" y="245"/>
                    </a:cubicBezTo>
                    <a:cubicBezTo>
                      <a:pt x="662" y="245"/>
                      <a:pt x="655" y="245"/>
                      <a:pt x="655" y="251"/>
                    </a:cubicBezTo>
                    <a:cubicBezTo>
                      <a:pt x="655" y="258"/>
                      <a:pt x="667" y="258"/>
                      <a:pt x="673" y="260"/>
                    </a:cubicBezTo>
                    <a:cubicBezTo>
                      <a:pt x="670" y="267"/>
                      <a:pt x="661" y="271"/>
                      <a:pt x="653" y="272"/>
                    </a:cubicBezTo>
                    <a:cubicBezTo>
                      <a:pt x="653" y="275"/>
                      <a:pt x="655" y="277"/>
                      <a:pt x="657" y="278"/>
                    </a:cubicBezTo>
                    <a:cubicBezTo>
                      <a:pt x="654" y="292"/>
                      <a:pt x="637" y="286"/>
                      <a:pt x="633" y="295"/>
                    </a:cubicBezTo>
                    <a:cubicBezTo>
                      <a:pt x="628" y="292"/>
                      <a:pt x="623" y="290"/>
                      <a:pt x="620" y="285"/>
                    </a:cubicBezTo>
                    <a:cubicBezTo>
                      <a:pt x="613" y="285"/>
                      <a:pt x="613" y="285"/>
                      <a:pt x="613" y="285"/>
                    </a:cubicBezTo>
                    <a:cubicBezTo>
                      <a:pt x="618" y="297"/>
                      <a:pt x="637" y="293"/>
                      <a:pt x="637" y="305"/>
                    </a:cubicBezTo>
                    <a:cubicBezTo>
                      <a:pt x="637" y="310"/>
                      <a:pt x="636" y="317"/>
                      <a:pt x="631" y="317"/>
                    </a:cubicBezTo>
                    <a:cubicBezTo>
                      <a:pt x="623" y="317"/>
                      <a:pt x="609" y="306"/>
                      <a:pt x="607" y="297"/>
                    </a:cubicBezTo>
                    <a:cubicBezTo>
                      <a:pt x="603" y="298"/>
                      <a:pt x="602" y="297"/>
                      <a:pt x="601" y="297"/>
                    </a:cubicBezTo>
                    <a:cubicBezTo>
                      <a:pt x="601" y="304"/>
                      <a:pt x="601" y="304"/>
                      <a:pt x="601" y="304"/>
                    </a:cubicBezTo>
                    <a:cubicBezTo>
                      <a:pt x="617" y="320"/>
                      <a:pt x="645" y="327"/>
                      <a:pt x="645" y="352"/>
                    </a:cubicBezTo>
                    <a:cubicBezTo>
                      <a:pt x="645" y="357"/>
                      <a:pt x="638" y="358"/>
                      <a:pt x="633" y="358"/>
                    </a:cubicBezTo>
                    <a:cubicBezTo>
                      <a:pt x="612" y="358"/>
                      <a:pt x="617" y="336"/>
                      <a:pt x="599" y="336"/>
                    </a:cubicBezTo>
                    <a:cubicBezTo>
                      <a:pt x="596" y="336"/>
                      <a:pt x="594" y="337"/>
                      <a:pt x="592" y="336"/>
                    </a:cubicBezTo>
                    <a:cubicBezTo>
                      <a:pt x="592" y="342"/>
                      <a:pt x="596" y="343"/>
                      <a:pt x="596" y="347"/>
                    </a:cubicBezTo>
                    <a:cubicBezTo>
                      <a:pt x="596" y="351"/>
                      <a:pt x="589" y="352"/>
                      <a:pt x="587" y="352"/>
                    </a:cubicBezTo>
                    <a:cubicBezTo>
                      <a:pt x="587" y="366"/>
                      <a:pt x="626" y="364"/>
                      <a:pt x="635" y="367"/>
                    </a:cubicBezTo>
                    <a:cubicBezTo>
                      <a:pt x="629" y="372"/>
                      <a:pt x="624" y="373"/>
                      <a:pt x="616" y="375"/>
                    </a:cubicBezTo>
                    <a:cubicBezTo>
                      <a:pt x="602" y="380"/>
                      <a:pt x="597" y="393"/>
                      <a:pt x="584" y="397"/>
                    </a:cubicBezTo>
                    <a:cubicBezTo>
                      <a:pt x="569" y="402"/>
                      <a:pt x="556" y="400"/>
                      <a:pt x="539" y="408"/>
                    </a:cubicBezTo>
                    <a:cubicBezTo>
                      <a:pt x="518" y="408"/>
                      <a:pt x="518" y="408"/>
                      <a:pt x="518" y="408"/>
                    </a:cubicBezTo>
                    <a:cubicBezTo>
                      <a:pt x="514" y="410"/>
                      <a:pt x="510" y="412"/>
                      <a:pt x="510" y="415"/>
                    </a:cubicBezTo>
                    <a:cubicBezTo>
                      <a:pt x="498" y="423"/>
                      <a:pt x="498" y="423"/>
                      <a:pt x="498" y="423"/>
                    </a:cubicBezTo>
                    <a:cubicBezTo>
                      <a:pt x="490" y="430"/>
                      <a:pt x="490" y="438"/>
                      <a:pt x="483" y="445"/>
                    </a:cubicBezTo>
                    <a:cubicBezTo>
                      <a:pt x="474" y="454"/>
                      <a:pt x="459" y="452"/>
                      <a:pt x="450" y="458"/>
                    </a:cubicBezTo>
                    <a:cubicBezTo>
                      <a:pt x="443" y="458"/>
                      <a:pt x="443" y="458"/>
                      <a:pt x="443" y="458"/>
                    </a:cubicBezTo>
                    <a:cubicBezTo>
                      <a:pt x="443" y="449"/>
                      <a:pt x="443" y="449"/>
                      <a:pt x="443" y="449"/>
                    </a:cubicBezTo>
                    <a:cubicBezTo>
                      <a:pt x="437" y="452"/>
                      <a:pt x="438" y="457"/>
                      <a:pt x="435" y="460"/>
                    </a:cubicBezTo>
                    <a:cubicBezTo>
                      <a:pt x="425" y="470"/>
                      <a:pt x="401" y="466"/>
                      <a:pt x="401" y="480"/>
                    </a:cubicBezTo>
                    <a:cubicBezTo>
                      <a:pt x="401" y="482"/>
                      <a:pt x="402" y="483"/>
                      <a:pt x="402" y="485"/>
                    </a:cubicBezTo>
                    <a:cubicBezTo>
                      <a:pt x="401" y="486"/>
                      <a:pt x="399" y="488"/>
                      <a:pt x="399" y="490"/>
                    </a:cubicBezTo>
                    <a:cubicBezTo>
                      <a:pt x="399" y="493"/>
                      <a:pt x="405" y="495"/>
                      <a:pt x="405" y="500"/>
                    </a:cubicBezTo>
                    <a:cubicBezTo>
                      <a:pt x="405" y="515"/>
                      <a:pt x="384" y="510"/>
                      <a:pt x="384" y="523"/>
                    </a:cubicBezTo>
                    <a:cubicBezTo>
                      <a:pt x="384" y="531"/>
                      <a:pt x="383" y="543"/>
                      <a:pt x="384" y="547"/>
                    </a:cubicBezTo>
                    <a:cubicBezTo>
                      <a:pt x="374" y="552"/>
                      <a:pt x="379" y="575"/>
                      <a:pt x="367" y="575"/>
                    </a:cubicBezTo>
                    <a:cubicBezTo>
                      <a:pt x="364" y="575"/>
                      <a:pt x="363" y="573"/>
                      <a:pt x="362" y="571"/>
                    </a:cubicBezTo>
                    <a:cubicBezTo>
                      <a:pt x="356" y="571"/>
                      <a:pt x="356" y="574"/>
                      <a:pt x="353" y="574"/>
                    </a:cubicBezTo>
                    <a:cubicBezTo>
                      <a:pt x="342" y="574"/>
                      <a:pt x="343" y="554"/>
                      <a:pt x="332" y="554"/>
                    </a:cubicBezTo>
                    <a:cubicBezTo>
                      <a:pt x="326" y="554"/>
                      <a:pt x="319" y="559"/>
                      <a:pt x="313" y="560"/>
                    </a:cubicBezTo>
                    <a:cubicBezTo>
                      <a:pt x="310" y="550"/>
                      <a:pt x="306" y="553"/>
                      <a:pt x="299" y="547"/>
                    </a:cubicBezTo>
                    <a:cubicBezTo>
                      <a:pt x="296" y="546"/>
                      <a:pt x="297" y="539"/>
                      <a:pt x="296" y="539"/>
                    </a:cubicBezTo>
                    <a:cubicBezTo>
                      <a:pt x="287" y="531"/>
                      <a:pt x="270" y="512"/>
                      <a:pt x="270" y="499"/>
                    </a:cubicBezTo>
                    <a:cubicBezTo>
                      <a:pt x="270" y="493"/>
                      <a:pt x="274" y="494"/>
                      <a:pt x="277" y="490"/>
                    </a:cubicBezTo>
                    <a:cubicBezTo>
                      <a:pt x="270" y="482"/>
                      <a:pt x="268" y="493"/>
                      <a:pt x="260" y="489"/>
                    </a:cubicBezTo>
                    <a:cubicBezTo>
                      <a:pt x="259" y="487"/>
                      <a:pt x="257" y="479"/>
                      <a:pt x="256" y="475"/>
                    </a:cubicBezTo>
                    <a:cubicBezTo>
                      <a:pt x="253" y="466"/>
                      <a:pt x="241" y="461"/>
                      <a:pt x="241" y="449"/>
                    </a:cubicBezTo>
                    <a:cubicBezTo>
                      <a:pt x="241" y="445"/>
                      <a:pt x="244" y="443"/>
                      <a:pt x="246" y="438"/>
                    </a:cubicBezTo>
                    <a:cubicBezTo>
                      <a:pt x="243" y="437"/>
                      <a:pt x="240" y="436"/>
                      <a:pt x="237" y="438"/>
                    </a:cubicBezTo>
                    <a:cubicBezTo>
                      <a:pt x="237" y="428"/>
                      <a:pt x="237" y="428"/>
                      <a:pt x="237" y="428"/>
                    </a:cubicBezTo>
                    <a:cubicBezTo>
                      <a:pt x="243" y="420"/>
                      <a:pt x="246" y="411"/>
                      <a:pt x="255" y="404"/>
                    </a:cubicBezTo>
                    <a:lnTo>
                      <a:pt x="255" y="4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69" name="Freeform 89"/>
              <p:cNvSpPr>
                <a:spLocks/>
              </p:cNvSpPr>
              <p:nvPr/>
            </p:nvSpPr>
            <p:spPr bwMode="auto">
              <a:xfrm>
                <a:off x="3470275" y="1443038"/>
                <a:ext cx="47625" cy="31750"/>
              </a:xfrm>
              <a:custGeom>
                <a:avLst/>
                <a:gdLst/>
                <a:ahLst/>
                <a:cxnLst>
                  <a:cxn ang="0">
                    <a:pos x="9" y="24"/>
                  </a:cxn>
                  <a:cxn ang="0">
                    <a:pos x="0" y="9"/>
                  </a:cxn>
                  <a:cxn ang="0">
                    <a:pos x="10" y="0"/>
                  </a:cxn>
                  <a:cxn ang="0">
                    <a:pos x="36" y="16"/>
                  </a:cxn>
                  <a:cxn ang="0">
                    <a:pos x="19" y="24"/>
                  </a:cxn>
                  <a:cxn ang="0">
                    <a:pos x="9" y="24"/>
                  </a:cxn>
                </a:cxnLst>
                <a:rect l="0" t="0" r="r" b="b"/>
                <a:pathLst>
                  <a:path w="36" h="24">
                    <a:moveTo>
                      <a:pt x="9" y="24"/>
                    </a:moveTo>
                    <a:cubicBezTo>
                      <a:pt x="5" y="24"/>
                      <a:pt x="0" y="14"/>
                      <a:pt x="0" y="9"/>
                    </a:cubicBezTo>
                    <a:cubicBezTo>
                      <a:pt x="0" y="2"/>
                      <a:pt x="6" y="0"/>
                      <a:pt x="10" y="0"/>
                    </a:cubicBezTo>
                    <a:cubicBezTo>
                      <a:pt x="21" y="0"/>
                      <a:pt x="25" y="12"/>
                      <a:pt x="36" y="16"/>
                    </a:cubicBezTo>
                    <a:cubicBezTo>
                      <a:pt x="35" y="23"/>
                      <a:pt x="26" y="24"/>
                      <a:pt x="19" y="24"/>
                    </a:cubicBezTo>
                    <a:lnTo>
                      <a:pt x="9"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0" name="Freeform 90"/>
              <p:cNvSpPr>
                <a:spLocks/>
              </p:cNvSpPr>
              <p:nvPr/>
            </p:nvSpPr>
            <p:spPr bwMode="auto">
              <a:xfrm>
                <a:off x="4070350" y="1277938"/>
                <a:ext cx="26988" cy="15875"/>
              </a:xfrm>
              <a:custGeom>
                <a:avLst/>
                <a:gdLst/>
                <a:ahLst/>
                <a:cxnLst>
                  <a:cxn ang="0">
                    <a:pos x="6" y="12"/>
                  </a:cxn>
                  <a:cxn ang="0">
                    <a:pos x="0" y="5"/>
                  </a:cxn>
                  <a:cxn ang="0">
                    <a:pos x="4" y="0"/>
                  </a:cxn>
                  <a:cxn ang="0">
                    <a:pos x="12" y="0"/>
                  </a:cxn>
                  <a:cxn ang="0">
                    <a:pos x="12" y="5"/>
                  </a:cxn>
                  <a:cxn ang="0">
                    <a:pos x="20" y="5"/>
                  </a:cxn>
                  <a:cxn ang="0">
                    <a:pos x="6" y="12"/>
                  </a:cxn>
                </a:cxnLst>
                <a:rect l="0" t="0" r="r" b="b"/>
                <a:pathLst>
                  <a:path w="20" h="12">
                    <a:moveTo>
                      <a:pt x="6" y="12"/>
                    </a:moveTo>
                    <a:cubicBezTo>
                      <a:pt x="2" y="12"/>
                      <a:pt x="0" y="8"/>
                      <a:pt x="0" y="5"/>
                    </a:cubicBezTo>
                    <a:cubicBezTo>
                      <a:pt x="0" y="3"/>
                      <a:pt x="3" y="1"/>
                      <a:pt x="4" y="0"/>
                    </a:cubicBezTo>
                    <a:cubicBezTo>
                      <a:pt x="12" y="0"/>
                      <a:pt x="12" y="0"/>
                      <a:pt x="12" y="0"/>
                    </a:cubicBezTo>
                    <a:cubicBezTo>
                      <a:pt x="12" y="3"/>
                      <a:pt x="12" y="4"/>
                      <a:pt x="12" y="5"/>
                    </a:cubicBezTo>
                    <a:cubicBezTo>
                      <a:pt x="20" y="5"/>
                      <a:pt x="20" y="5"/>
                      <a:pt x="20" y="5"/>
                    </a:cubicBezTo>
                    <a:cubicBezTo>
                      <a:pt x="17" y="7"/>
                      <a:pt x="10" y="12"/>
                      <a:pt x="6"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1" name="Freeform 91"/>
              <p:cNvSpPr>
                <a:spLocks/>
              </p:cNvSpPr>
              <p:nvPr/>
            </p:nvSpPr>
            <p:spPr bwMode="auto">
              <a:xfrm>
                <a:off x="3397250" y="1928813"/>
                <a:ext cx="109538" cy="106363"/>
              </a:xfrm>
              <a:custGeom>
                <a:avLst/>
                <a:gdLst/>
                <a:ahLst/>
                <a:cxnLst>
                  <a:cxn ang="0">
                    <a:pos x="4" y="67"/>
                  </a:cxn>
                  <a:cxn ang="0">
                    <a:pos x="0" y="62"/>
                  </a:cxn>
                  <a:cxn ang="0">
                    <a:pos x="8" y="54"/>
                  </a:cxn>
                  <a:cxn ang="0">
                    <a:pos x="8" y="51"/>
                  </a:cxn>
                  <a:cxn ang="0">
                    <a:pos x="4" y="49"/>
                  </a:cxn>
                  <a:cxn ang="0">
                    <a:pos x="28" y="13"/>
                  </a:cxn>
                  <a:cxn ang="0">
                    <a:pos x="41" y="0"/>
                  </a:cxn>
                  <a:cxn ang="0">
                    <a:pos x="44" y="4"/>
                  </a:cxn>
                  <a:cxn ang="0">
                    <a:pos x="32" y="27"/>
                  </a:cxn>
                  <a:cxn ang="0">
                    <a:pos x="32" y="31"/>
                  </a:cxn>
                  <a:cxn ang="0">
                    <a:pos x="39" y="27"/>
                  </a:cxn>
                  <a:cxn ang="0">
                    <a:pos x="46" y="29"/>
                  </a:cxn>
                  <a:cxn ang="0">
                    <a:pos x="44" y="32"/>
                  </a:cxn>
                  <a:cxn ang="0">
                    <a:pos x="44" y="36"/>
                  </a:cxn>
                  <a:cxn ang="0">
                    <a:pos x="52" y="36"/>
                  </a:cxn>
                  <a:cxn ang="0">
                    <a:pos x="52" y="38"/>
                  </a:cxn>
                  <a:cxn ang="0">
                    <a:pos x="57" y="36"/>
                  </a:cxn>
                  <a:cxn ang="0">
                    <a:pos x="70" y="36"/>
                  </a:cxn>
                  <a:cxn ang="0">
                    <a:pos x="69" y="51"/>
                  </a:cxn>
                  <a:cxn ang="0">
                    <a:pos x="74" y="49"/>
                  </a:cxn>
                  <a:cxn ang="0">
                    <a:pos x="70" y="56"/>
                  </a:cxn>
                  <a:cxn ang="0">
                    <a:pos x="73" y="63"/>
                  </a:cxn>
                  <a:cxn ang="0">
                    <a:pos x="79" y="60"/>
                  </a:cxn>
                  <a:cxn ang="0">
                    <a:pos x="82" y="70"/>
                  </a:cxn>
                  <a:cxn ang="0">
                    <a:pos x="75" y="80"/>
                  </a:cxn>
                  <a:cxn ang="0">
                    <a:pos x="71" y="75"/>
                  </a:cxn>
                  <a:cxn ang="0">
                    <a:pos x="67" y="74"/>
                  </a:cxn>
                  <a:cxn ang="0">
                    <a:pos x="63" y="62"/>
                  </a:cxn>
                  <a:cxn ang="0">
                    <a:pos x="50" y="74"/>
                  </a:cxn>
                  <a:cxn ang="0">
                    <a:pos x="47" y="74"/>
                  </a:cxn>
                  <a:cxn ang="0">
                    <a:pos x="52" y="67"/>
                  </a:cxn>
                  <a:cxn ang="0">
                    <a:pos x="40" y="65"/>
                  </a:cxn>
                  <a:cxn ang="0">
                    <a:pos x="31" y="67"/>
                  </a:cxn>
                  <a:cxn ang="0">
                    <a:pos x="18" y="64"/>
                  </a:cxn>
                  <a:cxn ang="0">
                    <a:pos x="4" y="67"/>
                  </a:cxn>
                </a:cxnLst>
                <a:rect l="0" t="0" r="r" b="b"/>
                <a:pathLst>
                  <a:path w="82" h="80">
                    <a:moveTo>
                      <a:pt x="4" y="67"/>
                    </a:moveTo>
                    <a:cubicBezTo>
                      <a:pt x="2" y="67"/>
                      <a:pt x="0" y="64"/>
                      <a:pt x="0" y="62"/>
                    </a:cubicBezTo>
                    <a:cubicBezTo>
                      <a:pt x="0" y="61"/>
                      <a:pt x="8" y="55"/>
                      <a:pt x="8" y="54"/>
                    </a:cubicBezTo>
                    <a:cubicBezTo>
                      <a:pt x="8" y="51"/>
                      <a:pt x="8" y="51"/>
                      <a:pt x="8" y="51"/>
                    </a:cubicBezTo>
                    <a:cubicBezTo>
                      <a:pt x="6" y="51"/>
                      <a:pt x="5" y="51"/>
                      <a:pt x="4" y="49"/>
                    </a:cubicBezTo>
                    <a:cubicBezTo>
                      <a:pt x="17" y="43"/>
                      <a:pt x="21" y="23"/>
                      <a:pt x="28" y="13"/>
                    </a:cubicBezTo>
                    <a:cubicBezTo>
                      <a:pt x="32" y="7"/>
                      <a:pt x="34" y="0"/>
                      <a:pt x="41" y="0"/>
                    </a:cubicBezTo>
                    <a:cubicBezTo>
                      <a:pt x="43" y="0"/>
                      <a:pt x="44" y="3"/>
                      <a:pt x="44" y="4"/>
                    </a:cubicBezTo>
                    <a:cubicBezTo>
                      <a:pt x="44" y="14"/>
                      <a:pt x="35" y="19"/>
                      <a:pt x="32" y="27"/>
                    </a:cubicBezTo>
                    <a:cubicBezTo>
                      <a:pt x="32" y="31"/>
                      <a:pt x="32" y="31"/>
                      <a:pt x="32" y="31"/>
                    </a:cubicBezTo>
                    <a:cubicBezTo>
                      <a:pt x="36" y="30"/>
                      <a:pt x="36" y="27"/>
                      <a:pt x="39" y="27"/>
                    </a:cubicBezTo>
                    <a:cubicBezTo>
                      <a:pt x="42" y="27"/>
                      <a:pt x="44" y="28"/>
                      <a:pt x="46" y="29"/>
                    </a:cubicBezTo>
                    <a:cubicBezTo>
                      <a:pt x="44" y="32"/>
                      <a:pt x="44" y="32"/>
                      <a:pt x="44" y="32"/>
                    </a:cubicBezTo>
                    <a:cubicBezTo>
                      <a:pt x="44" y="36"/>
                      <a:pt x="44" y="36"/>
                      <a:pt x="44" y="36"/>
                    </a:cubicBezTo>
                    <a:cubicBezTo>
                      <a:pt x="52" y="36"/>
                      <a:pt x="52" y="36"/>
                      <a:pt x="52" y="36"/>
                    </a:cubicBezTo>
                    <a:cubicBezTo>
                      <a:pt x="52" y="36"/>
                      <a:pt x="52" y="38"/>
                      <a:pt x="52" y="38"/>
                    </a:cubicBezTo>
                    <a:cubicBezTo>
                      <a:pt x="57" y="36"/>
                      <a:pt x="57" y="36"/>
                      <a:pt x="57" y="36"/>
                    </a:cubicBezTo>
                    <a:cubicBezTo>
                      <a:pt x="62" y="37"/>
                      <a:pt x="68" y="37"/>
                      <a:pt x="70" y="36"/>
                    </a:cubicBezTo>
                    <a:cubicBezTo>
                      <a:pt x="70" y="40"/>
                      <a:pt x="69" y="44"/>
                      <a:pt x="69" y="51"/>
                    </a:cubicBezTo>
                    <a:cubicBezTo>
                      <a:pt x="70" y="50"/>
                      <a:pt x="73" y="49"/>
                      <a:pt x="74" y="49"/>
                    </a:cubicBezTo>
                    <a:cubicBezTo>
                      <a:pt x="74" y="53"/>
                      <a:pt x="70" y="54"/>
                      <a:pt x="70" y="56"/>
                    </a:cubicBezTo>
                    <a:cubicBezTo>
                      <a:pt x="70" y="58"/>
                      <a:pt x="73" y="60"/>
                      <a:pt x="73" y="63"/>
                    </a:cubicBezTo>
                    <a:cubicBezTo>
                      <a:pt x="77" y="63"/>
                      <a:pt x="76" y="62"/>
                      <a:pt x="79" y="60"/>
                    </a:cubicBezTo>
                    <a:cubicBezTo>
                      <a:pt x="79" y="66"/>
                      <a:pt x="82" y="65"/>
                      <a:pt x="82" y="70"/>
                    </a:cubicBezTo>
                    <a:cubicBezTo>
                      <a:pt x="82" y="75"/>
                      <a:pt x="79" y="80"/>
                      <a:pt x="75" y="80"/>
                    </a:cubicBezTo>
                    <a:cubicBezTo>
                      <a:pt x="72" y="80"/>
                      <a:pt x="71" y="77"/>
                      <a:pt x="71" y="75"/>
                    </a:cubicBezTo>
                    <a:cubicBezTo>
                      <a:pt x="69" y="75"/>
                      <a:pt x="69" y="74"/>
                      <a:pt x="67" y="74"/>
                    </a:cubicBezTo>
                    <a:cubicBezTo>
                      <a:pt x="64" y="74"/>
                      <a:pt x="66" y="66"/>
                      <a:pt x="63" y="62"/>
                    </a:cubicBezTo>
                    <a:cubicBezTo>
                      <a:pt x="59" y="67"/>
                      <a:pt x="55" y="74"/>
                      <a:pt x="50" y="74"/>
                    </a:cubicBezTo>
                    <a:cubicBezTo>
                      <a:pt x="49" y="74"/>
                      <a:pt x="47" y="75"/>
                      <a:pt x="47" y="74"/>
                    </a:cubicBezTo>
                    <a:cubicBezTo>
                      <a:pt x="47" y="70"/>
                      <a:pt x="51" y="70"/>
                      <a:pt x="52" y="67"/>
                    </a:cubicBezTo>
                    <a:cubicBezTo>
                      <a:pt x="48" y="67"/>
                      <a:pt x="42" y="70"/>
                      <a:pt x="40" y="65"/>
                    </a:cubicBezTo>
                    <a:cubicBezTo>
                      <a:pt x="37" y="66"/>
                      <a:pt x="34" y="67"/>
                      <a:pt x="31" y="67"/>
                    </a:cubicBezTo>
                    <a:cubicBezTo>
                      <a:pt x="25" y="67"/>
                      <a:pt x="23" y="64"/>
                      <a:pt x="18" y="64"/>
                    </a:cubicBezTo>
                    <a:cubicBezTo>
                      <a:pt x="11" y="64"/>
                      <a:pt x="9" y="67"/>
                      <a:pt x="4" y="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2" name="Freeform 92"/>
              <p:cNvSpPr>
                <a:spLocks/>
              </p:cNvSpPr>
              <p:nvPr/>
            </p:nvSpPr>
            <p:spPr bwMode="auto">
              <a:xfrm>
                <a:off x="2427288" y="2314575"/>
                <a:ext cx="671513" cy="450850"/>
              </a:xfrm>
              <a:custGeom>
                <a:avLst/>
                <a:gdLst/>
                <a:ahLst/>
                <a:cxnLst>
                  <a:cxn ang="0">
                    <a:pos x="250" y="98"/>
                  </a:cxn>
                  <a:cxn ang="0">
                    <a:pos x="246" y="141"/>
                  </a:cxn>
                  <a:cxn ang="0">
                    <a:pos x="251" y="160"/>
                  </a:cxn>
                  <a:cxn ang="0">
                    <a:pos x="281" y="192"/>
                  </a:cxn>
                  <a:cxn ang="0">
                    <a:pos x="312" y="191"/>
                  </a:cxn>
                  <a:cxn ang="0">
                    <a:pos x="327" y="187"/>
                  </a:cxn>
                  <a:cxn ang="0">
                    <a:pos x="363" y="152"/>
                  </a:cxn>
                  <a:cxn ang="0">
                    <a:pos x="382" y="154"/>
                  </a:cxn>
                  <a:cxn ang="0">
                    <a:pos x="374" y="180"/>
                  </a:cxn>
                  <a:cxn ang="0">
                    <a:pos x="369" y="192"/>
                  </a:cxn>
                  <a:cxn ang="0">
                    <a:pos x="365" y="213"/>
                  </a:cxn>
                  <a:cxn ang="0">
                    <a:pos x="357" y="224"/>
                  </a:cxn>
                  <a:cxn ang="0">
                    <a:pos x="405" y="226"/>
                  </a:cxn>
                  <a:cxn ang="0">
                    <a:pos x="426" y="242"/>
                  </a:cxn>
                  <a:cxn ang="0">
                    <a:pos x="423" y="289"/>
                  </a:cxn>
                  <a:cxn ang="0">
                    <a:pos x="451" y="316"/>
                  </a:cxn>
                  <a:cxn ang="0">
                    <a:pos x="504" y="322"/>
                  </a:cxn>
                  <a:cxn ang="0">
                    <a:pos x="488" y="329"/>
                  </a:cxn>
                  <a:cxn ang="0">
                    <a:pos x="480" y="316"/>
                  </a:cxn>
                  <a:cxn ang="0">
                    <a:pos x="468" y="332"/>
                  </a:cxn>
                  <a:cxn ang="0">
                    <a:pos x="446" y="326"/>
                  </a:cxn>
                  <a:cxn ang="0">
                    <a:pos x="431" y="323"/>
                  </a:cxn>
                  <a:cxn ang="0">
                    <a:pos x="406" y="302"/>
                  </a:cxn>
                  <a:cxn ang="0">
                    <a:pos x="402" y="306"/>
                  </a:cxn>
                  <a:cxn ang="0">
                    <a:pos x="391" y="281"/>
                  </a:cxn>
                  <a:cxn ang="0">
                    <a:pos x="372" y="260"/>
                  </a:cxn>
                  <a:cxn ang="0">
                    <a:pos x="345" y="255"/>
                  </a:cxn>
                  <a:cxn ang="0">
                    <a:pos x="294" y="226"/>
                  </a:cxn>
                  <a:cxn ang="0">
                    <a:pos x="282" y="222"/>
                  </a:cxn>
                  <a:cxn ang="0">
                    <a:pos x="256" y="227"/>
                  </a:cxn>
                  <a:cxn ang="0">
                    <a:pos x="221" y="214"/>
                  </a:cxn>
                  <a:cxn ang="0">
                    <a:pos x="195" y="203"/>
                  </a:cxn>
                  <a:cxn ang="0">
                    <a:pos x="175" y="195"/>
                  </a:cxn>
                  <a:cxn ang="0">
                    <a:pos x="148" y="172"/>
                  </a:cxn>
                  <a:cxn ang="0">
                    <a:pos x="148" y="150"/>
                  </a:cxn>
                  <a:cxn ang="0">
                    <a:pos x="102" y="101"/>
                  </a:cxn>
                  <a:cxn ang="0">
                    <a:pos x="82" y="68"/>
                  </a:cxn>
                  <a:cxn ang="0">
                    <a:pos x="62" y="53"/>
                  </a:cxn>
                  <a:cxn ang="0">
                    <a:pos x="49" y="22"/>
                  </a:cxn>
                  <a:cxn ang="0">
                    <a:pos x="28" y="19"/>
                  </a:cxn>
                  <a:cxn ang="0">
                    <a:pos x="49" y="53"/>
                  </a:cxn>
                  <a:cxn ang="0">
                    <a:pos x="73" y="95"/>
                  </a:cxn>
                  <a:cxn ang="0">
                    <a:pos x="96" y="130"/>
                  </a:cxn>
                  <a:cxn ang="0">
                    <a:pos x="86" y="127"/>
                  </a:cxn>
                  <a:cxn ang="0">
                    <a:pos x="65" y="109"/>
                  </a:cxn>
                  <a:cxn ang="0">
                    <a:pos x="52" y="84"/>
                  </a:cxn>
                  <a:cxn ang="0">
                    <a:pos x="40" y="69"/>
                  </a:cxn>
                  <a:cxn ang="0">
                    <a:pos x="11" y="24"/>
                  </a:cxn>
                  <a:cxn ang="0">
                    <a:pos x="0" y="0"/>
                  </a:cxn>
                  <a:cxn ang="0">
                    <a:pos x="76" y="16"/>
                  </a:cxn>
                  <a:cxn ang="0">
                    <a:pos x="113" y="10"/>
                  </a:cxn>
                  <a:cxn ang="0">
                    <a:pos x="152" y="29"/>
                  </a:cxn>
                  <a:cxn ang="0">
                    <a:pos x="188" y="38"/>
                  </a:cxn>
                  <a:cxn ang="0">
                    <a:pos x="249" y="90"/>
                  </a:cxn>
                  <a:cxn ang="0">
                    <a:pos x="247" y="86"/>
                  </a:cxn>
                </a:cxnLst>
                <a:rect l="0" t="0" r="r" b="b"/>
                <a:pathLst>
                  <a:path w="504" h="338">
                    <a:moveTo>
                      <a:pt x="248" y="91"/>
                    </a:moveTo>
                    <a:cubicBezTo>
                      <a:pt x="249" y="94"/>
                      <a:pt x="250" y="96"/>
                      <a:pt x="250" y="98"/>
                    </a:cubicBezTo>
                    <a:cubicBezTo>
                      <a:pt x="250" y="106"/>
                      <a:pt x="247" y="109"/>
                      <a:pt x="246" y="116"/>
                    </a:cubicBezTo>
                    <a:cubicBezTo>
                      <a:pt x="246" y="141"/>
                      <a:pt x="246" y="141"/>
                      <a:pt x="246" y="141"/>
                    </a:cubicBezTo>
                    <a:cubicBezTo>
                      <a:pt x="245" y="144"/>
                      <a:pt x="248" y="148"/>
                      <a:pt x="249" y="150"/>
                    </a:cubicBezTo>
                    <a:cubicBezTo>
                      <a:pt x="251" y="154"/>
                      <a:pt x="249" y="156"/>
                      <a:pt x="251" y="160"/>
                    </a:cubicBezTo>
                    <a:cubicBezTo>
                      <a:pt x="252" y="164"/>
                      <a:pt x="258" y="170"/>
                      <a:pt x="261" y="173"/>
                    </a:cubicBezTo>
                    <a:cubicBezTo>
                      <a:pt x="269" y="181"/>
                      <a:pt x="269" y="188"/>
                      <a:pt x="281" y="192"/>
                    </a:cubicBezTo>
                    <a:cubicBezTo>
                      <a:pt x="285" y="193"/>
                      <a:pt x="285" y="197"/>
                      <a:pt x="288" y="197"/>
                    </a:cubicBezTo>
                    <a:cubicBezTo>
                      <a:pt x="297" y="197"/>
                      <a:pt x="304" y="191"/>
                      <a:pt x="312" y="191"/>
                    </a:cubicBezTo>
                    <a:cubicBezTo>
                      <a:pt x="317" y="191"/>
                      <a:pt x="319" y="194"/>
                      <a:pt x="321" y="194"/>
                    </a:cubicBezTo>
                    <a:cubicBezTo>
                      <a:pt x="324" y="194"/>
                      <a:pt x="327" y="188"/>
                      <a:pt x="327" y="187"/>
                    </a:cubicBezTo>
                    <a:cubicBezTo>
                      <a:pt x="329" y="181"/>
                      <a:pt x="336" y="176"/>
                      <a:pt x="336" y="169"/>
                    </a:cubicBezTo>
                    <a:cubicBezTo>
                      <a:pt x="336" y="156"/>
                      <a:pt x="351" y="152"/>
                      <a:pt x="363" y="152"/>
                    </a:cubicBezTo>
                    <a:cubicBezTo>
                      <a:pt x="367" y="152"/>
                      <a:pt x="370" y="152"/>
                      <a:pt x="372" y="153"/>
                    </a:cubicBezTo>
                    <a:cubicBezTo>
                      <a:pt x="373" y="154"/>
                      <a:pt x="379" y="154"/>
                      <a:pt x="382" y="154"/>
                    </a:cubicBezTo>
                    <a:cubicBezTo>
                      <a:pt x="382" y="155"/>
                      <a:pt x="382" y="157"/>
                      <a:pt x="382" y="158"/>
                    </a:cubicBezTo>
                    <a:cubicBezTo>
                      <a:pt x="382" y="164"/>
                      <a:pt x="374" y="172"/>
                      <a:pt x="374" y="180"/>
                    </a:cubicBezTo>
                    <a:cubicBezTo>
                      <a:pt x="374" y="188"/>
                      <a:pt x="372" y="191"/>
                      <a:pt x="369" y="195"/>
                    </a:cubicBezTo>
                    <a:cubicBezTo>
                      <a:pt x="369" y="194"/>
                      <a:pt x="369" y="193"/>
                      <a:pt x="369" y="192"/>
                    </a:cubicBezTo>
                    <a:cubicBezTo>
                      <a:pt x="368" y="192"/>
                      <a:pt x="367" y="192"/>
                      <a:pt x="365" y="192"/>
                    </a:cubicBezTo>
                    <a:cubicBezTo>
                      <a:pt x="365" y="197"/>
                      <a:pt x="365" y="207"/>
                      <a:pt x="365" y="213"/>
                    </a:cubicBezTo>
                    <a:cubicBezTo>
                      <a:pt x="365" y="217"/>
                      <a:pt x="360" y="219"/>
                      <a:pt x="357" y="222"/>
                    </a:cubicBezTo>
                    <a:cubicBezTo>
                      <a:pt x="357" y="223"/>
                      <a:pt x="357" y="223"/>
                      <a:pt x="357" y="224"/>
                    </a:cubicBezTo>
                    <a:cubicBezTo>
                      <a:pt x="357" y="227"/>
                      <a:pt x="360" y="229"/>
                      <a:pt x="363" y="229"/>
                    </a:cubicBezTo>
                    <a:cubicBezTo>
                      <a:pt x="377" y="229"/>
                      <a:pt x="389" y="226"/>
                      <a:pt x="405" y="226"/>
                    </a:cubicBezTo>
                    <a:cubicBezTo>
                      <a:pt x="415" y="226"/>
                      <a:pt x="418" y="234"/>
                      <a:pt x="426" y="236"/>
                    </a:cubicBezTo>
                    <a:cubicBezTo>
                      <a:pt x="426" y="238"/>
                      <a:pt x="426" y="240"/>
                      <a:pt x="426" y="242"/>
                    </a:cubicBezTo>
                    <a:cubicBezTo>
                      <a:pt x="426" y="246"/>
                      <a:pt x="425" y="257"/>
                      <a:pt x="423" y="262"/>
                    </a:cubicBezTo>
                    <a:cubicBezTo>
                      <a:pt x="423" y="272"/>
                      <a:pt x="423" y="281"/>
                      <a:pt x="423" y="289"/>
                    </a:cubicBezTo>
                    <a:cubicBezTo>
                      <a:pt x="423" y="298"/>
                      <a:pt x="432" y="302"/>
                      <a:pt x="439" y="306"/>
                    </a:cubicBezTo>
                    <a:cubicBezTo>
                      <a:pt x="444" y="308"/>
                      <a:pt x="444" y="316"/>
                      <a:pt x="451" y="316"/>
                    </a:cubicBezTo>
                    <a:cubicBezTo>
                      <a:pt x="463" y="316"/>
                      <a:pt x="469" y="307"/>
                      <a:pt x="479" y="307"/>
                    </a:cubicBezTo>
                    <a:cubicBezTo>
                      <a:pt x="491" y="307"/>
                      <a:pt x="497" y="316"/>
                      <a:pt x="504" y="322"/>
                    </a:cubicBezTo>
                    <a:cubicBezTo>
                      <a:pt x="503" y="323"/>
                      <a:pt x="494" y="333"/>
                      <a:pt x="493" y="332"/>
                    </a:cubicBezTo>
                    <a:cubicBezTo>
                      <a:pt x="492" y="331"/>
                      <a:pt x="488" y="330"/>
                      <a:pt x="488" y="329"/>
                    </a:cubicBezTo>
                    <a:cubicBezTo>
                      <a:pt x="488" y="327"/>
                      <a:pt x="490" y="326"/>
                      <a:pt x="491" y="324"/>
                    </a:cubicBezTo>
                    <a:cubicBezTo>
                      <a:pt x="486" y="322"/>
                      <a:pt x="484" y="316"/>
                      <a:pt x="480" y="316"/>
                    </a:cubicBezTo>
                    <a:cubicBezTo>
                      <a:pt x="476" y="316"/>
                      <a:pt x="464" y="325"/>
                      <a:pt x="464" y="328"/>
                    </a:cubicBezTo>
                    <a:cubicBezTo>
                      <a:pt x="464" y="330"/>
                      <a:pt x="467" y="331"/>
                      <a:pt x="468" y="332"/>
                    </a:cubicBezTo>
                    <a:cubicBezTo>
                      <a:pt x="467" y="336"/>
                      <a:pt x="465" y="338"/>
                      <a:pt x="461" y="338"/>
                    </a:cubicBezTo>
                    <a:cubicBezTo>
                      <a:pt x="454" y="338"/>
                      <a:pt x="450" y="330"/>
                      <a:pt x="446" y="326"/>
                    </a:cubicBezTo>
                    <a:cubicBezTo>
                      <a:pt x="443" y="323"/>
                      <a:pt x="436" y="326"/>
                      <a:pt x="433" y="326"/>
                    </a:cubicBezTo>
                    <a:cubicBezTo>
                      <a:pt x="432" y="326"/>
                      <a:pt x="431" y="324"/>
                      <a:pt x="431" y="323"/>
                    </a:cubicBezTo>
                    <a:cubicBezTo>
                      <a:pt x="424" y="322"/>
                      <a:pt x="424" y="318"/>
                      <a:pt x="423" y="314"/>
                    </a:cubicBezTo>
                    <a:cubicBezTo>
                      <a:pt x="421" y="311"/>
                      <a:pt x="406" y="302"/>
                      <a:pt x="406" y="302"/>
                    </a:cubicBezTo>
                    <a:cubicBezTo>
                      <a:pt x="405" y="304"/>
                      <a:pt x="405" y="305"/>
                      <a:pt x="406" y="306"/>
                    </a:cubicBezTo>
                    <a:cubicBezTo>
                      <a:pt x="402" y="306"/>
                      <a:pt x="402" y="306"/>
                      <a:pt x="402" y="306"/>
                    </a:cubicBezTo>
                    <a:cubicBezTo>
                      <a:pt x="395" y="302"/>
                      <a:pt x="399" y="296"/>
                      <a:pt x="397" y="289"/>
                    </a:cubicBezTo>
                    <a:cubicBezTo>
                      <a:pt x="396" y="285"/>
                      <a:pt x="394" y="284"/>
                      <a:pt x="391" y="281"/>
                    </a:cubicBezTo>
                    <a:cubicBezTo>
                      <a:pt x="384" y="274"/>
                      <a:pt x="377" y="270"/>
                      <a:pt x="374" y="260"/>
                    </a:cubicBezTo>
                    <a:cubicBezTo>
                      <a:pt x="373" y="260"/>
                      <a:pt x="372" y="260"/>
                      <a:pt x="372" y="260"/>
                    </a:cubicBezTo>
                    <a:cubicBezTo>
                      <a:pt x="368" y="260"/>
                      <a:pt x="366" y="262"/>
                      <a:pt x="363" y="262"/>
                    </a:cubicBezTo>
                    <a:cubicBezTo>
                      <a:pt x="355" y="262"/>
                      <a:pt x="350" y="257"/>
                      <a:pt x="345" y="255"/>
                    </a:cubicBezTo>
                    <a:cubicBezTo>
                      <a:pt x="336" y="251"/>
                      <a:pt x="330" y="253"/>
                      <a:pt x="321" y="248"/>
                    </a:cubicBezTo>
                    <a:cubicBezTo>
                      <a:pt x="308" y="242"/>
                      <a:pt x="306" y="232"/>
                      <a:pt x="294" y="226"/>
                    </a:cubicBezTo>
                    <a:cubicBezTo>
                      <a:pt x="291" y="226"/>
                      <a:pt x="291" y="226"/>
                      <a:pt x="291" y="226"/>
                    </a:cubicBezTo>
                    <a:cubicBezTo>
                      <a:pt x="288" y="224"/>
                      <a:pt x="285" y="222"/>
                      <a:pt x="282" y="222"/>
                    </a:cubicBezTo>
                    <a:cubicBezTo>
                      <a:pt x="274" y="222"/>
                      <a:pt x="272" y="231"/>
                      <a:pt x="265" y="231"/>
                    </a:cubicBezTo>
                    <a:cubicBezTo>
                      <a:pt x="261" y="231"/>
                      <a:pt x="258" y="228"/>
                      <a:pt x="256" y="227"/>
                    </a:cubicBezTo>
                    <a:cubicBezTo>
                      <a:pt x="252" y="225"/>
                      <a:pt x="249" y="226"/>
                      <a:pt x="246" y="226"/>
                    </a:cubicBezTo>
                    <a:cubicBezTo>
                      <a:pt x="241" y="226"/>
                      <a:pt x="226" y="216"/>
                      <a:pt x="221" y="214"/>
                    </a:cubicBezTo>
                    <a:cubicBezTo>
                      <a:pt x="216" y="211"/>
                      <a:pt x="213" y="214"/>
                      <a:pt x="208" y="213"/>
                    </a:cubicBezTo>
                    <a:cubicBezTo>
                      <a:pt x="202" y="211"/>
                      <a:pt x="201" y="206"/>
                      <a:pt x="195" y="203"/>
                    </a:cubicBezTo>
                    <a:cubicBezTo>
                      <a:pt x="189" y="200"/>
                      <a:pt x="186" y="201"/>
                      <a:pt x="180" y="198"/>
                    </a:cubicBezTo>
                    <a:cubicBezTo>
                      <a:pt x="177" y="197"/>
                      <a:pt x="177" y="196"/>
                      <a:pt x="175" y="195"/>
                    </a:cubicBezTo>
                    <a:cubicBezTo>
                      <a:pt x="170" y="190"/>
                      <a:pt x="156" y="187"/>
                      <a:pt x="155" y="181"/>
                    </a:cubicBezTo>
                    <a:cubicBezTo>
                      <a:pt x="151" y="181"/>
                      <a:pt x="148" y="176"/>
                      <a:pt x="148" y="172"/>
                    </a:cubicBezTo>
                    <a:cubicBezTo>
                      <a:pt x="148" y="167"/>
                      <a:pt x="153" y="165"/>
                      <a:pt x="153" y="160"/>
                    </a:cubicBezTo>
                    <a:cubicBezTo>
                      <a:pt x="153" y="154"/>
                      <a:pt x="149" y="153"/>
                      <a:pt x="148" y="150"/>
                    </a:cubicBezTo>
                    <a:cubicBezTo>
                      <a:pt x="143" y="134"/>
                      <a:pt x="128" y="121"/>
                      <a:pt x="118" y="111"/>
                    </a:cubicBezTo>
                    <a:cubicBezTo>
                      <a:pt x="114" y="107"/>
                      <a:pt x="107" y="105"/>
                      <a:pt x="102" y="101"/>
                    </a:cubicBezTo>
                    <a:cubicBezTo>
                      <a:pt x="99" y="97"/>
                      <a:pt x="102" y="93"/>
                      <a:pt x="100" y="88"/>
                    </a:cubicBezTo>
                    <a:cubicBezTo>
                      <a:pt x="96" y="80"/>
                      <a:pt x="82" y="79"/>
                      <a:pt x="82" y="68"/>
                    </a:cubicBezTo>
                    <a:cubicBezTo>
                      <a:pt x="78" y="68"/>
                      <a:pt x="79" y="67"/>
                      <a:pt x="77" y="68"/>
                    </a:cubicBezTo>
                    <a:cubicBezTo>
                      <a:pt x="72" y="63"/>
                      <a:pt x="67" y="58"/>
                      <a:pt x="62" y="53"/>
                    </a:cubicBezTo>
                    <a:cubicBezTo>
                      <a:pt x="58" y="49"/>
                      <a:pt x="60" y="42"/>
                      <a:pt x="56" y="38"/>
                    </a:cubicBezTo>
                    <a:cubicBezTo>
                      <a:pt x="52" y="34"/>
                      <a:pt x="53" y="24"/>
                      <a:pt x="49" y="22"/>
                    </a:cubicBezTo>
                    <a:cubicBezTo>
                      <a:pt x="42" y="19"/>
                      <a:pt x="35" y="19"/>
                      <a:pt x="29" y="13"/>
                    </a:cubicBezTo>
                    <a:cubicBezTo>
                      <a:pt x="27" y="15"/>
                      <a:pt x="28" y="18"/>
                      <a:pt x="28" y="19"/>
                    </a:cubicBezTo>
                    <a:cubicBezTo>
                      <a:pt x="28" y="28"/>
                      <a:pt x="32" y="34"/>
                      <a:pt x="36" y="41"/>
                    </a:cubicBezTo>
                    <a:cubicBezTo>
                      <a:pt x="39" y="48"/>
                      <a:pt x="45" y="48"/>
                      <a:pt x="49" y="53"/>
                    </a:cubicBezTo>
                    <a:cubicBezTo>
                      <a:pt x="55" y="59"/>
                      <a:pt x="56" y="63"/>
                      <a:pt x="58" y="71"/>
                    </a:cubicBezTo>
                    <a:cubicBezTo>
                      <a:pt x="61" y="81"/>
                      <a:pt x="70" y="86"/>
                      <a:pt x="73" y="95"/>
                    </a:cubicBezTo>
                    <a:cubicBezTo>
                      <a:pt x="77" y="106"/>
                      <a:pt x="80" y="117"/>
                      <a:pt x="87" y="122"/>
                    </a:cubicBezTo>
                    <a:cubicBezTo>
                      <a:pt x="91" y="119"/>
                      <a:pt x="96" y="126"/>
                      <a:pt x="96" y="130"/>
                    </a:cubicBezTo>
                    <a:cubicBezTo>
                      <a:pt x="96" y="132"/>
                      <a:pt x="95" y="136"/>
                      <a:pt x="93" y="136"/>
                    </a:cubicBezTo>
                    <a:cubicBezTo>
                      <a:pt x="92" y="136"/>
                      <a:pt x="86" y="129"/>
                      <a:pt x="86" y="127"/>
                    </a:cubicBezTo>
                    <a:cubicBezTo>
                      <a:pt x="78" y="127"/>
                      <a:pt x="74" y="117"/>
                      <a:pt x="69" y="113"/>
                    </a:cubicBezTo>
                    <a:cubicBezTo>
                      <a:pt x="66" y="112"/>
                      <a:pt x="66" y="112"/>
                      <a:pt x="65" y="109"/>
                    </a:cubicBezTo>
                    <a:cubicBezTo>
                      <a:pt x="65" y="98"/>
                      <a:pt x="65" y="98"/>
                      <a:pt x="65" y="98"/>
                    </a:cubicBezTo>
                    <a:cubicBezTo>
                      <a:pt x="60" y="93"/>
                      <a:pt x="56" y="88"/>
                      <a:pt x="52" y="84"/>
                    </a:cubicBezTo>
                    <a:cubicBezTo>
                      <a:pt x="46" y="78"/>
                      <a:pt x="36" y="79"/>
                      <a:pt x="31" y="72"/>
                    </a:cubicBezTo>
                    <a:cubicBezTo>
                      <a:pt x="34" y="72"/>
                      <a:pt x="44" y="74"/>
                      <a:pt x="40" y="69"/>
                    </a:cubicBezTo>
                    <a:cubicBezTo>
                      <a:pt x="34" y="59"/>
                      <a:pt x="26" y="50"/>
                      <a:pt x="19" y="45"/>
                    </a:cubicBezTo>
                    <a:cubicBezTo>
                      <a:pt x="14" y="41"/>
                      <a:pt x="14" y="29"/>
                      <a:pt x="11" y="24"/>
                    </a:cubicBezTo>
                    <a:cubicBezTo>
                      <a:pt x="7" y="16"/>
                      <a:pt x="3" y="13"/>
                      <a:pt x="0" y="3"/>
                    </a:cubicBezTo>
                    <a:cubicBezTo>
                      <a:pt x="0" y="0"/>
                      <a:pt x="0" y="0"/>
                      <a:pt x="0" y="0"/>
                    </a:cubicBezTo>
                    <a:cubicBezTo>
                      <a:pt x="29" y="0"/>
                      <a:pt x="29" y="0"/>
                      <a:pt x="29" y="0"/>
                    </a:cubicBezTo>
                    <a:cubicBezTo>
                      <a:pt x="76" y="16"/>
                      <a:pt x="76" y="16"/>
                      <a:pt x="76" y="16"/>
                    </a:cubicBezTo>
                    <a:cubicBezTo>
                      <a:pt x="113" y="16"/>
                      <a:pt x="113" y="16"/>
                      <a:pt x="113" y="16"/>
                    </a:cubicBezTo>
                    <a:cubicBezTo>
                      <a:pt x="113" y="10"/>
                      <a:pt x="113" y="10"/>
                      <a:pt x="113" y="10"/>
                    </a:cubicBezTo>
                    <a:cubicBezTo>
                      <a:pt x="121" y="10"/>
                      <a:pt x="121" y="10"/>
                      <a:pt x="121" y="10"/>
                    </a:cubicBezTo>
                    <a:cubicBezTo>
                      <a:pt x="136" y="14"/>
                      <a:pt x="145" y="16"/>
                      <a:pt x="152" y="29"/>
                    </a:cubicBezTo>
                    <a:cubicBezTo>
                      <a:pt x="156" y="35"/>
                      <a:pt x="163" y="50"/>
                      <a:pt x="172" y="50"/>
                    </a:cubicBezTo>
                    <a:cubicBezTo>
                      <a:pt x="181" y="50"/>
                      <a:pt x="178" y="38"/>
                      <a:pt x="188" y="38"/>
                    </a:cubicBezTo>
                    <a:cubicBezTo>
                      <a:pt x="214" y="38"/>
                      <a:pt x="213" y="70"/>
                      <a:pt x="227" y="84"/>
                    </a:cubicBezTo>
                    <a:cubicBezTo>
                      <a:pt x="231" y="87"/>
                      <a:pt x="242" y="90"/>
                      <a:pt x="249" y="90"/>
                    </a:cubicBezTo>
                    <a:cubicBezTo>
                      <a:pt x="249" y="89"/>
                      <a:pt x="247" y="87"/>
                      <a:pt x="247" y="86"/>
                    </a:cubicBezTo>
                    <a:cubicBezTo>
                      <a:pt x="247" y="86"/>
                      <a:pt x="247" y="86"/>
                      <a:pt x="247" y="86"/>
                    </a:cubicBezTo>
                    <a:lnTo>
                      <a:pt x="248" y="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3" name="Freeform 93"/>
              <p:cNvSpPr>
                <a:spLocks/>
              </p:cNvSpPr>
              <p:nvPr/>
            </p:nvSpPr>
            <p:spPr bwMode="auto">
              <a:xfrm>
                <a:off x="3016250" y="1895475"/>
                <a:ext cx="20638" cy="9525"/>
              </a:xfrm>
              <a:custGeom>
                <a:avLst/>
                <a:gdLst/>
                <a:ahLst/>
                <a:cxnLst>
                  <a:cxn ang="0">
                    <a:pos x="0" y="0"/>
                  </a:cxn>
                  <a:cxn ang="0">
                    <a:pos x="15" y="7"/>
                  </a:cxn>
                  <a:cxn ang="0">
                    <a:pos x="12" y="7"/>
                  </a:cxn>
                  <a:cxn ang="0">
                    <a:pos x="0" y="3"/>
                  </a:cxn>
                  <a:cxn ang="0">
                    <a:pos x="0" y="0"/>
                  </a:cxn>
                </a:cxnLst>
                <a:rect l="0" t="0" r="r" b="b"/>
                <a:pathLst>
                  <a:path w="15" h="8">
                    <a:moveTo>
                      <a:pt x="0" y="0"/>
                    </a:moveTo>
                    <a:cubicBezTo>
                      <a:pt x="7" y="0"/>
                      <a:pt x="15" y="1"/>
                      <a:pt x="15" y="7"/>
                    </a:cubicBezTo>
                    <a:cubicBezTo>
                      <a:pt x="15" y="8"/>
                      <a:pt x="13" y="7"/>
                      <a:pt x="12" y="7"/>
                    </a:cubicBezTo>
                    <a:cubicBezTo>
                      <a:pt x="8" y="7"/>
                      <a:pt x="2" y="5"/>
                      <a:pt x="0" y="3"/>
                    </a:cubicBezTo>
                    <a:cubicBezTo>
                      <a:pt x="0" y="2"/>
                      <a:pt x="0" y="1"/>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4" name="Freeform 94"/>
              <p:cNvSpPr>
                <a:spLocks/>
              </p:cNvSpPr>
              <p:nvPr/>
            </p:nvSpPr>
            <p:spPr bwMode="auto">
              <a:xfrm>
                <a:off x="2239963" y="1951038"/>
                <a:ext cx="79375" cy="50800"/>
              </a:xfrm>
              <a:custGeom>
                <a:avLst/>
                <a:gdLst/>
                <a:ahLst/>
                <a:cxnLst>
                  <a:cxn ang="0">
                    <a:pos x="0" y="2"/>
                  </a:cxn>
                  <a:cxn ang="0">
                    <a:pos x="6" y="0"/>
                  </a:cxn>
                  <a:cxn ang="0">
                    <a:pos x="18" y="6"/>
                  </a:cxn>
                  <a:cxn ang="0">
                    <a:pos x="59" y="34"/>
                  </a:cxn>
                  <a:cxn ang="0">
                    <a:pos x="59" y="38"/>
                  </a:cxn>
                  <a:cxn ang="0">
                    <a:pos x="55" y="38"/>
                  </a:cxn>
                  <a:cxn ang="0">
                    <a:pos x="22" y="22"/>
                  </a:cxn>
                  <a:cxn ang="0">
                    <a:pos x="27" y="17"/>
                  </a:cxn>
                  <a:cxn ang="0">
                    <a:pos x="4" y="8"/>
                  </a:cxn>
                  <a:cxn ang="0">
                    <a:pos x="8" y="4"/>
                  </a:cxn>
                  <a:cxn ang="0">
                    <a:pos x="2" y="2"/>
                  </a:cxn>
                  <a:cxn ang="0">
                    <a:pos x="0" y="2"/>
                  </a:cxn>
                </a:cxnLst>
                <a:rect l="0" t="0" r="r" b="b"/>
                <a:pathLst>
                  <a:path w="59" h="38">
                    <a:moveTo>
                      <a:pt x="0" y="2"/>
                    </a:moveTo>
                    <a:cubicBezTo>
                      <a:pt x="2" y="1"/>
                      <a:pt x="4" y="0"/>
                      <a:pt x="6" y="0"/>
                    </a:cubicBezTo>
                    <a:cubicBezTo>
                      <a:pt x="11" y="0"/>
                      <a:pt x="15" y="5"/>
                      <a:pt x="18" y="6"/>
                    </a:cubicBezTo>
                    <a:cubicBezTo>
                      <a:pt x="37" y="12"/>
                      <a:pt x="48" y="23"/>
                      <a:pt x="59" y="34"/>
                    </a:cubicBezTo>
                    <a:cubicBezTo>
                      <a:pt x="59" y="38"/>
                      <a:pt x="59" y="38"/>
                      <a:pt x="59" y="38"/>
                    </a:cubicBezTo>
                    <a:cubicBezTo>
                      <a:pt x="58" y="38"/>
                      <a:pt x="56" y="38"/>
                      <a:pt x="55" y="38"/>
                    </a:cubicBezTo>
                    <a:cubicBezTo>
                      <a:pt x="45" y="38"/>
                      <a:pt x="29" y="26"/>
                      <a:pt x="22" y="22"/>
                    </a:cubicBezTo>
                    <a:cubicBezTo>
                      <a:pt x="23" y="19"/>
                      <a:pt x="25" y="19"/>
                      <a:pt x="27" y="17"/>
                    </a:cubicBezTo>
                    <a:cubicBezTo>
                      <a:pt x="18" y="17"/>
                      <a:pt x="6" y="13"/>
                      <a:pt x="4" y="8"/>
                    </a:cubicBezTo>
                    <a:cubicBezTo>
                      <a:pt x="6" y="7"/>
                      <a:pt x="8" y="5"/>
                      <a:pt x="8" y="4"/>
                    </a:cubicBezTo>
                    <a:cubicBezTo>
                      <a:pt x="6" y="3"/>
                      <a:pt x="2" y="2"/>
                      <a:pt x="2" y="2"/>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5" name="Freeform 95"/>
              <p:cNvSpPr>
                <a:spLocks/>
              </p:cNvSpPr>
              <p:nvPr/>
            </p:nvSpPr>
            <p:spPr bwMode="auto">
              <a:xfrm>
                <a:off x="2162175" y="1876425"/>
                <a:ext cx="28575" cy="39688"/>
              </a:xfrm>
              <a:custGeom>
                <a:avLst/>
                <a:gdLst/>
                <a:ahLst/>
                <a:cxnLst>
                  <a:cxn ang="0">
                    <a:pos x="5" y="12"/>
                  </a:cxn>
                  <a:cxn ang="0">
                    <a:pos x="0" y="4"/>
                  </a:cxn>
                  <a:cxn ang="0">
                    <a:pos x="0" y="0"/>
                  </a:cxn>
                  <a:cxn ang="0">
                    <a:pos x="10" y="3"/>
                  </a:cxn>
                  <a:cxn ang="0">
                    <a:pos x="7" y="8"/>
                  </a:cxn>
                  <a:cxn ang="0">
                    <a:pos x="13" y="3"/>
                  </a:cxn>
                  <a:cxn ang="0">
                    <a:pos x="13" y="12"/>
                  </a:cxn>
                  <a:cxn ang="0">
                    <a:pos x="15" y="18"/>
                  </a:cxn>
                  <a:cxn ang="0">
                    <a:pos x="13" y="22"/>
                  </a:cxn>
                  <a:cxn ang="0">
                    <a:pos x="17" y="30"/>
                  </a:cxn>
                  <a:cxn ang="0">
                    <a:pos x="10" y="22"/>
                  </a:cxn>
                  <a:cxn ang="0">
                    <a:pos x="12" y="17"/>
                  </a:cxn>
                  <a:cxn ang="0">
                    <a:pos x="5" y="12"/>
                  </a:cxn>
                </a:cxnLst>
                <a:rect l="0" t="0" r="r" b="b"/>
                <a:pathLst>
                  <a:path w="21" h="30">
                    <a:moveTo>
                      <a:pt x="5" y="12"/>
                    </a:moveTo>
                    <a:cubicBezTo>
                      <a:pt x="3" y="12"/>
                      <a:pt x="2" y="6"/>
                      <a:pt x="0" y="4"/>
                    </a:cubicBezTo>
                    <a:cubicBezTo>
                      <a:pt x="0" y="0"/>
                      <a:pt x="0" y="0"/>
                      <a:pt x="0" y="0"/>
                    </a:cubicBezTo>
                    <a:cubicBezTo>
                      <a:pt x="4" y="0"/>
                      <a:pt x="6" y="3"/>
                      <a:pt x="10" y="3"/>
                    </a:cubicBezTo>
                    <a:cubicBezTo>
                      <a:pt x="10" y="4"/>
                      <a:pt x="5" y="8"/>
                      <a:pt x="7" y="8"/>
                    </a:cubicBezTo>
                    <a:cubicBezTo>
                      <a:pt x="10" y="8"/>
                      <a:pt x="12" y="5"/>
                      <a:pt x="13" y="3"/>
                    </a:cubicBezTo>
                    <a:cubicBezTo>
                      <a:pt x="14" y="5"/>
                      <a:pt x="13" y="8"/>
                      <a:pt x="13" y="12"/>
                    </a:cubicBezTo>
                    <a:cubicBezTo>
                      <a:pt x="13" y="15"/>
                      <a:pt x="15" y="15"/>
                      <a:pt x="15" y="18"/>
                    </a:cubicBezTo>
                    <a:cubicBezTo>
                      <a:pt x="15" y="19"/>
                      <a:pt x="13" y="20"/>
                      <a:pt x="13" y="22"/>
                    </a:cubicBezTo>
                    <a:cubicBezTo>
                      <a:pt x="13" y="24"/>
                      <a:pt x="21" y="30"/>
                      <a:pt x="17" y="30"/>
                    </a:cubicBezTo>
                    <a:cubicBezTo>
                      <a:pt x="13" y="30"/>
                      <a:pt x="10" y="26"/>
                      <a:pt x="10" y="22"/>
                    </a:cubicBezTo>
                    <a:cubicBezTo>
                      <a:pt x="10" y="19"/>
                      <a:pt x="12" y="18"/>
                      <a:pt x="12" y="17"/>
                    </a:cubicBezTo>
                    <a:cubicBezTo>
                      <a:pt x="9" y="16"/>
                      <a:pt x="8" y="12"/>
                      <a:pt x="5"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6" name="Freeform 96"/>
              <p:cNvSpPr>
                <a:spLocks/>
              </p:cNvSpPr>
              <p:nvPr/>
            </p:nvSpPr>
            <p:spPr bwMode="auto">
              <a:xfrm>
                <a:off x="1803400" y="1787525"/>
                <a:ext cx="34925" cy="23813"/>
              </a:xfrm>
              <a:custGeom>
                <a:avLst/>
                <a:gdLst/>
                <a:ahLst/>
                <a:cxnLst>
                  <a:cxn ang="0">
                    <a:pos x="21" y="0"/>
                  </a:cxn>
                  <a:cxn ang="0">
                    <a:pos x="27" y="0"/>
                  </a:cxn>
                  <a:cxn ang="0">
                    <a:pos x="27" y="6"/>
                  </a:cxn>
                  <a:cxn ang="0">
                    <a:pos x="10" y="18"/>
                  </a:cxn>
                  <a:cxn ang="0">
                    <a:pos x="0" y="12"/>
                  </a:cxn>
                  <a:cxn ang="0">
                    <a:pos x="0" y="7"/>
                  </a:cxn>
                  <a:cxn ang="0">
                    <a:pos x="21" y="0"/>
                  </a:cxn>
                </a:cxnLst>
                <a:rect l="0" t="0" r="r" b="b"/>
                <a:pathLst>
                  <a:path w="27" h="18">
                    <a:moveTo>
                      <a:pt x="21" y="0"/>
                    </a:moveTo>
                    <a:cubicBezTo>
                      <a:pt x="25" y="0"/>
                      <a:pt x="25" y="0"/>
                      <a:pt x="27" y="0"/>
                    </a:cubicBezTo>
                    <a:cubicBezTo>
                      <a:pt x="27" y="6"/>
                      <a:pt x="27" y="6"/>
                      <a:pt x="27" y="6"/>
                    </a:cubicBezTo>
                    <a:cubicBezTo>
                      <a:pt x="19" y="10"/>
                      <a:pt x="16" y="13"/>
                      <a:pt x="10" y="18"/>
                    </a:cubicBezTo>
                    <a:cubicBezTo>
                      <a:pt x="6" y="15"/>
                      <a:pt x="3" y="15"/>
                      <a:pt x="0" y="12"/>
                    </a:cubicBezTo>
                    <a:cubicBezTo>
                      <a:pt x="0" y="7"/>
                      <a:pt x="0" y="7"/>
                      <a:pt x="0" y="7"/>
                    </a:cubicBezTo>
                    <a:cubicBezTo>
                      <a:pt x="8" y="5"/>
                      <a:pt x="14" y="0"/>
                      <a:pt x="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7" name="Freeform 97"/>
              <p:cNvSpPr>
                <a:spLocks/>
              </p:cNvSpPr>
              <p:nvPr/>
            </p:nvSpPr>
            <p:spPr bwMode="auto">
              <a:xfrm>
                <a:off x="3311525" y="1963738"/>
                <a:ext cx="42863" cy="22225"/>
              </a:xfrm>
              <a:custGeom>
                <a:avLst/>
                <a:gdLst/>
                <a:ahLst/>
                <a:cxnLst>
                  <a:cxn ang="0">
                    <a:pos x="26" y="17"/>
                  </a:cxn>
                  <a:cxn ang="0">
                    <a:pos x="32" y="14"/>
                  </a:cxn>
                  <a:cxn ang="0">
                    <a:pos x="0" y="3"/>
                  </a:cxn>
                  <a:cxn ang="0">
                    <a:pos x="26" y="17"/>
                  </a:cxn>
                </a:cxnLst>
                <a:rect l="0" t="0" r="r" b="b"/>
                <a:pathLst>
                  <a:path w="32" h="17">
                    <a:moveTo>
                      <a:pt x="26" y="17"/>
                    </a:moveTo>
                    <a:cubicBezTo>
                      <a:pt x="29" y="17"/>
                      <a:pt x="30" y="16"/>
                      <a:pt x="32" y="14"/>
                    </a:cubicBezTo>
                    <a:cubicBezTo>
                      <a:pt x="22" y="9"/>
                      <a:pt x="14" y="0"/>
                      <a:pt x="0" y="3"/>
                    </a:cubicBezTo>
                    <a:cubicBezTo>
                      <a:pt x="6" y="7"/>
                      <a:pt x="18" y="17"/>
                      <a:pt x="26"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8" name="Freeform 98"/>
              <p:cNvSpPr>
                <a:spLocks/>
              </p:cNvSpPr>
              <p:nvPr/>
            </p:nvSpPr>
            <p:spPr bwMode="auto">
              <a:xfrm>
                <a:off x="3314700" y="2030413"/>
                <a:ext cx="31750" cy="20638"/>
              </a:xfrm>
              <a:custGeom>
                <a:avLst/>
                <a:gdLst/>
                <a:ahLst/>
                <a:cxnLst>
                  <a:cxn ang="0">
                    <a:pos x="1" y="0"/>
                  </a:cxn>
                  <a:cxn ang="0">
                    <a:pos x="11" y="7"/>
                  </a:cxn>
                  <a:cxn ang="0">
                    <a:pos x="24" y="7"/>
                  </a:cxn>
                  <a:cxn ang="0">
                    <a:pos x="24" y="10"/>
                  </a:cxn>
                  <a:cxn ang="0">
                    <a:pos x="19" y="15"/>
                  </a:cxn>
                  <a:cxn ang="0">
                    <a:pos x="0" y="3"/>
                  </a:cxn>
                  <a:cxn ang="0">
                    <a:pos x="1" y="0"/>
                  </a:cxn>
                </a:cxnLst>
                <a:rect l="0" t="0" r="r" b="b"/>
                <a:pathLst>
                  <a:path w="24" h="15">
                    <a:moveTo>
                      <a:pt x="1" y="0"/>
                    </a:moveTo>
                    <a:cubicBezTo>
                      <a:pt x="4" y="4"/>
                      <a:pt x="7" y="6"/>
                      <a:pt x="11" y="7"/>
                    </a:cubicBezTo>
                    <a:cubicBezTo>
                      <a:pt x="24" y="7"/>
                      <a:pt x="24" y="7"/>
                      <a:pt x="24" y="7"/>
                    </a:cubicBezTo>
                    <a:cubicBezTo>
                      <a:pt x="24" y="8"/>
                      <a:pt x="24" y="9"/>
                      <a:pt x="24" y="10"/>
                    </a:cubicBezTo>
                    <a:cubicBezTo>
                      <a:pt x="24" y="12"/>
                      <a:pt x="20" y="15"/>
                      <a:pt x="19" y="15"/>
                    </a:cubicBezTo>
                    <a:cubicBezTo>
                      <a:pt x="16" y="15"/>
                      <a:pt x="0" y="6"/>
                      <a:pt x="0" y="3"/>
                    </a:cubicBezTo>
                    <a:cubicBezTo>
                      <a:pt x="0" y="2"/>
                      <a:pt x="0"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79" name="Freeform 99"/>
              <p:cNvSpPr>
                <a:spLocks/>
              </p:cNvSpPr>
              <p:nvPr/>
            </p:nvSpPr>
            <p:spPr bwMode="auto">
              <a:xfrm>
                <a:off x="3362325" y="2030413"/>
                <a:ext cx="22225" cy="26988"/>
              </a:xfrm>
              <a:custGeom>
                <a:avLst/>
                <a:gdLst/>
                <a:ahLst/>
                <a:cxnLst>
                  <a:cxn ang="0">
                    <a:pos x="17" y="12"/>
                  </a:cxn>
                  <a:cxn ang="0">
                    <a:pos x="17" y="15"/>
                  </a:cxn>
                  <a:cxn ang="0">
                    <a:pos x="7" y="20"/>
                  </a:cxn>
                  <a:cxn ang="0">
                    <a:pos x="0" y="15"/>
                  </a:cxn>
                  <a:cxn ang="0">
                    <a:pos x="10" y="0"/>
                  </a:cxn>
                  <a:cxn ang="0">
                    <a:pos x="14" y="5"/>
                  </a:cxn>
                  <a:cxn ang="0">
                    <a:pos x="17" y="12"/>
                  </a:cxn>
                </a:cxnLst>
                <a:rect l="0" t="0" r="r" b="b"/>
                <a:pathLst>
                  <a:path w="17" h="20">
                    <a:moveTo>
                      <a:pt x="17" y="12"/>
                    </a:moveTo>
                    <a:cubicBezTo>
                      <a:pt x="17" y="12"/>
                      <a:pt x="17" y="14"/>
                      <a:pt x="17" y="15"/>
                    </a:cubicBezTo>
                    <a:cubicBezTo>
                      <a:pt x="17" y="18"/>
                      <a:pt x="12" y="20"/>
                      <a:pt x="7" y="20"/>
                    </a:cubicBezTo>
                    <a:cubicBezTo>
                      <a:pt x="3" y="20"/>
                      <a:pt x="0" y="18"/>
                      <a:pt x="0" y="15"/>
                    </a:cubicBezTo>
                    <a:cubicBezTo>
                      <a:pt x="0" y="13"/>
                      <a:pt x="6" y="2"/>
                      <a:pt x="10" y="0"/>
                    </a:cubicBezTo>
                    <a:cubicBezTo>
                      <a:pt x="11" y="2"/>
                      <a:pt x="14" y="3"/>
                      <a:pt x="14" y="5"/>
                    </a:cubicBezTo>
                    <a:cubicBezTo>
                      <a:pt x="14" y="9"/>
                      <a:pt x="7" y="12"/>
                      <a:pt x="17"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80" name="Freeform 100"/>
              <p:cNvSpPr>
                <a:spLocks/>
              </p:cNvSpPr>
              <p:nvPr/>
            </p:nvSpPr>
            <p:spPr bwMode="auto">
              <a:xfrm>
                <a:off x="1593850" y="1724025"/>
                <a:ext cx="26988" cy="12700"/>
              </a:xfrm>
              <a:custGeom>
                <a:avLst/>
                <a:gdLst/>
                <a:ahLst/>
                <a:cxnLst>
                  <a:cxn ang="0">
                    <a:pos x="6" y="4"/>
                  </a:cxn>
                  <a:cxn ang="0">
                    <a:pos x="13" y="1"/>
                  </a:cxn>
                  <a:cxn ang="0">
                    <a:pos x="20" y="9"/>
                  </a:cxn>
                  <a:cxn ang="0">
                    <a:pos x="5" y="9"/>
                  </a:cxn>
                  <a:cxn ang="0">
                    <a:pos x="0" y="4"/>
                  </a:cxn>
                  <a:cxn ang="0">
                    <a:pos x="6" y="4"/>
                  </a:cxn>
                </a:cxnLst>
                <a:rect l="0" t="0" r="r" b="b"/>
                <a:pathLst>
                  <a:path w="20" h="9">
                    <a:moveTo>
                      <a:pt x="6" y="4"/>
                    </a:moveTo>
                    <a:cubicBezTo>
                      <a:pt x="8" y="0"/>
                      <a:pt x="10" y="1"/>
                      <a:pt x="13" y="1"/>
                    </a:cubicBezTo>
                    <a:cubicBezTo>
                      <a:pt x="18" y="1"/>
                      <a:pt x="19" y="4"/>
                      <a:pt x="20" y="9"/>
                    </a:cubicBezTo>
                    <a:cubicBezTo>
                      <a:pt x="5" y="9"/>
                      <a:pt x="5" y="9"/>
                      <a:pt x="5" y="9"/>
                    </a:cubicBezTo>
                    <a:cubicBezTo>
                      <a:pt x="3" y="7"/>
                      <a:pt x="1" y="6"/>
                      <a:pt x="0" y="4"/>
                    </a:cubicBezTo>
                    <a:lnTo>
                      <a:pt x="6"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grpSp>
        <p:grpSp>
          <p:nvGrpSpPr>
            <p:cNvPr id="15" name="Group 345"/>
            <p:cNvGrpSpPr/>
            <p:nvPr/>
          </p:nvGrpSpPr>
          <p:grpSpPr>
            <a:xfrm>
              <a:off x="3103551" y="1256797"/>
              <a:ext cx="669405" cy="1125467"/>
              <a:chOff x="4219575" y="1089025"/>
              <a:chExt cx="687388" cy="1155701"/>
            </a:xfrm>
            <a:grpFill/>
          </p:grpSpPr>
          <p:sp>
            <p:nvSpPr>
              <p:cNvPr id="103" name="Freeform 36"/>
              <p:cNvSpPr>
                <a:spLocks/>
              </p:cNvSpPr>
              <p:nvPr/>
            </p:nvSpPr>
            <p:spPr bwMode="auto">
              <a:xfrm>
                <a:off x="4568825" y="1816100"/>
                <a:ext cx="26988" cy="39688"/>
              </a:xfrm>
              <a:custGeom>
                <a:avLst/>
                <a:gdLst/>
                <a:ahLst/>
                <a:cxnLst>
                  <a:cxn ang="0">
                    <a:pos x="3" y="27"/>
                  </a:cxn>
                  <a:cxn ang="0">
                    <a:pos x="9" y="21"/>
                  </a:cxn>
                  <a:cxn ang="0">
                    <a:pos x="0" y="14"/>
                  </a:cxn>
                  <a:cxn ang="0">
                    <a:pos x="9" y="0"/>
                  </a:cxn>
                  <a:cxn ang="0">
                    <a:pos x="20" y="12"/>
                  </a:cxn>
                  <a:cxn ang="0">
                    <a:pos x="6" y="30"/>
                  </a:cxn>
                  <a:cxn ang="0">
                    <a:pos x="0" y="27"/>
                  </a:cxn>
                  <a:cxn ang="0">
                    <a:pos x="2" y="25"/>
                  </a:cxn>
                  <a:cxn ang="0">
                    <a:pos x="3" y="27"/>
                  </a:cxn>
                </a:cxnLst>
                <a:rect l="0" t="0" r="r" b="b"/>
                <a:pathLst>
                  <a:path w="20" h="30">
                    <a:moveTo>
                      <a:pt x="3" y="27"/>
                    </a:moveTo>
                    <a:cubicBezTo>
                      <a:pt x="6" y="26"/>
                      <a:pt x="9" y="23"/>
                      <a:pt x="9" y="21"/>
                    </a:cubicBezTo>
                    <a:cubicBezTo>
                      <a:pt x="5" y="20"/>
                      <a:pt x="0" y="16"/>
                      <a:pt x="0" y="14"/>
                    </a:cubicBezTo>
                    <a:cubicBezTo>
                      <a:pt x="0" y="12"/>
                      <a:pt x="5" y="0"/>
                      <a:pt x="9" y="0"/>
                    </a:cubicBezTo>
                    <a:cubicBezTo>
                      <a:pt x="17" y="0"/>
                      <a:pt x="18" y="4"/>
                      <a:pt x="20" y="12"/>
                    </a:cubicBezTo>
                    <a:cubicBezTo>
                      <a:pt x="12" y="14"/>
                      <a:pt x="16" y="30"/>
                      <a:pt x="6" y="30"/>
                    </a:cubicBezTo>
                    <a:cubicBezTo>
                      <a:pt x="3" y="30"/>
                      <a:pt x="1" y="27"/>
                      <a:pt x="0" y="27"/>
                    </a:cubicBezTo>
                    <a:cubicBezTo>
                      <a:pt x="1" y="26"/>
                      <a:pt x="2" y="25"/>
                      <a:pt x="2" y="25"/>
                    </a:cubicBezTo>
                    <a:lnTo>
                      <a:pt x="3"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grpSp>
            <p:nvGrpSpPr>
              <p:cNvPr id="104" name="Group 343"/>
              <p:cNvGrpSpPr/>
              <p:nvPr/>
            </p:nvGrpSpPr>
            <p:grpSpPr>
              <a:xfrm>
                <a:off x="4219575" y="1089025"/>
                <a:ext cx="687388" cy="1155701"/>
                <a:chOff x="4219575" y="1089025"/>
                <a:chExt cx="687388" cy="1155701"/>
              </a:xfrm>
              <a:grpFill/>
            </p:grpSpPr>
            <p:sp>
              <p:nvSpPr>
                <p:cNvPr id="105" name="Freeform 24"/>
                <p:cNvSpPr>
                  <a:spLocks/>
                </p:cNvSpPr>
                <p:nvPr/>
              </p:nvSpPr>
              <p:spPr bwMode="auto">
                <a:xfrm>
                  <a:off x="4230688" y="1782763"/>
                  <a:ext cx="646113" cy="461963"/>
                </a:xfrm>
                <a:custGeom>
                  <a:avLst/>
                  <a:gdLst/>
                  <a:ahLst/>
                  <a:cxnLst>
                    <a:cxn ang="0">
                      <a:pos x="473" y="233"/>
                    </a:cxn>
                    <a:cxn ang="0">
                      <a:pos x="470" y="273"/>
                    </a:cxn>
                    <a:cxn ang="0">
                      <a:pos x="427" y="274"/>
                    </a:cxn>
                    <a:cxn ang="0">
                      <a:pos x="401" y="283"/>
                    </a:cxn>
                    <a:cxn ang="0">
                      <a:pos x="403" y="303"/>
                    </a:cxn>
                    <a:cxn ang="0">
                      <a:pos x="413" y="322"/>
                    </a:cxn>
                    <a:cxn ang="0">
                      <a:pos x="401" y="319"/>
                    </a:cxn>
                    <a:cxn ang="0">
                      <a:pos x="397" y="336"/>
                    </a:cxn>
                    <a:cxn ang="0">
                      <a:pos x="382" y="315"/>
                    </a:cxn>
                    <a:cxn ang="0">
                      <a:pos x="358" y="278"/>
                    </a:cxn>
                    <a:cxn ang="0">
                      <a:pos x="329" y="238"/>
                    </a:cxn>
                    <a:cxn ang="0">
                      <a:pos x="289" y="213"/>
                    </a:cxn>
                    <a:cxn ang="0">
                      <a:pos x="270" y="212"/>
                    </a:cxn>
                    <a:cxn ang="0">
                      <a:pos x="289" y="244"/>
                    </a:cxn>
                    <a:cxn ang="0">
                      <a:pos x="315" y="264"/>
                    </a:cxn>
                    <a:cxn ang="0">
                      <a:pos x="330" y="283"/>
                    </a:cxn>
                    <a:cxn ang="0">
                      <a:pos x="323" y="305"/>
                    </a:cxn>
                    <a:cxn ang="0">
                      <a:pos x="316" y="303"/>
                    </a:cxn>
                    <a:cxn ang="0">
                      <a:pos x="291" y="273"/>
                    </a:cxn>
                    <a:cxn ang="0">
                      <a:pos x="229" y="223"/>
                    </a:cxn>
                    <a:cxn ang="0">
                      <a:pos x="168" y="237"/>
                    </a:cxn>
                    <a:cxn ang="0">
                      <a:pos x="135" y="272"/>
                    </a:cxn>
                    <a:cxn ang="0">
                      <a:pos x="101" y="326"/>
                    </a:cxn>
                    <a:cxn ang="0">
                      <a:pos x="72" y="338"/>
                    </a:cxn>
                    <a:cxn ang="0">
                      <a:pos x="10" y="334"/>
                    </a:cxn>
                    <a:cxn ang="0">
                      <a:pos x="0" y="306"/>
                    </a:cxn>
                    <a:cxn ang="0">
                      <a:pos x="4" y="246"/>
                    </a:cxn>
                    <a:cxn ang="0">
                      <a:pos x="48" y="235"/>
                    </a:cxn>
                    <a:cxn ang="0">
                      <a:pos x="89" y="240"/>
                    </a:cxn>
                    <a:cxn ang="0">
                      <a:pos x="105" y="206"/>
                    </a:cxn>
                    <a:cxn ang="0">
                      <a:pos x="103" y="193"/>
                    </a:cxn>
                    <a:cxn ang="0">
                      <a:pos x="60" y="163"/>
                    </a:cxn>
                    <a:cxn ang="0">
                      <a:pos x="88" y="157"/>
                    </a:cxn>
                    <a:cxn ang="0">
                      <a:pos x="96" y="143"/>
                    </a:cxn>
                    <a:cxn ang="0">
                      <a:pos x="114" y="145"/>
                    </a:cxn>
                    <a:cxn ang="0">
                      <a:pos x="147" y="118"/>
                    </a:cxn>
                    <a:cxn ang="0">
                      <a:pos x="176" y="89"/>
                    </a:cxn>
                    <a:cxn ang="0">
                      <a:pos x="208" y="73"/>
                    </a:cxn>
                    <a:cxn ang="0">
                      <a:pos x="225" y="54"/>
                    </a:cxn>
                    <a:cxn ang="0">
                      <a:pos x="245" y="5"/>
                    </a:cxn>
                    <a:cxn ang="0">
                      <a:pos x="251" y="25"/>
                    </a:cxn>
                    <a:cxn ang="0">
                      <a:pos x="240" y="54"/>
                    </a:cxn>
                    <a:cxn ang="0">
                      <a:pos x="254" y="66"/>
                    </a:cxn>
                    <a:cxn ang="0">
                      <a:pos x="289" y="68"/>
                    </a:cxn>
                    <a:cxn ang="0">
                      <a:pos x="333" y="50"/>
                    </a:cxn>
                    <a:cxn ang="0">
                      <a:pos x="378" y="55"/>
                    </a:cxn>
                    <a:cxn ang="0">
                      <a:pos x="408" y="95"/>
                    </a:cxn>
                    <a:cxn ang="0">
                      <a:pos x="399" y="153"/>
                    </a:cxn>
                    <a:cxn ang="0">
                      <a:pos x="470" y="180"/>
                    </a:cxn>
                    <a:cxn ang="0">
                      <a:pos x="474" y="204"/>
                    </a:cxn>
                    <a:cxn ang="0">
                      <a:pos x="476" y="216"/>
                    </a:cxn>
                  </a:cxnLst>
                  <a:rect l="0" t="0" r="r" b="b"/>
                  <a:pathLst>
                    <a:path w="485" h="347">
                      <a:moveTo>
                        <a:pt x="476" y="216"/>
                      </a:moveTo>
                      <a:cubicBezTo>
                        <a:pt x="474" y="223"/>
                        <a:pt x="475" y="219"/>
                        <a:pt x="473" y="222"/>
                      </a:cubicBezTo>
                      <a:cubicBezTo>
                        <a:pt x="473" y="233"/>
                        <a:pt x="473" y="233"/>
                        <a:pt x="473" y="233"/>
                      </a:cubicBezTo>
                      <a:cubicBezTo>
                        <a:pt x="469" y="238"/>
                        <a:pt x="461" y="246"/>
                        <a:pt x="461" y="253"/>
                      </a:cubicBezTo>
                      <a:cubicBezTo>
                        <a:pt x="461" y="261"/>
                        <a:pt x="473" y="268"/>
                        <a:pt x="476" y="272"/>
                      </a:cubicBezTo>
                      <a:cubicBezTo>
                        <a:pt x="474" y="273"/>
                        <a:pt x="472" y="273"/>
                        <a:pt x="470" y="273"/>
                      </a:cubicBezTo>
                      <a:cubicBezTo>
                        <a:pt x="466" y="275"/>
                        <a:pt x="463" y="273"/>
                        <a:pt x="459" y="275"/>
                      </a:cubicBezTo>
                      <a:cubicBezTo>
                        <a:pt x="453" y="277"/>
                        <a:pt x="452" y="283"/>
                        <a:pt x="446" y="283"/>
                      </a:cubicBezTo>
                      <a:cubicBezTo>
                        <a:pt x="439" y="283"/>
                        <a:pt x="435" y="274"/>
                        <a:pt x="427" y="274"/>
                      </a:cubicBezTo>
                      <a:cubicBezTo>
                        <a:pt x="420" y="274"/>
                        <a:pt x="419" y="278"/>
                        <a:pt x="413" y="280"/>
                      </a:cubicBezTo>
                      <a:cubicBezTo>
                        <a:pt x="414" y="284"/>
                        <a:pt x="414" y="286"/>
                        <a:pt x="413" y="290"/>
                      </a:cubicBezTo>
                      <a:cubicBezTo>
                        <a:pt x="406" y="290"/>
                        <a:pt x="405" y="283"/>
                        <a:pt x="401" y="283"/>
                      </a:cubicBezTo>
                      <a:cubicBezTo>
                        <a:pt x="399" y="283"/>
                        <a:pt x="397" y="286"/>
                        <a:pt x="397" y="288"/>
                      </a:cubicBezTo>
                      <a:cubicBezTo>
                        <a:pt x="405" y="298"/>
                        <a:pt x="405" y="298"/>
                        <a:pt x="405" y="298"/>
                      </a:cubicBezTo>
                      <a:cubicBezTo>
                        <a:pt x="405" y="300"/>
                        <a:pt x="403" y="302"/>
                        <a:pt x="403" y="303"/>
                      </a:cubicBezTo>
                      <a:cubicBezTo>
                        <a:pt x="403" y="304"/>
                        <a:pt x="415" y="315"/>
                        <a:pt x="419" y="315"/>
                      </a:cubicBezTo>
                      <a:cubicBezTo>
                        <a:pt x="419" y="317"/>
                        <a:pt x="420" y="318"/>
                        <a:pt x="420" y="319"/>
                      </a:cubicBezTo>
                      <a:cubicBezTo>
                        <a:pt x="418" y="321"/>
                        <a:pt x="414" y="319"/>
                        <a:pt x="413" y="322"/>
                      </a:cubicBezTo>
                      <a:cubicBezTo>
                        <a:pt x="412" y="322"/>
                        <a:pt x="412" y="322"/>
                        <a:pt x="412" y="322"/>
                      </a:cubicBezTo>
                      <a:cubicBezTo>
                        <a:pt x="407" y="321"/>
                        <a:pt x="403" y="317"/>
                        <a:pt x="401" y="315"/>
                      </a:cubicBezTo>
                      <a:cubicBezTo>
                        <a:pt x="401" y="319"/>
                        <a:pt x="401" y="319"/>
                        <a:pt x="401" y="319"/>
                      </a:cubicBezTo>
                      <a:cubicBezTo>
                        <a:pt x="402" y="321"/>
                        <a:pt x="403" y="323"/>
                        <a:pt x="403" y="326"/>
                      </a:cubicBezTo>
                      <a:cubicBezTo>
                        <a:pt x="403" y="329"/>
                        <a:pt x="399" y="334"/>
                        <a:pt x="403" y="336"/>
                      </a:cubicBezTo>
                      <a:cubicBezTo>
                        <a:pt x="401" y="336"/>
                        <a:pt x="397" y="336"/>
                        <a:pt x="397" y="336"/>
                      </a:cubicBezTo>
                      <a:cubicBezTo>
                        <a:pt x="390" y="336"/>
                        <a:pt x="384" y="329"/>
                        <a:pt x="384" y="322"/>
                      </a:cubicBezTo>
                      <a:cubicBezTo>
                        <a:pt x="384" y="319"/>
                        <a:pt x="388" y="317"/>
                        <a:pt x="390" y="315"/>
                      </a:cubicBezTo>
                      <a:cubicBezTo>
                        <a:pt x="387" y="315"/>
                        <a:pt x="385" y="315"/>
                        <a:pt x="382" y="315"/>
                      </a:cubicBezTo>
                      <a:cubicBezTo>
                        <a:pt x="380" y="315"/>
                        <a:pt x="379" y="311"/>
                        <a:pt x="379" y="310"/>
                      </a:cubicBezTo>
                      <a:cubicBezTo>
                        <a:pt x="378" y="304"/>
                        <a:pt x="374" y="300"/>
                        <a:pt x="370" y="296"/>
                      </a:cubicBezTo>
                      <a:cubicBezTo>
                        <a:pt x="365" y="291"/>
                        <a:pt x="358" y="287"/>
                        <a:pt x="358" y="278"/>
                      </a:cubicBezTo>
                      <a:cubicBezTo>
                        <a:pt x="358" y="272"/>
                        <a:pt x="358" y="270"/>
                        <a:pt x="358" y="266"/>
                      </a:cubicBezTo>
                      <a:cubicBezTo>
                        <a:pt x="358" y="260"/>
                        <a:pt x="348" y="251"/>
                        <a:pt x="342" y="248"/>
                      </a:cubicBezTo>
                      <a:cubicBezTo>
                        <a:pt x="336" y="245"/>
                        <a:pt x="329" y="244"/>
                        <a:pt x="329" y="238"/>
                      </a:cubicBezTo>
                      <a:cubicBezTo>
                        <a:pt x="326" y="238"/>
                        <a:pt x="325" y="238"/>
                        <a:pt x="323" y="238"/>
                      </a:cubicBezTo>
                      <a:cubicBezTo>
                        <a:pt x="313" y="238"/>
                        <a:pt x="302" y="223"/>
                        <a:pt x="302" y="213"/>
                      </a:cubicBezTo>
                      <a:cubicBezTo>
                        <a:pt x="297" y="213"/>
                        <a:pt x="293" y="213"/>
                        <a:pt x="289" y="213"/>
                      </a:cubicBezTo>
                      <a:cubicBezTo>
                        <a:pt x="283" y="213"/>
                        <a:pt x="285" y="204"/>
                        <a:pt x="283" y="201"/>
                      </a:cubicBezTo>
                      <a:cubicBezTo>
                        <a:pt x="278" y="204"/>
                        <a:pt x="268" y="204"/>
                        <a:pt x="268" y="209"/>
                      </a:cubicBezTo>
                      <a:cubicBezTo>
                        <a:pt x="268" y="210"/>
                        <a:pt x="270" y="212"/>
                        <a:pt x="270" y="212"/>
                      </a:cubicBezTo>
                      <a:cubicBezTo>
                        <a:pt x="270" y="214"/>
                        <a:pt x="269" y="217"/>
                        <a:pt x="269" y="220"/>
                      </a:cubicBezTo>
                      <a:cubicBezTo>
                        <a:pt x="269" y="226"/>
                        <a:pt x="273" y="229"/>
                        <a:pt x="278" y="231"/>
                      </a:cubicBezTo>
                      <a:cubicBezTo>
                        <a:pt x="285" y="233"/>
                        <a:pt x="288" y="240"/>
                        <a:pt x="289" y="244"/>
                      </a:cubicBezTo>
                      <a:cubicBezTo>
                        <a:pt x="291" y="250"/>
                        <a:pt x="294" y="257"/>
                        <a:pt x="298" y="259"/>
                      </a:cubicBezTo>
                      <a:cubicBezTo>
                        <a:pt x="304" y="262"/>
                        <a:pt x="309" y="260"/>
                        <a:pt x="315" y="260"/>
                      </a:cubicBezTo>
                      <a:cubicBezTo>
                        <a:pt x="315" y="261"/>
                        <a:pt x="315" y="263"/>
                        <a:pt x="315" y="264"/>
                      </a:cubicBezTo>
                      <a:cubicBezTo>
                        <a:pt x="313" y="269"/>
                        <a:pt x="323" y="271"/>
                        <a:pt x="326" y="272"/>
                      </a:cubicBezTo>
                      <a:cubicBezTo>
                        <a:pt x="335" y="277"/>
                        <a:pt x="345" y="280"/>
                        <a:pt x="344" y="290"/>
                      </a:cubicBezTo>
                      <a:cubicBezTo>
                        <a:pt x="340" y="289"/>
                        <a:pt x="337" y="283"/>
                        <a:pt x="330" y="283"/>
                      </a:cubicBezTo>
                      <a:cubicBezTo>
                        <a:pt x="325" y="283"/>
                        <a:pt x="320" y="286"/>
                        <a:pt x="320" y="290"/>
                      </a:cubicBezTo>
                      <a:cubicBezTo>
                        <a:pt x="320" y="296"/>
                        <a:pt x="328" y="297"/>
                        <a:pt x="328" y="303"/>
                      </a:cubicBezTo>
                      <a:cubicBezTo>
                        <a:pt x="328" y="305"/>
                        <a:pt x="323" y="305"/>
                        <a:pt x="323" y="305"/>
                      </a:cubicBezTo>
                      <a:cubicBezTo>
                        <a:pt x="319" y="309"/>
                        <a:pt x="319" y="318"/>
                        <a:pt x="313" y="318"/>
                      </a:cubicBezTo>
                      <a:cubicBezTo>
                        <a:pt x="310" y="318"/>
                        <a:pt x="308" y="317"/>
                        <a:pt x="308" y="315"/>
                      </a:cubicBezTo>
                      <a:cubicBezTo>
                        <a:pt x="314" y="315"/>
                        <a:pt x="316" y="309"/>
                        <a:pt x="316" y="303"/>
                      </a:cubicBezTo>
                      <a:cubicBezTo>
                        <a:pt x="316" y="297"/>
                        <a:pt x="312" y="295"/>
                        <a:pt x="311" y="291"/>
                      </a:cubicBezTo>
                      <a:cubicBezTo>
                        <a:pt x="310" y="291"/>
                        <a:pt x="300" y="281"/>
                        <a:pt x="299" y="278"/>
                      </a:cubicBezTo>
                      <a:cubicBezTo>
                        <a:pt x="297" y="278"/>
                        <a:pt x="291" y="276"/>
                        <a:pt x="291" y="273"/>
                      </a:cubicBezTo>
                      <a:cubicBezTo>
                        <a:pt x="277" y="270"/>
                        <a:pt x="274" y="266"/>
                        <a:pt x="266" y="259"/>
                      </a:cubicBezTo>
                      <a:cubicBezTo>
                        <a:pt x="263" y="256"/>
                        <a:pt x="257" y="254"/>
                        <a:pt x="256" y="251"/>
                      </a:cubicBezTo>
                      <a:cubicBezTo>
                        <a:pt x="248" y="241"/>
                        <a:pt x="245" y="223"/>
                        <a:pt x="229" y="223"/>
                      </a:cubicBezTo>
                      <a:cubicBezTo>
                        <a:pt x="221" y="223"/>
                        <a:pt x="220" y="228"/>
                        <a:pt x="216" y="230"/>
                      </a:cubicBezTo>
                      <a:cubicBezTo>
                        <a:pt x="208" y="234"/>
                        <a:pt x="202" y="242"/>
                        <a:pt x="192" y="242"/>
                      </a:cubicBezTo>
                      <a:cubicBezTo>
                        <a:pt x="183" y="242"/>
                        <a:pt x="177" y="237"/>
                        <a:pt x="168" y="237"/>
                      </a:cubicBezTo>
                      <a:cubicBezTo>
                        <a:pt x="161" y="237"/>
                        <a:pt x="154" y="242"/>
                        <a:pt x="154" y="248"/>
                      </a:cubicBezTo>
                      <a:cubicBezTo>
                        <a:pt x="157" y="258"/>
                        <a:pt x="157" y="258"/>
                        <a:pt x="157" y="258"/>
                      </a:cubicBezTo>
                      <a:cubicBezTo>
                        <a:pt x="154" y="267"/>
                        <a:pt x="144" y="270"/>
                        <a:pt x="135" y="272"/>
                      </a:cubicBezTo>
                      <a:cubicBezTo>
                        <a:pt x="127" y="274"/>
                        <a:pt x="114" y="292"/>
                        <a:pt x="114" y="302"/>
                      </a:cubicBezTo>
                      <a:cubicBezTo>
                        <a:pt x="114" y="305"/>
                        <a:pt x="117" y="306"/>
                        <a:pt x="119" y="307"/>
                      </a:cubicBezTo>
                      <a:cubicBezTo>
                        <a:pt x="113" y="316"/>
                        <a:pt x="110" y="321"/>
                        <a:pt x="101" y="326"/>
                      </a:cubicBezTo>
                      <a:cubicBezTo>
                        <a:pt x="96" y="328"/>
                        <a:pt x="95" y="340"/>
                        <a:pt x="86" y="337"/>
                      </a:cubicBezTo>
                      <a:cubicBezTo>
                        <a:pt x="86" y="337"/>
                        <a:pt x="86" y="337"/>
                        <a:pt x="86" y="337"/>
                      </a:cubicBezTo>
                      <a:cubicBezTo>
                        <a:pt x="82" y="336"/>
                        <a:pt x="75" y="338"/>
                        <a:pt x="72" y="338"/>
                      </a:cubicBezTo>
                      <a:cubicBezTo>
                        <a:pt x="62" y="338"/>
                        <a:pt x="56" y="347"/>
                        <a:pt x="46" y="347"/>
                      </a:cubicBezTo>
                      <a:cubicBezTo>
                        <a:pt x="40" y="347"/>
                        <a:pt x="39" y="331"/>
                        <a:pt x="29" y="331"/>
                      </a:cubicBezTo>
                      <a:cubicBezTo>
                        <a:pt x="22" y="331"/>
                        <a:pt x="17" y="334"/>
                        <a:pt x="10" y="334"/>
                      </a:cubicBezTo>
                      <a:cubicBezTo>
                        <a:pt x="8" y="334"/>
                        <a:pt x="7" y="332"/>
                        <a:pt x="7" y="330"/>
                      </a:cubicBezTo>
                      <a:cubicBezTo>
                        <a:pt x="7" y="321"/>
                        <a:pt x="7" y="318"/>
                        <a:pt x="7" y="313"/>
                      </a:cubicBezTo>
                      <a:cubicBezTo>
                        <a:pt x="3" y="313"/>
                        <a:pt x="0" y="310"/>
                        <a:pt x="0" y="306"/>
                      </a:cubicBezTo>
                      <a:cubicBezTo>
                        <a:pt x="0" y="301"/>
                        <a:pt x="4" y="299"/>
                        <a:pt x="4" y="296"/>
                      </a:cubicBezTo>
                      <a:cubicBezTo>
                        <a:pt x="4" y="285"/>
                        <a:pt x="8" y="274"/>
                        <a:pt x="8" y="262"/>
                      </a:cubicBezTo>
                      <a:cubicBezTo>
                        <a:pt x="8" y="256"/>
                        <a:pt x="4" y="250"/>
                        <a:pt x="4" y="246"/>
                      </a:cubicBezTo>
                      <a:cubicBezTo>
                        <a:pt x="4" y="243"/>
                        <a:pt x="19" y="234"/>
                        <a:pt x="21" y="234"/>
                      </a:cubicBezTo>
                      <a:cubicBezTo>
                        <a:pt x="23" y="234"/>
                        <a:pt x="25" y="236"/>
                        <a:pt x="28" y="235"/>
                      </a:cubicBezTo>
                      <a:cubicBezTo>
                        <a:pt x="48" y="235"/>
                        <a:pt x="48" y="235"/>
                        <a:pt x="48" y="235"/>
                      </a:cubicBezTo>
                      <a:cubicBezTo>
                        <a:pt x="49" y="237"/>
                        <a:pt x="53" y="238"/>
                        <a:pt x="55" y="238"/>
                      </a:cubicBezTo>
                      <a:cubicBezTo>
                        <a:pt x="76" y="238"/>
                        <a:pt x="76" y="238"/>
                        <a:pt x="76" y="238"/>
                      </a:cubicBezTo>
                      <a:cubicBezTo>
                        <a:pt x="82" y="237"/>
                        <a:pt x="84" y="240"/>
                        <a:pt x="89" y="240"/>
                      </a:cubicBezTo>
                      <a:cubicBezTo>
                        <a:pt x="92" y="240"/>
                        <a:pt x="98" y="238"/>
                        <a:pt x="100" y="238"/>
                      </a:cubicBezTo>
                      <a:cubicBezTo>
                        <a:pt x="100" y="229"/>
                        <a:pt x="105" y="226"/>
                        <a:pt x="105" y="218"/>
                      </a:cubicBezTo>
                      <a:cubicBezTo>
                        <a:pt x="105" y="216"/>
                        <a:pt x="105" y="208"/>
                        <a:pt x="105" y="206"/>
                      </a:cubicBezTo>
                      <a:cubicBezTo>
                        <a:pt x="104" y="206"/>
                        <a:pt x="104" y="206"/>
                        <a:pt x="104" y="206"/>
                      </a:cubicBezTo>
                      <a:cubicBezTo>
                        <a:pt x="105" y="205"/>
                        <a:pt x="106" y="201"/>
                        <a:pt x="106" y="200"/>
                      </a:cubicBezTo>
                      <a:cubicBezTo>
                        <a:pt x="106" y="196"/>
                        <a:pt x="103" y="197"/>
                        <a:pt x="103" y="193"/>
                      </a:cubicBezTo>
                      <a:cubicBezTo>
                        <a:pt x="94" y="193"/>
                        <a:pt x="92" y="185"/>
                        <a:pt x="92" y="178"/>
                      </a:cubicBezTo>
                      <a:cubicBezTo>
                        <a:pt x="89" y="178"/>
                        <a:pt x="89" y="175"/>
                        <a:pt x="87" y="175"/>
                      </a:cubicBezTo>
                      <a:cubicBezTo>
                        <a:pt x="79" y="173"/>
                        <a:pt x="60" y="169"/>
                        <a:pt x="60" y="163"/>
                      </a:cubicBezTo>
                      <a:cubicBezTo>
                        <a:pt x="60" y="163"/>
                        <a:pt x="60" y="161"/>
                        <a:pt x="60" y="161"/>
                      </a:cubicBezTo>
                      <a:cubicBezTo>
                        <a:pt x="60" y="157"/>
                        <a:pt x="72" y="154"/>
                        <a:pt x="76" y="153"/>
                      </a:cubicBezTo>
                      <a:cubicBezTo>
                        <a:pt x="78" y="156"/>
                        <a:pt x="85" y="157"/>
                        <a:pt x="88" y="157"/>
                      </a:cubicBezTo>
                      <a:cubicBezTo>
                        <a:pt x="92" y="157"/>
                        <a:pt x="97" y="156"/>
                        <a:pt x="98" y="155"/>
                      </a:cubicBezTo>
                      <a:cubicBezTo>
                        <a:pt x="98" y="152"/>
                        <a:pt x="98" y="152"/>
                        <a:pt x="98" y="152"/>
                      </a:cubicBezTo>
                      <a:cubicBezTo>
                        <a:pt x="95" y="151"/>
                        <a:pt x="97" y="145"/>
                        <a:pt x="96" y="143"/>
                      </a:cubicBezTo>
                      <a:cubicBezTo>
                        <a:pt x="96" y="140"/>
                        <a:pt x="96" y="140"/>
                        <a:pt x="96" y="140"/>
                      </a:cubicBezTo>
                      <a:cubicBezTo>
                        <a:pt x="101" y="140"/>
                        <a:pt x="101" y="140"/>
                        <a:pt x="101" y="140"/>
                      </a:cubicBezTo>
                      <a:cubicBezTo>
                        <a:pt x="104" y="143"/>
                        <a:pt x="109" y="145"/>
                        <a:pt x="114" y="145"/>
                      </a:cubicBezTo>
                      <a:cubicBezTo>
                        <a:pt x="117" y="145"/>
                        <a:pt x="120" y="142"/>
                        <a:pt x="121" y="139"/>
                      </a:cubicBezTo>
                      <a:cubicBezTo>
                        <a:pt x="135" y="139"/>
                        <a:pt x="138" y="129"/>
                        <a:pt x="141" y="119"/>
                      </a:cubicBezTo>
                      <a:cubicBezTo>
                        <a:pt x="143" y="119"/>
                        <a:pt x="145" y="118"/>
                        <a:pt x="147" y="118"/>
                      </a:cubicBezTo>
                      <a:cubicBezTo>
                        <a:pt x="150" y="117"/>
                        <a:pt x="167" y="110"/>
                        <a:pt x="169" y="108"/>
                      </a:cubicBezTo>
                      <a:cubicBezTo>
                        <a:pt x="173" y="104"/>
                        <a:pt x="171" y="99"/>
                        <a:pt x="171" y="94"/>
                      </a:cubicBezTo>
                      <a:cubicBezTo>
                        <a:pt x="171" y="92"/>
                        <a:pt x="175" y="89"/>
                        <a:pt x="176" y="89"/>
                      </a:cubicBezTo>
                      <a:cubicBezTo>
                        <a:pt x="182" y="83"/>
                        <a:pt x="188" y="76"/>
                        <a:pt x="198" y="76"/>
                      </a:cubicBezTo>
                      <a:cubicBezTo>
                        <a:pt x="204" y="76"/>
                        <a:pt x="201" y="77"/>
                        <a:pt x="204" y="76"/>
                      </a:cubicBezTo>
                      <a:cubicBezTo>
                        <a:pt x="206" y="77"/>
                        <a:pt x="207" y="74"/>
                        <a:pt x="208" y="73"/>
                      </a:cubicBezTo>
                      <a:cubicBezTo>
                        <a:pt x="211" y="70"/>
                        <a:pt x="215" y="72"/>
                        <a:pt x="219" y="72"/>
                      </a:cubicBezTo>
                      <a:cubicBezTo>
                        <a:pt x="221" y="72"/>
                        <a:pt x="229" y="68"/>
                        <a:pt x="229" y="65"/>
                      </a:cubicBezTo>
                      <a:cubicBezTo>
                        <a:pt x="229" y="63"/>
                        <a:pt x="225" y="54"/>
                        <a:pt x="225" y="54"/>
                      </a:cubicBezTo>
                      <a:cubicBezTo>
                        <a:pt x="224" y="42"/>
                        <a:pt x="217" y="38"/>
                        <a:pt x="217" y="28"/>
                      </a:cubicBezTo>
                      <a:cubicBezTo>
                        <a:pt x="217" y="9"/>
                        <a:pt x="234" y="8"/>
                        <a:pt x="245" y="0"/>
                      </a:cubicBezTo>
                      <a:cubicBezTo>
                        <a:pt x="245" y="5"/>
                        <a:pt x="245" y="5"/>
                        <a:pt x="245" y="5"/>
                      </a:cubicBezTo>
                      <a:cubicBezTo>
                        <a:pt x="243" y="10"/>
                        <a:pt x="242" y="12"/>
                        <a:pt x="242" y="17"/>
                      </a:cubicBezTo>
                      <a:cubicBezTo>
                        <a:pt x="242" y="21"/>
                        <a:pt x="247" y="22"/>
                        <a:pt x="251" y="22"/>
                      </a:cubicBezTo>
                      <a:cubicBezTo>
                        <a:pt x="251" y="23"/>
                        <a:pt x="251" y="24"/>
                        <a:pt x="251" y="25"/>
                      </a:cubicBezTo>
                      <a:cubicBezTo>
                        <a:pt x="251" y="27"/>
                        <a:pt x="247" y="28"/>
                        <a:pt x="245" y="29"/>
                      </a:cubicBezTo>
                      <a:cubicBezTo>
                        <a:pt x="241" y="34"/>
                        <a:pt x="236" y="38"/>
                        <a:pt x="236" y="46"/>
                      </a:cubicBezTo>
                      <a:cubicBezTo>
                        <a:pt x="236" y="50"/>
                        <a:pt x="238" y="53"/>
                        <a:pt x="240" y="54"/>
                      </a:cubicBezTo>
                      <a:cubicBezTo>
                        <a:pt x="240" y="56"/>
                        <a:pt x="241" y="57"/>
                        <a:pt x="240" y="59"/>
                      </a:cubicBezTo>
                      <a:cubicBezTo>
                        <a:pt x="245" y="59"/>
                        <a:pt x="247" y="60"/>
                        <a:pt x="251" y="60"/>
                      </a:cubicBezTo>
                      <a:cubicBezTo>
                        <a:pt x="252" y="63"/>
                        <a:pt x="253" y="66"/>
                        <a:pt x="254" y="66"/>
                      </a:cubicBezTo>
                      <a:cubicBezTo>
                        <a:pt x="266" y="66"/>
                        <a:pt x="274" y="56"/>
                        <a:pt x="285" y="57"/>
                      </a:cubicBezTo>
                      <a:cubicBezTo>
                        <a:pt x="284" y="59"/>
                        <a:pt x="282" y="60"/>
                        <a:pt x="282" y="62"/>
                      </a:cubicBezTo>
                      <a:cubicBezTo>
                        <a:pt x="282" y="63"/>
                        <a:pt x="289" y="68"/>
                        <a:pt x="289" y="68"/>
                      </a:cubicBezTo>
                      <a:cubicBezTo>
                        <a:pt x="294" y="68"/>
                        <a:pt x="295" y="65"/>
                        <a:pt x="297" y="64"/>
                      </a:cubicBezTo>
                      <a:cubicBezTo>
                        <a:pt x="304" y="60"/>
                        <a:pt x="310" y="62"/>
                        <a:pt x="317" y="59"/>
                      </a:cubicBezTo>
                      <a:cubicBezTo>
                        <a:pt x="321" y="57"/>
                        <a:pt x="328" y="50"/>
                        <a:pt x="333" y="50"/>
                      </a:cubicBezTo>
                      <a:cubicBezTo>
                        <a:pt x="339" y="50"/>
                        <a:pt x="345" y="51"/>
                        <a:pt x="348" y="52"/>
                      </a:cubicBezTo>
                      <a:cubicBezTo>
                        <a:pt x="347" y="54"/>
                        <a:pt x="346" y="56"/>
                        <a:pt x="346" y="57"/>
                      </a:cubicBezTo>
                      <a:cubicBezTo>
                        <a:pt x="358" y="57"/>
                        <a:pt x="370" y="55"/>
                        <a:pt x="378" y="55"/>
                      </a:cubicBezTo>
                      <a:cubicBezTo>
                        <a:pt x="386" y="55"/>
                        <a:pt x="392" y="54"/>
                        <a:pt x="401" y="54"/>
                      </a:cubicBezTo>
                      <a:cubicBezTo>
                        <a:pt x="410" y="54"/>
                        <a:pt x="414" y="70"/>
                        <a:pt x="414" y="80"/>
                      </a:cubicBezTo>
                      <a:cubicBezTo>
                        <a:pt x="414" y="86"/>
                        <a:pt x="408" y="89"/>
                        <a:pt x="408" y="95"/>
                      </a:cubicBezTo>
                      <a:cubicBezTo>
                        <a:pt x="408" y="104"/>
                        <a:pt x="416" y="110"/>
                        <a:pt x="416" y="118"/>
                      </a:cubicBezTo>
                      <a:cubicBezTo>
                        <a:pt x="416" y="123"/>
                        <a:pt x="408" y="125"/>
                        <a:pt x="406" y="128"/>
                      </a:cubicBezTo>
                      <a:cubicBezTo>
                        <a:pt x="401" y="136"/>
                        <a:pt x="399" y="143"/>
                        <a:pt x="399" y="153"/>
                      </a:cubicBezTo>
                      <a:cubicBezTo>
                        <a:pt x="399" y="166"/>
                        <a:pt x="408" y="163"/>
                        <a:pt x="418" y="163"/>
                      </a:cubicBezTo>
                      <a:cubicBezTo>
                        <a:pt x="432" y="163"/>
                        <a:pt x="439" y="157"/>
                        <a:pt x="450" y="157"/>
                      </a:cubicBezTo>
                      <a:cubicBezTo>
                        <a:pt x="461" y="157"/>
                        <a:pt x="459" y="180"/>
                        <a:pt x="470" y="180"/>
                      </a:cubicBezTo>
                      <a:cubicBezTo>
                        <a:pt x="470" y="198"/>
                        <a:pt x="470" y="198"/>
                        <a:pt x="470" y="198"/>
                      </a:cubicBezTo>
                      <a:cubicBezTo>
                        <a:pt x="470" y="200"/>
                        <a:pt x="471" y="201"/>
                        <a:pt x="472" y="201"/>
                      </a:cubicBezTo>
                      <a:cubicBezTo>
                        <a:pt x="474" y="204"/>
                        <a:pt x="474" y="204"/>
                        <a:pt x="474" y="204"/>
                      </a:cubicBezTo>
                      <a:cubicBezTo>
                        <a:pt x="476" y="204"/>
                        <a:pt x="482" y="202"/>
                        <a:pt x="485" y="201"/>
                      </a:cubicBezTo>
                      <a:cubicBezTo>
                        <a:pt x="485" y="204"/>
                        <a:pt x="485" y="206"/>
                        <a:pt x="485" y="208"/>
                      </a:cubicBezTo>
                      <a:cubicBezTo>
                        <a:pt x="481" y="209"/>
                        <a:pt x="476" y="211"/>
                        <a:pt x="476"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06" name="Freeform 25"/>
                <p:cNvSpPr>
                  <a:spLocks/>
                </p:cNvSpPr>
                <p:nvPr/>
              </p:nvSpPr>
              <p:spPr bwMode="auto">
                <a:xfrm>
                  <a:off x="4470400" y="1416050"/>
                  <a:ext cx="436563" cy="423863"/>
                </a:xfrm>
                <a:custGeom>
                  <a:avLst/>
                  <a:gdLst/>
                  <a:ahLst/>
                  <a:cxnLst>
                    <a:cxn ang="0">
                      <a:pos x="66" y="236"/>
                    </a:cxn>
                    <a:cxn ang="0">
                      <a:pos x="4" y="254"/>
                    </a:cxn>
                    <a:cxn ang="0">
                      <a:pos x="12" y="241"/>
                    </a:cxn>
                    <a:cxn ang="0">
                      <a:pos x="8" y="231"/>
                    </a:cxn>
                    <a:cxn ang="0">
                      <a:pos x="10" y="190"/>
                    </a:cxn>
                    <a:cxn ang="0">
                      <a:pos x="55" y="163"/>
                    </a:cxn>
                    <a:cxn ang="0">
                      <a:pos x="85" y="129"/>
                    </a:cxn>
                    <a:cxn ang="0">
                      <a:pos x="97" y="102"/>
                    </a:cxn>
                    <a:cxn ang="0">
                      <a:pos x="142" y="55"/>
                    </a:cxn>
                    <a:cxn ang="0">
                      <a:pos x="124" y="57"/>
                    </a:cxn>
                    <a:cxn ang="0">
                      <a:pos x="124" y="49"/>
                    </a:cxn>
                    <a:cxn ang="0">
                      <a:pos x="132" y="44"/>
                    </a:cxn>
                    <a:cxn ang="0">
                      <a:pos x="148" y="57"/>
                    </a:cxn>
                    <a:cxn ang="0">
                      <a:pos x="149" y="45"/>
                    </a:cxn>
                    <a:cxn ang="0">
                      <a:pos x="168" y="37"/>
                    </a:cxn>
                    <a:cxn ang="0">
                      <a:pos x="183" y="28"/>
                    </a:cxn>
                    <a:cxn ang="0">
                      <a:pos x="199" y="21"/>
                    </a:cxn>
                    <a:cxn ang="0">
                      <a:pos x="221" y="17"/>
                    </a:cxn>
                    <a:cxn ang="0">
                      <a:pos x="223" y="5"/>
                    </a:cxn>
                    <a:cxn ang="0">
                      <a:pos x="256" y="6"/>
                    </a:cxn>
                    <a:cxn ang="0">
                      <a:pos x="266" y="7"/>
                    </a:cxn>
                    <a:cxn ang="0">
                      <a:pos x="285" y="2"/>
                    </a:cxn>
                    <a:cxn ang="0">
                      <a:pos x="296" y="6"/>
                    </a:cxn>
                    <a:cxn ang="0">
                      <a:pos x="293" y="24"/>
                    </a:cxn>
                    <a:cxn ang="0">
                      <a:pos x="315" y="32"/>
                    </a:cxn>
                    <a:cxn ang="0">
                      <a:pos x="309" y="72"/>
                    </a:cxn>
                    <a:cxn ang="0">
                      <a:pos x="310" y="113"/>
                    </a:cxn>
                    <a:cxn ang="0">
                      <a:pos x="318" y="148"/>
                    </a:cxn>
                    <a:cxn ang="0">
                      <a:pos x="327" y="172"/>
                    </a:cxn>
                    <a:cxn ang="0">
                      <a:pos x="255" y="224"/>
                    </a:cxn>
                    <a:cxn ang="0">
                      <a:pos x="218" y="225"/>
                    </a:cxn>
                    <a:cxn ang="0">
                      <a:pos x="206" y="200"/>
                    </a:cxn>
                    <a:cxn ang="0">
                      <a:pos x="197" y="174"/>
                    </a:cxn>
                    <a:cxn ang="0">
                      <a:pos x="254" y="130"/>
                    </a:cxn>
                    <a:cxn ang="0">
                      <a:pos x="202" y="135"/>
                    </a:cxn>
                    <a:cxn ang="0">
                      <a:pos x="172" y="169"/>
                    </a:cxn>
                    <a:cxn ang="0">
                      <a:pos x="146" y="201"/>
                    </a:cxn>
                    <a:cxn ang="0">
                      <a:pos x="150" y="218"/>
                    </a:cxn>
                    <a:cxn ang="0">
                      <a:pos x="152" y="253"/>
                    </a:cxn>
                    <a:cxn ang="0">
                      <a:pos x="146" y="283"/>
                    </a:cxn>
                    <a:cxn ang="0">
                      <a:pos x="121" y="304"/>
                    </a:cxn>
                    <a:cxn ang="0">
                      <a:pos x="90" y="297"/>
                    </a:cxn>
                    <a:cxn ang="0">
                      <a:pos x="82" y="269"/>
                    </a:cxn>
                    <a:cxn ang="0">
                      <a:pos x="76" y="245"/>
                    </a:cxn>
                  </a:cxnLst>
                  <a:rect l="0" t="0" r="r" b="b"/>
                  <a:pathLst>
                    <a:path w="327" h="318">
                      <a:moveTo>
                        <a:pt x="76" y="247"/>
                      </a:moveTo>
                      <a:cubicBezTo>
                        <a:pt x="70" y="245"/>
                        <a:pt x="69" y="241"/>
                        <a:pt x="66" y="236"/>
                      </a:cubicBezTo>
                      <a:cubicBezTo>
                        <a:pt x="57" y="249"/>
                        <a:pt x="43" y="266"/>
                        <a:pt x="24" y="266"/>
                      </a:cubicBezTo>
                      <a:cubicBezTo>
                        <a:pt x="22" y="266"/>
                        <a:pt x="4" y="256"/>
                        <a:pt x="4" y="254"/>
                      </a:cubicBezTo>
                      <a:cubicBezTo>
                        <a:pt x="4" y="250"/>
                        <a:pt x="10" y="248"/>
                        <a:pt x="12" y="247"/>
                      </a:cubicBezTo>
                      <a:cubicBezTo>
                        <a:pt x="12" y="241"/>
                        <a:pt x="12" y="241"/>
                        <a:pt x="12" y="241"/>
                      </a:cubicBezTo>
                      <a:cubicBezTo>
                        <a:pt x="6" y="241"/>
                        <a:pt x="6" y="241"/>
                        <a:pt x="0" y="243"/>
                      </a:cubicBezTo>
                      <a:cubicBezTo>
                        <a:pt x="0" y="240"/>
                        <a:pt x="5" y="234"/>
                        <a:pt x="8" y="231"/>
                      </a:cubicBezTo>
                      <a:cubicBezTo>
                        <a:pt x="1" y="223"/>
                        <a:pt x="0" y="212"/>
                        <a:pt x="0" y="200"/>
                      </a:cubicBezTo>
                      <a:cubicBezTo>
                        <a:pt x="0" y="193"/>
                        <a:pt x="7" y="194"/>
                        <a:pt x="10" y="190"/>
                      </a:cubicBezTo>
                      <a:cubicBezTo>
                        <a:pt x="15" y="182"/>
                        <a:pt x="20" y="177"/>
                        <a:pt x="30" y="174"/>
                      </a:cubicBezTo>
                      <a:cubicBezTo>
                        <a:pt x="38" y="172"/>
                        <a:pt x="39" y="162"/>
                        <a:pt x="55" y="163"/>
                      </a:cubicBezTo>
                      <a:cubicBezTo>
                        <a:pt x="50" y="162"/>
                        <a:pt x="49" y="161"/>
                        <a:pt x="45" y="160"/>
                      </a:cubicBezTo>
                      <a:cubicBezTo>
                        <a:pt x="64" y="155"/>
                        <a:pt x="71" y="140"/>
                        <a:pt x="85" y="129"/>
                      </a:cubicBezTo>
                      <a:cubicBezTo>
                        <a:pt x="90" y="126"/>
                        <a:pt x="89" y="112"/>
                        <a:pt x="93" y="112"/>
                      </a:cubicBezTo>
                      <a:cubicBezTo>
                        <a:pt x="93" y="112"/>
                        <a:pt x="97" y="102"/>
                        <a:pt x="97" y="102"/>
                      </a:cubicBezTo>
                      <a:cubicBezTo>
                        <a:pt x="102" y="93"/>
                        <a:pt x="109" y="87"/>
                        <a:pt x="118" y="83"/>
                      </a:cubicBezTo>
                      <a:cubicBezTo>
                        <a:pt x="127" y="80"/>
                        <a:pt x="139" y="65"/>
                        <a:pt x="142" y="55"/>
                      </a:cubicBezTo>
                      <a:cubicBezTo>
                        <a:pt x="131" y="58"/>
                        <a:pt x="126" y="63"/>
                        <a:pt x="116" y="63"/>
                      </a:cubicBezTo>
                      <a:cubicBezTo>
                        <a:pt x="118" y="60"/>
                        <a:pt x="123" y="58"/>
                        <a:pt x="124" y="57"/>
                      </a:cubicBezTo>
                      <a:cubicBezTo>
                        <a:pt x="122" y="57"/>
                        <a:pt x="118" y="56"/>
                        <a:pt x="118" y="56"/>
                      </a:cubicBezTo>
                      <a:cubicBezTo>
                        <a:pt x="119" y="51"/>
                        <a:pt x="121" y="49"/>
                        <a:pt x="124" y="49"/>
                      </a:cubicBezTo>
                      <a:cubicBezTo>
                        <a:pt x="126" y="49"/>
                        <a:pt x="127" y="50"/>
                        <a:pt x="128" y="50"/>
                      </a:cubicBezTo>
                      <a:cubicBezTo>
                        <a:pt x="129" y="47"/>
                        <a:pt x="131" y="46"/>
                        <a:pt x="132" y="44"/>
                      </a:cubicBezTo>
                      <a:cubicBezTo>
                        <a:pt x="134" y="47"/>
                        <a:pt x="135" y="49"/>
                        <a:pt x="133" y="52"/>
                      </a:cubicBezTo>
                      <a:cubicBezTo>
                        <a:pt x="140" y="52"/>
                        <a:pt x="142" y="57"/>
                        <a:pt x="148" y="57"/>
                      </a:cubicBezTo>
                      <a:cubicBezTo>
                        <a:pt x="150" y="57"/>
                        <a:pt x="155" y="46"/>
                        <a:pt x="156" y="46"/>
                      </a:cubicBezTo>
                      <a:cubicBezTo>
                        <a:pt x="153" y="45"/>
                        <a:pt x="153" y="44"/>
                        <a:pt x="149" y="45"/>
                      </a:cubicBezTo>
                      <a:cubicBezTo>
                        <a:pt x="151" y="41"/>
                        <a:pt x="154" y="38"/>
                        <a:pt x="159" y="38"/>
                      </a:cubicBezTo>
                      <a:cubicBezTo>
                        <a:pt x="162" y="38"/>
                        <a:pt x="165" y="39"/>
                        <a:pt x="168" y="37"/>
                      </a:cubicBezTo>
                      <a:cubicBezTo>
                        <a:pt x="165" y="35"/>
                        <a:pt x="166" y="35"/>
                        <a:pt x="164" y="33"/>
                      </a:cubicBezTo>
                      <a:cubicBezTo>
                        <a:pt x="169" y="29"/>
                        <a:pt x="176" y="29"/>
                        <a:pt x="183" y="28"/>
                      </a:cubicBezTo>
                      <a:cubicBezTo>
                        <a:pt x="183" y="33"/>
                        <a:pt x="183" y="33"/>
                        <a:pt x="183" y="33"/>
                      </a:cubicBezTo>
                      <a:cubicBezTo>
                        <a:pt x="189" y="32"/>
                        <a:pt x="190" y="22"/>
                        <a:pt x="199" y="21"/>
                      </a:cubicBezTo>
                      <a:cubicBezTo>
                        <a:pt x="199" y="29"/>
                        <a:pt x="199" y="29"/>
                        <a:pt x="199" y="29"/>
                      </a:cubicBezTo>
                      <a:cubicBezTo>
                        <a:pt x="205" y="18"/>
                        <a:pt x="213" y="21"/>
                        <a:pt x="221" y="17"/>
                      </a:cubicBezTo>
                      <a:cubicBezTo>
                        <a:pt x="217" y="15"/>
                        <a:pt x="214" y="14"/>
                        <a:pt x="214" y="11"/>
                      </a:cubicBezTo>
                      <a:cubicBezTo>
                        <a:pt x="214" y="9"/>
                        <a:pt x="222" y="7"/>
                        <a:pt x="223" y="5"/>
                      </a:cubicBezTo>
                      <a:cubicBezTo>
                        <a:pt x="226" y="8"/>
                        <a:pt x="228" y="11"/>
                        <a:pt x="232" y="11"/>
                      </a:cubicBezTo>
                      <a:cubicBezTo>
                        <a:pt x="239" y="11"/>
                        <a:pt x="256" y="0"/>
                        <a:pt x="256" y="6"/>
                      </a:cubicBezTo>
                      <a:cubicBezTo>
                        <a:pt x="256" y="12"/>
                        <a:pt x="248" y="14"/>
                        <a:pt x="247" y="20"/>
                      </a:cubicBezTo>
                      <a:cubicBezTo>
                        <a:pt x="255" y="21"/>
                        <a:pt x="258" y="11"/>
                        <a:pt x="266" y="7"/>
                      </a:cubicBezTo>
                      <a:cubicBezTo>
                        <a:pt x="267" y="10"/>
                        <a:pt x="267" y="12"/>
                        <a:pt x="268" y="15"/>
                      </a:cubicBezTo>
                      <a:cubicBezTo>
                        <a:pt x="274" y="9"/>
                        <a:pt x="277" y="7"/>
                        <a:pt x="285" y="2"/>
                      </a:cubicBezTo>
                      <a:cubicBezTo>
                        <a:pt x="285" y="8"/>
                        <a:pt x="284" y="12"/>
                        <a:pt x="289" y="13"/>
                      </a:cubicBezTo>
                      <a:cubicBezTo>
                        <a:pt x="290" y="9"/>
                        <a:pt x="292" y="6"/>
                        <a:pt x="296" y="6"/>
                      </a:cubicBezTo>
                      <a:cubicBezTo>
                        <a:pt x="298" y="6"/>
                        <a:pt x="307" y="11"/>
                        <a:pt x="311" y="13"/>
                      </a:cubicBezTo>
                      <a:cubicBezTo>
                        <a:pt x="307" y="24"/>
                        <a:pt x="303" y="20"/>
                        <a:pt x="293" y="24"/>
                      </a:cubicBezTo>
                      <a:cubicBezTo>
                        <a:pt x="298" y="27"/>
                        <a:pt x="301" y="28"/>
                        <a:pt x="301" y="30"/>
                      </a:cubicBezTo>
                      <a:cubicBezTo>
                        <a:pt x="305" y="31"/>
                        <a:pt x="314" y="32"/>
                        <a:pt x="315" y="32"/>
                      </a:cubicBezTo>
                      <a:cubicBezTo>
                        <a:pt x="309" y="36"/>
                        <a:pt x="293" y="44"/>
                        <a:pt x="293" y="55"/>
                      </a:cubicBezTo>
                      <a:cubicBezTo>
                        <a:pt x="293" y="63"/>
                        <a:pt x="309" y="62"/>
                        <a:pt x="309" y="72"/>
                      </a:cubicBezTo>
                      <a:cubicBezTo>
                        <a:pt x="309" y="80"/>
                        <a:pt x="301" y="83"/>
                        <a:pt x="301" y="91"/>
                      </a:cubicBezTo>
                      <a:cubicBezTo>
                        <a:pt x="301" y="99"/>
                        <a:pt x="310" y="104"/>
                        <a:pt x="310" y="113"/>
                      </a:cubicBezTo>
                      <a:cubicBezTo>
                        <a:pt x="310" y="118"/>
                        <a:pt x="305" y="121"/>
                        <a:pt x="305" y="126"/>
                      </a:cubicBezTo>
                      <a:cubicBezTo>
                        <a:pt x="305" y="136"/>
                        <a:pt x="318" y="138"/>
                        <a:pt x="318" y="148"/>
                      </a:cubicBezTo>
                      <a:cubicBezTo>
                        <a:pt x="318" y="151"/>
                        <a:pt x="314" y="153"/>
                        <a:pt x="313" y="154"/>
                      </a:cubicBezTo>
                      <a:cubicBezTo>
                        <a:pt x="317" y="161"/>
                        <a:pt x="327" y="163"/>
                        <a:pt x="327" y="172"/>
                      </a:cubicBezTo>
                      <a:cubicBezTo>
                        <a:pt x="327" y="187"/>
                        <a:pt x="297" y="203"/>
                        <a:pt x="288" y="215"/>
                      </a:cubicBezTo>
                      <a:cubicBezTo>
                        <a:pt x="283" y="224"/>
                        <a:pt x="263" y="226"/>
                        <a:pt x="255" y="224"/>
                      </a:cubicBezTo>
                      <a:cubicBezTo>
                        <a:pt x="246" y="227"/>
                        <a:pt x="236" y="231"/>
                        <a:pt x="228" y="231"/>
                      </a:cubicBezTo>
                      <a:cubicBezTo>
                        <a:pt x="222" y="231"/>
                        <a:pt x="218" y="230"/>
                        <a:pt x="218" y="225"/>
                      </a:cubicBezTo>
                      <a:cubicBezTo>
                        <a:pt x="209" y="225"/>
                        <a:pt x="199" y="219"/>
                        <a:pt x="199" y="210"/>
                      </a:cubicBezTo>
                      <a:cubicBezTo>
                        <a:pt x="199" y="205"/>
                        <a:pt x="204" y="202"/>
                        <a:pt x="206" y="200"/>
                      </a:cubicBezTo>
                      <a:cubicBezTo>
                        <a:pt x="201" y="198"/>
                        <a:pt x="197" y="188"/>
                        <a:pt x="197" y="183"/>
                      </a:cubicBezTo>
                      <a:cubicBezTo>
                        <a:pt x="197" y="180"/>
                        <a:pt x="198" y="178"/>
                        <a:pt x="197" y="174"/>
                      </a:cubicBezTo>
                      <a:cubicBezTo>
                        <a:pt x="216" y="174"/>
                        <a:pt x="225" y="150"/>
                        <a:pt x="237" y="144"/>
                      </a:cubicBezTo>
                      <a:cubicBezTo>
                        <a:pt x="243" y="140"/>
                        <a:pt x="254" y="138"/>
                        <a:pt x="254" y="130"/>
                      </a:cubicBezTo>
                      <a:cubicBezTo>
                        <a:pt x="254" y="119"/>
                        <a:pt x="239" y="117"/>
                        <a:pt x="228" y="117"/>
                      </a:cubicBezTo>
                      <a:cubicBezTo>
                        <a:pt x="213" y="117"/>
                        <a:pt x="202" y="122"/>
                        <a:pt x="202" y="135"/>
                      </a:cubicBezTo>
                      <a:cubicBezTo>
                        <a:pt x="202" y="140"/>
                        <a:pt x="203" y="142"/>
                        <a:pt x="202" y="145"/>
                      </a:cubicBezTo>
                      <a:cubicBezTo>
                        <a:pt x="202" y="155"/>
                        <a:pt x="181" y="164"/>
                        <a:pt x="172" y="169"/>
                      </a:cubicBezTo>
                      <a:cubicBezTo>
                        <a:pt x="165" y="174"/>
                        <a:pt x="157" y="175"/>
                        <a:pt x="152" y="183"/>
                      </a:cubicBezTo>
                      <a:cubicBezTo>
                        <a:pt x="149" y="189"/>
                        <a:pt x="153" y="198"/>
                        <a:pt x="146" y="201"/>
                      </a:cubicBezTo>
                      <a:cubicBezTo>
                        <a:pt x="146" y="210"/>
                        <a:pt x="146" y="210"/>
                        <a:pt x="146" y="210"/>
                      </a:cubicBezTo>
                      <a:cubicBezTo>
                        <a:pt x="149" y="212"/>
                        <a:pt x="150" y="215"/>
                        <a:pt x="150" y="218"/>
                      </a:cubicBezTo>
                      <a:cubicBezTo>
                        <a:pt x="158" y="219"/>
                        <a:pt x="170" y="227"/>
                        <a:pt x="170" y="235"/>
                      </a:cubicBezTo>
                      <a:cubicBezTo>
                        <a:pt x="170" y="242"/>
                        <a:pt x="157" y="253"/>
                        <a:pt x="152" y="253"/>
                      </a:cubicBezTo>
                      <a:cubicBezTo>
                        <a:pt x="143" y="253"/>
                        <a:pt x="140" y="266"/>
                        <a:pt x="140" y="275"/>
                      </a:cubicBezTo>
                      <a:cubicBezTo>
                        <a:pt x="140" y="280"/>
                        <a:pt x="144" y="282"/>
                        <a:pt x="146" y="283"/>
                      </a:cubicBezTo>
                      <a:cubicBezTo>
                        <a:pt x="145" y="294"/>
                        <a:pt x="135" y="295"/>
                        <a:pt x="133" y="304"/>
                      </a:cubicBezTo>
                      <a:cubicBezTo>
                        <a:pt x="127" y="304"/>
                        <a:pt x="125" y="304"/>
                        <a:pt x="121" y="304"/>
                      </a:cubicBezTo>
                      <a:cubicBezTo>
                        <a:pt x="114" y="304"/>
                        <a:pt x="111" y="318"/>
                        <a:pt x="100" y="318"/>
                      </a:cubicBezTo>
                      <a:cubicBezTo>
                        <a:pt x="97" y="318"/>
                        <a:pt x="90" y="299"/>
                        <a:pt x="90" y="297"/>
                      </a:cubicBezTo>
                      <a:cubicBezTo>
                        <a:pt x="90" y="296"/>
                        <a:pt x="91" y="294"/>
                        <a:pt x="91" y="293"/>
                      </a:cubicBezTo>
                      <a:cubicBezTo>
                        <a:pt x="84" y="285"/>
                        <a:pt x="85" y="279"/>
                        <a:pt x="82" y="269"/>
                      </a:cubicBezTo>
                      <a:cubicBezTo>
                        <a:pt x="79" y="263"/>
                        <a:pt x="73" y="261"/>
                        <a:pt x="73" y="253"/>
                      </a:cubicBezTo>
                      <a:cubicBezTo>
                        <a:pt x="73" y="250"/>
                        <a:pt x="75" y="246"/>
                        <a:pt x="76" y="245"/>
                      </a:cubicBezTo>
                      <a:lnTo>
                        <a:pt x="76" y="2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07" name="Freeform 26"/>
                <p:cNvSpPr>
                  <a:spLocks/>
                </p:cNvSpPr>
                <p:nvPr/>
              </p:nvSpPr>
              <p:spPr bwMode="auto">
                <a:xfrm>
                  <a:off x="4559300" y="1109663"/>
                  <a:ext cx="234950" cy="128588"/>
                </a:xfrm>
                <a:custGeom>
                  <a:avLst/>
                  <a:gdLst/>
                  <a:ahLst/>
                  <a:cxnLst>
                    <a:cxn ang="0">
                      <a:pos x="148" y="79"/>
                    </a:cxn>
                    <a:cxn ang="0">
                      <a:pos x="148" y="71"/>
                    </a:cxn>
                    <a:cxn ang="0">
                      <a:pos x="128" y="71"/>
                    </a:cxn>
                    <a:cxn ang="0">
                      <a:pos x="135" y="58"/>
                    </a:cxn>
                    <a:cxn ang="0">
                      <a:pos x="126" y="46"/>
                    </a:cxn>
                    <a:cxn ang="0">
                      <a:pos x="132" y="45"/>
                    </a:cxn>
                    <a:cxn ang="0">
                      <a:pos x="121" y="38"/>
                    </a:cxn>
                    <a:cxn ang="0">
                      <a:pos x="97" y="69"/>
                    </a:cxn>
                    <a:cxn ang="0">
                      <a:pos x="90" y="73"/>
                    </a:cxn>
                    <a:cxn ang="0">
                      <a:pos x="78" y="97"/>
                    </a:cxn>
                    <a:cxn ang="0">
                      <a:pos x="43" y="69"/>
                    </a:cxn>
                    <a:cxn ang="0">
                      <a:pos x="60" y="70"/>
                    </a:cxn>
                    <a:cxn ang="0">
                      <a:pos x="74" y="66"/>
                    </a:cxn>
                    <a:cxn ang="0">
                      <a:pos x="54" y="64"/>
                    </a:cxn>
                    <a:cxn ang="0">
                      <a:pos x="38" y="58"/>
                    </a:cxn>
                    <a:cxn ang="0">
                      <a:pos x="50" y="54"/>
                    </a:cxn>
                    <a:cxn ang="0">
                      <a:pos x="72" y="43"/>
                    </a:cxn>
                    <a:cxn ang="0">
                      <a:pos x="61" y="43"/>
                    </a:cxn>
                    <a:cxn ang="0">
                      <a:pos x="54" y="39"/>
                    </a:cxn>
                    <a:cxn ang="0">
                      <a:pos x="51" y="39"/>
                    </a:cxn>
                    <a:cxn ang="0">
                      <a:pos x="38" y="51"/>
                    </a:cxn>
                    <a:cxn ang="0">
                      <a:pos x="23" y="44"/>
                    </a:cxn>
                    <a:cxn ang="0">
                      <a:pos x="27" y="43"/>
                    </a:cxn>
                    <a:cxn ang="0">
                      <a:pos x="15" y="28"/>
                    </a:cxn>
                    <a:cxn ang="0">
                      <a:pos x="11" y="26"/>
                    </a:cxn>
                    <a:cxn ang="0">
                      <a:pos x="0" y="16"/>
                    </a:cxn>
                    <a:cxn ang="0">
                      <a:pos x="16" y="5"/>
                    </a:cxn>
                    <a:cxn ang="0">
                      <a:pos x="38" y="7"/>
                    </a:cxn>
                    <a:cxn ang="0">
                      <a:pos x="32" y="13"/>
                    </a:cxn>
                    <a:cxn ang="0">
                      <a:pos x="44" y="20"/>
                    </a:cxn>
                    <a:cxn ang="0">
                      <a:pos x="41" y="14"/>
                    </a:cxn>
                    <a:cxn ang="0">
                      <a:pos x="49" y="7"/>
                    </a:cxn>
                    <a:cxn ang="0">
                      <a:pos x="68" y="26"/>
                    </a:cxn>
                    <a:cxn ang="0">
                      <a:pos x="63" y="7"/>
                    </a:cxn>
                    <a:cxn ang="0">
                      <a:pos x="72" y="0"/>
                    </a:cxn>
                    <a:cxn ang="0">
                      <a:pos x="90" y="9"/>
                    </a:cxn>
                    <a:cxn ang="0">
                      <a:pos x="88" y="18"/>
                    </a:cxn>
                    <a:cxn ang="0">
                      <a:pos x="96" y="12"/>
                    </a:cxn>
                    <a:cxn ang="0">
                      <a:pos x="102" y="23"/>
                    </a:cxn>
                    <a:cxn ang="0">
                      <a:pos x="106" y="23"/>
                    </a:cxn>
                    <a:cxn ang="0">
                      <a:pos x="141" y="41"/>
                    </a:cxn>
                    <a:cxn ang="0">
                      <a:pos x="137" y="42"/>
                    </a:cxn>
                    <a:cxn ang="0">
                      <a:pos x="145" y="42"/>
                    </a:cxn>
                    <a:cxn ang="0">
                      <a:pos x="145" y="49"/>
                    </a:cxn>
                    <a:cxn ang="0">
                      <a:pos x="159" y="49"/>
                    </a:cxn>
                    <a:cxn ang="0">
                      <a:pos x="176" y="64"/>
                    </a:cxn>
                    <a:cxn ang="0">
                      <a:pos x="148" y="79"/>
                    </a:cxn>
                  </a:cxnLst>
                  <a:rect l="0" t="0" r="r" b="b"/>
                  <a:pathLst>
                    <a:path w="176" h="97">
                      <a:moveTo>
                        <a:pt x="148" y="79"/>
                      </a:moveTo>
                      <a:cubicBezTo>
                        <a:pt x="147" y="76"/>
                        <a:pt x="147" y="74"/>
                        <a:pt x="148" y="71"/>
                      </a:cubicBezTo>
                      <a:cubicBezTo>
                        <a:pt x="143" y="71"/>
                        <a:pt x="134" y="71"/>
                        <a:pt x="128" y="71"/>
                      </a:cubicBezTo>
                      <a:cubicBezTo>
                        <a:pt x="129" y="63"/>
                        <a:pt x="134" y="65"/>
                        <a:pt x="135" y="58"/>
                      </a:cubicBezTo>
                      <a:cubicBezTo>
                        <a:pt x="132" y="57"/>
                        <a:pt x="128" y="49"/>
                        <a:pt x="126" y="46"/>
                      </a:cubicBezTo>
                      <a:cubicBezTo>
                        <a:pt x="128" y="45"/>
                        <a:pt x="130" y="45"/>
                        <a:pt x="132" y="45"/>
                      </a:cubicBezTo>
                      <a:cubicBezTo>
                        <a:pt x="125" y="44"/>
                        <a:pt x="121" y="38"/>
                        <a:pt x="121" y="38"/>
                      </a:cubicBezTo>
                      <a:cubicBezTo>
                        <a:pt x="106" y="38"/>
                        <a:pt x="102" y="58"/>
                        <a:pt x="97" y="69"/>
                      </a:cubicBezTo>
                      <a:cubicBezTo>
                        <a:pt x="96" y="72"/>
                        <a:pt x="93" y="71"/>
                        <a:pt x="90" y="73"/>
                      </a:cubicBezTo>
                      <a:cubicBezTo>
                        <a:pt x="83" y="79"/>
                        <a:pt x="84" y="91"/>
                        <a:pt x="78" y="97"/>
                      </a:cubicBezTo>
                      <a:cubicBezTo>
                        <a:pt x="67" y="90"/>
                        <a:pt x="43" y="84"/>
                        <a:pt x="43" y="69"/>
                      </a:cubicBezTo>
                      <a:cubicBezTo>
                        <a:pt x="49" y="68"/>
                        <a:pt x="60" y="70"/>
                        <a:pt x="60" y="70"/>
                      </a:cubicBezTo>
                      <a:cubicBezTo>
                        <a:pt x="64" y="66"/>
                        <a:pt x="69" y="67"/>
                        <a:pt x="74" y="66"/>
                      </a:cubicBezTo>
                      <a:cubicBezTo>
                        <a:pt x="72" y="64"/>
                        <a:pt x="57" y="64"/>
                        <a:pt x="54" y="64"/>
                      </a:cubicBezTo>
                      <a:cubicBezTo>
                        <a:pt x="49" y="64"/>
                        <a:pt x="38" y="69"/>
                        <a:pt x="38" y="58"/>
                      </a:cubicBezTo>
                      <a:cubicBezTo>
                        <a:pt x="38" y="54"/>
                        <a:pt x="48" y="54"/>
                        <a:pt x="50" y="54"/>
                      </a:cubicBezTo>
                      <a:cubicBezTo>
                        <a:pt x="56" y="52"/>
                        <a:pt x="68" y="47"/>
                        <a:pt x="72" y="43"/>
                      </a:cubicBezTo>
                      <a:cubicBezTo>
                        <a:pt x="66" y="43"/>
                        <a:pt x="63" y="43"/>
                        <a:pt x="61" y="43"/>
                      </a:cubicBezTo>
                      <a:cubicBezTo>
                        <a:pt x="60" y="43"/>
                        <a:pt x="56" y="40"/>
                        <a:pt x="54" y="39"/>
                      </a:cubicBezTo>
                      <a:cubicBezTo>
                        <a:pt x="53" y="39"/>
                        <a:pt x="52" y="39"/>
                        <a:pt x="51" y="39"/>
                      </a:cubicBezTo>
                      <a:cubicBezTo>
                        <a:pt x="47" y="41"/>
                        <a:pt x="47" y="51"/>
                        <a:pt x="38" y="51"/>
                      </a:cubicBezTo>
                      <a:cubicBezTo>
                        <a:pt x="31" y="51"/>
                        <a:pt x="26" y="48"/>
                        <a:pt x="23" y="44"/>
                      </a:cubicBezTo>
                      <a:cubicBezTo>
                        <a:pt x="25" y="43"/>
                        <a:pt x="26" y="43"/>
                        <a:pt x="27" y="43"/>
                      </a:cubicBezTo>
                      <a:cubicBezTo>
                        <a:pt x="19" y="39"/>
                        <a:pt x="13" y="35"/>
                        <a:pt x="15" y="28"/>
                      </a:cubicBezTo>
                      <a:cubicBezTo>
                        <a:pt x="13" y="28"/>
                        <a:pt x="12" y="26"/>
                        <a:pt x="11" y="26"/>
                      </a:cubicBezTo>
                      <a:cubicBezTo>
                        <a:pt x="8" y="26"/>
                        <a:pt x="3" y="19"/>
                        <a:pt x="0" y="16"/>
                      </a:cubicBezTo>
                      <a:cubicBezTo>
                        <a:pt x="2" y="14"/>
                        <a:pt x="11" y="5"/>
                        <a:pt x="16" y="5"/>
                      </a:cubicBezTo>
                      <a:cubicBezTo>
                        <a:pt x="23" y="5"/>
                        <a:pt x="27" y="5"/>
                        <a:pt x="38" y="7"/>
                      </a:cubicBezTo>
                      <a:cubicBezTo>
                        <a:pt x="35" y="10"/>
                        <a:pt x="34" y="11"/>
                        <a:pt x="32" y="13"/>
                      </a:cubicBezTo>
                      <a:cubicBezTo>
                        <a:pt x="37" y="17"/>
                        <a:pt x="41" y="17"/>
                        <a:pt x="44" y="20"/>
                      </a:cubicBezTo>
                      <a:cubicBezTo>
                        <a:pt x="42" y="19"/>
                        <a:pt x="41" y="17"/>
                        <a:pt x="41" y="14"/>
                      </a:cubicBezTo>
                      <a:cubicBezTo>
                        <a:pt x="41" y="10"/>
                        <a:pt x="45" y="7"/>
                        <a:pt x="49" y="7"/>
                      </a:cubicBezTo>
                      <a:cubicBezTo>
                        <a:pt x="60" y="7"/>
                        <a:pt x="57" y="22"/>
                        <a:pt x="68" y="26"/>
                      </a:cubicBezTo>
                      <a:cubicBezTo>
                        <a:pt x="66" y="19"/>
                        <a:pt x="63" y="15"/>
                        <a:pt x="63" y="7"/>
                      </a:cubicBezTo>
                      <a:cubicBezTo>
                        <a:pt x="63" y="0"/>
                        <a:pt x="66" y="0"/>
                        <a:pt x="72" y="0"/>
                      </a:cubicBezTo>
                      <a:cubicBezTo>
                        <a:pt x="78" y="0"/>
                        <a:pt x="90" y="4"/>
                        <a:pt x="90" y="9"/>
                      </a:cubicBezTo>
                      <a:cubicBezTo>
                        <a:pt x="90" y="12"/>
                        <a:pt x="88" y="15"/>
                        <a:pt x="88" y="18"/>
                      </a:cubicBezTo>
                      <a:cubicBezTo>
                        <a:pt x="92" y="16"/>
                        <a:pt x="93" y="12"/>
                        <a:pt x="96" y="12"/>
                      </a:cubicBezTo>
                      <a:cubicBezTo>
                        <a:pt x="103" y="12"/>
                        <a:pt x="102" y="19"/>
                        <a:pt x="102" y="23"/>
                      </a:cubicBezTo>
                      <a:cubicBezTo>
                        <a:pt x="103" y="23"/>
                        <a:pt x="105" y="23"/>
                        <a:pt x="106" y="23"/>
                      </a:cubicBezTo>
                      <a:cubicBezTo>
                        <a:pt x="113" y="23"/>
                        <a:pt x="137" y="36"/>
                        <a:pt x="141" y="41"/>
                      </a:cubicBezTo>
                      <a:cubicBezTo>
                        <a:pt x="140" y="42"/>
                        <a:pt x="138" y="42"/>
                        <a:pt x="137" y="42"/>
                      </a:cubicBezTo>
                      <a:cubicBezTo>
                        <a:pt x="140" y="43"/>
                        <a:pt x="142" y="42"/>
                        <a:pt x="145" y="42"/>
                      </a:cubicBezTo>
                      <a:cubicBezTo>
                        <a:pt x="146" y="44"/>
                        <a:pt x="146" y="47"/>
                        <a:pt x="145" y="49"/>
                      </a:cubicBezTo>
                      <a:cubicBezTo>
                        <a:pt x="151" y="49"/>
                        <a:pt x="154" y="49"/>
                        <a:pt x="159" y="49"/>
                      </a:cubicBezTo>
                      <a:cubicBezTo>
                        <a:pt x="159" y="62"/>
                        <a:pt x="172" y="59"/>
                        <a:pt x="176" y="64"/>
                      </a:cubicBezTo>
                      <a:cubicBezTo>
                        <a:pt x="164" y="68"/>
                        <a:pt x="159" y="76"/>
                        <a:pt x="148" y="7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08" name="Freeform 27"/>
                <p:cNvSpPr>
                  <a:spLocks/>
                </p:cNvSpPr>
                <p:nvPr/>
              </p:nvSpPr>
              <p:spPr bwMode="auto">
                <a:xfrm>
                  <a:off x="4683125" y="1089025"/>
                  <a:ext cx="150813" cy="55563"/>
                </a:xfrm>
                <a:custGeom>
                  <a:avLst/>
                  <a:gdLst/>
                  <a:ahLst/>
                  <a:cxnLst>
                    <a:cxn ang="0">
                      <a:pos x="114" y="19"/>
                    </a:cxn>
                    <a:cxn ang="0">
                      <a:pos x="69" y="41"/>
                    </a:cxn>
                    <a:cxn ang="0">
                      <a:pos x="54" y="34"/>
                    </a:cxn>
                    <a:cxn ang="0">
                      <a:pos x="28" y="34"/>
                    </a:cxn>
                    <a:cxn ang="0">
                      <a:pos x="23" y="26"/>
                    </a:cxn>
                    <a:cxn ang="0">
                      <a:pos x="32" y="26"/>
                    </a:cxn>
                    <a:cxn ang="0">
                      <a:pos x="43" y="24"/>
                    </a:cxn>
                    <a:cxn ang="0">
                      <a:pos x="22" y="23"/>
                    </a:cxn>
                    <a:cxn ang="0">
                      <a:pos x="6" y="18"/>
                    </a:cxn>
                    <a:cxn ang="0">
                      <a:pos x="0" y="7"/>
                    </a:cxn>
                    <a:cxn ang="0">
                      <a:pos x="6" y="7"/>
                    </a:cxn>
                    <a:cxn ang="0">
                      <a:pos x="15" y="8"/>
                    </a:cxn>
                    <a:cxn ang="0">
                      <a:pos x="15" y="6"/>
                    </a:cxn>
                    <a:cxn ang="0">
                      <a:pos x="23" y="6"/>
                    </a:cxn>
                    <a:cxn ang="0">
                      <a:pos x="21" y="2"/>
                    </a:cxn>
                    <a:cxn ang="0">
                      <a:pos x="33" y="2"/>
                    </a:cxn>
                    <a:cxn ang="0">
                      <a:pos x="51" y="11"/>
                    </a:cxn>
                    <a:cxn ang="0">
                      <a:pos x="62" y="0"/>
                    </a:cxn>
                    <a:cxn ang="0">
                      <a:pos x="67" y="0"/>
                    </a:cxn>
                    <a:cxn ang="0">
                      <a:pos x="67" y="12"/>
                    </a:cxn>
                    <a:cxn ang="0">
                      <a:pos x="80" y="7"/>
                    </a:cxn>
                    <a:cxn ang="0">
                      <a:pos x="95" y="7"/>
                    </a:cxn>
                    <a:cxn ang="0">
                      <a:pos x="114" y="19"/>
                    </a:cxn>
                  </a:cxnLst>
                  <a:rect l="0" t="0" r="r" b="b"/>
                  <a:pathLst>
                    <a:path w="114" h="41">
                      <a:moveTo>
                        <a:pt x="114" y="19"/>
                      </a:moveTo>
                      <a:cubicBezTo>
                        <a:pt x="104" y="26"/>
                        <a:pt x="82" y="41"/>
                        <a:pt x="69" y="41"/>
                      </a:cubicBezTo>
                      <a:cubicBezTo>
                        <a:pt x="61" y="41"/>
                        <a:pt x="57" y="39"/>
                        <a:pt x="54" y="34"/>
                      </a:cubicBezTo>
                      <a:cubicBezTo>
                        <a:pt x="28" y="34"/>
                        <a:pt x="28" y="34"/>
                        <a:pt x="28" y="34"/>
                      </a:cubicBezTo>
                      <a:cubicBezTo>
                        <a:pt x="25" y="32"/>
                        <a:pt x="23" y="30"/>
                        <a:pt x="23" y="26"/>
                      </a:cubicBezTo>
                      <a:cubicBezTo>
                        <a:pt x="26" y="26"/>
                        <a:pt x="31" y="26"/>
                        <a:pt x="32" y="26"/>
                      </a:cubicBezTo>
                      <a:cubicBezTo>
                        <a:pt x="36" y="25"/>
                        <a:pt x="40" y="25"/>
                        <a:pt x="43" y="24"/>
                      </a:cubicBezTo>
                      <a:cubicBezTo>
                        <a:pt x="41" y="24"/>
                        <a:pt x="23" y="23"/>
                        <a:pt x="22" y="23"/>
                      </a:cubicBezTo>
                      <a:cubicBezTo>
                        <a:pt x="14" y="23"/>
                        <a:pt x="6" y="28"/>
                        <a:pt x="6" y="18"/>
                      </a:cubicBezTo>
                      <a:cubicBezTo>
                        <a:pt x="3" y="15"/>
                        <a:pt x="0" y="12"/>
                        <a:pt x="0" y="7"/>
                      </a:cubicBezTo>
                      <a:cubicBezTo>
                        <a:pt x="6" y="7"/>
                        <a:pt x="6" y="7"/>
                        <a:pt x="6" y="7"/>
                      </a:cubicBezTo>
                      <a:cubicBezTo>
                        <a:pt x="9" y="9"/>
                        <a:pt x="13" y="10"/>
                        <a:pt x="15" y="8"/>
                      </a:cubicBezTo>
                      <a:cubicBezTo>
                        <a:pt x="15" y="6"/>
                        <a:pt x="15" y="6"/>
                        <a:pt x="15" y="6"/>
                      </a:cubicBezTo>
                      <a:cubicBezTo>
                        <a:pt x="23" y="6"/>
                        <a:pt x="23" y="6"/>
                        <a:pt x="23" y="6"/>
                      </a:cubicBezTo>
                      <a:cubicBezTo>
                        <a:pt x="21" y="2"/>
                        <a:pt x="21" y="2"/>
                        <a:pt x="21" y="2"/>
                      </a:cubicBezTo>
                      <a:cubicBezTo>
                        <a:pt x="33" y="2"/>
                        <a:pt x="33" y="2"/>
                        <a:pt x="33" y="2"/>
                      </a:cubicBezTo>
                      <a:cubicBezTo>
                        <a:pt x="36" y="4"/>
                        <a:pt x="48" y="11"/>
                        <a:pt x="51" y="11"/>
                      </a:cubicBezTo>
                      <a:cubicBezTo>
                        <a:pt x="56" y="11"/>
                        <a:pt x="59" y="2"/>
                        <a:pt x="62" y="0"/>
                      </a:cubicBezTo>
                      <a:cubicBezTo>
                        <a:pt x="67" y="0"/>
                        <a:pt x="67" y="0"/>
                        <a:pt x="67" y="0"/>
                      </a:cubicBezTo>
                      <a:cubicBezTo>
                        <a:pt x="67" y="6"/>
                        <a:pt x="66" y="8"/>
                        <a:pt x="67" y="12"/>
                      </a:cubicBezTo>
                      <a:cubicBezTo>
                        <a:pt x="71" y="12"/>
                        <a:pt x="73" y="7"/>
                        <a:pt x="80" y="7"/>
                      </a:cubicBezTo>
                      <a:cubicBezTo>
                        <a:pt x="91" y="7"/>
                        <a:pt x="88" y="7"/>
                        <a:pt x="95" y="7"/>
                      </a:cubicBezTo>
                      <a:cubicBezTo>
                        <a:pt x="103" y="7"/>
                        <a:pt x="112" y="14"/>
                        <a:pt x="11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09" name="Freeform 28"/>
                <p:cNvSpPr>
                  <a:spLocks/>
                </p:cNvSpPr>
                <p:nvPr/>
              </p:nvSpPr>
              <p:spPr bwMode="auto">
                <a:xfrm>
                  <a:off x="4219575" y="1841500"/>
                  <a:ext cx="73025" cy="87313"/>
                </a:xfrm>
                <a:custGeom>
                  <a:avLst/>
                  <a:gdLst/>
                  <a:ahLst/>
                  <a:cxnLst>
                    <a:cxn ang="0">
                      <a:pos x="9" y="19"/>
                    </a:cxn>
                    <a:cxn ang="0">
                      <a:pos x="22" y="14"/>
                    </a:cxn>
                    <a:cxn ang="0">
                      <a:pos x="19" y="8"/>
                    </a:cxn>
                    <a:cxn ang="0">
                      <a:pos x="32" y="0"/>
                    </a:cxn>
                    <a:cxn ang="0">
                      <a:pos x="40" y="0"/>
                    </a:cxn>
                    <a:cxn ang="0">
                      <a:pos x="55" y="18"/>
                    </a:cxn>
                    <a:cxn ang="0">
                      <a:pos x="47" y="24"/>
                    </a:cxn>
                    <a:cxn ang="0">
                      <a:pos x="47" y="39"/>
                    </a:cxn>
                    <a:cxn ang="0">
                      <a:pos x="47" y="52"/>
                    </a:cxn>
                    <a:cxn ang="0">
                      <a:pos x="35" y="54"/>
                    </a:cxn>
                    <a:cxn ang="0">
                      <a:pos x="19" y="64"/>
                    </a:cxn>
                    <a:cxn ang="0">
                      <a:pos x="11" y="65"/>
                    </a:cxn>
                    <a:cxn ang="0">
                      <a:pos x="0" y="55"/>
                    </a:cxn>
                    <a:cxn ang="0">
                      <a:pos x="13" y="33"/>
                    </a:cxn>
                    <a:cxn ang="0">
                      <a:pos x="4" y="23"/>
                    </a:cxn>
                    <a:cxn ang="0">
                      <a:pos x="9" y="19"/>
                    </a:cxn>
                  </a:cxnLst>
                  <a:rect l="0" t="0" r="r" b="b"/>
                  <a:pathLst>
                    <a:path w="55" h="65">
                      <a:moveTo>
                        <a:pt x="9" y="19"/>
                      </a:moveTo>
                      <a:cubicBezTo>
                        <a:pt x="12" y="19"/>
                        <a:pt x="19" y="16"/>
                        <a:pt x="22" y="14"/>
                      </a:cubicBezTo>
                      <a:cubicBezTo>
                        <a:pt x="20" y="11"/>
                        <a:pt x="19" y="10"/>
                        <a:pt x="19" y="8"/>
                      </a:cubicBezTo>
                      <a:cubicBezTo>
                        <a:pt x="19" y="5"/>
                        <a:pt x="28" y="0"/>
                        <a:pt x="32" y="0"/>
                      </a:cubicBezTo>
                      <a:cubicBezTo>
                        <a:pt x="35" y="0"/>
                        <a:pt x="37" y="0"/>
                        <a:pt x="40" y="0"/>
                      </a:cubicBezTo>
                      <a:cubicBezTo>
                        <a:pt x="50" y="0"/>
                        <a:pt x="55" y="10"/>
                        <a:pt x="55" y="18"/>
                      </a:cubicBezTo>
                      <a:cubicBezTo>
                        <a:pt x="55" y="21"/>
                        <a:pt x="47" y="21"/>
                        <a:pt x="47" y="24"/>
                      </a:cubicBezTo>
                      <a:cubicBezTo>
                        <a:pt x="47" y="27"/>
                        <a:pt x="47" y="39"/>
                        <a:pt x="47" y="39"/>
                      </a:cubicBezTo>
                      <a:cubicBezTo>
                        <a:pt x="47" y="43"/>
                        <a:pt x="50" y="48"/>
                        <a:pt x="47" y="52"/>
                      </a:cubicBezTo>
                      <a:cubicBezTo>
                        <a:pt x="44" y="54"/>
                        <a:pt x="40" y="54"/>
                        <a:pt x="35" y="54"/>
                      </a:cubicBezTo>
                      <a:cubicBezTo>
                        <a:pt x="28" y="54"/>
                        <a:pt x="23" y="61"/>
                        <a:pt x="19" y="64"/>
                      </a:cubicBezTo>
                      <a:cubicBezTo>
                        <a:pt x="17" y="65"/>
                        <a:pt x="13" y="65"/>
                        <a:pt x="11" y="65"/>
                      </a:cubicBezTo>
                      <a:cubicBezTo>
                        <a:pt x="6" y="65"/>
                        <a:pt x="0" y="60"/>
                        <a:pt x="0" y="55"/>
                      </a:cubicBezTo>
                      <a:cubicBezTo>
                        <a:pt x="0" y="44"/>
                        <a:pt x="11" y="43"/>
                        <a:pt x="13" y="33"/>
                      </a:cubicBezTo>
                      <a:cubicBezTo>
                        <a:pt x="8" y="30"/>
                        <a:pt x="4" y="28"/>
                        <a:pt x="4" y="23"/>
                      </a:cubicBezTo>
                      <a:cubicBezTo>
                        <a:pt x="4" y="18"/>
                        <a:pt x="8" y="19"/>
                        <a:pt x="9"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10" name="Freeform 29"/>
                <p:cNvSpPr>
                  <a:spLocks/>
                </p:cNvSpPr>
                <p:nvPr/>
              </p:nvSpPr>
              <p:spPr bwMode="auto">
                <a:xfrm>
                  <a:off x="4276725" y="1758950"/>
                  <a:ext cx="139700" cy="203200"/>
                </a:xfrm>
                <a:custGeom>
                  <a:avLst/>
                  <a:gdLst/>
                  <a:ahLst/>
                  <a:cxnLst>
                    <a:cxn ang="0">
                      <a:pos x="96" y="102"/>
                    </a:cxn>
                    <a:cxn ang="0">
                      <a:pos x="91" y="128"/>
                    </a:cxn>
                    <a:cxn ang="0">
                      <a:pos x="100" y="133"/>
                    </a:cxn>
                    <a:cxn ang="0">
                      <a:pos x="70" y="139"/>
                    </a:cxn>
                    <a:cxn ang="0">
                      <a:pos x="39" y="141"/>
                    </a:cxn>
                    <a:cxn ang="0">
                      <a:pos x="26" y="148"/>
                    </a:cxn>
                    <a:cxn ang="0">
                      <a:pos x="16" y="152"/>
                    </a:cxn>
                    <a:cxn ang="0">
                      <a:pos x="32" y="133"/>
                    </a:cxn>
                    <a:cxn ang="0">
                      <a:pos x="46" y="124"/>
                    </a:cxn>
                    <a:cxn ang="0">
                      <a:pos x="26" y="123"/>
                    </a:cxn>
                    <a:cxn ang="0">
                      <a:pos x="19" y="123"/>
                    </a:cxn>
                    <a:cxn ang="0">
                      <a:pos x="28" y="96"/>
                    </a:cxn>
                    <a:cxn ang="0">
                      <a:pos x="48" y="81"/>
                    </a:cxn>
                    <a:cxn ang="0">
                      <a:pos x="40" y="70"/>
                    </a:cxn>
                    <a:cxn ang="0">
                      <a:pos x="26" y="72"/>
                    </a:cxn>
                    <a:cxn ang="0">
                      <a:pos x="23" y="59"/>
                    </a:cxn>
                    <a:cxn ang="0">
                      <a:pos x="16" y="49"/>
                    </a:cxn>
                    <a:cxn ang="0">
                      <a:pos x="12" y="55"/>
                    </a:cxn>
                    <a:cxn ang="0">
                      <a:pos x="14" y="45"/>
                    </a:cxn>
                    <a:cxn ang="0">
                      <a:pos x="8" y="38"/>
                    </a:cxn>
                    <a:cxn ang="0">
                      <a:pos x="11" y="29"/>
                    </a:cxn>
                    <a:cxn ang="0">
                      <a:pos x="8" y="20"/>
                    </a:cxn>
                    <a:cxn ang="0">
                      <a:pos x="12" y="21"/>
                    </a:cxn>
                    <a:cxn ang="0">
                      <a:pos x="16" y="14"/>
                    </a:cxn>
                    <a:cxn ang="0">
                      <a:pos x="25" y="0"/>
                    </a:cxn>
                    <a:cxn ang="0">
                      <a:pos x="42" y="4"/>
                    </a:cxn>
                    <a:cxn ang="0">
                      <a:pos x="33" y="19"/>
                    </a:cxn>
                    <a:cxn ang="0">
                      <a:pos x="47" y="46"/>
                    </a:cxn>
                    <a:cxn ang="0">
                      <a:pos x="53" y="50"/>
                    </a:cxn>
                    <a:cxn ang="0">
                      <a:pos x="84" y="89"/>
                    </a:cxn>
                    <a:cxn ang="0">
                      <a:pos x="87" y="102"/>
                    </a:cxn>
                    <a:cxn ang="0">
                      <a:pos x="92" y="102"/>
                    </a:cxn>
                  </a:cxnLst>
                  <a:rect l="0" t="0" r="r" b="b"/>
                  <a:pathLst>
                    <a:path w="105" h="152">
                      <a:moveTo>
                        <a:pt x="90" y="103"/>
                      </a:moveTo>
                      <a:cubicBezTo>
                        <a:pt x="93" y="101"/>
                        <a:pt x="92" y="102"/>
                        <a:pt x="96" y="102"/>
                      </a:cubicBezTo>
                      <a:cubicBezTo>
                        <a:pt x="101" y="102"/>
                        <a:pt x="105" y="106"/>
                        <a:pt x="105" y="110"/>
                      </a:cubicBezTo>
                      <a:cubicBezTo>
                        <a:pt x="105" y="118"/>
                        <a:pt x="94" y="122"/>
                        <a:pt x="91" y="128"/>
                      </a:cubicBezTo>
                      <a:cubicBezTo>
                        <a:pt x="95" y="129"/>
                        <a:pt x="97" y="130"/>
                        <a:pt x="100" y="130"/>
                      </a:cubicBezTo>
                      <a:cubicBezTo>
                        <a:pt x="100" y="133"/>
                        <a:pt x="100" y="133"/>
                        <a:pt x="100" y="133"/>
                      </a:cubicBezTo>
                      <a:cubicBezTo>
                        <a:pt x="96" y="137"/>
                        <a:pt x="93" y="139"/>
                        <a:pt x="87" y="139"/>
                      </a:cubicBezTo>
                      <a:cubicBezTo>
                        <a:pt x="82" y="139"/>
                        <a:pt x="72" y="139"/>
                        <a:pt x="70" y="139"/>
                      </a:cubicBezTo>
                      <a:cubicBezTo>
                        <a:pt x="65" y="139"/>
                        <a:pt x="53" y="143"/>
                        <a:pt x="47" y="143"/>
                      </a:cubicBezTo>
                      <a:cubicBezTo>
                        <a:pt x="44" y="143"/>
                        <a:pt x="42" y="141"/>
                        <a:pt x="39" y="141"/>
                      </a:cubicBezTo>
                      <a:cubicBezTo>
                        <a:pt x="34" y="141"/>
                        <a:pt x="32" y="144"/>
                        <a:pt x="32" y="148"/>
                      </a:cubicBezTo>
                      <a:cubicBezTo>
                        <a:pt x="26" y="148"/>
                        <a:pt x="26" y="148"/>
                        <a:pt x="26" y="148"/>
                      </a:cubicBezTo>
                      <a:cubicBezTo>
                        <a:pt x="23" y="148"/>
                        <a:pt x="21" y="150"/>
                        <a:pt x="19" y="152"/>
                      </a:cubicBezTo>
                      <a:cubicBezTo>
                        <a:pt x="16" y="152"/>
                        <a:pt x="16" y="152"/>
                        <a:pt x="16" y="152"/>
                      </a:cubicBezTo>
                      <a:cubicBezTo>
                        <a:pt x="16" y="149"/>
                        <a:pt x="16" y="149"/>
                        <a:pt x="16" y="149"/>
                      </a:cubicBezTo>
                      <a:cubicBezTo>
                        <a:pt x="17" y="147"/>
                        <a:pt x="30" y="133"/>
                        <a:pt x="32" y="133"/>
                      </a:cubicBezTo>
                      <a:cubicBezTo>
                        <a:pt x="38" y="131"/>
                        <a:pt x="47" y="133"/>
                        <a:pt x="47" y="127"/>
                      </a:cubicBezTo>
                      <a:cubicBezTo>
                        <a:pt x="47" y="126"/>
                        <a:pt x="46" y="125"/>
                        <a:pt x="46" y="124"/>
                      </a:cubicBezTo>
                      <a:cubicBezTo>
                        <a:pt x="44" y="126"/>
                        <a:pt x="41" y="128"/>
                        <a:pt x="38" y="128"/>
                      </a:cubicBezTo>
                      <a:cubicBezTo>
                        <a:pt x="32" y="128"/>
                        <a:pt x="30" y="123"/>
                        <a:pt x="26" y="123"/>
                      </a:cubicBezTo>
                      <a:cubicBezTo>
                        <a:pt x="23" y="123"/>
                        <a:pt x="23" y="125"/>
                        <a:pt x="21" y="125"/>
                      </a:cubicBezTo>
                      <a:cubicBezTo>
                        <a:pt x="20" y="125"/>
                        <a:pt x="19" y="124"/>
                        <a:pt x="19" y="123"/>
                      </a:cubicBezTo>
                      <a:cubicBezTo>
                        <a:pt x="19" y="116"/>
                        <a:pt x="31" y="116"/>
                        <a:pt x="31" y="109"/>
                      </a:cubicBezTo>
                      <a:cubicBezTo>
                        <a:pt x="31" y="103"/>
                        <a:pt x="28" y="101"/>
                        <a:pt x="28" y="96"/>
                      </a:cubicBezTo>
                      <a:cubicBezTo>
                        <a:pt x="36" y="96"/>
                        <a:pt x="45" y="92"/>
                        <a:pt x="48" y="88"/>
                      </a:cubicBezTo>
                      <a:cubicBezTo>
                        <a:pt x="48" y="81"/>
                        <a:pt x="48" y="81"/>
                        <a:pt x="48" y="81"/>
                      </a:cubicBezTo>
                      <a:cubicBezTo>
                        <a:pt x="43" y="82"/>
                        <a:pt x="37" y="81"/>
                        <a:pt x="37" y="77"/>
                      </a:cubicBezTo>
                      <a:cubicBezTo>
                        <a:pt x="37" y="73"/>
                        <a:pt x="39" y="72"/>
                        <a:pt x="40" y="70"/>
                      </a:cubicBezTo>
                      <a:cubicBezTo>
                        <a:pt x="39" y="70"/>
                        <a:pt x="38" y="70"/>
                        <a:pt x="36" y="70"/>
                      </a:cubicBezTo>
                      <a:cubicBezTo>
                        <a:pt x="32" y="70"/>
                        <a:pt x="30" y="72"/>
                        <a:pt x="26" y="72"/>
                      </a:cubicBezTo>
                      <a:cubicBezTo>
                        <a:pt x="22" y="72"/>
                        <a:pt x="19" y="72"/>
                        <a:pt x="19" y="69"/>
                      </a:cubicBezTo>
                      <a:cubicBezTo>
                        <a:pt x="19" y="65"/>
                        <a:pt x="23" y="63"/>
                        <a:pt x="23" y="59"/>
                      </a:cubicBezTo>
                      <a:cubicBezTo>
                        <a:pt x="23" y="55"/>
                        <a:pt x="22" y="55"/>
                        <a:pt x="23" y="51"/>
                      </a:cubicBezTo>
                      <a:cubicBezTo>
                        <a:pt x="20" y="51"/>
                        <a:pt x="17" y="50"/>
                        <a:pt x="16" y="49"/>
                      </a:cubicBezTo>
                      <a:cubicBezTo>
                        <a:pt x="14" y="52"/>
                        <a:pt x="15" y="54"/>
                        <a:pt x="16" y="55"/>
                      </a:cubicBezTo>
                      <a:cubicBezTo>
                        <a:pt x="12" y="55"/>
                        <a:pt x="12" y="55"/>
                        <a:pt x="12" y="55"/>
                      </a:cubicBezTo>
                      <a:cubicBezTo>
                        <a:pt x="12" y="52"/>
                        <a:pt x="12" y="51"/>
                        <a:pt x="12" y="48"/>
                      </a:cubicBezTo>
                      <a:cubicBezTo>
                        <a:pt x="12" y="47"/>
                        <a:pt x="13" y="46"/>
                        <a:pt x="14" y="45"/>
                      </a:cubicBezTo>
                      <a:cubicBezTo>
                        <a:pt x="14" y="41"/>
                        <a:pt x="14" y="41"/>
                        <a:pt x="14" y="41"/>
                      </a:cubicBezTo>
                      <a:cubicBezTo>
                        <a:pt x="12" y="41"/>
                        <a:pt x="8" y="40"/>
                        <a:pt x="8" y="38"/>
                      </a:cubicBezTo>
                      <a:cubicBezTo>
                        <a:pt x="8" y="36"/>
                        <a:pt x="11" y="32"/>
                        <a:pt x="11" y="32"/>
                      </a:cubicBezTo>
                      <a:cubicBezTo>
                        <a:pt x="11" y="29"/>
                        <a:pt x="11" y="29"/>
                        <a:pt x="11" y="29"/>
                      </a:cubicBezTo>
                      <a:cubicBezTo>
                        <a:pt x="4" y="27"/>
                        <a:pt x="0" y="26"/>
                        <a:pt x="0" y="20"/>
                      </a:cubicBezTo>
                      <a:cubicBezTo>
                        <a:pt x="8" y="20"/>
                        <a:pt x="8" y="20"/>
                        <a:pt x="8" y="20"/>
                      </a:cubicBezTo>
                      <a:cubicBezTo>
                        <a:pt x="8" y="23"/>
                        <a:pt x="10" y="24"/>
                        <a:pt x="11" y="24"/>
                      </a:cubicBezTo>
                      <a:cubicBezTo>
                        <a:pt x="12" y="24"/>
                        <a:pt x="12" y="22"/>
                        <a:pt x="12" y="21"/>
                      </a:cubicBezTo>
                      <a:cubicBezTo>
                        <a:pt x="12" y="21"/>
                        <a:pt x="10" y="20"/>
                        <a:pt x="10" y="19"/>
                      </a:cubicBezTo>
                      <a:cubicBezTo>
                        <a:pt x="10" y="15"/>
                        <a:pt x="13" y="14"/>
                        <a:pt x="16" y="14"/>
                      </a:cubicBezTo>
                      <a:cubicBezTo>
                        <a:pt x="16" y="10"/>
                        <a:pt x="18" y="8"/>
                        <a:pt x="18" y="6"/>
                      </a:cubicBezTo>
                      <a:cubicBezTo>
                        <a:pt x="18" y="4"/>
                        <a:pt x="23" y="0"/>
                        <a:pt x="25" y="0"/>
                      </a:cubicBezTo>
                      <a:cubicBezTo>
                        <a:pt x="30" y="0"/>
                        <a:pt x="35" y="0"/>
                        <a:pt x="38" y="0"/>
                      </a:cubicBezTo>
                      <a:cubicBezTo>
                        <a:pt x="40" y="0"/>
                        <a:pt x="42" y="3"/>
                        <a:pt x="42" y="4"/>
                      </a:cubicBezTo>
                      <a:cubicBezTo>
                        <a:pt x="42" y="10"/>
                        <a:pt x="33" y="10"/>
                        <a:pt x="31" y="16"/>
                      </a:cubicBezTo>
                      <a:cubicBezTo>
                        <a:pt x="31" y="17"/>
                        <a:pt x="32" y="18"/>
                        <a:pt x="33" y="19"/>
                      </a:cubicBezTo>
                      <a:cubicBezTo>
                        <a:pt x="59" y="19"/>
                        <a:pt x="59" y="19"/>
                        <a:pt x="59" y="19"/>
                      </a:cubicBezTo>
                      <a:cubicBezTo>
                        <a:pt x="60" y="32"/>
                        <a:pt x="47" y="37"/>
                        <a:pt x="47" y="46"/>
                      </a:cubicBezTo>
                      <a:cubicBezTo>
                        <a:pt x="45" y="47"/>
                        <a:pt x="44" y="48"/>
                        <a:pt x="43" y="50"/>
                      </a:cubicBezTo>
                      <a:cubicBezTo>
                        <a:pt x="48" y="51"/>
                        <a:pt x="50" y="49"/>
                        <a:pt x="53" y="50"/>
                      </a:cubicBezTo>
                      <a:cubicBezTo>
                        <a:pt x="62" y="53"/>
                        <a:pt x="60" y="63"/>
                        <a:pt x="66" y="69"/>
                      </a:cubicBezTo>
                      <a:cubicBezTo>
                        <a:pt x="73" y="76"/>
                        <a:pt x="84" y="79"/>
                        <a:pt x="84" y="89"/>
                      </a:cubicBezTo>
                      <a:cubicBezTo>
                        <a:pt x="84" y="93"/>
                        <a:pt x="89" y="95"/>
                        <a:pt x="89" y="99"/>
                      </a:cubicBezTo>
                      <a:cubicBezTo>
                        <a:pt x="89" y="100"/>
                        <a:pt x="88" y="101"/>
                        <a:pt x="87" y="102"/>
                      </a:cubicBezTo>
                      <a:cubicBezTo>
                        <a:pt x="87" y="105"/>
                        <a:pt x="87" y="105"/>
                        <a:pt x="87" y="105"/>
                      </a:cubicBezTo>
                      <a:cubicBezTo>
                        <a:pt x="90" y="104"/>
                        <a:pt x="90" y="103"/>
                        <a:pt x="92" y="102"/>
                      </a:cubicBezTo>
                      <a:lnTo>
                        <a:pt x="90" y="1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11" name="Freeform 31"/>
                <p:cNvSpPr>
                  <a:spLocks/>
                </p:cNvSpPr>
                <p:nvPr/>
              </p:nvSpPr>
              <p:spPr bwMode="auto">
                <a:xfrm>
                  <a:off x="4592638" y="2203450"/>
                  <a:ext cx="46038" cy="30163"/>
                </a:xfrm>
                <a:custGeom>
                  <a:avLst/>
                  <a:gdLst/>
                  <a:ahLst/>
                  <a:cxnLst>
                    <a:cxn ang="0">
                      <a:pos x="0" y="5"/>
                    </a:cxn>
                    <a:cxn ang="0">
                      <a:pos x="0" y="8"/>
                    </a:cxn>
                    <a:cxn ang="0">
                      <a:pos x="7" y="10"/>
                    </a:cxn>
                    <a:cxn ang="0">
                      <a:pos x="27" y="21"/>
                    </a:cxn>
                    <a:cxn ang="0">
                      <a:pos x="30" y="23"/>
                    </a:cxn>
                    <a:cxn ang="0">
                      <a:pos x="33" y="20"/>
                    </a:cxn>
                    <a:cxn ang="0">
                      <a:pos x="31" y="13"/>
                    </a:cxn>
                    <a:cxn ang="0">
                      <a:pos x="33" y="8"/>
                    </a:cxn>
                    <a:cxn ang="0">
                      <a:pos x="35" y="3"/>
                    </a:cxn>
                    <a:cxn ang="0">
                      <a:pos x="20" y="6"/>
                    </a:cxn>
                    <a:cxn ang="0">
                      <a:pos x="0" y="5"/>
                    </a:cxn>
                  </a:cxnLst>
                  <a:rect l="0" t="0" r="r" b="b"/>
                  <a:pathLst>
                    <a:path w="35" h="23">
                      <a:moveTo>
                        <a:pt x="0" y="5"/>
                      </a:moveTo>
                      <a:cubicBezTo>
                        <a:pt x="0" y="8"/>
                        <a:pt x="0" y="8"/>
                        <a:pt x="0" y="8"/>
                      </a:cubicBezTo>
                      <a:cubicBezTo>
                        <a:pt x="2" y="10"/>
                        <a:pt x="5" y="10"/>
                        <a:pt x="7" y="10"/>
                      </a:cubicBezTo>
                      <a:cubicBezTo>
                        <a:pt x="14" y="12"/>
                        <a:pt x="19" y="20"/>
                        <a:pt x="27" y="21"/>
                      </a:cubicBezTo>
                      <a:cubicBezTo>
                        <a:pt x="27" y="23"/>
                        <a:pt x="29" y="23"/>
                        <a:pt x="30" y="23"/>
                      </a:cubicBezTo>
                      <a:cubicBezTo>
                        <a:pt x="32" y="23"/>
                        <a:pt x="33" y="21"/>
                        <a:pt x="33" y="20"/>
                      </a:cubicBezTo>
                      <a:cubicBezTo>
                        <a:pt x="33" y="17"/>
                        <a:pt x="31" y="16"/>
                        <a:pt x="31" y="13"/>
                      </a:cubicBezTo>
                      <a:cubicBezTo>
                        <a:pt x="31" y="11"/>
                        <a:pt x="33" y="8"/>
                        <a:pt x="33" y="8"/>
                      </a:cubicBezTo>
                      <a:cubicBezTo>
                        <a:pt x="35" y="3"/>
                        <a:pt x="35" y="3"/>
                        <a:pt x="35" y="3"/>
                      </a:cubicBezTo>
                      <a:cubicBezTo>
                        <a:pt x="28" y="2"/>
                        <a:pt x="25" y="6"/>
                        <a:pt x="20" y="6"/>
                      </a:cubicBezTo>
                      <a:cubicBezTo>
                        <a:pt x="14" y="6"/>
                        <a:pt x="10" y="0"/>
                        <a:pt x="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12" name="Freeform 32"/>
                <p:cNvSpPr>
                  <a:spLocks/>
                </p:cNvSpPr>
                <p:nvPr/>
              </p:nvSpPr>
              <p:spPr bwMode="auto">
                <a:xfrm>
                  <a:off x="4527550" y="2111375"/>
                  <a:ext cx="15875" cy="30163"/>
                </a:xfrm>
                <a:custGeom>
                  <a:avLst/>
                  <a:gdLst/>
                  <a:ahLst/>
                  <a:cxnLst>
                    <a:cxn ang="0">
                      <a:pos x="3" y="5"/>
                    </a:cxn>
                    <a:cxn ang="0">
                      <a:pos x="10" y="0"/>
                    </a:cxn>
                    <a:cxn ang="0">
                      <a:pos x="12" y="5"/>
                    </a:cxn>
                    <a:cxn ang="0">
                      <a:pos x="8" y="23"/>
                    </a:cxn>
                    <a:cxn ang="0">
                      <a:pos x="0" y="6"/>
                    </a:cxn>
                    <a:cxn ang="0">
                      <a:pos x="3" y="5"/>
                    </a:cxn>
                  </a:cxnLst>
                  <a:rect l="0" t="0" r="r" b="b"/>
                  <a:pathLst>
                    <a:path w="12" h="23">
                      <a:moveTo>
                        <a:pt x="3" y="5"/>
                      </a:moveTo>
                      <a:cubicBezTo>
                        <a:pt x="6" y="5"/>
                        <a:pt x="8" y="1"/>
                        <a:pt x="10" y="0"/>
                      </a:cubicBezTo>
                      <a:cubicBezTo>
                        <a:pt x="10" y="3"/>
                        <a:pt x="11" y="5"/>
                        <a:pt x="12" y="5"/>
                      </a:cubicBezTo>
                      <a:cubicBezTo>
                        <a:pt x="11" y="11"/>
                        <a:pt x="10" y="20"/>
                        <a:pt x="8" y="23"/>
                      </a:cubicBezTo>
                      <a:cubicBezTo>
                        <a:pt x="4" y="22"/>
                        <a:pt x="2" y="9"/>
                        <a:pt x="0" y="6"/>
                      </a:cubicBezTo>
                      <a:cubicBezTo>
                        <a:pt x="1" y="6"/>
                        <a:pt x="2" y="5"/>
                        <a:pt x="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13" name="Freeform 33"/>
                <p:cNvSpPr>
                  <a:spLocks/>
                </p:cNvSpPr>
                <p:nvPr/>
              </p:nvSpPr>
              <p:spPr bwMode="auto">
                <a:xfrm>
                  <a:off x="4524375" y="2144713"/>
                  <a:ext cx="25400" cy="44450"/>
                </a:xfrm>
                <a:custGeom>
                  <a:avLst/>
                  <a:gdLst/>
                  <a:ahLst/>
                  <a:cxnLst>
                    <a:cxn ang="0">
                      <a:pos x="5" y="15"/>
                    </a:cxn>
                    <a:cxn ang="0">
                      <a:pos x="0" y="6"/>
                    </a:cxn>
                    <a:cxn ang="0">
                      <a:pos x="9" y="0"/>
                    </a:cxn>
                    <a:cxn ang="0">
                      <a:pos x="15" y="3"/>
                    </a:cxn>
                    <a:cxn ang="0">
                      <a:pos x="18" y="21"/>
                    </a:cxn>
                    <a:cxn ang="0">
                      <a:pos x="6" y="33"/>
                    </a:cxn>
                    <a:cxn ang="0">
                      <a:pos x="2" y="24"/>
                    </a:cxn>
                    <a:cxn ang="0">
                      <a:pos x="5" y="15"/>
                    </a:cxn>
                  </a:cxnLst>
                  <a:rect l="0" t="0" r="r" b="b"/>
                  <a:pathLst>
                    <a:path w="19" h="33">
                      <a:moveTo>
                        <a:pt x="5" y="15"/>
                      </a:moveTo>
                      <a:cubicBezTo>
                        <a:pt x="5" y="12"/>
                        <a:pt x="1" y="9"/>
                        <a:pt x="0" y="6"/>
                      </a:cubicBezTo>
                      <a:cubicBezTo>
                        <a:pt x="5" y="4"/>
                        <a:pt x="5" y="0"/>
                        <a:pt x="9" y="0"/>
                      </a:cubicBezTo>
                      <a:cubicBezTo>
                        <a:pt x="13" y="0"/>
                        <a:pt x="14" y="3"/>
                        <a:pt x="15" y="3"/>
                      </a:cubicBezTo>
                      <a:cubicBezTo>
                        <a:pt x="19" y="10"/>
                        <a:pt x="18" y="14"/>
                        <a:pt x="18" y="21"/>
                      </a:cubicBezTo>
                      <a:cubicBezTo>
                        <a:pt x="18" y="27"/>
                        <a:pt x="10" y="33"/>
                        <a:pt x="6" y="33"/>
                      </a:cubicBezTo>
                      <a:cubicBezTo>
                        <a:pt x="2" y="33"/>
                        <a:pt x="2" y="27"/>
                        <a:pt x="2" y="24"/>
                      </a:cubicBezTo>
                      <a:cubicBezTo>
                        <a:pt x="2" y="20"/>
                        <a:pt x="5" y="18"/>
                        <a:pt x="5"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14" name="Freeform 34"/>
                <p:cNvSpPr>
                  <a:spLocks/>
                </p:cNvSpPr>
                <p:nvPr/>
              </p:nvSpPr>
              <p:spPr bwMode="auto">
                <a:xfrm>
                  <a:off x="4429125" y="2171700"/>
                  <a:ext cx="12700" cy="9525"/>
                </a:xfrm>
                <a:custGeom>
                  <a:avLst/>
                  <a:gdLst/>
                  <a:ahLst/>
                  <a:cxnLst>
                    <a:cxn ang="0">
                      <a:pos x="9" y="5"/>
                    </a:cxn>
                    <a:cxn ang="0">
                      <a:pos x="6" y="7"/>
                    </a:cxn>
                    <a:cxn ang="0">
                      <a:pos x="0" y="3"/>
                    </a:cxn>
                    <a:cxn ang="0">
                      <a:pos x="7" y="0"/>
                    </a:cxn>
                    <a:cxn ang="0">
                      <a:pos x="9" y="5"/>
                    </a:cxn>
                  </a:cxnLst>
                  <a:rect l="0" t="0" r="r" b="b"/>
                  <a:pathLst>
                    <a:path w="9" h="7">
                      <a:moveTo>
                        <a:pt x="9" y="5"/>
                      </a:moveTo>
                      <a:cubicBezTo>
                        <a:pt x="9" y="6"/>
                        <a:pt x="7" y="7"/>
                        <a:pt x="6" y="7"/>
                      </a:cubicBezTo>
                      <a:cubicBezTo>
                        <a:pt x="4" y="7"/>
                        <a:pt x="1" y="3"/>
                        <a:pt x="0" y="3"/>
                      </a:cubicBezTo>
                      <a:cubicBezTo>
                        <a:pt x="3" y="2"/>
                        <a:pt x="5" y="0"/>
                        <a:pt x="7" y="0"/>
                      </a:cubicBezTo>
                      <a:cubicBezTo>
                        <a:pt x="7" y="1"/>
                        <a:pt x="9" y="3"/>
                        <a:pt x="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15" name="Freeform 35"/>
                <p:cNvSpPr>
                  <a:spLocks/>
                </p:cNvSpPr>
                <p:nvPr/>
              </p:nvSpPr>
              <p:spPr bwMode="auto">
                <a:xfrm>
                  <a:off x="4551363" y="1833563"/>
                  <a:ext cx="15875" cy="19050"/>
                </a:xfrm>
                <a:custGeom>
                  <a:avLst/>
                  <a:gdLst/>
                  <a:ahLst/>
                  <a:cxnLst>
                    <a:cxn ang="0">
                      <a:pos x="11" y="10"/>
                    </a:cxn>
                    <a:cxn ang="0">
                      <a:pos x="0" y="5"/>
                    </a:cxn>
                    <a:cxn ang="0">
                      <a:pos x="0" y="0"/>
                    </a:cxn>
                    <a:cxn ang="0">
                      <a:pos x="9" y="0"/>
                    </a:cxn>
                    <a:cxn ang="0">
                      <a:pos x="12" y="9"/>
                    </a:cxn>
                    <a:cxn ang="0">
                      <a:pos x="11" y="14"/>
                    </a:cxn>
                    <a:cxn ang="0">
                      <a:pos x="11" y="10"/>
                    </a:cxn>
                  </a:cxnLst>
                  <a:rect l="0" t="0" r="r" b="b"/>
                  <a:pathLst>
                    <a:path w="12" h="14">
                      <a:moveTo>
                        <a:pt x="11" y="10"/>
                      </a:moveTo>
                      <a:cubicBezTo>
                        <a:pt x="5" y="10"/>
                        <a:pt x="0" y="9"/>
                        <a:pt x="0" y="5"/>
                      </a:cubicBezTo>
                      <a:cubicBezTo>
                        <a:pt x="0" y="3"/>
                        <a:pt x="0" y="2"/>
                        <a:pt x="0" y="0"/>
                      </a:cubicBezTo>
                      <a:cubicBezTo>
                        <a:pt x="9" y="0"/>
                        <a:pt x="9" y="0"/>
                        <a:pt x="9" y="0"/>
                      </a:cubicBezTo>
                      <a:cubicBezTo>
                        <a:pt x="9" y="6"/>
                        <a:pt x="12" y="5"/>
                        <a:pt x="12" y="9"/>
                      </a:cubicBezTo>
                      <a:cubicBezTo>
                        <a:pt x="12" y="13"/>
                        <a:pt x="11" y="12"/>
                        <a:pt x="11" y="14"/>
                      </a:cubicBezTo>
                      <a:cubicBezTo>
                        <a:pt x="11" y="13"/>
                        <a:pt x="11" y="12"/>
                        <a:pt x="11"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16" name="Freeform 37"/>
                <p:cNvSpPr>
                  <a:spLocks/>
                </p:cNvSpPr>
                <p:nvPr/>
              </p:nvSpPr>
              <p:spPr bwMode="auto">
                <a:xfrm>
                  <a:off x="4684713" y="1773238"/>
                  <a:ext cx="15875" cy="23813"/>
                </a:xfrm>
                <a:custGeom>
                  <a:avLst/>
                  <a:gdLst/>
                  <a:ahLst/>
                  <a:cxnLst>
                    <a:cxn ang="0">
                      <a:pos x="8" y="6"/>
                    </a:cxn>
                    <a:cxn ang="0">
                      <a:pos x="1" y="17"/>
                    </a:cxn>
                    <a:cxn ang="0">
                      <a:pos x="1" y="11"/>
                    </a:cxn>
                    <a:cxn ang="0">
                      <a:pos x="11" y="0"/>
                    </a:cxn>
                    <a:cxn ang="0">
                      <a:pos x="8" y="6"/>
                    </a:cxn>
                  </a:cxnLst>
                  <a:rect l="0" t="0" r="r" b="b"/>
                  <a:pathLst>
                    <a:path w="11" h="17">
                      <a:moveTo>
                        <a:pt x="8" y="6"/>
                      </a:moveTo>
                      <a:cubicBezTo>
                        <a:pt x="8" y="11"/>
                        <a:pt x="4" y="13"/>
                        <a:pt x="1" y="17"/>
                      </a:cubicBezTo>
                      <a:cubicBezTo>
                        <a:pt x="0" y="15"/>
                        <a:pt x="1" y="14"/>
                        <a:pt x="1" y="11"/>
                      </a:cubicBezTo>
                      <a:cubicBezTo>
                        <a:pt x="1" y="9"/>
                        <a:pt x="3" y="1"/>
                        <a:pt x="11" y="0"/>
                      </a:cubicBezTo>
                      <a:cubicBezTo>
                        <a:pt x="10" y="2"/>
                        <a:pt x="8" y="4"/>
                        <a:pt x="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17" name="Freeform 38"/>
                <p:cNvSpPr>
                  <a:spLocks/>
                </p:cNvSpPr>
                <p:nvPr/>
              </p:nvSpPr>
              <p:spPr bwMode="auto">
                <a:xfrm>
                  <a:off x="4746625" y="1744663"/>
                  <a:ext cx="20638" cy="26988"/>
                </a:xfrm>
                <a:custGeom>
                  <a:avLst/>
                  <a:gdLst/>
                  <a:ahLst/>
                  <a:cxnLst>
                    <a:cxn ang="0">
                      <a:pos x="12" y="10"/>
                    </a:cxn>
                    <a:cxn ang="0">
                      <a:pos x="12" y="16"/>
                    </a:cxn>
                    <a:cxn ang="0">
                      <a:pos x="5" y="20"/>
                    </a:cxn>
                    <a:cxn ang="0">
                      <a:pos x="0" y="13"/>
                    </a:cxn>
                    <a:cxn ang="0">
                      <a:pos x="10" y="10"/>
                    </a:cxn>
                    <a:cxn ang="0">
                      <a:pos x="7" y="5"/>
                    </a:cxn>
                    <a:cxn ang="0">
                      <a:pos x="11" y="0"/>
                    </a:cxn>
                    <a:cxn ang="0">
                      <a:pos x="16" y="5"/>
                    </a:cxn>
                    <a:cxn ang="0">
                      <a:pos x="12" y="10"/>
                    </a:cxn>
                  </a:cxnLst>
                  <a:rect l="0" t="0" r="r" b="b"/>
                  <a:pathLst>
                    <a:path w="16" h="20">
                      <a:moveTo>
                        <a:pt x="12" y="10"/>
                      </a:moveTo>
                      <a:cubicBezTo>
                        <a:pt x="12" y="12"/>
                        <a:pt x="12" y="14"/>
                        <a:pt x="12" y="16"/>
                      </a:cubicBezTo>
                      <a:cubicBezTo>
                        <a:pt x="12" y="17"/>
                        <a:pt x="6" y="20"/>
                        <a:pt x="5" y="20"/>
                      </a:cubicBezTo>
                      <a:cubicBezTo>
                        <a:pt x="1" y="20"/>
                        <a:pt x="0" y="16"/>
                        <a:pt x="0" y="13"/>
                      </a:cubicBezTo>
                      <a:cubicBezTo>
                        <a:pt x="4" y="13"/>
                        <a:pt x="6" y="10"/>
                        <a:pt x="10" y="10"/>
                      </a:cubicBezTo>
                      <a:cubicBezTo>
                        <a:pt x="9" y="8"/>
                        <a:pt x="7" y="7"/>
                        <a:pt x="7" y="5"/>
                      </a:cubicBezTo>
                      <a:cubicBezTo>
                        <a:pt x="7" y="2"/>
                        <a:pt x="11" y="0"/>
                        <a:pt x="11" y="0"/>
                      </a:cubicBezTo>
                      <a:cubicBezTo>
                        <a:pt x="13" y="3"/>
                        <a:pt x="14" y="4"/>
                        <a:pt x="16" y="5"/>
                      </a:cubicBezTo>
                      <a:cubicBezTo>
                        <a:pt x="15" y="7"/>
                        <a:pt x="13" y="10"/>
                        <a:pt x="12"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grpSp>
        </p:grpSp>
        <p:grpSp>
          <p:nvGrpSpPr>
            <p:cNvPr id="16" name="Group 363"/>
            <p:cNvGrpSpPr/>
            <p:nvPr/>
          </p:nvGrpSpPr>
          <p:grpSpPr>
            <a:xfrm>
              <a:off x="5105582" y="3000650"/>
              <a:ext cx="941496" cy="822457"/>
              <a:chOff x="6275388" y="2879725"/>
              <a:chExt cx="966788" cy="844551"/>
            </a:xfrm>
            <a:grpFill/>
          </p:grpSpPr>
          <p:sp>
            <p:nvSpPr>
              <p:cNvPr id="85" name="Freeform 9"/>
              <p:cNvSpPr>
                <a:spLocks/>
              </p:cNvSpPr>
              <p:nvPr/>
            </p:nvSpPr>
            <p:spPr bwMode="auto">
              <a:xfrm>
                <a:off x="6567488" y="2879725"/>
                <a:ext cx="339725" cy="176213"/>
              </a:xfrm>
              <a:custGeom>
                <a:avLst/>
                <a:gdLst/>
                <a:ahLst/>
                <a:cxnLst>
                  <a:cxn ang="0">
                    <a:pos x="128" y="28"/>
                  </a:cxn>
                  <a:cxn ang="0">
                    <a:pos x="160" y="39"/>
                  </a:cxn>
                  <a:cxn ang="0">
                    <a:pos x="173" y="45"/>
                  </a:cxn>
                  <a:cxn ang="0">
                    <a:pos x="179" y="49"/>
                  </a:cxn>
                  <a:cxn ang="0">
                    <a:pos x="203" y="71"/>
                  </a:cxn>
                  <a:cxn ang="0">
                    <a:pos x="217" y="78"/>
                  </a:cxn>
                  <a:cxn ang="0">
                    <a:pos x="208" y="85"/>
                  </a:cxn>
                  <a:cxn ang="0">
                    <a:pos x="217" y="96"/>
                  </a:cxn>
                  <a:cxn ang="0">
                    <a:pos x="224" y="108"/>
                  </a:cxn>
                  <a:cxn ang="0">
                    <a:pos x="233" y="113"/>
                  </a:cxn>
                  <a:cxn ang="0">
                    <a:pos x="237" y="118"/>
                  </a:cxn>
                  <a:cxn ang="0">
                    <a:pos x="242" y="119"/>
                  </a:cxn>
                  <a:cxn ang="0">
                    <a:pos x="247" y="124"/>
                  </a:cxn>
                  <a:cxn ang="0">
                    <a:pos x="255" y="126"/>
                  </a:cxn>
                  <a:cxn ang="0">
                    <a:pos x="250" y="133"/>
                  </a:cxn>
                  <a:cxn ang="0">
                    <a:pos x="247" y="133"/>
                  </a:cxn>
                  <a:cxn ang="0">
                    <a:pos x="239" y="127"/>
                  </a:cxn>
                  <a:cxn ang="0">
                    <a:pos x="227" y="127"/>
                  </a:cxn>
                  <a:cxn ang="0">
                    <a:pos x="210" y="116"/>
                  </a:cxn>
                  <a:cxn ang="0">
                    <a:pos x="206" y="113"/>
                  </a:cxn>
                  <a:cxn ang="0">
                    <a:pos x="175" y="92"/>
                  </a:cxn>
                  <a:cxn ang="0">
                    <a:pos x="158" y="103"/>
                  </a:cxn>
                  <a:cxn ang="0">
                    <a:pos x="156" y="113"/>
                  </a:cxn>
                  <a:cxn ang="0">
                    <a:pos x="139" y="113"/>
                  </a:cxn>
                  <a:cxn ang="0">
                    <a:pos x="113" y="100"/>
                  </a:cxn>
                  <a:cxn ang="0">
                    <a:pos x="107" y="102"/>
                  </a:cxn>
                  <a:cxn ang="0">
                    <a:pos x="98" y="102"/>
                  </a:cxn>
                  <a:cxn ang="0">
                    <a:pos x="90" y="99"/>
                  </a:cxn>
                  <a:cxn ang="0">
                    <a:pos x="101" y="90"/>
                  </a:cxn>
                  <a:cxn ang="0">
                    <a:pos x="96" y="71"/>
                  </a:cxn>
                  <a:cxn ang="0">
                    <a:pos x="77" y="59"/>
                  </a:cxn>
                  <a:cxn ang="0">
                    <a:pos x="53" y="54"/>
                  </a:cxn>
                  <a:cxn ang="0">
                    <a:pos x="37" y="45"/>
                  </a:cxn>
                  <a:cxn ang="0">
                    <a:pos x="37" y="41"/>
                  </a:cxn>
                  <a:cxn ang="0">
                    <a:pos x="30" y="49"/>
                  </a:cxn>
                  <a:cxn ang="0">
                    <a:pos x="26" y="48"/>
                  </a:cxn>
                  <a:cxn ang="0">
                    <a:pos x="24" y="38"/>
                  </a:cxn>
                  <a:cxn ang="0">
                    <a:pos x="16" y="33"/>
                  </a:cxn>
                  <a:cxn ang="0">
                    <a:pos x="38" y="25"/>
                  </a:cxn>
                  <a:cxn ang="0">
                    <a:pos x="35" y="25"/>
                  </a:cxn>
                  <a:cxn ang="0">
                    <a:pos x="23" y="27"/>
                  </a:cxn>
                  <a:cxn ang="0">
                    <a:pos x="16" y="26"/>
                  </a:cxn>
                  <a:cxn ang="0">
                    <a:pos x="14" y="22"/>
                  </a:cxn>
                  <a:cxn ang="0">
                    <a:pos x="0" y="12"/>
                  </a:cxn>
                  <a:cxn ang="0">
                    <a:pos x="6" y="8"/>
                  </a:cxn>
                  <a:cxn ang="0">
                    <a:pos x="23" y="0"/>
                  </a:cxn>
                  <a:cxn ang="0">
                    <a:pos x="44" y="9"/>
                  </a:cxn>
                  <a:cxn ang="0">
                    <a:pos x="44" y="25"/>
                  </a:cxn>
                  <a:cxn ang="0">
                    <a:pos x="50" y="29"/>
                  </a:cxn>
                  <a:cxn ang="0">
                    <a:pos x="59" y="38"/>
                  </a:cxn>
                  <a:cxn ang="0">
                    <a:pos x="67" y="30"/>
                  </a:cxn>
                  <a:cxn ang="0">
                    <a:pos x="78" y="25"/>
                  </a:cxn>
                  <a:cxn ang="0">
                    <a:pos x="92" y="14"/>
                  </a:cxn>
                  <a:cxn ang="0">
                    <a:pos x="98" y="17"/>
                  </a:cxn>
                  <a:cxn ang="0">
                    <a:pos x="109" y="25"/>
                  </a:cxn>
                  <a:cxn ang="0">
                    <a:pos x="121" y="25"/>
                  </a:cxn>
                  <a:cxn ang="0">
                    <a:pos x="130" y="29"/>
                  </a:cxn>
                  <a:cxn ang="0">
                    <a:pos x="130" y="30"/>
                  </a:cxn>
                  <a:cxn ang="0">
                    <a:pos x="128" y="28"/>
                  </a:cxn>
                </a:cxnLst>
                <a:rect l="0" t="0" r="r" b="b"/>
                <a:pathLst>
                  <a:path w="255" h="133">
                    <a:moveTo>
                      <a:pt x="128" y="28"/>
                    </a:moveTo>
                    <a:cubicBezTo>
                      <a:pt x="133" y="33"/>
                      <a:pt x="149" y="39"/>
                      <a:pt x="160" y="39"/>
                    </a:cubicBezTo>
                    <a:cubicBezTo>
                      <a:pt x="165" y="39"/>
                      <a:pt x="168" y="45"/>
                      <a:pt x="173" y="45"/>
                    </a:cubicBezTo>
                    <a:cubicBezTo>
                      <a:pt x="173" y="48"/>
                      <a:pt x="176" y="49"/>
                      <a:pt x="179" y="49"/>
                    </a:cubicBezTo>
                    <a:cubicBezTo>
                      <a:pt x="193" y="54"/>
                      <a:pt x="192" y="66"/>
                      <a:pt x="203" y="71"/>
                    </a:cubicBezTo>
                    <a:cubicBezTo>
                      <a:pt x="207" y="73"/>
                      <a:pt x="217" y="68"/>
                      <a:pt x="217" y="78"/>
                    </a:cubicBezTo>
                    <a:cubicBezTo>
                      <a:pt x="217" y="83"/>
                      <a:pt x="208" y="81"/>
                      <a:pt x="208" y="85"/>
                    </a:cubicBezTo>
                    <a:cubicBezTo>
                      <a:pt x="208" y="87"/>
                      <a:pt x="216" y="95"/>
                      <a:pt x="217" y="96"/>
                    </a:cubicBezTo>
                    <a:cubicBezTo>
                      <a:pt x="221" y="100"/>
                      <a:pt x="220" y="103"/>
                      <a:pt x="224" y="108"/>
                    </a:cubicBezTo>
                    <a:cubicBezTo>
                      <a:pt x="225" y="111"/>
                      <a:pt x="230" y="113"/>
                      <a:pt x="233" y="113"/>
                    </a:cubicBezTo>
                    <a:cubicBezTo>
                      <a:pt x="235" y="113"/>
                      <a:pt x="236" y="116"/>
                      <a:pt x="237" y="118"/>
                    </a:cubicBezTo>
                    <a:cubicBezTo>
                      <a:pt x="238" y="120"/>
                      <a:pt x="240" y="118"/>
                      <a:pt x="242" y="119"/>
                    </a:cubicBezTo>
                    <a:cubicBezTo>
                      <a:pt x="245" y="119"/>
                      <a:pt x="246" y="122"/>
                      <a:pt x="247" y="124"/>
                    </a:cubicBezTo>
                    <a:cubicBezTo>
                      <a:pt x="247" y="126"/>
                      <a:pt x="254" y="125"/>
                      <a:pt x="255" y="126"/>
                    </a:cubicBezTo>
                    <a:cubicBezTo>
                      <a:pt x="253" y="127"/>
                      <a:pt x="250" y="130"/>
                      <a:pt x="250" y="133"/>
                    </a:cubicBezTo>
                    <a:cubicBezTo>
                      <a:pt x="249" y="133"/>
                      <a:pt x="248" y="133"/>
                      <a:pt x="247" y="133"/>
                    </a:cubicBezTo>
                    <a:cubicBezTo>
                      <a:pt x="246" y="133"/>
                      <a:pt x="240" y="128"/>
                      <a:pt x="239" y="127"/>
                    </a:cubicBezTo>
                    <a:cubicBezTo>
                      <a:pt x="227" y="127"/>
                      <a:pt x="227" y="127"/>
                      <a:pt x="227" y="127"/>
                    </a:cubicBezTo>
                    <a:cubicBezTo>
                      <a:pt x="221" y="126"/>
                      <a:pt x="210" y="121"/>
                      <a:pt x="210" y="116"/>
                    </a:cubicBezTo>
                    <a:cubicBezTo>
                      <a:pt x="210" y="115"/>
                      <a:pt x="207" y="114"/>
                      <a:pt x="206" y="113"/>
                    </a:cubicBezTo>
                    <a:cubicBezTo>
                      <a:pt x="197" y="104"/>
                      <a:pt x="189" y="92"/>
                      <a:pt x="175" y="92"/>
                    </a:cubicBezTo>
                    <a:cubicBezTo>
                      <a:pt x="164" y="92"/>
                      <a:pt x="165" y="100"/>
                      <a:pt x="158" y="103"/>
                    </a:cubicBezTo>
                    <a:cubicBezTo>
                      <a:pt x="160" y="108"/>
                      <a:pt x="156" y="110"/>
                      <a:pt x="156" y="113"/>
                    </a:cubicBezTo>
                    <a:cubicBezTo>
                      <a:pt x="146" y="113"/>
                      <a:pt x="144" y="113"/>
                      <a:pt x="139" y="113"/>
                    </a:cubicBezTo>
                    <a:cubicBezTo>
                      <a:pt x="128" y="113"/>
                      <a:pt x="125" y="100"/>
                      <a:pt x="113" y="100"/>
                    </a:cubicBezTo>
                    <a:cubicBezTo>
                      <a:pt x="112" y="100"/>
                      <a:pt x="107" y="100"/>
                      <a:pt x="107" y="102"/>
                    </a:cubicBezTo>
                    <a:cubicBezTo>
                      <a:pt x="98" y="102"/>
                      <a:pt x="98" y="102"/>
                      <a:pt x="98" y="102"/>
                    </a:cubicBezTo>
                    <a:cubicBezTo>
                      <a:pt x="94" y="102"/>
                      <a:pt x="90" y="102"/>
                      <a:pt x="90" y="99"/>
                    </a:cubicBezTo>
                    <a:cubicBezTo>
                      <a:pt x="90" y="93"/>
                      <a:pt x="99" y="91"/>
                      <a:pt x="101" y="90"/>
                    </a:cubicBezTo>
                    <a:cubicBezTo>
                      <a:pt x="95" y="84"/>
                      <a:pt x="98" y="78"/>
                      <a:pt x="96" y="71"/>
                    </a:cubicBezTo>
                    <a:cubicBezTo>
                      <a:pt x="94" y="66"/>
                      <a:pt x="82" y="61"/>
                      <a:pt x="77" y="59"/>
                    </a:cubicBezTo>
                    <a:cubicBezTo>
                      <a:pt x="72" y="56"/>
                      <a:pt x="60" y="54"/>
                      <a:pt x="53" y="54"/>
                    </a:cubicBezTo>
                    <a:cubicBezTo>
                      <a:pt x="47" y="54"/>
                      <a:pt x="44" y="43"/>
                      <a:pt x="37" y="45"/>
                    </a:cubicBezTo>
                    <a:cubicBezTo>
                      <a:pt x="37" y="41"/>
                      <a:pt x="37" y="41"/>
                      <a:pt x="37" y="41"/>
                    </a:cubicBezTo>
                    <a:cubicBezTo>
                      <a:pt x="36" y="44"/>
                      <a:pt x="34" y="49"/>
                      <a:pt x="30" y="49"/>
                    </a:cubicBezTo>
                    <a:cubicBezTo>
                      <a:pt x="29" y="49"/>
                      <a:pt x="26" y="49"/>
                      <a:pt x="26" y="48"/>
                    </a:cubicBezTo>
                    <a:cubicBezTo>
                      <a:pt x="24" y="43"/>
                      <a:pt x="26" y="41"/>
                      <a:pt x="24" y="38"/>
                    </a:cubicBezTo>
                    <a:cubicBezTo>
                      <a:pt x="22" y="34"/>
                      <a:pt x="17" y="36"/>
                      <a:pt x="16" y="33"/>
                    </a:cubicBezTo>
                    <a:cubicBezTo>
                      <a:pt x="22" y="29"/>
                      <a:pt x="35" y="30"/>
                      <a:pt x="38" y="25"/>
                    </a:cubicBezTo>
                    <a:cubicBezTo>
                      <a:pt x="35" y="25"/>
                      <a:pt x="35" y="25"/>
                      <a:pt x="35" y="25"/>
                    </a:cubicBezTo>
                    <a:cubicBezTo>
                      <a:pt x="30" y="26"/>
                      <a:pt x="27" y="27"/>
                      <a:pt x="23" y="27"/>
                    </a:cubicBezTo>
                    <a:cubicBezTo>
                      <a:pt x="20" y="27"/>
                      <a:pt x="19" y="26"/>
                      <a:pt x="16" y="26"/>
                    </a:cubicBezTo>
                    <a:cubicBezTo>
                      <a:pt x="15" y="25"/>
                      <a:pt x="14" y="23"/>
                      <a:pt x="14" y="22"/>
                    </a:cubicBezTo>
                    <a:cubicBezTo>
                      <a:pt x="11" y="15"/>
                      <a:pt x="0" y="18"/>
                      <a:pt x="0" y="12"/>
                    </a:cubicBezTo>
                    <a:cubicBezTo>
                      <a:pt x="0" y="9"/>
                      <a:pt x="4" y="8"/>
                      <a:pt x="6" y="8"/>
                    </a:cubicBezTo>
                    <a:cubicBezTo>
                      <a:pt x="12" y="8"/>
                      <a:pt x="15" y="0"/>
                      <a:pt x="23" y="0"/>
                    </a:cubicBezTo>
                    <a:cubicBezTo>
                      <a:pt x="30" y="0"/>
                      <a:pt x="36" y="7"/>
                      <a:pt x="44" y="9"/>
                    </a:cubicBezTo>
                    <a:cubicBezTo>
                      <a:pt x="44" y="15"/>
                      <a:pt x="44" y="22"/>
                      <a:pt x="44" y="25"/>
                    </a:cubicBezTo>
                    <a:cubicBezTo>
                      <a:pt x="44" y="27"/>
                      <a:pt x="46" y="29"/>
                      <a:pt x="50" y="29"/>
                    </a:cubicBezTo>
                    <a:cubicBezTo>
                      <a:pt x="50" y="31"/>
                      <a:pt x="56" y="38"/>
                      <a:pt x="59" y="38"/>
                    </a:cubicBezTo>
                    <a:cubicBezTo>
                      <a:pt x="62" y="38"/>
                      <a:pt x="66" y="31"/>
                      <a:pt x="67" y="30"/>
                    </a:cubicBezTo>
                    <a:cubicBezTo>
                      <a:pt x="71" y="27"/>
                      <a:pt x="71" y="26"/>
                      <a:pt x="78" y="25"/>
                    </a:cubicBezTo>
                    <a:cubicBezTo>
                      <a:pt x="82" y="23"/>
                      <a:pt x="87" y="15"/>
                      <a:pt x="92" y="14"/>
                    </a:cubicBezTo>
                    <a:cubicBezTo>
                      <a:pt x="93" y="17"/>
                      <a:pt x="96" y="16"/>
                      <a:pt x="98" y="17"/>
                    </a:cubicBezTo>
                    <a:cubicBezTo>
                      <a:pt x="103" y="18"/>
                      <a:pt x="106" y="24"/>
                      <a:pt x="109" y="25"/>
                    </a:cubicBezTo>
                    <a:cubicBezTo>
                      <a:pt x="121" y="25"/>
                      <a:pt x="121" y="25"/>
                      <a:pt x="121" y="25"/>
                    </a:cubicBezTo>
                    <a:cubicBezTo>
                      <a:pt x="123" y="27"/>
                      <a:pt x="128" y="29"/>
                      <a:pt x="130" y="29"/>
                    </a:cubicBezTo>
                    <a:cubicBezTo>
                      <a:pt x="130" y="30"/>
                      <a:pt x="130" y="30"/>
                      <a:pt x="130" y="30"/>
                    </a:cubicBezTo>
                    <a:lnTo>
                      <a:pt x="128"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grpSp>
            <p:nvGrpSpPr>
              <p:cNvPr id="86" name="Group 361"/>
              <p:cNvGrpSpPr/>
              <p:nvPr/>
            </p:nvGrpSpPr>
            <p:grpSpPr>
              <a:xfrm>
                <a:off x="6275388" y="2917825"/>
                <a:ext cx="966788" cy="806451"/>
                <a:chOff x="6275388" y="2917825"/>
                <a:chExt cx="966788" cy="806451"/>
              </a:xfrm>
              <a:grpFill/>
            </p:grpSpPr>
            <p:sp>
              <p:nvSpPr>
                <p:cNvPr id="87" name="Freeform 7"/>
                <p:cNvSpPr>
                  <a:spLocks/>
                </p:cNvSpPr>
                <p:nvPr/>
              </p:nvSpPr>
              <p:spPr bwMode="auto">
                <a:xfrm>
                  <a:off x="6623050" y="2968625"/>
                  <a:ext cx="11113" cy="25400"/>
                </a:xfrm>
                <a:custGeom>
                  <a:avLst/>
                  <a:gdLst/>
                  <a:ahLst/>
                  <a:cxnLst>
                    <a:cxn ang="0">
                      <a:pos x="7" y="0"/>
                    </a:cxn>
                    <a:cxn ang="0">
                      <a:pos x="8" y="5"/>
                    </a:cxn>
                    <a:cxn ang="0">
                      <a:pos x="5" y="9"/>
                    </a:cxn>
                    <a:cxn ang="0">
                      <a:pos x="2" y="19"/>
                    </a:cxn>
                    <a:cxn ang="0">
                      <a:pos x="0" y="15"/>
                    </a:cxn>
                    <a:cxn ang="0">
                      <a:pos x="4" y="8"/>
                    </a:cxn>
                    <a:cxn ang="0">
                      <a:pos x="7" y="0"/>
                    </a:cxn>
                  </a:cxnLst>
                  <a:rect l="0" t="0" r="r" b="b"/>
                  <a:pathLst>
                    <a:path w="8" h="19">
                      <a:moveTo>
                        <a:pt x="7" y="0"/>
                      </a:moveTo>
                      <a:cubicBezTo>
                        <a:pt x="7" y="4"/>
                        <a:pt x="8" y="2"/>
                        <a:pt x="8" y="5"/>
                      </a:cubicBezTo>
                      <a:cubicBezTo>
                        <a:pt x="8" y="8"/>
                        <a:pt x="7" y="9"/>
                        <a:pt x="5" y="9"/>
                      </a:cubicBezTo>
                      <a:cubicBezTo>
                        <a:pt x="5" y="14"/>
                        <a:pt x="6" y="19"/>
                        <a:pt x="2" y="19"/>
                      </a:cubicBezTo>
                      <a:cubicBezTo>
                        <a:pt x="1" y="19"/>
                        <a:pt x="0" y="16"/>
                        <a:pt x="0" y="15"/>
                      </a:cubicBezTo>
                      <a:cubicBezTo>
                        <a:pt x="0" y="11"/>
                        <a:pt x="4" y="10"/>
                        <a:pt x="4" y="8"/>
                      </a:cubicBezTo>
                      <a:cubicBezTo>
                        <a:pt x="4" y="4"/>
                        <a:pt x="3" y="0"/>
                        <a:pt x="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88" name="Freeform 8"/>
                <p:cNvSpPr>
                  <a:spLocks/>
                </p:cNvSpPr>
                <p:nvPr/>
              </p:nvSpPr>
              <p:spPr bwMode="auto">
                <a:xfrm>
                  <a:off x="6867525" y="2944813"/>
                  <a:ext cx="65088" cy="38100"/>
                </a:xfrm>
                <a:custGeom>
                  <a:avLst/>
                  <a:gdLst/>
                  <a:ahLst/>
                  <a:cxnLst>
                    <a:cxn ang="0">
                      <a:pos x="13" y="27"/>
                    </a:cxn>
                    <a:cxn ang="0">
                      <a:pos x="0" y="18"/>
                    </a:cxn>
                    <a:cxn ang="0">
                      <a:pos x="13" y="18"/>
                    </a:cxn>
                    <a:cxn ang="0">
                      <a:pos x="18" y="17"/>
                    </a:cxn>
                    <a:cxn ang="0">
                      <a:pos x="35" y="13"/>
                    </a:cxn>
                    <a:cxn ang="0">
                      <a:pos x="45" y="0"/>
                    </a:cxn>
                    <a:cxn ang="0">
                      <a:pos x="49" y="7"/>
                    </a:cxn>
                    <a:cxn ang="0">
                      <a:pos x="40" y="22"/>
                    </a:cxn>
                    <a:cxn ang="0">
                      <a:pos x="19" y="29"/>
                    </a:cxn>
                    <a:cxn ang="0">
                      <a:pos x="11" y="25"/>
                    </a:cxn>
                    <a:cxn ang="0">
                      <a:pos x="13" y="27"/>
                    </a:cxn>
                  </a:cxnLst>
                  <a:rect l="0" t="0" r="r" b="b"/>
                  <a:pathLst>
                    <a:path w="49" h="29">
                      <a:moveTo>
                        <a:pt x="13" y="27"/>
                      </a:moveTo>
                      <a:cubicBezTo>
                        <a:pt x="9" y="22"/>
                        <a:pt x="1" y="24"/>
                        <a:pt x="0" y="18"/>
                      </a:cubicBezTo>
                      <a:cubicBezTo>
                        <a:pt x="13" y="18"/>
                        <a:pt x="13" y="18"/>
                        <a:pt x="13" y="18"/>
                      </a:cubicBezTo>
                      <a:cubicBezTo>
                        <a:pt x="14" y="18"/>
                        <a:pt x="18" y="17"/>
                        <a:pt x="18" y="17"/>
                      </a:cubicBezTo>
                      <a:cubicBezTo>
                        <a:pt x="25" y="14"/>
                        <a:pt x="31" y="15"/>
                        <a:pt x="35" y="13"/>
                      </a:cubicBezTo>
                      <a:cubicBezTo>
                        <a:pt x="41" y="10"/>
                        <a:pt x="39" y="0"/>
                        <a:pt x="45" y="0"/>
                      </a:cubicBezTo>
                      <a:cubicBezTo>
                        <a:pt x="48" y="0"/>
                        <a:pt x="49" y="4"/>
                        <a:pt x="49" y="7"/>
                      </a:cubicBezTo>
                      <a:cubicBezTo>
                        <a:pt x="49" y="16"/>
                        <a:pt x="40" y="14"/>
                        <a:pt x="40" y="22"/>
                      </a:cubicBezTo>
                      <a:cubicBezTo>
                        <a:pt x="32" y="24"/>
                        <a:pt x="28" y="29"/>
                        <a:pt x="19" y="29"/>
                      </a:cubicBezTo>
                      <a:cubicBezTo>
                        <a:pt x="17" y="29"/>
                        <a:pt x="11" y="26"/>
                        <a:pt x="11" y="25"/>
                      </a:cubicBezTo>
                      <a:lnTo>
                        <a:pt x="13"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89" name="Freeform 10"/>
                <p:cNvSpPr>
                  <a:spLocks/>
                </p:cNvSpPr>
                <p:nvPr/>
              </p:nvSpPr>
              <p:spPr bwMode="auto">
                <a:xfrm>
                  <a:off x="6911975" y="2917825"/>
                  <a:ext cx="34925" cy="34925"/>
                </a:xfrm>
                <a:custGeom>
                  <a:avLst/>
                  <a:gdLst/>
                  <a:ahLst/>
                  <a:cxnLst>
                    <a:cxn ang="0">
                      <a:pos x="23" y="25"/>
                    </a:cxn>
                    <a:cxn ang="0">
                      <a:pos x="19" y="17"/>
                    </a:cxn>
                    <a:cxn ang="0">
                      <a:pos x="8" y="6"/>
                    </a:cxn>
                    <a:cxn ang="0">
                      <a:pos x="0" y="0"/>
                    </a:cxn>
                    <a:cxn ang="0">
                      <a:pos x="18" y="13"/>
                    </a:cxn>
                    <a:cxn ang="0">
                      <a:pos x="26" y="22"/>
                    </a:cxn>
                    <a:cxn ang="0">
                      <a:pos x="26" y="25"/>
                    </a:cxn>
                    <a:cxn ang="0">
                      <a:pos x="23" y="25"/>
                    </a:cxn>
                  </a:cxnLst>
                  <a:rect l="0" t="0" r="r" b="b"/>
                  <a:pathLst>
                    <a:path w="26" h="26">
                      <a:moveTo>
                        <a:pt x="23" y="25"/>
                      </a:moveTo>
                      <a:cubicBezTo>
                        <a:pt x="18" y="24"/>
                        <a:pt x="18" y="21"/>
                        <a:pt x="19" y="17"/>
                      </a:cubicBezTo>
                      <a:cubicBezTo>
                        <a:pt x="13" y="14"/>
                        <a:pt x="14" y="9"/>
                        <a:pt x="8" y="6"/>
                      </a:cubicBezTo>
                      <a:cubicBezTo>
                        <a:pt x="5" y="4"/>
                        <a:pt x="2" y="4"/>
                        <a:pt x="0" y="0"/>
                      </a:cubicBezTo>
                      <a:cubicBezTo>
                        <a:pt x="9" y="3"/>
                        <a:pt x="13" y="8"/>
                        <a:pt x="18" y="13"/>
                      </a:cubicBezTo>
                      <a:cubicBezTo>
                        <a:pt x="21" y="17"/>
                        <a:pt x="26" y="16"/>
                        <a:pt x="26" y="22"/>
                      </a:cubicBezTo>
                      <a:cubicBezTo>
                        <a:pt x="26" y="23"/>
                        <a:pt x="26" y="24"/>
                        <a:pt x="26" y="25"/>
                      </a:cubicBezTo>
                      <a:cubicBezTo>
                        <a:pt x="25" y="25"/>
                        <a:pt x="24" y="26"/>
                        <a:pt x="23"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0" name="Freeform 11"/>
                <p:cNvSpPr>
                  <a:spLocks/>
                </p:cNvSpPr>
                <p:nvPr/>
              </p:nvSpPr>
              <p:spPr bwMode="auto">
                <a:xfrm>
                  <a:off x="6972300" y="2967038"/>
                  <a:ext cx="17463" cy="20638"/>
                </a:xfrm>
                <a:custGeom>
                  <a:avLst/>
                  <a:gdLst/>
                  <a:ahLst/>
                  <a:cxnLst>
                    <a:cxn ang="0">
                      <a:pos x="7" y="9"/>
                    </a:cxn>
                    <a:cxn ang="0">
                      <a:pos x="1" y="0"/>
                    </a:cxn>
                    <a:cxn ang="0">
                      <a:pos x="13" y="12"/>
                    </a:cxn>
                    <a:cxn ang="0">
                      <a:pos x="10" y="16"/>
                    </a:cxn>
                    <a:cxn ang="0">
                      <a:pos x="7" y="13"/>
                    </a:cxn>
                    <a:cxn ang="0">
                      <a:pos x="7" y="9"/>
                    </a:cxn>
                  </a:cxnLst>
                  <a:rect l="0" t="0" r="r" b="b"/>
                  <a:pathLst>
                    <a:path w="13" h="16">
                      <a:moveTo>
                        <a:pt x="7" y="9"/>
                      </a:moveTo>
                      <a:cubicBezTo>
                        <a:pt x="2" y="9"/>
                        <a:pt x="0" y="4"/>
                        <a:pt x="1" y="0"/>
                      </a:cubicBezTo>
                      <a:cubicBezTo>
                        <a:pt x="4" y="1"/>
                        <a:pt x="13" y="11"/>
                        <a:pt x="13" y="12"/>
                      </a:cubicBezTo>
                      <a:cubicBezTo>
                        <a:pt x="13" y="14"/>
                        <a:pt x="11" y="16"/>
                        <a:pt x="10" y="16"/>
                      </a:cubicBezTo>
                      <a:cubicBezTo>
                        <a:pt x="9" y="16"/>
                        <a:pt x="7" y="14"/>
                        <a:pt x="7" y="13"/>
                      </a:cubicBezTo>
                      <a:cubicBezTo>
                        <a:pt x="7" y="12"/>
                        <a:pt x="7" y="11"/>
                        <a:pt x="7"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1" name="Freeform 12"/>
                <p:cNvSpPr>
                  <a:spLocks/>
                </p:cNvSpPr>
                <p:nvPr/>
              </p:nvSpPr>
              <p:spPr bwMode="auto">
                <a:xfrm>
                  <a:off x="7086600" y="3046413"/>
                  <a:ext cx="9525" cy="11113"/>
                </a:xfrm>
                <a:custGeom>
                  <a:avLst/>
                  <a:gdLst/>
                  <a:ahLst/>
                  <a:cxnLst>
                    <a:cxn ang="0">
                      <a:pos x="7" y="6"/>
                    </a:cxn>
                    <a:cxn ang="0">
                      <a:pos x="7" y="9"/>
                    </a:cxn>
                    <a:cxn ang="0">
                      <a:pos x="0" y="0"/>
                    </a:cxn>
                    <a:cxn ang="0">
                      <a:pos x="7" y="6"/>
                    </a:cxn>
                  </a:cxnLst>
                  <a:rect l="0" t="0" r="r" b="b"/>
                  <a:pathLst>
                    <a:path w="7" h="9">
                      <a:moveTo>
                        <a:pt x="7" y="6"/>
                      </a:moveTo>
                      <a:cubicBezTo>
                        <a:pt x="7" y="7"/>
                        <a:pt x="7" y="8"/>
                        <a:pt x="7" y="9"/>
                      </a:cubicBezTo>
                      <a:cubicBezTo>
                        <a:pt x="3" y="9"/>
                        <a:pt x="0" y="2"/>
                        <a:pt x="0" y="0"/>
                      </a:cubicBezTo>
                      <a:cubicBezTo>
                        <a:pt x="4" y="2"/>
                        <a:pt x="7" y="3"/>
                        <a:pt x="7"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2" name="Freeform 13"/>
                <p:cNvSpPr>
                  <a:spLocks/>
                </p:cNvSpPr>
                <p:nvPr/>
              </p:nvSpPr>
              <p:spPr bwMode="auto">
                <a:xfrm>
                  <a:off x="7061200" y="3036888"/>
                  <a:ext cx="20638" cy="9525"/>
                </a:xfrm>
                <a:custGeom>
                  <a:avLst/>
                  <a:gdLst/>
                  <a:ahLst/>
                  <a:cxnLst>
                    <a:cxn ang="0">
                      <a:pos x="15" y="6"/>
                    </a:cxn>
                    <a:cxn ang="0">
                      <a:pos x="12" y="7"/>
                    </a:cxn>
                    <a:cxn ang="0">
                      <a:pos x="0" y="0"/>
                    </a:cxn>
                    <a:cxn ang="0">
                      <a:pos x="15" y="6"/>
                    </a:cxn>
                  </a:cxnLst>
                  <a:rect l="0" t="0" r="r" b="b"/>
                  <a:pathLst>
                    <a:path w="15" h="7">
                      <a:moveTo>
                        <a:pt x="15" y="6"/>
                      </a:moveTo>
                      <a:cubicBezTo>
                        <a:pt x="14" y="6"/>
                        <a:pt x="13" y="7"/>
                        <a:pt x="12" y="7"/>
                      </a:cubicBezTo>
                      <a:cubicBezTo>
                        <a:pt x="7" y="7"/>
                        <a:pt x="0" y="5"/>
                        <a:pt x="0" y="0"/>
                      </a:cubicBezTo>
                      <a:cubicBezTo>
                        <a:pt x="7" y="0"/>
                        <a:pt x="11" y="1"/>
                        <a:pt x="15"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3" name="Freeform 14"/>
                <p:cNvSpPr>
                  <a:spLocks/>
                </p:cNvSpPr>
                <p:nvPr/>
              </p:nvSpPr>
              <p:spPr bwMode="auto">
                <a:xfrm>
                  <a:off x="7064375" y="3013075"/>
                  <a:ext cx="17463" cy="19050"/>
                </a:xfrm>
                <a:custGeom>
                  <a:avLst/>
                  <a:gdLst/>
                  <a:ahLst/>
                  <a:cxnLst>
                    <a:cxn ang="0">
                      <a:pos x="13" y="14"/>
                    </a:cxn>
                    <a:cxn ang="0">
                      <a:pos x="0" y="0"/>
                    </a:cxn>
                    <a:cxn ang="0">
                      <a:pos x="13" y="14"/>
                    </a:cxn>
                  </a:cxnLst>
                  <a:rect l="0" t="0" r="r" b="b"/>
                  <a:pathLst>
                    <a:path w="13" h="14">
                      <a:moveTo>
                        <a:pt x="13" y="14"/>
                      </a:moveTo>
                      <a:cubicBezTo>
                        <a:pt x="9" y="14"/>
                        <a:pt x="1" y="3"/>
                        <a:pt x="0" y="0"/>
                      </a:cubicBezTo>
                      <a:cubicBezTo>
                        <a:pt x="6" y="3"/>
                        <a:pt x="11" y="7"/>
                        <a:pt x="13"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4" name="Freeform 15"/>
                <p:cNvSpPr>
                  <a:spLocks/>
                </p:cNvSpPr>
                <p:nvPr/>
              </p:nvSpPr>
              <p:spPr bwMode="auto">
                <a:xfrm>
                  <a:off x="7027863" y="2998788"/>
                  <a:ext cx="23813" cy="14288"/>
                </a:xfrm>
                <a:custGeom>
                  <a:avLst/>
                  <a:gdLst/>
                  <a:ahLst/>
                  <a:cxnLst>
                    <a:cxn ang="0">
                      <a:pos x="2" y="0"/>
                    </a:cxn>
                    <a:cxn ang="0">
                      <a:pos x="17" y="9"/>
                    </a:cxn>
                    <a:cxn ang="0">
                      <a:pos x="14" y="10"/>
                    </a:cxn>
                    <a:cxn ang="0">
                      <a:pos x="0" y="1"/>
                    </a:cxn>
                    <a:cxn ang="0">
                      <a:pos x="1" y="1"/>
                    </a:cxn>
                    <a:cxn ang="0">
                      <a:pos x="2" y="0"/>
                    </a:cxn>
                  </a:cxnLst>
                  <a:rect l="0" t="0" r="r" b="b"/>
                  <a:pathLst>
                    <a:path w="17" h="10">
                      <a:moveTo>
                        <a:pt x="2" y="0"/>
                      </a:moveTo>
                      <a:cubicBezTo>
                        <a:pt x="6" y="2"/>
                        <a:pt x="15" y="5"/>
                        <a:pt x="17" y="9"/>
                      </a:cubicBezTo>
                      <a:cubicBezTo>
                        <a:pt x="17" y="9"/>
                        <a:pt x="15" y="10"/>
                        <a:pt x="14" y="10"/>
                      </a:cubicBezTo>
                      <a:cubicBezTo>
                        <a:pt x="10" y="10"/>
                        <a:pt x="0" y="6"/>
                        <a:pt x="0" y="1"/>
                      </a:cubicBezTo>
                      <a:cubicBezTo>
                        <a:pt x="1" y="1"/>
                        <a:pt x="1" y="1"/>
                        <a:pt x="1" y="1"/>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5" name="Freeform 16"/>
                <p:cNvSpPr>
                  <a:spLocks/>
                </p:cNvSpPr>
                <p:nvPr/>
              </p:nvSpPr>
              <p:spPr bwMode="auto">
                <a:xfrm>
                  <a:off x="7002463" y="2984500"/>
                  <a:ext cx="14288" cy="7938"/>
                </a:xfrm>
                <a:custGeom>
                  <a:avLst/>
                  <a:gdLst/>
                  <a:ahLst/>
                  <a:cxnLst>
                    <a:cxn ang="0">
                      <a:pos x="0" y="0"/>
                    </a:cxn>
                    <a:cxn ang="0">
                      <a:pos x="11" y="6"/>
                    </a:cxn>
                    <a:cxn ang="0">
                      <a:pos x="7" y="6"/>
                    </a:cxn>
                    <a:cxn ang="0">
                      <a:pos x="0" y="2"/>
                    </a:cxn>
                    <a:cxn ang="0">
                      <a:pos x="3" y="1"/>
                    </a:cxn>
                    <a:cxn ang="0">
                      <a:pos x="0" y="0"/>
                    </a:cxn>
                  </a:cxnLst>
                  <a:rect l="0" t="0" r="r" b="b"/>
                  <a:pathLst>
                    <a:path w="11" h="6">
                      <a:moveTo>
                        <a:pt x="0" y="0"/>
                      </a:moveTo>
                      <a:cubicBezTo>
                        <a:pt x="5" y="3"/>
                        <a:pt x="8" y="2"/>
                        <a:pt x="11" y="6"/>
                      </a:cubicBezTo>
                      <a:cubicBezTo>
                        <a:pt x="7" y="6"/>
                        <a:pt x="7" y="6"/>
                        <a:pt x="7" y="6"/>
                      </a:cubicBezTo>
                      <a:cubicBezTo>
                        <a:pt x="0" y="2"/>
                        <a:pt x="0" y="2"/>
                        <a:pt x="0" y="2"/>
                      </a:cubicBezTo>
                      <a:cubicBezTo>
                        <a:pt x="1" y="2"/>
                        <a:pt x="3" y="2"/>
                        <a:pt x="3" y="1"/>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6" name="Freeform 17"/>
                <p:cNvSpPr>
                  <a:spLocks/>
                </p:cNvSpPr>
                <p:nvPr/>
              </p:nvSpPr>
              <p:spPr bwMode="auto">
                <a:xfrm>
                  <a:off x="6800850" y="3594100"/>
                  <a:ext cx="63500" cy="65088"/>
                </a:xfrm>
                <a:custGeom>
                  <a:avLst/>
                  <a:gdLst/>
                  <a:ahLst/>
                  <a:cxnLst>
                    <a:cxn ang="0">
                      <a:pos x="24" y="7"/>
                    </a:cxn>
                    <a:cxn ang="0">
                      <a:pos x="43" y="3"/>
                    </a:cxn>
                    <a:cxn ang="0">
                      <a:pos x="48" y="16"/>
                    </a:cxn>
                    <a:cxn ang="0">
                      <a:pos x="27" y="49"/>
                    </a:cxn>
                    <a:cxn ang="0">
                      <a:pos x="0" y="7"/>
                    </a:cxn>
                    <a:cxn ang="0">
                      <a:pos x="24" y="7"/>
                    </a:cxn>
                  </a:cxnLst>
                  <a:rect l="0" t="0" r="r" b="b"/>
                  <a:pathLst>
                    <a:path w="48" h="49">
                      <a:moveTo>
                        <a:pt x="24" y="7"/>
                      </a:moveTo>
                      <a:cubicBezTo>
                        <a:pt x="30" y="7"/>
                        <a:pt x="37" y="5"/>
                        <a:pt x="43" y="3"/>
                      </a:cubicBezTo>
                      <a:cubicBezTo>
                        <a:pt x="45" y="8"/>
                        <a:pt x="48" y="11"/>
                        <a:pt x="48" y="16"/>
                      </a:cubicBezTo>
                      <a:cubicBezTo>
                        <a:pt x="48" y="26"/>
                        <a:pt x="36" y="49"/>
                        <a:pt x="27" y="49"/>
                      </a:cubicBezTo>
                      <a:cubicBezTo>
                        <a:pt x="14" y="49"/>
                        <a:pt x="0" y="16"/>
                        <a:pt x="0" y="7"/>
                      </a:cubicBezTo>
                      <a:cubicBezTo>
                        <a:pt x="0" y="0"/>
                        <a:pt x="24" y="7"/>
                        <a:pt x="24"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7" name="Freeform 18"/>
                <p:cNvSpPr>
                  <a:spLocks/>
                </p:cNvSpPr>
                <p:nvPr/>
              </p:nvSpPr>
              <p:spPr bwMode="auto">
                <a:xfrm>
                  <a:off x="6275388" y="3057525"/>
                  <a:ext cx="676275" cy="509588"/>
                </a:xfrm>
                <a:custGeom>
                  <a:avLst/>
                  <a:gdLst/>
                  <a:ahLst/>
                  <a:cxnLst>
                    <a:cxn ang="0">
                      <a:pos x="508" y="232"/>
                    </a:cxn>
                    <a:cxn ang="0">
                      <a:pos x="501" y="272"/>
                    </a:cxn>
                    <a:cxn ang="0">
                      <a:pos x="478" y="312"/>
                    </a:cxn>
                    <a:cxn ang="0">
                      <a:pos x="465" y="351"/>
                    </a:cxn>
                    <a:cxn ang="0">
                      <a:pos x="398" y="370"/>
                    </a:cxn>
                    <a:cxn ang="0">
                      <a:pos x="335" y="350"/>
                    </a:cxn>
                    <a:cxn ang="0">
                      <a:pos x="329" y="330"/>
                    </a:cxn>
                    <a:cxn ang="0">
                      <a:pos x="314" y="333"/>
                    </a:cxn>
                    <a:cxn ang="0">
                      <a:pos x="313" y="315"/>
                    </a:cxn>
                    <a:cxn ang="0">
                      <a:pos x="301" y="329"/>
                    </a:cxn>
                    <a:cxn ang="0">
                      <a:pos x="310" y="292"/>
                    </a:cxn>
                    <a:cxn ang="0">
                      <a:pos x="278" y="315"/>
                    </a:cxn>
                    <a:cxn ang="0">
                      <a:pos x="214" y="276"/>
                    </a:cxn>
                    <a:cxn ang="0">
                      <a:pos x="131" y="308"/>
                    </a:cxn>
                    <a:cxn ang="0">
                      <a:pos x="93" y="311"/>
                    </a:cxn>
                    <a:cxn ang="0">
                      <a:pos x="22" y="310"/>
                    </a:cxn>
                    <a:cxn ang="0">
                      <a:pos x="23" y="262"/>
                    </a:cxn>
                    <a:cxn ang="0">
                      <a:pos x="2" y="204"/>
                    </a:cxn>
                    <a:cxn ang="0">
                      <a:pos x="9" y="204"/>
                    </a:cxn>
                    <a:cxn ang="0">
                      <a:pos x="3" y="176"/>
                    </a:cxn>
                    <a:cxn ang="0">
                      <a:pos x="8" y="145"/>
                    </a:cxn>
                    <a:cxn ang="0">
                      <a:pos x="32" y="132"/>
                    </a:cxn>
                    <a:cxn ang="0">
                      <a:pos x="114" y="95"/>
                    </a:cxn>
                    <a:cxn ang="0">
                      <a:pos x="119" y="76"/>
                    </a:cxn>
                    <a:cxn ang="0">
                      <a:pos x="131" y="71"/>
                    </a:cxn>
                    <a:cxn ang="0">
                      <a:pos x="150" y="50"/>
                    </a:cxn>
                    <a:cxn ang="0">
                      <a:pos x="187" y="58"/>
                    </a:cxn>
                    <a:cxn ang="0">
                      <a:pos x="203" y="56"/>
                    </a:cxn>
                    <a:cxn ang="0">
                      <a:pos x="211" y="30"/>
                    </a:cxn>
                    <a:cxn ang="0">
                      <a:pos x="244" y="17"/>
                    </a:cxn>
                    <a:cxn ang="0">
                      <a:pos x="276" y="19"/>
                    </a:cxn>
                    <a:cxn ang="0">
                      <a:pos x="297" y="23"/>
                    </a:cxn>
                    <a:cxn ang="0">
                      <a:pos x="281" y="54"/>
                    </a:cxn>
                    <a:cxn ang="0">
                      <a:pos x="295" y="68"/>
                    </a:cxn>
                    <a:cxn ang="0">
                      <a:pos x="341" y="90"/>
                    </a:cxn>
                    <a:cxn ang="0">
                      <a:pos x="359" y="15"/>
                    </a:cxn>
                    <a:cxn ang="0">
                      <a:pos x="381" y="28"/>
                    </a:cxn>
                    <a:cxn ang="0">
                      <a:pos x="400" y="50"/>
                    </a:cxn>
                    <a:cxn ang="0">
                      <a:pos x="419" y="104"/>
                    </a:cxn>
                    <a:cxn ang="0">
                      <a:pos x="457" y="146"/>
                    </a:cxn>
                    <a:cxn ang="0">
                      <a:pos x="497" y="185"/>
                    </a:cxn>
                  </a:cxnLst>
                  <a:rect l="0" t="0" r="r" b="b"/>
                  <a:pathLst>
                    <a:path w="508" h="383">
                      <a:moveTo>
                        <a:pt x="496" y="186"/>
                      </a:moveTo>
                      <a:cubicBezTo>
                        <a:pt x="503" y="195"/>
                        <a:pt x="508" y="219"/>
                        <a:pt x="508" y="232"/>
                      </a:cubicBezTo>
                      <a:cubicBezTo>
                        <a:pt x="508" y="242"/>
                        <a:pt x="505" y="256"/>
                        <a:pt x="501" y="260"/>
                      </a:cubicBezTo>
                      <a:cubicBezTo>
                        <a:pt x="501" y="272"/>
                        <a:pt x="501" y="272"/>
                        <a:pt x="501" y="272"/>
                      </a:cubicBezTo>
                      <a:cubicBezTo>
                        <a:pt x="499" y="276"/>
                        <a:pt x="500" y="277"/>
                        <a:pt x="498" y="281"/>
                      </a:cubicBezTo>
                      <a:cubicBezTo>
                        <a:pt x="490" y="293"/>
                        <a:pt x="482" y="298"/>
                        <a:pt x="478" y="312"/>
                      </a:cubicBezTo>
                      <a:cubicBezTo>
                        <a:pt x="474" y="322"/>
                        <a:pt x="465" y="336"/>
                        <a:pt x="465" y="352"/>
                      </a:cubicBezTo>
                      <a:cubicBezTo>
                        <a:pt x="465" y="351"/>
                        <a:pt x="465" y="351"/>
                        <a:pt x="465" y="351"/>
                      </a:cubicBezTo>
                      <a:cubicBezTo>
                        <a:pt x="460" y="371"/>
                        <a:pt x="424" y="362"/>
                        <a:pt x="420" y="383"/>
                      </a:cubicBezTo>
                      <a:cubicBezTo>
                        <a:pt x="417" y="382"/>
                        <a:pt x="399" y="372"/>
                        <a:pt x="398" y="370"/>
                      </a:cubicBezTo>
                      <a:cubicBezTo>
                        <a:pt x="388" y="371"/>
                        <a:pt x="392" y="379"/>
                        <a:pt x="381" y="379"/>
                      </a:cubicBezTo>
                      <a:cubicBezTo>
                        <a:pt x="363" y="379"/>
                        <a:pt x="335" y="368"/>
                        <a:pt x="335" y="350"/>
                      </a:cubicBezTo>
                      <a:cubicBezTo>
                        <a:pt x="335" y="343"/>
                        <a:pt x="329" y="338"/>
                        <a:pt x="329" y="332"/>
                      </a:cubicBezTo>
                      <a:cubicBezTo>
                        <a:pt x="329" y="332"/>
                        <a:pt x="329" y="330"/>
                        <a:pt x="329" y="330"/>
                      </a:cubicBezTo>
                      <a:cubicBezTo>
                        <a:pt x="325" y="332"/>
                        <a:pt x="323" y="332"/>
                        <a:pt x="320" y="333"/>
                      </a:cubicBezTo>
                      <a:cubicBezTo>
                        <a:pt x="314" y="333"/>
                        <a:pt x="314" y="333"/>
                        <a:pt x="314" y="333"/>
                      </a:cubicBezTo>
                      <a:cubicBezTo>
                        <a:pt x="316" y="330"/>
                        <a:pt x="318" y="328"/>
                        <a:pt x="318" y="323"/>
                      </a:cubicBezTo>
                      <a:cubicBezTo>
                        <a:pt x="318" y="318"/>
                        <a:pt x="315" y="316"/>
                        <a:pt x="313" y="315"/>
                      </a:cubicBezTo>
                      <a:cubicBezTo>
                        <a:pt x="313" y="316"/>
                        <a:pt x="312" y="318"/>
                        <a:pt x="312" y="319"/>
                      </a:cubicBezTo>
                      <a:cubicBezTo>
                        <a:pt x="308" y="321"/>
                        <a:pt x="308" y="329"/>
                        <a:pt x="301" y="329"/>
                      </a:cubicBezTo>
                      <a:cubicBezTo>
                        <a:pt x="299" y="329"/>
                        <a:pt x="297" y="326"/>
                        <a:pt x="297" y="324"/>
                      </a:cubicBezTo>
                      <a:cubicBezTo>
                        <a:pt x="308" y="322"/>
                        <a:pt x="310" y="299"/>
                        <a:pt x="310" y="292"/>
                      </a:cubicBezTo>
                      <a:cubicBezTo>
                        <a:pt x="302" y="300"/>
                        <a:pt x="291" y="323"/>
                        <a:pt x="281" y="323"/>
                      </a:cubicBezTo>
                      <a:cubicBezTo>
                        <a:pt x="276" y="323"/>
                        <a:pt x="278" y="315"/>
                        <a:pt x="278" y="315"/>
                      </a:cubicBezTo>
                      <a:cubicBezTo>
                        <a:pt x="275" y="315"/>
                        <a:pt x="265" y="294"/>
                        <a:pt x="262" y="289"/>
                      </a:cubicBezTo>
                      <a:cubicBezTo>
                        <a:pt x="254" y="280"/>
                        <a:pt x="228" y="276"/>
                        <a:pt x="214" y="276"/>
                      </a:cubicBezTo>
                      <a:cubicBezTo>
                        <a:pt x="198" y="276"/>
                        <a:pt x="195" y="283"/>
                        <a:pt x="185" y="286"/>
                      </a:cubicBezTo>
                      <a:cubicBezTo>
                        <a:pt x="163" y="293"/>
                        <a:pt x="135" y="285"/>
                        <a:pt x="131" y="308"/>
                      </a:cubicBezTo>
                      <a:cubicBezTo>
                        <a:pt x="122" y="309"/>
                        <a:pt x="115" y="311"/>
                        <a:pt x="105" y="311"/>
                      </a:cubicBezTo>
                      <a:cubicBezTo>
                        <a:pt x="98" y="307"/>
                        <a:pt x="98" y="311"/>
                        <a:pt x="93" y="311"/>
                      </a:cubicBezTo>
                      <a:cubicBezTo>
                        <a:pt x="77" y="311"/>
                        <a:pt x="71" y="326"/>
                        <a:pt x="51" y="326"/>
                      </a:cubicBezTo>
                      <a:cubicBezTo>
                        <a:pt x="43" y="326"/>
                        <a:pt x="22" y="316"/>
                        <a:pt x="22" y="310"/>
                      </a:cubicBezTo>
                      <a:cubicBezTo>
                        <a:pt x="22" y="303"/>
                        <a:pt x="32" y="300"/>
                        <a:pt x="32" y="290"/>
                      </a:cubicBezTo>
                      <a:cubicBezTo>
                        <a:pt x="32" y="277"/>
                        <a:pt x="26" y="270"/>
                        <a:pt x="23" y="262"/>
                      </a:cubicBezTo>
                      <a:cubicBezTo>
                        <a:pt x="18" y="243"/>
                        <a:pt x="17" y="237"/>
                        <a:pt x="11" y="220"/>
                      </a:cubicBezTo>
                      <a:cubicBezTo>
                        <a:pt x="9" y="213"/>
                        <a:pt x="0" y="211"/>
                        <a:pt x="2" y="204"/>
                      </a:cubicBezTo>
                      <a:cubicBezTo>
                        <a:pt x="3" y="202"/>
                        <a:pt x="3" y="201"/>
                        <a:pt x="5" y="198"/>
                      </a:cubicBezTo>
                      <a:cubicBezTo>
                        <a:pt x="6" y="201"/>
                        <a:pt x="7" y="203"/>
                        <a:pt x="9" y="204"/>
                      </a:cubicBezTo>
                      <a:cubicBezTo>
                        <a:pt x="10" y="202"/>
                        <a:pt x="9" y="201"/>
                        <a:pt x="9" y="198"/>
                      </a:cubicBezTo>
                      <a:cubicBezTo>
                        <a:pt x="9" y="192"/>
                        <a:pt x="3" y="187"/>
                        <a:pt x="3" y="176"/>
                      </a:cubicBezTo>
                      <a:cubicBezTo>
                        <a:pt x="3" y="162"/>
                        <a:pt x="3" y="161"/>
                        <a:pt x="3" y="150"/>
                      </a:cubicBezTo>
                      <a:cubicBezTo>
                        <a:pt x="3" y="146"/>
                        <a:pt x="7" y="146"/>
                        <a:pt x="8" y="145"/>
                      </a:cubicBezTo>
                      <a:cubicBezTo>
                        <a:pt x="9" y="146"/>
                        <a:pt x="9" y="148"/>
                        <a:pt x="9" y="149"/>
                      </a:cubicBezTo>
                      <a:cubicBezTo>
                        <a:pt x="17" y="148"/>
                        <a:pt x="27" y="137"/>
                        <a:pt x="32" y="132"/>
                      </a:cubicBezTo>
                      <a:cubicBezTo>
                        <a:pt x="37" y="127"/>
                        <a:pt x="53" y="126"/>
                        <a:pt x="62" y="125"/>
                      </a:cubicBezTo>
                      <a:cubicBezTo>
                        <a:pt x="78" y="122"/>
                        <a:pt x="114" y="110"/>
                        <a:pt x="114" y="95"/>
                      </a:cubicBezTo>
                      <a:cubicBezTo>
                        <a:pt x="114" y="92"/>
                        <a:pt x="114" y="90"/>
                        <a:pt x="114" y="87"/>
                      </a:cubicBezTo>
                      <a:cubicBezTo>
                        <a:pt x="114" y="83"/>
                        <a:pt x="115" y="79"/>
                        <a:pt x="119" y="76"/>
                      </a:cubicBezTo>
                      <a:cubicBezTo>
                        <a:pt x="122" y="80"/>
                        <a:pt x="124" y="82"/>
                        <a:pt x="126" y="85"/>
                      </a:cubicBezTo>
                      <a:cubicBezTo>
                        <a:pt x="131" y="82"/>
                        <a:pt x="129" y="75"/>
                        <a:pt x="131" y="71"/>
                      </a:cubicBezTo>
                      <a:cubicBezTo>
                        <a:pt x="134" y="72"/>
                        <a:pt x="137" y="74"/>
                        <a:pt x="140" y="74"/>
                      </a:cubicBezTo>
                      <a:cubicBezTo>
                        <a:pt x="140" y="62"/>
                        <a:pt x="149" y="60"/>
                        <a:pt x="150" y="50"/>
                      </a:cubicBezTo>
                      <a:cubicBezTo>
                        <a:pt x="162" y="50"/>
                        <a:pt x="164" y="41"/>
                        <a:pt x="173" y="41"/>
                      </a:cubicBezTo>
                      <a:cubicBezTo>
                        <a:pt x="181" y="41"/>
                        <a:pt x="186" y="50"/>
                        <a:pt x="187" y="58"/>
                      </a:cubicBezTo>
                      <a:cubicBezTo>
                        <a:pt x="189" y="55"/>
                        <a:pt x="192" y="53"/>
                        <a:pt x="196" y="53"/>
                      </a:cubicBezTo>
                      <a:cubicBezTo>
                        <a:pt x="198" y="53"/>
                        <a:pt x="202" y="56"/>
                        <a:pt x="203" y="56"/>
                      </a:cubicBezTo>
                      <a:cubicBezTo>
                        <a:pt x="205" y="52"/>
                        <a:pt x="204" y="49"/>
                        <a:pt x="204" y="45"/>
                      </a:cubicBezTo>
                      <a:cubicBezTo>
                        <a:pt x="204" y="39"/>
                        <a:pt x="211" y="36"/>
                        <a:pt x="211" y="30"/>
                      </a:cubicBezTo>
                      <a:cubicBezTo>
                        <a:pt x="211" y="24"/>
                        <a:pt x="228" y="20"/>
                        <a:pt x="236" y="20"/>
                      </a:cubicBezTo>
                      <a:cubicBezTo>
                        <a:pt x="239" y="20"/>
                        <a:pt x="243" y="17"/>
                        <a:pt x="244" y="17"/>
                      </a:cubicBezTo>
                      <a:cubicBezTo>
                        <a:pt x="241" y="13"/>
                        <a:pt x="237" y="11"/>
                        <a:pt x="236" y="7"/>
                      </a:cubicBezTo>
                      <a:cubicBezTo>
                        <a:pt x="251" y="13"/>
                        <a:pt x="260" y="19"/>
                        <a:pt x="276" y="19"/>
                      </a:cubicBezTo>
                      <a:cubicBezTo>
                        <a:pt x="281" y="19"/>
                        <a:pt x="283" y="15"/>
                        <a:pt x="288" y="15"/>
                      </a:cubicBezTo>
                      <a:cubicBezTo>
                        <a:pt x="291" y="15"/>
                        <a:pt x="297" y="20"/>
                        <a:pt x="297" y="23"/>
                      </a:cubicBezTo>
                      <a:cubicBezTo>
                        <a:pt x="297" y="29"/>
                        <a:pt x="290" y="30"/>
                        <a:pt x="287" y="32"/>
                      </a:cubicBezTo>
                      <a:cubicBezTo>
                        <a:pt x="281" y="54"/>
                        <a:pt x="281" y="54"/>
                        <a:pt x="281" y="54"/>
                      </a:cubicBezTo>
                      <a:cubicBezTo>
                        <a:pt x="281" y="58"/>
                        <a:pt x="288" y="57"/>
                        <a:pt x="290" y="59"/>
                      </a:cubicBezTo>
                      <a:cubicBezTo>
                        <a:pt x="293" y="60"/>
                        <a:pt x="293" y="67"/>
                        <a:pt x="295" y="68"/>
                      </a:cubicBezTo>
                      <a:cubicBezTo>
                        <a:pt x="306" y="72"/>
                        <a:pt x="313" y="74"/>
                        <a:pt x="324" y="79"/>
                      </a:cubicBezTo>
                      <a:cubicBezTo>
                        <a:pt x="330" y="81"/>
                        <a:pt x="333" y="90"/>
                        <a:pt x="341" y="90"/>
                      </a:cubicBezTo>
                      <a:cubicBezTo>
                        <a:pt x="355" y="90"/>
                        <a:pt x="357" y="64"/>
                        <a:pt x="359" y="54"/>
                      </a:cubicBezTo>
                      <a:cubicBezTo>
                        <a:pt x="359" y="15"/>
                        <a:pt x="359" y="15"/>
                        <a:pt x="359" y="15"/>
                      </a:cubicBezTo>
                      <a:cubicBezTo>
                        <a:pt x="366" y="9"/>
                        <a:pt x="364" y="4"/>
                        <a:pt x="372" y="0"/>
                      </a:cubicBezTo>
                      <a:cubicBezTo>
                        <a:pt x="373" y="11"/>
                        <a:pt x="379" y="19"/>
                        <a:pt x="381" y="28"/>
                      </a:cubicBezTo>
                      <a:cubicBezTo>
                        <a:pt x="383" y="34"/>
                        <a:pt x="381" y="42"/>
                        <a:pt x="386" y="45"/>
                      </a:cubicBezTo>
                      <a:cubicBezTo>
                        <a:pt x="390" y="47"/>
                        <a:pt x="399" y="49"/>
                        <a:pt x="400" y="50"/>
                      </a:cubicBezTo>
                      <a:cubicBezTo>
                        <a:pt x="406" y="54"/>
                        <a:pt x="406" y="68"/>
                        <a:pt x="408" y="75"/>
                      </a:cubicBezTo>
                      <a:cubicBezTo>
                        <a:pt x="412" y="87"/>
                        <a:pt x="415" y="93"/>
                        <a:pt x="419" y="104"/>
                      </a:cubicBezTo>
                      <a:cubicBezTo>
                        <a:pt x="422" y="114"/>
                        <a:pt x="441" y="118"/>
                        <a:pt x="449" y="126"/>
                      </a:cubicBezTo>
                      <a:cubicBezTo>
                        <a:pt x="454" y="131"/>
                        <a:pt x="455" y="139"/>
                        <a:pt x="457" y="146"/>
                      </a:cubicBezTo>
                      <a:cubicBezTo>
                        <a:pt x="459" y="151"/>
                        <a:pt x="466" y="151"/>
                        <a:pt x="471" y="151"/>
                      </a:cubicBezTo>
                      <a:cubicBezTo>
                        <a:pt x="471" y="169"/>
                        <a:pt x="488" y="176"/>
                        <a:pt x="497" y="185"/>
                      </a:cubicBezTo>
                      <a:lnTo>
                        <a:pt x="496" y="1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8" name="Freeform 19"/>
                <p:cNvSpPr>
                  <a:spLocks/>
                </p:cNvSpPr>
                <p:nvPr/>
              </p:nvSpPr>
              <p:spPr bwMode="auto">
                <a:xfrm>
                  <a:off x="7043738" y="3598863"/>
                  <a:ext cx="127000" cy="125413"/>
                </a:xfrm>
                <a:custGeom>
                  <a:avLst/>
                  <a:gdLst/>
                  <a:ahLst/>
                  <a:cxnLst>
                    <a:cxn ang="0">
                      <a:pos x="58" y="26"/>
                    </a:cxn>
                    <a:cxn ang="0">
                      <a:pos x="59" y="22"/>
                    </a:cxn>
                    <a:cxn ang="0">
                      <a:pos x="67" y="17"/>
                    </a:cxn>
                    <a:cxn ang="0">
                      <a:pos x="67" y="14"/>
                    </a:cxn>
                    <a:cxn ang="0">
                      <a:pos x="78" y="0"/>
                    </a:cxn>
                    <a:cxn ang="0">
                      <a:pos x="81" y="4"/>
                    </a:cxn>
                    <a:cxn ang="0">
                      <a:pos x="83" y="10"/>
                    </a:cxn>
                    <a:cxn ang="0">
                      <a:pos x="90" y="6"/>
                    </a:cxn>
                    <a:cxn ang="0">
                      <a:pos x="94" y="8"/>
                    </a:cxn>
                    <a:cxn ang="0">
                      <a:pos x="96" y="15"/>
                    </a:cxn>
                    <a:cxn ang="0">
                      <a:pos x="79" y="37"/>
                    </a:cxn>
                    <a:cxn ang="0">
                      <a:pos x="79" y="50"/>
                    </a:cxn>
                    <a:cxn ang="0">
                      <a:pos x="63" y="53"/>
                    </a:cxn>
                    <a:cxn ang="0">
                      <a:pos x="49" y="84"/>
                    </a:cxn>
                    <a:cxn ang="0">
                      <a:pos x="32" y="94"/>
                    </a:cxn>
                    <a:cxn ang="0">
                      <a:pos x="23" y="92"/>
                    </a:cxn>
                    <a:cxn ang="0">
                      <a:pos x="3" y="83"/>
                    </a:cxn>
                    <a:cxn ang="0">
                      <a:pos x="0" y="81"/>
                    </a:cxn>
                    <a:cxn ang="0">
                      <a:pos x="18" y="57"/>
                    </a:cxn>
                    <a:cxn ang="0">
                      <a:pos x="25" y="51"/>
                    </a:cxn>
                    <a:cxn ang="0">
                      <a:pos x="50" y="37"/>
                    </a:cxn>
                    <a:cxn ang="0">
                      <a:pos x="58" y="26"/>
                    </a:cxn>
                  </a:cxnLst>
                  <a:rect l="0" t="0" r="r" b="b"/>
                  <a:pathLst>
                    <a:path w="96" h="94">
                      <a:moveTo>
                        <a:pt x="58" y="26"/>
                      </a:moveTo>
                      <a:cubicBezTo>
                        <a:pt x="58" y="26"/>
                        <a:pt x="58" y="23"/>
                        <a:pt x="59" y="22"/>
                      </a:cubicBezTo>
                      <a:cubicBezTo>
                        <a:pt x="60" y="18"/>
                        <a:pt x="63" y="17"/>
                        <a:pt x="67" y="17"/>
                      </a:cubicBezTo>
                      <a:cubicBezTo>
                        <a:pt x="67" y="16"/>
                        <a:pt x="67" y="15"/>
                        <a:pt x="67" y="14"/>
                      </a:cubicBezTo>
                      <a:cubicBezTo>
                        <a:pt x="67" y="8"/>
                        <a:pt x="74" y="2"/>
                        <a:pt x="78" y="0"/>
                      </a:cubicBezTo>
                      <a:cubicBezTo>
                        <a:pt x="78" y="3"/>
                        <a:pt x="79" y="4"/>
                        <a:pt x="81" y="4"/>
                      </a:cubicBezTo>
                      <a:cubicBezTo>
                        <a:pt x="81" y="7"/>
                        <a:pt x="80" y="10"/>
                        <a:pt x="83" y="10"/>
                      </a:cubicBezTo>
                      <a:cubicBezTo>
                        <a:pt x="86" y="10"/>
                        <a:pt x="88" y="7"/>
                        <a:pt x="90" y="6"/>
                      </a:cubicBezTo>
                      <a:cubicBezTo>
                        <a:pt x="91" y="8"/>
                        <a:pt x="92" y="8"/>
                        <a:pt x="94" y="8"/>
                      </a:cubicBezTo>
                      <a:cubicBezTo>
                        <a:pt x="94" y="12"/>
                        <a:pt x="94" y="14"/>
                        <a:pt x="96" y="15"/>
                      </a:cubicBezTo>
                      <a:cubicBezTo>
                        <a:pt x="95" y="21"/>
                        <a:pt x="86" y="37"/>
                        <a:pt x="79" y="37"/>
                      </a:cubicBezTo>
                      <a:cubicBezTo>
                        <a:pt x="78" y="43"/>
                        <a:pt x="80" y="45"/>
                        <a:pt x="79" y="50"/>
                      </a:cubicBezTo>
                      <a:cubicBezTo>
                        <a:pt x="77" y="50"/>
                        <a:pt x="66" y="53"/>
                        <a:pt x="63" y="53"/>
                      </a:cubicBezTo>
                      <a:cubicBezTo>
                        <a:pt x="61" y="58"/>
                        <a:pt x="49" y="84"/>
                        <a:pt x="49" y="84"/>
                      </a:cubicBezTo>
                      <a:cubicBezTo>
                        <a:pt x="45" y="88"/>
                        <a:pt x="37" y="94"/>
                        <a:pt x="32" y="94"/>
                      </a:cubicBezTo>
                      <a:cubicBezTo>
                        <a:pt x="30" y="94"/>
                        <a:pt x="25" y="92"/>
                        <a:pt x="23" y="92"/>
                      </a:cubicBezTo>
                      <a:cubicBezTo>
                        <a:pt x="20" y="92"/>
                        <a:pt x="3" y="85"/>
                        <a:pt x="3" y="83"/>
                      </a:cubicBezTo>
                      <a:cubicBezTo>
                        <a:pt x="2" y="83"/>
                        <a:pt x="0" y="82"/>
                        <a:pt x="0" y="81"/>
                      </a:cubicBezTo>
                      <a:cubicBezTo>
                        <a:pt x="0" y="70"/>
                        <a:pt x="14" y="64"/>
                        <a:pt x="18" y="57"/>
                      </a:cubicBezTo>
                      <a:cubicBezTo>
                        <a:pt x="20" y="54"/>
                        <a:pt x="22" y="51"/>
                        <a:pt x="25" y="51"/>
                      </a:cubicBezTo>
                      <a:cubicBezTo>
                        <a:pt x="36" y="51"/>
                        <a:pt x="42" y="40"/>
                        <a:pt x="50" y="37"/>
                      </a:cubicBezTo>
                      <a:cubicBezTo>
                        <a:pt x="52" y="36"/>
                        <a:pt x="58" y="26"/>
                        <a:pt x="58" y="2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99" name="Freeform 20"/>
                <p:cNvSpPr>
                  <a:spLocks/>
                </p:cNvSpPr>
                <p:nvPr/>
              </p:nvSpPr>
              <p:spPr bwMode="auto">
                <a:xfrm>
                  <a:off x="7148513" y="3476625"/>
                  <a:ext cx="93663" cy="139700"/>
                </a:xfrm>
                <a:custGeom>
                  <a:avLst/>
                  <a:gdLst/>
                  <a:ahLst/>
                  <a:cxnLst>
                    <a:cxn ang="0">
                      <a:pos x="22" y="40"/>
                    </a:cxn>
                    <a:cxn ang="0">
                      <a:pos x="17" y="31"/>
                    </a:cxn>
                    <a:cxn ang="0">
                      <a:pos x="19" y="27"/>
                    </a:cxn>
                    <a:cxn ang="0">
                      <a:pos x="0" y="0"/>
                    </a:cxn>
                    <a:cxn ang="0">
                      <a:pos x="16" y="12"/>
                    </a:cxn>
                    <a:cxn ang="0">
                      <a:pos x="22" y="19"/>
                    </a:cxn>
                    <a:cxn ang="0">
                      <a:pos x="20" y="22"/>
                    </a:cxn>
                    <a:cxn ang="0">
                      <a:pos x="27" y="37"/>
                    </a:cxn>
                    <a:cxn ang="0">
                      <a:pos x="30" y="37"/>
                    </a:cxn>
                    <a:cxn ang="0">
                      <a:pos x="34" y="32"/>
                    </a:cxn>
                    <a:cxn ang="0">
                      <a:pos x="37" y="32"/>
                    </a:cxn>
                    <a:cxn ang="0">
                      <a:pos x="53" y="50"/>
                    </a:cxn>
                    <a:cxn ang="0">
                      <a:pos x="68" y="46"/>
                    </a:cxn>
                    <a:cxn ang="0">
                      <a:pos x="71" y="48"/>
                    </a:cxn>
                    <a:cxn ang="0">
                      <a:pos x="63" y="71"/>
                    </a:cxn>
                    <a:cxn ang="0">
                      <a:pos x="61" y="68"/>
                    </a:cxn>
                    <a:cxn ang="0">
                      <a:pos x="60" y="70"/>
                    </a:cxn>
                    <a:cxn ang="0">
                      <a:pos x="51" y="75"/>
                    </a:cxn>
                    <a:cxn ang="0">
                      <a:pos x="52" y="80"/>
                    </a:cxn>
                    <a:cxn ang="0">
                      <a:pos x="46" y="89"/>
                    </a:cxn>
                    <a:cxn ang="0">
                      <a:pos x="30" y="104"/>
                    </a:cxn>
                    <a:cxn ang="0">
                      <a:pos x="23" y="98"/>
                    </a:cxn>
                    <a:cxn ang="0">
                      <a:pos x="29" y="86"/>
                    </a:cxn>
                    <a:cxn ang="0">
                      <a:pos x="12" y="72"/>
                    </a:cxn>
                    <a:cxn ang="0">
                      <a:pos x="19" y="65"/>
                    </a:cxn>
                    <a:cxn ang="0">
                      <a:pos x="24" y="48"/>
                    </a:cxn>
                    <a:cxn ang="0">
                      <a:pos x="22" y="38"/>
                    </a:cxn>
                    <a:cxn ang="0">
                      <a:pos x="22" y="38"/>
                    </a:cxn>
                    <a:cxn ang="0">
                      <a:pos x="22" y="40"/>
                    </a:cxn>
                  </a:cxnLst>
                  <a:rect l="0" t="0" r="r" b="b"/>
                  <a:pathLst>
                    <a:path w="71" h="104">
                      <a:moveTo>
                        <a:pt x="22" y="40"/>
                      </a:moveTo>
                      <a:cubicBezTo>
                        <a:pt x="21" y="36"/>
                        <a:pt x="17" y="35"/>
                        <a:pt x="17" y="31"/>
                      </a:cubicBezTo>
                      <a:cubicBezTo>
                        <a:pt x="17" y="30"/>
                        <a:pt x="18" y="28"/>
                        <a:pt x="19" y="27"/>
                      </a:cubicBezTo>
                      <a:cubicBezTo>
                        <a:pt x="8" y="25"/>
                        <a:pt x="2" y="11"/>
                        <a:pt x="0" y="0"/>
                      </a:cubicBezTo>
                      <a:cubicBezTo>
                        <a:pt x="4" y="7"/>
                        <a:pt x="12" y="8"/>
                        <a:pt x="16" y="12"/>
                      </a:cubicBezTo>
                      <a:cubicBezTo>
                        <a:pt x="19" y="15"/>
                        <a:pt x="19" y="18"/>
                        <a:pt x="22" y="19"/>
                      </a:cubicBezTo>
                      <a:cubicBezTo>
                        <a:pt x="21" y="21"/>
                        <a:pt x="20" y="21"/>
                        <a:pt x="20" y="22"/>
                      </a:cubicBezTo>
                      <a:cubicBezTo>
                        <a:pt x="20" y="25"/>
                        <a:pt x="25" y="34"/>
                        <a:pt x="27" y="37"/>
                      </a:cubicBezTo>
                      <a:cubicBezTo>
                        <a:pt x="30" y="37"/>
                        <a:pt x="30" y="37"/>
                        <a:pt x="30" y="37"/>
                      </a:cubicBezTo>
                      <a:cubicBezTo>
                        <a:pt x="30" y="34"/>
                        <a:pt x="32" y="32"/>
                        <a:pt x="34" y="32"/>
                      </a:cubicBezTo>
                      <a:cubicBezTo>
                        <a:pt x="35" y="32"/>
                        <a:pt x="36" y="32"/>
                        <a:pt x="37" y="32"/>
                      </a:cubicBezTo>
                      <a:cubicBezTo>
                        <a:pt x="37" y="44"/>
                        <a:pt x="42" y="50"/>
                        <a:pt x="53" y="50"/>
                      </a:cubicBezTo>
                      <a:cubicBezTo>
                        <a:pt x="61" y="50"/>
                        <a:pt x="61" y="46"/>
                        <a:pt x="68" y="46"/>
                      </a:cubicBezTo>
                      <a:cubicBezTo>
                        <a:pt x="69" y="46"/>
                        <a:pt x="71" y="47"/>
                        <a:pt x="71" y="48"/>
                      </a:cubicBezTo>
                      <a:cubicBezTo>
                        <a:pt x="65" y="55"/>
                        <a:pt x="67" y="64"/>
                        <a:pt x="63" y="71"/>
                      </a:cubicBezTo>
                      <a:cubicBezTo>
                        <a:pt x="61" y="68"/>
                        <a:pt x="61" y="68"/>
                        <a:pt x="61" y="68"/>
                      </a:cubicBezTo>
                      <a:cubicBezTo>
                        <a:pt x="60" y="68"/>
                        <a:pt x="60" y="70"/>
                        <a:pt x="60" y="70"/>
                      </a:cubicBezTo>
                      <a:cubicBezTo>
                        <a:pt x="55" y="71"/>
                        <a:pt x="51" y="72"/>
                        <a:pt x="51" y="75"/>
                      </a:cubicBezTo>
                      <a:cubicBezTo>
                        <a:pt x="51" y="77"/>
                        <a:pt x="52" y="78"/>
                        <a:pt x="52" y="80"/>
                      </a:cubicBezTo>
                      <a:cubicBezTo>
                        <a:pt x="52" y="83"/>
                        <a:pt x="47" y="87"/>
                        <a:pt x="46" y="89"/>
                      </a:cubicBezTo>
                      <a:cubicBezTo>
                        <a:pt x="42" y="95"/>
                        <a:pt x="39" y="104"/>
                        <a:pt x="30" y="104"/>
                      </a:cubicBezTo>
                      <a:cubicBezTo>
                        <a:pt x="26" y="104"/>
                        <a:pt x="23" y="102"/>
                        <a:pt x="23" y="98"/>
                      </a:cubicBezTo>
                      <a:cubicBezTo>
                        <a:pt x="23" y="93"/>
                        <a:pt x="29" y="91"/>
                        <a:pt x="29" y="86"/>
                      </a:cubicBezTo>
                      <a:cubicBezTo>
                        <a:pt x="29" y="77"/>
                        <a:pt x="12" y="80"/>
                        <a:pt x="12" y="72"/>
                      </a:cubicBezTo>
                      <a:cubicBezTo>
                        <a:pt x="12" y="68"/>
                        <a:pt x="16" y="67"/>
                        <a:pt x="19" y="65"/>
                      </a:cubicBezTo>
                      <a:cubicBezTo>
                        <a:pt x="23" y="61"/>
                        <a:pt x="24" y="55"/>
                        <a:pt x="24" y="48"/>
                      </a:cubicBezTo>
                      <a:cubicBezTo>
                        <a:pt x="24" y="44"/>
                        <a:pt x="22" y="40"/>
                        <a:pt x="22" y="38"/>
                      </a:cubicBezTo>
                      <a:cubicBezTo>
                        <a:pt x="22" y="38"/>
                        <a:pt x="22" y="38"/>
                        <a:pt x="22" y="38"/>
                      </a:cubicBezTo>
                      <a:lnTo>
                        <a:pt x="22"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00" name="Freeform 116"/>
                <p:cNvSpPr>
                  <a:spLocks/>
                </p:cNvSpPr>
                <p:nvPr/>
              </p:nvSpPr>
              <p:spPr bwMode="auto">
                <a:xfrm>
                  <a:off x="6856413" y="3582988"/>
                  <a:ext cx="6350" cy="9525"/>
                </a:xfrm>
                <a:custGeom>
                  <a:avLst/>
                  <a:gdLst/>
                  <a:ahLst/>
                  <a:cxnLst>
                    <a:cxn ang="0">
                      <a:pos x="5" y="0"/>
                    </a:cxn>
                    <a:cxn ang="0">
                      <a:pos x="4" y="7"/>
                    </a:cxn>
                    <a:cxn ang="0">
                      <a:pos x="0" y="0"/>
                    </a:cxn>
                    <a:cxn ang="0">
                      <a:pos x="5" y="0"/>
                    </a:cxn>
                  </a:cxnLst>
                  <a:rect l="0" t="0" r="r" b="b"/>
                  <a:pathLst>
                    <a:path w="5" h="7">
                      <a:moveTo>
                        <a:pt x="5" y="0"/>
                      </a:moveTo>
                      <a:cubicBezTo>
                        <a:pt x="5" y="4"/>
                        <a:pt x="4" y="5"/>
                        <a:pt x="4" y="7"/>
                      </a:cubicBezTo>
                      <a:cubicBezTo>
                        <a:pt x="0" y="6"/>
                        <a:pt x="0" y="3"/>
                        <a:pt x="0" y="0"/>
                      </a:cubicBezTo>
                      <a:cubicBezTo>
                        <a:pt x="2" y="0"/>
                        <a:pt x="4" y="0"/>
                        <a:pt x="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01" name="Freeform 117"/>
                <p:cNvSpPr>
                  <a:spLocks/>
                </p:cNvSpPr>
                <p:nvPr/>
              </p:nvSpPr>
              <p:spPr bwMode="auto">
                <a:xfrm>
                  <a:off x="6664325" y="3500438"/>
                  <a:ext cx="22225" cy="11113"/>
                </a:xfrm>
                <a:custGeom>
                  <a:avLst/>
                  <a:gdLst/>
                  <a:ahLst/>
                  <a:cxnLst>
                    <a:cxn ang="0">
                      <a:pos x="16" y="4"/>
                    </a:cxn>
                    <a:cxn ang="0">
                      <a:pos x="0" y="4"/>
                    </a:cxn>
                    <a:cxn ang="0">
                      <a:pos x="16" y="4"/>
                    </a:cxn>
                  </a:cxnLst>
                  <a:rect l="0" t="0" r="r" b="b"/>
                  <a:pathLst>
                    <a:path w="16" h="8">
                      <a:moveTo>
                        <a:pt x="16" y="4"/>
                      </a:moveTo>
                      <a:cubicBezTo>
                        <a:pt x="11" y="7"/>
                        <a:pt x="4" y="8"/>
                        <a:pt x="0" y="4"/>
                      </a:cubicBezTo>
                      <a:cubicBezTo>
                        <a:pt x="9" y="0"/>
                        <a:pt x="10" y="0"/>
                        <a:pt x="1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02" name="Freeform 118"/>
                <p:cNvSpPr>
                  <a:spLocks/>
                </p:cNvSpPr>
                <p:nvPr/>
              </p:nvSpPr>
              <p:spPr bwMode="auto">
                <a:xfrm>
                  <a:off x="6556375" y="3065463"/>
                  <a:ext cx="22225" cy="9525"/>
                </a:xfrm>
                <a:custGeom>
                  <a:avLst/>
                  <a:gdLst/>
                  <a:ahLst/>
                  <a:cxnLst>
                    <a:cxn ang="0">
                      <a:pos x="17" y="1"/>
                    </a:cxn>
                    <a:cxn ang="0">
                      <a:pos x="17" y="7"/>
                    </a:cxn>
                    <a:cxn ang="0">
                      <a:pos x="13" y="7"/>
                    </a:cxn>
                    <a:cxn ang="0">
                      <a:pos x="0" y="3"/>
                    </a:cxn>
                    <a:cxn ang="0">
                      <a:pos x="17" y="1"/>
                    </a:cxn>
                  </a:cxnLst>
                  <a:rect l="0" t="0" r="r" b="b"/>
                  <a:pathLst>
                    <a:path w="17" h="7">
                      <a:moveTo>
                        <a:pt x="17" y="1"/>
                      </a:moveTo>
                      <a:cubicBezTo>
                        <a:pt x="17" y="7"/>
                        <a:pt x="17" y="7"/>
                        <a:pt x="17" y="7"/>
                      </a:cubicBezTo>
                      <a:cubicBezTo>
                        <a:pt x="16" y="7"/>
                        <a:pt x="14" y="7"/>
                        <a:pt x="13" y="7"/>
                      </a:cubicBezTo>
                      <a:cubicBezTo>
                        <a:pt x="8" y="7"/>
                        <a:pt x="2" y="5"/>
                        <a:pt x="0" y="3"/>
                      </a:cubicBezTo>
                      <a:cubicBezTo>
                        <a:pt x="8" y="1"/>
                        <a:pt x="11" y="0"/>
                        <a:pt x="17"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grpSp>
        </p:grpSp>
        <p:grpSp>
          <p:nvGrpSpPr>
            <p:cNvPr id="17" name="Group 383"/>
            <p:cNvGrpSpPr/>
            <p:nvPr/>
          </p:nvGrpSpPr>
          <p:grpSpPr>
            <a:xfrm>
              <a:off x="3584348" y="1207327"/>
              <a:ext cx="2773469" cy="1960289"/>
              <a:chOff x="4713288" y="1038225"/>
              <a:chExt cx="2847975" cy="2012950"/>
            </a:xfrm>
            <a:grpFill/>
          </p:grpSpPr>
          <p:sp>
            <p:nvSpPr>
              <p:cNvPr id="18" name="Freeform 101"/>
              <p:cNvSpPr>
                <a:spLocks/>
              </p:cNvSpPr>
              <p:nvPr/>
            </p:nvSpPr>
            <p:spPr bwMode="auto">
              <a:xfrm>
                <a:off x="4818063" y="2127250"/>
                <a:ext cx="622300" cy="538163"/>
              </a:xfrm>
              <a:custGeom>
                <a:avLst/>
                <a:gdLst/>
                <a:ahLst/>
                <a:cxnLst>
                  <a:cxn ang="0">
                    <a:pos x="102" y="154"/>
                  </a:cxn>
                  <a:cxn ang="0">
                    <a:pos x="113" y="126"/>
                  </a:cxn>
                  <a:cxn ang="0">
                    <a:pos x="122" y="86"/>
                  </a:cxn>
                  <a:cxn ang="0">
                    <a:pos x="125" y="77"/>
                  </a:cxn>
                  <a:cxn ang="0">
                    <a:pos x="108" y="77"/>
                  </a:cxn>
                  <a:cxn ang="0">
                    <a:pos x="64" y="77"/>
                  </a:cxn>
                  <a:cxn ang="0">
                    <a:pos x="27" y="79"/>
                  </a:cxn>
                  <a:cxn ang="0">
                    <a:pos x="26" y="77"/>
                  </a:cxn>
                  <a:cxn ang="0">
                    <a:pos x="0" y="55"/>
                  </a:cxn>
                  <a:cxn ang="0">
                    <a:pos x="9" y="37"/>
                  </a:cxn>
                  <a:cxn ang="0">
                    <a:pos x="41" y="20"/>
                  </a:cxn>
                  <a:cxn ang="0">
                    <a:pos x="48" y="13"/>
                  </a:cxn>
                  <a:cxn ang="0">
                    <a:pos x="80" y="4"/>
                  </a:cxn>
                  <a:cxn ang="0">
                    <a:pos x="127" y="7"/>
                  </a:cxn>
                  <a:cxn ang="0">
                    <a:pos x="174" y="15"/>
                  </a:cxn>
                  <a:cxn ang="0">
                    <a:pos x="223" y="21"/>
                  </a:cxn>
                  <a:cxn ang="0">
                    <a:pos x="256" y="44"/>
                  </a:cxn>
                  <a:cxn ang="0">
                    <a:pos x="278" y="33"/>
                  </a:cxn>
                  <a:cxn ang="0">
                    <a:pos x="281" y="43"/>
                  </a:cxn>
                  <a:cxn ang="0">
                    <a:pos x="289" y="65"/>
                  </a:cxn>
                  <a:cxn ang="0">
                    <a:pos x="309" y="76"/>
                  </a:cxn>
                  <a:cxn ang="0">
                    <a:pos x="350" y="76"/>
                  </a:cxn>
                  <a:cxn ang="0">
                    <a:pos x="359" y="63"/>
                  </a:cxn>
                  <a:cxn ang="0">
                    <a:pos x="387" y="51"/>
                  </a:cxn>
                  <a:cxn ang="0">
                    <a:pos x="439" y="74"/>
                  </a:cxn>
                  <a:cxn ang="0">
                    <a:pos x="445" y="96"/>
                  </a:cxn>
                  <a:cxn ang="0">
                    <a:pos x="435" y="119"/>
                  </a:cxn>
                  <a:cxn ang="0">
                    <a:pos x="436" y="138"/>
                  </a:cxn>
                  <a:cxn ang="0">
                    <a:pos x="449" y="156"/>
                  </a:cxn>
                  <a:cxn ang="0">
                    <a:pos x="445" y="179"/>
                  </a:cxn>
                  <a:cxn ang="0">
                    <a:pos x="448" y="232"/>
                  </a:cxn>
                  <a:cxn ang="0">
                    <a:pos x="448" y="240"/>
                  </a:cxn>
                  <a:cxn ang="0">
                    <a:pos x="393" y="231"/>
                  </a:cxn>
                  <a:cxn ang="0">
                    <a:pos x="370" y="220"/>
                  </a:cxn>
                  <a:cxn ang="0">
                    <a:pos x="333" y="207"/>
                  </a:cxn>
                  <a:cxn ang="0">
                    <a:pos x="313" y="192"/>
                  </a:cxn>
                  <a:cxn ang="0">
                    <a:pos x="278" y="183"/>
                  </a:cxn>
                  <a:cxn ang="0">
                    <a:pos x="304" y="224"/>
                  </a:cxn>
                  <a:cxn ang="0">
                    <a:pos x="315" y="227"/>
                  </a:cxn>
                  <a:cxn ang="0">
                    <a:pos x="313" y="246"/>
                  </a:cxn>
                  <a:cxn ang="0">
                    <a:pos x="379" y="225"/>
                  </a:cxn>
                  <a:cxn ang="0">
                    <a:pos x="406" y="260"/>
                  </a:cxn>
                  <a:cxn ang="0">
                    <a:pos x="414" y="270"/>
                  </a:cxn>
                  <a:cxn ang="0">
                    <a:pos x="410" y="302"/>
                  </a:cxn>
                  <a:cxn ang="0">
                    <a:pos x="390" y="321"/>
                  </a:cxn>
                  <a:cxn ang="0">
                    <a:pos x="365" y="347"/>
                  </a:cxn>
                  <a:cxn ang="0">
                    <a:pos x="328" y="368"/>
                  </a:cxn>
                  <a:cxn ang="0">
                    <a:pos x="265" y="395"/>
                  </a:cxn>
                  <a:cxn ang="0">
                    <a:pos x="234" y="404"/>
                  </a:cxn>
                  <a:cxn ang="0">
                    <a:pos x="217" y="399"/>
                  </a:cxn>
                  <a:cxn ang="0">
                    <a:pos x="209" y="372"/>
                  </a:cxn>
                  <a:cxn ang="0">
                    <a:pos x="198" y="340"/>
                  </a:cxn>
                  <a:cxn ang="0">
                    <a:pos x="162" y="280"/>
                  </a:cxn>
                  <a:cxn ang="0">
                    <a:pos x="154" y="259"/>
                  </a:cxn>
                  <a:cxn ang="0">
                    <a:pos x="140" y="251"/>
                  </a:cxn>
                  <a:cxn ang="0">
                    <a:pos x="131" y="229"/>
                  </a:cxn>
                  <a:cxn ang="0">
                    <a:pos x="109" y="196"/>
                  </a:cxn>
                  <a:cxn ang="0">
                    <a:pos x="112" y="177"/>
                  </a:cxn>
                </a:cxnLst>
                <a:rect l="0" t="0" r="r" b="b"/>
                <a:pathLst>
                  <a:path w="467" h="405">
                    <a:moveTo>
                      <a:pt x="112" y="177"/>
                    </a:moveTo>
                    <a:cubicBezTo>
                      <a:pt x="102" y="154"/>
                      <a:pt x="102" y="154"/>
                      <a:pt x="102" y="154"/>
                    </a:cubicBezTo>
                    <a:cubicBezTo>
                      <a:pt x="102" y="151"/>
                      <a:pt x="105" y="151"/>
                      <a:pt x="106" y="149"/>
                    </a:cubicBezTo>
                    <a:cubicBezTo>
                      <a:pt x="109" y="139"/>
                      <a:pt x="110" y="134"/>
                      <a:pt x="113" y="126"/>
                    </a:cubicBezTo>
                    <a:cubicBezTo>
                      <a:pt x="115" y="117"/>
                      <a:pt x="124" y="115"/>
                      <a:pt x="124" y="104"/>
                    </a:cubicBezTo>
                    <a:cubicBezTo>
                      <a:pt x="124" y="97"/>
                      <a:pt x="122" y="91"/>
                      <a:pt x="122" y="86"/>
                    </a:cubicBezTo>
                    <a:cubicBezTo>
                      <a:pt x="122" y="83"/>
                      <a:pt x="124" y="82"/>
                      <a:pt x="125" y="81"/>
                    </a:cubicBezTo>
                    <a:cubicBezTo>
                      <a:pt x="125" y="77"/>
                      <a:pt x="125" y="77"/>
                      <a:pt x="125" y="77"/>
                    </a:cubicBezTo>
                    <a:cubicBezTo>
                      <a:pt x="121" y="78"/>
                      <a:pt x="120" y="81"/>
                      <a:pt x="117" y="81"/>
                    </a:cubicBezTo>
                    <a:cubicBezTo>
                      <a:pt x="112" y="81"/>
                      <a:pt x="110" y="79"/>
                      <a:pt x="108" y="77"/>
                    </a:cubicBezTo>
                    <a:cubicBezTo>
                      <a:pt x="101" y="82"/>
                      <a:pt x="98" y="88"/>
                      <a:pt x="86" y="88"/>
                    </a:cubicBezTo>
                    <a:cubicBezTo>
                      <a:pt x="76" y="88"/>
                      <a:pt x="73" y="77"/>
                      <a:pt x="64" y="77"/>
                    </a:cubicBezTo>
                    <a:cubicBezTo>
                      <a:pt x="54" y="77"/>
                      <a:pt x="56" y="87"/>
                      <a:pt x="48" y="87"/>
                    </a:cubicBezTo>
                    <a:cubicBezTo>
                      <a:pt x="40" y="87"/>
                      <a:pt x="35" y="75"/>
                      <a:pt x="27" y="79"/>
                    </a:cubicBezTo>
                    <a:cubicBezTo>
                      <a:pt x="22" y="79"/>
                      <a:pt x="22" y="79"/>
                      <a:pt x="22" y="79"/>
                    </a:cubicBezTo>
                    <a:cubicBezTo>
                      <a:pt x="24" y="79"/>
                      <a:pt x="25" y="78"/>
                      <a:pt x="26" y="77"/>
                    </a:cubicBezTo>
                    <a:cubicBezTo>
                      <a:pt x="23" y="74"/>
                      <a:pt x="10" y="67"/>
                      <a:pt x="15" y="63"/>
                    </a:cubicBezTo>
                    <a:cubicBezTo>
                      <a:pt x="11" y="57"/>
                      <a:pt x="6" y="58"/>
                      <a:pt x="0" y="55"/>
                    </a:cubicBezTo>
                    <a:cubicBezTo>
                      <a:pt x="4" y="50"/>
                      <a:pt x="9" y="51"/>
                      <a:pt x="9" y="43"/>
                    </a:cubicBezTo>
                    <a:cubicBezTo>
                      <a:pt x="9" y="40"/>
                      <a:pt x="8" y="40"/>
                      <a:pt x="9" y="37"/>
                    </a:cubicBezTo>
                    <a:cubicBezTo>
                      <a:pt x="6" y="37"/>
                      <a:pt x="1" y="38"/>
                      <a:pt x="1" y="35"/>
                    </a:cubicBezTo>
                    <a:cubicBezTo>
                      <a:pt x="1" y="22"/>
                      <a:pt x="33" y="24"/>
                      <a:pt x="41" y="20"/>
                    </a:cubicBezTo>
                    <a:cubicBezTo>
                      <a:pt x="40" y="17"/>
                      <a:pt x="38" y="18"/>
                      <a:pt x="38" y="15"/>
                    </a:cubicBezTo>
                    <a:cubicBezTo>
                      <a:pt x="38" y="11"/>
                      <a:pt x="46" y="13"/>
                      <a:pt x="48" y="13"/>
                    </a:cubicBezTo>
                    <a:cubicBezTo>
                      <a:pt x="53" y="13"/>
                      <a:pt x="62" y="13"/>
                      <a:pt x="62" y="13"/>
                    </a:cubicBezTo>
                    <a:cubicBezTo>
                      <a:pt x="67" y="13"/>
                      <a:pt x="75" y="7"/>
                      <a:pt x="80" y="4"/>
                    </a:cubicBezTo>
                    <a:cubicBezTo>
                      <a:pt x="86" y="0"/>
                      <a:pt x="98" y="0"/>
                      <a:pt x="106" y="0"/>
                    </a:cubicBezTo>
                    <a:cubicBezTo>
                      <a:pt x="117" y="0"/>
                      <a:pt x="117" y="7"/>
                      <a:pt x="127" y="7"/>
                    </a:cubicBezTo>
                    <a:cubicBezTo>
                      <a:pt x="127" y="12"/>
                      <a:pt x="144" y="15"/>
                      <a:pt x="149" y="15"/>
                    </a:cubicBezTo>
                    <a:cubicBezTo>
                      <a:pt x="162" y="15"/>
                      <a:pt x="170" y="15"/>
                      <a:pt x="174" y="15"/>
                    </a:cubicBezTo>
                    <a:cubicBezTo>
                      <a:pt x="186" y="15"/>
                      <a:pt x="192" y="3"/>
                      <a:pt x="205" y="3"/>
                    </a:cubicBezTo>
                    <a:cubicBezTo>
                      <a:pt x="219" y="3"/>
                      <a:pt x="218" y="12"/>
                      <a:pt x="223" y="21"/>
                    </a:cubicBezTo>
                    <a:cubicBezTo>
                      <a:pt x="224" y="23"/>
                      <a:pt x="233" y="28"/>
                      <a:pt x="233" y="28"/>
                    </a:cubicBezTo>
                    <a:cubicBezTo>
                      <a:pt x="241" y="31"/>
                      <a:pt x="243" y="44"/>
                      <a:pt x="256" y="44"/>
                    </a:cubicBezTo>
                    <a:cubicBezTo>
                      <a:pt x="265" y="44"/>
                      <a:pt x="265" y="36"/>
                      <a:pt x="271" y="34"/>
                    </a:cubicBezTo>
                    <a:cubicBezTo>
                      <a:pt x="275" y="33"/>
                      <a:pt x="274" y="33"/>
                      <a:pt x="278" y="33"/>
                    </a:cubicBezTo>
                    <a:cubicBezTo>
                      <a:pt x="279" y="35"/>
                      <a:pt x="279" y="39"/>
                      <a:pt x="281" y="41"/>
                    </a:cubicBezTo>
                    <a:cubicBezTo>
                      <a:pt x="280" y="41"/>
                      <a:pt x="281" y="42"/>
                      <a:pt x="281" y="43"/>
                    </a:cubicBezTo>
                    <a:cubicBezTo>
                      <a:pt x="281" y="48"/>
                      <a:pt x="284" y="47"/>
                      <a:pt x="286" y="51"/>
                    </a:cubicBezTo>
                    <a:cubicBezTo>
                      <a:pt x="290" y="56"/>
                      <a:pt x="286" y="59"/>
                      <a:pt x="289" y="65"/>
                    </a:cubicBezTo>
                    <a:cubicBezTo>
                      <a:pt x="291" y="70"/>
                      <a:pt x="297" y="67"/>
                      <a:pt x="301" y="68"/>
                    </a:cubicBezTo>
                    <a:cubicBezTo>
                      <a:pt x="305" y="69"/>
                      <a:pt x="306" y="73"/>
                      <a:pt x="309" y="76"/>
                    </a:cubicBezTo>
                    <a:cubicBezTo>
                      <a:pt x="312" y="79"/>
                      <a:pt x="323" y="78"/>
                      <a:pt x="329" y="78"/>
                    </a:cubicBezTo>
                    <a:cubicBezTo>
                      <a:pt x="337" y="78"/>
                      <a:pt x="345" y="77"/>
                      <a:pt x="350" y="76"/>
                    </a:cubicBezTo>
                    <a:cubicBezTo>
                      <a:pt x="350" y="72"/>
                      <a:pt x="350" y="71"/>
                      <a:pt x="350" y="68"/>
                    </a:cubicBezTo>
                    <a:cubicBezTo>
                      <a:pt x="350" y="64"/>
                      <a:pt x="355" y="64"/>
                      <a:pt x="359" y="63"/>
                    </a:cubicBezTo>
                    <a:cubicBezTo>
                      <a:pt x="364" y="61"/>
                      <a:pt x="363" y="59"/>
                      <a:pt x="368" y="57"/>
                    </a:cubicBezTo>
                    <a:cubicBezTo>
                      <a:pt x="376" y="54"/>
                      <a:pt x="381" y="56"/>
                      <a:pt x="387" y="51"/>
                    </a:cubicBezTo>
                    <a:cubicBezTo>
                      <a:pt x="397" y="57"/>
                      <a:pt x="403" y="57"/>
                      <a:pt x="412" y="60"/>
                    </a:cubicBezTo>
                    <a:cubicBezTo>
                      <a:pt x="423" y="64"/>
                      <a:pt x="426" y="74"/>
                      <a:pt x="439" y="74"/>
                    </a:cubicBezTo>
                    <a:cubicBezTo>
                      <a:pt x="439" y="76"/>
                      <a:pt x="442" y="77"/>
                      <a:pt x="443" y="79"/>
                    </a:cubicBezTo>
                    <a:cubicBezTo>
                      <a:pt x="445" y="86"/>
                      <a:pt x="442" y="92"/>
                      <a:pt x="445" y="96"/>
                    </a:cubicBezTo>
                    <a:cubicBezTo>
                      <a:pt x="442" y="98"/>
                      <a:pt x="435" y="114"/>
                      <a:pt x="435" y="115"/>
                    </a:cubicBezTo>
                    <a:cubicBezTo>
                      <a:pt x="435" y="116"/>
                      <a:pt x="436" y="118"/>
                      <a:pt x="435" y="119"/>
                    </a:cubicBezTo>
                    <a:cubicBezTo>
                      <a:pt x="436" y="121"/>
                      <a:pt x="435" y="122"/>
                      <a:pt x="436" y="124"/>
                    </a:cubicBezTo>
                    <a:cubicBezTo>
                      <a:pt x="436" y="138"/>
                      <a:pt x="436" y="138"/>
                      <a:pt x="436" y="138"/>
                    </a:cubicBezTo>
                    <a:cubicBezTo>
                      <a:pt x="438" y="142"/>
                      <a:pt x="437" y="145"/>
                      <a:pt x="439" y="149"/>
                    </a:cubicBezTo>
                    <a:cubicBezTo>
                      <a:pt x="440" y="153"/>
                      <a:pt x="449" y="149"/>
                      <a:pt x="449" y="156"/>
                    </a:cubicBezTo>
                    <a:cubicBezTo>
                      <a:pt x="449" y="165"/>
                      <a:pt x="439" y="164"/>
                      <a:pt x="439" y="171"/>
                    </a:cubicBezTo>
                    <a:cubicBezTo>
                      <a:pt x="439" y="177"/>
                      <a:pt x="443" y="177"/>
                      <a:pt x="445" y="179"/>
                    </a:cubicBezTo>
                    <a:cubicBezTo>
                      <a:pt x="452" y="194"/>
                      <a:pt x="467" y="196"/>
                      <a:pt x="467" y="215"/>
                    </a:cubicBezTo>
                    <a:cubicBezTo>
                      <a:pt x="456" y="218"/>
                      <a:pt x="448" y="220"/>
                      <a:pt x="448" y="232"/>
                    </a:cubicBezTo>
                    <a:cubicBezTo>
                      <a:pt x="448" y="235"/>
                      <a:pt x="450" y="238"/>
                      <a:pt x="450" y="240"/>
                    </a:cubicBezTo>
                    <a:cubicBezTo>
                      <a:pt x="450" y="240"/>
                      <a:pt x="448" y="240"/>
                      <a:pt x="448" y="240"/>
                    </a:cubicBezTo>
                    <a:cubicBezTo>
                      <a:pt x="439" y="240"/>
                      <a:pt x="420" y="235"/>
                      <a:pt x="408" y="235"/>
                    </a:cubicBezTo>
                    <a:cubicBezTo>
                      <a:pt x="406" y="235"/>
                      <a:pt x="393" y="231"/>
                      <a:pt x="393" y="231"/>
                    </a:cubicBezTo>
                    <a:cubicBezTo>
                      <a:pt x="388" y="226"/>
                      <a:pt x="388" y="213"/>
                      <a:pt x="379" y="213"/>
                    </a:cubicBezTo>
                    <a:cubicBezTo>
                      <a:pt x="374" y="213"/>
                      <a:pt x="372" y="217"/>
                      <a:pt x="370" y="220"/>
                    </a:cubicBezTo>
                    <a:cubicBezTo>
                      <a:pt x="348" y="220"/>
                      <a:pt x="348" y="220"/>
                      <a:pt x="348" y="220"/>
                    </a:cubicBezTo>
                    <a:cubicBezTo>
                      <a:pt x="341" y="217"/>
                      <a:pt x="337" y="212"/>
                      <a:pt x="333" y="207"/>
                    </a:cubicBezTo>
                    <a:cubicBezTo>
                      <a:pt x="327" y="202"/>
                      <a:pt x="320" y="205"/>
                      <a:pt x="315" y="200"/>
                    </a:cubicBezTo>
                    <a:cubicBezTo>
                      <a:pt x="313" y="197"/>
                      <a:pt x="314" y="194"/>
                      <a:pt x="313" y="192"/>
                    </a:cubicBezTo>
                    <a:cubicBezTo>
                      <a:pt x="308" y="182"/>
                      <a:pt x="299" y="168"/>
                      <a:pt x="286" y="168"/>
                    </a:cubicBezTo>
                    <a:cubicBezTo>
                      <a:pt x="280" y="168"/>
                      <a:pt x="278" y="176"/>
                      <a:pt x="278" y="183"/>
                    </a:cubicBezTo>
                    <a:cubicBezTo>
                      <a:pt x="278" y="187"/>
                      <a:pt x="278" y="189"/>
                      <a:pt x="278" y="193"/>
                    </a:cubicBezTo>
                    <a:cubicBezTo>
                      <a:pt x="281" y="203"/>
                      <a:pt x="293" y="222"/>
                      <a:pt x="304" y="224"/>
                    </a:cubicBezTo>
                    <a:cubicBezTo>
                      <a:pt x="304" y="229"/>
                      <a:pt x="306" y="231"/>
                      <a:pt x="307" y="235"/>
                    </a:cubicBezTo>
                    <a:cubicBezTo>
                      <a:pt x="312" y="233"/>
                      <a:pt x="311" y="228"/>
                      <a:pt x="315" y="227"/>
                    </a:cubicBezTo>
                    <a:cubicBezTo>
                      <a:pt x="316" y="228"/>
                      <a:pt x="316" y="230"/>
                      <a:pt x="316" y="231"/>
                    </a:cubicBezTo>
                    <a:cubicBezTo>
                      <a:pt x="316" y="237"/>
                      <a:pt x="313" y="240"/>
                      <a:pt x="313" y="246"/>
                    </a:cubicBezTo>
                    <a:cubicBezTo>
                      <a:pt x="313" y="252"/>
                      <a:pt x="324" y="255"/>
                      <a:pt x="331" y="255"/>
                    </a:cubicBezTo>
                    <a:cubicBezTo>
                      <a:pt x="360" y="255"/>
                      <a:pt x="363" y="237"/>
                      <a:pt x="379" y="225"/>
                    </a:cubicBezTo>
                    <a:cubicBezTo>
                      <a:pt x="379" y="241"/>
                      <a:pt x="379" y="241"/>
                      <a:pt x="379" y="241"/>
                    </a:cubicBezTo>
                    <a:cubicBezTo>
                      <a:pt x="385" y="254"/>
                      <a:pt x="393" y="256"/>
                      <a:pt x="406" y="260"/>
                    </a:cubicBezTo>
                    <a:cubicBezTo>
                      <a:pt x="411" y="261"/>
                      <a:pt x="411" y="269"/>
                      <a:pt x="414" y="271"/>
                    </a:cubicBezTo>
                    <a:cubicBezTo>
                      <a:pt x="414" y="270"/>
                      <a:pt x="414" y="270"/>
                      <a:pt x="414" y="270"/>
                    </a:cubicBezTo>
                    <a:cubicBezTo>
                      <a:pt x="416" y="274"/>
                      <a:pt x="423" y="273"/>
                      <a:pt x="423" y="277"/>
                    </a:cubicBezTo>
                    <a:cubicBezTo>
                      <a:pt x="423" y="288"/>
                      <a:pt x="410" y="291"/>
                      <a:pt x="410" y="302"/>
                    </a:cubicBezTo>
                    <a:cubicBezTo>
                      <a:pt x="403" y="302"/>
                      <a:pt x="399" y="303"/>
                      <a:pt x="397" y="309"/>
                    </a:cubicBezTo>
                    <a:cubicBezTo>
                      <a:pt x="395" y="314"/>
                      <a:pt x="396" y="321"/>
                      <a:pt x="390" y="321"/>
                    </a:cubicBezTo>
                    <a:cubicBezTo>
                      <a:pt x="384" y="321"/>
                      <a:pt x="384" y="334"/>
                      <a:pt x="378" y="334"/>
                    </a:cubicBezTo>
                    <a:cubicBezTo>
                      <a:pt x="374" y="334"/>
                      <a:pt x="365" y="342"/>
                      <a:pt x="365" y="347"/>
                    </a:cubicBezTo>
                    <a:cubicBezTo>
                      <a:pt x="353" y="349"/>
                      <a:pt x="327" y="354"/>
                      <a:pt x="327" y="364"/>
                    </a:cubicBezTo>
                    <a:cubicBezTo>
                      <a:pt x="327" y="365"/>
                      <a:pt x="327" y="367"/>
                      <a:pt x="328" y="368"/>
                    </a:cubicBezTo>
                    <a:cubicBezTo>
                      <a:pt x="318" y="373"/>
                      <a:pt x="304" y="376"/>
                      <a:pt x="294" y="378"/>
                    </a:cubicBezTo>
                    <a:cubicBezTo>
                      <a:pt x="289" y="380"/>
                      <a:pt x="271" y="392"/>
                      <a:pt x="265" y="395"/>
                    </a:cubicBezTo>
                    <a:cubicBezTo>
                      <a:pt x="252" y="395"/>
                      <a:pt x="252" y="395"/>
                      <a:pt x="252" y="395"/>
                    </a:cubicBezTo>
                    <a:cubicBezTo>
                      <a:pt x="244" y="400"/>
                      <a:pt x="243" y="404"/>
                      <a:pt x="234" y="404"/>
                    </a:cubicBezTo>
                    <a:cubicBezTo>
                      <a:pt x="231" y="405"/>
                      <a:pt x="231" y="405"/>
                      <a:pt x="231" y="405"/>
                    </a:cubicBezTo>
                    <a:cubicBezTo>
                      <a:pt x="229" y="405"/>
                      <a:pt x="218" y="400"/>
                      <a:pt x="217" y="399"/>
                    </a:cubicBezTo>
                    <a:cubicBezTo>
                      <a:pt x="216" y="399"/>
                      <a:pt x="219" y="399"/>
                      <a:pt x="217" y="394"/>
                    </a:cubicBezTo>
                    <a:cubicBezTo>
                      <a:pt x="212" y="387"/>
                      <a:pt x="209" y="380"/>
                      <a:pt x="209" y="372"/>
                    </a:cubicBezTo>
                    <a:cubicBezTo>
                      <a:pt x="204" y="371"/>
                      <a:pt x="207" y="363"/>
                      <a:pt x="208" y="359"/>
                    </a:cubicBezTo>
                    <a:cubicBezTo>
                      <a:pt x="210" y="349"/>
                      <a:pt x="203" y="345"/>
                      <a:pt x="198" y="340"/>
                    </a:cubicBezTo>
                    <a:cubicBezTo>
                      <a:pt x="193" y="335"/>
                      <a:pt x="181" y="320"/>
                      <a:pt x="181" y="309"/>
                    </a:cubicBezTo>
                    <a:cubicBezTo>
                      <a:pt x="165" y="306"/>
                      <a:pt x="162" y="297"/>
                      <a:pt x="162" y="280"/>
                    </a:cubicBezTo>
                    <a:cubicBezTo>
                      <a:pt x="162" y="270"/>
                      <a:pt x="156" y="268"/>
                      <a:pt x="154" y="259"/>
                    </a:cubicBezTo>
                    <a:cubicBezTo>
                      <a:pt x="154" y="259"/>
                      <a:pt x="154" y="259"/>
                      <a:pt x="154" y="259"/>
                    </a:cubicBezTo>
                    <a:cubicBezTo>
                      <a:pt x="152" y="258"/>
                      <a:pt x="150" y="255"/>
                      <a:pt x="148" y="254"/>
                    </a:cubicBezTo>
                    <a:cubicBezTo>
                      <a:pt x="147" y="252"/>
                      <a:pt x="141" y="253"/>
                      <a:pt x="140" y="251"/>
                    </a:cubicBezTo>
                    <a:cubicBezTo>
                      <a:pt x="137" y="249"/>
                      <a:pt x="138" y="242"/>
                      <a:pt x="137" y="239"/>
                    </a:cubicBezTo>
                    <a:cubicBezTo>
                      <a:pt x="136" y="235"/>
                      <a:pt x="132" y="231"/>
                      <a:pt x="131" y="229"/>
                    </a:cubicBezTo>
                    <a:cubicBezTo>
                      <a:pt x="125" y="221"/>
                      <a:pt x="121" y="214"/>
                      <a:pt x="116" y="207"/>
                    </a:cubicBezTo>
                    <a:cubicBezTo>
                      <a:pt x="115" y="205"/>
                      <a:pt x="109" y="198"/>
                      <a:pt x="109" y="196"/>
                    </a:cubicBezTo>
                    <a:cubicBezTo>
                      <a:pt x="109" y="192"/>
                      <a:pt x="112" y="182"/>
                      <a:pt x="112" y="175"/>
                    </a:cubicBezTo>
                    <a:lnTo>
                      <a:pt x="112"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9" name="Freeform 102"/>
              <p:cNvSpPr>
                <a:spLocks/>
              </p:cNvSpPr>
              <p:nvPr/>
            </p:nvSpPr>
            <p:spPr bwMode="auto">
              <a:xfrm>
                <a:off x="5713413" y="2714625"/>
                <a:ext cx="33338" cy="63500"/>
              </a:xfrm>
              <a:custGeom>
                <a:avLst/>
                <a:gdLst/>
                <a:ahLst/>
                <a:cxnLst>
                  <a:cxn ang="0">
                    <a:pos x="25" y="30"/>
                  </a:cxn>
                  <a:cxn ang="0">
                    <a:pos x="11" y="48"/>
                  </a:cxn>
                  <a:cxn ang="0">
                    <a:pos x="0" y="35"/>
                  </a:cxn>
                  <a:cxn ang="0">
                    <a:pos x="6" y="0"/>
                  </a:cxn>
                  <a:cxn ang="0">
                    <a:pos x="25" y="30"/>
                  </a:cxn>
                </a:cxnLst>
                <a:rect l="0" t="0" r="r" b="b"/>
                <a:pathLst>
                  <a:path w="25" h="48">
                    <a:moveTo>
                      <a:pt x="25" y="30"/>
                    </a:moveTo>
                    <a:cubicBezTo>
                      <a:pt x="25" y="37"/>
                      <a:pt x="20" y="48"/>
                      <a:pt x="11" y="48"/>
                    </a:cubicBezTo>
                    <a:cubicBezTo>
                      <a:pt x="5" y="48"/>
                      <a:pt x="0" y="41"/>
                      <a:pt x="0" y="35"/>
                    </a:cubicBezTo>
                    <a:cubicBezTo>
                      <a:pt x="0" y="22"/>
                      <a:pt x="6" y="13"/>
                      <a:pt x="6" y="0"/>
                    </a:cubicBezTo>
                    <a:cubicBezTo>
                      <a:pt x="13" y="10"/>
                      <a:pt x="25" y="15"/>
                      <a:pt x="25"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0" name="Freeform 103"/>
              <p:cNvSpPr>
                <a:spLocks/>
              </p:cNvSpPr>
              <p:nvPr/>
            </p:nvSpPr>
            <p:spPr bwMode="auto">
              <a:xfrm>
                <a:off x="5397500" y="2195513"/>
                <a:ext cx="677863" cy="544513"/>
              </a:xfrm>
              <a:custGeom>
                <a:avLst/>
                <a:gdLst/>
                <a:ahLst/>
                <a:cxnLst>
                  <a:cxn ang="0">
                    <a:pos x="148" y="270"/>
                  </a:cxn>
                  <a:cxn ang="0">
                    <a:pos x="174" y="340"/>
                  </a:cxn>
                  <a:cxn ang="0">
                    <a:pos x="200" y="401"/>
                  </a:cxn>
                  <a:cxn ang="0">
                    <a:pos x="216" y="401"/>
                  </a:cxn>
                  <a:cxn ang="0">
                    <a:pos x="237" y="379"/>
                  </a:cxn>
                  <a:cxn ang="0">
                    <a:pos x="243" y="341"/>
                  </a:cxn>
                  <a:cxn ang="0">
                    <a:pos x="268" y="298"/>
                  </a:cxn>
                  <a:cxn ang="0">
                    <a:pos x="326" y="240"/>
                  </a:cxn>
                  <a:cxn ang="0">
                    <a:pos x="374" y="218"/>
                  </a:cxn>
                  <a:cxn ang="0">
                    <a:pos x="409" y="259"/>
                  </a:cxn>
                  <a:cxn ang="0">
                    <a:pos x="423" y="302"/>
                  </a:cxn>
                  <a:cxn ang="0">
                    <a:pos x="457" y="300"/>
                  </a:cxn>
                  <a:cxn ang="0">
                    <a:pos x="476" y="367"/>
                  </a:cxn>
                  <a:cxn ang="0">
                    <a:pos x="489" y="358"/>
                  </a:cxn>
                  <a:cxn ang="0">
                    <a:pos x="472" y="316"/>
                  </a:cxn>
                  <a:cxn ang="0">
                    <a:pos x="473" y="288"/>
                  </a:cxn>
                  <a:cxn ang="0">
                    <a:pos x="483" y="254"/>
                  </a:cxn>
                  <a:cxn ang="0">
                    <a:pos x="487" y="213"/>
                  </a:cxn>
                  <a:cxn ang="0">
                    <a:pos x="467" y="197"/>
                  </a:cxn>
                  <a:cxn ang="0">
                    <a:pos x="445" y="125"/>
                  </a:cxn>
                  <a:cxn ang="0">
                    <a:pos x="423" y="130"/>
                  </a:cxn>
                  <a:cxn ang="0">
                    <a:pos x="373" y="144"/>
                  </a:cxn>
                  <a:cxn ang="0">
                    <a:pos x="341" y="147"/>
                  </a:cxn>
                  <a:cxn ang="0">
                    <a:pos x="295" y="136"/>
                  </a:cxn>
                  <a:cxn ang="0">
                    <a:pos x="254" y="116"/>
                  </a:cxn>
                  <a:cxn ang="0">
                    <a:pos x="226" y="89"/>
                  </a:cxn>
                  <a:cxn ang="0">
                    <a:pos x="229" y="69"/>
                  </a:cxn>
                  <a:cxn ang="0">
                    <a:pos x="213" y="43"/>
                  </a:cxn>
                  <a:cxn ang="0">
                    <a:pos x="178" y="16"/>
                  </a:cxn>
                  <a:cxn ang="0">
                    <a:pos x="131" y="0"/>
                  </a:cxn>
                  <a:cxn ang="0">
                    <a:pos x="94" y="21"/>
                  </a:cxn>
                  <a:cxn ang="0">
                    <a:pos x="65" y="13"/>
                  </a:cxn>
                  <a:cxn ang="0">
                    <a:pos x="23" y="46"/>
                  </a:cxn>
                  <a:cxn ang="0">
                    <a:pos x="0" y="64"/>
                  </a:cxn>
                  <a:cxn ang="0">
                    <a:pos x="1" y="87"/>
                  </a:cxn>
                  <a:cxn ang="0">
                    <a:pos x="4" y="120"/>
                  </a:cxn>
                  <a:cxn ang="0">
                    <a:pos x="13" y="181"/>
                  </a:cxn>
                  <a:cxn ang="0">
                    <a:pos x="34" y="185"/>
                  </a:cxn>
                  <a:cxn ang="0">
                    <a:pos x="70" y="185"/>
                  </a:cxn>
                  <a:cxn ang="0">
                    <a:pos x="118" y="219"/>
                  </a:cxn>
                  <a:cxn ang="0">
                    <a:pos x="127" y="248"/>
                  </a:cxn>
                  <a:cxn ang="0">
                    <a:pos x="145" y="233"/>
                  </a:cxn>
                  <a:cxn ang="0">
                    <a:pos x="149" y="265"/>
                  </a:cxn>
                </a:cxnLst>
                <a:rect l="0" t="0" r="r" b="b"/>
                <a:pathLst>
                  <a:path w="509" h="410">
                    <a:moveTo>
                      <a:pt x="149" y="265"/>
                    </a:moveTo>
                    <a:cubicBezTo>
                      <a:pt x="147" y="263"/>
                      <a:pt x="147" y="263"/>
                      <a:pt x="147" y="263"/>
                    </a:cubicBezTo>
                    <a:cubicBezTo>
                      <a:pt x="147" y="265"/>
                      <a:pt x="148" y="268"/>
                      <a:pt x="148" y="270"/>
                    </a:cubicBezTo>
                    <a:cubicBezTo>
                      <a:pt x="148" y="278"/>
                      <a:pt x="153" y="286"/>
                      <a:pt x="155" y="295"/>
                    </a:cubicBezTo>
                    <a:cubicBezTo>
                      <a:pt x="158" y="305"/>
                      <a:pt x="166" y="319"/>
                      <a:pt x="168" y="326"/>
                    </a:cubicBezTo>
                    <a:cubicBezTo>
                      <a:pt x="170" y="332"/>
                      <a:pt x="170" y="334"/>
                      <a:pt x="174" y="340"/>
                    </a:cubicBezTo>
                    <a:cubicBezTo>
                      <a:pt x="177" y="345"/>
                      <a:pt x="175" y="351"/>
                      <a:pt x="179" y="358"/>
                    </a:cubicBezTo>
                    <a:cubicBezTo>
                      <a:pt x="180" y="362"/>
                      <a:pt x="187" y="366"/>
                      <a:pt x="188" y="372"/>
                    </a:cubicBezTo>
                    <a:cubicBezTo>
                      <a:pt x="191" y="382"/>
                      <a:pt x="196" y="390"/>
                      <a:pt x="200" y="401"/>
                    </a:cubicBezTo>
                    <a:cubicBezTo>
                      <a:pt x="200" y="402"/>
                      <a:pt x="202" y="405"/>
                      <a:pt x="204" y="405"/>
                    </a:cubicBezTo>
                    <a:cubicBezTo>
                      <a:pt x="204" y="409"/>
                      <a:pt x="207" y="410"/>
                      <a:pt x="210" y="410"/>
                    </a:cubicBezTo>
                    <a:cubicBezTo>
                      <a:pt x="214" y="410"/>
                      <a:pt x="214" y="405"/>
                      <a:pt x="216" y="401"/>
                    </a:cubicBezTo>
                    <a:cubicBezTo>
                      <a:pt x="218" y="397"/>
                      <a:pt x="219" y="398"/>
                      <a:pt x="224" y="396"/>
                    </a:cubicBezTo>
                    <a:cubicBezTo>
                      <a:pt x="228" y="394"/>
                      <a:pt x="227" y="382"/>
                      <a:pt x="233" y="381"/>
                    </a:cubicBezTo>
                    <a:cubicBezTo>
                      <a:pt x="234" y="380"/>
                      <a:pt x="237" y="380"/>
                      <a:pt x="237" y="379"/>
                    </a:cubicBezTo>
                    <a:cubicBezTo>
                      <a:pt x="240" y="379"/>
                      <a:pt x="240" y="379"/>
                      <a:pt x="240" y="379"/>
                    </a:cubicBezTo>
                    <a:cubicBezTo>
                      <a:pt x="237" y="367"/>
                      <a:pt x="237" y="367"/>
                      <a:pt x="237" y="367"/>
                    </a:cubicBezTo>
                    <a:cubicBezTo>
                      <a:pt x="237" y="359"/>
                      <a:pt x="243" y="352"/>
                      <a:pt x="243" y="341"/>
                    </a:cubicBezTo>
                    <a:cubicBezTo>
                      <a:pt x="243" y="334"/>
                      <a:pt x="240" y="329"/>
                      <a:pt x="240" y="321"/>
                    </a:cubicBezTo>
                    <a:cubicBezTo>
                      <a:pt x="240" y="312"/>
                      <a:pt x="249" y="311"/>
                      <a:pt x="257" y="308"/>
                    </a:cubicBezTo>
                    <a:cubicBezTo>
                      <a:pt x="260" y="307"/>
                      <a:pt x="265" y="302"/>
                      <a:pt x="268" y="298"/>
                    </a:cubicBezTo>
                    <a:cubicBezTo>
                      <a:pt x="277" y="290"/>
                      <a:pt x="284" y="281"/>
                      <a:pt x="293" y="272"/>
                    </a:cubicBezTo>
                    <a:cubicBezTo>
                      <a:pt x="300" y="265"/>
                      <a:pt x="313" y="263"/>
                      <a:pt x="321" y="255"/>
                    </a:cubicBezTo>
                    <a:cubicBezTo>
                      <a:pt x="325" y="251"/>
                      <a:pt x="325" y="246"/>
                      <a:pt x="326" y="240"/>
                    </a:cubicBezTo>
                    <a:cubicBezTo>
                      <a:pt x="328" y="236"/>
                      <a:pt x="337" y="236"/>
                      <a:pt x="340" y="229"/>
                    </a:cubicBezTo>
                    <a:cubicBezTo>
                      <a:pt x="344" y="231"/>
                      <a:pt x="344" y="233"/>
                      <a:pt x="351" y="233"/>
                    </a:cubicBezTo>
                    <a:cubicBezTo>
                      <a:pt x="362" y="233"/>
                      <a:pt x="374" y="231"/>
                      <a:pt x="374" y="218"/>
                    </a:cubicBezTo>
                    <a:cubicBezTo>
                      <a:pt x="381" y="219"/>
                      <a:pt x="389" y="222"/>
                      <a:pt x="390" y="228"/>
                    </a:cubicBezTo>
                    <a:cubicBezTo>
                      <a:pt x="392" y="233"/>
                      <a:pt x="391" y="240"/>
                      <a:pt x="395" y="245"/>
                    </a:cubicBezTo>
                    <a:cubicBezTo>
                      <a:pt x="398" y="251"/>
                      <a:pt x="403" y="255"/>
                      <a:pt x="409" y="259"/>
                    </a:cubicBezTo>
                    <a:cubicBezTo>
                      <a:pt x="414" y="267"/>
                      <a:pt x="419" y="274"/>
                      <a:pt x="422" y="283"/>
                    </a:cubicBezTo>
                    <a:cubicBezTo>
                      <a:pt x="423" y="285"/>
                      <a:pt x="425" y="286"/>
                      <a:pt x="425" y="289"/>
                    </a:cubicBezTo>
                    <a:cubicBezTo>
                      <a:pt x="425" y="293"/>
                      <a:pt x="423" y="296"/>
                      <a:pt x="423" y="302"/>
                    </a:cubicBezTo>
                    <a:cubicBezTo>
                      <a:pt x="423" y="307"/>
                      <a:pt x="423" y="313"/>
                      <a:pt x="430" y="313"/>
                    </a:cubicBezTo>
                    <a:cubicBezTo>
                      <a:pt x="442" y="313"/>
                      <a:pt x="445" y="300"/>
                      <a:pt x="453" y="293"/>
                    </a:cubicBezTo>
                    <a:cubicBezTo>
                      <a:pt x="455" y="295"/>
                      <a:pt x="454" y="297"/>
                      <a:pt x="457" y="300"/>
                    </a:cubicBezTo>
                    <a:cubicBezTo>
                      <a:pt x="457" y="300"/>
                      <a:pt x="461" y="300"/>
                      <a:pt x="462" y="302"/>
                    </a:cubicBezTo>
                    <a:cubicBezTo>
                      <a:pt x="467" y="308"/>
                      <a:pt x="459" y="322"/>
                      <a:pt x="465" y="322"/>
                    </a:cubicBezTo>
                    <a:cubicBezTo>
                      <a:pt x="465" y="336"/>
                      <a:pt x="476" y="347"/>
                      <a:pt x="476" y="367"/>
                    </a:cubicBezTo>
                    <a:cubicBezTo>
                      <a:pt x="476" y="371"/>
                      <a:pt x="473" y="382"/>
                      <a:pt x="476" y="383"/>
                    </a:cubicBezTo>
                    <a:cubicBezTo>
                      <a:pt x="480" y="376"/>
                      <a:pt x="481" y="371"/>
                      <a:pt x="485" y="363"/>
                    </a:cubicBezTo>
                    <a:cubicBezTo>
                      <a:pt x="486" y="361"/>
                      <a:pt x="489" y="360"/>
                      <a:pt x="489" y="358"/>
                    </a:cubicBezTo>
                    <a:cubicBezTo>
                      <a:pt x="489" y="354"/>
                      <a:pt x="483" y="334"/>
                      <a:pt x="479" y="330"/>
                    </a:cubicBezTo>
                    <a:cubicBezTo>
                      <a:pt x="476" y="327"/>
                      <a:pt x="472" y="325"/>
                      <a:pt x="472" y="320"/>
                    </a:cubicBezTo>
                    <a:cubicBezTo>
                      <a:pt x="472" y="319"/>
                      <a:pt x="472" y="318"/>
                      <a:pt x="472" y="316"/>
                    </a:cubicBezTo>
                    <a:cubicBezTo>
                      <a:pt x="472" y="317"/>
                      <a:pt x="472" y="317"/>
                      <a:pt x="472" y="317"/>
                    </a:cubicBezTo>
                    <a:cubicBezTo>
                      <a:pt x="473" y="316"/>
                      <a:pt x="476" y="311"/>
                      <a:pt x="476" y="307"/>
                    </a:cubicBezTo>
                    <a:cubicBezTo>
                      <a:pt x="476" y="302"/>
                      <a:pt x="476" y="293"/>
                      <a:pt x="473" y="288"/>
                    </a:cubicBezTo>
                    <a:cubicBezTo>
                      <a:pt x="470" y="284"/>
                      <a:pt x="464" y="284"/>
                      <a:pt x="464" y="276"/>
                    </a:cubicBezTo>
                    <a:cubicBezTo>
                      <a:pt x="464" y="268"/>
                      <a:pt x="467" y="262"/>
                      <a:pt x="472" y="258"/>
                    </a:cubicBezTo>
                    <a:cubicBezTo>
                      <a:pt x="474" y="255"/>
                      <a:pt x="479" y="256"/>
                      <a:pt x="483" y="254"/>
                    </a:cubicBezTo>
                    <a:cubicBezTo>
                      <a:pt x="493" y="247"/>
                      <a:pt x="500" y="244"/>
                      <a:pt x="509" y="230"/>
                    </a:cubicBezTo>
                    <a:cubicBezTo>
                      <a:pt x="506" y="230"/>
                      <a:pt x="505" y="231"/>
                      <a:pt x="501" y="231"/>
                    </a:cubicBezTo>
                    <a:cubicBezTo>
                      <a:pt x="493" y="231"/>
                      <a:pt x="487" y="222"/>
                      <a:pt x="487" y="213"/>
                    </a:cubicBezTo>
                    <a:cubicBezTo>
                      <a:pt x="483" y="212"/>
                      <a:pt x="482" y="199"/>
                      <a:pt x="478" y="199"/>
                    </a:cubicBezTo>
                    <a:cubicBezTo>
                      <a:pt x="475" y="199"/>
                      <a:pt x="472" y="202"/>
                      <a:pt x="469" y="202"/>
                    </a:cubicBezTo>
                    <a:cubicBezTo>
                      <a:pt x="468" y="202"/>
                      <a:pt x="467" y="199"/>
                      <a:pt x="467" y="197"/>
                    </a:cubicBezTo>
                    <a:cubicBezTo>
                      <a:pt x="467" y="181"/>
                      <a:pt x="479" y="180"/>
                      <a:pt x="479" y="163"/>
                    </a:cubicBezTo>
                    <a:cubicBezTo>
                      <a:pt x="479" y="154"/>
                      <a:pt x="472" y="151"/>
                      <a:pt x="468" y="144"/>
                    </a:cubicBezTo>
                    <a:cubicBezTo>
                      <a:pt x="457" y="139"/>
                      <a:pt x="448" y="140"/>
                      <a:pt x="445" y="125"/>
                    </a:cubicBezTo>
                    <a:cubicBezTo>
                      <a:pt x="442" y="125"/>
                      <a:pt x="442" y="125"/>
                      <a:pt x="442" y="125"/>
                    </a:cubicBezTo>
                    <a:cubicBezTo>
                      <a:pt x="438" y="129"/>
                      <a:pt x="438" y="129"/>
                      <a:pt x="438" y="129"/>
                    </a:cubicBezTo>
                    <a:cubicBezTo>
                      <a:pt x="433" y="131"/>
                      <a:pt x="427" y="126"/>
                      <a:pt x="423" y="130"/>
                    </a:cubicBezTo>
                    <a:cubicBezTo>
                      <a:pt x="422" y="132"/>
                      <a:pt x="421" y="133"/>
                      <a:pt x="418" y="135"/>
                    </a:cubicBezTo>
                    <a:cubicBezTo>
                      <a:pt x="415" y="137"/>
                      <a:pt x="401" y="149"/>
                      <a:pt x="394" y="149"/>
                    </a:cubicBezTo>
                    <a:cubicBezTo>
                      <a:pt x="387" y="149"/>
                      <a:pt x="382" y="144"/>
                      <a:pt x="373" y="144"/>
                    </a:cubicBezTo>
                    <a:cubicBezTo>
                      <a:pt x="362" y="144"/>
                      <a:pt x="360" y="152"/>
                      <a:pt x="354" y="155"/>
                    </a:cubicBezTo>
                    <a:cubicBezTo>
                      <a:pt x="353" y="152"/>
                      <a:pt x="352" y="145"/>
                      <a:pt x="349" y="145"/>
                    </a:cubicBezTo>
                    <a:cubicBezTo>
                      <a:pt x="347" y="145"/>
                      <a:pt x="345" y="147"/>
                      <a:pt x="341" y="147"/>
                    </a:cubicBezTo>
                    <a:cubicBezTo>
                      <a:pt x="335" y="147"/>
                      <a:pt x="329" y="147"/>
                      <a:pt x="323" y="147"/>
                    </a:cubicBezTo>
                    <a:cubicBezTo>
                      <a:pt x="313" y="147"/>
                      <a:pt x="309" y="141"/>
                      <a:pt x="302" y="136"/>
                    </a:cubicBezTo>
                    <a:cubicBezTo>
                      <a:pt x="300" y="135"/>
                      <a:pt x="296" y="139"/>
                      <a:pt x="295" y="136"/>
                    </a:cubicBezTo>
                    <a:cubicBezTo>
                      <a:pt x="293" y="132"/>
                      <a:pt x="293" y="129"/>
                      <a:pt x="290" y="127"/>
                    </a:cubicBezTo>
                    <a:cubicBezTo>
                      <a:pt x="283" y="124"/>
                      <a:pt x="279" y="126"/>
                      <a:pt x="273" y="120"/>
                    </a:cubicBezTo>
                    <a:cubicBezTo>
                      <a:pt x="268" y="115"/>
                      <a:pt x="263" y="118"/>
                      <a:pt x="254" y="116"/>
                    </a:cubicBezTo>
                    <a:cubicBezTo>
                      <a:pt x="246" y="114"/>
                      <a:pt x="243" y="108"/>
                      <a:pt x="236" y="106"/>
                    </a:cubicBezTo>
                    <a:cubicBezTo>
                      <a:pt x="234" y="105"/>
                      <a:pt x="229" y="106"/>
                      <a:pt x="228" y="103"/>
                    </a:cubicBezTo>
                    <a:cubicBezTo>
                      <a:pt x="227" y="98"/>
                      <a:pt x="227" y="94"/>
                      <a:pt x="226" y="89"/>
                    </a:cubicBezTo>
                    <a:cubicBezTo>
                      <a:pt x="226" y="85"/>
                      <a:pt x="226" y="85"/>
                      <a:pt x="226" y="85"/>
                    </a:cubicBezTo>
                    <a:cubicBezTo>
                      <a:pt x="231" y="85"/>
                      <a:pt x="236" y="86"/>
                      <a:pt x="236" y="80"/>
                    </a:cubicBezTo>
                    <a:cubicBezTo>
                      <a:pt x="236" y="75"/>
                      <a:pt x="229" y="74"/>
                      <a:pt x="229" y="69"/>
                    </a:cubicBezTo>
                    <a:cubicBezTo>
                      <a:pt x="229" y="57"/>
                      <a:pt x="246" y="59"/>
                      <a:pt x="246" y="47"/>
                    </a:cubicBezTo>
                    <a:cubicBezTo>
                      <a:pt x="246" y="43"/>
                      <a:pt x="236" y="35"/>
                      <a:pt x="232" y="35"/>
                    </a:cubicBezTo>
                    <a:cubicBezTo>
                      <a:pt x="224" y="35"/>
                      <a:pt x="221" y="42"/>
                      <a:pt x="213" y="43"/>
                    </a:cubicBezTo>
                    <a:cubicBezTo>
                      <a:pt x="205" y="40"/>
                      <a:pt x="200" y="40"/>
                      <a:pt x="194" y="34"/>
                    </a:cubicBezTo>
                    <a:cubicBezTo>
                      <a:pt x="191" y="31"/>
                      <a:pt x="193" y="25"/>
                      <a:pt x="188" y="24"/>
                    </a:cubicBezTo>
                    <a:cubicBezTo>
                      <a:pt x="182" y="22"/>
                      <a:pt x="178" y="24"/>
                      <a:pt x="178" y="16"/>
                    </a:cubicBezTo>
                    <a:cubicBezTo>
                      <a:pt x="172" y="15"/>
                      <a:pt x="168" y="15"/>
                      <a:pt x="163" y="15"/>
                    </a:cubicBezTo>
                    <a:cubicBezTo>
                      <a:pt x="154" y="15"/>
                      <a:pt x="150" y="23"/>
                      <a:pt x="140" y="23"/>
                    </a:cubicBezTo>
                    <a:cubicBezTo>
                      <a:pt x="130" y="23"/>
                      <a:pt x="140" y="0"/>
                      <a:pt x="131" y="0"/>
                    </a:cubicBezTo>
                    <a:cubicBezTo>
                      <a:pt x="122" y="0"/>
                      <a:pt x="120" y="10"/>
                      <a:pt x="116" y="10"/>
                    </a:cubicBezTo>
                    <a:cubicBezTo>
                      <a:pt x="115" y="10"/>
                      <a:pt x="114" y="11"/>
                      <a:pt x="113" y="10"/>
                    </a:cubicBezTo>
                    <a:cubicBezTo>
                      <a:pt x="110" y="16"/>
                      <a:pt x="103" y="21"/>
                      <a:pt x="94" y="21"/>
                    </a:cubicBezTo>
                    <a:cubicBezTo>
                      <a:pt x="91" y="21"/>
                      <a:pt x="90" y="16"/>
                      <a:pt x="86" y="16"/>
                    </a:cubicBezTo>
                    <a:cubicBezTo>
                      <a:pt x="83" y="16"/>
                      <a:pt x="73" y="20"/>
                      <a:pt x="72" y="15"/>
                    </a:cubicBezTo>
                    <a:cubicBezTo>
                      <a:pt x="68" y="15"/>
                      <a:pt x="69" y="13"/>
                      <a:pt x="65" y="13"/>
                    </a:cubicBezTo>
                    <a:cubicBezTo>
                      <a:pt x="54" y="13"/>
                      <a:pt x="53" y="24"/>
                      <a:pt x="45" y="32"/>
                    </a:cubicBezTo>
                    <a:cubicBezTo>
                      <a:pt x="42" y="35"/>
                      <a:pt x="37" y="35"/>
                      <a:pt x="33" y="39"/>
                    </a:cubicBezTo>
                    <a:cubicBezTo>
                      <a:pt x="30" y="42"/>
                      <a:pt x="28" y="46"/>
                      <a:pt x="23" y="46"/>
                    </a:cubicBezTo>
                    <a:cubicBezTo>
                      <a:pt x="19" y="46"/>
                      <a:pt x="16" y="42"/>
                      <a:pt x="12" y="42"/>
                    </a:cubicBezTo>
                    <a:cubicBezTo>
                      <a:pt x="11" y="42"/>
                      <a:pt x="11" y="45"/>
                      <a:pt x="10" y="45"/>
                    </a:cubicBezTo>
                    <a:cubicBezTo>
                      <a:pt x="7" y="47"/>
                      <a:pt x="0" y="63"/>
                      <a:pt x="0" y="64"/>
                    </a:cubicBezTo>
                    <a:cubicBezTo>
                      <a:pt x="0" y="65"/>
                      <a:pt x="1" y="67"/>
                      <a:pt x="0" y="68"/>
                    </a:cubicBezTo>
                    <a:cubicBezTo>
                      <a:pt x="1" y="70"/>
                      <a:pt x="0" y="71"/>
                      <a:pt x="1" y="73"/>
                    </a:cubicBezTo>
                    <a:cubicBezTo>
                      <a:pt x="1" y="87"/>
                      <a:pt x="1" y="87"/>
                      <a:pt x="1" y="87"/>
                    </a:cubicBezTo>
                    <a:cubicBezTo>
                      <a:pt x="3" y="91"/>
                      <a:pt x="2" y="94"/>
                      <a:pt x="4" y="98"/>
                    </a:cubicBezTo>
                    <a:cubicBezTo>
                      <a:pt x="5" y="102"/>
                      <a:pt x="14" y="98"/>
                      <a:pt x="14" y="105"/>
                    </a:cubicBezTo>
                    <a:cubicBezTo>
                      <a:pt x="14" y="114"/>
                      <a:pt x="4" y="113"/>
                      <a:pt x="4" y="120"/>
                    </a:cubicBezTo>
                    <a:cubicBezTo>
                      <a:pt x="4" y="126"/>
                      <a:pt x="8" y="126"/>
                      <a:pt x="10" y="128"/>
                    </a:cubicBezTo>
                    <a:cubicBezTo>
                      <a:pt x="17" y="143"/>
                      <a:pt x="32" y="145"/>
                      <a:pt x="32" y="164"/>
                    </a:cubicBezTo>
                    <a:cubicBezTo>
                      <a:pt x="21" y="167"/>
                      <a:pt x="13" y="169"/>
                      <a:pt x="13" y="181"/>
                    </a:cubicBezTo>
                    <a:cubicBezTo>
                      <a:pt x="13" y="184"/>
                      <a:pt x="15" y="187"/>
                      <a:pt x="15" y="189"/>
                    </a:cubicBezTo>
                    <a:cubicBezTo>
                      <a:pt x="30" y="188"/>
                      <a:pt x="30" y="188"/>
                      <a:pt x="30" y="188"/>
                    </a:cubicBezTo>
                    <a:cubicBezTo>
                      <a:pt x="31" y="187"/>
                      <a:pt x="33" y="186"/>
                      <a:pt x="34" y="185"/>
                    </a:cubicBezTo>
                    <a:cubicBezTo>
                      <a:pt x="46" y="188"/>
                      <a:pt x="46" y="188"/>
                      <a:pt x="46" y="188"/>
                    </a:cubicBezTo>
                    <a:cubicBezTo>
                      <a:pt x="50" y="188"/>
                      <a:pt x="52" y="184"/>
                      <a:pt x="57" y="184"/>
                    </a:cubicBezTo>
                    <a:cubicBezTo>
                      <a:pt x="62" y="184"/>
                      <a:pt x="65" y="184"/>
                      <a:pt x="70" y="185"/>
                    </a:cubicBezTo>
                    <a:cubicBezTo>
                      <a:pt x="75" y="187"/>
                      <a:pt x="78" y="197"/>
                      <a:pt x="82" y="203"/>
                    </a:cubicBezTo>
                    <a:cubicBezTo>
                      <a:pt x="86" y="209"/>
                      <a:pt x="99" y="218"/>
                      <a:pt x="108" y="218"/>
                    </a:cubicBezTo>
                    <a:cubicBezTo>
                      <a:pt x="111" y="218"/>
                      <a:pt x="114" y="218"/>
                      <a:pt x="118" y="219"/>
                    </a:cubicBezTo>
                    <a:cubicBezTo>
                      <a:pt x="116" y="221"/>
                      <a:pt x="116" y="225"/>
                      <a:pt x="112" y="225"/>
                    </a:cubicBezTo>
                    <a:cubicBezTo>
                      <a:pt x="108" y="227"/>
                      <a:pt x="105" y="225"/>
                      <a:pt x="101" y="227"/>
                    </a:cubicBezTo>
                    <a:cubicBezTo>
                      <a:pt x="108" y="234"/>
                      <a:pt x="113" y="248"/>
                      <a:pt x="127" y="248"/>
                    </a:cubicBezTo>
                    <a:cubicBezTo>
                      <a:pt x="138" y="248"/>
                      <a:pt x="139" y="233"/>
                      <a:pt x="144" y="227"/>
                    </a:cubicBezTo>
                    <a:cubicBezTo>
                      <a:pt x="148" y="227"/>
                      <a:pt x="148" y="227"/>
                      <a:pt x="148" y="227"/>
                    </a:cubicBezTo>
                    <a:cubicBezTo>
                      <a:pt x="148" y="229"/>
                      <a:pt x="145" y="232"/>
                      <a:pt x="145" y="233"/>
                    </a:cubicBezTo>
                    <a:cubicBezTo>
                      <a:pt x="145" y="239"/>
                      <a:pt x="150" y="244"/>
                      <a:pt x="150" y="251"/>
                    </a:cubicBezTo>
                    <a:cubicBezTo>
                      <a:pt x="150" y="257"/>
                      <a:pt x="147" y="258"/>
                      <a:pt x="147" y="264"/>
                    </a:cubicBezTo>
                    <a:lnTo>
                      <a:pt x="149" y="2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1" name="Freeform 104"/>
              <p:cNvSpPr>
                <a:spLocks/>
              </p:cNvSpPr>
              <p:nvPr/>
            </p:nvSpPr>
            <p:spPr bwMode="auto">
              <a:xfrm>
                <a:off x="5975350" y="2781300"/>
                <a:ext cx="177800" cy="192088"/>
              </a:xfrm>
              <a:custGeom>
                <a:avLst/>
                <a:gdLst/>
                <a:ahLst/>
                <a:cxnLst>
                  <a:cxn ang="0">
                    <a:pos x="59" y="74"/>
                  </a:cxn>
                  <a:cxn ang="0">
                    <a:pos x="58" y="70"/>
                  </a:cxn>
                  <a:cxn ang="0">
                    <a:pos x="51" y="68"/>
                  </a:cxn>
                  <a:cxn ang="0">
                    <a:pos x="45" y="53"/>
                  </a:cxn>
                  <a:cxn ang="0">
                    <a:pos x="28" y="38"/>
                  </a:cxn>
                  <a:cxn ang="0">
                    <a:pos x="22" y="25"/>
                  </a:cxn>
                  <a:cxn ang="0">
                    <a:pos x="11" y="21"/>
                  </a:cxn>
                  <a:cxn ang="0">
                    <a:pos x="0" y="3"/>
                  </a:cxn>
                  <a:cxn ang="0">
                    <a:pos x="0" y="0"/>
                  </a:cxn>
                  <a:cxn ang="0">
                    <a:pos x="2" y="0"/>
                  </a:cxn>
                  <a:cxn ang="0">
                    <a:pos x="11" y="4"/>
                  </a:cxn>
                  <a:cxn ang="0">
                    <a:pos x="26" y="4"/>
                  </a:cxn>
                  <a:cxn ang="0">
                    <a:pos x="42" y="20"/>
                  </a:cxn>
                  <a:cxn ang="0">
                    <a:pos x="47" y="23"/>
                  </a:cxn>
                  <a:cxn ang="0">
                    <a:pos x="61" y="35"/>
                  </a:cxn>
                  <a:cxn ang="0">
                    <a:pos x="86" y="53"/>
                  </a:cxn>
                  <a:cxn ang="0">
                    <a:pos x="101" y="64"/>
                  </a:cxn>
                  <a:cxn ang="0">
                    <a:pos x="100" y="66"/>
                  </a:cxn>
                  <a:cxn ang="0">
                    <a:pos x="103" y="66"/>
                  </a:cxn>
                  <a:cxn ang="0">
                    <a:pos x="107" y="70"/>
                  </a:cxn>
                  <a:cxn ang="0">
                    <a:pos x="105" y="74"/>
                  </a:cxn>
                  <a:cxn ang="0">
                    <a:pos x="114" y="81"/>
                  </a:cxn>
                  <a:cxn ang="0">
                    <a:pos x="124" y="98"/>
                  </a:cxn>
                  <a:cxn ang="0">
                    <a:pos x="133" y="106"/>
                  </a:cxn>
                  <a:cxn ang="0">
                    <a:pos x="133" y="125"/>
                  </a:cxn>
                  <a:cxn ang="0">
                    <a:pos x="131" y="138"/>
                  </a:cxn>
                  <a:cxn ang="0">
                    <a:pos x="119" y="144"/>
                  </a:cxn>
                  <a:cxn ang="0">
                    <a:pos x="108" y="132"/>
                  </a:cxn>
                  <a:cxn ang="0">
                    <a:pos x="84" y="112"/>
                  </a:cxn>
                  <a:cxn ang="0">
                    <a:pos x="67" y="85"/>
                  </a:cxn>
                  <a:cxn ang="0">
                    <a:pos x="59" y="74"/>
                  </a:cxn>
                </a:cxnLst>
                <a:rect l="0" t="0" r="r" b="b"/>
                <a:pathLst>
                  <a:path w="133" h="144">
                    <a:moveTo>
                      <a:pt x="59" y="74"/>
                    </a:moveTo>
                    <a:cubicBezTo>
                      <a:pt x="58" y="74"/>
                      <a:pt x="59" y="72"/>
                      <a:pt x="58" y="70"/>
                    </a:cubicBezTo>
                    <a:cubicBezTo>
                      <a:pt x="57" y="69"/>
                      <a:pt x="52" y="69"/>
                      <a:pt x="51" y="68"/>
                    </a:cubicBezTo>
                    <a:cubicBezTo>
                      <a:pt x="49" y="67"/>
                      <a:pt x="45" y="56"/>
                      <a:pt x="45" y="53"/>
                    </a:cubicBezTo>
                    <a:cubicBezTo>
                      <a:pt x="41" y="43"/>
                      <a:pt x="31" y="44"/>
                      <a:pt x="28" y="38"/>
                    </a:cubicBezTo>
                    <a:cubicBezTo>
                      <a:pt x="26" y="33"/>
                      <a:pt x="24" y="30"/>
                      <a:pt x="22" y="25"/>
                    </a:cubicBezTo>
                    <a:cubicBezTo>
                      <a:pt x="20" y="21"/>
                      <a:pt x="15" y="22"/>
                      <a:pt x="11" y="21"/>
                    </a:cubicBezTo>
                    <a:cubicBezTo>
                      <a:pt x="8" y="20"/>
                      <a:pt x="1" y="8"/>
                      <a:pt x="0" y="3"/>
                    </a:cubicBezTo>
                    <a:cubicBezTo>
                      <a:pt x="0" y="0"/>
                      <a:pt x="0" y="0"/>
                      <a:pt x="0" y="0"/>
                    </a:cubicBezTo>
                    <a:cubicBezTo>
                      <a:pt x="0" y="0"/>
                      <a:pt x="1" y="0"/>
                      <a:pt x="2" y="0"/>
                    </a:cubicBezTo>
                    <a:cubicBezTo>
                      <a:pt x="7" y="0"/>
                      <a:pt x="8" y="2"/>
                      <a:pt x="11" y="4"/>
                    </a:cubicBezTo>
                    <a:cubicBezTo>
                      <a:pt x="26" y="4"/>
                      <a:pt x="26" y="4"/>
                      <a:pt x="26" y="4"/>
                    </a:cubicBezTo>
                    <a:cubicBezTo>
                      <a:pt x="35" y="7"/>
                      <a:pt x="38" y="13"/>
                      <a:pt x="42" y="20"/>
                    </a:cubicBezTo>
                    <a:cubicBezTo>
                      <a:pt x="43" y="23"/>
                      <a:pt x="45" y="22"/>
                      <a:pt x="47" y="23"/>
                    </a:cubicBezTo>
                    <a:cubicBezTo>
                      <a:pt x="53" y="25"/>
                      <a:pt x="56" y="30"/>
                      <a:pt x="61" y="35"/>
                    </a:cubicBezTo>
                    <a:cubicBezTo>
                      <a:pt x="69" y="43"/>
                      <a:pt x="74" y="49"/>
                      <a:pt x="86" y="53"/>
                    </a:cubicBezTo>
                    <a:cubicBezTo>
                      <a:pt x="93" y="55"/>
                      <a:pt x="101" y="57"/>
                      <a:pt x="101" y="64"/>
                    </a:cubicBezTo>
                    <a:cubicBezTo>
                      <a:pt x="101" y="64"/>
                      <a:pt x="100" y="65"/>
                      <a:pt x="100" y="66"/>
                    </a:cubicBezTo>
                    <a:cubicBezTo>
                      <a:pt x="101" y="66"/>
                      <a:pt x="102" y="66"/>
                      <a:pt x="103" y="66"/>
                    </a:cubicBezTo>
                    <a:cubicBezTo>
                      <a:pt x="105" y="66"/>
                      <a:pt x="106" y="68"/>
                      <a:pt x="107" y="70"/>
                    </a:cubicBezTo>
                    <a:cubicBezTo>
                      <a:pt x="105" y="74"/>
                      <a:pt x="105" y="74"/>
                      <a:pt x="105" y="74"/>
                    </a:cubicBezTo>
                    <a:cubicBezTo>
                      <a:pt x="105" y="80"/>
                      <a:pt x="109" y="81"/>
                      <a:pt x="114" y="81"/>
                    </a:cubicBezTo>
                    <a:cubicBezTo>
                      <a:pt x="114" y="91"/>
                      <a:pt x="119" y="93"/>
                      <a:pt x="124" y="98"/>
                    </a:cubicBezTo>
                    <a:cubicBezTo>
                      <a:pt x="127" y="101"/>
                      <a:pt x="133" y="102"/>
                      <a:pt x="133" y="106"/>
                    </a:cubicBezTo>
                    <a:cubicBezTo>
                      <a:pt x="133" y="112"/>
                      <a:pt x="133" y="116"/>
                      <a:pt x="133" y="125"/>
                    </a:cubicBezTo>
                    <a:cubicBezTo>
                      <a:pt x="128" y="127"/>
                      <a:pt x="131" y="133"/>
                      <a:pt x="131" y="138"/>
                    </a:cubicBezTo>
                    <a:cubicBezTo>
                      <a:pt x="131" y="143"/>
                      <a:pt x="122" y="144"/>
                      <a:pt x="119" y="144"/>
                    </a:cubicBezTo>
                    <a:cubicBezTo>
                      <a:pt x="116" y="144"/>
                      <a:pt x="109" y="132"/>
                      <a:pt x="108" y="132"/>
                    </a:cubicBezTo>
                    <a:cubicBezTo>
                      <a:pt x="100" y="124"/>
                      <a:pt x="92" y="120"/>
                      <a:pt x="84" y="112"/>
                    </a:cubicBezTo>
                    <a:cubicBezTo>
                      <a:pt x="75" y="103"/>
                      <a:pt x="71" y="95"/>
                      <a:pt x="67" y="85"/>
                    </a:cubicBezTo>
                    <a:cubicBezTo>
                      <a:pt x="66" y="83"/>
                      <a:pt x="60" y="74"/>
                      <a:pt x="59"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2" name="Freeform 105"/>
              <p:cNvSpPr>
                <a:spLocks/>
              </p:cNvSpPr>
              <p:nvPr/>
            </p:nvSpPr>
            <p:spPr bwMode="auto">
              <a:xfrm>
                <a:off x="6203950" y="2757488"/>
                <a:ext cx="169863" cy="188913"/>
              </a:xfrm>
              <a:custGeom>
                <a:avLst/>
                <a:gdLst/>
                <a:ahLst/>
                <a:cxnLst>
                  <a:cxn ang="0">
                    <a:pos x="37" y="130"/>
                  </a:cxn>
                  <a:cxn ang="0">
                    <a:pos x="36" y="124"/>
                  </a:cxn>
                  <a:cxn ang="0">
                    <a:pos x="27" y="126"/>
                  </a:cxn>
                  <a:cxn ang="0">
                    <a:pos x="11" y="102"/>
                  </a:cxn>
                  <a:cxn ang="0">
                    <a:pos x="12" y="99"/>
                  </a:cxn>
                  <a:cxn ang="0">
                    <a:pos x="6" y="97"/>
                  </a:cxn>
                  <a:cxn ang="0">
                    <a:pos x="0" y="78"/>
                  </a:cxn>
                  <a:cxn ang="0">
                    <a:pos x="15" y="74"/>
                  </a:cxn>
                  <a:cxn ang="0">
                    <a:pos x="33" y="54"/>
                  </a:cxn>
                  <a:cxn ang="0">
                    <a:pos x="45" y="50"/>
                  </a:cxn>
                  <a:cxn ang="0">
                    <a:pos x="56" y="41"/>
                  </a:cxn>
                  <a:cxn ang="0">
                    <a:pos x="59" y="35"/>
                  </a:cxn>
                  <a:cxn ang="0">
                    <a:pos x="63" y="32"/>
                  </a:cxn>
                  <a:cxn ang="0">
                    <a:pos x="66" y="29"/>
                  </a:cxn>
                  <a:cxn ang="0">
                    <a:pos x="82" y="23"/>
                  </a:cxn>
                  <a:cxn ang="0">
                    <a:pos x="102" y="0"/>
                  </a:cxn>
                  <a:cxn ang="0">
                    <a:pos x="109" y="11"/>
                  </a:cxn>
                  <a:cxn ang="0">
                    <a:pos x="127" y="23"/>
                  </a:cxn>
                  <a:cxn ang="0">
                    <a:pos x="117" y="29"/>
                  </a:cxn>
                  <a:cxn ang="0">
                    <a:pos x="119" y="31"/>
                  </a:cxn>
                  <a:cxn ang="0">
                    <a:pos x="106" y="37"/>
                  </a:cxn>
                  <a:cxn ang="0">
                    <a:pos x="108" y="41"/>
                  </a:cxn>
                  <a:cxn ang="0">
                    <a:pos x="105" y="44"/>
                  </a:cxn>
                  <a:cxn ang="0">
                    <a:pos x="125" y="73"/>
                  </a:cxn>
                  <a:cxn ang="0">
                    <a:pos x="115" y="77"/>
                  </a:cxn>
                  <a:cxn ang="0">
                    <a:pos x="111" y="78"/>
                  </a:cxn>
                  <a:cxn ang="0">
                    <a:pos x="109" y="83"/>
                  </a:cxn>
                  <a:cxn ang="0">
                    <a:pos x="103" y="102"/>
                  </a:cxn>
                  <a:cxn ang="0">
                    <a:pos x="93" y="113"/>
                  </a:cxn>
                  <a:cxn ang="0">
                    <a:pos x="95" y="119"/>
                  </a:cxn>
                  <a:cxn ang="0">
                    <a:pos x="90" y="134"/>
                  </a:cxn>
                  <a:cxn ang="0">
                    <a:pos x="76" y="141"/>
                  </a:cxn>
                  <a:cxn ang="0">
                    <a:pos x="71" y="135"/>
                  </a:cxn>
                  <a:cxn ang="0">
                    <a:pos x="51" y="128"/>
                  </a:cxn>
                  <a:cxn ang="0">
                    <a:pos x="40" y="132"/>
                  </a:cxn>
                  <a:cxn ang="0">
                    <a:pos x="37" y="130"/>
                  </a:cxn>
                </a:cxnLst>
                <a:rect l="0" t="0" r="r" b="b"/>
                <a:pathLst>
                  <a:path w="127" h="141">
                    <a:moveTo>
                      <a:pt x="37" y="130"/>
                    </a:moveTo>
                    <a:cubicBezTo>
                      <a:pt x="36" y="130"/>
                      <a:pt x="36" y="125"/>
                      <a:pt x="36" y="124"/>
                    </a:cubicBezTo>
                    <a:cubicBezTo>
                      <a:pt x="32" y="123"/>
                      <a:pt x="30" y="126"/>
                      <a:pt x="27" y="126"/>
                    </a:cubicBezTo>
                    <a:cubicBezTo>
                      <a:pt x="10" y="126"/>
                      <a:pt x="17" y="110"/>
                      <a:pt x="11" y="102"/>
                    </a:cubicBezTo>
                    <a:cubicBezTo>
                      <a:pt x="11" y="101"/>
                      <a:pt x="12" y="100"/>
                      <a:pt x="12" y="99"/>
                    </a:cubicBezTo>
                    <a:cubicBezTo>
                      <a:pt x="11" y="97"/>
                      <a:pt x="8" y="97"/>
                      <a:pt x="6" y="97"/>
                    </a:cubicBezTo>
                    <a:cubicBezTo>
                      <a:pt x="4" y="96"/>
                      <a:pt x="0" y="80"/>
                      <a:pt x="0" y="78"/>
                    </a:cubicBezTo>
                    <a:cubicBezTo>
                      <a:pt x="0" y="71"/>
                      <a:pt x="9" y="74"/>
                      <a:pt x="15" y="74"/>
                    </a:cubicBezTo>
                    <a:cubicBezTo>
                      <a:pt x="29" y="74"/>
                      <a:pt x="27" y="60"/>
                      <a:pt x="33" y="54"/>
                    </a:cubicBezTo>
                    <a:cubicBezTo>
                      <a:pt x="36" y="51"/>
                      <a:pt x="41" y="51"/>
                      <a:pt x="45" y="50"/>
                    </a:cubicBezTo>
                    <a:cubicBezTo>
                      <a:pt x="52" y="49"/>
                      <a:pt x="52" y="44"/>
                      <a:pt x="56" y="41"/>
                    </a:cubicBezTo>
                    <a:cubicBezTo>
                      <a:pt x="54" y="39"/>
                      <a:pt x="59" y="35"/>
                      <a:pt x="59" y="35"/>
                    </a:cubicBezTo>
                    <a:cubicBezTo>
                      <a:pt x="61" y="34"/>
                      <a:pt x="61" y="33"/>
                      <a:pt x="63" y="32"/>
                    </a:cubicBezTo>
                    <a:cubicBezTo>
                      <a:pt x="64" y="32"/>
                      <a:pt x="65" y="30"/>
                      <a:pt x="66" y="29"/>
                    </a:cubicBezTo>
                    <a:cubicBezTo>
                      <a:pt x="70" y="25"/>
                      <a:pt x="80" y="27"/>
                      <a:pt x="82" y="23"/>
                    </a:cubicBezTo>
                    <a:cubicBezTo>
                      <a:pt x="85" y="16"/>
                      <a:pt x="95" y="0"/>
                      <a:pt x="102" y="0"/>
                    </a:cubicBezTo>
                    <a:cubicBezTo>
                      <a:pt x="109" y="0"/>
                      <a:pt x="109" y="4"/>
                      <a:pt x="109" y="11"/>
                    </a:cubicBezTo>
                    <a:cubicBezTo>
                      <a:pt x="109" y="20"/>
                      <a:pt x="127" y="15"/>
                      <a:pt x="127" y="23"/>
                    </a:cubicBezTo>
                    <a:cubicBezTo>
                      <a:pt x="127" y="27"/>
                      <a:pt x="117" y="25"/>
                      <a:pt x="117" y="29"/>
                    </a:cubicBezTo>
                    <a:cubicBezTo>
                      <a:pt x="117" y="30"/>
                      <a:pt x="118" y="31"/>
                      <a:pt x="119" y="31"/>
                    </a:cubicBezTo>
                    <a:cubicBezTo>
                      <a:pt x="118" y="32"/>
                      <a:pt x="106" y="37"/>
                      <a:pt x="106" y="37"/>
                    </a:cubicBezTo>
                    <a:cubicBezTo>
                      <a:pt x="107" y="38"/>
                      <a:pt x="108" y="40"/>
                      <a:pt x="108" y="41"/>
                    </a:cubicBezTo>
                    <a:cubicBezTo>
                      <a:pt x="107" y="42"/>
                      <a:pt x="105" y="43"/>
                      <a:pt x="105" y="44"/>
                    </a:cubicBezTo>
                    <a:cubicBezTo>
                      <a:pt x="105" y="51"/>
                      <a:pt x="117" y="73"/>
                      <a:pt x="125" y="73"/>
                    </a:cubicBezTo>
                    <a:cubicBezTo>
                      <a:pt x="124" y="79"/>
                      <a:pt x="120" y="77"/>
                      <a:pt x="115" y="77"/>
                    </a:cubicBezTo>
                    <a:cubicBezTo>
                      <a:pt x="114" y="77"/>
                      <a:pt x="112" y="78"/>
                      <a:pt x="111" y="78"/>
                    </a:cubicBezTo>
                    <a:cubicBezTo>
                      <a:pt x="109" y="83"/>
                      <a:pt x="109" y="83"/>
                      <a:pt x="109" y="83"/>
                    </a:cubicBezTo>
                    <a:cubicBezTo>
                      <a:pt x="106" y="92"/>
                      <a:pt x="103" y="95"/>
                      <a:pt x="103" y="102"/>
                    </a:cubicBezTo>
                    <a:cubicBezTo>
                      <a:pt x="98" y="103"/>
                      <a:pt x="93" y="110"/>
                      <a:pt x="93" y="113"/>
                    </a:cubicBezTo>
                    <a:cubicBezTo>
                      <a:pt x="93" y="116"/>
                      <a:pt x="95" y="117"/>
                      <a:pt x="95" y="119"/>
                    </a:cubicBezTo>
                    <a:cubicBezTo>
                      <a:pt x="95" y="122"/>
                      <a:pt x="90" y="129"/>
                      <a:pt x="90" y="134"/>
                    </a:cubicBezTo>
                    <a:cubicBezTo>
                      <a:pt x="83" y="135"/>
                      <a:pt x="82" y="141"/>
                      <a:pt x="76" y="141"/>
                    </a:cubicBezTo>
                    <a:cubicBezTo>
                      <a:pt x="72" y="141"/>
                      <a:pt x="71" y="137"/>
                      <a:pt x="71" y="135"/>
                    </a:cubicBezTo>
                    <a:cubicBezTo>
                      <a:pt x="64" y="133"/>
                      <a:pt x="59" y="128"/>
                      <a:pt x="51" y="128"/>
                    </a:cubicBezTo>
                    <a:cubicBezTo>
                      <a:pt x="48" y="128"/>
                      <a:pt x="45" y="132"/>
                      <a:pt x="40" y="132"/>
                    </a:cubicBezTo>
                    <a:cubicBezTo>
                      <a:pt x="39" y="132"/>
                      <a:pt x="38" y="130"/>
                      <a:pt x="37" y="1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3" name="Freeform 106"/>
              <p:cNvSpPr>
                <a:spLocks/>
              </p:cNvSpPr>
              <p:nvPr/>
            </p:nvSpPr>
            <p:spPr bwMode="auto">
              <a:xfrm>
                <a:off x="6367463" y="2847975"/>
                <a:ext cx="106363" cy="123825"/>
              </a:xfrm>
              <a:custGeom>
                <a:avLst/>
                <a:gdLst/>
                <a:ahLst/>
                <a:cxnLst>
                  <a:cxn ang="0">
                    <a:pos x="31" y="34"/>
                  </a:cxn>
                  <a:cxn ang="0">
                    <a:pos x="27" y="38"/>
                  </a:cxn>
                  <a:cxn ang="0">
                    <a:pos x="17" y="24"/>
                  </a:cxn>
                  <a:cxn ang="0">
                    <a:pos x="32" y="16"/>
                  </a:cxn>
                  <a:cxn ang="0">
                    <a:pos x="49" y="15"/>
                  </a:cxn>
                  <a:cxn ang="0">
                    <a:pos x="64" y="18"/>
                  </a:cxn>
                  <a:cxn ang="0">
                    <a:pos x="77" y="4"/>
                  </a:cxn>
                  <a:cxn ang="0">
                    <a:pos x="79" y="0"/>
                  </a:cxn>
                  <a:cxn ang="0">
                    <a:pos x="77" y="0"/>
                  </a:cxn>
                  <a:cxn ang="0">
                    <a:pos x="63" y="10"/>
                  </a:cxn>
                  <a:cxn ang="0">
                    <a:pos x="59" y="10"/>
                  </a:cxn>
                  <a:cxn ang="0">
                    <a:pos x="28" y="5"/>
                  </a:cxn>
                  <a:cxn ang="0">
                    <a:pos x="12" y="30"/>
                  </a:cxn>
                  <a:cxn ang="0">
                    <a:pos x="8" y="37"/>
                  </a:cxn>
                  <a:cxn ang="0">
                    <a:pos x="0" y="61"/>
                  </a:cxn>
                  <a:cxn ang="0">
                    <a:pos x="8" y="66"/>
                  </a:cxn>
                  <a:cxn ang="0">
                    <a:pos x="8" y="87"/>
                  </a:cxn>
                  <a:cxn ang="0">
                    <a:pos x="16" y="93"/>
                  </a:cxn>
                  <a:cxn ang="0">
                    <a:pos x="22" y="76"/>
                  </a:cxn>
                  <a:cxn ang="0">
                    <a:pos x="18" y="61"/>
                  </a:cxn>
                  <a:cxn ang="0">
                    <a:pos x="25" y="56"/>
                  </a:cxn>
                  <a:cxn ang="0">
                    <a:pos x="28" y="56"/>
                  </a:cxn>
                  <a:cxn ang="0">
                    <a:pos x="27" y="65"/>
                  </a:cxn>
                  <a:cxn ang="0">
                    <a:pos x="34" y="79"/>
                  </a:cxn>
                  <a:cxn ang="0">
                    <a:pos x="34" y="83"/>
                  </a:cxn>
                  <a:cxn ang="0">
                    <a:pos x="39" y="83"/>
                  </a:cxn>
                  <a:cxn ang="0">
                    <a:pos x="49" y="73"/>
                  </a:cxn>
                  <a:cxn ang="0">
                    <a:pos x="43" y="65"/>
                  </a:cxn>
                  <a:cxn ang="0">
                    <a:pos x="45" y="63"/>
                  </a:cxn>
                  <a:cxn ang="0">
                    <a:pos x="34" y="44"/>
                  </a:cxn>
                  <a:cxn ang="0">
                    <a:pos x="57" y="31"/>
                  </a:cxn>
                  <a:cxn ang="0">
                    <a:pos x="57" y="28"/>
                  </a:cxn>
                  <a:cxn ang="0">
                    <a:pos x="31" y="36"/>
                  </a:cxn>
                  <a:cxn ang="0">
                    <a:pos x="31" y="34"/>
                  </a:cxn>
                </a:cxnLst>
                <a:rect l="0" t="0" r="r" b="b"/>
                <a:pathLst>
                  <a:path w="79" h="93">
                    <a:moveTo>
                      <a:pt x="31" y="34"/>
                    </a:moveTo>
                    <a:cubicBezTo>
                      <a:pt x="30" y="36"/>
                      <a:pt x="29" y="38"/>
                      <a:pt x="27" y="38"/>
                    </a:cubicBezTo>
                    <a:cubicBezTo>
                      <a:pt x="20" y="38"/>
                      <a:pt x="17" y="30"/>
                      <a:pt x="17" y="24"/>
                    </a:cubicBezTo>
                    <a:cubicBezTo>
                      <a:pt x="17" y="15"/>
                      <a:pt x="24" y="16"/>
                      <a:pt x="32" y="16"/>
                    </a:cubicBezTo>
                    <a:cubicBezTo>
                      <a:pt x="39" y="16"/>
                      <a:pt x="42" y="15"/>
                      <a:pt x="49" y="15"/>
                    </a:cubicBezTo>
                    <a:cubicBezTo>
                      <a:pt x="54" y="15"/>
                      <a:pt x="58" y="18"/>
                      <a:pt x="64" y="18"/>
                    </a:cubicBezTo>
                    <a:cubicBezTo>
                      <a:pt x="73" y="18"/>
                      <a:pt x="76" y="10"/>
                      <a:pt x="77" y="4"/>
                    </a:cubicBezTo>
                    <a:cubicBezTo>
                      <a:pt x="79" y="4"/>
                      <a:pt x="79" y="1"/>
                      <a:pt x="79" y="0"/>
                    </a:cubicBezTo>
                    <a:cubicBezTo>
                      <a:pt x="77" y="0"/>
                      <a:pt x="77" y="0"/>
                      <a:pt x="77" y="0"/>
                    </a:cubicBezTo>
                    <a:cubicBezTo>
                      <a:pt x="72" y="4"/>
                      <a:pt x="65" y="8"/>
                      <a:pt x="63" y="10"/>
                    </a:cubicBezTo>
                    <a:cubicBezTo>
                      <a:pt x="59" y="10"/>
                      <a:pt x="59" y="10"/>
                      <a:pt x="59" y="10"/>
                    </a:cubicBezTo>
                    <a:cubicBezTo>
                      <a:pt x="28" y="5"/>
                      <a:pt x="28" y="5"/>
                      <a:pt x="28" y="5"/>
                    </a:cubicBezTo>
                    <a:cubicBezTo>
                      <a:pt x="17" y="5"/>
                      <a:pt x="12" y="20"/>
                      <a:pt x="12" y="30"/>
                    </a:cubicBezTo>
                    <a:cubicBezTo>
                      <a:pt x="12" y="33"/>
                      <a:pt x="8" y="35"/>
                      <a:pt x="8" y="37"/>
                    </a:cubicBezTo>
                    <a:cubicBezTo>
                      <a:pt x="4" y="47"/>
                      <a:pt x="0" y="51"/>
                      <a:pt x="0" y="61"/>
                    </a:cubicBezTo>
                    <a:cubicBezTo>
                      <a:pt x="0" y="66"/>
                      <a:pt x="6" y="66"/>
                      <a:pt x="8" y="66"/>
                    </a:cubicBezTo>
                    <a:cubicBezTo>
                      <a:pt x="8" y="73"/>
                      <a:pt x="8" y="83"/>
                      <a:pt x="8" y="87"/>
                    </a:cubicBezTo>
                    <a:cubicBezTo>
                      <a:pt x="8" y="90"/>
                      <a:pt x="12" y="93"/>
                      <a:pt x="16" y="93"/>
                    </a:cubicBezTo>
                    <a:cubicBezTo>
                      <a:pt x="20" y="93"/>
                      <a:pt x="22" y="78"/>
                      <a:pt x="22" y="76"/>
                    </a:cubicBezTo>
                    <a:cubicBezTo>
                      <a:pt x="22" y="70"/>
                      <a:pt x="18" y="67"/>
                      <a:pt x="18" y="61"/>
                    </a:cubicBezTo>
                    <a:cubicBezTo>
                      <a:pt x="18" y="58"/>
                      <a:pt x="22" y="56"/>
                      <a:pt x="25" y="56"/>
                    </a:cubicBezTo>
                    <a:cubicBezTo>
                      <a:pt x="26" y="56"/>
                      <a:pt x="27" y="56"/>
                      <a:pt x="28" y="56"/>
                    </a:cubicBezTo>
                    <a:cubicBezTo>
                      <a:pt x="27" y="65"/>
                      <a:pt x="27" y="65"/>
                      <a:pt x="27" y="65"/>
                    </a:cubicBezTo>
                    <a:cubicBezTo>
                      <a:pt x="27" y="71"/>
                      <a:pt x="34" y="73"/>
                      <a:pt x="34" y="79"/>
                    </a:cubicBezTo>
                    <a:cubicBezTo>
                      <a:pt x="34" y="80"/>
                      <a:pt x="34" y="81"/>
                      <a:pt x="34" y="83"/>
                    </a:cubicBezTo>
                    <a:cubicBezTo>
                      <a:pt x="39" y="83"/>
                      <a:pt x="39" y="83"/>
                      <a:pt x="39" y="83"/>
                    </a:cubicBezTo>
                    <a:cubicBezTo>
                      <a:pt x="39" y="78"/>
                      <a:pt x="49" y="78"/>
                      <a:pt x="49" y="73"/>
                    </a:cubicBezTo>
                    <a:cubicBezTo>
                      <a:pt x="47" y="73"/>
                      <a:pt x="43" y="68"/>
                      <a:pt x="43" y="65"/>
                    </a:cubicBezTo>
                    <a:cubicBezTo>
                      <a:pt x="43" y="65"/>
                      <a:pt x="44" y="64"/>
                      <a:pt x="45" y="63"/>
                    </a:cubicBezTo>
                    <a:cubicBezTo>
                      <a:pt x="42" y="61"/>
                      <a:pt x="34" y="46"/>
                      <a:pt x="34" y="44"/>
                    </a:cubicBezTo>
                    <a:cubicBezTo>
                      <a:pt x="46" y="44"/>
                      <a:pt x="47" y="35"/>
                      <a:pt x="57" y="31"/>
                    </a:cubicBezTo>
                    <a:cubicBezTo>
                      <a:pt x="57" y="28"/>
                      <a:pt x="57" y="28"/>
                      <a:pt x="57" y="28"/>
                    </a:cubicBezTo>
                    <a:cubicBezTo>
                      <a:pt x="54" y="27"/>
                      <a:pt x="31" y="35"/>
                      <a:pt x="31" y="36"/>
                    </a:cubicBezTo>
                    <a:lnTo>
                      <a:pt x="31" y="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4" name="Freeform 107"/>
              <p:cNvSpPr>
                <a:spLocks/>
              </p:cNvSpPr>
              <p:nvPr/>
            </p:nvSpPr>
            <p:spPr bwMode="auto">
              <a:xfrm>
                <a:off x="6145213" y="2973388"/>
                <a:ext cx="171450" cy="49213"/>
              </a:xfrm>
              <a:custGeom>
                <a:avLst/>
                <a:gdLst/>
                <a:ahLst/>
                <a:cxnLst>
                  <a:cxn ang="0">
                    <a:pos x="123" y="36"/>
                  </a:cxn>
                  <a:cxn ang="0">
                    <a:pos x="114" y="33"/>
                  </a:cxn>
                  <a:cxn ang="0">
                    <a:pos x="114" y="37"/>
                  </a:cxn>
                  <a:cxn ang="0">
                    <a:pos x="67" y="31"/>
                  </a:cxn>
                  <a:cxn ang="0">
                    <a:pos x="56" y="25"/>
                  </a:cxn>
                  <a:cxn ang="0">
                    <a:pos x="32" y="22"/>
                  </a:cxn>
                  <a:cxn ang="0">
                    <a:pos x="14" y="20"/>
                  </a:cxn>
                  <a:cxn ang="0">
                    <a:pos x="0" y="10"/>
                  </a:cxn>
                  <a:cxn ang="0">
                    <a:pos x="11" y="1"/>
                  </a:cxn>
                  <a:cxn ang="0">
                    <a:pos x="14" y="3"/>
                  </a:cxn>
                  <a:cxn ang="0">
                    <a:pos x="22" y="0"/>
                  </a:cxn>
                  <a:cxn ang="0">
                    <a:pos x="55" y="14"/>
                  </a:cxn>
                  <a:cxn ang="0">
                    <a:pos x="68" y="7"/>
                  </a:cxn>
                  <a:cxn ang="0">
                    <a:pos x="88" y="15"/>
                  </a:cxn>
                  <a:cxn ang="0">
                    <a:pos x="101" y="14"/>
                  </a:cxn>
                  <a:cxn ang="0">
                    <a:pos x="105" y="14"/>
                  </a:cxn>
                  <a:cxn ang="0">
                    <a:pos x="89" y="17"/>
                  </a:cxn>
                  <a:cxn ang="0">
                    <a:pos x="107" y="22"/>
                  </a:cxn>
                  <a:cxn ang="0">
                    <a:pos x="111" y="26"/>
                  </a:cxn>
                  <a:cxn ang="0">
                    <a:pos x="121" y="27"/>
                  </a:cxn>
                  <a:cxn ang="0">
                    <a:pos x="128" y="31"/>
                  </a:cxn>
                  <a:cxn ang="0">
                    <a:pos x="123" y="36"/>
                  </a:cxn>
                </a:cxnLst>
                <a:rect l="0" t="0" r="r" b="b"/>
                <a:pathLst>
                  <a:path w="128" h="37">
                    <a:moveTo>
                      <a:pt x="123" y="36"/>
                    </a:moveTo>
                    <a:cubicBezTo>
                      <a:pt x="119" y="36"/>
                      <a:pt x="119" y="33"/>
                      <a:pt x="114" y="33"/>
                    </a:cubicBezTo>
                    <a:cubicBezTo>
                      <a:pt x="113" y="33"/>
                      <a:pt x="114" y="36"/>
                      <a:pt x="114" y="37"/>
                    </a:cubicBezTo>
                    <a:cubicBezTo>
                      <a:pt x="100" y="32"/>
                      <a:pt x="85" y="31"/>
                      <a:pt x="67" y="31"/>
                    </a:cubicBezTo>
                    <a:cubicBezTo>
                      <a:pt x="62" y="31"/>
                      <a:pt x="61" y="25"/>
                      <a:pt x="56" y="25"/>
                    </a:cubicBezTo>
                    <a:cubicBezTo>
                      <a:pt x="48" y="25"/>
                      <a:pt x="41" y="25"/>
                      <a:pt x="32" y="22"/>
                    </a:cubicBezTo>
                    <a:cubicBezTo>
                      <a:pt x="25" y="20"/>
                      <a:pt x="19" y="24"/>
                      <a:pt x="14" y="20"/>
                    </a:cubicBezTo>
                    <a:cubicBezTo>
                      <a:pt x="10" y="15"/>
                      <a:pt x="7" y="10"/>
                      <a:pt x="0" y="10"/>
                    </a:cubicBezTo>
                    <a:cubicBezTo>
                      <a:pt x="0" y="9"/>
                      <a:pt x="8" y="1"/>
                      <a:pt x="11" y="1"/>
                    </a:cubicBezTo>
                    <a:cubicBezTo>
                      <a:pt x="12" y="1"/>
                      <a:pt x="13" y="3"/>
                      <a:pt x="14" y="3"/>
                    </a:cubicBezTo>
                    <a:cubicBezTo>
                      <a:pt x="17" y="3"/>
                      <a:pt x="19" y="0"/>
                      <a:pt x="22" y="0"/>
                    </a:cubicBezTo>
                    <a:cubicBezTo>
                      <a:pt x="35" y="0"/>
                      <a:pt x="41" y="14"/>
                      <a:pt x="55" y="14"/>
                    </a:cubicBezTo>
                    <a:cubicBezTo>
                      <a:pt x="62" y="14"/>
                      <a:pt x="63" y="7"/>
                      <a:pt x="68" y="7"/>
                    </a:cubicBezTo>
                    <a:cubicBezTo>
                      <a:pt x="77" y="7"/>
                      <a:pt x="80" y="15"/>
                      <a:pt x="88" y="15"/>
                    </a:cubicBezTo>
                    <a:cubicBezTo>
                      <a:pt x="101" y="14"/>
                      <a:pt x="101" y="14"/>
                      <a:pt x="101" y="14"/>
                    </a:cubicBezTo>
                    <a:cubicBezTo>
                      <a:pt x="105" y="14"/>
                      <a:pt x="105" y="14"/>
                      <a:pt x="105" y="14"/>
                    </a:cubicBezTo>
                    <a:cubicBezTo>
                      <a:pt x="104" y="16"/>
                      <a:pt x="89" y="17"/>
                      <a:pt x="89" y="17"/>
                    </a:cubicBezTo>
                    <a:cubicBezTo>
                      <a:pt x="93" y="22"/>
                      <a:pt x="99" y="22"/>
                      <a:pt x="107" y="22"/>
                    </a:cubicBezTo>
                    <a:cubicBezTo>
                      <a:pt x="110" y="22"/>
                      <a:pt x="110" y="26"/>
                      <a:pt x="111" y="26"/>
                    </a:cubicBezTo>
                    <a:cubicBezTo>
                      <a:pt x="114" y="30"/>
                      <a:pt x="117" y="26"/>
                      <a:pt x="121" y="27"/>
                    </a:cubicBezTo>
                    <a:cubicBezTo>
                      <a:pt x="125" y="29"/>
                      <a:pt x="125" y="30"/>
                      <a:pt x="128" y="31"/>
                    </a:cubicBezTo>
                    <a:cubicBezTo>
                      <a:pt x="127" y="33"/>
                      <a:pt x="124" y="36"/>
                      <a:pt x="123"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5" name="Freeform 108"/>
              <p:cNvSpPr>
                <a:spLocks/>
              </p:cNvSpPr>
              <p:nvPr/>
            </p:nvSpPr>
            <p:spPr bwMode="auto">
              <a:xfrm>
                <a:off x="6386513" y="3013075"/>
                <a:ext cx="52388" cy="12700"/>
              </a:xfrm>
              <a:custGeom>
                <a:avLst/>
                <a:gdLst/>
                <a:ahLst/>
                <a:cxnLst>
                  <a:cxn ang="0">
                    <a:pos x="26" y="9"/>
                  </a:cxn>
                  <a:cxn ang="0">
                    <a:pos x="10" y="9"/>
                  </a:cxn>
                  <a:cxn ang="0">
                    <a:pos x="0" y="4"/>
                  </a:cxn>
                  <a:cxn ang="0">
                    <a:pos x="8" y="1"/>
                  </a:cxn>
                  <a:cxn ang="0">
                    <a:pos x="26" y="4"/>
                  </a:cxn>
                  <a:cxn ang="0">
                    <a:pos x="39" y="0"/>
                  </a:cxn>
                  <a:cxn ang="0">
                    <a:pos x="26" y="9"/>
                  </a:cxn>
                </a:cxnLst>
                <a:rect l="0" t="0" r="r" b="b"/>
                <a:pathLst>
                  <a:path w="39" h="9">
                    <a:moveTo>
                      <a:pt x="26" y="9"/>
                    </a:moveTo>
                    <a:cubicBezTo>
                      <a:pt x="20" y="9"/>
                      <a:pt x="13" y="9"/>
                      <a:pt x="10" y="9"/>
                    </a:cubicBezTo>
                    <a:cubicBezTo>
                      <a:pt x="7" y="9"/>
                      <a:pt x="0" y="9"/>
                      <a:pt x="0" y="4"/>
                    </a:cubicBezTo>
                    <a:cubicBezTo>
                      <a:pt x="0" y="1"/>
                      <a:pt x="5" y="1"/>
                      <a:pt x="8" y="1"/>
                    </a:cubicBezTo>
                    <a:cubicBezTo>
                      <a:pt x="16" y="1"/>
                      <a:pt x="19" y="4"/>
                      <a:pt x="26" y="4"/>
                    </a:cubicBezTo>
                    <a:cubicBezTo>
                      <a:pt x="32" y="4"/>
                      <a:pt x="35" y="2"/>
                      <a:pt x="39" y="0"/>
                    </a:cubicBezTo>
                    <a:cubicBezTo>
                      <a:pt x="35" y="6"/>
                      <a:pt x="32" y="7"/>
                      <a:pt x="26"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6" name="Freeform 109"/>
              <p:cNvSpPr>
                <a:spLocks/>
              </p:cNvSpPr>
              <p:nvPr/>
            </p:nvSpPr>
            <p:spPr bwMode="auto">
              <a:xfrm>
                <a:off x="6335713" y="3016250"/>
                <a:ext cx="36513" cy="12700"/>
              </a:xfrm>
              <a:custGeom>
                <a:avLst/>
                <a:gdLst/>
                <a:ahLst/>
                <a:cxnLst>
                  <a:cxn ang="0">
                    <a:pos x="27" y="6"/>
                  </a:cxn>
                  <a:cxn ang="0">
                    <a:pos x="23" y="6"/>
                  </a:cxn>
                  <a:cxn ang="0">
                    <a:pos x="19" y="5"/>
                  </a:cxn>
                  <a:cxn ang="0">
                    <a:pos x="9" y="9"/>
                  </a:cxn>
                  <a:cxn ang="0">
                    <a:pos x="0" y="6"/>
                  </a:cxn>
                  <a:cxn ang="0">
                    <a:pos x="7" y="1"/>
                  </a:cxn>
                  <a:cxn ang="0">
                    <a:pos x="16" y="3"/>
                  </a:cxn>
                  <a:cxn ang="0">
                    <a:pos x="16" y="0"/>
                  </a:cxn>
                  <a:cxn ang="0">
                    <a:pos x="27" y="0"/>
                  </a:cxn>
                  <a:cxn ang="0">
                    <a:pos x="27" y="6"/>
                  </a:cxn>
                </a:cxnLst>
                <a:rect l="0" t="0" r="r" b="b"/>
                <a:pathLst>
                  <a:path w="27" h="9">
                    <a:moveTo>
                      <a:pt x="27" y="6"/>
                    </a:moveTo>
                    <a:cubicBezTo>
                      <a:pt x="23" y="6"/>
                      <a:pt x="23" y="6"/>
                      <a:pt x="23" y="6"/>
                    </a:cubicBezTo>
                    <a:cubicBezTo>
                      <a:pt x="19" y="5"/>
                      <a:pt x="19" y="5"/>
                      <a:pt x="19" y="5"/>
                    </a:cubicBezTo>
                    <a:cubicBezTo>
                      <a:pt x="15" y="6"/>
                      <a:pt x="13" y="9"/>
                      <a:pt x="9" y="9"/>
                    </a:cubicBezTo>
                    <a:cubicBezTo>
                      <a:pt x="5" y="9"/>
                      <a:pt x="0" y="8"/>
                      <a:pt x="0" y="6"/>
                    </a:cubicBezTo>
                    <a:cubicBezTo>
                      <a:pt x="0" y="1"/>
                      <a:pt x="3" y="1"/>
                      <a:pt x="7" y="1"/>
                    </a:cubicBezTo>
                    <a:cubicBezTo>
                      <a:pt x="11" y="1"/>
                      <a:pt x="13" y="2"/>
                      <a:pt x="16" y="3"/>
                    </a:cubicBezTo>
                    <a:cubicBezTo>
                      <a:pt x="16" y="2"/>
                      <a:pt x="16" y="1"/>
                      <a:pt x="16" y="0"/>
                    </a:cubicBezTo>
                    <a:cubicBezTo>
                      <a:pt x="27" y="0"/>
                      <a:pt x="27" y="0"/>
                      <a:pt x="27" y="0"/>
                    </a:cubicBezTo>
                    <a:cubicBezTo>
                      <a:pt x="27" y="3"/>
                      <a:pt x="26" y="5"/>
                      <a:pt x="27"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7" name="Freeform 110"/>
              <p:cNvSpPr>
                <a:spLocks/>
              </p:cNvSpPr>
              <p:nvPr/>
            </p:nvSpPr>
            <p:spPr bwMode="auto">
              <a:xfrm>
                <a:off x="6373813" y="3030538"/>
                <a:ext cx="26988" cy="19050"/>
              </a:xfrm>
              <a:custGeom>
                <a:avLst/>
                <a:gdLst/>
                <a:ahLst/>
                <a:cxnLst>
                  <a:cxn ang="0">
                    <a:pos x="15" y="14"/>
                  </a:cxn>
                  <a:cxn ang="0">
                    <a:pos x="12" y="9"/>
                  </a:cxn>
                  <a:cxn ang="0">
                    <a:pos x="0" y="4"/>
                  </a:cxn>
                  <a:cxn ang="0">
                    <a:pos x="9" y="1"/>
                  </a:cxn>
                  <a:cxn ang="0">
                    <a:pos x="13" y="1"/>
                  </a:cxn>
                  <a:cxn ang="0">
                    <a:pos x="20" y="11"/>
                  </a:cxn>
                  <a:cxn ang="0">
                    <a:pos x="16" y="14"/>
                  </a:cxn>
                  <a:cxn ang="0">
                    <a:pos x="15" y="14"/>
                  </a:cxn>
                </a:cxnLst>
                <a:rect l="0" t="0" r="r" b="b"/>
                <a:pathLst>
                  <a:path w="20" h="14">
                    <a:moveTo>
                      <a:pt x="15" y="14"/>
                    </a:moveTo>
                    <a:cubicBezTo>
                      <a:pt x="12" y="14"/>
                      <a:pt x="12" y="10"/>
                      <a:pt x="12" y="9"/>
                    </a:cubicBezTo>
                    <a:cubicBezTo>
                      <a:pt x="8" y="9"/>
                      <a:pt x="0" y="8"/>
                      <a:pt x="0" y="4"/>
                    </a:cubicBezTo>
                    <a:cubicBezTo>
                      <a:pt x="0" y="0"/>
                      <a:pt x="6" y="1"/>
                      <a:pt x="9" y="1"/>
                    </a:cubicBezTo>
                    <a:cubicBezTo>
                      <a:pt x="10" y="1"/>
                      <a:pt x="12" y="1"/>
                      <a:pt x="13" y="1"/>
                    </a:cubicBezTo>
                    <a:cubicBezTo>
                      <a:pt x="13" y="7"/>
                      <a:pt x="20" y="6"/>
                      <a:pt x="20" y="11"/>
                    </a:cubicBezTo>
                    <a:cubicBezTo>
                      <a:pt x="20" y="13"/>
                      <a:pt x="18" y="14"/>
                      <a:pt x="16" y="14"/>
                    </a:cubicBezTo>
                    <a:cubicBezTo>
                      <a:pt x="16" y="14"/>
                      <a:pt x="15" y="14"/>
                      <a:pt x="1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8" name="Freeform 111"/>
              <p:cNvSpPr>
                <a:spLocks/>
              </p:cNvSpPr>
              <p:nvPr/>
            </p:nvSpPr>
            <p:spPr bwMode="auto">
              <a:xfrm>
                <a:off x="6323013" y="3014663"/>
                <a:ext cx="11113" cy="11113"/>
              </a:xfrm>
              <a:custGeom>
                <a:avLst/>
                <a:gdLst/>
                <a:ahLst/>
                <a:cxnLst>
                  <a:cxn ang="0">
                    <a:pos x="0" y="0"/>
                  </a:cxn>
                  <a:cxn ang="0">
                    <a:pos x="4" y="0"/>
                  </a:cxn>
                  <a:cxn ang="0">
                    <a:pos x="8" y="3"/>
                  </a:cxn>
                  <a:cxn ang="0">
                    <a:pos x="3" y="8"/>
                  </a:cxn>
                  <a:cxn ang="0">
                    <a:pos x="0" y="5"/>
                  </a:cxn>
                  <a:cxn ang="0">
                    <a:pos x="0" y="0"/>
                  </a:cxn>
                </a:cxnLst>
                <a:rect l="0" t="0" r="r" b="b"/>
                <a:pathLst>
                  <a:path w="8" h="8">
                    <a:moveTo>
                      <a:pt x="0" y="0"/>
                    </a:moveTo>
                    <a:cubicBezTo>
                      <a:pt x="1" y="0"/>
                      <a:pt x="2" y="0"/>
                      <a:pt x="4" y="0"/>
                    </a:cubicBezTo>
                    <a:cubicBezTo>
                      <a:pt x="6" y="0"/>
                      <a:pt x="6" y="2"/>
                      <a:pt x="8" y="3"/>
                    </a:cubicBezTo>
                    <a:cubicBezTo>
                      <a:pt x="7" y="6"/>
                      <a:pt x="5" y="8"/>
                      <a:pt x="3" y="8"/>
                    </a:cubicBezTo>
                    <a:cubicBezTo>
                      <a:pt x="2" y="8"/>
                      <a:pt x="0" y="6"/>
                      <a:pt x="0" y="5"/>
                    </a:cubicBezTo>
                    <a:cubicBezTo>
                      <a:pt x="0" y="3"/>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29" name="Freeform 112"/>
              <p:cNvSpPr>
                <a:spLocks/>
              </p:cNvSpPr>
              <p:nvPr/>
            </p:nvSpPr>
            <p:spPr bwMode="auto">
              <a:xfrm>
                <a:off x="6448425" y="3016250"/>
                <a:ext cx="58738" cy="34925"/>
              </a:xfrm>
              <a:custGeom>
                <a:avLst/>
                <a:gdLst/>
                <a:ahLst/>
                <a:cxnLst>
                  <a:cxn ang="0">
                    <a:pos x="19" y="13"/>
                  </a:cxn>
                  <a:cxn ang="0">
                    <a:pos x="17" y="19"/>
                  </a:cxn>
                  <a:cxn ang="0">
                    <a:pos x="3" y="26"/>
                  </a:cxn>
                  <a:cxn ang="0">
                    <a:pos x="0" y="22"/>
                  </a:cxn>
                  <a:cxn ang="0">
                    <a:pos x="15" y="10"/>
                  </a:cxn>
                  <a:cxn ang="0">
                    <a:pos x="17" y="6"/>
                  </a:cxn>
                  <a:cxn ang="0">
                    <a:pos x="45" y="3"/>
                  </a:cxn>
                  <a:cxn ang="0">
                    <a:pos x="19" y="13"/>
                  </a:cxn>
                </a:cxnLst>
                <a:rect l="0" t="0" r="r" b="b"/>
                <a:pathLst>
                  <a:path w="45" h="26">
                    <a:moveTo>
                      <a:pt x="19" y="13"/>
                    </a:moveTo>
                    <a:cubicBezTo>
                      <a:pt x="16" y="13"/>
                      <a:pt x="19" y="17"/>
                      <a:pt x="17" y="19"/>
                    </a:cubicBezTo>
                    <a:cubicBezTo>
                      <a:pt x="15" y="21"/>
                      <a:pt x="8" y="26"/>
                      <a:pt x="3" y="26"/>
                    </a:cubicBezTo>
                    <a:cubicBezTo>
                      <a:pt x="1" y="26"/>
                      <a:pt x="0" y="24"/>
                      <a:pt x="0" y="22"/>
                    </a:cubicBezTo>
                    <a:cubicBezTo>
                      <a:pt x="0" y="12"/>
                      <a:pt x="8" y="12"/>
                      <a:pt x="15" y="10"/>
                    </a:cubicBezTo>
                    <a:cubicBezTo>
                      <a:pt x="16" y="10"/>
                      <a:pt x="16" y="7"/>
                      <a:pt x="17" y="6"/>
                    </a:cubicBezTo>
                    <a:cubicBezTo>
                      <a:pt x="21" y="2"/>
                      <a:pt x="41" y="0"/>
                      <a:pt x="45" y="3"/>
                    </a:cubicBezTo>
                    <a:cubicBezTo>
                      <a:pt x="40" y="9"/>
                      <a:pt x="26" y="13"/>
                      <a:pt x="19"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0" name="Freeform 113"/>
              <p:cNvSpPr>
                <a:spLocks/>
              </p:cNvSpPr>
              <p:nvPr/>
            </p:nvSpPr>
            <p:spPr bwMode="auto">
              <a:xfrm>
                <a:off x="6489700" y="2922588"/>
                <a:ext cx="17463" cy="19050"/>
              </a:xfrm>
              <a:custGeom>
                <a:avLst/>
                <a:gdLst/>
                <a:ahLst/>
                <a:cxnLst>
                  <a:cxn ang="0">
                    <a:pos x="13" y="8"/>
                  </a:cxn>
                  <a:cxn ang="0">
                    <a:pos x="8" y="14"/>
                  </a:cxn>
                  <a:cxn ang="0">
                    <a:pos x="0" y="5"/>
                  </a:cxn>
                  <a:cxn ang="0">
                    <a:pos x="13" y="8"/>
                  </a:cxn>
                </a:cxnLst>
                <a:rect l="0" t="0" r="r" b="b"/>
                <a:pathLst>
                  <a:path w="13" h="14">
                    <a:moveTo>
                      <a:pt x="13" y="8"/>
                    </a:moveTo>
                    <a:cubicBezTo>
                      <a:pt x="13" y="9"/>
                      <a:pt x="10" y="14"/>
                      <a:pt x="8" y="14"/>
                    </a:cubicBezTo>
                    <a:cubicBezTo>
                      <a:pt x="6" y="14"/>
                      <a:pt x="0" y="9"/>
                      <a:pt x="0" y="5"/>
                    </a:cubicBezTo>
                    <a:cubicBezTo>
                      <a:pt x="0" y="0"/>
                      <a:pt x="13" y="4"/>
                      <a:pt x="13"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1" name="Freeform 114"/>
              <p:cNvSpPr>
                <a:spLocks/>
              </p:cNvSpPr>
              <p:nvPr/>
            </p:nvSpPr>
            <p:spPr bwMode="auto">
              <a:xfrm>
                <a:off x="6519863" y="2924175"/>
                <a:ext cx="47625" cy="14288"/>
              </a:xfrm>
              <a:custGeom>
                <a:avLst/>
                <a:gdLst/>
                <a:ahLst/>
                <a:cxnLst>
                  <a:cxn ang="0">
                    <a:pos x="31" y="2"/>
                  </a:cxn>
                  <a:cxn ang="0">
                    <a:pos x="36" y="10"/>
                  </a:cxn>
                  <a:cxn ang="0">
                    <a:pos x="34" y="10"/>
                  </a:cxn>
                  <a:cxn ang="0">
                    <a:pos x="18" y="6"/>
                  </a:cxn>
                  <a:cxn ang="0">
                    <a:pos x="8" y="6"/>
                  </a:cxn>
                  <a:cxn ang="0">
                    <a:pos x="0" y="4"/>
                  </a:cxn>
                  <a:cxn ang="0">
                    <a:pos x="3" y="0"/>
                  </a:cxn>
                  <a:cxn ang="0">
                    <a:pos x="23" y="0"/>
                  </a:cxn>
                  <a:cxn ang="0">
                    <a:pos x="30" y="2"/>
                  </a:cxn>
                  <a:cxn ang="0">
                    <a:pos x="31" y="2"/>
                  </a:cxn>
                </a:cxnLst>
                <a:rect l="0" t="0" r="r" b="b"/>
                <a:pathLst>
                  <a:path w="36" h="10">
                    <a:moveTo>
                      <a:pt x="31" y="2"/>
                    </a:moveTo>
                    <a:cubicBezTo>
                      <a:pt x="32" y="5"/>
                      <a:pt x="36" y="6"/>
                      <a:pt x="36" y="10"/>
                    </a:cubicBezTo>
                    <a:cubicBezTo>
                      <a:pt x="36" y="10"/>
                      <a:pt x="35" y="10"/>
                      <a:pt x="34" y="10"/>
                    </a:cubicBezTo>
                    <a:cubicBezTo>
                      <a:pt x="28" y="10"/>
                      <a:pt x="25" y="6"/>
                      <a:pt x="18" y="6"/>
                    </a:cubicBezTo>
                    <a:cubicBezTo>
                      <a:pt x="14" y="6"/>
                      <a:pt x="12" y="6"/>
                      <a:pt x="8" y="6"/>
                    </a:cubicBezTo>
                    <a:cubicBezTo>
                      <a:pt x="6" y="6"/>
                      <a:pt x="0" y="4"/>
                      <a:pt x="0" y="4"/>
                    </a:cubicBezTo>
                    <a:cubicBezTo>
                      <a:pt x="0" y="2"/>
                      <a:pt x="3" y="1"/>
                      <a:pt x="3" y="0"/>
                    </a:cubicBezTo>
                    <a:cubicBezTo>
                      <a:pt x="23" y="0"/>
                      <a:pt x="23" y="0"/>
                      <a:pt x="23" y="0"/>
                    </a:cubicBezTo>
                    <a:cubicBezTo>
                      <a:pt x="24" y="3"/>
                      <a:pt x="27" y="2"/>
                      <a:pt x="30" y="2"/>
                    </a:cubicBezTo>
                    <a:lnTo>
                      <a:pt x="3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2" name="Freeform 115"/>
              <p:cNvSpPr>
                <a:spLocks/>
              </p:cNvSpPr>
              <p:nvPr/>
            </p:nvSpPr>
            <p:spPr bwMode="auto">
              <a:xfrm>
                <a:off x="6513513" y="2836863"/>
                <a:ext cx="19050" cy="46038"/>
              </a:xfrm>
              <a:custGeom>
                <a:avLst/>
                <a:gdLst/>
                <a:ahLst/>
                <a:cxnLst>
                  <a:cxn ang="0">
                    <a:pos x="4" y="28"/>
                  </a:cxn>
                  <a:cxn ang="0">
                    <a:pos x="4" y="25"/>
                  </a:cxn>
                  <a:cxn ang="0">
                    <a:pos x="14" y="24"/>
                  </a:cxn>
                  <a:cxn ang="0">
                    <a:pos x="11" y="17"/>
                  </a:cxn>
                  <a:cxn ang="0">
                    <a:pos x="15" y="12"/>
                  </a:cxn>
                  <a:cxn ang="0">
                    <a:pos x="4" y="0"/>
                  </a:cxn>
                  <a:cxn ang="0">
                    <a:pos x="0" y="9"/>
                  </a:cxn>
                  <a:cxn ang="0">
                    <a:pos x="3" y="21"/>
                  </a:cxn>
                  <a:cxn ang="0">
                    <a:pos x="3" y="27"/>
                  </a:cxn>
                  <a:cxn ang="0">
                    <a:pos x="9" y="35"/>
                  </a:cxn>
                  <a:cxn ang="0">
                    <a:pos x="4" y="28"/>
                  </a:cxn>
                </a:cxnLst>
                <a:rect l="0" t="0" r="r" b="b"/>
                <a:pathLst>
                  <a:path w="15" h="35">
                    <a:moveTo>
                      <a:pt x="4" y="28"/>
                    </a:moveTo>
                    <a:cubicBezTo>
                      <a:pt x="4" y="25"/>
                      <a:pt x="4" y="25"/>
                      <a:pt x="4" y="25"/>
                    </a:cubicBezTo>
                    <a:cubicBezTo>
                      <a:pt x="8" y="25"/>
                      <a:pt x="12" y="24"/>
                      <a:pt x="14" y="24"/>
                    </a:cubicBezTo>
                    <a:cubicBezTo>
                      <a:pt x="14" y="20"/>
                      <a:pt x="11" y="20"/>
                      <a:pt x="11" y="17"/>
                    </a:cubicBezTo>
                    <a:cubicBezTo>
                      <a:pt x="11" y="15"/>
                      <a:pt x="15" y="14"/>
                      <a:pt x="15" y="12"/>
                    </a:cubicBezTo>
                    <a:cubicBezTo>
                      <a:pt x="8" y="10"/>
                      <a:pt x="4" y="6"/>
                      <a:pt x="4" y="0"/>
                    </a:cubicBezTo>
                    <a:cubicBezTo>
                      <a:pt x="0" y="2"/>
                      <a:pt x="0" y="5"/>
                      <a:pt x="0" y="9"/>
                    </a:cubicBezTo>
                    <a:cubicBezTo>
                      <a:pt x="0" y="15"/>
                      <a:pt x="3" y="16"/>
                      <a:pt x="3" y="21"/>
                    </a:cubicBezTo>
                    <a:cubicBezTo>
                      <a:pt x="3" y="26"/>
                      <a:pt x="3" y="24"/>
                      <a:pt x="3" y="27"/>
                    </a:cubicBezTo>
                    <a:cubicBezTo>
                      <a:pt x="3" y="30"/>
                      <a:pt x="4" y="35"/>
                      <a:pt x="9" y="35"/>
                    </a:cubicBezTo>
                    <a:cubicBezTo>
                      <a:pt x="7" y="32"/>
                      <a:pt x="6" y="31"/>
                      <a:pt x="4"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3" name="Freeform 119"/>
              <p:cNvSpPr>
                <a:spLocks/>
              </p:cNvSpPr>
              <p:nvPr/>
            </p:nvSpPr>
            <p:spPr bwMode="auto">
              <a:xfrm>
                <a:off x="6424613" y="2709863"/>
                <a:ext cx="76200" cy="71438"/>
              </a:xfrm>
              <a:custGeom>
                <a:avLst/>
                <a:gdLst/>
                <a:ahLst/>
                <a:cxnLst>
                  <a:cxn ang="0">
                    <a:pos x="48" y="38"/>
                  </a:cxn>
                  <a:cxn ang="0">
                    <a:pos x="46" y="35"/>
                  </a:cxn>
                  <a:cxn ang="0">
                    <a:pos x="42" y="40"/>
                  </a:cxn>
                  <a:cxn ang="0">
                    <a:pos x="47" y="48"/>
                  </a:cxn>
                  <a:cxn ang="0">
                    <a:pos x="42" y="53"/>
                  </a:cxn>
                  <a:cxn ang="0">
                    <a:pos x="40" y="50"/>
                  </a:cxn>
                  <a:cxn ang="0">
                    <a:pos x="36" y="51"/>
                  </a:cxn>
                  <a:cxn ang="0">
                    <a:pos x="26" y="37"/>
                  </a:cxn>
                  <a:cxn ang="0">
                    <a:pos x="28" y="32"/>
                  </a:cxn>
                  <a:cxn ang="0">
                    <a:pos x="27" y="29"/>
                  </a:cxn>
                  <a:cxn ang="0">
                    <a:pos x="21" y="28"/>
                  </a:cxn>
                  <a:cxn ang="0">
                    <a:pos x="21" y="32"/>
                  </a:cxn>
                  <a:cxn ang="0">
                    <a:pos x="17" y="30"/>
                  </a:cxn>
                  <a:cxn ang="0">
                    <a:pos x="16" y="32"/>
                  </a:cxn>
                  <a:cxn ang="0">
                    <a:pos x="12" y="28"/>
                  </a:cxn>
                  <a:cxn ang="0">
                    <a:pos x="4" y="45"/>
                  </a:cxn>
                  <a:cxn ang="0">
                    <a:pos x="4" y="36"/>
                  </a:cxn>
                  <a:cxn ang="0">
                    <a:pos x="2" y="32"/>
                  </a:cxn>
                  <a:cxn ang="0">
                    <a:pos x="5" y="22"/>
                  </a:cxn>
                  <a:cxn ang="0">
                    <a:pos x="19" y="14"/>
                  </a:cxn>
                  <a:cxn ang="0">
                    <a:pos x="26" y="20"/>
                  </a:cxn>
                  <a:cxn ang="0">
                    <a:pos x="28" y="20"/>
                  </a:cxn>
                  <a:cxn ang="0">
                    <a:pos x="32" y="15"/>
                  </a:cxn>
                  <a:cxn ang="0">
                    <a:pos x="41" y="9"/>
                  </a:cxn>
                  <a:cxn ang="0">
                    <a:pos x="42" y="0"/>
                  </a:cxn>
                  <a:cxn ang="0">
                    <a:pos x="48" y="4"/>
                  </a:cxn>
                  <a:cxn ang="0">
                    <a:pos x="58" y="33"/>
                  </a:cxn>
                  <a:cxn ang="0">
                    <a:pos x="53" y="46"/>
                  </a:cxn>
                  <a:cxn ang="0">
                    <a:pos x="48" y="36"/>
                  </a:cxn>
                  <a:cxn ang="0">
                    <a:pos x="48" y="38"/>
                  </a:cxn>
                </a:cxnLst>
                <a:rect l="0" t="0" r="r" b="b"/>
                <a:pathLst>
                  <a:path w="58" h="53">
                    <a:moveTo>
                      <a:pt x="48" y="38"/>
                    </a:moveTo>
                    <a:cubicBezTo>
                      <a:pt x="48" y="37"/>
                      <a:pt x="47" y="36"/>
                      <a:pt x="46" y="35"/>
                    </a:cubicBezTo>
                    <a:cubicBezTo>
                      <a:pt x="44" y="37"/>
                      <a:pt x="42" y="38"/>
                      <a:pt x="42" y="40"/>
                    </a:cubicBezTo>
                    <a:cubicBezTo>
                      <a:pt x="42" y="43"/>
                      <a:pt x="47" y="44"/>
                      <a:pt x="47" y="48"/>
                    </a:cubicBezTo>
                    <a:cubicBezTo>
                      <a:pt x="47" y="51"/>
                      <a:pt x="45" y="53"/>
                      <a:pt x="42" y="53"/>
                    </a:cubicBezTo>
                    <a:cubicBezTo>
                      <a:pt x="41" y="53"/>
                      <a:pt x="40" y="51"/>
                      <a:pt x="40" y="50"/>
                    </a:cubicBezTo>
                    <a:cubicBezTo>
                      <a:pt x="39" y="51"/>
                      <a:pt x="37" y="51"/>
                      <a:pt x="36" y="51"/>
                    </a:cubicBezTo>
                    <a:cubicBezTo>
                      <a:pt x="31" y="51"/>
                      <a:pt x="26" y="44"/>
                      <a:pt x="26" y="37"/>
                    </a:cubicBezTo>
                    <a:cubicBezTo>
                      <a:pt x="26" y="34"/>
                      <a:pt x="27" y="33"/>
                      <a:pt x="28" y="32"/>
                    </a:cubicBezTo>
                    <a:cubicBezTo>
                      <a:pt x="28" y="31"/>
                      <a:pt x="27" y="30"/>
                      <a:pt x="27" y="29"/>
                    </a:cubicBezTo>
                    <a:cubicBezTo>
                      <a:pt x="21" y="28"/>
                      <a:pt x="21" y="28"/>
                      <a:pt x="21" y="28"/>
                    </a:cubicBezTo>
                    <a:cubicBezTo>
                      <a:pt x="21" y="30"/>
                      <a:pt x="20" y="31"/>
                      <a:pt x="21" y="32"/>
                    </a:cubicBezTo>
                    <a:cubicBezTo>
                      <a:pt x="18" y="32"/>
                      <a:pt x="18" y="31"/>
                      <a:pt x="17" y="30"/>
                    </a:cubicBezTo>
                    <a:cubicBezTo>
                      <a:pt x="17" y="30"/>
                      <a:pt x="16" y="31"/>
                      <a:pt x="16" y="32"/>
                    </a:cubicBezTo>
                    <a:cubicBezTo>
                      <a:pt x="14" y="31"/>
                      <a:pt x="12" y="28"/>
                      <a:pt x="12" y="28"/>
                    </a:cubicBezTo>
                    <a:cubicBezTo>
                      <a:pt x="8" y="32"/>
                      <a:pt x="8" y="45"/>
                      <a:pt x="4" y="45"/>
                    </a:cubicBezTo>
                    <a:cubicBezTo>
                      <a:pt x="0" y="45"/>
                      <a:pt x="4" y="37"/>
                      <a:pt x="4" y="36"/>
                    </a:cubicBezTo>
                    <a:cubicBezTo>
                      <a:pt x="4" y="35"/>
                      <a:pt x="2" y="33"/>
                      <a:pt x="2" y="32"/>
                    </a:cubicBezTo>
                    <a:cubicBezTo>
                      <a:pt x="2" y="28"/>
                      <a:pt x="4" y="26"/>
                      <a:pt x="5" y="22"/>
                    </a:cubicBezTo>
                    <a:cubicBezTo>
                      <a:pt x="13" y="22"/>
                      <a:pt x="11" y="14"/>
                      <a:pt x="19" y="14"/>
                    </a:cubicBezTo>
                    <a:cubicBezTo>
                      <a:pt x="24" y="14"/>
                      <a:pt x="23" y="20"/>
                      <a:pt x="26" y="20"/>
                    </a:cubicBezTo>
                    <a:cubicBezTo>
                      <a:pt x="27" y="20"/>
                      <a:pt x="27" y="20"/>
                      <a:pt x="28" y="20"/>
                    </a:cubicBezTo>
                    <a:cubicBezTo>
                      <a:pt x="28" y="18"/>
                      <a:pt x="30" y="16"/>
                      <a:pt x="32" y="15"/>
                    </a:cubicBezTo>
                    <a:cubicBezTo>
                      <a:pt x="32" y="10"/>
                      <a:pt x="39" y="12"/>
                      <a:pt x="41" y="9"/>
                    </a:cubicBezTo>
                    <a:cubicBezTo>
                      <a:pt x="42" y="7"/>
                      <a:pt x="42" y="1"/>
                      <a:pt x="42" y="0"/>
                    </a:cubicBezTo>
                    <a:cubicBezTo>
                      <a:pt x="45" y="0"/>
                      <a:pt x="47" y="2"/>
                      <a:pt x="48" y="4"/>
                    </a:cubicBezTo>
                    <a:cubicBezTo>
                      <a:pt x="51" y="7"/>
                      <a:pt x="58" y="30"/>
                      <a:pt x="58" y="33"/>
                    </a:cubicBezTo>
                    <a:cubicBezTo>
                      <a:pt x="58" y="37"/>
                      <a:pt x="53" y="39"/>
                      <a:pt x="53" y="46"/>
                    </a:cubicBezTo>
                    <a:cubicBezTo>
                      <a:pt x="51" y="46"/>
                      <a:pt x="48" y="37"/>
                      <a:pt x="48" y="36"/>
                    </a:cubicBezTo>
                    <a:lnTo>
                      <a:pt x="48"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4" name="Freeform 120"/>
              <p:cNvSpPr>
                <a:spLocks/>
              </p:cNvSpPr>
              <p:nvPr/>
            </p:nvSpPr>
            <p:spPr bwMode="auto">
              <a:xfrm>
                <a:off x="6354763" y="2690813"/>
                <a:ext cx="36513" cy="39688"/>
              </a:xfrm>
              <a:custGeom>
                <a:avLst/>
                <a:gdLst/>
                <a:ahLst/>
                <a:cxnLst>
                  <a:cxn ang="0">
                    <a:pos x="3" y="29"/>
                  </a:cxn>
                  <a:cxn ang="0">
                    <a:pos x="0" y="29"/>
                  </a:cxn>
                  <a:cxn ang="0">
                    <a:pos x="22" y="5"/>
                  </a:cxn>
                  <a:cxn ang="0">
                    <a:pos x="25" y="0"/>
                  </a:cxn>
                  <a:cxn ang="0">
                    <a:pos x="28" y="6"/>
                  </a:cxn>
                  <a:cxn ang="0">
                    <a:pos x="24" y="9"/>
                  </a:cxn>
                  <a:cxn ang="0">
                    <a:pos x="17" y="13"/>
                  </a:cxn>
                  <a:cxn ang="0">
                    <a:pos x="3" y="29"/>
                  </a:cxn>
                </a:cxnLst>
                <a:rect l="0" t="0" r="r" b="b"/>
                <a:pathLst>
                  <a:path w="28" h="29">
                    <a:moveTo>
                      <a:pt x="3" y="29"/>
                    </a:moveTo>
                    <a:cubicBezTo>
                      <a:pt x="0" y="29"/>
                      <a:pt x="0" y="29"/>
                      <a:pt x="0" y="29"/>
                    </a:cubicBezTo>
                    <a:cubicBezTo>
                      <a:pt x="4" y="18"/>
                      <a:pt x="18" y="13"/>
                      <a:pt x="22" y="5"/>
                    </a:cubicBezTo>
                    <a:cubicBezTo>
                      <a:pt x="23" y="3"/>
                      <a:pt x="23" y="1"/>
                      <a:pt x="25" y="0"/>
                    </a:cubicBezTo>
                    <a:cubicBezTo>
                      <a:pt x="24" y="4"/>
                      <a:pt x="26" y="5"/>
                      <a:pt x="28" y="6"/>
                    </a:cubicBezTo>
                    <a:cubicBezTo>
                      <a:pt x="26" y="8"/>
                      <a:pt x="26" y="9"/>
                      <a:pt x="24" y="9"/>
                    </a:cubicBezTo>
                    <a:cubicBezTo>
                      <a:pt x="23" y="12"/>
                      <a:pt x="20" y="13"/>
                      <a:pt x="17" y="13"/>
                    </a:cubicBezTo>
                    <a:cubicBezTo>
                      <a:pt x="15" y="22"/>
                      <a:pt x="8" y="26"/>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5" name="Freeform 121"/>
              <p:cNvSpPr>
                <a:spLocks/>
              </p:cNvSpPr>
              <p:nvPr/>
            </p:nvSpPr>
            <p:spPr bwMode="auto">
              <a:xfrm>
                <a:off x="6383338" y="2563813"/>
                <a:ext cx="71438" cy="101600"/>
              </a:xfrm>
              <a:custGeom>
                <a:avLst/>
                <a:gdLst/>
                <a:ahLst/>
                <a:cxnLst>
                  <a:cxn ang="0">
                    <a:pos x="4" y="31"/>
                  </a:cxn>
                  <a:cxn ang="0">
                    <a:pos x="6" y="20"/>
                  </a:cxn>
                  <a:cxn ang="0">
                    <a:pos x="5" y="7"/>
                  </a:cxn>
                  <a:cxn ang="0">
                    <a:pos x="9" y="0"/>
                  </a:cxn>
                  <a:cxn ang="0">
                    <a:pos x="16" y="7"/>
                  </a:cxn>
                  <a:cxn ang="0">
                    <a:pos x="21" y="3"/>
                  </a:cxn>
                  <a:cxn ang="0">
                    <a:pos x="22" y="5"/>
                  </a:cxn>
                  <a:cxn ang="0">
                    <a:pos x="23" y="8"/>
                  </a:cxn>
                  <a:cxn ang="0">
                    <a:pos x="28" y="25"/>
                  </a:cxn>
                  <a:cxn ang="0">
                    <a:pos x="20" y="42"/>
                  </a:cxn>
                  <a:cxn ang="0">
                    <a:pos x="30" y="59"/>
                  </a:cxn>
                  <a:cxn ang="0">
                    <a:pos x="30" y="58"/>
                  </a:cxn>
                  <a:cxn ang="0">
                    <a:pos x="34" y="55"/>
                  </a:cxn>
                  <a:cxn ang="0">
                    <a:pos x="43" y="64"/>
                  </a:cxn>
                  <a:cxn ang="0">
                    <a:pos x="46" y="61"/>
                  </a:cxn>
                  <a:cxn ang="0">
                    <a:pos x="49" y="62"/>
                  </a:cxn>
                  <a:cxn ang="0">
                    <a:pos x="46" y="66"/>
                  </a:cxn>
                  <a:cxn ang="0">
                    <a:pos x="49" y="66"/>
                  </a:cxn>
                  <a:cxn ang="0">
                    <a:pos x="54" y="71"/>
                  </a:cxn>
                  <a:cxn ang="0">
                    <a:pos x="54" y="74"/>
                  </a:cxn>
                  <a:cxn ang="0">
                    <a:pos x="53" y="76"/>
                  </a:cxn>
                  <a:cxn ang="0">
                    <a:pos x="51" y="73"/>
                  </a:cxn>
                  <a:cxn ang="0">
                    <a:pos x="36" y="61"/>
                  </a:cxn>
                  <a:cxn ang="0">
                    <a:pos x="37" y="69"/>
                  </a:cxn>
                  <a:cxn ang="0">
                    <a:pos x="25" y="60"/>
                  </a:cxn>
                  <a:cxn ang="0">
                    <a:pos x="19" y="62"/>
                  </a:cxn>
                  <a:cxn ang="0">
                    <a:pos x="13" y="57"/>
                  </a:cxn>
                  <a:cxn ang="0">
                    <a:pos x="15" y="53"/>
                  </a:cxn>
                  <a:cxn ang="0">
                    <a:pos x="15" y="49"/>
                  </a:cxn>
                  <a:cxn ang="0">
                    <a:pos x="13" y="49"/>
                  </a:cxn>
                  <a:cxn ang="0">
                    <a:pos x="10" y="51"/>
                  </a:cxn>
                  <a:cxn ang="0">
                    <a:pos x="1" y="44"/>
                  </a:cxn>
                  <a:cxn ang="0">
                    <a:pos x="4" y="31"/>
                  </a:cxn>
                </a:cxnLst>
                <a:rect l="0" t="0" r="r" b="b"/>
                <a:pathLst>
                  <a:path w="54" h="76">
                    <a:moveTo>
                      <a:pt x="4" y="31"/>
                    </a:moveTo>
                    <a:cubicBezTo>
                      <a:pt x="6" y="28"/>
                      <a:pt x="6" y="23"/>
                      <a:pt x="6" y="20"/>
                    </a:cubicBezTo>
                    <a:cubicBezTo>
                      <a:pt x="7" y="15"/>
                      <a:pt x="5" y="12"/>
                      <a:pt x="5" y="7"/>
                    </a:cubicBezTo>
                    <a:cubicBezTo>
                      <a:pt x="5" y="3"/>
                      <a:pt x="6" y="0"/>
                      <a:pt x="9" y="0"/>
                    </a:cubicBezTo>
                    <a:cubicBezTo>
                      <a:pt x="13" y="0"/>
                      <a:pt x="12" y="7"/>
                      <a:pt x="16" y="7"/>
                    </a:cubicBezTo>
                    <a:cubicBezTo>
                      <a:pt x="18" y="7"/>
                      <a:pt x="20" y="4"/>
                      <a:pt x="21" y="3"/>
                    </a:cubicBezTo>
                    <a:cubicBezTo>
                      <a:pt x="21" y="3"/>
                      <a:pt x="22" y="4"/>
                      <a:pt x="22" y="5"/>
                    </a:cubicBezTo>
                    <a:cubicBezTo>
                      <a:pt x="22" y="6"/>
                      <a:pt x="23" y="7"/>
                      <a:pt x="23" y="8"/>
                    </a:cubicBezTo>
                    <a:cubicBezTo>
                      <a:pt x="23" y="13"/>
                      <a:pt x="28" y="18"/>
                      <a:pt x="28" y="25"/>
                    </a:cubicBezTo>
                    <a:cubicBezTo>
                      <a:pt x="28" y="33"/>
                      <a:pt x="20" y="34"/>
                      <a:pt x="20" y="42"/>
                    </a:cubicBezTo>
                    <a:cubicBezTo>
                      <a:pt x="20" y="48"/>
                      <a:pt x="26" y="57"/>
                      <a:pt x="30" y="59"/>
                    </a:cubicBezTo>
                    <a:cubicBezTo>
                      <a:pt x="30" y="59"/>
                      <a:pt x="30" y="58"/>
                      <a:pt x="30" y="58"/>
                    </a:cubicBezTo>
                    <a:cubicBezTo>
                      <a:pt x="30" y="56"/>
                      <a:pt x="32" y="54"/>
                      <a:pt x="34" y="55"/>
                    </a:cubicBezTo>
                    <a:cubicBezTo>
                      <a:pt x="39" y="55"/>
                      <a:pt x="40" y="63"/>
                      <a:pt x="43" y="64"/>
                    </a:cubicBezTo>
                    <a:cubicBezTo>
                      <a:pt x="44" y="64"/>
                      <a:pt x="45" y="61"/>
                      <a:pt x="46" y="61"/>
                    </a:cubicBezTo>
                    <a:cubicBezTo>
                      <a:pt x="47" y="61"/>
                      <a:pt x="48" y="62"/>
                      <a:pt x="49" y="62"/>
                    </a:cubicBezTo>
                    <a:cubicBezTo>
                      <a:pt x="48" y="64"/>
                      <a:pt x="46" y="64"/>
                      <a:pt x="46" y="66"/>
                    </a:cubicBezTo>
                    <a:cubicBezTo>
                      <a:pt x="46" y="67"/>
                      <a:pt x="48" y="67"/>
                      <a:pt x="49" y="66"/>
                    </a:cubicBezTo>
                    <a:cubicBezTo>
                      <a:pt x="49" y="69"/>
                      <a:pt x="51" y="71"/>
                      <a:pt x="54" y="71"/>
                    </a:cubicBezTo>
                    <a:cubicBezTo>
                      <a:pt x="54" y="72"/>
                      <a:pt x="54" y="73"/>
                      <a:pt x="54" y="74"/>
                    </a:cubicBezTo>
                    <a:cubicBezTo>
                      <a:pt x="54" y="75"/>
                      <a:pt x="53" y="76"/>
                      <a:pt x="53" y="76"/>
                    </a:cubicBezTo>
                    <a:cubicBezTo>
                      <a:pt x="51" y="76"/>
                      <a:pt x="51" y="74"/>
                      <a:pt x="51" y="73"/>
                    </a:cubicBezTo>
                    <a:cubicBezTo>
                      <a:pt x="48" y="69"/>
                      <a:pt x="39" y="65"/>
                      <a:pt x="36" y="61"/>
                    </a:cubicBezTo>
                    <a:cubicBezTo>
                      <a:pt x="34" y="64"/>
                      <a:pt x="35" y="66"/>
                      <a:pt x="37" y="69"/>
                    </a:cubicBezTo>
                    <a:cubicBezTo>
                      <a:pt x="31" y="69"/>
                      <a:pt x="31" y="60"/>
                      <a:pt x="25" y="60"/>
                    </a:cubicBezTo>
                    <a:cubicBezTo>
                      <a:pt x="23" y="60"/>
                      <a:pt x="21" y="62"/>
                      <a:pt x="19" y="62"/>
                    </a:cubicBezTo>
                    <a:cubicBezTo>
                      <a:pt x="16" y="62"/>
                      <a:pt x="13" y="59"/>
                      <a:pt x="13" y="57"/>
                    </a:cubicBezTo>
                    <a:cubicBezTo>
                      <a:pt x="13" y="55"/>
                      <a:pt x="14" y="53"/>
                      <a:pt x="15" y="53"/>
                    </a:cubicBezTo>
                    <a:cubicBezTo>
                      <a:pt x="15" y="49"/>
                      <a:pt x="15" y="49"/>
                      <a:pt x="15" y="49"/>
                    </a:cubicBezTo>
                    <a:cubicBezTo>
                      <a:pt x="13" y="49"/>
                      <a:pt x="13" y="49"/>
                      <a:pt x="13" y="49"/>
                    </a:cubicBezTo>
                    <a:cubicBezTo>
                      <a:pt x="12" y="50"/>
                      <a:pt x="11" y="51"/>
                      <a:pt x="10" y="51"/>
                    </a:cubicBezTo>
                    <a:cubicBezTo>
                      <a:pt x="8" y="51"/>
                      <a:pt x="1" y="47"/>
                      <a:pt x="1" y="44"/>
                    </a:cubicBezTo>
                    <a:cubicBezTo>
                      <a:pt x="1" y="38"/>
                      <a:pt x="0" y="30"/>
                      <a:pt x="4"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6" name="Freeform 122"/>
              <p:cNvSpPr>
                <a:spLocks/>
              </p:cNvSpPr>
              <p:nvPr/>
            </p:nvSpPr>
            <p:spPr bwMode="auto">
              <a:xfrm>
                <a:off x="6457950" y="2665413"/>
                <a:ext cx="23813" cy="41275"/>
              </a:xfrm>
              <a:custGeom>
                <a:avLst/>
                <a:gdLst/>
                <a:ahLst/>
                <a:cxnLst>
                  <a:cxn ang="0">
                    <a:pos x="16" y="20"/>
                  </a:cxn>
                  <a:cxn ang="0">
                    <a:pos x="10" y="20"/>
                  </a:cxn>
                  <a:cxn ang="0">
                    <a:pos x="14" y="28"/>
                  </a:cxn>
                  <a:cxn ang="0">
                    <a:pos x="14" y="30"/>
                  </a:cxn>
                  <a:cxn ang="0">
                    <a:pos x="10" y="30"/>
                  </a:cxn>
                  <a:cxn ang="0">
                    <a:pos x="8" y="25"/>
                  </a:cxn>
                  <a:cxn ang="0">
                    <a:pos x="8" y="23"/>
                  </a:cxn>
                  <a:cxn ang="0">
                    <a:pos x="2" y="17"/>
                  </a:cxn>
                  <a:cxn ang="0">
                    <a:pos x="2" y="15"/>
                  </a:cxn>
                  <a:cxn ang="0">
                    <a:pos x="8" y="15"/>
                  </a:cxn>
                  <a:cxn ang="0">
                    <a:pos x="10" y="13"/>
                  </a:cxn>
                  <a:cxn ang="0">
                    <a:pos x="0" y="2"/>
                  </a:cxn>
                  <a:cxn ang="0">
                    <a:pos x="4" y="0"/>
                  </a:cxn>
                  <a:cxn ang="0">
                    <a:pos x="13" y="2"/>
                  </a:cxn>
                  <a:cxn ang="0">
                    <a:pos x="13" y="6"/>
                  </a:cxn>
                  <a:cxn ang="0">
                    <a:pos x="15" y="6"/>
                  </a:cxn>
                  <a:cxn ang="0">
                    <a:pos x="15" y="12"/>
                  </a:cxn>
                  <a:cxn ang="0">
                    <a:pos x="18" y="15"/>
                  </a:cxn>
                  <a:cxn ang="0">
                    <a:pos x="16" y="20"/>
                  </a:cxn>
                </a:cxnLst>
                <a:rect l="0" t="0" r="r" b="b"/>
                <a:pathLst>
                  <a:path w="18" h="30">
                    <a:moveTo>
                      <a:pt x="16" y="20"/>
                    </a:moveTo>
                    <a:cubicBezTo>
                      <a:pt x="10" y="20"/>
                      <a:pt x="10" y="20"/>
                      <a:pt x="10" y="20"/>
                    </a:cubicBezTo>
                    <a:cubicBezTo>
                      <a:pt x="11" y="23"/>
                      <a:pt x="12" y="27"/>
                      <a:pt x="14" y="28"/>
                    </a:cubicBezTo>
                    <a:cubicBezTo>
                      <a:pt x="14" y="30"/>
                      <a:pt x="14" y="30"/>
                      <a:pt x="14" y="30"/>
                    </a:cubicBezTo>
                    <a:cubicBezTo>
                      <a:pt x="13" y="30"/>
                      <a:pt x="11" y="30"/>
                      <a:pt x="10" y="30"/>
                    </a:cubicBezTo>
                    <a:cubicBezTo>
                      <a:pt x="7" y="30"/>
                      <a:pt x="7" y="27"/>
                      <a:pt x="8" y="25"/>
                    </a:cubicBezTo>
                    <a:cubicBezTo>
                      <a:pt x="8" y="23"/>
                      <a:pt x="8" y="23"/>
                      <a:pt x="8" y="23"/>
                    </a:cubicBezTo>
                    <a:cubicBezTo>
                      <a:pt x="5" y="23"/>
                      <a:pt x="3" y="19"/>
                      <a:pt x="2" y="17"/>
                    </a:cubicBezTo>
                    <a:cubicBezTo>
                      <a:pt x="2" y="15"/>
                      <a:pt x="2" y="15"/>
                      <a:pt x="2" y="15"/>
                    </a:cubicBezTo>
                    <a:cubicBezTo>
                      <a:pt x="4" y="15"/>
                      <a:pt x="7" y="15"/>
                      <a:pt x="8" y="15"/>
                    </a:cubicBezTo>
                    <a:cubicBezTo>
                      <a:pt x="8" y="15"/>
                      <a:pt x="10" y="14"/>
                      <a:pt x="10" y="13"/>
                    </a:cubicBezTo>
                    <a:cubicBezTo>
                      <a:pt x="10" y="8"/>
                      <a:pt x="1" y="5"/>
                      <a:pt x="0" y="2"/>
                    </a:cubicBezTo>
                    <a:cubicBezTo>
                      <a:pt x="1" y="1"/>
                      <a:pt x="3" y="0"/>
                      <a:pt x="4" y="0"/>
                    </a:cubicBezTo>
                    <a:cubicBezTo>
                      <a:pt x="7" y="0"/>
                      <a:pt x="9" y="2"/>
                      <a:pt x="13" y="2"/>
                    </a:cubicBezTo>
                    <a:cubicBezTo>
                      <a:pt x="13" y="3"/>
                      <a:pt x="13" y="5"/>
                      <a:pt x="13" y="6"/>
                    </a:cubicBezTo>
                    <a:cubicBezTo>
                      <a:pt x="13" y="6"/>
                      <a:pt x="14" y="6"/>
                      <a:pt x="15" y="6"/>
                    </a:cubicBezTo>
                    <a:cubicBezTo>
                      <a:pt x="15" y="8"/>
                      <a:pt x="15" y="12"/>
                      <a:pt x="15" y="12"/>
                    </a:cubicBezTo>
                    <a:cubicBezTo>
                      <a:pt x="15" y="12"/>
                      <a:pt x="18" y="15"/>
                      <a:pt x="18" y="15"/>
                    </a:cubicBezTo>
                    <a:cubicBezTo>
                      <a:pt x="18" y="18"/>
                      <a:pt x="17" y="19"/>
                      <a:pt x="16"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7" name="Freeform 123"/>
              <p:cNvSpPr>
                <a:spLocks/>
              </p:cNvSpPr>
              <p:nvPr/>
            </p:nvSpPr>
            <p:spPr bwMode="auto">
              <a:xfrm>
                <a:off x="6423025" y="2676525"/>
                <a:ext cx="19050" cy="25400"/>
              </a:xfrm>
              <a:custGeom>
                <a:avLst/>
                <a:gdLst/>
                <a:ahLst/>
                <a:cxnLst>
                  <a:cxn ang="0">
                    <a:pos x="3" y="1"/>
                  </a:cxn>
                  <a:cxn ang="0">
                    <a:pos x="14" y="7"/>
                  </a:cxn>
                  <a:cxn ang="0">
                    <a:pos x="1" y="19"/>
                  </a:cxn>
                  <a:cxn ang="0">
                    <a:pos x="0" y="2"/>
                  </a:cxn>
                  <a:cxn ang="0">
                    <a:pos x="2" y="0"/>
                  </a:cxn>
                  <a:cxn ang="0">
                    <a:pos x="5" y="2"/>
                  </a:cxn>
                  <a:cxn ang="0">
                    <a:pos x="3" y="1"/>
                  </a:cxn>
                </a:cxnLst>
                <a:rect l="0" t="0" r="r" b="b"/>
                <a:pathLst>
                  <a:path w="14" h="19">
                    <a:moveTo>
                      <a:pt x="3" y="1"/>
                    </a:moveTo>
                    <a:cubicBezTo>
                      <a:pt x="4" y="3"/>
                      <a:pt x="14" y="4"/>
                      <a:pt x="14" y="7"/>
                    </a:cubicBezTo>
                    <a:cubicBezTo>
                      <a:pt x="14" y="14"/>
                      <a:pt x="5" y="17"/>
                      <a:pt x="1" y="19"/>
                    </a:cubicBezTo>
                    <a:cubicBezTo>
                      <a:pt x="1" y="13"/>
                      <a:pt x="0" y="6"/>
                      <a:pt x="0" y="2"/>
                    </a:cubicBezTo>
                    <a:cubicBezTo>
                      <a:pt x="0" y="1"/>
                      <a:pt x="2" y="0"/>
                      <a:pt x="2" y="0"/>
                    </a:cubicBezTo>
                    <a:cubicBezTo>
                      <a:pt x="3" y="0"/>
                      <a:pt x="4" y="2"/>
                      <a:pt x="5" y="2"/>
                    </a:cubicBez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8" name="Freeform 124"/>
              <p:cNvSpPr>
                <a:spLocks/>
              </p:cNvSpPr>
              <p:nvPr/>
            </p:nvSpPr>
            <p:spPr bwMode="auto">
              <a:xfrm>
                <a:off x="6432550" y="2692400"/>
                <a:ext cx="19050" cy="31750"/>
              </a:xfrm>
              <a:custGeom>
                <a:avLst/>
                <a:gdLst/>
                <a:ahLst/>
                <a:cxnLst>
                  <a:cxn ang="0">
                    <a:pos x="14" y="5"/>
                  </a:cxn>
                  <a:cxn ang="0">
                    <a:pos x="9" y="17"/>
                  </a:cxn>
                  <a:cxn ang="0">
                    <a:pos x="11" y="22"/>
                  </a:cxn>
                  <a:cxn ang="0">
                    <a:pos x="9" y="24"/>
                  </a:cxn>
                  <a:cxn ang="0">
                    <a:pos x="0" y="14"/>
                  </a:cxn>
                  <a:cxn ang="0">
                    <a:pos x="4" y="12"/>
                  </a:cxn>
                  <a:cxn ang="0">
                    <a:pos x="8" y="1"/>
                  </a:cxn>
                  <a:cxn ang="0">
                    <a:pos x="14" y="5"/>
                  </a:cxn>
                </a:cxnLst>
                <a:rect l="0" t="0" r="r" b="b"/>
                <a:pathLst>
                  <a:path w="14" h="24">
                    <a:moveTo>
                      <a:pt x="14" y="5"/>
                    </a:moveTo>
                    <a:cubicBezTo>
                      <a:pt x="14" y="10"/>
                      <a:pt x="10" y="13"/>
                      <a:pt x="9" y="17"/>
                    </a:cubicBezTo>
                    <a:cubicBezTo>
                      <a:pt x="9" y="21"/>
                      <a:pt x="11" y="20"/>
                      <a:pt x="11" y="22"/>
                    </a:cubicBezTo>
                    <a:cubicBezTo>
                      <a:pt x="11" y="23"/>
                      <a:pt x="10" y="24"/>
                      <a:pt x="9" y="24"/>
                    </a:cubicBezTo>
                    <a:cubicBezTo>
                      <a:pt x="7" y="24"/>
                      <a:pt x="0" y="17"/>
                      <a:pt x="0" y="14"/>
                    </a:cubicBezTo>
                    <a:cubicBezTo>
                      <a:pt x="0" y="13"/>
                      <a:pt x="3" y="12"/>
                      <a:pt x="4" y="12"/>
                    </a:cubicBezTo>
                    <a:cubicBezTo>
                      <a:pt x="4" y="11"/>
                      <a:pt x="6" y="1"/>
                      <a:pt x="8" y="1"/>
                    </a:cubicBezTo>
                    <a:cubicBezTo>
                      <a:pt x="12" y="0"/>
                      <a:pt x="14" y="3"/>
                      <a:pt x="14"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39" name="Freeform 125"/>
              <p:cNvSpPr>
                <a:spLocks/>
              </p:cNvSpPr>
              <p:nvPr/>
            </p:nvSpPr>
            <p:spPr bwMode="auto">
              <a:xfrm>
                <a:off x="6450013" y="2693988"/>
                <a:ext cx="7938" cy="20638"/>
              </a:xfrm>
              <a:custGeom>
                <a:avLst/>
                <a:gdLst/>
                <a:ahLst/>
                <a:cxnLst>
                  <a:cxn ang="0">
                    <a:pos x="7" y="0"/>
                  </a:cxn>
                  <a:cxn ang="0">
                    <a:pos x="2" y="15"/>
                  </a:cxn>
                  <a:cxn ang="0">
                    <a:pos x="0" y="15"/>
                  </a:cxn>
                  <a:cxn ang="0">
                    <a:pos x="4" y="0"/>
                  </a:cxn>
                  <a:cxn ang="0">
                    <a:pos x="7" y="0"/>
                  </a:cxn>
                </a:cxnLst>
                <a:rect l="0" t="0" r="r" b="b"/>
                <a:pathLst>
                  <a:path w="7" h="15">
                    <a:moveTo>
                      <a:pt x="7" y="0"/>
                    </a:moveTo>
                    <a:cubicBezTo>
                      <a:pt x="7" y="7"/>
                      <a:pt x="2" y="9"/>
                      <a:pt x="2" y="15"/>
                    </a:cubicBezTo>
                    <a:cubicBezTo>
                      <a:pt x="2" y="15"/>
                      <a:pt x="0" y="15"/>
                      <a:pt x="0" y="15"/>
                    </a:cubicBezTo>
                    <a:cubicBezTo>
                      <a:pt x="1" y="10"/>
                      <a:pt x="4" y="7"/>
                      <a:pt x="4" y="0"/>
                    </a:cubicBezTo>
                    <a:cubicBezTo>
                      <a:pt x="5" y="0"/>
                      <a:pt x="6" y="0"/>
                      <a:pt x="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0" name="Freeform 126"/>
              <p:cNvSpPr>
                <a:spLocks/>
              </p:cNvSpPr>
              <p:nvPr/>
            </p:nvSpPr>
            <p:spPr bwMode="auto">
              <a:xfrm>
                <a:off x="6454775" y="2706688"/>
                <a:ext cx="11113" cy="11113"/>
              </a:xfrm>
              <a:custGeom>
                <a:avLst/>
                <a:gdLst/>
                <a:ahLst/>
                <a:cxnLst>
                  <a:cxn ang="0">
                    <a:pos x="8" y="0"/>
                  </a:cxn>
                  <a:cxn ang="0">
                    <a:pos x="2" y="8"/>
                  </a:cxn>
                  <a:cxn ang="0">
                    <a:pos x="0" y="6"/>
                  </a:cxn>
                  <a:cxn ang="0">
                    <a:pos x="3" y="0"/>
                  </a:cxn>
                  <a:cxn ang="0">
                    <a:pos x="8" y="0"/>
                  </a:cxn>
                </a:cxnLst>
                <a:rect l="0" t="0" r="r" b="b"/>
                <a:pathLst>
                  <a:path w="8" h="8">
                    <a:moveTo>
                      <a:pt x="8" y="0"/>
                    </a:moveTo>
                    <a:cubicBezTo>
                      <a:pt x="8" y="4"/>
                      <a:pt x="6" y="8"/>
                      <a:pt x="2" y="8"/>
                    </a:cubicBezTo>
                    <a:cubicBezTo>
                      <a:pt x="1" y="8"/>
                      <a:pt x="0" y="6"/>
                      <a:pt x="0" y="6"/>
                    </a:cubicBezTo>
                    <a:cubicBezTo>
                      <a:pt x="0" y="3"/>
                      <a:pt x="2" y="2"/>
                      <a:pt x="3" y="0"/>
                    </a:cubicBezTo>
                    <a:cubicBezTo>
                      <a:pt x="5" y="1"/>
                      <a:pt x="7" y="1"/>
                      <a:pt x="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1" name="Freeform 127"/>
              <p:cNvSpPr>
                <a:spLocks/>
              </p:cNvSpPr>
              <p:nvPr/>
            </p:nvSpPr>
            <p:spPr bwMode="auto">
              <a:xfrm>
                <a:off x="6442075" y="2665413"/>
                <a:ext cx="12700" cy="17463"/>
              </a:xfrm>
              <a:custGeom>
                <a:avLst/>
                <a:gdLst/>
                <a:ahLst/>
                <a:cxnLst>
                  <a:cxn ang="0">
                    <a:pos x="0" y="6"/>
                  </a:cxn>
                  <a:cxn ang="0">
                    <a:pos x="0" y="0"/>
                  </a:cxn>
                  <a:cxn ang="0">
                    <a:pos x="4" y="0"/>
                  </a:cxn>
                  <a:cxn ang="0">
                    <a:pos x="10" y="10"/>
                  </a:cxn>
                  <a:cxn ang="0">
                    <a:pos x="6" y="6"/>
                  </a:cxn>
                  <a:cxn ang="0">
                    <a:pos x="0" y="6"/>
                  </a:cxn>
                </a:cxnLst>
                <a:rect l="0" t="0" r="r" b="b"/>
                <a:pathLst>
                  <a:path w="10" h="12">
                    <a:moveTo>
                      <a:pt x="0" y="6"/>
                    </a:moveTo>
                    <a:cubicBezTo>
                      <a:pt x="0" y="3"/>
                      <a:pt x="0" y="2"/>
                      <a:pt x="0" y="0"/>
                    </a:cubicBezTo>
                    <a:cubicBezTo>
                      <a:pt x="4" y="0"/>
                      <a:pt x="4" y="0"/>
                      <a:pt x="4" y="0"/>
                    </a:cubicBezTo>
                    <a:cubicBezTo>
                      <a:pt x="5" y="4"/>
                      <a:pt x="10" y="5"/>
                      <a:pt x="10" y="10"/>
                    </a:cubicBezTo>
                    <a:cubicBezTo>
                      <a:pt x="10" y="12"/>
                      <a:pt x="6" y="8"/>
                      <a:pt x="6" y="6"/>
                    </a:cubicBezTo>
                    <a:cubicBezTo>
                      <a:pt x="4" y="5"/>
                      <a:pt x="2" y="6"/>
                      <a:pt x="0"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2" name="Freeform 128"/>
              <p:cNvSpPr>
                <a:spLocks/>
              </p:cNvSpPr>
              <p:nvPr/>
            </p:nvSpPr>
            <p:spPr bwMode="auto">
              <a:xfrm>
                <a:off x="6397625" y="2649538"/>
                <a:ext cx="19050" cy="20638"/>
              </a:xfrm>
              <a:custGeom>
                <a:avLst/>
                <a:gdLst/>
                <a:ahLst/>
                <a:cxnLst>
                  <a:cxn ang="0">
                    <a:pos x="11" y="15"/>
                  </a:cxn>
                  <a:cxn ang="0">
                    <a:pos x="0" y="0"/>
                  </a:cxn>
                  <a:cxn ang="0">
                    <a:pos x="4" y="0"/>
                  </a:cxn>
                  <a:cxn ang="0">
                    <a:pos x="14" y="7"/>
                  </a:cxn>
                  <a:cxn ang="0">
                    <a:pos x="11" y="15"/>
                  </a:cxn>
                </a:cxnLst>
                <a:rect l="0" t="0" r="r" b="b"/>
                <a:pathLst>
                  <a:path w="15" h="15">
                    <a:moveTo>
                      <a:pt x="11" y="15"/>
                    </a:moveTo>
                    <a:cubicBezTo>
                      <a:pt x="9" y="15"/>
                      <a:pt x="0" y="0"/>
                      <a:pt x="0" y="0"/>
                    </a:cubicBezTo>
                    <a:cubicBezTo>
                      <a:pt x="4" y="0"/>
                      <a:pt x="4" y="0"/>
                      <a:pt x="4" y="0"/>
                    </a:cubicBezTo>
                    <a:cubicBezTo>
                      <a:pt x="8" y="3"/>
                      <a:pt x="13" y="2"/>
                      <a:pt x="14" y="7"/>
                    </a:cubicBezTo>
                    <a:cubicBezTo>
                      <a:pt x="15" y="10"/>
                      <a:pt x="13" y="15"/>
                      <a:pt x="11"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3" name="Freeform 129"/>
              <p:cNvSpPr>
                <a:spLocks/>
              </p:cNvSpPr>
              <p:nvPr/>
            </p:nvSpPr>
            <p:spPr bwMode="auto">
              <a:xfrm>
                <a:off x="6416675" y="2652713"/>
                <a:ext cx="6350" cy="1588"/>
              </a:xfrm>
              <a:custGeom>
                <a:avLst/>
                <a:gdLst/>
                <a:ahLst/>
                <a:cxnLst>
                  <a:cxn ang="0">
                    <a:pos x="0" y="0"/>
                  </a:cxn>
                  <a:cxn ang="0">
                    <a:pos x="4" y="1"/>
                  </a:cxn>
                  <a:cxn ang="0">
                    <a:pos x="0" y="0"/>
                  </a:cxn>
                </a:cxnLst>
                <a:rect l="0" t="0" r="r" b="b"/>
                <a:pathLst>
                  <a:path w="4" h="1">
                    <a:moveTo>
                      <a:pt x="0" y="0"/>
                    </a:moveTo>
                    <a:cubicBezTo>
                      <a:pt x="1" y="1"/>
                      <a:pt x="3" y="1"/>
                      <a:pt x="4" y="1"/>
                    </a:cubicBezTo>
                    <a:cubicBezTo>
                      <a:pt x="3" y="0"/>
                      <a:pt x="1"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4" name="Freeform 130"/>
              <p:cNvSpPr>
                <a:spLocks/>
              </p:cNvSpPr>
              <p:nvPr/>
            </p:nvSpPr>
            <p:spPr bwMode="auto">
              <a:xfrm>
                <a:off x="6388100" y="2441575"/>
                <a:ext cx="36513" cy="50800"/>
              </a:xfrm>
              <a:custGeom>
                <a:avLst/>
                <a:gdLst/>
                <a:ahLst/>
                <a:cxnLst>
                  <a:cxn ang="0">
                    <a:pos x="8" y="39"/>
                  </a:cxn>
                  <a:cxn ang="0">
                    <a:pos x="1" y="26"/>
                  </a:cxn>
                  <a:cxn ang="0">
                    <a:pos x="16" y="0"/>
                  </a:cxn>
                  <a:cxn ang="0">
                    <a:pos x="8" y="39"/>
                  </a:cxn>
                </a:cxnLst>
                <a:rect l="0" t="0" r="r" b="b"/>
                <a:pathLst>
                  <a:path w="27" h="39">
                    <a:moveTo>
                      <a:pt x="8" y="39"/>
                    </a:moveTo>
                    <a:cubicBezTo>
                      <a:pt x="0" y="39"/>
                      <a:pt x="1" y="33"/>
                      <a:pt x="1" y="26"/>
                    </a:cubicBezTo>
                    <a:cubicBezTo>
                      <a:pt x="1" y="17"/>
                      <a:pt x="10" y="0"/>
                      <a:pt x="16" y="0"/>
                    </a:cubicBezTo>
                    <a:cubicBezTo>
                      <a:pt x="27" y="0"/>
                      <a:pt x="18" y="39"/>
                      <a:pt x="8"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5" name="Freeform 131"/>
              <p:cNvSpPr>
                <a:spLocks/>
              </p:cNvSpPr>
              <p:nvPr/>
            </p:nvSpPr>
            <p:spPr bwMode="auto">
              <a:xfrm>
                <a:off x="6194425" y="2532063"/>
                <a:ext cx="41275" cy="34925"/>
              </a:xfrm>
              <a:custGeom>
                <a:avLst/>
                <a:gdLst/>
                <a:ahLst/>
                <a:cxnLst>
                  <a:cxn ang="0">
                    <a:pos x="2" y="11"/>
                  </a:cxn>
                  <a:cxn ang="0">
                    <a:pos x="26" y="0"/>
                  </a:cxn>
                  <a:cxn ang="0">
                    <a:pos x="31" y="7"/>
                  </a:cxn>
                  <a:cxn ang="0">
                    <a:pos x="11" y="27"/>
                  </a:cxn>
                  <a:cxn ang="0">
                    <a:pos x="2" y="18"/>
                  </a:cxn>
                  <a:cxn ang="0">
                    <a:pos x="2" y="11"/>
                  </a:cxn>
                </a:cxnLst>
                <a:rect l="0" t="0" r="r" b="b"/>
                <a:pathLst>
                  <a:path w="31" h="27">
                    <a:moveTo>
                      <a:pt x="2" y="11"/>
                    </a:moveTo>
                    <a:cubicBezTo>
                      <a:pt x="5" y="11"/>
                      <a:pt x="20" y="0"/>
                      <a:pt x="26" y="0"/>
                    </a:cubicBezTo>
                    <a:cubicBezTo>
                      <a:pt x="28" y="0"/>
                      <a:pt x="31" y="4"/>
                      <a:pt x="31" y="7"/>
                    </a:cubicBezTo>
                    <a:cubicBezTo>
                      <a:pt x="31" y="13"/>
                      <a:pt x="18" y="27"/>
                      <a:pt x="11" y="27"/>
                    </a:cubicBezTo>
                    <a:cubicBezTo>
                      <a:pt x="5" y="27"/>
                      <a:pt x="2" y="24"/>
                      <a:pt x="2" y="18"/>
                    </a:cubicBezTo>
                    <a:cubicBezTo>
                      <a:pt x="2" y="15"/>
                      <a:pt x="0" y="11"/>
                      <a:pt x="2"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6" name="Freeform 132"/>
              <p:cNvSpPr>
                <a:spLocks/>
              </p:cNvSpPr>
              <p:nvPr/>
            </p:nvSpPr>
            <p:spPr bwMode="auto">
              <a:xfrm>
                <a:off x="6015038" y="2476500"/>
                <a:ext cx="195263" cy="374650"/>
              </a:xfrm>
              <a:custGeom>
                <a:avLst/>
                <a:gdLst/>
                <a:ahLst/>
                <a:cxnLst>
                  <a:cxn ang="0">
                    <a:pos x="12" y="172"/>
                  </a:cxn>
                  <a:cxn ang="0">
                    <a:pos x="21" y="152"/>
                  </a:cxn>
                  <a:cxn ang="0">
                    <a:pos x="25" y="147"/>
                  </a:cxn>
                  <a:cxn ang="0">
                    <a:pos x="15" y="119"/>
                  </a:cxn>
                  <a:cxn ang="0">
                    <a:pos x="8" y="109"/>
                  </a:cxn>
                  <a:cxn ang="0">
                    <a:pos x="8" y="105"/>
                  </a:cxn>
                  <a:cxn ang="0">
                    <a:pos x="8" y="106"/>
                  </a:cxn>
                  <a:cxn ang="0">
                    <a:pos x="12" y="96"/>
                  </a:cxn>
                  <a:cxn ang="0">
                    <a:pos x="9" y="77"/>
                  </a:cxn>
                  <a:cxn ang="0">
                    <a:pos x="0" y="65"/>
                  </a:cxn>
                  <a:cxn ang="0">
                    <a:pos x="8" y="47"/>
                  </a:cxn>
                  <a:cxn ang="0">
                    <a:pos x="19" y="43"/>
                  </a:cxn>
                  <a:cxn ang="0">
                    <a:pos x="45" y="19"/>
                  </a:cxn>
                  <a:cxn ang="0">
                    <a:pos x="47" y="19"/>
                  </a:cxn>
                  <a:cxn ang="0">
                    <a:pos x="50" y="24"/>
                  </a:cxn>
                  <a:cxn ang="0">
                    <a:pos x="52" y="20"/>
                  </a:cxn>
                  <a:cxn ang="0">
                    <a:pos x="52" y="9"/>
                  </a:cxn>
                  <a:cxn ang="0">
                    <a:pos x="64" y="6"/>
                  </a:cxn>
                  <a:cxn ang="0">
                    <a:pos x="78" y="6"/>
                  </a:cxn>
                  <a:cxn ang="0">
                    <a:pos x="96" y="0"/>
                  </a:cxn>
                  <a:cxn ang="0">
                    <a:pos x="115" y="5"/>
                  </a:cxn>
                  <a:cxn ang="0">
                    <a:pos x="130" y="22"/>
                  </a:cxn>
                  <a:cxn ang="0">
                    <a:pos x="100" y="58"/>
                  </a:cxn>
                  <a:cxn ang="0">
                    <a:pos x="104" y="64"/>
                  </a:cxn>
                  <a:cxn ang="0">
                    <a:pos x="129" y="93"/>
                  </a:cxn>
                  <a:cxn ang="0">
                    <a:pos x="147" y="134"/>
                  </a:cxn>
                  <a:cxn ang="0">
                    <a:pos x="142" y="156"/>
                  </a:cxn>
                  <a:cxn ang="0">
                    <a:pos x="115" y="170"/>
                  </a:cxn>
                  <a:cxn ang="0">
                    <a:pos x="105" y="180"/>
                  </a:cxn>
                  <a:cxn ang="0">
                    <a:pos x="104" y="176"/>
                  </a:cxn>
                  <a:cxn ang="0">
                    <a:pos x="104" y="181"/>
                  </a:cxn>
                  <a:cxn ang="0">
                    <a:pos x="93" y="192"/>
                  </a:cxn>
                  <a:cxn ang="0">
                    <a:pos x="90" y="183"/>
                  </a:cxn>
                  <a:cxn ang="0">
                    <a:pos x="91" y="177"/>
                  </a:cxn>
                  <a:cxn ang="0">
                    <a:pos x="88" y="170"/>
                  </a:cxn>
                  <a:cxn ang="0">
                    <a:pos x="73" y="161"/>
                  </a:cxn>
                  <a:cxn ang="0">
                    <a:pos x="63" y="149"/>
                  </a:cxn>
                  <a:cxn ang="0">
                    <a:pos x="43" y="141"/>
                  </a:cxn>
                  <a:cxn ang="0">
                    <a:pos x="41" y="135"/>
                  </a:cxn>
                  <a:cxn ang="0">
                    <a:pos x="30" y="129"/>
                  </a:cxn>
                  <a:cxn ang="0">
                    <a:pos x="27" y="134"/>
                  </a:cxn>
                  <a:cxn ang="0">
                    <a:pos x="29" y="142"/>
                  </a:cxn>
                  <a:cxn ang="0">
                    <a:pos x="16" y="171"/>
                  </a:cxn>
                  <a:cxn ang="0">
                    <a:pos x="31" y="192"/>
                  </a:cxn>
                  <a:cxn ang="0">
                    <a:pos x="30" y="192"/>
                  </a:cxn>
                  <a:cxn ang="0">
                    <a:pos x="35" y="206"/>
                  </a:cxn>
                  <a:cxn ang="0">
                    <a:pos x="73" y="243"/>
                  </a:cxn>
                  <a:cxn ang="0">
                    <a:pos x="71" y="251"/>
                  </a:cxn>
                  <a:cxn ang="0">
                    <a:pos x="80" y="267"/>
                  </a:cxn>
                  <a:cxn ang="0">
                    <a:pos x="84" y="280"/>
                  </a:cxn>
                  <a:cxn ang="0">
                    <a:pos x="78" y="280"/>
                  </a:cxn>
                  <a:cxn ang="0">
                    <a:pos x="75" y="282"/>
                  </a:cxn>
                  <a:cxn ang="0">
                    <a:pos x="68" y="278"/>
                  </a:cxn>
                  <a:cxn ang="0">
                    <a:pos x="37" y="246"/>
                  </a:cxn>
                  <a:cxn ang="0">
                    <a:pos x="27" y="214"/>
                  </a:cxn>
                  <a:cxn ang="0">
                    <a:pos x="14" y="192"/>
                  </a:cxn>
                  <a:cxn ang="0">
                    <a:pos x="8" y="192"/>
                  </a:cxn>
                  <a:cxn ang="0">
                    <a:pos x="8" y="189"/>
                  </a:cxn>
                  <a:cxn ang="0">
                    <a:pos x="10" y="172"/>
                  </a:cxn>
                  <a:cxn ang="0">
                    <a:pos x="11" y="172"/>
                  </a:cxn>
                  <a:cxn ang="0">
                    <a:pos x="12" y="172"/>
                  </a:cxn>
                </a:cxnLst>
                <a:rect l="0" t="0" r="r" b="b"/>
                <a:pathLst>
                  <a:path w="147" h="282">
                    <a:moveTo>
                      <a:pt x="12" y="172"/>
                    </a:moveTo>
                    <a:cubicBezTo>
                      <a:pt x="16" y="165"/>
                      <a:pt x="17" y="160"/>
                      <a:pt x="21" y="152"/>
                    </a:cubicBezTo>
                    <a:cubicBezTo>
                      <a:pt x="22" y="150"/>
                      <a:pt x="25" y="149"/>
                      <a:pt x="25" y="147"/>
                    </a:cubicBezTo>
                    <a:cubicBezTo>
                      <a:pt x="25" y="143"/>
                      <a:pt x="19" y="123"/>
                      <a:pt x="15" y="119"/>
                    </a:cubicBezTo>
                    <a:cubicBezTo>
                      <a:pt x="12" y="116"/>
                      <a:pt x="8" y="114"/>
                      <a:pt x="8" y="109"/>
                    </a:cubicBezTo>
                    <a:cubicBezTo>
                      <a:pt x="8" y="108"/>
                      <a:pt x="8" y="107"/>
                      <a:pt x="8" y="105"/>
                    </a:cubicBezTo>
                    <a:cubicBezTo>
                      <a:pt x="8" y="106"/>
                      <a:pt x="8" y="106"/>
                      <a:pt x="8" y="106"/>
                    </a:cubicBezTo>
                    <a:cubicBezTo>
                      <a:pt x="9" y="105"/>
                      <a:pt x="12" y="100"/>
                      <a:pt x="12" y="96"/>
                    </a:cubicBezTo>
                    <a:cubicBezTo>
                      <a:pt x="12" y="91"/>
                      <a:pt x="12" y="82"/>
                      <a:pt x="9" y="77"/>
                    </a:cubicBezTo>
                    <a:cubicBezTo>
                      <a:pt x="6" y="73"/>
                      <a:pt x="0" y="73"/>
                      <a:pt x="0" y="65"/>
                    </a:cubicBezTo>
                    <a:cubicBezTo>
                      <a:pt x="0" y="57"/>
                      <a:pt x="3" y="51"/>
                      <a:pt x="8" y="47"/>
                    </a:cubicBezTo>
                    <a:cubicBezTo>
                      <a:pt x="10" y="44"/>
                      <a:pt x="15" y="45"/>
                      <a:pt x="19" y="43"/>
                    </a:cubicBezTo>
                    <a:cubicBezTo>
                      <a:pt x="29" y="36"/>
                      <a:pt x="36" y="33"/>
                      <a:pt x="45" y="19"/>
                    </a:cubicBezTo>
                    <a:cubicBezTo>
                      <a:pt x="47" y="19"/>
                      <a:pt x="47" y="19"/>
                      <a:pt x="47" y="19"/>
                    </a:cubicBezTo>
                    <a:cubicBezTo>
                      <a:pt x="47" y="23"/>
                      <a:pt x="49" y="24"/>
                      <a:pt x="50" y="24"/>
                    </a:cubicBezTo>
                    <a:cubicBezTo>
                      <a:pt x="51" y="24"/>
                      <a:pt x="52" y="22"/>
                      <a:pt x="52" y="20"/>
                    </a:cubicBezTo>
                    <a:cubicBezTo>
                      <a:pt x="52" y="16"/>
                      <a:pt x="52" y="13"/>
                      <a:pt x="52" y="9"/>
                    </a:cubicBezTo>
                    <a:cubicBezTo>
                      <a:pt x="52" y="9"/>
                      <a:pt x="62" y="6"/>
                      <a:pt x="64" y="6"/>
                    </a:cubicBezTo>
                    <a:cubicBezTo>
                      <a:pt x="78" y="6"/>
                      <a:pt x="78" y="6"/>
                      <a:pt x="78" y="6"/>
                    </a:cubicBezTo>
                    <a:cubicBezTo>
                      <a:pt x="84" y="9"/>
                      <a:pt x="89" y="0"/>
                      <a:pt x="96" y="0"/>
                    </a:cubicBezTo>
                    <a:cubicBezTo>
                      <a:pt x="103" y="0"/>
                      <a:pt x="107" y="5"/>
                      <a:pt x="115" y="5"/>
                    </a:cubicBezTo>
                    <a:cubicBezTo>
                      <a:pt x="115" y="16"/>
                      <a:pt x="123" y="20"/>
                      <a:pt x="130" y="22"/>
                    </a:cubicBezTo>
                    <a:cubicBezTo>
                      <a:pt x="121" y="36"/>
                      <a:pt x="100" y="39"/>
                      <a:pt x="100" y="58"/>
                    </a:cubicBezTo>
                    <a:cubicBezTo>
                      <a:pt x="100" y="62"/>
                      <a:pt x="102" y="63"/>
                      <a:pt x="104" y="64"/>
                    </a:cubicBezTo>
                    <a:cubicBezTo>
                      <a:pt x="114" y="74"/>
                      <a:pt x="118" y="86"/>
                      <a:pt x="129" y="93"/>
                    </a:cubicBezTo>
                    <a:cubicBezTo>
                      <a:pt x="140" y="100"/>
                      <a:pt x="147" y="119"/>
                      <a:pt x="147" y="134"/>
                    </a:cubicBezTo>
                    <a:cubicBezTo>
                      <a:pt x="147" y="144"/>
                      <a:pt x="142" y="148"/>
                      <a:pt x="142" y="156"/>
                    </a:cubicBezTo>
                    <a:cubicBezTo>
                      <a:pt x="127" y="160"/>
                      <a:pt x="126" y="164"/>
                      <a:pt x="115" y="170"/>
                    </a:cubicBezTo>
                    <a:cubicBezTo>
                      <a:pt x="109" y="173"/>
                      <a:pt x="110" y="180"/>
                      <a:pt x="105" y="180"/>
                    </a:cubicBezTo>
                    <a:cubicBezTo>
                      <a:pt x="104" y="180"/>
                      <a:pt x="104" y="177"/>
                      <a:pt x="104" y="176"/>
                    </a:cubicBezTo>
                    <a:cubicBezTo>
                      <a:pt x="104" y="179"/>
                      <a:pt x="104" y="180"/>
                      <a:pt x="104" y="181"/>
                    </a:cubicBezTo>
                    <a:cubicBezTo>
                      <a:pt x="104" y="185"/>
                      <a:pt x="95" y="192"/>
                      <a:pt x="93" y="192"/>
                    </a:cubicBezTo>
                    <a:cubicBezTo>
                      <a:pt x="91" y="192"/>
                      <a:pt x="90" y="186"/>
                      <a:pt x="90" y="183"/>
                    </a:cubicBezTo>
                    <a:cubicBezTo>
                      <a:pt x="90" y="179"/>
                      <a:pt x="90" y="178"/>
                      <a:pt x="91" y="177"/>
                    </a:cubicBezTo>
                    <a:cubicBezTo>
                      <a:pt x="90" y="176"/>
                      <a:pt x="89" y="172"/>
                      <a:pt x="88" y="170"/>
                    </a:cubicBezTo>
                    <a:cubicBezTo>
                      <a:pt x="82" y="170"/>
                      <a:pt x="73" y="168"/>
                      <a:pt x="73" y="161"/>
                    </a:cubicBezTo>
                    <a:cubicBezTo>
                      <a:pt x="63" y="161"/>
                      <a:pt x="68" y="155"/>
                      <a:pt x="63" y="149"/>
                    </a:cubicBezTo>
                    <a:cubicBezTo>
                      <a:pt x="56" y="143"/>
                      <a:pt x="50" y="143"/>
                      <a:pt x="43" y="141"/>
                    </a:cubicBezTo>
                    <a:cubicBezTo>
                      <a:pt x="42" y="141"/>
                      <a:pt x="41" y="135"/>
                      <a:pt x="41" y="135"/>
                    </a:cubicBezTo>
                    <a:cubicBezTo>
                      <a:pt x="40" y="130"/>
                      <a:pt x="34" y="129"/>
                      <a:pt x="30" y="129"/>
                    </a:cubicBezTo>
                    <a:cubicBezTo>
                      <a:pt x="26" y="129"/>
                      <a:pt x="27" y="132"/>
                      <a:pt x="27" y="134"/>
                    </a:cubicBezTo>
                    <a:cubicBezTo>
                      <a:pt x="27" y="138"/>
                      <a:pt x="29" y="139"/>
                      <a:pt x="29" y="142"/>
                    </a:cubicBezTo>
                    <a:cubicBezTo>
                      <a:pt x="29" y="156"/>
                      <a:pt x="16" y="159"/>
                      <a:pt x="16" y="171"/>
                    </a:cubicBezTo>
                    <a:cubicBezTo>
                      <a:pt x="16" y="185"/>
                      <a:pt x="31" y="179"/>
                      <a:pt x="31" y="192"/>
                    </a:cubicBezTo>
                    <a:cubicBezTo>
                      <a:pt x="30" y="192"/>
                      <a:pt x="30" y="192"/>
                      <a:pt x="30" y="192"/>
                    </a:cubicBezTo>
                    <a:cubicBezTo>
                      <a:pt x="32" y="195"/>
                      <a:pt x="32" y="203"/>
                      <a:pt x="35" y="206"/>
                    </a:cubicBezTo>
                    <a:cubicBezTo>
                      <a:pt x="47" y="218"/>
                      <a:pt x="73" y="221"/>
                      <a:pt x="73" y="243"/>
                    </a:cubicBezTo>
                    <a:cubicBezTo>
                      <a:pt x="73" y="247"/>
                      <a:pt x="71" y="247"/>
                      <a:pt x="71" y="251"/>
                    </a:cubicBezTo>
                    <a:cubicBezTo>
                      <a:pt x="71" y="259"/>
                      <a:pt x="78" y="262"/>
                      <a:pt x="80" y="267"/>
                    </a:cubicBezTo>
                    <a:cubicBezTo>
                      <a:pt x="82" y="273"/>
                      <a:pt x="82" y="275"/>
                      <a:pt x="84" y="280"/>
                    </a:cubicBezTo>
                    <a:cubicBezTo>
                      <a:pt x="80" y="280"/>
                      <a:pt x="80" y="280"/>
                      <a:pt x="78" y="280"/>
                    </a:cubicBezTo>
                    <a:cubicBezTo>
                      <a:pt x="77" y="280"/>
                      <a:pt x="76" y="282"/>
                      <a:pt x="75" y="282"/>
                    </a:cubicBezTo>
                    <a:cubicBezTo>
                      <a:pt x="71" y="282"/>
                      <a:pt x="70" y="279"/>
                      <a:pt x="68" y="278"/>
                    </a:cubicBezTo>
                    <a:cubicBezTo>
                      <a:pt x="54" y="274"/>
                      <a:pt x="41" y="261"/>
                      <a:pt x="37" y="246"/>
                    </a:cubicBezTo>
                    <a:cubicBezTo>
                      <a:pt x="33" y="233"/>
                      <a:pt x="32" y="224"/>
                      <a:pt x="27" y="214"/>
                    </a:cubicBezTo>
                    <a:cubicBezTo>
                      <a:pt x="24" y="208"/>
                      <a:pt x="21" y="192"/>
                      <a:pt x="14" y="192"/>
                    </a:cubicBezTo>
                    <a:cubicBezTo>
                      <a:pt x="9" y="192"/>
                      <a:pt x="12" y="194"/>
                      <a:pt x="8" y="192"/>
                    </a:cubicBezTo>
                    <a:cubicBezTo>
                      <a:pt x="7" y="192"/>
                      <a:pt x="8" y="190"/>
                      <a:pt x="8" y="189"/>
                    </a:cubicBezTo>
                    <a:cubicBezTo>
                      <a:pt x="8" y="183"/>
                      <a:pt x="9" y="179"/>
                      <a:pt x="10" y="172"/>
                    </a:cubicBezTo>
                    <a:cubicBezTo>
                      <a:pt x="11" y="172"/>
                      <a:pt x="11" y="172"/>
                      <a:pt x="11" y="172"/>
                    </a:cubicBezTo>
                    <a:lnTo>
                      <a:pt x="12" y="1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7" name="Freeform 133"/>
              <p:cNvSpPr>
                <a:spLocks/>
              </p:cNvSpPr>
              <p:nvPr/>
            </p:nvSpPr>
            <p:spPr bwMode="auto">
              <a:xfrm>
                <a:off x="6142038" y="2898775"/>
                <a:ext cx="26988" cy="25400"/>
              </a:xfrm>
              <a:custGeom>
                <a:avLst/>
                <a:gdLst/>
                <a:ahLst/>
                <a:cxnLst>
                  <a:cxn ang="0">
                    <a:pos x="12" y="17"/>
                  </a:cxn>
                  <a:cxn ang="0">
                    <a:pos x="9" y="11"/>
                  </a:cxn>
                  <a:cxn ang="0">
                    <a:pos x="0" y="6"/>
                  </a:cxn>
                  <a:cxn ang="0">
                    <a:pos x="9" y="0"/>
                  </a:cxn>
                  <a:cxn ang="0">
                    <a:pos x="20" y="15"/>
                  </a:cxn>
                  <a:cxn ang="0">
                    <a:pos x="21" y="19"/>
                  </a:cxn>
                  <a:cxn ang="0">
                    <a:pos x="17" y="19"/>
                  </a:cxn>
                  <a:cxn ang="0">
                    <a:pos x="12" y="17"/>
                  </a:cxn>
                </a:cxnLst>
                <a:rect l="0" t="0" r="r" b="b"/>
                <a:pathLst>
                  <a:path w="21" h="19">
                    <a:moveTo>
                      <a:pt x="12" y="17"/>
                    </a:moveTo>
                    <a:cubicBezTo>
                      <a:pt x="11" y="17"/>
                      <a:pt x="9" y="12"/>
                      <a:pt x="9" y="11"/>
                    </a:cubicBezTo>
                    <a:cubicBezTo>
                      <a:pt x="7" y="7"/>
                      <a:pt x="0" y="9"/>
                      <a:pt x="0" y="6"/>
                    </a:cubicBezTo>
                    <a:cubicBezTo>
                      <a:pt x="0" y="3"/>
                      <a:pt x="6" y="0"/>
                      <a:pt x="9" y="0"/>
                    </a:cubicBezTo>
                    <a:cubicBezTo>
                      <a:pt x="11" y="7"/>
                      <a:pt x="14" y="15"/>
                      <a:pt x="20" y="15"/>
                    </a:cubicBezTo>
                    <a:cubicBezTo>
                      <a:pt x="20" y="16"/>
                      <a:pt x="20" y="18"/>
                      <a:pt x="21" y="19"/>
                    </a:cubicBezTo>
                    <a:cubicBezTo>
                      <a:pt x="20" y="19"/>
                      <a:pt x="18" y="19"/>
                      <a:pt x="17" y="19"/>
                    </a:cubicBezTo>
                    <a:cubicBezTo>
                      <a:pt x="15" y="19"/>
                      <a:pt x="14" y="17"/>
                      <a:pt x="12"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8" name="Freeform 134"/>
              <p:cNvSpPr>
                <a:spLocks/>
              </p:cNvSpPr>
              <p:nvPr/>
            </p:nvSpPr>
            <p:spPr bwMode="auto">
              <a:xfrm>
                <a:off x="6183313" y="2917825"/>
                <a:ext cx="11113" cy="11113"/>
              </a:xfrm>
              <a:custGeom>
                <a:avLst/>
                <a:gdLst/>
                <a:ahLst/>
                <a:cxnLst>
                  <a:cxn ang="0">
                    <a:pos x="1" y="0"/>
                  </a:cxn>
                  <a:cxn ang="0">
                    <a:pos x="5" y="0"/>
                  </a:cxn>
                  <a:cxn ang="0">
                    <a:pos x="9" y="3"/>
                  </a:cxn>
                  <a:cxn ang="0">
                    <a:pos x="4" y="8"/>
                  </a:cxn>
                  <a:cxn ang="0">
                    <a:pos x="1" y="3"/>
                  </a:cxn>
                  <a:cxn ang="0">
                    <a:pos x="1" y="0"/>
                  </a:cxn>
                </a:cxnLst>
                <a:rect l="0" t="0" r="r" b="b"/>
                <a:pathLst>
                  <a:path w="9" h="8">
                    <a:moveTo>
                      <a:pt x="1" y="0"/>
                    </a:moveTo>
                    <a:cubicBezTo>
                      <a:pt x="2" y="0"/>
                      <a:pt x="4" y="0"/>
                      <a:pt x="5" y="0"/>
                    </a:cubicBezTo>
                    <a:cubicBezTo>
                      <a:pt x="6" y="0"/>
                      <a:pt x="8" y="2"/>
                      <a:pt x="9" y="3"/>
                    </a:cubicBezTo>
                    <a:cubicBezTo>
                      <a:pt x="9" y="5"/>
                      <a:pt x="7" y="8"/>
                      <a:pt x="4" y="8"/>
                    </a:cubicBezTo>
                    <a:cubicBezTo>
                      <a:pt x="1" y="8"/>
                      <a:pt x="1" y="5"/>
                      <a:pt x="1" y="3"/>
                    </a:cubicBezTo>
                    <a:cubicBezTo>
                      <a:pt x="1" y="2"/>
                      <a:pt x="0"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49" name="Freeform 135"/>
              <p:cNvSpPr>
                <a:spLocks/>
              </p:cNvSpPr>
              <p:nvPr/>
            </p:nvSpPr>
            <p:spPr bwMode="auto">
              <a:xfrm>
                <a:off x="6035675" y="2892425"/>
                <a:ext cx="9525" cy="15875"/>
              </a:xfrm>
              <a:custGeom>
                <a:avLst/>
                <a:gdLst/>
                <a:ahLst/>
                <a:cxnLst>
                  <a:cxn ang="0">
                    <a:pos x="1" y="0"/>
                  </a:cxn>
                  <a:cxn ang="0">
                    <a:pos x="8" y="12"/>
                  </a:cxn>
                  <a:cxn ang="0">
                    <a:pos x="0" y="2"/>
                  </a:cxn>
                  <a:cxn ang="0">
                    <a:pos x="0" y="0"/>
                  </a:cxn>
                  <a:cxn ang="0">
                    <a:pos x="3" y="0"/>
                  </a:cxn>
                  <a:cxn ang="0">
                    <a:pos x="3" y="2"/>
                  </a:cxn>
                  <a:cxn ang="0">
                    <a:pos x="1" y="0"/>
                  </a:cxn>
                </a:cxnLst>
                <a:rect l="0" t="0" r="r" b="b"/>
                <a:pathLst>
                  <a:path w="8" h="12">
                    <a:moveTo>
                      <a:pt x="1" y="0"/>
                    </a:moveTo>
                    <a:cubicBezTo>
                      <a:pt x="5" y="4"/>
                      <a:pt x="8" y="7"/>
                      <a:pt x="8" y="12"/>
                    </a:cubicBezTo>
                    <a:cubicBezTo>
                      <a:pt x="5" y="12"/>
                      <a:pt x="0" y="5"/>
                      <a:pt x="0" y="2"/>
                    </a:cubicBezTo>
                    <a:cubicBezTo>
                      <a:pt x="0" y="1"/>
                      <a:pt x="0" y="1"/>
                      <a:pt x="0" y="0"/>
                    </a:cubicBezTo>
                    <a:cubicBezTo>
                      <a:pt x="3" y="0"/>
                      <a:pt x="3" y="0"/>
                      <a:pt x="3" y="0"/>
                    </a:cubicBezTo>
                    <a:cubicBezTo>
                      <a:pt x="3" y="1"/>
                      <a:pt x="3" y="2"/>
                      <a:pt x="3" y="2"/>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0" name="Freeform 136"/>
              <p:cNvSpPr>
                <a:spLocks/>
              </p:cNvSpPr>
              <p:nvPr/>
            </p:nvSpPr>
            <p:spPr bwMode="auto">
              <a:xfrm>
                <a:off x="6013450" y="2855913"/>
                <a:ext cx="15875" cy="15875"/>
              </a:xfrm>
              <a:custGeom>
                <a:avLst/>
                <a:gdLst/>
                <a:ahLst/>
                <a:cxnLst>
                  <a:cxn ang="0">
                    <a:pos x="2" y="0"/>
                  </a:cxn>
                  <a:cxn ang="0">
                    <a:pos x="8" y="11"/>
                  </a:cxn>
                  <a:cxn ang="0">
                    <a:pos x="0" y="1"/>
                  </a:cxn>
                  <a:cxn ang="0">
                    <a:pos x="0" y="1"/>
                  </a:cxn>
                  <a:cxn ang="0">
                    <a:pos x="2" y="0"/>
                  </a:cxn>
                </a:cxnLst>
                <a:rect l="0" t="0" r="r" b="b"/>
                <a:pathLst>
                  <a:path w="12" h="11">
                    <a:moveTo>
                      <a:pt x="2" y="0"/>
                    </a:moveTo>
                    <a:cubicBezTo>
                      <a:pt x="5" y="2"/>
                      <a:pt x="12" y="11"/>
                      <a:pt x="8" y="11"/>
                    </a:cubicBezTo>
                    <a:cubicBezTo>
                      <a:pt x="6" y="11"/>
                      <a:pt x="1" y="4"/>
                      <a:pt x="0" y="1"/>
                    </a:cubicBezTo>
                    <a:cubicBezTo>
                      <a:pt x="0" y="1"/>
                      <a:pt x="0" y="1"/>
                      <a:pt x="0" y="1"/>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1" name="Freeform 137"/>
              <p:cNvSpPr>
                <a:spLocks/>
              </p:cNvSpPr>
              <p:nvPr/>
            </p:nvSpPr>
            <p:spPr bwMode="auto">
              <a:xfrm>
                <a:off x="6548438" y="2284413"/>
                <a:ext cx="41275" cy="49213"/>
              </a:xfrm>
              <a:custGeom>
                <a:avLst/>
                <a:gdLst/>
                <a:ahLst/>
                <a:cxnLst>
                  <a:cxn ang="0">
                    <a:pos x="12" y="22"/>
                  </a:cxn>
                  <a:cxn ang="0">
                    <a:pos x="14" y="16"/>
                  </a:cxn>
                  <a:cxn ang="0">
                    <a:pos x="10" y="10"/>
                  </a:cxn>
                  <a:cxn ang="0">
                    <a:pos x="10" y="14"/>
                  </a:cxn>
                  <a:cxn ang="0">
                    <a:pos x="5" y="16"/>
                  </a:cxn>
                  <a:cxn ang="0">
                    <a:pos x="0" y="11"/>
                  </a:cxn>
                  <a:cxn ang="0">
                    <a:pos x="14" y="0"/>
                  </a:cxn>
                  <a:cxn ang="0">
                    <a:pos x="26" y="3"/>
                  </a:cxn>
                  <a:cxn ang="0">
                    <a:pos x="26" y="8"/>
                  </a:cxn>
                  <a:cxn ang="0">
                    <a:pos x="30" y="11"/>
                  </a:cxn>
                  <a:cxn ang="0">
                    <a:pos x="30" y="16"/>
                  </a:cxn>
                  <a:cxn ang="0">
                    <a:pos x="26" y="16"/>
                  </a:cxn>
                  <a:cxn ang="0">
                    <a:pos x="15" y="37"/>
                  </a:cxn>
                  <a:cxn ang="0">
                    <a:pos x="14" y="33"/>
                  </a:cxn>
                  <a:cxn ang="0">
                    <a:pos x="14" y="36"/>
                  </a:cxn>
                  <a:cxn ang="0">
                    <a:pos x="7" y="29"/>
                  </a:cxn>
                  <a:cxn ang="0">
                    <a:pos x="12" y="22"/>
                  </a:cxn>
                </a:cxnLst>
                <a:rect l="0" t="0" r="r" b="b"/>
                <a:pathLst>
                  <a:path w="30" h="37">
                    <a:moveTo>
                      <a:pt x="12" y="22"/>
                    </a:moveTo>
                    <a:cubicBezTo>
                      <a:pt x="14" y="16"/>
                      <a:pt x="14" y="16"/>
                      <a:pt x="14" y="16"/>
                    </a:cubicBezTo>
                    <a:cubicBezTo>
                      <a:pt x="11" y="15"/>
                      <a:pt x="11" y="12"/>
                      <a:pt x="10" y="10"/>
                    </a:cubicBezTo>
                    <a:cubicBezTo>
                      <a:pt x="10" y="11"/>
                      <a:pt x="9" y="13"/>
                      <a:pt x="10" y="14"/>
                    </a:cubicBezTo>
                    <a:cubicBezTo>
                      <a:pt x="8" y="14"/>
                      <a:pt x="6" y="16"/>
                      <a:pt x="5" y="16"/>
                    </a:cubicBezTo>
                    <a:cubicBezTo>
                      <a:pt x="3" y="16"/>
                      <a:pt x="0" y="13"/>
                      <a:pt x="0" y="11"/>
                    </a:cubicBezTo>
                    <a:cubicBezTo>
                      <a:pt x="0" y="8"/>
                      <a:pt x="13" y="0"/>
                      <a:pt x="14" y="0"/>
                    </a:cubicBezTo>
                    <a:cubicBezTo>
                      <a:pt x="18" y="0"/>
                      <a:pt x="20" y="3"/>
                      <a:pt x="26" y="3"/>
                    </a:cubicBezTo>
                    <a:cubicBezTo>
                      <a:pt x="26" y="5"/>
                      <a:pt x="25" y="8"/>
                      <a:pt x="26" y="8"/>
                    </a:cubicBezTo>
                    <a:cubicBezTo>
                      <a:pt x="30" y="11"/>
                      <a:pt x="30" y="11"/>
                      <a:pt x="30" y="11"/>
                    </a:cubicBezTo>
                    <a:cubicBezTo>
                      <a:pt x="30" y="13"/>
                      <a:pt x="29" y="14"/>
                      <a:pt x="30" y="16"/>
                    </a:cubicBezTo>
                    <a:cubicBezTo>
                      <a:pt x="29" y="16"/>
                      <a:pt x="27" y="16"/>
                      <a:pt x="26" y="16"/>
                    </a:cubicBezTo>
                    <a:cubicBezTo>
                      <a:pt x="25" y="24"/>
                      <a:pt x="21" y="37"/>
                      <a:pt x="15" y="37"/>
                    </a:cubicBezTo>
                    <a:cubicBezTo>
                      <a:pt x="14" y="37"/>
                      <a:pt x="14" y="35"/>
                      <a:pt x="14" y="33"/>
                    </a:cubicBezTo>
                    <a:cubicBezTo>
                      <a:pt x="14" y="36"/>
                      <a:pt x="14" y="36"/>
                      <a:pt x="14" y="36"/>
                    </a:cubicBezTo>
                    <a:cubicBezTo>
                      <a:pt x="10" y="36"/>
                      <a:pt x="7" y="31"/>
                      <a:pt x="7" y="29"/>
                    </a:cubicBezTo>
                    <a:cubicBezTo>
                      <a:pt x="7" y="28"/>
                      <a:pt x="12" y="22"/>
                      <a:pt x="12"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2" name="Freeform 138"/>
              <p:cNvSpPr>
                <a:spLocks/>
              </p:cNvSpPr>
              <p:nvPr/>
            </p:nvSpPr>
            <p:spPr bwMode="auto">
              <a:xfrm>
                <a:off x="6596063" y="2271713"/>
                <a:ext cx="42863" cy="30163"/>
              </a:xfrm>
              <a:custGeom>
                <a:avLst/>
                <a:gdLst/>
                <a:ahLst/>
                <a:cxnLst>
                  <a:cxn ang="0">
                    <a:pos x="23" y="15"/>
                  </a:cxn>
                  <a:cxn ang="0">
                    <a:pos x="17" y="12"/>
                  </a:cxn>
                  <a:cxn ang="0">
                    <a:pos x="6" y="23"/>
                  </a:cxn>
                  <a:cxn ang="0">
                    <a:pos x="3" y="17"/>
                  </a:cxn>
                  <a:cxn ang="0">
                    <a:pos x="0" y="12"/>
                  </a:cxn>
                  <a:cxn ang="0">
                    <a:pos x="8" y="5"/>
                  </a:cxn>
                  <a:cxn ang="0">
                    <a:pos x="23" y="0"/>
                  </a:cxn>
                  <a:cxn ang="0">
                    <a:pos x="23" y="15"/>
                  </a:cxn>
                </a:cxnLst>
                <a:rect l="0" t="0" r="r" b="b"/>
                <a:pathLst>
                  <a:path w="33" h="23">
                    <a:moveTo>
                      <a:pt x="23" y="15"/>
                    </a:moveTo>
                    <a:cubicBezTo>
                      <a:pt x="20" y="15"/>
                      <a:pt x="18" y="13"/>
                      <a:pt x="17" y="12"/>
                    </a:cubicBezTo>
                    <a:cubicBezTo>
                      <a:pt x="13" y="16"/>
                      <a:pt x="12" y="23"/>
                      <a:pt x="6" y="23"/>
                    </a:cubicBezTo>
                    <a:cubicBezTo>
                      <a:pt x="4" y="23"/>
                      <a:pt x="3" y="19"/>
                      <a:pt x="3" y="17"/>
                    </a:cubicBezTo>
                    <a:cubicBezTo>
                      <a:pt x="1" y="15"/>
                      <a:pt x="0" y="14"/>
                      <a:pt x="0" y="12"/>
                    </a:cubicBezTo>
                    <a:cubicBezTo>
                      <a:pt x="0" y="12"/>
                      <a:pt x="8" y="6"/>
                      <a:pt x="8" y="5"/>
                    </a:cubicBezTo>
                    <a:cubicBezTo>
                      <a:pt x="16" y="7"/>
                      <a:pt x="17" y="0"/>
                      <a:pt x="23" y="0"/>
                    </a:cubicBezTo>
                    <a:cubicBezTo>
                      <a:pt x="33" y="0"/>
                      <a:pt x="28" y="15"/>
                      <a:pt x="23"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3" name="Freeform 139"/>
              <p:cNvSpPr>
                <a:spLocks/>
              </p:cNvSpPr>
              <p:nvPr/>
            </p:nvSpPr>
            <p:spPr bwMode="auto">
              <a:xfrm>
                <a:off x="6572250" y="2136775"/>
                <a:ext cx="185738" cy="153988"/>
              </a:xfrm>
              <a:custGeom>
                <a:avLst/>
                <a:gdLst/>
                <a:ahLst/>
                <a:cxnLst>
                  <a:cxn ang="0">
                    <a:pos x="55" y="110"/>
                  </a:cxn>
                  <a:cxn ang="0">
                    <a:pos x="55" y="107"/>
                  </a:cxn>
                  <a:cxn ang="0">
                    <a:pos x="56" y="99"/>
                  </a:cxn>
                  <a:cxn ang="0">
                    <a:pos x="43" y="95"/>
                  </a:cxn>
                  <a:cxn ang="0">
                    <a:pos x="39" y="99"/>
                  </a:cxn>
                  <a:cxn ang="0">
                    <a:pos x="29" y="100"/>
                  </a:cxn>
                  <a:cxn ang="0">
                    <a:pos x="6" y="106"/>
                  </a:cxn>
                  <a:cxn ang="0">
                    <a:pos x="0" y="104"/>
                  </a:cxn>
                  <a:cxn ang="0">
                    <a:pos x="5" y="101"/>
                  </a:cxn>
                  <a:cxn ang="0">
                    <a:pos x="30" y="84"/>
                  </a:cxn>
                  <a:cxn ang="0">
                    <a:pos x="57" y="84"/>
                  </a:cxn>
                  <a:cxn ang="0">
                    <a:pos x="72" y="70"/>
                  </a:cxn>
                  <a:cxn ang="0">
                    <a:pos x="79" y="59"/>
                  </a:cxn>
                  <a:cxn ang="0">
                    <a:pos x="77" y="64"/>
                  </a:cxn>
                  <a:cxn ang="0">
                    <a:pos x="79" y="66"/>
                  </a:cxn>
                  <a:cxn ang="0">
                    <a:pos x="92" y="60"/>
                  </a:cxn>
                  <a:cxn ang="0">
                    <a:pos x="116" y="25"/>
                  </a:cxn>
                  <a:cxn ang="0">
                    <a:pos x="114" y="19"/>
                  </a:cxn>
                  <a:cxn ang="0">
                    <a:pos x="125" y="3"/>
                  </a:cxn>
                  <a:cxn ang="0">
                    <a:pos x="130" y="4"/>
                  </a:cxn>
                  <a:cxn ang="0">
                    <a:pos x="129" y="4"/>
                  </a:cxn>
                  <a:cxn ang="0">
                    <a:pos x="128" y="0"/>
                  </a:cxn>
                  <a:cxn ang="0">
                    <a:pos x="133" y="2"/>
                  </a:cxn>
                  <a:cxn ang="0">
                    <a:pos x="134" y="11"/>
                  </a:cxn>
                  <a:cxn ang="0">
                    <a:pos x="140" y="26"/>
                  </a:cxn>
                  <a:cxn ang="0">
                    <a:pos x="134" y="40"/>
                  </a:cxn>
                  <a:cxn ang="0">
                    <a:pos x="134" y="43"/>
                  </a:cxn>
                  <a:cxn ang="0">
                    <a:pos x="130" y="44"/>
                  </a:cxn>
                  <a:cxn ang="0">
                    <a:pos x="127" y="63"/>
                  </a:cxn>
                  <a:cxn ang="0">
                    <a:pos x="122" y="76"/>
                  </a:cxn>
                  <a:cxn ang="0">
                    <a:pos x="125" y="84"/>
                  </a:cxn>
                  <a:cxn ang="0">
                    <a:pos x="114" y="93"/>
                  </a:cxn>
                  <a:cxn ang="0">
                    <a:pos x="114" y="86"/>
                  </a:cxn>
                  <a:cxn ang="0">
                    <a:pos x="102" y="96"/>
                  </a:cxn>
                  <a:cxn ang="0">
                    <a:pos x="100" y="94"/>
                  </a:cxn>
                  <a:cxn ang="0">
                    <a:pos x="96" y="94"/>
                  </a:cxn>
                  <a:cxn ang="0">
                    <a:pos x="87" y="100"/>
                  </a:cxn>
                  <a:cxn ang="0">
                    <a:pos x="74" y="92"/>
                  </a:cxn>
                  <a:cxn ang="0">
                    <a:pos x="72" y="96"/>
                  </a:cxn>
                  <a:cxn ang="0">
                    <a:pos x="76" y="103"/>
                  </a:cxn>
                  <a:cxn ang="0">
                    <a:pos x="72" y="103"/>
                  </a:cxn>
                  <a:cxn ang="0">
                    <a:pos x="61" y="115"/>
                  </a:cxn>
                  <a:cxn ang="0">
                    <a:pos x="55" y="110"/>
                  </a:cxn>
                </a:cxnLst>
                <a:rect l="0" t="0" r="r" b="b"/>
                <a:pathLst>
                  <a:path w="140" h="115">
                    <a:moveTo>
                      <a:pt x="55" y="110"/>
                    </a:moveTo>
                    <a:cubicBezTo>
                      <a:pt x="53" y="110"/>
                      <a:pt x="55" y="108"/>
                      <a:pt x="55" y="107"/>
                    </a:cubicBezTo>
                    <a:cubicBezTo>
                      <a:pt x="55" y="104"/>
                      <a:pt x="56" y="101"/>
                      <a:pt x="56" y="99"/>
                    </a:cubicBezTo>
                    <a:cubicBezTo>
                      <a:pt x="51" y="98"/>
                      <a:pt x="48" y="95"/>
                      <a:pt x="43" y="95"/>
                    </a:cubicBezTo>
                    <a:cubicBezTo>
                      <a:pt x="40" y="95"/>
                      <a:pt x="40" y="98"/>
                      <a:pt x="39" y="99"/>
                    </a:cubicBezTo>
                    <a:cubicBezTo>
                      <a:pt x="35" y="100"/>
                      <a:pt x="32" y="98"/>
                      <a:pt x="29" y="100"/>
                    </a:cubicBezTo>
                    <a:cubicBezTo>
                      <a:pt x="23" y="103"/>
                      <a:pt x="15" y="106"/>
                      <a:pt x="6" y="106"/>
                    </a:cubicBezTo>
                    <a:cubicBezTo>
                      <a:pt x="3" y="106"/>
                      <a:pt x="0" y="106"/>
                      <a:pt x="0" y="104"/>
                    </a:cubicBezTo>
                    <a:cubicBezTo>
                      <a:pt x="0" y="103"/>
                      <a:pt x="4" y="102"/>
                      <a:pt x="5" y="101"/>
                    </a:cubicBezTo>
                    <a:cubicBezTo>
                      <a:pt x="15" y="95"/>
                      <a:pt x="19" y="84"/>
                      <a:pt x="30" y="84"/>
                    </a:cubicBezTo>
                    <a:cubicBezTo>
                      <a:pt x="43" y="84"/>
                      <a:pt x="47" y="84"/>
                      <a:pt x="57" y="84"/>
                    </a:cubicBezTo>
                    <a:cubicBezTo>
                      <a:pt x="65" y="84"/>
                      <a:pt x="68" y="70"/>
                      <a:pt x="72" y="70"/>
                    </a:cubicBezTo>
                    <a:cubicBezTo>
                      <a:pt x="72" y="70"/>
                      <a:pt x="78" y="60"/>
                      <a:pt x="79" y="59"/>
                    </a:cubicBezTo>
                    <a:cubicBezTo>
                      <a:pt x="78" y="61"/>
                      <a:pt x="77" y="62"/>
                      <a:pt x="77" y="64"/>
                    </a:cubicBezTo>
                    <a:cubicBezTo>
                      <a:pt x="77" y="65"/>
                      <a:pt x="78" y="66"/>
                      <a:pt x="79" y="66"/>
                    </a:cubicBezTo>
                    <a:cubicBezTo>
                      <a:pt x="86" y="66"/>
                      <a:pt x="87" y="62"/>
                      <a:pt x="92" y="60"/>
                    </a:cubicBezTo>
                    <a:cubicBezTo>
                      <a:pt x="101" y="57"/>
                      <a:pt x="116" y="39"/>
                      <a:pt x="116" y="25"/>
                    </a:cubicBezTo>
                    <a:cubicBezTo>
                      <a:pt x="116" y="22"/>
                      <a:pt x="114" y="22"/>
                      <a:pt x="114" y="19"/>
                    </a:cubicBezTo>
                    <a:cubicBezTo>
                      <a:pt x="114" y="14"/>
                      <a:pt x="119" y="3"/>
                      <a:pt x="125" y="3"/>
                    </a:cubicBezTo>
                    <a:cubicBezTo>
                      <a:pt x="125" y="3"/>
                      <a:pt x="125" y="9"/>
                      <a:pt x="130" y="4"/>
                    </a:cubicBezTo>
                    <a:cubicBezTo>
                      <a:pt x="130" y="4"/>
                      <a:pt x="129" y="4"/>
                      <a:pt x="129" y="4"/>
                    </a:cubicBezTo>
                    <a:cubicBezTo>
                      <a:pt x="128" y="4"/>
                      <a:pt x="127" y="0"/>
                      <a:pt x="128" y="0"/>
                    </a:cubicBezTo>
                    <a:cubicBezTo>
                      <a:pt x="131" y="0"/>
                      <a:pt x="133" y="1"/>
                      <a:pt x="133" y="2"/>
                    </a:cubicBezTo>
                    <a:cubicBezTo>
                      <a:pt x="135" y="5"/>
                      <a:pt x="134" y="8"/>
                      <a:pt x="134" y="11"/>
                    </a:cubicBezTo>
                    <a:cubicBezTo>
                      <a:pt x="134" y="17"/>
                      <a:pt x="140" y="20"/>
                      <a:pt x="140" y="26"/>
                    </a:cubicBezTo>
                    <a:cubicBezTo>
                      <a:pt x="140" y="33"/>
                      <a:pt x="134" y="34"/>
                      <a:pt x="134" y="40"/>
                    </a:cubicBezTo>
                    <a:cubicBezTo>
                      <a:pt x="134" y="41"/>
                      <a:pt x="134" y="42"/>
                      <a:pt x="134" y="43"/>
                    </a:cubicBezTo>
                    <a:cubicBezTo>
                      <a:pt x="133" y="44"/>
                      <a:pt x="132" y="43"/>
                      <a:pt x="130" y="44"/>
                    </a:cubicBezTo>
                    <a:cubicBezTo>
                      <a:pt x="126" y="45"/>
                      <a:pt x="127" y="59"/>
                      <a:pt x="127" y="63"/>
                    </a:cubicBezTo>
                    <a:cubicBezTo>
                      <a:pt x="127" y="67"/>
                      <a:pt x="122" y="70"/>
                      <a:pt x="122" y="76"/>
                    </a:cubicBezTo>
                    <a:cubicBezTo>
                      <a:pt x="122" y="80"/>
                      <a:pt x="124" y="81"/>
                      <a:pt x="125" y="84"/>
                    </a:cubicBezTo>
                    <a:cubicBezTo>
                      <a:pt x="119" y="87"/>
                      <a:pt x="119" y="91"/>
                      <a:pt x="114" y="93"/>
                    </a:cubicBezTo>
                    <a:cubicBezTo>
                      <a:pt x="112" y="89"/>
                      <a:pt x="114" y="89"/>
                      <a:pt x="114" y="86"/>
                    </a:cubicBezTo>
                    <a:cubicBezTo>
                      <a:pt x="108" y="90"/>
                      <a:pt x="104" y="90"/>
                      <a:pt x="102" y="96"/>
                    </a:cubicBezTo>
                    <a:cubicBezTo>
                      <a:pt x="102" y="96"/>
                      <a:pt x="100" y="95"/>
                      <a:pt x="100" y="94"/>
                    </a:cubicBezTo>
                    <a:cubicBezTo>
                      <a:pt x="96" y="94"/>
                      <a:pt x="96" y="94"/>
                      <a:pt x="96" y="94"/>
                    </a:cubicBezTo>
                    <a:cubicBezTo>
                      <a:pt x="93" y="97"/>
                      <a:pt x="91" y="100"/>
                      <a:pt x="87" y="100"/>
                    </a:cubicBezTo>
                    <a:cubicBezTo>
                      <a:pt x="78" y="100"/>
                      <a:pt x="78" y="92"/>
                      <a:pt x="74" y="92"/>
                    </a:cubicBezTo>
                    <a:cubicBezTo>
                      <a:pt x="73" y="92"/>
                      <a:pt x="72" y="94"/>
                      <a:pt x="72" y="96"/>
                    </a:cubicBezTo>
                    <a:cubicBezTo>
                      <a:pt x="72" y="97"/>
                      <a:pt x="76" y="103"/>
                      <a:pt x="76" y="103"/>
                    </a:cubicBezTo>
                    <a:cubicBezTo>
                      <a:pt x="75" y="103"/>
                      <a:pt x="73" y="103"/>
                      <a:pt x="72" y="103"/>
                    </a:cubicBezTo>
                    <a:cubicBezTo>
                      <a:pt x="68" y="103"/>
                      <a:pt x="63" y="110"/>
                      <a:pt x="61" y="115"/>
                    </a:cubicBezTo>
                    <a:cubicBezTo>
                      <a:pt x="57" y="114"/>
                      <a:pt x="58" y="110"/>
                      <a:pt x="55" y="1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4" name="Freeform 140"/>
              <p:cNvSpPr>
                <a:spLocks/>
              </p:cNvSpPr>
              <p:nvPr/>
            </p:nvSpPr>
            <p:spPr bwMode="auto">
              <a:xfrm>
                <a:off x="6721475" y="2054225"/>
                <a:ext cx="96838" cy="80963"/>
              </a:xfrm>
              <a:custGeom>
                <a:avLst/>
                <a:gdLst/>
                <a:ahLst/>
                <a:cxnLst>
                  <a:cxn ang="0">
                    <a:pos x="11" y="33"/>
                  </a:cxn>
                  <a:cxn ang="0">
                    <a:pos x="15" y="33"/>
                  </a:cxn>
                  <a:cxn ang="0">
                    <a:pos x="26" y="10"/>
                  </a:cxn>
                  <a:cxn ang="0">
                    <a:pos x="23" y="6"/>
                  </a:cxn>
                  <a:cxn ang="0">
                    <a:pos x="26" y="0"/>
                  </a:cxn>
                  <a:cxn ang="0">
                    <a:pos x="60" y="22"/>
                  </a:cxn>
                  <a:cxn ang="0">
                    <a:pos x="70" y="21"/>
                  </a:cxn>
                  <a:cxn ang="0">
                    <a:pos x="67" y="26"/>
                  </a:cxn>
                  <a:cxn ang="0">
                    <a:pos x="72" y="32"/>
                  </a:cxn>
                  <a:cxn ang="0">
                    <a:pos x="59" y="36"/>
                  </a:cxn>
                  <a:cxn ang="0">
                    <a:pos x="43" y="51"/>
                  </a:cxn>
                  <a:cxn ang="0">
                    <a:pos x="24" y="41"/>
                  </a:cxn>
                  <a:cxn ang="0">
                    <a:pos x="21" y="45"/>
                  </a:cxn>
                  <a:cxn ang="0">
                    <a:pos x="8" y="48"/>
                  </a:cxn>
                  <a:cxn ang="0">
                    <a:pos x="16" y="54"/>
                  </a:cxn>
                  <a:cxn ang="0">
                    <a:pos x="5" y="61"/>
                  </a:cxn>
                  <a:cxn ang="0">
                    <a:pos x="3" y="61"/>
                  </a:cxn>
                  <a:cxn ang="0">
                    <a:pos x="3" y="51"/>
                  </a:cxn>
                  <a:cxn ang="0">
                    <a:pos x="0" y="46"/>
                  </a:cxn>
                  <a:cxn ang="0">
                    <a:pos x="8" y="35"/>
                  </a:cxn>
                  <a:cxn ang="0">
                    <a:pos x="8" y="32"/>
                  </a:cxn>
                  <a:cxn ang="0">
                    <a:pos x="12" y="34"/>
                  </a:cxn>
                  <a:cxn ang="0">
                    <a:pos x="11" y="33"/>
                  </a:cxn>
                </a:cxnLst>
                <a:rect l="0" t="0" r="r" b="b"/>
                <a:pathLst>
                  <a:path w="72" h="61">
                    <a:moveTo>
                      <a:pt x="11" y="33"/>
                    </a:moveTo>
                    <a:cubicBezTo>
                      <a:pt x="12" y="33"/>
                      <a:pt x="14" y="33"/>
                      <a:pt x="15" y="33"/>
                    </a:cubicBezTo>
                    <a:cubicBezTo>
                      <a:pt x="23" y="33"/>
                      <a:pt x="26" y="16"/>
                      <a:pt x="26" y="10"/>
                    </a:cubicBezTo>
                    <a:cubicBezTo>
                      <a:pt x="26" y="8"/>
                      <a:pt x="23" y="7"/>
                      <a:pt x="23" y="6"/>
                    </a:cubicBezTo>
                    <a:cubicBezTo>
                      <a:pt x="23" y="2"/>
                      <a:pt x="25" y="1"/>
                      <a:pt x="26" y="0"/>
                    </a:cubicBezTo>
                    <a:cubicBezTo>
                      <a:pt x="38" y="8"/>
                      <a:pt x="43" y="22"/>
                      <a:pt x="60" y="22"/>
                    </a:cubicBezTo>
                    <a:cubicBezTo>
                      <a:pt x="64" y="22"/>
                      <a:pt x="67" y="19"/>
                      <a:pt x="70" y="21"/>
                    </a:cubicBezTo>
                    <a:cubicBezTo>
                      <a:pt x="69" y="23"/>
                      <a:pt x="67" y="24"/>
                      <a:pt x="67" y="26"/>
                    </a:cubicBezTo>
                    <a:cubicBezTo>
                      <a:pt x="67" y="29"/>
                      <a:pt x="71" y="32"/>
                      <a:pt x="72" y="32"/>
                    </a:cubicBezTo>
                    <a:cubicBezTo>
                      <a:pt x="68" y="35"/>
                      <a:pt x="65" y="36"/>
                      <a:pt x="59" y="36"/>
                    </a:cubicBezTo>
                    <a:cubicBezTo>
                      <a:pt x="49" y="36"/>
                      <a:pt x="46" y="46"/>
                      <a:pt x="43" y="51"/>
                    </a:cubicBezTo>
                    <a:cubicBezTo>
                      <a:pt x="36" y="47"/>
                      <a:pt x="31" y="46"/>
                      <a:pt x="24" y="41"/>
                    </a:cubicBezTo>
                    <a:cubicBezTo>
                      <a:pt x="23" y="42"/>
                      <a:pt x="21" y="43"/>
                      <a:pt x="21" y="45"/>
                    </a:cubicBezTo>
                    <a:cubicBezTo>
                      <a:pt x="15" y="45"/>
                      <a:pt x="8" y="40"/>
                      <a:pt x="8" y="48"/>
                    </a:cubicBezTo>
                    <a:cubicBezTo>
                      <a:pt x="8" y="52"/>
                      <a:pt x="14" y="52"/>
                      <a:pt x="16" y="54"/>
                    </a:cubicBezTo>
                    <a:cubicBezTo>
                      <a:pt x="12" y="59"/>
                      <a:pt x="9" y="57"/>
                      <a:pt x="5" y="61"/>
                    </a:cubicBezTo>
                    <a:cubicBezTo>
                      <a:pt x="3" y="61"/>
                      <a:pt x="3" y="61"/>
                      <a:pt x="3" y="61"/>
                    </a:cubicBezTo>
                    <a:cubicBezTo>
                      <a:pt x="3" y="58"/>
                      <a:pt x="3" y="51"/>
                      <a:pt x="3" y="51"/>
                    </a:cubicBezTo>
                    <a:cubicBezTo>
                      <a:pt x="3" y="49"/>
                      <a:pt x="0" y="48"/>
                      <a:pt x="0" y="46"/>
                    </a:cubicBezTo>
                    <a:cubicBezTo>
                      <a:pt x="0" y="41"/>
                      <a:pt x="8" y="38"/>
                      <a:pt x="8" y="35"/>
                    </a:cubicBezTo>
                    <a:cubicBezTo>
                      <a:pt x="8" y="32"/>
                      <a:pt x="8" y="32"/>
                      <a:pt x="8" y="32"/>
                    </a:cubicBezTo>
                    <a:cubicBezTo>
                      <a:pt x="9" y="32"/>
                      <a:pt x="10" y="33"/>
                      <a:pt x="12" y="34"/>
                    </a:cubicBezTo>
                    <a:lnTo>
                      <a:pt x="11"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5" name="Freeform 141"/>
              <p:cNvSpPr>
                <a:spLocks/>
              </p:cNvSpPr>
              <p:nvPr/>
            </p:nvSpPr>
            <p:spPr bwMode="auto">
              <a:xfrm>
                <a:off x="6816725" y="2073275"/>
                <a:ext cx="15875" cy="14288"/>
              </a:xfrm>
              <a:custGeom>
                <a:avLst/>
                <a:gdLst/>
                <a:ahLst/>
                <a:cxnLst>
                  <a:cxn ang="0">
                    <a:pos x="10" y="0"/>
                  </a:cxn>
                  <a:cxn ang="0">
                    <a:pos x="12" y="2"/>
                  </a:cxn>
                  <a:cxn ang="0">
                    <a:pos x="1" y="11"/>
                  </a:cxn>
                  <a:cxn ang="0">
                    <a:pos x="1" y="7"/>
                  </a:cxn>
                  <a:cxn ang="0">
                    <a:pos x="11" y="0"/>
                  </a:cxn>
                  <a:cxn ang="0">
                    <a:pos x="10" y="0"/>
                  </a:cxn>
                </a:cxnLst>
                <a:rect l="0" t="0" r="r" b="b"/>
                <a:pathLst>
                  <a:path w="12" h="11">
                    <a:moveTo>
                      <a:pt x="10" y="0"/>
                    </a:moveTo>
                    <a:cubicBezTo>
                      <a:pt x="12" y="2"/>
                      <a:pt x="12" y="2"/>
                      <a:pt x="12" y="2"/>
                    </a:cubicBezTo>
                    <a:cubicBezTo>
                      <a:pt x="10" y="4"/>
                      <a:pt x="5" y="11"/>
                      <a:pt x="1" y="11"/>
                    </a:cubicBezTo>
                    <a:cubicBezTo>
                      <a:pt x="0" y="11"/>
                      <a:pt x="0" y="8"/>
                      <a:pt x="1" y="7"/>
                    </a:cubicBezTo>
                    <a:cubicBezTo>
                      <a:pt x="3" y="4"/>
                      <a:pt x="8" y="0"/>
                      <a:pt x="11" y="0"/>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6" name="Freeform 142"/>
              <p:cNvSpPr>
                <a:spLocks/>
              </p:cNvSpPr>
              <p:nvPr/>
            </p:nvSpPr>
            <p:spPr bwMode="auto">
              <a:xfrm>
                <a:off x="6848475" y="2052638"/>
                <a:ext cx="22225" cy="15875"/>
              </a:xfrm>
              <a:custGeom>
                <a:avLst/>
                <a:gdLst/>
                <a:ahLst/>
                <a:cxnLst>
                  <a:cxn ang="0">
                    <a:pos x="17" y="3"/>
                  </a:cxn>
                  <a:cxn ang="0">
                    <a:pos x="1" y="12"/>
                  </a:cxn>
                  <a:cxn ang="0">
                    <a:pos x="1" y="10"/>
                  </a:cxn>
                  <a:cxn ang="0">
                    <a:pos x="10" y="0"/>
                  </a:cxn>
                  <a:cxn ang="0">
                    <a:pos x="17" y="0"/>
                  </a:cxn>
                  <a:cxn ang="0">
                    <a:pos x="17" y="3"/>
                  </a:cxn>
                </a:cxnLst>
                <a:rect l="0" t="0" r="r" b="b"/>
                <a:pathLst>
                  <a:path w="17" h="12">
                    <a:moveTo>
                      <a:pt x="17" y="3"/>
                    </a:moveTo>
                    <a:cubicBezTo>
                      <a:pt x="7" y="3"/>
                      <a:pt x="7" y="12"/>
                      <a:pt x="1" y="12"/>
                    </a:cubicBezTo>
                    <a:cubicBezTo>
                      <a:pt x="0" y="12"/>
                      <a:pt x="1" y="10"/>
                      <a:pt x="1" y="10"/>
                    </a:cubicBezTo>
                    <a:cubicBezTo>
                      <a:pt x="1" y="10"/>
                      <a:pt x="5" y="0"/>
                      <a:pt x="10" y="0"/>
                    </a:cubicBezTo>
                    <a:cubicBezTo>
                      <a:pt x="13" y="0"/>
                      <a:pt x="15" y="0"/>
                      <a:pt x="17" y="0"/>
                    </a:cubicBezTo>
                    <a:lnTo>
                      <a:pt x="17"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7" name="Freeform 143"/>
              <p:cNvSpPr>
                <a:spLocks/>
              </p:cNvSpPr>
              <p:nvPr/>
            </p:nvSpPr>
            <p:spPr bwMode="auto">
              <a:xfrm>
                <a:off x="6888163" y="2035175"/>
                <a:ext cx="12700" cy="11113"/>
              </a:xfrm>
              <a:custGeom>
                <a:avLst/>
                <a:gdLst/>
                <a:ahLst/>
                <a:cxnLst>
                  <a:cxn ang="0">
                    <a:pos x="1" y="6"/>
                  </a:cxn>
                  <a:cxn ang="0">
                    <a:pos x="2" y="3"/>
                  </a:cxn>
                  <a:cxn ang="0">
                    <a:pos x="9" y="0"/>
                  </a:cxn>
                  <a:cxn ang="0">
                    <a:pos x="1" y="9"/>
                  </a:cxn>
                  <a:cxn ang="0">
                    <a:pos x="1" y="6"/>
                  </a:cxn>
                </a:cxnLst>
                <a:rect l="0" t="0" r="r" b="b"/>
                <a:pathLst>
                  <a:path w="9" h="9">
                    <a:moveTo>
                      <a:pt x="1" y="6"/>
                    </a:moveTo>
                    <a:cubicBezTo>
                      <a:pt x="3" y="6"/>
                      <a:pt x="1" y="4"/>
                      <a:pt x="2" y="3"/>
                    </a:cubicBezTo>
                    <a:cubicBezTo>
                      <a:pt x="3" y="0"/>
                      <a:pt x="8" y="0"/>
                      <a:pt x="9" y="0"/>
                    </a:cubicBezTo>
                    <a:cubicBezTo>
                      <a:pt x="8" y="3"/>
                      <a:pt x="5" y="9"/>
                      <a:pt x="1" y="9"/>
                    </a:cubicBezTo>
                    <a:cubicBezTo>
                      <a:pt x="0" y="9"/>
                      <a:pt x="0" y="6"/>
                      <a:pt x="1"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8" name="Freeform 144"/>
              <p:cNvSpPr>
                <a:spLocks/>
              </p:cNvSpPr>
              <p:nvPr/>
            </p:nvSpPr>
            <p:spPr bwMode="auto">
              <a:xfrm>
                <a:off x="6753225" y="1855788"/>
                <a:ext cx="47625" cy="184150"/>
              </a:xfrm>
              <a:custGeom>
                <a:avLst/>
                <a:gdLst/>
                <a:ahLst/>
                <a:cxnLst>
                  <a:cxn ang="0">
                    <a:pos x="26" y="84"/>
                  </a:cxn>
                  <a:cxn ang="0">
                    <a:pos x="13" y="109"/>
                  </a:cxn>
                  <a:cxn ang="0">
                    <a:pos x="26" y="132"/>
                  </a:cxn>
                  <a:cxn ang="0">
                    <a:pos x="25" y="132"/>
                  </a:cxn>
                  <a:cxn ang="0">
                    <a:pos x="20" y="128"/>
                  </a:cxn>
                  <a:cxn ang="0">
                    <a:pos x="16" y="128"/>
                  </a:cxn>
                  <a:cxn ang="0">
                    <a:pos x="5" y="138"/>
                  </a:cxn>
                  <a:cxn ang="0">
                    <a:pos x="5" y="125"/>
                  </a:cxn>
                  <a:cxn ang="0">
                    <a:pos x="7" y="105"/>
                  </a:cxn>
                  <a:cxn ang="0">
                    <a:pos x="4" y="93"/>
                  </a:cxn>
                  <a:cxn ang="0">
                    <a:pos x="7" y="79"/>
                  </a:cxn>
                  <a:cxn ang="0">
                    <a:pos x="7" y="53"/>
                  </a:cxn>
                  <a:cxn ang="0">
                    <a:pos x="0" y="37"/>
                  </a:cxn>
                  <a:cxn ang="0">
                    <a:pos x="9" y="15"/>
                  </a:cxn>
                  <a:cxn ang="0">
                    <a:pos x="11" y="9"/>
                  </a:cxn>
                  <a:cxn ang="0">
                    <a:pos x="11" y="0"/>
                  </a:cxn>
                  <a:cxn ang="0">
                    <a:pos x="14" y="0"/>
                  </a:cxn>
                  <a:cxn ang="0">
                    <a:pos x="19" y="20"/>
                  </a:cxn>
                  <a:cxn ang="0">
                    <a:pos x="21" y="37"/>
                  </a:cxn>
                  <a:cxn ang="0">
                    <a:pos x="21" y="47"/>
                  </a:cxn>
                  <a:cxn ang="0">
                    <a:pos x="24" y="59"/>
                  </a:cxn>
                  <a:cxn ang="0">
                    <a:pos x="36" y="90"/>
                  </a:cxn>
                  <a:cxn ang="0">
                    <a:pos x="26" y="84"/>
                  </a:cxn>
                </a:cxnLst>
                <a:rect l="0" t="0" r="r" b="b"/>
                <a:pathLst>
                  <a:path w="36" h="138">
                    <a:moveTo>
                      <a:pt x="26" y="84"/>
                    </a:moveTo>
                    <a:cubicBezTo>
                      <a:pt x="15" y="84"/>
                      <a:pt x="13" y="98"/>
                      <a:pt x="13" y="109"/>
                    </a:cubicBezTo>
                    <a:cubicBezTo>
                      <a:pt x="13" y="120"/>
                      <a:pt x="22" y="124"/>
                      <a:pt x="26" y="132"/>
                    </a:cubicBezTo>
                    <a:cubicBezTo>
                      <a:pt x="26" y="132"/>
                      <a:pt x="25" y="132"/>
                      <a:pt x="25" y="132"/>
                    </a:cubicBezTo>
                    <a:cubicBezTo>
                      <a:pt x="23" y="133"/>
                      <a:pt x="21" y="130"/>
                      <a:pt x="20" y="128"/>
                    </a:cubicBezTo>
                    <a:cubicBezTo>
                      <a:pt x="19" y="128"/>
                      <a:pt x="17" y="128"/>
                      <a:pt x="16" y="128"/>
                    </a:cubicBezTo>
                    <a:cubicBezTo>
                      <a:pt x="11" y="128"/>
                      <a:pt x="11" y="138"/>
                      <a:pt x="5" y="138"/>
                    </a:cubicBezTo>
                    <a:cubicBezTo>
                      <a:pt x="4" y="138"/>
                      <a:pt x="5" y="127"/>
                      <a:pt x="5" y="125"/>
                    </a:cubicBezTo>
                    <a:cubicBezTo>
                      <a:pt x="5" y="117"/>
                      <a:pt x="7" y="112"/>
                      <a:pt x="7" y="105"/>
                    </a:cubicBezTo>
                    <a:cubicBezTo>
                      <a:pt x="7" y="99"/>
                      <a:pt x="4" y="98"/>
                      <a:pt x="4" y="93"/>
                    </a:cubicBezTo>
                    <a:cubicBezTo>
                      <a:pt x="4" y="86"/>
                      <a:pt x="7" y="84"/>
                      <a:pt x="7" y="79"/>
                    </a:cubicBezTo>
                    <a:cubicBezTo>
                      <a:pt x="7" y="68"/>
                      <a:pt x="7" y="64"/>
                      <a:pt x="7" y="53"/>
                    </a:cubicBezTo>
                    <a:cubicBezTo>
                      <a:pt x="7" y="46"/>
                      <a:pt x="0" y="44"/>
                      <a:pt x="0" y="37"/>
                    </a:cubicBezTo>
                    <a:cubicBezTo>
                      <a:pt x="0" y="28"/>
                      <a:pt x="3" y="16"/>
                      <a:pt x="9" y="15"/>
                    </a:cubicBezTo>
                    <a:cubicBezTo>
                      <a:pt x="9" y="12"/>
                      <a:pt x="11" y="11"/>
                      <a:pt x="11" y="9"/>
                    </a:cubicBezTo>
                    <a:cubicBezTo>
                      <a:pt x="11" y="4"/>
                      <a:pt x="11" y="3"/>
                      <a:pt x="11" y="0"/>
                    </a:cubicBezTo>
                    <a:cubicBezTo>
                      <a:pt x="12" y="0"/>
                      <a:pt x="13" y="0"/>
                      <a:pt x="14" y="0"/>
                    </a:cubicBezTo>
                    <a:cubicBezTo>
                      <a:pt x="14" y="8"/>
                      <a:pt x="18" y="14"/>
                      <a:pt x="19" y="20"/>
                    </a:cubicBezTo>
                    <a:cubicBezTo>
                      <a:pt x="21" y="26"/>
                      <a:pt x="18" y="30"/>
                      <a:pt x="21" y="37"/>
                    </a:cubicBezTo>
                    <a:cubicBezTo>
                      <a:pt x="21" y="47"/>
                      <a:pt x="21" y="47"/>
                      <a:pt x="21" y="47"/>
                    </a:cubicBezTo>
                    <a:cubicBezTo>
                      <a:pt x="20" y="52"/>
                      <a:pt x="23" y="57"/>
                      <a:pt x="24" y="59"/>
                    </a:cubicBezTo>
                    <a:cubicBezTo>
                      <a:pt x="27" y="70"/>
                      <a:pt x="33" y="79"/>
                      <a:pt x="36" y="90"/>
                    </a:cubicBezTo>
                    <a:cubicBezTo>
                      <a:pt x="34" y="86"/>
                      <a:pt x="30" y="84"/>
                      <a:pt x="26" y="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59" name="Freeform 145"/>
              <p:cNvSpPr>
                <a:spLocks/>
              </p:cNvSpPr>
              <p:nvPr/>
            </p:nvSpPr>
            <p:spPr bwMode="auto">
              <a:xfrm>
                <a:off x="5241925" y="1219200"/>
                <a:ext cx="292100" cy="214313"/>
              </a:xfrm>
              <a:custGeom>
                <a:avLst/>
                <a:gdLst/>
                <a:ahLst/>
                <a:cxnLst>
                  <a:cxn ang="0">
                    <a:pos x="76" y="161"/>
                  </a:cxn>
                  <a:cxn ang="0">
                    <a:pos x="50" y="131"/>
                  </a:cxn>
                  <a:cxn ang="0">
                    <a:pos x="103" y="67"/>
                  </a:cxn>
                  <a:cxn ang="0">
                    <a:pos x="125" y="55"/>
                  </a:cxn>
                  <a:cxn ang="0">
                    <a:pos x="134" y="45"/>
                  </a:cxn>
                  <a:cxn ang="0">
                    <a:pos x="175" y="34"/>
                  </a:cxn>
                  <a:cxn ang="0">
                    <a:pos x="220" y="11"/>
                  </a:cxn>
                  <a:cxn ang="0">
                    <a:pos x="203" y="0"/>
                  </a:cxn>
                  <a:cxn ang="0">
                    <a:pos x="136" y="25"/>
                  </a:cxn>
                  <a:cxn ang="0">
                    <a:pos x="123" y="19"/>
                  </a:cxn>
                  <a:cxn ang="0">
                    <a:pos x="109" y="25"/>
                  </a:cxn>
                  <a:cxn ang="0">
                    <a:pos x="69" y="46"/>
                  </a:cxn>
                  <a:cxn ang="0">
                    <a:pos x="52" y="49"/>
                  </a:cxn>
                  <a:cxn ang="0">
                    <a:pos x="47" y="53"/>
                  </a:cxn>
                  <a:cxn ang="0">
                    <a:pos x="50" y="61"/>
                  </a:cxn>
                  <a:cxn ang="0">
                    <a:pos x="27" y="88"/>
                  </a:cxn>
                  <a:cxn ang="0">
                    <a:pos x="34" y="98"/>
                  </a:cxn>
                  <a:cxn ang="0">
                    <a:pos x="13" y="110"/>
                  </a:cxn>
                  <a:cxn ang="0">
                    <a:pos x="13" y="117"/>
                  </a:cxn>
                  <a:cxn ang="0">
                    <a:pos x="0" y="134"/>
                  </a:cxn>
                  <a:cxn ang="0">
                    <a:pos x="8" y="143"/>
                  </a:cxn>
                  <a:cxn ang="0">
                    <a:pos x="21" y="143"/>
                  </a:cxn>
                  <a:cxn ang="0">
                    <a:pos x="27" y="158"/>
                  </a:cxn>
                  <a:cxn ang="0">
                    <a:pos x="39" y="158"/>
                  </a:cxn>
                  <a:cxn ang="0">
                    <a:pos x="42" y="161"/>
                  </a:cxn>
                  <a:cxn ang="0">
                    <a:pos x="76" y="161"/>
                  </a:cxn>
                  <a:cxn ang="0">
                    <a:pos x="72" y="156"/>
                  </a:cxn>
                  <a:cxn ang="0">
                    <a:pos x="76" y="161"/>
                  </a:cxn>
                </a:cxnLst>
                <a:rect l="0" t="0" r="r" b="b"/>
                <a:pathLst>
                  <a:path w="220" h="161">
                    <a:moveTo>
                      <a:pt x="76" y="161"/>
                    </a:moveTo>
                    <a:cubicBezTo>
                      <a:pt x="66" y="151"/>
                      <a:pt x="50" y="147"/>
                      <a:pt x="50" y="131"/>
                    </a:cubicBezTo>
                    <a:cubicBezTo>
                      <a:pt x="50" y="102"/>
                      <a:pt x="81" y="73"/>
                      <a:pt x="103" y="67"/>
                    </a:cubicBezTo>
                    <a:cubicBezTo>
                      <a:pt x="111" y="64"/>
                      <a:pt x="113" y="55"/>
                      <a:pt x="125" y="55"/>
                    </a:cubicBezTo>
                    <a:cubicBezTo>
                      <a:pt x="130" y="55"/>
                      <a:pt x="132" y="46"/>
                      <a:pt x="134" y="45"/>
                    </a:cubicBezTo>
                    <a:cubicBezTo>
                      <a:pt x="149" y="38"/>
                      <a:pt x="160" y="41"/>
                      <a:pt x="175" y="34"/>
                    </a:cubicBezTo>
                    <a:cubicBezTo>
                      <a:pt x="186" y="28"/>
                      <a:pt x="220" y="26"/>
                      <a:pt x="220" y="11"/>
                    </a:cubicBezTo>
                    <a:cubicBezTo>
                      <a:pt x="220" y="6"/>
                      <a:pt x="208" y="0"/>
                      <a:pt x="203" y="0"/>
                    </a:cubicBezTo>
                    <a:cubicBezTo>
                      <a:pt x="181" y="0"/>
                      <a:pt x="160" y="25"/>
                      <a:pt x="136" y="25"/>
                    </a:cubicBezTo>
                    <a:cubicBezTo>
                      <a:pt x="131" y="25"/>
                      <a:pt x="128" y="19"/>
                      <a:pt x="123" y="19"/>
                    </a:cubicBezTo>
                    <a:cubicBezTo>
                      <a:pt x="115" y="19"/>
                      <a:pt x="115" y="25"/>
                      <a:pt x="109" y="25"/>
                    </a:cubicBezTo>
                    <a:cubicBezTo>
                      <a:pt x="93" y="25"/>
                      <a:pt x="80" y="46"/>
                      <a:pt x="69" y="46"/>
                    </a:cubicBezTo>
                    <a:cubicBezTo>
                      <a:pt x="63" y="46"/>
                      <a:pt x="58" y="49"/>
                      <a:pt x="52" y="49"/>
                    </a:cubicBezTo>
                    <a:cubicBezTo>
                      <a:pt x="49" y="49"/>
                      <a:pt x="47" y="52"/>
                      <a:pt x="47" y="53"/>
                    </a:cubicBezTo>
                    <a:cubicBezTo>
                      <a:pt x="47" y="56"/>
                      <a:pt x="50" y="58"/>
                      <a:pt x="50" y="61"/>
                    </a:cubicBezTo>
                    <a:cubicBezTo>
                      <a:pt x="50" y="74"/>
                      <a:pt x="27" y="80"/>
                      <a:pt x="27" y="88"/>
                    </a:cubicBezTo>
                    <a:cubicBezTo>
                      <a:pt x="27" y="91"/>
                      <a:pt x="34" y="92"/>
                      <a:pt x="34" y="98"/>
                    </a:cubicBezTo>
                    <a:cubicBezTo>
                      <a:pt x="27" y="99"/>
                      <a:pt x="13" y="102"/>
                      <a:pt x="13" y="110"/>
                    </a:cubicBezTo>
                    <a:cubicBezTo>
                      <a:pt x="13" y="115"/>
                      <a:pt x="13" y="117"/>
                      <a:pt x="13" y="117"/>
                    </a:cubicBezTo>
                    <a:cubicBezTo>
                      <a:pt x="13" y="124"/>
                      <a:pt x="0" y="124"/>
                      <a:pt x="0" y="134"/>
                    </a:cubicBezTo>
                    <a:cubicBezTo>
                      <a:pt x="0" y="139"/>
                      <a:pt x="8" y="143"/>
                      <a:pt x="8" y="143"/>
                    </a:cubicBezTo>
                    <a:cubicBezTo>
                      <a:pt x="8" y="143"/>
                      <a:pt x="20" y="143"/>
                      <a:pt x="21" y="143"/>
                    </a:cubicBezTo>
                    <a:cubicBezTo>
                      <a:pt x="28" y="145"/>
                      <a:pt x="24" y="152"/>
                      <a:pt x="27" y="158"/>
                    </a:cubicBezTo>
                    <a:cubicBezTo>
                      <a:pt x="28" y="161"/>
                      <a:pt x="35" y="158"/>
                      <a:pt x="39" y="158"/>
                    </a:cubicBezTo>
                    <a:cubicBezTo>
                      <a:pt x="40" y="158"/>
                      <a:pt x="41" y="161"/>
                      <a:pt x="42" y="161"/>
                    </a:cubicBezTo>
                    <a:cubicBezTo>
                      <a:pt x="76" y="161"/>
                      <a:pt x="76" y="161"/>
                      <a:pt x="76" y="161"/>
                    </a:cubicBezTo>
                    <a:cubicBezTo>
                      <a:pt x="75" y="159"/>
                      <a:pt x="73" y="157"/>
                      <a:pt x="72" y="156"/>
                    </a:cubicBezTo>
                    <a:lnTo>
                      <a:pt x="76"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0" name="Freeform 146"/>
              <p:cNvSpPr>
                <a:spLocks/>
              </p:cNvSpPr>
              <p:nvPr/>
            </p:nvSpPr>
            <p:spPr bwMode="auto">
              <a:xfrm>
                <a:off x="4713288" y="1196975"/>
                <a:ext cx="2847975" cy="1058863"/>
              </a:xfrm>
              <a:custGeom>
                <a:avLst/>
                <a:gdLst/>
                <a:ahLst/>
                <a:cxnLst>
                  <a:cxn ang="0">
                    <a:pos x="1515" y="585"/>
                  </a:cxn>
                  <a:cxn ang="0">
                    <a:pos x="1460" y="485"/>
                  </a:cxn>
                  <a:cxn ang="0">
                    <a:pos x="1665" y="408"/>
                  </a:cxn>
                  <a:cxn ang="0">
                    <a:pos x="1804" y="346"/>
                  </a:cxn>
                  <a:cxn ang="0">
                    <a:pos x="1709" y="465"/>
                  </a:cxn>
                  <a:cxn ang="0">
                    <a:pos x="1793" y="452"/>
                  </a:cxn>
                  <a:cxn ang="0">
                    <a:pos x="1989" y="313"/>
                  </a:cxn>
                  <a:cxn ang="0">
                    <a:pos x="2112" y="287"/>
                  </a:cxn>
                  <a:cxn ang="0">
                    <a:pos x="1892" y="194"/>
                  </a:cxn>
                  <a:cxn ang="0">
                    <a:pos x="1660" y="159"/>
                  </a:cxn>
                  <a:cxn ang="0">
                    <a:pos x="1435" y="157"/>
                  </a:cxn>
                  <a:cxn ang="0">
                    <a:pos x="1314" y="97"/>
                  </a:cxn>
                  <a:cxn ang="0">
                    <a:pos x="1102" y="104"/>
                  </a:cxn>
                  <a:cxn ang="0">
                    <a:pos x="1016" y="27"/>
                  </a:cxn>
                  <a:cxn ang="0">
                    <a:pos x="758" y="117"/>
                  </a:cxn>
                  <a:cxn ang="0">
                    <a:pos x="668" y="148"/>
                  </a:cxn>
                  <a:cxn ang="0">
                    <a:pos x="644" y="121"/>
                  </a:cxn>
                  <a:cxn ang="0">
                    <a:pos x="511" y="207"/>
                  </a:cxn>
                  <a:cxn ang="0">
                    <a:pos x="322" y="247"/>
                  </a:cxn>
                  <a:cxn ang="0">
                    <a:pos x="214" y="296"/>
                  </a:cxn>
                  <a:cxn ang="0">
                    <a:pos x="229" y="227"/>
                  </a:cxn>
                  <a:cxn ang="0">
                    <a:pos x="127" y="236"/>
                  </a:cxn>
                  <a:cxn ang="0">
                    <a:pos x="136" y="312"/>
                  </a:cxn>
                  <a:cxn ang="0">
                    <a:pos x="117" y="395"/>
                  </a:cxn>
                  <a:cxn ang="0">
                    <a:pos x="50" y="446"/>
                  </a:cxn>
                  <a:cxn ang="0">
                    <a:pos x="16" y="495"/>
                  </a:cxn>
                  <a:cxn ang="0">
                    <a:pos x="54" y="558"/>
                  </a:cxn>
                  <a:cxn ang="0">
                    <a:pos x="88" y="597"/>
                  </a:cxn>
                  <a:cxn ang="0">
                    <a:pos x="112" y="644"/>
                  </a:cxn>
                  <a:cxn ang="0">
                    <a:pos x="208" y="647"/>
                  </a:cxn>
                  <a:cxn ang="0">
                    <a:pos x="225" y="626"/>
                  </a:cxn>
                  <a:cxn ang="0">
                    <a:pos x="284" y="701"/>
                  </a:cxn>
                  <a:cxn ang="0">
                    <a:pos x="350" y="732"/>
                  </a:cxn>
                  <a:cxn ang="0">
                    <a:pos x="366" y="742"/>
                  </a:cxn>
                  <a:cxn ang="0">
                    <a:pos x="349" y="634"/>
                  </a:cxn>
                  <a:cxn ang="0">
                    <a:pos x="412" y="645"/>
                  </a:cxn>
                  <a:cxn ang="0">
                    <a:pos x="427" y="700"/>
                  </a:cxn>
                  <a:cxn ang="0">
                    <a:pos x="428" y="746"/>
                  </a:cxn>
                  <a:cxn ang="0">
                    <a:pos x="447" y="755"/>
                  </a:cxn>
                  <a:cxn ang="0">
                    <a:pos x="522" y="777"/>
                  </a:cxn>
                  <a:cxn ang="0">
                    <a:pos x="559" y="781"/>
                  </a:cxn>
                  <a:cxn ang="0">
                    <a:pos x="608" y="770"/>
                  </a:cxn>
                  <a:cxn ang="0">
                    <a:pos x="654" y="772"/>
                  </a:cxn>
                  <a:cxn ang="0">
                    <a:pos x="677" y="748"/>
                  </a:cxn>
                  <a:cxn ang="0">
                    <a:pos x="829" y="593"/>
                  </a:cxn>
                  <a:cxn ang="0">
                    <a:pos x="994" y="534"/>
                  </a:cxn>
                  <a:cxn ang="0">
                    <a:pos x="1224" y="569"/>
                  </a:cxn>
                  <a:cxn ang="0">
                    <a:pos x="1411" y="607"/>
                  </a:cxn>
                  <a:cxn ang="0">
                    <a:pos x="1400" y="655"/>
                  </a:cxn>
                </a:cxnLst>
                <a:rect l="0" t="0" r="r" b="b"/>
                <a:pathLst>
                  <a:path w="2139" h="795">
                    <a:moveTo>
                      <a:pt x="1398" y="684"/>
                    </a:moveTo>
                    <a:cubicBezTo>
                      <a:pt x="1398" y="684"/>
                      <a:pt x="1415" y="688"/>
                      <a:pt x="1429" y="688"/>
                    </a:cubicBezTo>
                    <a:cubicBezTo>
                      <a:pt x="1454" y="688"/>
                      <a:pt x="1478" y="635"/>
                      <a:pt x="1495" y="618"/>
                    </a:cubicBezTo>
                    <a:cubicBezTo>
                      <a:pt x="1502" y="610"/>
                      <a:pt x="1512" y="596"/>
                      <a:pt x="1515" y="585"/>
                    </a:cubicBezTo>
                    <a:cubicBezTo>
                      <a:pt x="1518" y="572"/>
                      <a:pt x="1513" y="564"/>
                      <a:pt x="1520" y="551"/>
                    </a:cubicBezTo>
                    <a:cubicBezTo>
                      <a:pt x="1522" y="547"/>
                      <a:pt x="1527" y="537"/>
                      <a:pt x="1527" y="527"/>
                    </a:cubicBezTo>
                    <a:cubicBezTo>
                      <a:pt x="1527" y="515"/>
                      <a:pt x="1508" y="492"/>
                      <a:pt x="1499" y="499"/>
                    </a:cubicBezTo>
                    <a:cubicBezTo>
                      <a:pt x="1473" y="518"/>
                      <a:pt x="1460" y="488"/>
                      <a:pt x="1460" y="485"/>
                    </a:cubicBezTo>
                    <a:cubicBezTo>
                      <a:pt x="1460" y="473"/>
                      <a:pt x="1483" y="459"/>
                      <a:pt x="1493" y="450"/>
                    </a:cubicBezTo>
                    <a:cubicBezTo>
                      <a:pt x="1506" y="436"/>
                      <a:pt x="1524" y="413"/>
                      <a:pt x="1543" y="408"/>
                    </a:cubicBezTo>
                    <a:cubicBezTo>
                      <a:pt x="1560" y="404"/>
                      <a:pt x="1613" y="399"/>
                      <a:pt x="1627" y="399"/>
                    </a:cubicBezTo>
                    <a:cubicBezTo>
                      <a:pt x="1645" y="399"/>
                      <a:pt x="1654" y="408"/>
                      <a:pt x="1665" y="408"/>
                    </a:cubicBezTo>
                    <a:cubicBezTo>
                      <a:pt x="1671" y="408"/>
                      <a:pt x="1675" y="408"/>
                      <a:pt x="1689" y="408"/>
                    </a:cubicBezTo>
                    <a:cubicBezTo>
                      <a:pt x="1696" y="379"/>
                      <a:pt x="1709" y="362"/>
                      <a:pt x="1740" y="362"/>
                    </a:cubicBezTo>
                    <a:cubicBezTo>
                      <a:pt x="1748" y="362"/>
                      <a:pt x="1751" y="360"/>
                      <a:pt x="1766" y="362"/>
                    </a:cubicBezTo>
                    <a:cubicBezTo>
                      <a:pt x="1759" y="368"/>
                      <a:pt x="1756" y="406"/>
                      <a:pt x="1804" y="346"/>
                    </a:cubicBezTo>
                    <a:cubicBezTo>
                      <a:pt x="1809" y="346"/>
                      <a:pt x="1832" y="355"/>
                      <a:pt x="1797" y="377"/>
                    </a:cubicBezTo>
                    <a:cubicBezTo>
                      <a:pt x="1785" y="385"/>
                      <a:pt x="1774" y="381"/>
                      <a:pt x="1766" y="393"/>
                    </a:cubicBezTo>
                    <a:cubicBezTo>
                      <a:pt x="1757" y="406"/>
                      <a:pt x="1749" y="423"/>
                      <a:pt x="1735" y="430"/>
                    </a:cubicBezTo>
                    <a:cubicBezTo>
                      <a:pt x="1724" y="436"/>
                      <a:pt x="1709" y="447"/>
                      <a:pt x="1709" y="465"/>
                    </a:cubicBezTo>
                    <a:cubicBezTo>
                      <a:pt x="1709" y="482"/>
                      <a:pt x="1714" y="535"/>
                      <a:pt x="1726" y="545"/>
                    </a:cubicBezTo>
                    <a:cubicBezTo>
                      <a:pt x="1735" y="532"/>
                      <a:pt x="1741" y="507"/>
                      <a:pt x="1760" y="503"/>
                    </a:cubicBezTo>
                    <a:cubicBezTo>
                      <a:pt x="1757" y="491"/>
                      <a:pt x="1777" y="488"/>
                      <a:pt x="1777" y="479"/>
                    </a:cubicBezTo>
                    <a:cubicBezTo>
                      <a:pt x="1777" y="464"/>
                      <a:pt x="1793" y="460"/>
                      <a:pt x="1793" y="452"/>
                    </a:cubicBezTo>
                    <a:cubicBezTo>
                      <a:pt x="1793" y="447"/>
                      <a:pt x="1788" y="442"/>
                      <a:pt x="1793" y="432"/>
                    </a:cubicBezTo>
                    <a:cubicBezTo>
                      <a:pt x="1828" y="356"/>
                      <a:pt x="1861" y="397"/>
                      <a:pt x="1874" y="397"/>
                    </a:cubicBezTo>
                    <a:cubicBezTo>
                      <a:pt x="1914" y="397"/>
                      <a:pt x="1941" y="347"/>
                      <a:pt x="1976" y="346"/>
                    </a:cubicBezTo>
                    <a:cubicBezTo>
                      <a:pt x="2041" y="345"/>
                      <a:pt x="1989" y="320"/>
                      <a:pt x="1989" y="313"/>
                    </a:cubicBezTo>
                    <a:cubicBezTo>
                      <a:pt x="1989" y="294"/>
                      <a:pt x="2015" y="297"/>
                      <a:pt x="2020" y="287"/>
                    </a:cubicBezTo>
                    <a:cubicBezTo>
                      <a:pt x="2022" y="282"/>
                      <a:pt x="2018" y="271"/>
                      <a:pt x="2026" y="271"/>
                    </a:cubicBezTo>
                    <a:cubicBezTo>
                      <a:pt x="2054" y="271"/>
                      <a:pt x="2077" y="309"/>
                      <a:pt x="2097" y="309"/>
                    </a:cubicBezTo>
                    <a:cubicBezTo>
                      <a:pt x="2106" y="309"/>
                      <a:pt x="2108" y="293"/>
                      <a:pt x="2112" y="287"/>
                    </a:cubicBezTo>
                    <a:cubicBezTo>
                      <a:pt x="2120" y="278"/>
                      <a:pt x="2127" y="279"/>
                      <a:pt x="2139" y="275"/>
                    </a:cubicBezTo>
                    <a:cubicBezTo>
                      <a:pt x="2123" y="254"/>
                      <a:pt x="2071" y="242"/>
                      <a:pt x="2046" y="227"/>
                    </a:cubicBezTo>
                    <a:cubicBezTo>
                      <a:pt x="2011" y="207"/>
                      <a:pt x="1965" y="185"/>
                      <a:pt x="1914" y="185"/>
                    </a:cubicBezTo>
                    <a:cubicBezTo>
                      <a:pt x="1900" y="185"/>
                      <a:pt x="1890" y="188"/>
                      <a:pt x="1892" y="194"/>
                    </a:cubicBezTo>
                    <a:cubicBezTo>
                      <a:pt x="1906" y="237"/>
                      <a:pt x="1872" y="194"/>
                      <a:pt x="1863" y="194"/>
                    </a:cubicBezTo>
                    <a:cubicBezTo>
                      <a:pt x="1762" y="192"/>
                      <a:pt x="1762" y="192"/>
                      <a:pt x="1762" y="192"/>
                    </a:cubicBezTo>
                    <a:cubicBezTo>
                      <a:pt x="1756" y="169"/>
                      <a:pt x="1741" y="161"/>
                      <a:pt x="1711" y="161"/>
                    </a:cubicBezTo>
                    <a:cubicBezTo>
                      <a:pt x="1695" y="161"/>
                      <a:pt x="1670" y="167"/>
                      <a:pt x="1660" y="159"/>
                    </a:cubicBezTo>
                    <a:cubicBezTo>
                      <a:pt x="1652" y="151"/>
                      <a:pt x="1651" y="141"/>
                      <a:pt x="1638" y="137"/>
                    </a:cubicBezTo>
                    <a:cubicBezTo>
                      <a:pt x="1611" y="128"/>
                      <a:pt x="1582" y="121"/>
                      <a:pt x="1548" y="121"/>
                    </a:cubicBezTo>
                    <a:cubicBezTo>
                      <a:pt x="1513" y="121"/>
                      <a:pt x="1509" y="140"/>
                      <a:pt x="1506" y="157"/>
                    </a:cubicBezTo>
                    <a:cubicBezTo>
                      <a:pt x="1473" y="157"/>
                      <a:pt x="1457" y="157"/>
                      <a:pt x="1435" y="157"/>
                    </a:cubicBezTo>
                    <a:cubicBezTo>
                      <a:pt x="1423" y="157"/>
                      <a:pt x="1421" y="147"/>
                      <a:pt x="1407" y="146"/>
                    </a:cubicBezTo>
                    <a:cubicBezTo>
                      <a:pt x="1405" y="152"/>
                      <a:pt x="1403" y="166"/>
                      <a:pt x="1396" y="166"/>
                    </a:cubicBezTo>
                    <a:cubicBezTo>
                      <a:pt x="1377" y="166"/>
                      <a:pt x="1369" y="143"/>
                      <a:pt x="1369" y="130"/>
                    </a:cubicBezTo>
                    <a:cubicBezTo>
                      <a:pt x="1369" y="127"/>
                      <a:pt x="1405" y="105"/>
                      <a:pt x="1314" y="97"/>
                    </a:cubicBezTo>
                    <a:cubicBezTo>
                      <a:pt x="1303" y="96"/>
                      <a:pt x="1296" y="101"/>
                      <a:pt x="1296" y="115"/>
                    </a:cubicBezTo>
                    <a:cubicBezTo>
                      <a:pt x="1248" y="115"/>
                      <a:pt x="1248" y="115"/>
                      <a:pt x="1248" y="115"/>
                    </a:cubicBezTo>
                    <a:cubicBezTo>
                      <a:pt x="1233" y="111"/>
                      <a:pt x="1157" y="102"/>
                      <a:pt x="1147" y="86"/>
                    </a:cubicBezTo>
                    <a:cubicBezTo>
                      <a:pt x="1089" y="133"/>
                      <a:pt x="1102" y="104"/>
                      <a:pt x="1102" y="104"/>
                    </a:cubicBezTo>
                    <a:cubicBezTo>
                      <a:pt x="1116" y="87"/>
                      <a:pt x="1249" y="51"/>
                      <a:pt x="1140" y="24"/>
                    </a:cubicBezTo>
                    <a:cubicBezTo>
                      <a:pt x="1094" y="24"/>
                      <a:pt x="1094" y="24"/>
                      <a:pt x="1094" y="24"/>
                    </a:cubicBezTo>
                    <a:cubicBezTo>
                      <a:pt x="1089" y="12"/>
                      <a:pt x="1079" y="0"/>
                      <a:pt x="1060" y="0"/>
                    </a:cubicBezTo>
                    <a:cubicBezTo>
                      <a:pt x="1038" y="0"/>
                      <a:pt x="1028" y="17"/>
                      <a:pt x="1016" y="27"/>
                    </a:cubicBezTo>
                    <a:cubicBezTo>
                      <a:pt x="1008" y="33"/>
                      <a:pt x="951" y="56"/>
                      <a:pt x="956" y="35"/>
                    </a:cubicBezTo>
                    <a:cubicBezTo>
                      <a:pt x="941" y="40"/>
                      <a:pt x="879" y="44"/>
                      <a:pt x="847" y="73"/>
                    </a:cubicBezTo>
                    <a:cubicBezTo>
                      <a:pt x="840" y="79"/>
                      <a:pt x="838" y="97"/>
                      <a:pt x="828" y="97"/>
                    </a:cubicBezTo>
                    <a:cubicBezTo>
                      <a:pt x="813" y="97"/>
                      <a:pt x="758" y="92"/>
                      <a:pt x="758" y="117"/>
                    </a:cubicBezTo>
                    <a:cubicBezTo>
                      <a:pt x="758" y="122"/>
                      <a:pt x="763" y="128"/>
                      <a:pt x="765" y="135"/>
                    </a:cubicBezTo>
                    <a:cubicBezTo>
                      <a:pt x="755" y="141"/>
                      <a:pt x="752" y="135"/>
                      <a:pt x="721" y="135"/>
                    </a:cubicBezTo>
                    <a:cubicBezTo>
                      <a:pt x="695" y="170"/>
                      <a:pt x="697" y="129"/>
                      <a:pt x="691" y="121"/>
                    </a:cubicBezTo>
                    <a:cubicBezTo>
                      <a:pt x="689" y="136"/>
                      <a:pt x="679" y="142"/>
                      <a:pt x="668" y="148"/>
                    </a:cubicBezTo>
                    <a:cubicBezTo>
                      <a:pt x="671" y="160"/>
                      <a:pt x="690" y="173"/>
                      <a:pt x="677" y="188"/>
                    </a:cubicBezTo>
                    <a:cubicBezTo>
                      <a:pt x="667" y="198"/>
                      <a:pt x="695" y="230"/>
                      <a:pt x="680" y="230"/>
                    </a:cubicBezTo>
                    <a:cubicBezTo>
                      <a:pt x="662" y="230"/>
                      <a:pt x="657" y="164"/>
                      <a:pt x="657" y="150"/>
                    </a:cubicBezTo>
                    <a:cubicBezTo>
                      <a:pt x="657" y="135"/>
                      <a:pt x="681" y="129"/>
                      <a:pt x="644" y="121"/>
                    </a:cubicBezTo>
                    <a:cubicBezTo>
                      <a:pt x="625" y="118"/>
                      <a:pt x="589" y="149"/>
                      <a:pt x="589" y="166"/>
                    </a:cubicBezTo>
                    <a:cubicBezTo>
                      <a:pt x="589" y="186"/>
                      <a:pt x="598" y="199"/>
                      <a:pt x="608" y="210"/>
                    </a:cubicBezTo>
                    <a:cubicBezTo>
                      <a:pt x="633" y="248"/>
                      <a:pt x="574" y="205"/>
                      <a:pt x="552" y="200"/>
                    </a:cubicBezTo>
                    <a:cubicBezTo>
                      <a:pt x="492" y="184"/>
                      <a:pt x="512" y="204"/>
                      <a:pt x="511" y="207"/>
                    </a:cubicBezTo>
                    <a:cubicBezTo>
                      <a:pt x="509" y="241"/>
                      <a:pt x="495" y="214"/>
                      <a:pt x="487" y="214"/>
                    </a:cubicBezTo>
                    <a:cubicBezTo>
                      <a:pt x="473" y="214"/>
                      <a:pt x="445" y="233"/>
                      <a:pt x="425" y="223"/>
                    </a:cubicBezTo>
                    <a:cubicBezTo>
                      <a:pt x="415" y="197"/>
                      <a:pt x="349" y="256"/>
                      <a:pt x="333" y="256"/>
                    </a:cubicBezTo>
                    <a:cubicBezTo>
                      <a:pt x="327" y="256"/>
                      <a:pt x="320" y="252"/>
                      <a:pt x="322" y="247"/>
                    </a:cubicBezTo>
                    <a:cubicBezTo>
                      <a:pt x="329" y="229"/>
                      <a:pt x="319" y="191"/>
                      <a:pt x="300" y="249"/>
                    </a:cubicBezTo>
                    <a:cubicBezTo>
                      <a:pt x="298" y="253"/>
                      <a:pt x="306" y="255"/>
                      <a:pt x="306" y="263"/>
                    </a:cubicBezTo>
                    <a:cubicBezTo>
                      <a:pt x="306" y="278"/>
                      <a:pt x="283" y="267"/>
                      <a:pt x="271" y="271"/>
                    </a:cubicBezTo>
                    <a:cubicBezTo>
                      <a:pt x="259" y="275"/>
                      <a:pt x="265" y="318"/>
                      <a:pt x="214" y="296"/>
                    </a:cubicBezTo>
                    <a:cubicBezTo>
                      <a:pt x="214" y="313"/>
                      <a:pt x="214" y="313"/>
                      <a:pt x="214" y="313"/>
                    </a:cubicBezTo>
                    <a:cubicBezTo>
                      <a:pt x="189" y="311"/>
                      <a:pt x="192" y="284"/>
                      <a:pt x="183" y="271"/>
                    </a:cubicBezTo>
                    <a:cubicBezTo>
                      <a:pt x="202" y="271"/>
                      <a:pt x="212" y="271"/>
                      <a:pt x="230" y="276"/>
                    </a:cubicBezTo>
                    <a:cubicBezTo>
                      <a:pt x="255" y="282"/>
                      <a:pt x="304" y="251"/>
                      <a:pt x="229" y="227"/>
                    </a:cubicBezTo>
                    <a:cubicBezTo>
                      <a:pt x="208" y="220"/>
                      <a:pt x="160" y="196"/>
                      <a:pt x="145" y="196"/>
                    </a:cubicBezTo>
                    <a:cubicBezTo>
                      <a:pt x="144" y="196"/>
                      <a:pt x="144" y="195"/>
                      <a:pt x="133" y="196"/>
                    </a:cubicBezTo>
                    <a:cubicBezTo>
                      <a:pt x="127" y="200"/>
                      <a:pt x="111" y="208"/>
                      <a:pt x="111" y="219"/>
                    </a:cubicBezTo>
                    <a:cubicBezTo>
                      <a:pt x="111" y="227"/>
                      <a:pt x="127" y="226"/>
                      <a:pt x="127" y="236"/>
                    </a:cubicBezTo>
                    <a:cubicBezTo>
                      <a:pt x="127" y="244"/>
                      <a:pt x="119" y="247"/>
                      <a:pt x="119" y="255"/>
                    </a:cubicBezTo>
                    <a:cubicBezTo>
                      <a:pt x="119" y="263"/>
                      <a:pt x="128" y="268"/>
                      <a:pt x="128" y="277"/>
                    </a:cubicBezTo>
                    <a:cubicBezTo>
                      <a:pt x="128" y="282"/>
                      <a:pt x="123" y="285"/>
                      <a:pt x="123" y="290"/>
                    </a:cubicBezTo>
                    <a:cubicBezTo>
                      <a:pt x="123" y="300"/>
                      <a:pt x="136" y="302"/>
                      <a:pt x="136" y="312"/>
                    </a:cubicBezTo>
                    <a:cubicBezTo>
                      <a:pt x="136" y="315"/>
                      <a:pt x="132" y="317"/>
                      <a:pt x="131" y="318"/>
                    </a:cubicBezTo>
                    <a:cubicBezTo>
                      <a:pt x="135" y="325"/>
                      <a:pt x="145" y="327"/>
                      <a:pt x="145" y="336"/>
                    </a:cubicBezTo>
                    <a:cubicBezTo>
                      <a:pt x="145" y="351"/>
                      <a:pt x="115" y="367"/>
                      <a:pt x="106" y="379"/>
                    </a:cubicBezTo>
                    <a:cubicBezTo>
                      <a:pt x="109" y="384"/>
                      <a:pt x="114" y="387"/>
                      <a:pt x="117" y="395"/>
                    </a:cubicBezTo>
                    <a:cubicBezTo>
                      <a:pt x="111" y="398"/>
                      <a:pt x="98" y="405"/>
                      <a:pt x="92" y="405"/>
                    </a:cubicBezTo>
                    <a:cubicBezTo>
                      <a:pt x="85" y="405"/>
                      <a:pt x="80" y="402"/>
                      <a:pt x="70" y="402"/>
                    </a:cubicBezTo>
                    <a:cubicBezTo>
                      <a:pt x="61" y="402"/>
                      <a:pt x="38" y="410"/>
                      <a:pt x="45" y="417"/>
                    </a:cubicBezTo>
                    <a:cubicBezTo>
                      <a:pt x="67" y="438"/>
                      <a:pt x="56" y="446"/>
                      <a:pt x="50" y="446"/>
                    </a:cubicBezTo>
                    <a:cubicBezTo>
                      <a:pt x="42" y="446"/>
                      <a:pt x="40" y="435"/>
                      <a:pt x="33" y="435"/>
                    </a:cubicBezTo>
                    <a:cubicBezTo>
                      <a:pt x="25" y="435"/>
                      <a:pt x="15" y="455"/>
                      <a:pt x="15" y="465"/>
                    </a:cubicBezTo>
                    <a:cubicBezTo>
                      <a:pt x="15" y="483"/>
                      <a:pt x="1" y="480"/>
                      <a:pt x="0" y="496"/>
                    </a:cubicBezTo>
                    <a:cubicBezTo>
                      <a:pt x="6" y="495"/>
                      <a:pt x="11" y="495"/>
                      <a:pt x="16" y="495"/>
                    </a:cubicBezTo>
                    <a:cubicBezTo>
                      <a:pt x="24" y="495"/>
                      <a:pt x="30" y="494"/>
                      <a:pt x="39" y="494"/>
                    </a:cubicBezTo>
                    <a:cubicBezTo>
                      <a:pt x="48" y="494"/>
                      <a:pt x="52" y="510"/>
                      <a:pt x="52" y="520"/>
                    </a:cubicBezTo>
                    <a:cubicBezTo>
                      <a:pt x="52" y="526"/>
                      <a:pt x="46" y="529"/>
                      <a:pt x="46" y="535"/>
                    </a:cubicBezTo>
                    <a:cubicBezTo>
                      <a:pt x="46" y="544"/>
                      <a:pt x="54" y="550"/>
                      <a:pt x="54" y="558"/>
                    </a:cubicBezTo>
                    <a:cubicBezTo>
                      <a:pt x="54" y="563"/>
                      <a:pt x="46" y="565"/>
                      <a:pt x="44" y="568"/>
                    </a:cubicBezTo>
                    <a:cubicBezTo>
                      <a:pt x="39" y="576"/>
                      <a:pt x="37" y="583"/>
                      <a:pt x="37" y="593"/>
                    </a:cubicBezTo>
                    <a:cubicBezTo>
                      <a:pt x="37" y="606"/>
                      <a:pt x="46" y="603"/>
                      <a:pt x="56" y="603"/>
                    </a:cubicBezTo>
                    <a:cubicBezTo>
                      <a:pt x="70" y="603"/>
                      <a:pt x="77" y="597"/>
                      <a:pt x="88" y="597"/>
                    </a:cubicBezTo>
                    <a:cubicBezTo>
                      <a:pt x="99" y="597"/>
                      <a:pt x="97" y="620"/>
                      <a:pt x="108" y="620"/>
                    </a:cubicBezTo>
                    <a:cubicBezTo>
                      <a:pt x="108" y="638"/>
                      <a:pt x="108" y="638"/>
                      <a:pt x="108" y="638"/>
                    </a:cubicBezTo>
                    <a:cubicBezTo>
                      <a:pt x="108" y="640"/>
                      <a:pt x="109" y="641"/>
                      <a:pt x="110" y="641"/>
                    </a:cubicBezTo>
                    <a:cubicBezTo>
                      <a:pt x="112" y="644"/>
                      <a:pt x="112" y="644"/>
                      <a:pt x="112" y="644"/>
                    </a:cubicBezTo>
                    <a:cubicBezTo>
                      <a:pt x="114" y="644"/>
                      <a:pt x="120" y="642"/>
                      <a:pt x="123" y="641"/>
                    </a:cubicBezTo>
                    <a:cubicBezTo>
                      <a:pt x="132" y="639"/>
                      <a:pt x="133" y="627"/>
                      <a:pt x="143" y="627"/>
                    </a:cubicBezTo>
                    <a:cubicBezTo>
                      <a:pt x="151" y="627"/>
                      <a:pt x="171" y="660"/>
                      <a:pt x="177" y="660"/>
                    </a:cubicBezTo>
                    <a:cubicBezTo>
                      <a:pt x="184" y="660"/>
                      <a:pt x="205" y="651"/>
                      <a:pt x="208" y="647"/>
                    </a:cubicBezTo>
                    <a:cubicBezTo>
                      <a:pt x="207" y="647"/>
                      <a:pt x="196" y="645"/>
                      <a:pt x="196" y="645"/>
                    </a:cubicBezTo>
                    <a:cubicBezTo>
                      <a:pt x="194" y="645"/>
                      <a:pt x="189" y="644"/>
                      <a:pt x="189" y="638"/>
                    </a:cubicBezTo>
                    <a:cubicBezTo>
                      <a:pt x="189" y="635"/>
                      <a:pt x="221" y="623"/>
                      <a:pt x="233" y="619"/>
                    </a:cubicBezTo>
                    <a:cubicBezTo>
                      <a:pt x="233" y="619"/>
                      <a:pt x="227" y="625"/>
                      <a:pt x="225" y="626"/>
                    </a:cubicBezTo>
                    <a:cubicBezTo>
                      <a:pt x="226" y="629"/>
                      <a:pt x="237" y="641"/>
                      <a:pt x="211" y="647"/>
                    </a:cubicBezTo>
                    <a:cubicBezTo>
                      <a:pt x="223" y="673"/>
                      <a:pt x="273" y="669"/>
                      <a:pt x="273" y="704"/>
                    </a:cubicBezTo>
                    <a:cubicBezTo>
                      <a:pt x="275" y="703"/>
                      <a:pt x="275" y="703"/>
                      <a:pt x="275" y="703"/>
                    </a:cubicBezTo>
                    <a:cubicBezTo>
                      <a:pt x="278" y="702"/>
                      <a:pt x="280" y="701"/>
                      <a:pt x="284" y="701"/>
                    </a:cubicBezTo>
                    <a:cubicBezTo>
                      <a:pt x="298" y="701"/>
                      <a:pt x="297" y="710"/>
                      <a:pt x="302" y="719"/>
                    </a:cubicBezTo>
                    <a:cubicBezTo>
                      <a:pt x="303" y="721"/>
                      <a:pt x="312" y="726"/>
                      <a:pt x="312" y="726"/>
                    </a:cubicBezTo>
                    <a:cubicBezTo>
                      <a:pt x="320" y="729"/>
                      <a:pt x="322" y="742"/>
                      <a:pt x="335" y="742"/>
                    </a:cubicBezTo>
                    <a:cubicBezTo>
                      <a:pt x="344" y="742"/>
                      <a:pt x="344" y="734"/>
                      <a:pt x="350" y="732"/>
                    </a:cubicBezTo>
                    <a:cubicBezTo>
                      <a:pt x="354" y="731"/>
                      <a:pt x="353" y="731"/>
                      <a:pt x="357" y="731"/>
                    </a:cubicBezTo>
                    <a:cubicBezTo>
                      <a:pt x="358" y="733"/>
                      <a:pt x="358" y="737"/>
                      <a:pt x="360" y="739"/>
                    </a:cubicBezTo>
                    <a:cubicBezTo>
                      <a:pt x="359" y="739"/>
                      <a:pt x="360" y="740"/>
                      <a:pt x="360" y="741"/>
                    </a:cubicBezTo>
                    <a:cubicBezTo>
                      <a:pt x="366" y="742"/>
                      <a:pt x="366" y="742"/>
                      <a:pt x="366" y="742"/>
                    </a:cubicBezTo>
                    <a:cubicBezTo>
                      <a:pt x="371" y="735"/>
                      <a:pt x="371" y="724"/>
                      <a:pt x="378" y="721"/>
                    </a:cubicBezTo>
                    <a:cubicBezTo>
                      <a:pt x="366" y="714"/>
                      <a:pt x="348" y="688"/>
                      <a:pt x="348" y="673"/>
                    </a:cubicBezTo>
                    <a:cubicBezTo>
                      <a:pt x="348" y="668"/>
                      <a:pt x="338" y="662"/>
                      <a:pt x="338" y="655"/>
                    </a:cubicBezTo>
                    <a:cubicBezTo>
                      <a:pt x="338" y="653"/>
                      <a:pt x="347" y="637"/>
                      <a:pt x="349" y="634"/>
                    </a:cubicBezTo>
                    <a:cubicBezTo>
                      <a:pt x="351" y="635"/>
                      <a:pt x="365" y="628"/>
                      <a:pt x="366" y="627"/>
                    </a:cubicBezTo>
                    <a:cubicBezTo>
                      <a:pt x="377" y="623"/>
                      <a:pt x="384" y="620"/>
                      <a:pt x="399" y="620"/>
                    </a:cubicBezTo>
                    <a:cubicBezTo>
                      <a:pt x="423" y="620"/>
                      <a:pt x="427" y="631"/>
                      <a:pt x="436" y="645"/>
                    </a:cubicBezTo>
                    <a:cubicBezTo>
                      <a:pt x="429" y="650"/>
                      <a:pt x="420" y="645"/>
                      <a:pt x="412" y="645"/>
                    </a:cubicBezTo>
                    <a:cubicBezTo>
                      <a:pt x="400" y="645"/>
                      <a:pt x="383" y="656"/>
                      <a:pt x="381" y="656"/>
                    </a:cubicBezTo>
                    <a:cubicBezTo>
                      <a:pt x="382" y="665"/>
                      <a:pt x="389" y="664"/>
                      <a:pt x="391" y="669"/>
                    </a:cubicBezTo>
                    <a:cubicBezTo>
                      <a:pt x="400" y="684"/>
                      <a:pt x="412" y="690"/>
                      <a:pt x="412" y="707"/>
                    </a:cubicBezTo>
                    <a:cubicBezTo>
                      <a:pt x="415" y="705"/>
                      <a:pt x="424" y="701"/>
                      <a:pt x="427" y="700"/>
                    </a:cubicBezTo>
                    <a:cubicBezTo>
                      <a:pt x="427" y="707"/>
                      <a:pt x="434" y="710"/>
                      <a:pt x="434" y="717"/>
                    </a:cubicBezTo>
                    <a:cubicBezTo>
                      <a:pt x="421" y="717"/>
                      <a:pt x="421" y="717"/>
                      <a:pt x="421" y="717"/>
                    </a:cubicBezTo>
                    <a:cubicBezTo>
                      <a:pt x="417" y="717"/>
                      <a:pt x="413" y="721"/>
                      <a:pt x="412" y="728"/>
                    </a:cubicBezTo>
                    <a:cubicBezTo>
                      <a:pt x="421" y="729"/>
                      <a:pt x="428" y="738"/>
                      <a:pt x="428" y="746"/>
                    </a:cubicBezTo>
                    <a:cubicBezTo>
                      <a:pt x="428" y="751"/>
                      <a:pt x="424" y="753"/>
                      <a:pt x="424" y="757"/>
                    </a:cubicBezTo>
                    <a:cubicBezTo>
                      <a:pt x="424" y="761"/>
                      <a:pt x="428" y="765"/>
                      <a:pt x="429" y="766"/>
                    </a:cubicBezTo>
                    <a:cubicBezTo>
                      <a:pt x="429" y="762"/>
                      <a:pt x="434" y="762"/>
                      <a:pt x="438" y="761"/>
                    </a:cubicBezTo>
                    <a:cubicBezTo>
                      <a:pt x="443" y="759"/>
                      <a:pt x="442" y="757"/>
                      <a:pt x="447" y="755"/>
                    </a:cubicBezTo>
                    <a:cubicBezTo>
                      <a:pt x="455" y="752"/>
                      <a:pt x="460" y="754"/>
                      <a:pt x="466" y="749"/>
                    </a:cubicBezTo>
                    <a:cubicBezTo>
                      <a:pt x="476" y="755"/>
                      <a:pt x="482" y="755"/>
                      <a:pt x="491" y="758"/>
                    </a:cubicBezTo>
                    <a:cubicBezTo>
                      <a:pt x="502" y="762"/>
                      <a:pt x="505" y="772"/>
                      <a:pt x="518" y="772"/>
                    </a:cubicBezTo>
                    <a:cubicBezTo>
                      <a:pt x="518" y="774"/>
                      <a:pt x="521" y="775"/>
                      <a:pt x="522" y="777"/>
                    </a:cubicBezTo>
                    <a:cubicBezTo>
                      <a:pt x="523" y="781"/>
                      <a:pt x="522" y="787"/>
                      <a:pt x="524" y="793"/>
                    </a:cubicBezTo>
                    <a:cubicBezTo>
                      <a:pt x="529" y="787"/>
                      <a:pt x="533" y="795"/>
                      <a:pt x="537" y="795"/>
                    </a:cubicBezTo>
                    <a:cubicBezTo>
                      <a:pt x="542" y="795"/>
                      <a:pt x="544" y="791"/>
                      <a:pt x="547" y="788"/>
                    </a:cubicBezTo>
                    <a:cubicBezTo>
                      <a:pt x="551" y="784"/>
                      <a:pt x="556" y="784"/>
                      <a:pt x="559" y="781"/>
                    </a:cubicBezTo>
                    <a:cubicBezTo>
                      <a:pt x="567" y="773"/>
                      <a:pt x="568" y="762"/>
                      <a:pt x="579" y="762"/>
                    </a:cubicBezTo>
                    <a:cubicBezTo>
                      <a:pt x="583" y="762"/>
                      <a:pt x="582" y="764"/>
                      <a:pt x="586" y="764"/>
                    </a:cubicBezTo>
                    <a:cubicBezTo>
                      <a:pt x="587" y="769"/>
                      <a:pt x="597" y="765"/>
                      <a:pt x="600" y="765"/>
                    </a:cubicBezTo>
                    <a:cubicBezTo>
                      <a:pt x="604" y="765"/>
                      <a:pt x="605" y="770"/>
                      <a:pt x="608" y="770"/>
                    </a:cubicBezTo>
                    <a:cubicBezTo>
                      <a:pt x="617" y="770"/>
                      <a:pt x="624" y="765"/>
                      <a:pt x="627" y="759"/>
                    </a:cubicBezTo>
                    <a:cubicBezTo>
                      <a:pt x="628" y="760"/>
                      <a:pt x="629" y="759"/>
                      <a:pt x="630" y="759"/>
                    </a:cubicBezTo>
                    <a:cubicBezTo>
                      <a:pt x="634" y="759"/>
                      <a:pt x="636" y="749"/>
                      <a:pt x="645" y="749"/>
                    </a:cubicBezTo>
                    <a:cubicBezTo>
                      <a:pt x="654" y="749"/>
                      <a:pt x="644" y="772"/>
                      <a:pt x="654" y="772"/>
                    </a:cubicBezTo>
                    <a:cubicBezTo>
                      <a:pt x="664" y="772"/>
                      <a:pt x="668" y="764"/>
                      <a:pt x="677" y="764"/>
                    </a:cubicBezTo>
                    <a:cubicBezTo>
                      <a:pt x="682" y="764"/>
                      <a:pt x="686" y="764"/>
                      <a:pt x="692" y="765"/>
                    </a:cubicBezTo>
                    <a:cubicBezTo>
                      <a:pt x="692" y="763"/>
                      <a:pt x="692" y="763"/>
                      <a:pt x="692" y="763"/>
                    </a:cubicBezTo>
                    <a:cubicBezTo>
                      <a:pt x="690" y="753"/>
                      <a:pt x="688" y="750"/>
                      <a:pt x="677" y="748"/>
                    </a:cubicBezTo>
                    <a:cubicBezTo>
                      <a:pt x="678" y="739"/>
                      <a:pt x="687" y="719"/>
                      <a:pt x="694" y="719"/>
                    </a:cubicBezTo>
                    <a:cubicBezTo>
                      <a:pt x="735" y="719"/>
                      <a:pt x="763" y="698"/>
                      <a:pt x="763" y="649"/>
                    </a:cubicBezTo>
                    <a:cubicBezTo>
                      <a:pt x="785" y="645"/>
                      <a:pt x="787" y="618"/>
                      <a:pt x="800" y="620"/>
                    </a:cubicBezTo>
                    <a:cubicBezTo>
                      <a:pt x="836" y="624"/>
                      <a:pt x="822" y="600"/>
                      <a:pt x="829" y="593"/>
                    </a:cubicBezTo>
                    <a:cubicBezTo>
                      <a:pt x="847" y="578"/>
                      <a:pt x="873" y="578"/>
                      <a:pt x="895" y="565"/>
                    </a:cubicBezTo>
                    <a:cubicBezTo>
                      <a:pt x="898" y="563"/>
                      <a:pt x="906" y="554"/>
                      <a:pt x="913" y="554"/>
                    </a:cubicBezTo>
                    <a:cubicBezTo>
                      <a:pt x="924" y="554"/>
                      <a:pt x="943" y="567"/>
                      <a:pt x="961" y="567"/>
                    </a:cubicBezTo>
                    <a:cubicBezTo>
                      <a:pt x="986" y="567"/>
                      <a:pt x="981" y="534"/>
                      <a:pt x="994" y="534"/>
                    </a:cubicBezTo>
                    <a:cubicBezTo>
                      <a:pt x="1002" y="534"/>
                      <a:pt x="1029" y="538"/>
                      <a:pt x="1032" y="545"/>
                    </a:cubicBezTo>
                    <a:cubicBezTo>
                      <a:pt x="1042" y="573"/>
                      <a:pt x="1060" y="558"/>
                      <a:pt x="1072" y="558"/>
                    </a:cubicBezTo>
                    <a:cubicBezTo>
                      <a:pt x="1099" y="558"/>
                      <a:pt x="1107" y="580"/>
                      <a:pt x="1135" y="580"/>
                    </a:cubicBezTo>
                    <a:cubicBezTo>
                      <a:pt x="1160" y="580"/>
                      <a:pt x="1192" y="557"/>
                      <a:pt x="1224" y="569"/>
                    </a:cubicBezTo>
                    <a:cubicBezTo>
                      <a:pt x="1266" y="586"/>
                      <a:pt x="1245" y="512"/>
                      <a:pt x="1301" y="512"/>
                    </a:cubicBezTo>
                    <a:cubicBezTo>
                      <a:pt x="1340" y="512"/>
                      <a:pt x="1339" y="543"/>
                      <a:pt x="1354" y="567"/>
                    </a:cubicBezTo>
                    <a:cubicBezTo>
                      <a:pt x="1360" y="576"/>
                      <a:pt x="1379" y="577"/>
                      <a:pt x="1387" y="585"/>
                    </a:cubicBezTo>
                    <a:cubicBezTo>
                      <a:pt x="1393" y="590"/>
                      <a:pt x="1398" y="607"/>
                      <a:pt x="1411" y="607"/>
                    </a:cubicBezTo>
                    <a:cubicBezTo>
                      <a:pt x="1426" y="607"/>
                      <a:pt x="1428" y="593"/>
                      <a:pt x="1446" y="593"/>
                    </a:cubicBezTo>
                    <a:cubicBezTo>
                      <a:pt x="1446" y="604"/>
                      <a:pt x="1446" y="604"/>
                      <a:pt x="1446" y="604"/>
                    </a:cubicBezTo>
                    <a:cubicBezTo>
                      <a:pt x="1437" y="614"/>
                      <a:pt x="1433" y="638"/>
                      <a:pt x="1422" y="644"/>
                    </a:cubicBezTo>
                    <a:cubicBezTo>
                      <a:pt x="1412" y="650"/>
                      <a:pt x="1394" y="651"/>
                      <a:pt x="1400" y="655"/>
                    </a:cubicBezTo>
                    <a:cubicBezTo>
                      <a:pt x="1415" y="665"/>
                      <a:pt x="1398" y="684"/>
                      <a:pt x="1398" y="6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1" name="Freeform 147"/>
              <p:cNvSpPr>
                <a:spLocks/>
              </p:cNvSpPr>
              <p:nvPr/>
            </p:nvSpPr>
            <p:spPr bwMode="auto">
              <a:xfrm>
                <a:off x="5614988" y="1879600"/>
                <a:ext cx="1023938" cy="646113"/>
              </a:xfrm>
              <a:custGeom>
                <a:avLst/>
                <a:gdLst/>
                <a:ahLst/>
                <a:cxnLst>
                  <a:cxn ang="0">
                    <a:pos x="585" y="307"/>
                  </a:cxn>
                  <a:cxn ang="0">
                    <a:pos x="573" y="287"/>
                  </a:cxn>
                  <a:cxn ang="0">
                    <a:pos x="614" y="256"/>
                  </a:cxn>
                  <a:cxn ang="0">
                    <a:pos x="588" y="246"/>
                  </a:cxn>
                  <a:cxn ang="0">
                    <a:pos x="570" y="255"/>
                  </a:cxn>
                  <a:cxn ang="0">
                    <a:pos x="552" y="236"/>
                  </a:cxn>
                  <a:cxn ang="0">
                    <a:pos x="590" y="209"/>
                  </a:cxn>
                  <a:cxn ang="0">
                    <a:pos x="606" y="212"/>
                  </a:cxn>
                  <a:cxn ang="0">
                    <a:pos x="634" y="216"/>
                  </a:cxn>
                  <a:cxn ang="0">
                    <a:pos x="648" y="231"/>
                  </a:cxn>
                  <a:cxn ang="0">
                    <a:pos x="648" y="248"/>
                  </a:cxn>
                  <a:cxn ang="0">
                    <a:pos x="666" y="254"/>
                  </a:cxn>
                  <a:cxn ang="0">
                    <a:pos x="659" y="264"/>
                  </a:cxn>
                  <a:cxn ang="0">
                    <a:pos x="665" y="275"/>
                  </a:cxn>
                  <a:cxn ang="0">
                    <a:pos x="664" y="290"/>
                  </a:cxn>
                  <a:cxn ang="0">
                    <a:pos x="668" y="295"/>
                  </a:cxn>
                  <a:cxn ang="0">
                    <a:pos x="690" y="286"/>
                  </a:cxn>
                  <a:cxn ang="0">
                    <a:pos x="683" y="232"/>
                  </a:cxn>
                  <a:cxn ang="0">
                    <a:pos x="688" y="210"/>
                  </a:cxn>
                  <a:cxn ang="0">
                    <a:pos x="721" y="172"/>
                  </a:cxn>
                  <a:cxn ang="0">
                    <a:pos x="745" y="132"/>
                  </a:cxn>
                  <a:cxn ang="0">
                    <a:pos x="769" y="81"/>
                  </a:cxn>
                  <a:cxn ang="0">
                    <a:pos x="710" y="73"/>
                  </a:cxn>
                  <a:cxn ang="0">
                    <a:pos x="624" y="0"/>
                  </a:cxn>
                  <a:cxn ang="0">
                    <a:pos x="458" y="68"/>
                  </a:cxn>
                  <a:cxn ang="0">
                    <a:pos x="355" y="33"/>
                  </a:cxn>
                  <a:cxn ang="0">
                    <a:pos x="284" y="55"/>
                  </a:cxn>
                  <a:cxn ang="0">
                    <a:pos x="218" y="53"/>
                  </a:cxn>
                  <a:cxn ang="0">
                    <a:pos x="123" y="108"/>
                  </a:cxn>
                  <a:cxn ang="0">
                    <a:pos x="17" y="207"/>
                  </a:cxn>
                  <a:cxn ang="0">
                    <a:pos x="15" y="251"/>
                  </a:cxn>
                  <a:cxn ang="0">
                    <a:pos x="25" y="261"/>
                  </a:cxn>
                  <a:cxn ang="0">
                    <a:pos x="50" y="280"/>
                  </a:cxn>
                  <a:cxn ang="0">
                    <a:pos x="83" y="284"/>
                  </a:cxn>
                  <a:cxn ang="0">
                    <a:pos x="73" y="317"/>
                  </a:cxn>
                  <a:cxn ang="0">
                    <a:pos x="63" y="326"/>
                  </a:cxn>
                  <a:cxn ang="0">
                    <a:pos x="73" y="343"/>
                  </a:cxn>
                  <a:cxn ang="0">
                    <a:pos x="110" y="357"/>
                  </a:cxn>
                  <a:cxn ang="0">
                    <a:pos x="132" y="373"/>
                  </a:cxn>
                  <a:cxn ang="0">
                    <a:pos x="160" y="384"/>
                  </a:cxn>
                  <a:cxn ang="0">
                    <a:pos x="186" y="382"/>
                  </a:cxn>
                  <a:cxn ang="0">
                    <a:pos x="210" y="381"/>
                  </a:cxn>
                  <a:cxn ang="0">
                    <a:pos x="255" y="372"/>
                  </a:cxn>
                  <a:cxn ang="0">
                    <a:pos x="275" y="366"/>
                  </a:cxn>
                  <a:cxn ang="0">
                    <a:pos x="282" y="362"/>
                  </a:cxn>
                  <a:cxn ang="0">
                    <a:pos x="316" y="400"/>
                  </a:cxn>
                  <a:cxn ang="0">
                    <a:pos x="306" y="439"/>
                  </a:cxn>
                  <a:cxn ang="0">
                    <a:pos x="324" y="450"/>
                  </a:cxn>
                  <a:cxn ang="0">
                    <a:pos x="346" y="467"/>
                  </a:cxn>
                  <a:cxn ang="0">
                    <a:pos x="351" y="472"/>
                  </a:cxn>
                  <a:cxn ang="0">
                    <a:pos x="353" y="457"/>
                  </a:cxn>
                  <a:cxn ang="0">
                    <a:pos x="379" y="454"/>
                  </a:cxn>
                  <a:cxn ang="0">
                    <a:pos x="416" y="453"/>
                  </a:cxn>
                  <a:cxn ang="0">
                    <a:pos x="431" y="470"/>
                  </a:cxn>
                  <a:cxn ang="0">
                    <a:pos x="454" y="486"/>
                  </a:cxn>
                  <a:cxn ang="0">
                    <a:pos x="476" y="470"/>
                  </a:cxn>
                  <a:cxn ang="0">
                    <a:pos x="503" y="455"/>
                  </a:cxn>
                  <a:cxn ang="0">
                    <a:pos x="552" y="439"/>
                  </a:cxn>
                  <a:cxn ang="0">
                    <a:pos x="576" y="406"/>
                  </a:cxn>
                  <a:cxn ang="0">
                    <a:pos x="604" y="355"/>
                  </a:cxn>
                  <a:cxn ang="0">
                    <a:pos x="586" y="307"/>
                  </a:cxn>
                </a:cxnLst>
                <a:rect l="0" t="0" r="r" b="b"/>
                <a:pathLst>
                  <a:path w="769" h="486">
                    <a:moveTo>
                      <a:pt x="586" y="307"/>
                    </a:moveTo>
                    <a:cubicBezTo>
                      <a:pt x="585" y="307"/>
                      <a:pt x="585" y="307"/>
                      <a:pt x="585" y="307"/>
                    </a:cubicBezTo>
                    <a:cubicBezTo>
                      <a:pt x="585" y="307"/>
                      <a:pt x="585" y="300"/>
                      <a:pt x="585" y="298"/>
                    </a:cubicBezTo>
                    <a:cubicBezTo>
                      <a:pt x="582" y="298"/>
                      <a:pt x="573" y="294"/>
                      <a:pt x="573" y="287"/>
                    </a:cubicBezTo>
                    <a:cubicBezTo>
                      <a:pt x="573" y="282"/>
                      <a:pt x="581" y="282"/>
                      <a:pt x="582" y="276"/>
                    </a:cubicBezTo>
                    <a:cubicBezTo>
                      <a:pt x="586" y="264"/>
                      <a:pt x="605" y="264"/>
                      <a:pt x="614" y="256"/>
                    </a:cubicBezTo>
                    <a:cubicBezTo>
                      <a:pt x="611" y="251"/>
                      <a:pt x="604" y="256"/>
                      <a:pt x="598" y="252"/>
                    </a:cubicBezTo>
                    <a:cubicBezTo>
                      <a:pt x="595" y="250"/>
                      <a:pt x="593" y="246"/>
                      <a:pt x="588" y="246"/>
                    </a:cubicBezTo>
                    <a:cubicBezTo>
                      <a:pt x="585" y="246"/>
                      <a:pt x="585" y="256"/>
                      <a:pt x="582" y="256"/>
                    </a:cubicBezTo>
                    <a:cubicBezTo>
                      <a:pt x="578" y="256"/>
                      <a:pt x="574" y="257"/>
                      <a:pt x="570" y="255"/>
                    </a:cubicBezTo>
                    <a:cubicBezTo>
                      <a:pt x="565" y="252"/>
                      <a:pt x="567" y="247"/>
                      <a:pt x="562" y="243"/>
                    </a:cubicBezTo>
                    <a:cubicBezTo>
                      <a:pt x="560" y="242"/>
                      <a:pt x="552" y="240"/>
                      <a:pt x="552" y="236"/>
                    </a:cubicBezTo>
                    <a:cubicBezTo>
                      <a:pt x="552" y="227"/>
                      <a:pt x="565" y="230"/>
                      <a:pt x="571" y="225"/>
                    </a:cubicBezTo>
                    <a:cubicBezTo>
                      <a:pt x="577" y="221"/>
                      <a:pt x="587" y="215"/>
                      <a:pt x="590" y="209"/>
                    </a:cubicBezTo>
                    <a:cubicBezTo>
                      <a:pt x="591" y="208"/>
                      <a:pt x="593" y="203"/>
                      <a:pt x="597" y="203"/>
                    </a:cubicBezTo>
                    <a:cubicBezTo>
                      <a:pt x="601" y="203"/>
                      <a:pt x="606" y="209"/>
                      <a:pt x="606" y="212"/>
                    </a:cubicBezTo>
                    <a:cubicBezTo>
                      <a:pt x="606" y="219"/>
                      <a:pt x="597" y="222"/>
                      <a:pt x="597" y="230"/>
                    </a:cubicBezTo>
                    <a:cubicBezTo>
                      <a:pt x="610" y="230"/>
                      <a:pt x="620" y="216"/>
                      <a:pt x="634" y="216"/>
                    </a:cubicBezTo>
                    <a:cubicBezTo>
                      <a:pt x="639" y="216"/>
                      <a:pt x="641" y="221"/>
                      <a:pt x="648" y="221"/>
                    </a:cubicBezTo>
                    <a:cubicBezTo>
                      <a:pt x="646" y="226"/>
                      <a:pt x="648" y="226"/>
                      <a:pt x="648" y="231"/>
                    </a:cubicBezTo>
                    <a:cubicBezTo>
                      <a:pt x="648" y="235"/>
                      <a:pt x="643" y="235"/>
                      <a:pt x="643" y="240"/>
                    </a:cubicBezTo>
                    <a:cubicBezTo>
                      <a:pt x="643" y="242"/>
                      <a:pt x="645" y="248"/>
                      <a:pt x="648" y="248"/>
                    </a:cubicBezTo>
                    <a:cubicBezTo>
                      <a:pt x="649" y="248"/>
                      <a:pt x="651" y="245"/>
                      <a:pt x="654" y="245"/>
                    </a:cubicBezTo>
                    <a:cubicBezTo>
                      <a:pt x="659" y="245"/>
                      <a:pt x="666" y="249"/>
                      <a:pt x="666" y="254"/>
                    </a:cubicBezTo>
                    <a:cubicBezTo>
                      <a:pt x="666" y="257"/>
                      <a:pt x="662" y="260"/>
                      <a:pt x="659" y="260"/>
                    </a:cubicBezTo>
                    <a:cubicBezTo>
                      <a:pt x="659" y="264"/>
                      <a:pt x="659" y="264"/>
                      <a:pt x="659" y="264"/>
                    </a:cubicBezTo>
                    <a:cubicBezTo>
                      <a:pt x="660" y="265"/>
                      <a:pt x="660" y="267"/>
                      <a:pt x="663" y="268"/>
                    </a:cubicBezTo>
                    <a:cubicBezTo>
                      <a:pt x="663" y="270"/>
                      <a:pt x="665" y="272"/>
                      <a:pt x="665" y="275"/>
                    </a:cubicBezTo>
                    <a:cubicBezTo>
                      <a:pt x="665" y="276"/>
                      <a:pt x="661" y="282"/>
                      <a:pt x="661" y="285"/>
                    </a:cubicBezTo>
                    <a:cubicBezTo>
                      <a:pt x="661" y="287"/>
                      <a:pt x="661" y="289"/>
                      <a:pt x="664" y="290"/>
                    </a:cubicBezTo>
                    <a:cubicBezTo>
                      <a:pt x="663" y="292"/>
                      <a:pt x="661" y="293"/>
                      <a:pt x="661" y="295"/>
                    </a:cubicBezTo>
                    <a:cubicBezTo>
                      <a:pt x="668" y="295"/>
                      <a:pt x="668" y="295"/>
                      <a:pt x="668" y="295"/>
                    </a:cubicBezTo>
                    <a:cubicBezTo>
                      <a:pt x="670" y="293"/>
                      <a:pt x="671" y="293"/>
                      <a:pt x="676" y="291"/>
                    </a:cubicBezTo>
                    <a:cubicBezTo>
                      <a:pt x="676" y="287"/>
                      <a:pt x="687" y="287"/>
                      <a:pt x="690" y="286"/>
                    </a:cubicBezTo>
                    <a:cubicBezTo>
                      <a:pt x="696" y="284"/>
                      <a:pt x="699" y="279"/>
                      <a:pt x="699" y="269"/>
                    </a:cubicBezTo>
                    <a:cubicBezTo>
                      <a:pt x="699" y="252"/>
                      <a:pt x="692" y="242"/>
                      <a:pt x="683" y="232"/>
                    </a:cubicBezTo>
                    <a:cubicBezTo>
                      <a:pt x="679" y="228"/>
                      <a:pt x="674" y="224"/>
                      <a:pt x="675" y="217"/>
                    </a:cubicBezTo>
                    <a:cubicBezTo>
                      <a:pt x="680" y="217"/>
                      <a:pt x="685" y="214"/>
                      <a:pt x="688" y="210"/>
                    </a:cubicBezTo>
                    <a:cubicBezTo>
                      <a:pt x="691" y="207"/>
                      <a:pt x="699" y="203"/>
                      <a:pt x="701" y="199"/>
                    </a:cubicBezTo>
                    <a:cubicBezTo>
                      <a:pt x="707" y="187"/>
                      <a:pt x="710" y="180"/>
                      <a:pt x="721" y="172"/>
                    </a:cubicBezTo>
                    <a:cubicBezTo>
                      <a:pt x="721" y="172"/>
                      <a:pt x="738" y="153"/>
                      <a:pt x="723" y="143"/>
                    </a:cubicBezTo>
                    <a:cubicBezTo>
                      <a:pt x="717" y="139"/>
                      <a:pt x="735" y="138"/>
                      <a:pt x="745" y="132"/>
                    </a:cubicBezTo>
                    <a:cubicBezTo>
                      <a:pt x="756" y="126"/>
                      <a:pt x="760" y="102"/>
                      <a:pt x="769" y="92"/>
                    </a:cubicBezTo>
                    <a:cubicBezTo>
                      <a:pt x="769" y="81"/>
                      <a:pt x="769" y="81"/>
                      <a:pt x="769" y="81"/>
                    </a:cubicBezTo>
                    <a:cubicBezTo>
                      <a:pt x="751" y="81"/>
                      <a:pt x="749" y="95"/>
                      <a:pt x="734" y="95"/>
                    </a:cubicBezTo>
                    <a:cubicBezTo>
                      <a:pt x="721" y="95"/>
                      <a:pt x="716" y="78"/>
                      <a:pt x="710" y="73"/>
                    </a:cubicBezTo>
                    <a:cubicBezTo>
                      <a:pt x="702" y="65"/>
                      <a:pt x="683" y="64"/>
                      <a:pt x="677" y="55"/>
                    </a:cubicBezTo>
                    <a:cubicBezTo>
                      <a:pt x="662" y="31"/>
                      <a:pt x="663" y="0"/>
                      <a:pt x="624" y="0"/>
                    </a:cubicBezTo>
                    <a:cubicBezTo>
                      <a:pt x="568" y="0"/>
                      <a:pt x="589" y="74"/>
                      <a:pt x="547" y="57"/>
                    </a:cubicBezTo>
                    <a:cubicBezTo>
                      <a:pt x="515" y="45"/>
                      <a:pt x="483" y="68"/>
                      <a:pt x="458" y="68"/>
                    </a:cubicBezTo>
                    <a:cubicBezTo>
                      <a:pt x="430" y="68"/>
                      <a:pt x="422" y="46"/>
                      <a:pt x="395" y="46"/>
                    </a:cubicBezTo>
                    <a:cubicBezTo>
                      <a:pt x="383" y="46"/>
                      <a:pt x="365" y="61"/>
                      <a:pt x="355" y="33"/>
                    </a:cubicBezTo>
                    <a:cubicBezTo>
                      <a:pt x="352" y="26"/>
                      <a:pt x="325" y="22"/>
                      <a:pt x="317" y="22"/>
                    </a:cubicBezTo>
                    <a:cubicBezTo>
                      <a:pt x="304" y="22"/>
                      <a:pt x="309" y="55"/>
                      <a:pt x="284" y="55"/>
                    </a:cubicBezTo>
                    <a:cubicBezTo>
                      <a:pt x="266" y="55"/>
                      <a:pt x="247" y="42"/>
                      <a:pt x="236" y="42"/>
                    </a:cubicBezTo>
                    <a:cubicBezTo>
                      <a:pt x="229" y="42"/>
                      <a:pt x="221" y="51"/>
                      <a:pt x="218" y="53"/>
                    </a:cubicBezTo>
                    <a:cubicBezTo>
                      <a:pt x="196" y="66"/>
                      <a:pt x="170" y="66"/>
                      <a:pt x="152" y="81"/>
                    </a:cubicBezTo>
                    <a:cubicBezTo>
                      <a:pt x="145" y="88"/>
                      <a:pt x="159" y="112"/>
                      <a:pt x="123" y="108"/>
                    </a:cubicBezTo>
                    <a:cubicBezTo>
                      <a:pt x="110" y="106"/>
                      <a:pt x="108" y="133"/>
                      <a:pt x="86" y="137"/>
                    </a:cubicBezTo>
                    <a:cubicBezTo>
                      <a:pt x="86" y="186"/>
                      <a:pt x="58" y="207"/>
                      <a:pt x="17" y="207"/>
                    </a:cubicBezTo>
                    <a:cubicBezTo>
                      <a:pt x="10" y="207"/>
                      <a:pt x="1" y="227"/>
                      <a:pt x="0" y="236"/>
                    </a:cubicBezTo>
                    <a:cubicBezTo>
                      <a:pt x="11" y="238"/>
                      <a:pt x="13" y="241"/>
                      <a:pt x="15" y="251"/>
                    </a:cubicBezTo>
                    <a:cubicBezTo>
                      <a:pt x="15" y="253"/>
                      <a:pt x="15" y="253"/>
                      <a:pt x="15" y="253"/>
                    </a:cubicBezTo>
                    <a:cubicBezTo>
                      <a:pt x="15" y="261"/>
                      <a:pt x="19" y="259"/>
                      <a:pt x="25" y="261"/>
                    </a:cubicBezTo>
                    <a:cubicBezTo>
                      <a:pt x="30" y="262"/>
                      <a:pt x="28" y="268"/>
                      <a:pt x="31" y="271"/>
                    </a:cubicBezTo>
                    <a:cubicBezTo>
                      <a:pt x="37" y="277"/>
                      <a:pt x="42" y="277"/>
                      <a:pt x="50" y="280"/>
                    </a:cubicBezTo>
                    <a:cubicBezTo>
                      <a:pt x="58" y="279"/>
                      <a:pt x="61" y="272"/>
                      <a:pt x="69" y="272"/>
                    </a:cubicBezTo>
                    <a:cubicBezTo>
                      <a:pt x="73" y="272"/>
                      <a:pt x="83" y="280"/>
                      <a:pt x="83" y="284"/>
                    </a:cubicBezTo>
                    <a:cubicBezTo>
                      <a:pt x="83" y="296"/>
                      <a:pt x="66" y="294"/>
                      <a:pt x="66" y="306"/>
                    </a:cubicBezTo>
                    <a:cubicBezTo>
                      <a:pt x="66" y="311"/>
                      <a:pt x="73" y="312"/>
                      <a:pt x="73" y="317"/>
                    </a:cubicBezTo>
                    <a:cubicBezTo>
                      <a:pt x="73" y="323"/>
                      <a:pt x="68" y="322"/>
                      <a:pt x="63" y="322"/>
                    </a:cubicBezTo>
                    <a:cubicBezTo>
                      <a:pt x="63" y="326"/>
                      <a:pt x="63" y="326"/>
                      <a:pt x="63" y="326"/>
                    </a:cubicBezTo>
                    <a:cubicBezTo>
                      <a:pt x="64" y="331"/>
                      <a:pt x="64" y="335"/>
                      <a:pt x="65" y="340"/>
                    </a:cubicBezTo>
                    <a:cubicBezTo>
                      <a:pt x="66" y="343"/>
                      <a:pt x="71" y="342"/>
                      <a:pt x="73" y="343"/>
                    </a:cubicBezTo>
                    <a:cubicBezTo>
                      <a:pt x="80" y="345"/>
                      <a:pt x="83" y="351"/>
                      <a:pt x="91" y="353"/>
                    </a:cubicBezTo>
                    <a:cubicBezTo>
                      <a:pt x="100" y="355"/>
                      <a:pt x="105" y="352"/>
                      <a:pt x="110" y="357"/>
                    </a:cubicBezTo>
                    <a:cubicBezTo>
                      <a:pt x="116" y="363"/>
                      <a:pt x="120" y="361"/>
                      <a:pt x="127" y="364"/>
                    </a:cubicBezTo>
                    <a:cubicBezTo>
                      <a:pt x="130" y="366"/>
                      <a:pt x="130" y="369"/>
                      <a:pt x="132" y="373"/>
                    </a:cubicBezTo>
                    <a:cubicBezTo>
                      <a:pt x="133" y="376"/>
                      <a:pt x="137" y="372"/>
                      <a:pt x="139" y="373"/>
                    </a:cubicBezTo>
                    <a:cubicBezTo>
                      <a:pt x="146" y="378"/>
                      <a:pt x="150" y="384"/>
                      <a:pt x="160" y="384"/>
                    </a:cubicBezTo>
                    <a:cubicBezTo>
                      <a:pt x="166" y="384"/>
                      <a:pt x="172" y="384"/>
                      <a:pt x="178" y="384"/>
                    </a:cubicBezTo>
                    <a:cubicBezTo>
                      <a:pt x="182" y="384"/>
                      <a:pt x="184" y="382"/>
                      <a:pt x="186" y="382"/>
                    </a:cubicBezTo>
                    <a:cubicBezTo>
                      <a:pt x="189" y="382"/>
                      <a:pt x="190" y="389"/>
                      <a:pt x="191" y="392"/>
                    </a:cubicBezTo>
                    <a:cubicBezTo>
                      <a:pt x="197" y="389"/>
                      <a:pt x="199" y="381"/>
                      <a:pt x="210" y="381"/>
                    </a:cubicBezTo>
                    <a:cubicBezTo>
                      <a:pt x="219" y="381"/>
                      <a:pt x="224" y="386"/>
                      <a:pt x="231" y="386"/>
                    </a:cubicBezTo>
                    <a:cubicBezTo>
                      <a:pt x="238" y="386"/>
                      <a:pt x="252" y="374"/>
                      <a:pt x="255" y="372"/>
                    </a:cubicBezTo>
                    <a:cubicBezTo>
                      <a:pt x="258" y="370"/>
                      <a:pt x="259" y="369"/>
                      <a:pt x="260" y="367"/>
                    </a:cubicBezTo>
                    <a:cubicBezTo>
                      <a:pt x="264" y="363"/>
                      <a:pt x="270" y="368"/>
                      <a:pt x="275" y="366"/>
                    </a:cubicBezTo>
                    <a:cubicBezTo>
                      <a:pt x="279" y="362"/>
                      <a:pt x="279" y="362"/>
                      <a:pt x="279" y="362"/>
                    </a:cubicBezTo>
                    <a:cubicBezTo>
                      <a:pt x="282" y="362"/>
                      <a:pt x="282" y="362"/>
                      <a:pt x="282" y="362"/>
                    </a:cubicBezTo>
                    <a:cubicBezTo>
                      <a:pt x="285" y="377"/>
                      <a:pt x="294" y="376"/>
                      <a:pt x="305" y="381"/>
                    </a:cubicBezTo>
                    <a:cubicBezTo>
                      <a:pt x="309" y="388"/>
                      <a:pt x="316" y="391"/>
                      <a:pt x="316" y="400"/>
                    </a:cubicBezTo>
                    <a:cubicBezTo>
                      <a:pt x="316" y="417"/>
                      <a:pt x="304" y="418"/>
                      <a:pt x="304" y="434"/>
                    </a:cubicBezTo>
                    <a:cubicBezTo>
                      <a:pt x="304" y="436"/>
                      <a:pt x="305" y="439"/>
                      <a:pt x="306" y="439"/>
                    </a:cubicBezTo>
                    <a:cubicBezTo>
                      <a:pt x="309" y="439"/>
                      <a:pt x="312" y="436"/>
                      <a:pt x="315" y="436"/>
                    </a:cubicBezTo>
                    <a:cubicBezTo>
                      <a:pt x="319" y="436"/>
                      <a:pt x="320" y="449"/>
                      <a:pt x="324" y="450"/>
                    </a:cubicBezTo>
                    <a:cubicBezTo>
                      <a:pt x="324" y="459"/>
                      <a:pt x="330" y="468"/>
                      <a:pt x="338" y="468"/>
                    </a:cubicBezTo>
                    <a:cubicBezTo>
                      <a:pt x="342" y="468"/>
                      <a:pt x="343" y="467"/>
                      <a:pt x="346" y="467"/>
                    </a:cubicBezTo>
                    <a:cubicBezTo>
                      <a:pt x="348" y="467"/>
                      <a:pt x="348" y="467"/>
                      <a:pt x="348" y="467"/>
                    </a:cubicBezTo>
                    <a:cubicBezTo>
                      <a:pt x="348" y="471"/>
                      <a:pt x="350" y="472"/>
                      <a:pt x="351" y="472"/>
                    </a:cubicBezTo>
                    <a:cubicBezTo>
                      <a:pt x="352" y="472"/>
                      <a:pt x="353" y="470"/>
                      <a:pt x="353" y="468"/>
                    </a:cubicBezTo>
                    <a:cubicBezTo>
                      <a:pt x="353" y="464"/>
                      <a:pt x="353" y="461"/>
                      <a:pt x="353" y="457"/>
                    </a:cubicBezTo>
                    <a:cubicBezTo>
                      <a:pt x="353" y="457"/>
                      <a:pt x="363" y="454"/>
                      <a:pt x="365" y="454"/>
                    </a:cubicBezTo>
                    <a:cubicBezTo>
                      <a:pt x="379" y="454"/>
                      <a:pt x="379" y="454"/>
                      <a:pt x="379" y="454"/>
                    </a:cubicBezTo>
                    <a:cubicBezTo>
                      <a:pt x="385" y="457"/>
                      <a:pt x="390" y="448"/>
                      <a:pt x="397" y="448"/>
                    </a:cubicBezTo>
                    <a:cubicBezTo>
                      <a:pt x="404" y="448"/>
                      <a:pt x="408" y="453"/>
                      <a:pt x="416" y="453"/>
                    </a:cubicBezTo>
                    <a:cubicBezTo>
                      <a:pt x="416" y="464"/>
                      <a:pt x="424" y="468"/>
                      <a:pt x="431" y="470"/>
                    </a:cubicBezTo>
                    <a:cubicBezTo>
                      <a:pt x="431" y="470"/>
                      <a:pt x="431" y="470"/>
                      <a:pt x="431" y="470"/>
                    </a:cubicBezTo>
                    <a:cubicBezTo>
                      <a:pt x="439" y="474"/>
                      <a:pt x="444" y="471"/>
                      <a:pt x="452" y="475"/>
                    </a:cubicBezTo>
                    <a:cubicBezTo>
                      <a:pt x="452" y="477"/>
                      <a:pt x="451" y="486"/>
                      <a:pt x="454" y="486"/>
                    </a:cubicBezTo>
                    <a:cubicBezTo>
                      <a:pt x="459" y="486"/>
                      <a:pt x="457" y="480"/>
                      <a:pt x="460" y="477"/>
                    </a:cubicBezTo>
                    <a:cubicBezTo>
                      <a:pt x="463" y="474"/>
                      <a:pt x="472" y="472"/>
                      <a:pt x="476" y="470"/>
                    </a:cubicBezTo>
                    <a:cubicBezTo>
                      <a:pt x="484" y="466"/>
                      <a:pt x="492" y="468"/>
                      <a:pt x="498" y="463"/>
                    </a:cubicBezTo>
                    <a:cubicBezTo>
                      <a:pt x="498" y="463"/>
                      <a:pt x="502" y="455"/>
                      <a:pt x="503" y="455"/>
                    </a:cubicBezTo>
                    <a:cubicBezTo>
                      <a:pt x="507" y="455"/>
                      <a:pt x="510" y="458"/>
                      <a:pt x="514" y="458"/>
                    </a:cubicBezTo>
                    <a:cubicBezTo>
                      <a:pt x="534" y="458"/>
                      <a:pt x="539" y="446"/>
                      <a:pt x="552" y="439"/>
                    </a:cubicBezTo>
                    <a:cubicBezTo>
                      <a:pt x="555" y="437"/>
                      <a:pt x="557" y="435"/>
                      <a:pt x="558" y="431"/>
                    </a:cubicBezTo>
                    <a:cubicBezTo>
                      <a:pt x="569" y="431"/>
                      <a:pt x="572" y="414"/>
                      <a:pt x="576" y="406"/>
                    </a:cubicBezTo>
                    <a:cubicBezTo>
                      <a:pt x="578" y="401"/>
                      <a:pt x="590" y="383"/>
                      <a:pt x="597" y="382"/>
                    </a:cubicBezTo>
                    <a:cubicBezTo>
                      <a:pt x="597" y="372"/>
                      <a:pt x="604" y="368"/>
                      <a:pt x="604" y="355"/>
                    </a:cubicBezTo>
                    <a:cubicBezTo>
                      <a:pt x="604" y="336"/>
                      <a:pt x="599" y="329"/>
                      <a:pt x="591" y="317"/>
                    </a:cubicBezTo>
                    <a:cubicBezTo>
                      <a:pt x="590" y="315"/>
                      <a:pt x="590" y="309"/>
                      <a:pt x="586" y="3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2" name="Freeform 148"/>
              <p:cNvSpPr>
                <a:spLocks/>
              </p:cNvSpPr>
              <p:nvPr/>
            </p:nvSpPr>
            <p:spPr bwMode="auto">
              <a:xfrm>
                <a:off x="7369175" y="1395413"/>
                <a:ext cx="58738" cy="25400"/>
              </a:xfrm>
              <a:custGeom>
                <a:avLst/>
                <a:gdLst/>
                <a:ahLst/>
                <a:cxnLst>
                  <a:cxn ang="0">
                    <a:pos x="4" y="19"/>
                  </a:cxn>
                  <a:cxn ang="0">
                    <a:pos x="0" y="14"/>
                  </a:cxn>
                  <a:cxn ang="0">
                    <a:pos x="20" y="0"/>
                  </a:cxn>
                  <a:cxn ang="0">
                    <a:pos x="44" y="11"/>
                  </a:cxn>
                  <a:cxn ang="0">
                    <a:pos x="4" y="19"/>
                  </a:cxn>
                </a:cxnLst>
                <a:rect l="0" t="0" r="r" b="b"/>
                <a:pathLst>
                  <a:path w="44" h="19">
                    <a:moveTo>
                      <a:pt x="4" y="19"/>
                    </a:moveTo>
                    <a:cubicBezTo>
                      <a:pt x="1" y="19"/>
                      <a:pt x="0" y="17"/>
                      <a:pt x="0" y="14"/>
                    </a:cubicBezTo>
                    <a:cubicBezTo>
                      <a:pt x="0" y="8"/>
                      <a:pt x="13" y="0"/>
                      <a:pt x="20" y="0"/>
                    </a:cubicBezTo>
                    <a:cubicBezTo>
                      <a:pt x="27" y="0"/>
                      <a:pt x="44" y="4"/>
                      <a:pt x="44" y="11"/>
                    </a:cubicBezTo>
                    <a:cubicBezTo>
                      <a:pt x="44" y="17"/>
                      <a:pt x="9" y="19"/>
                      <a:pt x="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3" name="Freeform 149"/>
              <p:cNvSpPr>
                <a:spLocks/>
              </p:cNvSpPr>
              <p:nvPr/>
            </p:nvSpPr>
            <p:spPr bwMode="auto">
              <a:xfrm>
                <a:off x="7191375" y="1443038"/>
                <a:ext cx="23813" cy="14288"/>
              </a:xfrm>
              <a:custGeom>
                <a:avLst/>
                <a:gdLst/>
                <a:ahLst/>
                <a:cxnLst>
                  <a:cxn ang="0">
                    <a:pos x="13" y="10"/>
                  </a:cxn>
                  <a:cxn ang="0">
                    <a:pos x="18" y="6"/>
                  </a:cxn>
                  <a:cxn ang="0">
                    <a:pos x="15" y="0"/>
                  </a:cxn>
                  <a:cxn ang="0">
                    <a:pos x="0" y="0"/>
                  </a:cxn>
                  <a:cxn ang="0">
                    <a:pos x="13" y="10"/>
                  </a:cxn>
                </a:cxnLst>
                <a:rect l="0" t="0" r="r" b="b"/>
                <a:pathLst>
                  <a:path w="18" h="10">
                    <a:moveTo>
                      <a:pt x="13" y="10"/>
                    </a:moveTo>
                    <a:cubicBezTo>
                      <a:pt x="15" y="10"/>
                      <a:pt x="18" y="8"/>
                      <a:pt x="18" y="6"/>
                    </a:cubicBezTo>
                    <a:cubicBezTo>
                      <a:pt x="18" y="3"/>
                      <a:pt x="15" y="2"/>
                      <a:pt x="15" y="0"/>
                    </a:cubicBezTo>
                    <a:cubicBezTo>
                      <a:pt x="0" y="0"/>
                      <a:pt x="0" y="0"/>
                      <a:pt x="0" y="0"/>
                    </a:cubicBezTo>
                    <a:cubicBezTo>
                      <a:pt x="3" y="6"/>
                      <a:pt x="7" y="10"/>
                      <a:pt x="13"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4" name="Freeform 150"/>
              <p:cNvSpPr>
                <a:spLocks/>
              </p:cNvSpPr>
              <p:nvPr/>
            </p:nvSpPr>
            <p:spPr bwMode="auto">
              <a:xfrm>
                <a:off x="6645275" y="1257300"/>
                <a:ext cx="11113" cy="12700"/>
              </a:xfrm>
              <a:custGeom>
                <a:avLst/>
                <a:gdLst/>
                <a:ahLst/>
                <a:cxnLst>
                  <a:cxn ang="0">
                    <a:pos x="8" y="5"/>
                  </a:cxn>
                  <a:cxn ang="0">
                    <a:pos x="3" y="0"/>
                  </a:cxn>
                  <a:cxn ang="0">
                    <a:pos x="0" y="7"/>
                  </a:cxn>
                  <a:cxn ang="0">
                    <a:pos x="3" y="10"/>
                  </a:cxn>
                  <a:cxn ang="0">
                    <a:pos x="8" y="4"/>
                  </a:cxn>
                  <a:cxn ang="0">
                    <a:pos x="6" y="4"/>
                  </a:cxn>
                  <a:cxn ang="0">
                    <a:pos x="8" y="5"/>
                  </a:cxn>
                </a:cxnLst>
                <a:rect l="0" t="0" r="r" b="b"/>
                <a:pathLst>
                  <a:path w="8" h="10">
                    <a:moveTo>
                      <a:pt x="8" y="5"/>
                    </a:moveTo>
                    <a:cubicBezTo>
                      <a:pt x="3" y="0"/>
                      <a:pt x="3" y="0"/>
                      <a:pt x="3" y="0"/>
                    </a:cubicBezTo>
                    <a:cubicBezTo>
                      <a:pt x="2" y="2"/>
                      <a:pt x="0" y="4"/>
                      <a:pt x="0" y="7"/>
                    </a:cubicBezTo>
                    <a:cubicBezTo>
                      <a:pt x="0" y="9"/>
                      <a:pt x="1" y="10"/>
                      <a:pt x="3" y="10"/>
                    </a:cubicBezTo>
                    <a:cubicBezTo>
                      <a:pt x="7" y="10"/>
                      <a:pt x="7" y="6"/>
                      <a:pt x="8" y="4"/>
                    </a:cubicBezTo>
                    <a:cubicBezTo>
                      <a:pt x="6" y="4"/>
                      <a:pt x="6" y="4"/>
                      <a:pt x="6" y="4"/>
                    </a:cubicBezTo>
                    <a:lnTo>
                      <a:pt x="8"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5" name="Freeform 151"/>
              <p:cNvSpPr>
                <a:spLocks/>
              </p:cNvSpPr>
              <p:nvPr/>
            </p:nvSpPr>
            <p:spPr bwMode="auto">
              <a:xfrm>
                <a:off x="6249988" y="1300163"/>
                <a:ext cx="26988" cy="15875"/>
              </a:xfrm>
              <a:custGeom>
                <a:avLst/>
                <a:gdLst/>
                <a:ahLst/>
                <a:cxnLst>
                  <a:cxn ang="0">
                    <a:pos x="20" y="9"/>
                  </a:cxn>
                  <a:cxn ang="0">
                    <a:pos x="10" y="12"/>
                  </a:cxn>
                  <a:cxn ang="0">
                    <a:pos x="0" y="7"/>
                  </a:cxn>
                  <a:cxn ang="0">
                    <a:pos x="10" y="0"/>
                  </a:cxn>
                  <a:cxn ang="0">
                    <a:pos x="20" y="7"/>
                  </a:cxn>
                  <a:cxn ang="0">
                    <a:pos x="17" y="12"/>
                  </a:cxn>
                  <a:cxn ang="0">
                    <a:pos x="20" y="9"/>
                  </a:cxn>
                </a:cxnLst>
                <a:rect l="0" t="0" r="r" b="b"/>
                <a:pathLst>
                  <a:path w="20" h="12">
                    <a:moveTo>
                      <a:pt x="20" y="9"/>
                    </a:moveTo>
                    <a:cubicBezTo>
                      <a:pt x="17" y="11"/>
                      <a:pt x="14" y="12"/>
                      <a:pt x="10" y="12"/>
                    </a:cubicBezTo>
                    <a:cubicBezTo>
                      <a:pt x="5" y="12"/>
                      <a:pt x="0" y="11"/>
                      <a:pt x="0" y="7"/>
                    </a:cubicBezTo>
                    <a:cubicBezTo>
                      <a:pt x="0" y="3"/>
                      <a:pt x="6" y="0"/>
                      <a:pt x="10" y="0"/>
                    </a:cubicBezTo>
                    <a:cubicBezTo>
                      <a:pt x="16" y="0"/>
                      <a:pt x="20" y="2"/>
                      <a:pt x="20" y="7"/>
                    </a:cubicBezTo>
                    <a:cubicBezTo>
                      <a:pt x="20" y="10"/>
                      <a:pt x="18" y="11"/>
                      <a:pt x="17" y="12"/>
                    </a:cubicBezTo>
                    <a:lnTo>
                      <a:pt x="20"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6" name="Freeform 152"/>
              <p:cNvSpPr>
                <a:spLocks/>
              </p:cNvSpPr>
              <p:nvPr/>
            </p:nvSpPr>
            <p:spPr bwMode="auto">
              <a:xfrm>
                <a:off x="6043613" y="1128713"/>
                <a:ext cx="100013" cy="57150"/>
              </a:xfrm>
              <a:custGeom>
                <a:avLst/>
                <a:gdLst/>
                <a:ahLst/>
                <a:cxnLst>
                  <a:cxn ang="0">
                    <a:pos x="6" y="43"/>
                  </a:cxn>
                  <a:cxn ang="0">
                    <a:pos x="0" y="37"/>
                  </a:cxn>
                  <a:cxn ang="0">
                    <a:pos x="8" y="27"/>
                  </a:cxn>
                  <a:cxn ang="0">
                    <a:pos x="39" y="0"/>
                  </a:cxn>
                  <a:cxn ang="0">
                    <a:pos x="45" y="0"/>
                  </a:cxn>
                  <a:cxn ang="0">
                    <a:pos x="44" y="10"/>
                  </a:cxn>
                  <a:cxn ang="0">
                    <a:pos x="52" y="6"/>
                  </a:cxn>
                  <a:cxn ang="0">
                    <a:pos x="76" y="23"/>
                  </a:cxn>
                  <a:cxn ang="0">
                    <a:pos x="45" y="34"/>
                  </a:cxn>
                  <a:cxn ang="0">
                    <a:pos x="30" y="37"/>
                  </a:cxn>
                  <a:cxn ang="0">
                    <a:pos x="6" y="43"/>
                  </a:cxn>
                </a:cxnLst>
                <a:rect l="0" t="0" r="r" b="b"/>
                <a:pathLst>
                  <a:path w="76" h="43">
                    <a:moveTo>
                      <a:pt x="6" y="43"/>
                    </a:moveTo>
                    <a:cubicBezTo>
                      <a:pt x="1" y="43"/>
                      <a:pt x="0" y="41"/>
                      <a:pt x="0" y="37"/>
                    </a:cubicBezTo>
                    <a:cubicBezTo>
                      <a:pt x="0" y="30"/>
                      <a:pt x="5" y="30"/>
                      <a:pt x="8" y="27"/>
                    </a:cubicBezTo>
                    <a:cubicBezTo>
                      <a:pt x="18" y="17"/>
                      <a:pt x="22" y="0"/>
                      <a:pt x="39" y="0"/>
                    </a:cubicBezTo>
                    <a:cubicBezTo>
                      <a:pt x="43" y="0"/>
                      <a:pt x="43" y="0"/>
                      <a:pt x="45" y="0"/>
                    </a:cubicBezTo>
                    <a:cubicBezTo>
                      <a:pt x="45" y="7"/>
                      <a:pt x="47" y="7"/>
                      <a:pt x="44" y="10"/>
                    </a:cubicBezTo>
                    <a:cubicBezTo>
                      <a:pt x="47" y="9"/>
                      <a:pt x="49" y="6"/>
                      <a:pt x="52" y="6"/>
                    </a:cubicBezTo>
                    <a:cubicBezTo>
                      <a:pt x="58" y="6"/>
                      <a:pt x="76" y="17"/>
                      <a:pt x="76" y="23"/>
                    </a:cubicBezTo>
                    <a:cubicBezTo>
                      <a:pt x="76" y="34"/>
                      <a:pt x="53" y="36"/>
                      <a:pt x="45" y="34"/>
                    </a:cubicBezTo>
                    <a:cubicBezTo>
                      <a:pt x="43" y="34"/>
                      <a:pt x="30" y="37"/>
                      <a:pt x="30" y="37"/>
                    </a:cubicBezTo>
                    <a:lnTo>
                      <a:pt x="6" y="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7" name="Freeform 153"/>
              <p:cNvSpPr>
                <a:spLocks/>
              </p:cNvSpPr>
              <p:nvPr/>
            </p:nvSpPr>
            <p:spPr bwMode="auto">
              <a:xfrm>
                <a:off x="5900738" y="1101725"/>
                <a:ext cx="39688" cy="20638"/>
              </a:xfrm>
              <a:custGeom>
                <a:avLst/>
                <a:gdLst/>
                <a:ahLst/>
                <a:cxnLst>
                  <a:cxn ang="0">
                    <a:pos x="12" y="0"/>
                  </a:cxn>
                  <a:cxn ang="0">
                    <a:pos x="30" y="7"/>
                  </a:cxn>
                  <a:cxn ang="0">
                    <a:pos x="9" y="16"/>
                  </a:cxn>
                  <a:cxn ang="0">
                    <a:pos x="0" y="5"/>
                  </a:cxn>
                  <a:cxn ang="0">
                    <a:pos x="12" y="0"/>
                  </a:cxn>
                </a:cxnLst>
                <a:rect l="0" t="0" r="r" b="b"/>
                <a:pathLst>
                  <a:path w="30" h="16">
                    <a:moveTo>
                      <a:pt x="12" y="0"/>
                    </a:moveTo>
                    <a:cubicBezTo>
                      <a:pt x="14" y="0"/>
                      <a:pt x="26" y="6"/>
                      <a:pt x="30" y="7"/>
                    </a:cubicBezTo>
                    <a:cubicBezTo>
                      <a:pt x="29" y="15"/>
                      <a:pt x="14" y="16"/>
                      <a:pt x="9" y="16"/>
                    </a:cubicBezTo>
                    <a:cubicBezTo>
                      <a:pt x="6" y="16"/>
                      <a:pt x="0" y="9"/>
                      <a:pt x="0" y="5"/>
                    </a:cubicBezTo>
                    <a:cubicBezTo>
                      <a:pt x="0" y="0"/>
                      <a:pt x="9" y="0"/>
                      <a:pt x="1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8" name="Freeform 154"/>
              <p:cNvSpPr>
                <a:spLocks/>
              </p:cNvSpPr>
              <p:nvPr/>
            </p:nvSpPr>
            <p:spPr bwMode="auto">
              <a:xfrm>
                <a:off x="5913438" y="1057275"/>
                <a:ext cx="139700" cy="98425"/>
              </a:xfrm>
              <a:custGeom>
                <a:avLst/>
                <a:gdLst/>
                <a:ahLst/>
                <a:cxnLst>
                  <a:cxn ang="0">
                    <a:pos x="99" y="68"/>
                  </a:cxn>
                  <a:cxn ang="0">
                    <a:pos x="90" y="74"/>
                  </a:cxn>
                  <a:cxn ang="0">
                    <a:pos x="41" y="66"/>
                  </a:cxn>
                  <a:cxn ang="0">
                    <a:pos x="17" y="50"/>
                  </a:cxn>
                  <a:cxn ang="0">
                    <a:pos x="50" y="36"/>
                  </a:cxn>
                  <a:cxn ang="0">
                    <a:pos x="32" y="36"/>
                  </a:cxn>
                  <a:cxn ang="0">
                    <a:pos x="0" y="26"/>
                  </a:cxn>
                  <a:cxn ang="0">
                    <a:pos x="46" y="0"/>
                  </a:cxn>
                  <a:cxn ang="0">
                    <a:pos x="72" y="17"/>
                  </a:cxn>
                  <a:cxn ang="0">
                    <a:pos x="67" y="18"/>
                  </a:cxn>
                  <a:cxn ang="0">
                    <a:pos x="67" y="27"/>
                  </a:cxn>
                  <a:cxn ang="0">
                    <a:pos x="59" y="35"/>
                  </a:cxn>
                  <a:cxn ang="0">
                    <a:pos x="68" y="35"/>
                  </a:cxn>
                  <a:cxn ang="0">
                    <a:pos x="81" y="39"/>
                  </a:cxn>
                  <a:cxn ang="0">
                    <a:pos x="90" y="39"/>
                  </a:cxn>
                  <a:cxn ang="0">
                    <a:pos x="105" y="48"/>
                  </a:cxn>
                  <a:cxn ang="0">
                    <a:pos x="101" y="57"/>
                  </a:cxn>
                  <a:cxn ang="0">
                    <a:pos x="92" y="62"/>
                  </a:cxn>
                  <a:cxn ang="0">
                    <a:pos x="99" y="68"/>
                  </a:cxn>
                </a:cxnLst>
                <a:rect l="0" t="0" r="r" b="b"/>
                <a:pathLst>
                  <a:path w="105" h="74">
                    <a:moveTo>
                      <a:pt x="99" y="68"/>
                    </a:moveTo>
                    <a:cubicBezTo>
                      <a:pt x="99" y="72"/>
                      <a:pt x="94" y="74"/>
                      <a:pt x="90" y="74"/>
                    </a:cubicBezTo>
                    <a:cubicBezTo>
                      <a:pt x="71" y="74"/>
                      <a:pt x="57" y="66"/>
                      <a:pt x="41" y="66"/>
                    </a:cubicBezTo>
                    <a:cubicBezTo>
                      <a:pt x="35" y="66"/>
                      <a:pt x="24" y="54"/>
                      <a:pt x="17" y="50"/>
                    </a:cubicBezTo>
                    <a:cubicBezTo>
                      <a:pt x="32" y="46"/>
                      <a:pt x="36" y="41"/>
                      <a:pt x="50" y="36"/>
                    </a:cubicBezTo>
                    <a:cubicBezTo>
                      <a:pt x="46" y="36"/>
                      <a:pt x="35" y="36"/>
                      <a:pt x="32" y="36"/>
                    </a:cubicBezTo>
                    <a:cubicBezTo>
                      <a:pt x="20" y="36"/>
                      <a:pt x="11" y="32"/>
                      <a:pt x="0" y="26"/>
                    </a:cubicBezTo>
                    <a:cubicBezTo>
                      <a:pt x="18" y="21"/>
                      <a:pt x="25" y="0"/>
                      <a:pt x="46" y="0"/>
                    </a:cubicBezTo>
                    <a:cubicBezTo>
                      <a:pt x="58" y="0"/>
                      <a:pt x="65" y="12"/>
                      <a:pt x="72" y="17"/>
                    </a:cubicBezTo>
                    <a:cubicBezTo>
                      <a:pt x="68" y="19"/>
                      <a:pt x="69" y="18"/>
                      <a:pt x="67" y="18"/>
                    </a:cubicBezTo>
                    <a:cubicBezTo>
                      <a:pt x="68" y="23"/>
                      <a:pt x="67" y="24"/>
                      <a:pt x="67" y="27"/>
                    </a:cubicBezTo>
                    <a:cubicBezTo>
                      <a:pt x="67" y="29"/>
                      <a:pt x="62" y="33"/>
                      <a:pt x="59" y="35"/>
                    </a:cubicBezTo>
                    <a:cubicBezTo>
                      <a:pt x="63" y="33"/>
                      <a:pt x="65" y="35"/>
                      <a:pt x="68" y="35"/>
                    </a:cubicBezTo>
                    <a:cubicBezTo>
                      <a:pt x="73" y="35"/>
                      <a:pt x="76" y="39"/>
                      <a:pt x="81" y="39"/>
                    </a:cubicBezTo>
                    <a:cubicBezTo>
                      <a:pt x="84" y="39"/>
                      <a:pt x="87" y="39"/>
                      <a:pt x="90" y="39"/>
                    </a:cubicBezTo>
                    <a:cubicBezTo>
                      <a:pt x="99" y="39"/>
                      <a:pt x="99" y="42"/>
                      <a:pt x="105" y="48"/>
                    </a:cubicBezTo>
                    <a:cubicBezTo>
                      <a:pt x="100" y="51"/>
                      <a:pt x="101" y="52"/>
                      <a:pt x="101" y="57"/>
                    </a:cubicBezTo>
                    <a:cubicBezTo>
                      <a:pt x="101" y="61"/>
                      <a:pt x="95" y="62"/>
                      <a:pt x="92" y="62"/>
                    </a:cubicBezTo>
                    <a:cubicBezTo>
                      <a:pt x="95" y="63"/>
                      <a:pt x="99" y="65"/>
                      <a:pt x="99"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69" name="Freeform 155"/>
              <p:cNvSpPr>
                <a:spLocks/>
              </p:cNvSpPr>
              <p:nvPr/>
            </p:nvSpPr>
            <p:spPr bwMode="auto">
              <a:xfrm>
                <a:off x="5973763" y="1212850"/>
                <a:ext cx="17463" cy="12700"/>
              </a:xfrm>
              <a:custGeom>
                <a:avLst/>
                <a:gdLst/>
                <a:ahLst/>
                <a:cxnLst>
                  <a:cxn ang="0">
                    <a:pos x="0" y="5"/>
                  </a:cxn>
                  <a:cxn ang="0">
                    <a:pos x="7" y="0"/>
                  </a:cxn>
                  <a:cxn ang="0">
                    <a:pos x="13" y="0"/>
                  </a:cxn>
                  <a:cxn ang="0">
                    <a:pos x="5" y="9"/>
                  </a:cxn>
                  <a:cxn ang="0">
                    <a:pos x="0" y="5"/>
                  </a:cxn>
                </a:cxnLst>
                <a:rect l="0" t="0" r="r" b="b"/>
                <a:pathLst>
                  <a:path w="13" h="9">
                    <a:moveTo>
                      <a:pt x="0" y="5"/>
                    </a:moveTo>
                    <a:cubicBezTo>
                      <a:pt x="3" y="3"/>
                      <a:pt x="5" y="1"/>
                      <a:pt x="7" y="0"/>
                    </a:cubicBezTo>
                    <a:cubicBezTo>
                      <a:pt x="13" y="0"/>
                      <a:pt x="13" y="0"/>
                      <a:pt x="13" y="0"/>
                    </a:cubicBezTo>
                    <a:cubicBezTo>
                      <a:pt x="12" y="6"/>
                      <a:pt x="10" y="9"/>
                      <a:pt x="5" y="9"/>
                    </a:cubicBezTo>
                    <a:cubicBezTo>
                      <a:pt x="2" y="9"/>
                      <a:pt x="1" y="7"/>
                      <a:pt x="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0" name="Freeform 156"/>
              <p:cNvSpPr>
                <a:spLocks/>
              </p:cNvSpPr>
              <p:nvPr/>
            </p:nvSpPr>
            <p:spPr bwMode="auto">
              <a:xfrm>
                <a:off x="5886450" y="1060450"/>
                <a:ext cx="23813" cy="7938"/>
              </a:xfrm>
              <a:custGeom>
                <a:avLst/>
                <a:gdLst/>
                <a:ahLst/>
                <a:cxnLst>
                  <a:cxn ang="0">
                    <a:pos x="18" y="4"/>
                  </a:cxn>
                  <a:cxn ang="0">
                    <a:pos x="0" y="0"/>
                  </a:cxn>
                  <a:cxn ang="0">
                    <a:pos x="16" y="0"/>
                  </a:cxn>
                  <a:cxn ang="0">
                    <a:pos x="18" y="4"/>
                  </a:cxn>
                </a:cxnLst>
                <a:rect l="0" t="0" r="r" b="b"/>
                <a:pathLst>
                  <a:path w="18" h="6">
                    <a:moveTo>
                      <a:pt x="18" y="4"/>
                    </a:moveTo>
                    <a:cubicBezTo>
                      <a:pt x="11" y="5"/>
                      <a:pt x="3" y="6"/>
                      <a:pt x="0" y="0"/>
                    </a:cubicBezTo>
                    <a:cubicBezTo>
                      <a:pt x="16" y="0"/>
                      <a:pt x="16" y="0"/>
                      <a:pt x="16" y="0"/>
                    </a:cubicBezTo>
                    <a:lnTo>
                      <a:pt x="18"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1" name="Freeform 157"/>
              <p:cNvSpPr>
                <a:spLocks/>
              </p:cNvSpPr>
              <p:nvPr/>
            </p:nvSpPr>
            <p:spPr bwMode="auto">
              <a:xfrm>
                <a:off x="6162675" y="1173163"/>
                <a:ext cx="20638" cy="9525"/>
              </a:xfrm>
              <a:custGeom>
                <a:avLst/>
                <a:gdLst/>
                <a:ahLst/>
                <a:cxnLst>
                  <a:cxn ang="0">
                    <a:pos x="15" y="1"/>
                  </a:cxn>
                  <a:cxn ang="0">
                    <a:pos x="9" y="7"/>
                  </a:cxn>
                  <a:cxn ang="0">
                    <a:pos x="0" y="2"/>
                  </a:cxn>
                  <a:cxn ang="0">
                    <a:pos x="15" y="1"/>
                  </a:cxn>
                </a:cxnLst>
                <a:rect l="0" t="0" r="r" b="b"/>
                <a:pathLst>
                  <a:path w="15" h="7">
                    <a:moveTo>
                      <a:pt x="15" y="1"/>
                    </a:moveTo>
                    <a:cubicBezTo>
                      <a:pt x="14" y="4"/>
                      <a:pt x="12" y="7"/>
                      <a:pt x="9" y="7"/>
                    </a:cubicBezTo>
                    <a:cubicBezTo>
                      <a:pt x="4" y="7"/>
                      <a:pt x="1" y="4"/>
                      <a:pt x="0" y="2"/>
                    </a:cubicBezTo>
                    <a:cubicBezTo>
                      <a:pt x="9" y="0"/>
                      <a:pt x="11" y="2"/>
                      <a:pt x="15"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2" name="Freeform 158"/>
              <p:cNvSpPr>
                <a:spLocks/>
              </p:cNvSpPr>
              <p:nvPr/>
            </p:nvSpPr>
            <p:spPr bwMode="auto">
              <a:xfrm>
                <a:off x="5119688" y="1074738"/>
                <a:ext cx="117475" cy="36513"/>
              </a:xfrm>
              <a:custGeom>
                <a:avLst/>
                <a:gdLst/>
                <a:ahLst/>
                <a:cxnLst>
                  <a:cxn ang="0">
                    <a:pos x="76" y="14"/>
                  </a:cxn>
                  <a:cxn ang="0">
                    <a:pos x="58" y="17"/>
                  </a:cxn>
                  <a:cxn ang="0">
                    <a:pos x="49" y="27"/>
                  </a:cxn>
                  <a:cxn ang="0">
                    <a:pos x="44" y="23"/>
                  </a:cxn>
                  <a:cxn ang="0">
                    <a:pos x="44" y="23"/>
                  </a:cxn>
                  <a:cxn ang="0">
                    <a:pos x="32" y="17"/>
                  </a:cxn>
                  <a:cxn ang="0">
                    <a:pos x="41" y="14"/>
                  </a:cxn>
                  <a:cxn ang="0">
                    <a:pos x="33" y="13"/>
                  </a:cxn>
                  <a:cxn ang="0">
                    <a:pos x="40" y="9"/>
                  </a:cxn>
                  <a:cxn ang="0">
                    <a:pos x="30" y="5"/>
                  </a:cxn>
                  <a:cxn ang="0">
                    <a:pos x="10" y="11"/>
                  </a:cxn>
                  <a:cxn ang="0">
                    <a:pos x="0" y="9"/>
                  </a:cxn>
                  <a:cxn ang="0">
                    <a:pos x="34" y="0"/>
                  </a:cxn>
                  <a:cxn ang="0">
                    <a:pos x="60" y="6"/>
                  </a:cxn>
                  <a:cxn ang="0">
                    <a:pos x="76" y="0"/>
                  </a:cxn>
                  <a:cxn ang="0">
                    <a:pos x="89" y="5"/>
                  </a:cxn>
                  <a:cxn ang="0">
                    <a:pos x="78" y="13"/>
                  </a:cxn>
                  <a:cxn ang="0">
                    <a:pos x="73" y="13"/>
                  </a:cxn>
                  <a:cxn ang="0">
                    <a:pos x="73" y="17"/>
                  </a:cxn>
                  <a:cxn ang="0">
                    <a:pos x="76" y="14"/>
                  </a:cxn>
                </a:cxnLst>
                <a:rect l="0" t="0" r="r" b="b"/>
                <a:pathLst>
                  <a:path w="89" h="27">
                    <a:moveTo>
                      <a:pt x="76" y="14"/>
                    </a:moveTo>
                    <a:cubicBezTo>
                      <a:pt x="69" y="19"/>
                      <a:pt x="65" y="13"/>
                      <a:pt x="58" y="17"/>
                    </a:cubicBezTo>
                    <a:cubicBezTo>
                      <a:pt x="54" y="19"/>
                      <a:pt x="53" y="27"/>
                      <a:pt x="49" y="27"/>
                    </a:cubicBezTo>
                    <a:cubicBezTo>
                      <a:pt x="47" y="26"/>
                      <a:pt x="45" y="24"/>
                      <a:pt x="44" y="23"/>
                    </a:cubicBezTo>
                    <a:cubicBezTo>
                      <a:pt x="44" y="23"/>
                      <a:pt x="44" y="23"/>
                      <a:pt x="44" y="23"/>
                    </a:cubicBezTo>
                    <a:cubicBezTo>
                      <a:pt x="38" y="23"/>
                      <a:pt x="33" y="21"/>
                      <a:pt x="32" y="17"/>
                    </a:cubicBezTo>
                    <a:cubicBezTo>
                      <a:pt x="36" y="15"/>
                      <a:pt x="38" y="15"/>
                      <a:pt x="41" y="14"/>
                    </a:cubicBezTo>
                    <a:cubicBezTo>
                      <a:pt x="37" y="14"/>
                      <a:pt x="35" y="13"/>
                      <a:pt x="33" y="13"/>
                    </a:cubicBezTo>
                    <a:cubicBezTo>
                      <a:pt x="36" y="11"/>
                      <a:pt x="38" y="11"/>
                      <a:pt x="40" y="9"/>
                    </a:cubicBezTo>
                    <a:cubicBezTo>
                      <a:pt x="36" y="8"/>
                      <a:pt x="34" y="5"/>
                      <a:pt x="30" y="5"/>
                    </a:cubicBezTo>
                    <a:cubicBezTo>
                      <a:pt x="25" y="5"/>
                      <a:pt x="17" y="11"/>
                      <a:pt x="10" y="11"/>
                    </a:cubicBezTo>
                    <a:cubicBezTo>
                      <a:pt x="7" y="11"/>
                      <a:pt x="4" y="9"/>
                      <a:pt x="0" y="9"/>
                    </a:cubicBezTo>
                    <a:cubicBezTo>
                      <a:pt x="4" y="2"/>
                      <a:pt x="25" y="0"/>
                      <a:pt x="34" y="0"/>
                    </a:cubicBezTo>
                    <a:cubicBezTo>
                      <a:pt x="45" y="0"/>
                      <a:pt x="52" y="6"/>
                      <a:pt x="60" y="6"/>
                    </a:cubicBezTo>
                    <a:cubicBezTo>
                      <a:pt x="67" y="6"/>
                      <a:pt x="70" y="0"/>
                      <a:pt x="76" y="0"/>
                    </a:cubicBezTo>
                    <a:cubicBezTo>
                      <a:pt x="82" y="0"/>
                      <a:pt x="87" y="4"/>
                      <a:pt x="89" y="5"/>
                    </a:cubicBezTo>
                    <a:cubicBezTo>
                      <a:pt x="89" y="13"/>
                      <a:pt x="83" y="9"/>
                      <a:pt x="78" y="13"/>
                    </a:cubicBezTo>
                    <a:cubicBezTo>
                      <a:pt x="76" y="13"/>
                      <a:pt x="75" y="13"/>
                      <a:pt x="73" y="13"/>
                    </a:cubicBezTo>
                    <a:cubicBezTo>
                      <a:pt x="73" y="17"/>
                      <a:pt x="73" y="17"/>
                      <a:pt x="73" y="17"/>
                    </a:cubicBezTo>
                    <a:lnTo>
                      <a:pt x="76"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3" name="Freeform 159"/>
              <p:cNvSpPr>
                <a:spLocks/>
              </p:cNvSpPr>
              <p:nvPr/>
            </p:nvSpPr>
            <p:spPr bwMode="auto">
              <a:xfrm>
                <a:off x="5427663" y="1052513"/>
                <a:ext cx="41275" cy="26988"/>
              </a:xfrm>
              <a:custGeom>
                <a:avLst/>
                <a:gdLst/>
                <a:ahLst/>
                <a:cxnLst>
                  <a:cxn ang="0">
                    <a:pos x="7" y="20"/>
                  </a:cxn>
                  <a:cxn ang="0">
                    <a:pos x="0" y="13"/>
                  </a:cxn>
                  <a:cxn ang="0">
                    <a:pos x="25" y="0"/>
                  </a:cxn>
                  <a:cxn ang="0">
                    <a:pos x="31" y="14"/>
                  </a:cxn>
                  <a:cxn ang="0">
                    <a:pos x="7" y="20"/>
                  </a:cxn>
                </a:cxnLst>
                <a:rect l="0" t="0" r="r" b="b"/>
                <a:pathLst>
                  <a:path w="31" h="20">
                    <a:moveTo>
                      <a:pt x="7" y="20"/>
                    </a:moveTo>
                    <a:cubicBezTo>
                      <a:pt x="2" y="20"/>
                      <a:pt x="0" y="17"/>
                      <a:pt x="0" y="13"/>
                    </a:cubicBezTo>
                    <a:cubicBezTo>
                      <a:pt x="0" y="7"/>
                      <a:pt x="18" y="0"/>
                      <a:pt x="25" y="0"/>
                    </a:cubicBezTo>
                    <a:cubicBezTo>
                      <a:pt x="31" y="14"/>
                      <a:pt x="31" y="14"/>
                      <a:pt x="31" y="14"/>
                    </a:cubicBezTo>
                    <a:cubicBezTo>
                      <a:pt x="28" y="16"/>
                      <a:pt x="11" y="20"/>
                      <a:pt x="7"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4" name="Freeform 160"/>
              <p:cNvSpPr>
                <a:spLocks/>
              </p:cNvSpPr>
              <p:nvPr/>
            </p:nvSpPr>
            <p:spPr bwMode="auto">
              <a:xfrm>
                <a:off x="5373688" y="1069975"/>
                <a:ext cx="44450" cy="25400"/>
              </a:xfrm>
              <a:custGeom>
                <a:avLst/>
                <a:gdLst/>
                <a:ahLst/>
                <a:cxnLst>
                  <a:cxn ang="0">
                    <a:pos x="33" y="4"/>
                  </a:cxn>
                  <a:cxn ang="0">
                    <a:pos x="33" y="10"/>
                  </a:cxn>
                  <a:cxn ang="0">
                    <a:pos x="22" y="12"/>
                  </a:cxn>
                  <a:cxn ang="0">
                    <a:pos x="24" y="18"/>
                  </a:cxn>
                  <a:cxn ang="0">
                    <a:pos x="0" y="18"/>
                  </a:cxn>
                  <a:cxn ang="0">
                    <a:pos x="9" y="6"/>
                  </a:cxn>
                  <a:cxn ang="0">
                    <a:pos x="9" y="0"/>
                  </a:cxn>
                  <a:cxn ang="0">
                    <a:pos x="23" y="0"/>
                  </a:cxn>
                  <a:cxn ang="0">
                    <a:pos x="19" y="4"/>
                  </a:cxn>
                  <a:cxn ang="0">
                    <a:pos x="33" y="4"/>
                  </a:cxn>
                </a:cxnLst>
                <a:rect l="0" t="0" r="r" b="b"/>
                <a:pathLst>
                  <a:path w="33" h="20">
                    <a:moveTo>
                      <a:pt x="33" y="4"/>
                    </a:moveTo>
                    <a:cubicBezTo>
                      <a:pt x="33" y="8"/>
                      <a:pt x="33" y="8"/>
                      <a:pt x="33" y="10"/>
                    </a:cubicBezTo>
                    <a:cubicBezTo>
                      <a:pt x="30" y="14"/>
                      <a:pt x="26" y="12"/>
                      <a:pt x="22" y="12"/>
                    </a:cubicBezTo>
                    <a:cubicBezTo>
                      <a:pt x="24" y="18"/>
                      <a:pt x="24" y="18"/>
                      <a:pt x="24" y="18"/>
                    </a:cubicBezTo>
                    <a:cubicBezTo>
                      <a:pt x="22" y="19"/>
                      <a:pt x="0" y="20"/>
                      <a:pt x="0" y="18"/>
                    </a:cubicBezTo>
                    <a:cubicBezTo>
                      <a:pt x="0" y="11"/>
                      <a:pt x="3" y="8"/>
                      <a:pt x="9" y="6"/>
                    </a:cubicBezTo>
                    <a:cubicBezTo>
                      <a:pt x="8" y="2"/>
                      <a:pt x="9" y="1"/>
                      <a:pt x="9" y="0"/>
                    </a:cubicBezTo>
                    <a:cubicBezTo>
                      <a:pt x="23" y="0"/>
                      <a:pt x="23" y="0"/>
                      <a:pt x="23" y="0"/>
                    </a:cubicBezTo>
                    <a:cubicBezTo>
                      <a:pt x="22" y="2"/>
                      <a:pt x="20" y="4"/>
                      <a:pt x="19" y="4"/>
                    </a:cubicBezTo>
                    <a:cubicBezTo>
                      <a:pt x="22" y="4"/>
                      <a:pt x="29" y="4"/>
                      <a:pt x="33"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5" name="Freeform 161"/>
              <p:cNvSpPr>
                <a:spLocks/>
              </p:cNvSpPr>
              <p:nvPr/>
            </p:nvSpPr>
            <p:spPr bwMode="auto">
              <a:xfrm>
                <a:off x="5314950" y="1092200"/>
                <a:ext cx="44450" cy="15875"/>
              </a:xfrm>
              <a:custGeom>
                <a:avLst/>
                <a:gdLst/>
                <a:ahLst/>
                <a:cxnLst>
                  <a:cxn ang="0">
                    <a:pos x="20" y="12"/>
                  </a:cxn>
                  <a:cxn ang="0">
                    <a:pos x="11" y="7"/>
                  </a:cxn>
                  <a:cxn ang="0">
                    <a:pos x="4" y="12"/>
                  </a:cxn>
                  <a:cxn ang="0">
                    <a:pos x="0" y="9"/>
                  </a:cxn>
                  <a:cxn ang="0">
                    <a:pos x="22" y="0"/>
                  </a:cxn>
                  <a:cxn ang="0">
                    <a:pos x="34" y="5"/>
                  </a:cxn>
                  <a:cxn ang="0">
                    <a:pos x="20" y="12"/>
                  </a:cxn>
                </a:cxnLst>
                <a:rect l="0" t="0" r="r" b="b"/>
                <a:pathLst>
                  <a:path w="34" h="12">
                    <a:moveTo>
                      <a:pt x="20" y="12"/>
                    </a:moveTo>
                    <a:cubicBezTo>
                      <a:pt x="17" y="12"/>
                      <a:pt x="14" y="7"/>
                      <a:pt x="11" y="7"/>
                    </a:cubicBezTo>
                    <a:cubicBezTo>
                      <a:pt x="10" y="12"/>
                      <a:pt x="8" y="12"/>
                      <a:pt x="4" y="12"/>
                    </a:cubicBezTo>
                    <a:cubicBezTo>
                      <a:pt x="2" y="12"/>
                      <a:pt x="0" y="10"/>
                      <a:pt x="0" y="9"/>
                    </a:cubicBezTo>
                    <a:cubicBezTo>
                      <a:pt x="0" y="2"/>
                      <a:pt x="17" y="0"/>
                      <a:pt x="22" y="0"/>
                    </a:cubicBezTo>
                    <a:cubicBezTo>
                      <a:pt x="28" y="0"/>
                      <a:pt x="32" y="2"/>
                      <a:pt x="34" y="5"/>
                    </a:cubicBezTo>
                    <a:cubicBezTo>
                      <a:pt x="25" y="5"/>
                      <a:pt x="26" y="12"/>
                      <a:pt x="2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6" name="Freeform 162"/>
              <p:cNvSpPr>
                <a:spLocks/>
              </p:cNvSpPr>
              <p:nvPr/>
            </p:nvSpPr>
            <p:spPr bwMode="auto">
              <a:xfrm>
                <a:off x="5287963" y="1038225"/>
                <a:ext cx="71438" cy="49213"/>
              </a:xfrm>
              <a:custGeom>
                <a:avLst/>
                <a:gdLst/>
                <a:ahLst/>
                <a:cxnLst>
                  <a:cxn ang="0">
                    <a:pos x="40" y="31"/>
                  </a:cxn>
                  <a:cxn ang="0">
                    <a:pos x="22" y="36"/>
                  </a:cxn>
                  <a:cxn ang="0">
                    <a:pos x="0" y="28"/>
                  </a:cxn>
                  <a:cxn ang="0">
                    <a:pos x="6" y="23"/>
                  </a:cxn>
                  <a:cxn ang="0">
                    <a:pos x="24" y="23"/>
                  </a:cxn>
                  <a:cxn ang="0">
                    <a:pos x="17" y="22"/>
                  </a:cxn>
                  <a:cxn ang="0">
                    <a:pos x="17" y="16"/>
                  </a:cxn>
                  <a:cxn ang="0">
                    <a:pos x="43" y="8"/>
                  </a:cxn>
                  <a:cxn ang="0">
                    <a:pos x="51" y="0"/>
                  </a:cxn>
                  <a:cxn ang="0">
                    <a:pos x="52" y="5"/>
                  </a:cxn>
                  <a:cxn ang="0">
                    <a:pos x="48" y="11"/>
                  </a:cxn>
                  <a:cxn ang="0">
                    <a:pos x="28" y="23"/>
                  </a:cxn>
                  <a:cxn ang="0">
                    <a:pos x="53" y="29"/>
                  </a:cxn>
                  <a:cxn ang="0">
                    <a:pos x="40" y="31"/>
                  </a:cxn>
                </a:cxnLst>
                <a:rect l="0" t="0" r="r" b="b"/>
                <a:pathLst>
                  <a:path w="53" h="36">
                    <a:moveTo>
                      <a:pt x="40" y="31"/>
                    </a:moveTo>
                    <a:cubicBezTo>
                      <a:pt x="34" y="31"/>
                      <a:pt x="27" y="36"/>
                      <a:pt x="22" y="36"/>
                    </a:cubicBezTo>
                    <a:cubicBezTo>
                      <a:pt x="19" y="36"/>
                      <a:pt x="1" y="28"/>
                      <a:pt x="0" y="28"/>
                    </a:cubicBezTo>
                    <a:cubicBezTo>
                      <a:pt x="3" y="26"/>
                      <a:pt x="4" y="25"/>
                      <a:pt x="6" y="23"/>
                    </a:cubicBezTo>
                    <a:cubicBezTo>
                      <a:pt x="24" y="23"/>
                      <a:pt x="24" y="23"/>
                      <a:pt x="24" y="23"/>
                    </a:cubicBezTo>
                    <a:cubicBezTo>
                      <a:pt x="19" y="21"/>
                      <a:pt x="21" y="20"/>
                      <a:pt x="17" y="22"/>
                    </a:cubicBezTo>
                    <a:cubicBezTo>
                      <a:pt x="17" y="16"/>
                      <a:pt x="17" y="16"/>
                      <a:pt x="17" y="16"/>
                    </a:cubicBezTo>
                    <a:cubicBezTo>
                      <a:pt x="30" y="16"/>
                      <a:pt x="30" y="8"/>
                      <a:pt x="43" y="8"/>
                    </a:cubicBezTo>
                    <a:cubicBezTo>
                      <a:pt x="44" y="4"/>
                      <a:pt x="47" y="0"/>
                      <a:pt x="51" y="0"/>
                    </a:cubicBezTo>
                    <a:cubicBezTo>
                      <a:pt x="52" y="0"/>
                      <a:pt x="52" y="4"/>
                      <a:pt x="52" y="5"/>
                    </a:cubicBezTo>
                    <a:cubicBezTo>
                      <a:pt x="50" y="7"/>
                      <a:pt x="48" y="9"/>
                      <a:pt x="48" y="11"/>
                    </a:cubicBezTo>
                    <a:cubicBezTo>
                      <a:pt x="41" y="16"/>
                      <a:pt x="32" y="18"/>
                      <a:pt x="28" y="23"/>
                    </a:cubicBezTo>
                    <a:cubicBezTo>
                      <a:pt x="40" y="24"/>
                      <a:pt x="43" y="25"/>
                      <a:pt x="53" y="29"/>
                    </a:cubicBezTo>
                    <a:cubicBezTo>
                      <a:pt x="49" y="32"/>
                      <a:pt x="45" y="31"/>
                      <a:pt x="40"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7" name="Freeform 164"/>
              <p:cNvSpPr>
                <a:spLocks/>
              </p:cNvSpPr>
              <p:nvPr/>
            </p:nvSpPr>
            <p:spPr bwMode="auto">
              <a:xfrm>
                <a:off x="6675438" y="1244600"/>
                <a:ext cx="128588" cy="49213"/>
              </a:xfrm>
              <a:custGeom>
                <a:avLst/>
                <a:gdLst/>
                <a:ahLst/>
                <a:cxnLst>
                  <a:cxn ang="0">
                    <a:pos x="77" y="29"/>
                  </a:cxn>
                  <a:cxn ang="0">
                    <a:pos x="66" y="34"/>
                  </a:cxn>
                  <a:cxn ang="0">
                    <a:pos x="58" y="29"/>
                  </a:cxn>
                  <a:cxn ang="0">
                    <a:pos x="50" y="32"/>
                  </a:cxn>
                  <a:cxn ang="0">
                    <a:pos x="40" y="36"/>
                  </a:cxn>
                  <a:cxn ang="0">
                    <a:pos x="32" y="31"/>
                  </a:cxn>
                  <a:cxn ang="0">
                    <a:pos x="22" y="38"/>
                  </a:cxn>
                  <a:cxn ang="0">
                    <a:pos x="0" y="18"/>
                  </a:cxn>
                  <a:cxn ang="0">
                    <a:pos x="20" y="0"/>
                  </a:cxn>
                  <a:cxn ang="0">
                    <a:pos x="47" y="15"/>
                  </a:cxn>
                  <a:cxn ang="0">
                    <a:pos x="54" y="3"/>
                  </a:cxn>
                  <a:cxn ang="0">
                    <a:pos x="97" y="15"/>
                  </a:cxn>
                  <a:cxn ang="0">
                    <a:pos x="89" y="29"/>
                  </a:cxn>
                  <a:cxn ang="0">
                    <a:pos x="77" y="29"/>
                  </a:cxn>
                </a:cxnLst>
                <a:rect l="0" t="0" r="r" b="b"/>
                <a:pathLst>
                  <a:path w="97" h="38">
                    <a:moveTo>
                      <a:pt x="77" y="29"/>
                    </a:moveTo>
                    <a:cubicBezTo>
                      <a:pt x="74" y="29"/>
                      <a:pt x="72" y="34"/>
                      <a:pt x="66" y="34"/>
                    </a:cubicBezTo>
                    <a:cubicBezTo>
                      <a:pt x="63" y="34"/>
                      <a:pt x="62" y="29"/>
                      <a:pt x="58" y="29"/>
                    </a:cubicBezTo>
                    <a:cubicBezTo>
                      <a:pt x="55" y="29"/>
                      <a:pt x="53" y="32"/>
                      <a:pt x="50" y="32"/>
                    </a:cubicBezTo>
                    <a:cubicBezTo>
                      <a:pt x="47" y="32"/>
                      <a:pt x="44" y="36"/>
                      <a:pt x="40" y="36"/>
                    </a:cubicBezTo>
                    <a:cubicBezTo>
                      <a:pt x="36" y="36"/>
                      <a:pt x="34" y="34"/>
                      <a:pt x="32" y="31"/>
                    </a:cubicBezTo>
                    <a:cubicBezTo>
                      <a:pt x="29" y="34"/>
                      <a:pt x="27" y="38"/>
                      <a:pt x="22" y="38"/>
                    </a:cubicBezTo>
                    <a:cubicBezTo>
                      <a:pt x="11" y="38"/>
                      <a:pt x="0" y="29"/>
                      <a:pt x="0" y="18"/>
                    </a:cubicBezTo>
                    <a:cubicBezTo>
                      <a:pt x="0" y="8"/>
                      <a:pt x="11" y="0"/>
                      <a:pt x="20" y="0"/>
                    </a:cubicBezTo>
                    <a:cubicBezTo>
                      <a:pt x="34" y="0"/>
                      <a:pt x="35" y="15"/>
                      <a:pt x="47" y="15"/>
                    </a:cubicBezTo>
                    <a:cubicBezTo>
                      <a:pt x="47" y="8"/>
                      <a:pt x="49" y="3"/>
                      <a:pt x="54" y="3"/>
                    </a:cubicBezTo>
                    <a:cubicBezTo>
                      <a:pt x="62" y="3"/>
                      <a:pt x="88" y="12"/>
                      <a:pt x="97" y="15"/>
                    </a:cubicBezTo>
                    <a:cubicBezTo>
                      <a:pt x="95" y="21"/>
                      <a:pt x="89" y="26"/>
                      <a:pt x="89" y="29"/>
                    </a:cubicBezTo>
                    <a:lnTo>
                      <a:pt x="77" y="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8" name="Freeform 165"/>
              <p:cNvSpPr>
                <a:spLocks/>
              </p:cNvSpPr>
              <p:nvPr/>
            </p:nvSpPr>
            <p:spPr bwMode="auto">
              <a:xfrm>
                <a:off x="4924425" y="2252663"/>
                <a:ext cx="34925" cy="17463"/>
              </a:xfrm>
              <a:custGeom>
                <a:avLst/>
                <a:gdLst/>
                <a:ahLst/>
                <a:cxnLst>
                  <a:cxn ang="0">
                    <a:pos x="5" y="13"/>
                  </a:cxn>
                  <a:cxn ang="0">
                    <a:pos x="2" y="11"/>
                  </a:cxn>
                  <a:cxn ang="0">
                    <a:pos x="0" y="9"/>
                  </a:cxn>
                  <a:cxn ang="0">
                    <a:pos x="26" y="0"/>
                  </a:cxn>
                  <a:cxn ang="0">
                    <a:pos x="20" y="4"/>
                  </a:cxn>
                  <a:cxn ang="0">
                    <a:pos x="19" y="8"/>
                  </a:cxn>
                  <a:cxn ang="0">
                    <a:pos x="5" y="13"/>
                  </a:cxn>
                </a:cxnLst>
                <a:rect l="0" t="0" r="r" b="b"/>
                <a:pathLst>
                  <a:path w="26" h="13">
                    <a:moveTo>
                      <a:pt x="5" y="13"/>
                    </a:moveTo>
                    <a:cubicBezTo>
                      <a:pt x="4" y="13"/>
                      <a:pt x="2" y="12"/>
                      <a:pt x="2" y="11"/>
                    </a:cubicBezTo>
                    <a:cubicBezTo>
                      <a:pt x="1" y="11"/>
                      <a:pt x="0" y="9"/>
                      <a:pt x="0" y="9"/>
                    </a:cubicBezTo>
                    <a:cubicBezTo>
                      <a:pt x="7" y="6"/>
                      <a:pt x="18" y="1"/>
                      <a:pt x="26" y="0"/>
                    </a:cubicBezTo>
                    <a:cubicBezTo>
                      <a:pt x="25" y="4"/>
                      <a:pt x="22" y="2"/>
                      <a:pt x="20" y="4"/>
                    </a:cubicBezTo>
                    <a:cubicBezTo>
                      <a:pt x="18" y="4"/>
                      <a:pt x="19" y="7"/>
                      <a:pt x="19" y="8"/>
                    </a:cubicBezTo>
                    <a:cubicBezTo>
                      <a:pt x="18" y="11"/>
                      <a:pt x="9" y="13"/>
                      <a:pt x="5"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9" name="Freeform 166"/>
              <p:cNvSpPr>
                <a:spLocks/>
              </p:cNvSpPr>
              <p:nvPr/>
            </p:nvSpPr>
            <p:spPr bwMode="auto">
              <a:xfrm>
                <a:off x="5183188" y="1463675"/>
                <a:ext cx="34925" cy="25400"/>
              </a:xfrm>
              <a:custGeom>
                <a:avLst/>
                <a:gdLst/>
                <a:ahLst/>
                <a:cxnLst>
                  <a:cxn ang="0">
                    <a:pos x="5" y="4"/>
                  </a:cxn>
                  <a:cxn ang="0">
                    <a:pos x="11" y="0"/>
                  </a:cxn>
                  <a:cxn ang="0">
                    <a:pos x="26" y="6"/>
                  </a:cxn>
                  <a:cxn ang="0">
                    <a:pos x="26" y="12"/>
                  </a:cxn>
                  <a:cxn ang="0">
                    <a:pos x="8" y="19"/>
                  </a:cxn>
                  <a:cxn ang="0">
                    <a:pos x="0" y="14"/>
                  </a:cxn>
                  <a:cxn ang="0">
                    <a:pos x="5" y="4"/>
                  </a:cxn>
                </a:cxnLst>
                <a:rect l="0" t="0" r="r" b="b"/>
                <a:pathLst>
                  <a:path w="26" h="19">
                    <a:moveTo>
                      <a:pt x="5" y="4"/>
                    </a:moveTo>
                    <a:cubicBezTo>
                      <a:pt x="8" y="4"/>
                      <a:pt x="8" y="0"/>
                      <a:pt x="11" y="0"/>
                    </a:cubicBezTo>
                    <a:cubicBezTo>
                      <a:pt x="17" y="0"/>
                      <a:pt x="20" y="5"/>
                      <a:pt x="26" y="6"/>
                    </a:cubicBezTo>
                    <a:cubicBezTo>
                      <a:pt x="26" y="12"/>
                      <a:pt x="26" y="12"/>
                      <a:pt x="26" y="12"/>
                    </a:cubicBezTo>
                    <a:cubicBezTo>
                      <a:pt x="20" y="15"/>
                      <a:pt x="15" y="19"/>
                      <a:pt x="8" y="19"/>
                    </a:cubicBezTo>
                    <a:cubicBezTo>
                      <a:pt x="2" y="19"/>
                      <a:pt x="0" y="19"/>
                      <a:pt x="0" y="14"/>
                    </a:cubicBezTo>
                    <a:cubicBezTo>
                      <a:pt x="0" y="12"/>
                      <a:pt x="4" y="4"/>
                      <a:pt x="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80" name="Freeform 167"/>
              <p:cNvSpPr>
                <a:spLocks/>
              </p:cNvSpPr>
              <p:nvPr/>
            </p:nvSpPr>
            <p:spPr bwMode="auto">
              <a:xfrm>
                <a:off x="5359400" y="1433513"/>
                <a:ext cx="26988" cy="25400"/>
              </a:xfrm>
              <a:custGeom>
                <a:avLst/>
                <a:gdLst/>
                <a:ahLst/>
                <a:cxnLst>
                  <a:cxn ang="0">
                    <a:pos x="21" y="17"/>
                  </a:cxn>
                  <a:cxn ang="0">
                    <a:pos x="15" y="19"/>
                  </a:cxn>
                  <a:cxn ang="0">
                    <a:pos x="0" y="8"/>
                  </a:cxn>
                  <a:cxn ang="0">
                    <a:pos x="21" y="17"/>
                  </a:cxn>
                </a:cxnLst>
                <a:rect l="0" t="0" r="r" b="b"/>
                <a:pathLst>
                  <a:path w="21" h="20">
                    <a:moveTo>
                      <a:pt x="21" y="17"/>
                    </a:moveTo>
                    <a:cubicBezTo>
                      <a:pt x="21" y="20"/>
                      <a:pt x="15" y="19"/>
                      <a:pt x="15" y="19"/>
                    </a:cubicBezTo>
                    <a:cubicBezTo>
                      <a:pt x="10" y="19"/>
                      <a:pt x="0" y="14"/>
                      <a:pt x="0" y="8"/>
                    </a:cubicBezTo>
                    <a:cubicBezTo>
                      <a:pt x="0" y="0"/>
                      <a:pt x="21" y="8"/>
                      <a:pt x="21"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81" name="Freeform 168"/>
              <p:cNvSpPr>
                <a:spLocks/>
              </p:cNvSpPr>
              <p:nvPr/>
            </p:nvSpPr>
            <p:spPr bwMode="auto">
              <a:xfrm>
                <a:off x="5549900" y="1338263"/>
                <a:ext cx="25400" cy="17463"/>
              </a:xfrm>
              <a:custGeom>
                <a:avLst/>
                <a:gdLst/>
                <a:ahLst/>
                <a:cxnLst>
                  <a:cxn ang="0">
                    <a:pos x="2" y="13"/>
                  </a:cxn>
                  <a:cxn ang="0">
                    <a:pos x="19" y="8"/>
                  </a:cxn>
                  <a:cxn ang="0">
                    <a:pos x="8" y="0"/>
                  </a:cxn>
                  <a:cxn ang="0">
                    <a:pos x="2" y="9"/>
                  </a:cxn>
                  <a:cxn ang="0">
                    <a:pos x="2" y="13"/>
                  </a:cxn>
                </a:cxnLst>
                <a:rect l="0" t="0" r="r" b="b"/>
                <a:pathLst>
                  <a:path w="19" h="13">
                    <a:moveTo>
                      <a:pt x="2" y="13"/>
                    </a:moveTo>
                    <a:cubicBezTo>
                      <a:pt x="7" y="13"/>
                      <a:pt x="17" y="10"/>
                      <a:pt x="19" y="8"/>
                    </a:cubicBezTo>
                    <a:cubicBezTo>
                      <a:pt x="15" y="5"/>
                      <a:pt x="13" y="0"/>
                      <a:pt x="8" y="0"/>
                    </a:cubicBezTo>
                    <a:cubicBezTo>
                      <a:pt x="4" y="0"/>
                      <a:pt x="2" y="5"/>
                      <a:pt x="2" y="9"/>
                    </a:cubicBezTo>
                    <a:cubicBezTo>
                      <a:pt x="2" y="10"/>
                      <a:pt x="0" y="13"/>
                      <a:pt x="2"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82" name="Freeform 169"/>
              <p:cNvSpPr>
                <a:spLocks/>
              </p:cNvSpPr>
              <p:nvPr/>
            </p:nvSpPr>
            <p:spPr bwMode="auto">
              <a:xfrm>
                <a:off x="6727825" y="1320800"/>
                <a:ext cx="53975" cy="22225"/>
              </a:xfrm>
              <a:custGeom>
                <a:avLst/>
                <a:gdLst/>
                <a:ahLst/>
                <a:cxnLst>
                  <a:cxn ang="0">
                    <a:pos x="0" y="13"/>
                  </a:cxn>
                  <a:cxn ang="0">
                    <a:pos x="21" y="0"/>
                  </a:cxn>
                  <a:cxn ang="0">
                    <a:pos x="41" y="17"/>
                  </a:cxn>
                  <a:cxn ang="0">
                    <a:pos x="28" y="17"/>
                  </a:cxn>
                  <a:cxn ang="0">
                    <a:pos x="2" y="11"/>
                  </a:cxn>
                  <a:cxn ang="0">
                    <a:pos x="0" y="13"/>
                  </a:cxn>
                </a:cxnLst>
                <a:rect l="0" t="0" r="r" b="b"/>
                <a:pathLst>
                  <a:path w="41" h="17">
                    <a:moveTo>
                      <a:pt x="0" y="13"/>
                    </a:moveTo>
                    <a:cubicBezTo>
                      <a:pt x="5" y="6"/>
                      <a:pt x="11" y="0"/>
                      <a:pt x="21" y="0"/>
                    </a:cubicBezTo>
                    <a:cubicBezTo>
                      <a:pt x="32" y="0"/>
                      <a:pt x="41" y="7"/>
                      <a:pt x="41" y="17"/>
                    </a:cubicBezTo>
                    <a:cubicBezTo>
                      <a:pt x="28" y="17"/>
                      <a:pt x="28" y="17"/>
                      <a:pt x="28" y="17"/>
                    </a:cubicBezTo>
                    <a:cubicBezTo>
                      <a:pt x="20" y="13"/>
                      <a:pt x="10" y="14"/>
                      <a:pt x="2" y="11"/>
                    </a:cubicBezTo>
                    <a:lnTo>
                      <a:pt x="0"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83" name="Freeform 170"/>
              <p:cNvSpPr>
                <a:spLocks/>
              </p:cNvSpPr>
              <p:nvPr/>
            </p:nvSpPr>
            <p:spPr bwMode="auto">
              <a:xfrm>
                <a:off x="6832600" y="1266825"/>
                <a:ext cx="74613" cy="26988"/>
              </a:xfrm>
              <a:custGeom>
                <a:avLst/>
                <a:gdLst/>
                <a:ahLst/>
                <a:cxnLst>
                  <a:cxn ang="0">
                    <a:pos x="0" y="0"/>
                  </a:cxn>
                  <a:cxn ang="0">
                    <a:pos x="52" y="9"/>
                  </a:cxn>
                  <a:cxn ang="0">
                    <a:pos x="56" y="13"/>
                  </a:cxn>
                  <a:cxn ang="0">
                    <a:pos x="37" y="20"/>
                  </a:cxn>
                  <a:cxn ang="0">
                    <a:pos x="4" y="3"/>
                  </a:cxn>
                  <a:cxn ang="0">
                    <a:pos x="0" y="0"/>
                  </a:cxn>
                </a:cxnLst>
                <a:rect l="0" t="0" r="r" b="b"/>
                <a:pathLst>
                  <a:path w="56" h="20">
                    <a:moveTo>
                      <a:pt x="0" y="0"/>
                    </a:moveTo>
                    <a:cubicBezTo>
                      <a:pt x="4" y="3"/>
                      <a:pt x="50" y="9"/>
                      <a:pt x="52" y="9"/>
                    </a:cubicBezTo>
                    <a:cubicBezTo>
                      <a:pt x="55" y="9"/>
                      <a:pt x="56" y="11"/>
                      <a:pt x="56" y="13"/>
                    </a:cubicBezTo>
                    <a:cubicBezTo>
                      <a:pt x="56" y="18"/>
                      <a:pt x="44" y="20"/>
                      <a:pt x="37" y="20"/>
                    </a:cubicBezTo>
                    <a:cubicBezTo>
                      <a:pt x="25" y="20"/>
                      <a:pt x="4" y="14"/>
                      <a:pt x="4" y="3"/>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84" name="Freeform 171"/>
              <p:cNvSpPr>
                <a:spLocks/>
              </p:cNvSpPr>
              <p:nvPr/>
            </p:nvSpPr>
            <p:spPr bwMode="auto">
              <a:xfrm>
                <a:off x="6726238" y="1303338"/>
                <a:ext cx="15875" cy="17463"/>
              </a:xfrm>
              <a:custGeom>
                <a:avLst/>
                <a:gdLst/>
                <a:ahLst/>
                <a:cxnLst>
                  <a:cxn ang="0">
                    <a:pos x="12" y="7"/>
                  </a:cxn>
                  <a:cxn ang="0">
                    <a:pos x="5" y="13"/>
                  </a:cxn>
                  <a:cxn ang="0">
                    <a:pos x="0" y="7"/>
                  </a:cxn>
                  <a:cxn ang="0">
                    <a:pos x="12" y="7"/>
                  </a:cxn>
                </a:cxnLst>
                <a:rect l="0" t="0" r="r" b="b"/>
                <a:pathLst>
                  <a:path w="12" h="13">
                    <a:moveTo>
                      <a:pt x="12" y="7"/>
                    </a:moveTo>
                    <a:cubicBezTo>
                      <a:pt x="12" y="11"/>
                      <a:pt x="8" y="13"/>
                      <a:pt x="5" y="13"/>
                    </a:cubicBezTo>
                    <a:cubicBezTo>
                      <a:pt x="0" y="13"/>
                      <a:pt x="0" y="11"/>
                      <a:pt x="0" y="7"/>
                    </a:cubicBezTo>
                    <a:cubicBezTo>
                      <a:pt x="0" y="0"/>
                      <a:pt x="12" y="1"/>
                      <a:pt x="12"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grpSp>
      </p:grpSp>
    </p:spTree>
    <p:extLst>
      <p:ext uri="{BB962C8B-B14F-4D97-AF65-F5344CB8AC3E}">
        <p14:creationId xmlns:p14="http://schemas.microsoft.com/office/powerpoint/2010/main" val="2323118734"/>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Social Network">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
        <p:nvSpPr>
          <p:cNvPr id="185" name="Freeform 5"/>
          <p:cNvSpPr>
            <a:spLocks noEditPoints="1"/>
          </p:cNvSpPr>
          <p:nvPr userDrawn="1"/>
        </p:nvSpPr>
        <p:spPr bwMode="auto">
          <a:xfrm>
            <a:off x="876647" y="1135137"/>
            <a:ext cx="7390707" cy="3836941"/>
          </a:xfrm>
          <a:custGeom>
            <a:avLst/>
            <a:gdLst>
              <a:gd name="T0" fmla="*/ 1631 w 1765"/>
              <a:gd name="T1" fmla="*/ 822 h 915"/>
              <a:gd name="T2" fmla="*/ 1615 w 1765"/>
              <a:gd name="T3" fmla="*/ 679 h 915"/>
              <a:gd name="T4" fmla="*/ 1465 w 1765"/>
              <a:gd name="T5" fmla="*/ 648 h 915"/>
              <a:gd name="T6" fmla="*/ 1514 w 1765"/>
              <a:gd name="T7" fmla="*/ 800 h 915"/>
              <a:gd name="T8" fmla="*/ 1340 w 1765"/>
              <a:gd name="T9" fmla="*/ 612 h 915"/>
              <a:gd name="T10" fmla="*/ 1441 w 1765"/>
              <a:gd name="T11" fmla="*/ 589 h 915"/>
              <a:gd name="T12" fmla="*/ 1423 w 1765"/>
              <a:gd name="T13" fmla="*/ 581 h 915"/>
              <a:gd name="T14" fmla="*/ 436 w 1765"/>
              <a:gd name="T15" fmla="*/ 534 h 915"/>
              <a:gd name="T16" fmla="*/ 1398 w 1765"/>
              <a:gd name="T17" fmla="*/ 496 h 915"/>
              <a:gd name="T18" fmla="*/ 1431 w 1765"/>
              <a:gd name="T19" fmla="*/ 389 h 915"/>
              <a:gd name="T20" fmla="*/ 1479 w 1765"/>
              <a:gd name="T21" fmla="*/ 351 h 915"/>
              <a:gd name="T22" fmla="*/ 213 w 1765"/>
              <a:gd name="T23" fmla="*/ 277 h 915"/>
              <a:gd name="T24" fmla="*/ 1501 w 1765"/>
              <a:gd name="T25" fmla="*/ 286 h 915"/>
              <a:gd name="T26" fmla="*/ 1755 w 1765"/>
              <a:gd name="T27" fmla="*/ 243 h 915"/>
              <a:gd name="T28" fmla="*/ 788 w 1765"/>
              <a:gd name="T29" fmla="*/ 278 h 915"/>
              <a:gd name="T30" fmla="*/ 1718 w 1765"/>
              <a:gd name="T31" fmla="*/ 185 h 915"/>
              <a:gd name="T32" fmla="*/ 893 w 1765"/>
              <a:gd name="T33" fmla="*/ 137 h 915"/>
              <a:gd name="T34" fmla="*/ 570 w 1765"/>
              <a:gd name="T35" fmla="*/ 116 h 915"/>
              <a:gd name="T36" fmla="*/ 263 w 1765"/>
              <a:gd name="T37" fmla="*/ 116 h 915"/>
              <a:gd name="T38" fmla="*/ 421 w 1765"/>
              <a:gd name="T39" fmla="*/ 95 h 915"/>
              <a:gd name="T40" fmla="*/ 497 w 1765"/>
              <a:gd name="T41" fmla="*/ 160 h 915"/>
              <a:gd name="T42" fmla="*/ 356 w 1765"/>
              <a:gd name="T43" fmla="*/ 262 h 915"/>
              <a:gd name="T44" fmla="*/ 417 w 1765"/>
              <a:gd name="T45" fmla="*/ 301 h 915"/>
              <a:gd name="T46" fmla="*/ 629 w 1765"/>
              <a:gd name="T47" fmla="*/ 595 h 915"/>
              <a:gd name="T48" fmla="*/ 407 w 1765"/>
              <a:gd name="T49" fmla="*/ 487 h 915"/>
              <a:gd name="T50" fmla="*/ 481 w 1765"/>
              <a:gd name="T51" fmla="*/ 329 h 915"/>
              <a:gd name="T52" fmla="*/ 493 w 1765"/>
              <a:gd name="T53" fmla="*/ 214 h 915"/>
              <a:gd name="T54" fmla="*/ 402 w 1765"/>
              <a:gd name="T55" fmla="*/ 152 h 915"/>
              <a:gd name="T56" fmla="*/ 234 w 1765"/>
              <a:gd name="T57" fmla="*/ 129 h 915"/>
              <a:gd name="T58" fmla="*/ 44 w 1765"/>
              <a:gd name="T59" fmla="*/ 201 h 915"/>
              <a:gd name="T60" fmla="*/ 227 w 1765"/>
              <a:gd name="T61" fmla="*/ 276 h 915"/>
              <a:gd name="T62" fmla="*/ 401 w 1765"/>
              <a:gd name="T63" fmla="*/ 503 h 915"/>
              <a:gd name="T64" fmla="*/ 464 w 1765"/>
              <a:gd name="T65" fmla="*/ 881 h 915"/>
              <a:gd name="T66" fmla="*/ 638 w 1765"/>
              <a:gd name="T67" fmla="*/ 642 h 915"/>
              <a:gd name="T68" fmla="*/ 357 w 1765"/>
              <a:gd name="T69" fmla="*/ 78 h 915"/>
              <a:gd name="T70" fmla="*/ 343 w 1765"/>
              <a:gd name="T71" fmla="*/ 75 h 915"/>
              <a:gd name="T72" fmla="*/ 480 w 1765"/>
              <a:gd name="T73" fmla="*/ 62 h 915"/>
              <a:gd name="T74" fmla="*/ 1051 w 1765"/>
              <a:gd name="T75" fmla="*/ 346 h 915"/>
              <a:gd name="T76" fmla="*/ 953 w 1765"/>
              <a:gd name="T77" fmla="*/ 627 h 915"/>
              <a:gd name="T78" fmla="*/ 1614 w 1765"/>
              <a:gd name="T79" fmla="*/ 133 h 915"/>
              <a:gd name="T80" fmla="*/ 1346 w 1765"/>
              <a:gd name="T81" fmla="*/ 90 h 915"/>
              <a:gd name="T82" fmla="*/ 1187 w 1765"/>
              <a:gd name="T83" fmla="*/ 148 h 915"/>
              <a:gd name="T84" fmla="*/ 989 w 1765"/>
              <a:gd name="T85" fmla="*/ 175 h 915"/>
              <a:gd name="T86" fmla="*/ 841 w 1765"/>
              <a:gd name="T87" fmla="*/ 198 h 915"/>
              <a:gd name="T88" fmla="*/ 909 w 1765"/>
              <a:gd name="T89" fmla="*/ 249 h 915"/>
              <a:gd name="T90" fmla="*/ 860 w 1765"/>
              <a:gd name="T91" fmla="*/ 317 h 915"/>
              <a:gd name="T92" fmla="*/ 1005 w 1765"/>
              <a:gd name="T93" fmla="*/ 300 h 915"/>
              <a:gd name="T94" fmla="*/ 772 w 1765"/>
              <a:gd name="T95" fmla="*/ 393 h 915"/>
              <a:gd name="T96" fmla="*/ 888 w 1765"/>
              <a:gd name="T97" fmla="*/ 729 h 915"/>
              <a:gd name="T98" fmla="*/ 994 w 1765"/>
              <a:gd name="T99" fmla="*/ 458 h 915"/>
              <a:gd name="T100" fmla="*/ 1150 w 1765"/>
              <a:gd name="T101" fmla="*/ 451 h 915"/>
              <a:gd name="T102" fmla="*/ 1306 w 1765"/>
              <a:gd name="T103" fmla="*/ 515 h 915"/>
              <a:gd name="T104" fmla="*/ 1420 w 1765"/>
              <a:gd name="T105" fmla="*/ 350 h 915"/>
              <a:gd name="T106" fmla="*/ 1558 w 1765"/>
              <a:gd name="T107" fmla="*/ 253 h 915"/>
              <a:gd name="T108" fmla="*/ 256 w 1765"/>
              <a:gd name="T109" fmla="*/ 71 h 915"/>
              <a:gd name="T110" fmla="*/ 896 w 1765"/>
              <a:gd name="T111" fmla="*/ 61 h 915"/>
              <a:gd name="T112" fmla="*/ 1038 w 1765"/>
              <a:gd name="T113" fmla="*/ 34 h 915"/>
              <a:gd name="T114" fmla="*/ 371 w 1765"/>
              <a:gd name="T115" fmla="*/ 37 h 915"/>
              <a:gd name="T116" fmla="*/ 507 w 1765"/>
              <a:gd name="T117" fmla="*/ 23 h 915"/>
              <a:gd name="T118" fmla="*/ 363 w 1765"/>
              <a:gd name="T119" fmla="*/ 25 h 915"/>
              <a:gd name="T120" fmla="*/ 722 w 1765"/>
              <a:gd name="T121" fmla="*/ 60 h 915"/>
              <a:gd name="T122" fmla="*/ 572 w 1765"/>
              <a:gd name="T123" fmla="*/ 22 h 915"/>
              <a:gd name="T124" fmla="*/ 576 w 1765"/>
              <a:gd name="T125" fmla="*/ 14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5" h="915">
                <a:moveTo>
                  <a:pt x="492" y="914"/>
                </a:moveTo>
                <a:cubicBezTo>
                  <a:pt x="492" y="915"/>
                  <a:pt x="492" y="915"/>
                  <a:pt x="492" y="915"/>
                </a:cubicBezTo>
                <a:cubicBezTo>
                  <a:pt x="492" y="915"/>
                  <a:pt x="493" y="915"/>
                  <a:pt x="493" y="915"/>
                </a:cubicBezTo>
                <a:cubicBezTo>
                  <a:pt x="493" y="915"/>
                  <a:pt x="493" y="915"/>
                  <a:pt x="492" y="914"/>
                </a:cubicBezTo>
                <a:cubicBezTo>
                  <a:pt x="492" y="915"/>
                  <a:pt x="492" y="914"/>
                  <a:pt x="492" y="914"/>
                </a:cubicBezTo>
                <a:close/>
                <a:moveTo>
                  <a:pt x="493" y="914"/>
                </a:moveTo>
                <a:cubicBezTo>
                  <a:pt x="494" y="914"/>
                  <a:pt x="495" y="914"/>
                  <a:pt x="495" y="914"/>
                </a:cubicBezTo>
                <a:cubicBezTo>
                  <a:pt x="496" y="913"/>
                  <a:pt x="493" y="913"/>
                  <a:pt x="493" y="913"/>
                </a:cubicBezTo>
                <a:cubicBezTo>
                  <a:pt x="493" y="913"/>
                  <a:pt x="493" y="913"/>
                  <a:pt x="493" y="914"/>
                </a:cubicBezTo>
                <a:close/>
                <a:moveTo>
                  <a:pt x="489" y="911"/>
                </a:moveTo>
                <a:cubicBezTo>
                  <a:pt x="489" y="912"/>
                  <a:pt x="489" y="912"/>
                  <a:pt x="489" y="912"/>
                </a:cubicBezTo>
                <a:cubicBezTo>
                  <a:pt x="490" y="914"/>
                  <a:pt x="490" y="913"/>
                  <a:pt x="491" y="914"/>
                </a:cubicBezTo>
                <a:cubicBezTo>
                  <a:pt x="491" y="912"/>
                  <a:pt x="490" y="912"/>
                  <a:pt x="489" y="911"/>
                </a:cubicBezTo>
                <a:cubicBezTo>
                  <a:pt x="489" y="912"/>
                  <a:pt x="489" y="911"/>
                  <a:pt x="489" y="911"/>
                </a:cubicBezTo>
                <a:close/>
                <a:moveTo>
                  <a:pt x="490" y="911"/>
                </a:moveTo>
                <a:cubicBezTo>
                  <a:pt x="490" y="910"/>
                  <a:pt x="490" y="909"/>
                  <a:pt x="490" y="908"/>
                </a:cubicBezTo>
                <a:cubicBezTo>
                  <a:pt x="489" y="908"/>
                  <a:pt x="488" y="908"/>
                  <a:pt x="486" y="908"/>
                </a:cubicBezTo>
                <a:cubicBezTo>
                  <a:pt x="486" y="908"/>
                  <a:pt x="486" y="908"/>
                  <a:pt x="486" y="909"/>
                </a:cubicBezTo>
                <a:cubicBezTo>
                  <a:pt x="486" y="909"/>
                  <a:pt x="485" y="909"/>
                  <a:pt x="485" y="909"/>
                </a:cubicBezTo>
                <a:cubicBezTo>
                  <a:pt x="485" y="910"/>
                  <a:pt x="485" y="909"/>
                  <a:pt x="485" y="909"/>
                </a:cubicBezTo>
                <a:cubicBezTo>
                  <a:pt x="484" y="909"/>
                  <a:pt x="483" y="909"/>
                  <a:pt x="483" y="909"/>
                </a:cubicBezTo>
                <a:cubicBezTo>
                  <a:pt x="482" y="909"/>
                  <a:pt x="482" y="910"/>
                  <a:pt x="481" y="910"/>
                </a:cubicBezTo>
                <a:cubicBezTo>
                  <a:pt x="482" y="911"/>
                  <a:pt x="482" y="911"/>
                  <a:pt x="483" y="911"/>
                </a:cubicBezTo>
                <a:cubicBezTo>
                  <a:pt x="484" y="912"/>
                  <a:pt x="485" y="912"/>
                  <a:pt x="486" y="912"/>
                </a:cubicBezTo>
                <a:cubicBezTo>
                  <a:pt x="486" y="912"/>
                  <a:pt x="486" y="912"/>
                  <a:pt x="486" y="912"/>
                </a:cubicBezTo>
                <a:cubicBezTo>
                  <a:pt x="486" y="912"/>
                  <a:pt x="486" y="911"/>
                  <a:pt x="486" y="911"/>
                </a:cubicBezTo>
                <a:cubicBezTo>
                  <a:pt x="488" y="910"/>
                  <a:pt x="489" y="911"/>
                  <a:pt x="490" y="911"/>
                </a:cubicBezTo>
                <a:cubicBezTo>
                  <a:pt x="490" y="910"/>
                  <a:pt x="490" y="911"/>
                  <a:pt x="490" y="911"/>
                </a:cubicBezTo>
                <a:close/>
                <a:moveTo>
                  <a:pt x="477" y="909"/>
                </a:moveTo>
                <a:cubicBezTo>
                  <a:pt x="478" y="909"/>
                  <a:pt x="478" y="910"/>
                  <a:pt x="479" y="910"/>
                </a:cubicBezTo>
                <a:cubicBezTo>
                  <a:pt x="479" y="909"/>
                  <a:pt x="479" y="909"/>
                  <a:pt x="480" y="908"/>
                </a:cubicBezTo>
                <a:cubicBezTo>
                  <a:pt x="480" y="908"/>
                  <a:pt x="480" y="908"/>
                  <a:pt x="480" y="908"/>
                </a:cubicBezTo>
                <a:cubicBezTo>
                  <a:pt x="479" y="908"/>
                  <a:pt x="478" y="908"/>
                  <a:pt x="477" y="908"/>
                </a:cubicBezTo>
                <a:cubicBezTo>
                  <a:pt x="477" y="908"/>
                  <a:pt x="477" y="909"/>
                  <a:pt x="477" y="909"/>
                </a:cubicBezTo>
                <a:cubicBezTo>
                  <a:pt x="478" y="909"/>
                  <a:pt x="477" y="909"/>
                  <a:pt x="477" y="909"/>
                </a:cubicBezTo>
                <a:close/>
                <a:moveTo>
                  <a:pt x="476" y="907"/>
                </a:moveTo>
                <a:cubicBezTo>
                  <a:pt x="475" y="907"/>
                  <a:pt x="475" y="907"/>
                  <a:pt x="475" y="907"/>
                </a:cubicBezTo>
                <a:cubicBezTo>
                  <a:pt x="476" y="908"/>
                  <a:pt x="478" y="908"/>
                  <a:pt x="476" y="907"/>
                </a:cubicBezTo>
                <a:cubicBezTo>
                  <a:pt x="476" y="907"/>
                  <a:pt x="476" y="907"/>
                  <a:pt x="476" y="907"/>
                </a:cubicBezTo>
                <a:close/>
                <a:moveTo>
                  <a:pt x="510" y="904"/>
                </a:moveTo>
                <a:cubicBezTo>
                  <a:pt x="510" y="905"/>
                  <a:pt x="508" y="905"/>
                  <a:pt x="508" y="906"/>
                </a:cubicBezTo>
                <a:cubicBezTo>
                  <a:pt x="508" y="907"/>
                  <a:pt x="510" y="906"/>
                  <a:pt x="510" y="907"/>
                </a:cubicBezTo>
                <a:cubicBezTo>
                  <a:pt x="511" y="907"/>
                  <a:pt x="512" y="906"/>
                  <a:pt x="512" y="906"/>
                </a:cubicBezTo>
                <a:cubicBezTo>
                  <a:pt x="513" y="906"/>
                  <a:pt x="513" y="905"/>
                  <a:pt x="513" y="905"/>
                </a:cubicBezTo>
                <a:cubicBezTo>
                  <a:pt x="512" y="905"/>
                  <a:pt x="512" y="905"/>
                  <a:pt x="511" y="905"/>
                </a:cubicBezTo>
                <a:cubicBezTo>
                  <a:pt x="510" y="905"/>
                  <a:pt x="511" y="904"/>
                  <a:pt x="510" y="904"/>
                </a:cubicBezTo>
                <a:close/>
                <a:moveTo>
                  <a:pt x="472" y="901"/>
                </a:moveTo>
                <a:cubicBezTo>
                  <a:pt x="472" y="901"/>
                  <a:pt x="472" y="900"/>
                  <a:pt x="472" y="900"/>
                </a:cubicBezTo>
                <a:cubicBezTo>
                  <a:pt x="472" y="900"/>
                  <a:pt x="472" y="899"/>
                  <a:pt x="473" y="899"/>
                </a:cubicBezTo>
                <a:cubicBezTo>
                  <a:pt x="472" y="899"/>
                  <a:pt x="471" y="898"/>
                  <a:pt x="471" y="898"/>
                </a:cubicBezTo>
                <a:cubicBezTo>
                  <a:pt x="471" y="898"/>
                  <a:pt x="470" y="898"/>
                  <a:pt x="470" y="898"/>
                </a:cubicBezTo>
                <a:cubicBezTo>
                  <a:pt x="470" y="897"/>
                  <a:pt x="470" y="897"/>
                  <a:pt x="469" y="897"/>
                </a:cubicBezTo>
                <a:cubicBezTo>
                  <a:pt x="469" y="897"/>
                  <a:pt x="469" y="896"/>
                  <a:pt x="469" y="896"/>
                </a:cubicBezTo>
                <a:cubicBezTo>
                  <a:pt x="468" y="896"/>
                  <a:pt x="468" y="896"/>
                  <a:pt x="467" y="895"/>
                </a:cubicBezTo>
                <a:cubicBezTo>
                  <a:pt x="467" y="897"/>
                  <a:pt x="466" y="898"/>
                  <a:pt x="466" y="899"/>
                </a:cubicBezTo>
                <a:cubicBezTo>
                  <a:pt x="467" y="899"/>
                  <a:pt x="467" y="899"/>
                  <a:pt x="467" y="900"/>
                </a:cubicBezTo>
                <a:cubicBezTo>
                  <a:pt x="468" y="900"/>
                  <a:pt x="468" y="900"/>
                  <a:pt x="469" y="900"/>
                </a:cubicBezTo>
                <a:cubicBezTo>
                  <a:pt x="469" y="900"/>
                  <a:pt x="469" y="901"/>
                  <a:pt x="469" y="902"/>
                </a:cubicBezTo>
                <a:cubicBezTo>
                  <a:pt x="469" y="901"/>
                  <a:pt x="469" y="902"/>
                  <a:pt x="469" y="902"/>
                </a:cubicBezTo>
                <a:cubicBezTo>
                  <a:pt x="470" y="902"/>
                  <a:pt x="470" y="902"/>
                  <a:pt x="470" y="902"/>
                </a:cubicBezTo>
                <a:cubicBezTo>
                  <a:pt x="471" y="902"/>
                  <a:pt x="471" y="902"/>
                  <a:pt x="472" y="902"/>
                </a:cubicBezTo>
                <a:cubicBezTo>
                  <a:pt x="472" y="902"/>
                  <a:pt x="472" y="902"/>
                  <a:pt x="473" y="902"/>
                </a:cubicBezTo>
                <a:cubicBezTo>
                  <a:pt x="472" y="902"/>
                  <a:pt x="472" y="901"/>
                  <a:pt x="472" y="901"/>
                </a:cubicBezTo>
                <a:close/>
                <a:moveTo>
                  <a:pt x="495" y="907"/>
                </a:moveTo>
                <a:cubicBezTo>
                  <a:pt x="494" y="907"/>
                  <a:pt x="494" y="907"/>
                  <a:pt x="493" y="907"/>
                </a:cubicBezTo>
                <a:cubicBezTo>
                  <a:pt x="492" y="907"/>
                  <a:pt x="491" y="907"/>
                  <a:pt x="492" y="907"/>
                </a:cubicBezTo>
                <a:cubicBezTo>
                  <a:pt x="493" y="907"/>
                  <a:pt x="495" y="906"/>
                  <a:pt x="495" y="907"/>
                </a:cubicBezTo>
                <a:close/>
                <a:moveTo>
                  <a:pt x="503" y="905"/>
                </a:moveTo>
                <a:cubicBezTo>
                  <a:pt x="503" y="905"/>
                  <a:pt x="501" y="905"/>
                  <a:pt x="501" y="905"/>
                </a:cubicBezTo>
                <a:cubicBezTo>
                  <a:pt x="501" y="905"/>
                  <a:pt x="500" y="905"/>
                  <a:pt x="500" y="905"/>
                </a:cubicBezTo>
                <a:cubicBezTo>
                  <a:pt x="500" y="905"/>
                  <a:pt x="500" y="904"/>
                  <a:pt x="500" y="904"/>
                </a:cubicBezTo>
                <a:cubicBezTo>
                  <a:pt x="499" y="904"/>
                  <a:pt x="499" y="904"/>
                  <a:pt x="499" y="904"/>
                </a:cubicBezTo>
                <a:cubicBezTo>
                  <a:pt x="497" y="904"/>
                  <a:pt x="497" y="902"/>
                  <a:pt x="496" y="902"/>
                </a:cubicBezTo>
                <a:cubicBezTo>
                  <a:pt x="495" y="902"/>
                  <a:pt x="495" y="902"/>
                  <a:pt x="495" y="902"/>
                </a:cubicBezTo>
                <a:cubicBezTo>
                  <a:pt x="495" y="901"/>
                  <a:pt x="494" y="902"/>
                  <a:pt x="494" y="901"/>
                </a:cubicBezTo>
                <a:cubicBezTo>
                  <a:pt x="494" y="901"/>
                  <a:pt x="493" y="901"/>
                  <a:pt x="493" y="901"/>
                </a:cubicBezTo>
                <a:cubicBezTo>
                  <a:pt x="493" y="900"/>
                  <a:pt x="494" y="900"/>
                  <a:pt x="493" y="899"/>
                </a:cubicBezTo>
                <a:cubicBezTo>
                  <a:pt x="492" y="899"/>
                  <a:pt x="491" y="898"/>
                  <a:pt x="491" y="897"/>
                </a:cubicBezTo>
                <a:cubicBezTo>
                  <a:pt x="491" y="896"/>
                  <a:pt x="490" y="896"/>
                  <a:pt x="489" y="896"/>
                </a:cubicBezTo>
                <a:cubicBezTo>
                  <a:pt x="489" y="895"/>
                  <a:pt x="491" y="895"/>
                  <a:pt x="491" y="894"/>
                </a:cubicBezTo>
                <a:cubicBezTo>
                  <a:pt x="491" y="893"/>
                  <a:pt x="489" y="893"/>
                  <a:pt x="489" y="892"/>
                </a:cubicBezTo>
                <a:cubicBezTo>
                  <a:pt x="488" y="892"/>
                  <a:pt x="488" y="892"/>
                  <a:pt x="487" y="892"/>
                </a:cubicBezTo>
                <a:cubicBezTo>
                  <a:pt x="486" y="893"/>
                  <a:pt x="486" y="892"/>
                  <a:pt x="486" y="891"/>
                </a:cubicBezTo>
                <a:cubicBezTo>
                  <a:pt x="485" y="891"/>
                  <a:pt x="485" y="892"/>
                  <a:pt x="484" y="892"/>
                </a:cubicBezTo>
                <a:cubicBezTo>
                  <a:pt x="484" y="892"/>
                  <a:pt x="483" y="893"/>
                  <a:pt x="483" y="893"/>
                </a:cubicBezTo>
                <a:cubicBezTo>
                  <a:pt x="482" y="893"/>
                  <a:pt x="482" y="892"/>
                  <a:pt x="481" y="892"/>
                </a:cubicBezTo>
                <a:cubicBezTo>
                  <a:pt x="478" y="893"/>
                  <a:pt x="479" y="894"/>
                  <a:pt x="480" y="895"/>
                </a:cubicBezTo>
                <a:cubicBezTo>
                  <a:pt x="480" y="895"/>
                  <a:pt x="480" y="895"/>
                  <a:pt x="480" y="895"/>
                </a:cubicBezTo>
                <a:cubicBezTo>
                  <a:pt x="480" y="896"/>
                  <a:pt x="479" y="897"/>
                  <a:pt x="480" y="897"/>
                </a:cubicBezTo>
                <a:cubicBezTo>
                  <a:pt x="481" y="897"/>
                  <a:pt x="481" y="898"/>
                  <a:pt x="481" y="897"/>
                </a:cubicBezTo>
                <a:cubicBezTo>
                  <a:pt x="482" y="897"/>
                  <a:pt x="483" y="897"/>
                  <a:pt x="484" y="897"/>
                </a:cubicBezTo>
                <a:cubicBezTo>
                  <a:pt x="484" y="898"/>
                  <a:pt x="484" y="898"/>
                  <a:pt x="484" y="898"/>
                </a:cubicBezTo>
                <a:cubicBezTo>
                  <a:pt x="483" y="898"/>
                  <a:pt x="483" y="898"/>
                  <a:pt x="482" y="899"/>
                </a:cubicBezTo>
                <a:cubicBezTo>
                  <a:pt x="482" y="899"/>
                  <a:pt x="481" y="899"/>
                  <a:pt x="481" y="899"/>
                </a:cubicBezTo>
                <a:cubicBezTo>
                  <a:pt x="481" y="900"/>
                  <a:pt x="481" y="899"/>
                  <a:pt x="481" y="899"/>
                </a:cubicBezTo>
                <a:cubicBezTo>
                  <a:pt x="480" y="899"/>
                  <a:pt x="480" y="900"/>
                  <a:pt x="481" y="901"/>
                </a:cubicBezTo>
                <a:cubicBezTo>
                  <a:pt x="481" y="901"/>
                  <a:pt x="481" y="902"/>
                  <a:pt x="481" y="902"/>
                </a:cubicBezTo>
                <a:cubicBezTo>
                  <a:pt x="482" y="902"/>
                  <a:pt x="483" y="902"/>
                  <a:pt x="483" y="902"/>
                </a:cubicBezTo>
                <a:cubicBezTo>
                  <a:pt x="483" y="903"/>
                  <a:pt x="484" y="904"/>
                  <a:pt x="485" y="904"/>
                </a:cubicBezTo>
                <a:cubicBezTo>
                  <a:pt x="484" y="905"/>
                  <a:pt x="484" y="903"/>
                  <a:pt x="483" y="903"/>
                </a:cubicBezTo>
                <a:cubicBezTo>
                  <a:pt x="481" y="903"/>
                  <a:pt x="480" y="903"/>
                  <a:pt x="481" y="904"/>
                </a:cubicBezTo>
                <a:cubicBezTo>
                  <a:pt x="481" y="905"/>
                  <a:pt x="480" y="905"/>
                  <a:pt x="480" y="905"/>
                </a:cubicBezTo>
                <a:cubicBezTo>
                  <a:pt x="480" y="904"/>
                  <a:pt x="480" y="905"/>
                  <a:pt x="480" y="904"/>
                </a:cubicBezTo>
                <a:cubicBezTo>
                  <a:pt x="480" y="904"/>
                  <a:pt x="480" y="904"/>
                  <a:pt x="480" y="903"/>
                </a:cubicBezTo>
                <a:cubicBezTo>
                  <a:pt x="479" y="903"/>
                  <a:pt x="480" y="903"/>
                  <a:pt x="480" y="903"/>
                </a:cubicBezTo>
                <a:cubicBezTo>
                  <a:pt x="480" y="902"/>
                  <a:pt x="479" y="902"/>
                  <a:pt x="479" y="902"/>
                </a:cubicBezTo>
                <a:cubicBezTo>
                  <a:pt x="479" y="902"/>
                  <a:pt x="480" y="902"/>
                  <a:pt x="479" y="901"/>
                </a:cubicBezTo>
                <a:cubicBezTo>
                  <a:pt x="479" y="901"/>
                  <a:pt x="479" y="900"/>
                  <a:pt x="479" y="900"/>
                </a:cubicBezTo>
                <a:cubicBezTo>
                  <a:pt x="479" y="900"/>
                  <a:pt x="479" y="900"/>
                  <a:pt x="479" y="900"/>
                </a:cubicBezTo>
                <a:cubicBezTo>
                  <a:pt x="479" y="899"/>
                  <a:pt x="477" y="900"/>
                  <a:pt x="478" y="900"/>
                </a:cubicBezTo>
                <a:cubicBezTo>
                  <a:pt x="477" y="900"/>
                  <a:pt x="477" y="902"/>
                  <a:pt x="477" y="902"/>
                </a:cubicBezTo>
                <a:cubicBezTo>
                  <a:pt x="476" y="901"/>
                  <a:pt x="476" y="901"/>
                  <a:pt x="475" y="902"/>
                </a:cubicBezTo>
                <a:cubicBezTo>
                  <a:pt x="475" y="901"/>
                  <a:pt x="475" y="901"/>
                  <a:pt x="475" y="900"/>
                </a:cubicBezTo>
                <a:cubicBezTo>
                  <a:pt x="474" y="900"/>
                  <a:pt x="472" y="900"/>
                  <a:pt x="473" y="902"/>
                </a:cubicBezTo>
                <a:cubicBezTo>
                  <a:pt x="474" y="903"/>
                  <a:pt x="475" y="903"/>
                  <a:pt x="476" y="903"/>
                </a:cubicBezTo>
                <a:cubicBezTo>
                  <a:pt x="476" y="903"/>
                  <a:pt x="477" y="902"/>
                  <a:pt x="478" y="902"/>
                </a:cubicBezTo>
                <a:cubicBezTo>
                  <a:pt x="478" y="902"/>
                  <a:pt x="478" y="904"/>
                  <a:pt x="478" y="904"/>
                </a:cubicBezTo>
                <a:cubicBezTo>
                  <a:pt x="476" y="904"/>
                  <a:pt x="474" y="904"/>
                  <a:pt x="473" y="905"/>
                </a:cubicBezTo>
                <a:cubicBezTo>
                  <a:pt x="472" y="905"/>
                  <a:pt x="473" y="906"/>
                  <a:pt x="474" y="906"/>
                </a:cubicBezTo>
                <a:cubicBezTo>
                  <a:pt x="474" y="906"/>
                  <a:pt x="474" y="905"/>
                  <a:pt x="475" y="905"/>
                </a:cubicBezTo>
                <a:cubicBezTo>
                  <a:pt x="475" y="906"/>
                  <a:pt x="475" y="906"/>
                  <a:pt x="475" y="906"/>
                </a:cubicBezTo>
                <a:cubicBezTo>
                  <a:pt x="476" y="906"/>
                  <a:pt x="477" y="906"/>
                  <a:pt x="477" y="906"/>
                </a:cubicBezTo>
                <a:cubicBezTo>
                  <a:pt x="477" y="906"/>
                  <a:pt x="478" y="906"/>
                  <a:pt x="478" y="906"/>
                </a:cubicBezTo>
                <a:cubicBezTo>
                  <a:pt x="478" y="907"/>
                  <a:pt x="478" y="907"/>
                  <a:pt x="478" y="907"/>
                </a:cubicBezTo>
                <a:cubicBezTo>
                  <a:pt x="479" y="907"/>
                  <a:pt x="481" y="908"/>
                  <a:pt x="481" y="907"/>
                </a:cubicBezTo>
                <a:cubicBezTo>
                  <a:pt x="481" y="907"/>
                  <a:pt x="481" y="907"/>
                  <a:pt x="481" y="907"/>
                </a:cubicBezTo>
                <a:cubicBezTo>
                  <a:pt x="482" y="907"/>
                  <a:pt x="482" y="907"/>
                  <a:pt x="482" y="907"/>
                </a:cubicBezTo>
                <a:cubicBezTo>
                  <a:pt x="482" y="908"/>
                  <a:pt x="481" y="908"/>
                  <a:pt x="482" y="909"/>
                </a:cubicBezTo>
                <a:cubicBezTo>
                  <a:pt x="483" y="908"/>
                  <a:pt x="483" y="909"/>
                  <a:pt x="484" y="908"/>
                </a:cubicBezTo>
                <a:cubicBezTo>
                  <a:pt x="485" y="907"/>
                  <a:pt x="485" y="910"/>
                  <a:pt x="486" y="908"/>
                </a:cubicBezTo>
                <a:cubicBezTo>
                  <a:pt x="486" y="908"/>
                  <a:pt x="488" y="908"/>
                  <a:pt x="488" y="907"/>
                </a:cubicBezTo>
                <a:cubicBezTo>
                  <a:pt x="488" y="907"/>
                  <a:pt x="490" y="907"/>
                  <a:pt x="490" y="907"/>
                </a:cubicBezTo>
                <a:cubicBezTo>
                  <a:pt x="490" y="907"/>
                  <a:pt x="491" y="906"/>
                  <a:pt x="491" y="907"/>
                </a:cubicBezTo>
                <a:cubicBezTo>
                  <a:pt x="491" y="908"/>
                  <a:pt x="491" y="909"/>
                  <a:pt x="492" y="909"/>
                </a:cubicBezTo>
                <a:cubicBezTo>
                  <a:pt x="493" y="910"/>
                  <a:pt x="493" y="910"/>
                  <a:pt x="493" y="911"/>
                </a:cubicBezTo>
                <a:cubicBezTo>
                  <a:pt x="494" y="910"/>
                  <a:pt x="496" y="909"/>
                  <a:pt x="496" y="907"/>
                </a:cubicBezTo>
                <a:cubicBezTo>
                  <a:pt x="497" y="907"/>
                  <a:pt x="497" y="907"/>
                  <a:pt x="497" y="908"/>
                </a:cubicBezTo>
                <a:cubicBezTo>
                  <a:pt x="498" y="907"/>
                  <a:pt x="502" y="907"/>
                  <a:pt x="503" y="907"/>
                </a:cubicBezTo>
                <a:cubicBezTo>
                  <a:pt x="504" y="907"/>
                  <a:pt x="504" y="907"/>
                  <a:pt x="504" y="907"/>
                </a:cubicBezTo>
                <a:cubicBezTo>
                  <a:pt x="504" y="906"/>
                  <a:pt x="505" y="906"/>
                  <a:pt x="505" y="906"/>
                </a:cubicBezTo>
                <a:cubicBezTo>
                  <a:pt x="505" y="905"/>
                  <a:pt x="503" y="906"/>
                  <a:pt x="503" y="905"/>
                </a:cubicBezTo>
                <a:close/>
                <a:moveTo>
                  <a:pt x="466" y="895"/>
                </a:moveTo>
                <a:cubicBezTo>
                  <a:pt x="465" y="895"/>
                  <a:pt x="465" y="894"/>
                  <a:pt x="463" y="893"/>
                </a:cubicBezTo>
                <a:cubicBezTo>
                  <a:pt x="462" y="893"/>
                  <a:pt x="462" y="893"/>
                  <a:pt x="462" y="892"/>
                </a:cubicBezTo>
                <a:cubicBezTo>
                  <a:pt x="462" y="892"/>
                  <a:pt x="464" y="892"/>
                  <a:pt x="464" y="893"/>
                </a:cubicBezTo>
                <a:cubicBezTo>
                  <a:pt x="464" y="893"/>
                  <a:pt x="464" y="893"/>
                  <a:pt x="465" y="893"/>
                </a:cubicBezTo>
                <a:cubicBezTo>
                  <a:pt x="465" y="892"/>
                  <a:pt x="465" y="892"/>
                  <a:pt x="465" y="891"/>
                </a:cubicBezTo>
                <a:cubicBezTo>
                  <a:pt x="464" y="891"/>
                  <a:pt x="465" y="891"/>
                  <a:pt x="465" y="890"/>
                </a:cubicBezTo>
                <a:cubicBezTo>
                  <a:pt x="465" y="890"/>
                  <a:pt x="465" y="890"/>
                  <a:pt x="465" y="890"/>
                </a:cubicBezTo>
                <a:cubicBezTo>
                  <a:pt x="464" y="890"/>
                  <a:pt x="465" y="889"/>
                  <a:pt x="465" y="889"/>
                </a:cubicBezTo>
                <a:cubicBezTo>
                  <a:pt x="464" y="888"/>
                  <a:pt x="463" y="887"/>
                  <a:pt x="462" y="887"/>
                </a:cubicBezTo>
                <a:cubicBezTo>
                  <a:pt x="461" y="887"/>
                  <a:pt x="461" y="887"/>
                  <a:pt x="460" y="886"/>
                </a:cubicBezTo>
                <a:cubicBezTo>
                  <a:pt x="459" y="886"/>
                  <a:pt x="459" y="887"/>
                  <a:pt x="458" y="887"/>
                </a:cubicBezTo>
                <a:cubicBezTo>
                  <a:pt x="458" y="888"/>
                  <a:pt x="459" y="890"/>
                  <a:pt x="460" y="891"/>
                </a:cubicBezTo>
                <a:cubicBezTo>
                  <a:pt x="461" y="892"/>
                  <a:pt x="460" y="893"/>
                  <a:pt x="461" y="894"/>
                </a:cubicBezTo>
                <a:cubicBezTo>
                  <a:pt x="462" y="894"/>
                  <a:pt x="462" y="895"/>
                  <a:pt x="463" y="895"/>
                </a:cubicBezTo>
                <a:cubicBezTo>
                  <a:pt x="464" y="896"/>
                  <a:pt x="464" y="896"/>
                  <a:pt x="465" y="896"/>
                </a:cubicBezTo>
                <a:cubicBezTo>
                  <a:pt x="466" y="897"/>
                  <a:pt x="466" y="896"/>
                  <a:pt x="466" y="895"/>
                </a:cubicBezTo>
                <a:cubicBezTo>
                  <a:pt x="465" y="895"/>
                  <a:pt x="466" y="895"/>
                  <a:pt x="466" y="895"/>
                </a:cubicBezTo>
                <a:close/>
                <a:moveTo>
                  <a:pt x="540" y="884"/>
                </a:moveTo>
                <a:cubicBezTo>
                  <a:pt x="538" y="884"/>
                  <a:pt x="538" y="884"/>
                  <a:pt x="538" y="885"/>
                </a:cubicBezTo>
                <a:cubicBezTo>
                  <a:pt x="537" y="885"/>
                  <a:pt x="537" y="884"/>
                  <a:pt x="537" y="883"/>
                </a:cubicBezTo>
                <a:cubicBezTo>
                  <a:pt x="537" y="883"/>
                  <a:pt x="536" y="883"/>
                  <a:pt x="536" y="883"/>
                </a:cubicBezTo>
                <a:cubicBezTo>
                  <a:pt x="535" y="883"/>
                  <a:pt x="535" y="884"/>
                  <a:pt x="534" y="884"/>
                </a:cubicBezTo>
                <a:cubicBezTo>
                  <a:pt x="533" y="885"/>
                  <a:pt x="533" y="885"/>
                  <a:pt x="534" y="886"/>
                </a:cubicBezTo>
                <a:cubicBezTo>
                  <a:pt x="532" y="886"/>
                  <a:pt x="532" y="888"/>
                  <a:pt x="530" y="889"/>
                </a:cubicBezTo>
                <a:cubicBezTo>
                  <a:pt x="530" y="890"/>
                  <a:pt x="530" y="889"/>
                  <a:pt x="531" y="890"/>
                </a:cubicBezTo>
                <a:cubicBezTo>
                  <a:pt x="531" y="890"/>
                  <a:pt x="532" y="891"/>
                  <a:pt x="532" y="891"/>
                </a:cubicBezTo>
                <a:cubicBezTo>
                  <a:pt x="532" y="890"/>
                  <a:pt x="532" y="890"/>
                  <a:pt x="532" y="890"/>
                </a:cubicBezTo>
                <a:cubicBezTo>
                  <a:pt x="532" y="890"/>
                  <a:pt x="533" y="889"/>
                  <a:pt x="533" y="889"/>
                </a:cubicBezTo>
                <a:cubicBezTo>
                  <a:pt x="534" y="889"/>
                  <a:pt x="535" y="889"/>
                  <a:pt x="536" y="889"/>
                </a:cubicBezTo>
                <a:cubicBezTo>
                  <a:pt x="535" y="888"/>
                  <a:pt x="535" y="888"/>
                  <a:pt x="535" y="887"/>
                </a:cubicBezTo>
                <a:cubicBezTo>
                  <a:pt x="536" y="887"/>
                  <a:pt x="536" y="888"/>
                  <a:pt x="537" y="888"/>
                </a:cubicBezTo>
                <a:cubicBezTo>
                  <a:pt x="537" y="887"/>
                  <a:pt x="538" y="887"/>
                  <a:pt x="539" y="886"/>
                </a:cubicBezTo>
                <a:cubicBezTo>
                  <a:pt x="539" y="886"/>
                  <a:pt x="540" y="886"/>
                  <a:pt x="540" y="887"/>
                </a:cubicBezTo>
                <a:cubicBezTo>
                  <a:pt x="541" y="887"/>
                  <a:pt x="540" y="886"/>
                  <a:pt x="541" y="886"/>
                </a:cubicBezTo>
                <a:cubicBezTo>
                  <a:pt x="542" y="886"/>
                  <a:pt x="540" y="885"/>
                  <a:pt x="540" y="885"/>
                </a:cubicBezTo>
                <a:cubicBezTo>
                  <a:pt x="539" y="885"/>
                  <a:pt x="540" y="885"/>
                  <a:pt x="540" y="884"/>
                </a:cubicBezTo>
                <a:cubicBezTo>
                  <a:pt x="539" y="884"/>
                  <a:pt x="540" y="884"/>
                  <a:pt x="540" y="884"/>
                </a:cubicBezTo>
                <a:close/>
                <a:moveTo>
                  <a:pt x="531" y="885"/>
                </a:moveTo>
                <a:cubicBezTo>
                  <a:pt x="532" y="885"/>
                  <a:pt x="532" y="884"/>
                  <a:pt x="533" y="884"/>
                </a:cubicBezTo>
                <a:cubicBezTo>
                  <a:pt x="532" y="883"/>
                  <a:pt x="530" y="884"/>
                  <a:pt x="529" y="884"/>
                </a:cubicBezTo>
                <a:cubicBezTo>
                  <a:pt x="528" y="884"/>
                  <a:pt x="527" y="883"/>
                  <a:pt x="526" y="883"/>
                </a:cubicBezTo>
                <a:cubicBezTo>
                  <a:pt x="526" y="883"/>
                  <a:pt x="527" y="884"/>
                  <a:pt x="527" y="885"/>
                </a:cubicBezTo>
                <a:cubicBezTo>
                  <a:pt x="526" y="885"/>
                  <a:pt x="526" y="885"/>
                  <a:pt x="527" y="885"/>
                </a:cubicBezTo>
                <a:cubicBezTo>
                  <a:pt x="527" y="885"/>
                  <a:pt x="527" y="886"/>
                  <a:pt x="527" y="886"/>
                </a:cubicBezTo>
                <a:cubicBezTo>
                  <a:pt x="527" y="886"/>
                  <a:pt x="526" y="887"/>
                  <a:pt x="526" y="887"/>
                </a:cubicBezTo>
                <a:cubicBezTo>
                  <a:pt x="525" y="888"/>
                  <a:pt x="524" y="888"/>
                  <a:pt x="524" y="889"/>
                </a:cubicBezTo>
                <a:cubicBezTo>
                  <a:pt x="524" y="889"/>
                  <a:pt x="525" y="890"/>
                  <a:pt x="525" y="890"/>
                </a:cubicBezTo>
                <a:cubicBezTo>
                  <a:pt x="525" y="890"/>
                  <a:pt x="526" y="889"/>
                  <a:pt x="526" y="889"/>
                </a:cubicBezTo>
                <a:cubicBezTo>
                  <a:pt x="527" y="888"/>
                  <a:pt x="527" y="887"/>
                  <a:pt x="528" y="887"/>
                </a:cubicBezTo>
                <a:cubicBezTo>
                  <a:pt x="528" y="889"/>
                  <a:pt x="529" y="887"/>
                  <a:pt x="530" y="887"/>
                </a:cubicBezTo>
                <a:cubicBezTo>
                  <a:pt x="530" y="886"/>
                  <a:pt x="530" y="885"/>
                  <a:pt x="531" y="885"/>
                </a:cubicBezTo>
                <a:cubicBezTo>
                  <a:pt x="532" y="885"/>
                  <a:pt x="531" y="885"/>
                  <a:pt x="531" y="885"/>
                </a:cubicBezTo>
                <a:close/>
                <a:moveTo>
                  <a:pt x="462" y="882"/>
                </a:moveTo>
                <a:cubicBezTo>
                  <a:pt x="462" y="882"/>
                  <a:pt x="462" y="882"/>
                  <a:pt x="463" y="883"/>
                </a:cubicBezTo>
                <a:cubicBezTo>
                  <a:pt x="463" y="883"/>
                  <a:pt x="463" y="884"/>
                  <a:pt x="463" y="883"/>
                </a:cubicBezTo>
                <a:cubicBezTo>
                  <a:pt x="463" y="883"/>
                  <a:pt x="463" y="883"/>
                  <a:pt x="463" y="883"/>
                </a:cubicBezTo>
                <a:cubicBezTo>
                  <a:pt x="463" y="882"/>
                  <a:pt x="463" y="883"/>
                  <a:pt x="463" y="882"/>
                </a:cubicBezTo>
                <a:cubicBezTo>
                  <a:pt x="463" y="882"/>
                  <a:pt x="463" y="881"/>
                  <a:pt x="463" y="881"/>
                </a:cubicBezTo>
                <a:cubicBezTo>
                  <a:pt x="462" y="881"/>
                  <a:pt x="462" y="881"/>
                  <a:pt x="462" y="880"/>
                </a:cubicBezTo>
                <a:cubicBezTo>
                  <a:pt x="461" y="879"/>
                  <a:pt x="460" y="879"/>
                  <a:pt x="459" y="880"/>
                </a:cubicBezTo>
                <a:cubicBezTo>
                  <a:pt x="460" y="881"/>
                  <a:pt x="459" y="881"/>
                  <a:pt x="459" y="882"/>
                </a:cubicBezTo>
                <a:cubicBezTo>
                  <a:pt x="459" y="882"/>
                  <a:pt x="459" y="885"/>
                  <a:pt x="459" y="885"/>
                </a:cubicBezTo>
                <a:cubicBezTo>
                  <a:pt x="460" y="885"/>
                  <a:pt x="461" y="886"/>
                  <a:pt x="461" y="885"/>
                </a:cubicBezTo>
                <a:cubicBezTo>
                  <a:pt x="461" y="884"/>
                  <a:pt x="462" y="885"/>
                  <a:pt x="462" y="885"/>
                </a:cubicBezTo>
                <a:cubicBezTo>
                  <a:pt x="462" y="884"/>
                  <a:pt x="462" y="883"/>
                  <a:pt x="462" y="883"/>
                </a:cubicBezTo>
                <a:cubicBezTo>
                  <a:pt x="462" y="883"/>
                  <a:pt x="462" y="882"/>
                  <a:pt x="462" y="882"/>
                </a:cubicBezTo>
                <a:close/>
                <a:moveTo>
                  <a:pt x="458" y="880"/>
                </a:moveTo>
                <a:cubicBezTo>
                  <a:pt x="458" y="879"/>
                  <a:pt x="458" y="879"/>
                  <a:pt x="458" y="879"/>
                </a:cubicBezTo>
                <a:cubicBezTo>
                  <a:pt x="457" y="879"/>
                  <a:pt x="457" y="879"/>
                  <a:pt x="457" y="880"/>
                </a:cubicBezTo>
                <a:cubicBezTo>
                  <a:pt x="458" y="880"/>
                  <a:pt x="458" y="880"/>
                  <a:pt x="458" y="880"/>
                </a:cubicBezTo>
                <a:cubicBezTo>
                  <a:pt x="458" y="879"/>
                  <a:pt x="458" y="880"/>
                  <a:pt x="458" y="880"/>
                </a:cubicBezTo>
                <a:close/>
                <a:moveTo>
                  <a:pt x="462" y="878"/>
                </a:moveTo>
                <a:cubicBezTo>
                  <a:pt x="462" y="879"/>
                  <a:pt x="463" y="880"/>
                  <a:pt x="464" y="880"/>
                </a:cubicBezTo>
                <a:cubicBezTo>
                  <a:pt x="464" y="879"/>
                  <a:pt x="463" y="878"/>
                  <a:pt x="462" y="878"/>
                </a:cubicBezTo>
                <a:cubicBezTo>
                  <a:pt x="462" y="879"/>
                  <a:pt x="462" y="878"/>
                  <a:pt x="462" y="878"/>
                </a:cubicBezTo>
                <a:close/>
                <a:moveTo>
                  <a:pt x="459" y="875"/>
                </a:moveTo>
                <a:cubicBezTo>
                  <a:pt x="458" y="876"/>
                  <a:pt x="457" y="878"/>
                  <a:pt x="458" y="878"/>
                </a:cubicBezTo>
                <a:cubicBezTo>
                  <a:pt x="458" y="878"/>
                  <a:pt x="458" y="879"/>
                  <a:pt x="459" y="878"/>
                </a:cubicBezTo>
                <a:cubicBezTo>
                  <a:pt x="460" y="878"/>
                  <a:pt x="460" y="877"/>
                  <a:pt x="461" y="877"/>
                </a:cubicBezTo>
                <a:cubicBezTo>
                  <a:pt x="460" y="876"/>
                  <a:pt x="459" y="876"/>
                  <a:pt x="459" y="875"/>
                </a:cubicBezTo>
                <a:close/>
                <a:moveTo>
                  <a:pt x="457" y="863"/>
                </a:moveTo>
                <a:cubicBezTo>
                  <a:pt x="457" y="864"/>
                  <a:pt x="457" y="864"/>
                  <a:pt x="457" y="865"/>
                </a:cubicBezTo>
                <a:cubicBezTo>
                  <a:pt x="457" y="865"/>
                  <a:pt x="457" y="866"/>
                  <a:pt x="457" y="866"/>
                </a:cubicBezTo>
                <a:cubicBezTo>
                  <a:pt x="457" y="866"/>
                  <a:pt x="457" y="867"/>
                  <a:pt x="457" y="868"/>
                </a:cubicBezTo>
                <a:cubicBezTo>
                  <a:pt x="457" y="868"/>
                  <a:pt x="457" y="867"/>
                  <a:pt x="458" y="867"/>
                </a:cubicBezTo>
                <a:cubicBezTo>
                  <a:pt x="457" y="868"/>
                  <a:pt x="457" y="869"/>
                  <a:pt x="458" y="870"/>
                </a:cubicBezTo>
                <a:cubicBezTo>
                  <a:pt x="458" y="870"/>
                  <a:pt x="458" y="870"/>
                  <a:pt x="458" y="870"/>
                </a:cubicBezTo>
                <a:cubicBezTo>
                  <a:pt x="458" y="870"/>
                  <a:pt x="458" y="871"/>
                  <a:pt x="458" y="871"/>
                </a:cubicBezTo>
                <a:cubicBezTo>
                  <a:pt x="457" y="872"/>
                  <a:pt x="457" y="872"/>
                  <a:pt x="457" y="873"/>
                </a:cubicBezTo>
                <a:cubicBezTo>
                  <a:pt x="457" y="874"/>
                  <a:pt x="458" y="874"/>
                  <a:pt x="458" y="875"/>
                </a:cubicBezTo>
                <a:cubicBezTo>
                  <a:pt x="460" y="874"/>
                  <a:pt x="460" y="874"/>
                  <a:pt x="461" y="875"/>
                </a:cubicBezTo>
                <a:cubicBezTo>
                  <a:pt x="462" y="876"/>
                  <a:pt x="461" y="875"/>
                  <a:pt x="462" y="874"/>
                </a:cubicBezTo>
                <a:cubicBezTo>
                  <a:pt x="462" y="874"/>
                  <a:pt x="462" y="874"/>
                  <a:pt x="462" y="874"/>
                </a:cubicBezTo>
                <a:cubicBezTo>
                  <a:pt x="462" y="874"/>
                  <a:pt x="462" y="873"/>
                  <a:pt x="462" y="873"/>
                </a:cubicBezTo>
                <a:cubicBezTo>
                  <a:pt x="462" y="873"/>
                  <a:pt x="462" y="872"/>
                  <a:pt x="462" y="872"/>
                </a:cubicBezTo>
                <a:cubicBezTo>
                  <a:pt x="462" y="872"/>
                  <a:pt x="462" y="872"/>
                  <a:pt x="462" y="872"/>
                </a:cubicBezTo>
                <a:cubicBezTo>
                  <a:pt x="462" y="871"/>
                  <a:pt x="462" y="870"/>
                  <a:pt x="463" y="870"/>
                </a:cubicBezTo>
                <a:cubicBezTo>
                  <a:pt x="463" y="870"/>
                  <a:pt x="462" y="870"/>
                  <a:pt x="462" y="870"/>
                </a:cubicBezTo>
                <a:cubicBezTo>
                  <a:pt x="462" y="869"/>
                  <a:pt x="463" y="867"/>
                  <a:pt x="462" y="867"/>
                </a:cubicBezTo>
                <a:cubicBezTo>
                  <a:pt x="463" y="865"/>
                  <a:pt x="461" y="863"/>
                  <a:pt x="461" y="861"/>
                </a:cubicBezTo>
                <a:cubicBezTo>
                  <a:pt x="461" y="861"/>
                  <a:pt x="459" y="862"/>
                  <a:pt x="458" y="862"/>
                </a:cubicBezTo>
                <a:cubicBezTo>
                  <a:pt x="459" y="863"/>
                  <a:pt x="459" y="863"/>
                  <a:pt x="458" y="864"/>
                </a:cubicBezTo>
                <a:cubicBezTo>
                  <a:pt x="458" y="863"/>
                  <a:pt x="458" y="863"/>
                  <a:pt x="457" y="863"/>
                </a:cubicBezTo>
                <a:cubicBezTo>
                  <a:pt x="457" y="864"/>
                  <a:pt x="457" y="863"/>
                  <a:pt x="457" y="863"/>
                </a:cubicBezTo>
                <a:close/>
                <a:moveTo>
                  <a:pt x="1611" y="854"/>
                </a:moveTo>
                <a:cubicBezTo>
                  <a:pt x="1610" y="855"/>
                  <a:pt x="1611" y="856"/>
                  <a:pt x="1611" y="856"/>
                </a:cubicBezTo>
                <a:cubicBezTo>
                  <a:pt x="1610" y="858"/>
                  <a:pt x="1610" y="856"/>
                  <a:pt x="1610" y="857"/>
                </a:cubicBezTo>
                <a:cubicBezTo>
                  <a:pt x="1610" y="858"/>
                  <a:pt x="1610" y="858"/>
                  <a:pt x="1610" y="859"/>
                </a:cubicBezTo>
                <a:cubicBezTo>
                  <a:pt x="1611" y="859"/>
                  <a:pt x="1613" y="859"/>
                  <a:pt x="1614" y="857"/>
                </a:cubicBezTo>
                <a:cubicBezTo>
                  <a:pt x="1614" y="857"/>
                  <a:pt x="1614" y="857"/>
                  <a:pt x="1613" y="857"/>
                </a:cubicBezTo>
                <a:cubicBezTo>
                  <a:pt x="1612" y="857"/>
                  <a:pt x="1613" y="856"/>
                  <a:pt x="1612" y="856"/>
                </a:cubicBezTo>
                <a:cubicBezTo>
                  <a:pt x="1612" y="855"/>
                  <a:pt x="1612" y="854"/>
                  <a:pt x="1611" y="854"/>
                </a:cubicBezTo>
                <a:cubicBezTo>
                  <a:pt x="1611" y="855"/>
                  <a:pt x="1611" y="854"/>
                  <a:pt x="1611" y="854"/>
                </a:cubicBezTo>
                <a:close/>
                <a:moveTo>
                  <a:pt x="466" y="848"/>
                </a:moveTo>
                <a:cubicBezTo>
                  <a:pt x="466" y="848"/>
                  <a:pt x="466" y="848"/>
                  <a:pt x="466" y="848"/>
                </a:cubicBezTo>
                <a:cubicBezTo>
                  <a:pt x="466" y="848"/>
                  <a:pt x="466" y="848"/>
                  <a:pt x="466" y="848"/>
                </a:cubicBezTo>
                <a:cubicBezTo>
                  <a:pt x="466" y="848"/>
                  <a:pt x="466" y="848"/>
                  <a:pt x="466" y="848"/>
                </a:cubicBezTo>
                <a:close/>
                <a:moveTo>
                  <a:pt x="463" y="846"/>
                </a:moveTo>
                <a:cubicBezTo>
                  <a:pt x="463" y="847"/>
                  <a:pt x="462" y="846"/>
                  <a:pt x="462" y="846"/>
                </a:cubicBezTo>
                <a:cubicBezTo>
                  <a:pt x="461" y="847"/>
                  <a:pt x="462" y="848"/>
                  <a:pt x="462" y="848"/>
                </a:cubicBezTo>
                <a:cubicBezTo>
                  <a:pt x="462" y="848"/>
                  <a:pt x="463" y="847"/>
                  <a:pt x="463" y="847"/>
                </a:cubicBezTo>
                <a:cubicBezTo>
                  <a:pt x="463" y="846"/>
                  <a:pt x="464" y="847"/>
                  <a:pt x="465" y="847"/>
                </a:cubicBezTo>
                <a:cubicBezTo>
                  <a:pt x="465" y="847"/>
                  <a:pt x="464" y="846"/>
                  <a:pt x="465" y="846"/>
                </a:cubicBezTo>
                <a:cubicBezTo>
                  <a:pt x="465" y="846"/>
                  <a:pt x="466" y="846"/>
                  <a:pt x="466" y="846"/>
                </a:cubicBezTo>
                <a:cubicBezTo>
                  <a:pt x="466" y="845"/>
                  <a:pt x="466" y="845"/>
                  <a:pt x="465" y="845"/>
                </a:cubicBezTo>
                <a:cubicBezTo>
                  <a:pt x="465" y="845"/>
                  <a:pt x="464" y="845"/>
                  <a:pt x="464" y="845"/>
                </a:cubicBezTo>
                <a:cubicBezTo>
                  <a:pt x="464" y="844"/>
                  <a:pt x="464" y="844"/>
                  <a:pt x="465" y="844"/>
                </a:cubicBezTo>
                <a:cubicBezTo>
                  <a:pt x="466" y="843"/>
                  <a:pt x="466" y="842"/>
                  <a:pt x="466" y="841"/>
                </a:cubicBezTo>
                <a:cubicBezTo>
                  <a:pt x="465" y="841"/>
                  <a:pt x="464" y="841"/>
                  <a:pt x="464" y="842"/>
                </a:cubicBezTo>
                <a:cubicBezTo>
                  <a:pt x="463" y="842"/>
                  <a:pt x="463" y="841"/>
                  <a:pt x="463" y="842"/>
                </a:cubicBezTo>
                <a:cubicBezTo>
                  <a:pt x="463" y="843"/>
                  <a:pt x="463" y="843"/>
                  <a:pt x="462" y="843"/>
                </a:cubicBezTo>
                <a:cubicBezTo>
                  <a:pt x="462" y="844"/>
                  <a:pt x="463" y="845"/>
                  <a:pt x="464" y="845"/>
                </a:cubicBezTo>
                <a:cubicBezTo>
                  <a:pt x="464" y="846"/>
                  <a:pt x="463" y="846"/>
                  <a:pt x="463" y="846"/>
                </a:cubicBezTo>
                <a:close/>
                <a:moveTo>
                  <a:pt x="465" y="840"/>
                </a:moveTo>
                <a:cubicBezTo>
                  <a:pt x="464" y="840"/>
                  <a:pt x="465" y="840"/>
                  <a:pt x="465" y="840"/>
                </a:cubicBezTo>
                <a:cubicBezTo>
                  <a:pt x="465" y="840"/>
                  <a:pt x="465" y="840"/>
                  <a:pt x="465" y="839"/>
                </a:cubicBezTo>
                <a:cubicBezTo>
                  <a:pt x="465" y="839"/>
                  <a:pt x="465" y="840"/>
                  <a:pt x="465" y="840"/>
                </a:cubicBezTo>
                <a:close/>
                <a:moveTo>
                  <a:pt x="464" y="838"/>
                </a:moveTo>
                <a:cubicBezTo>
                  <a:pt x="464" y="838"/>
                  <a:pt x="464" y="838"/>
                  <a:pt x="463" y="838"/>
                </a:cubicBezTo>
                <a:cubicBezTo>
                  <a:pt x="464" y="839"/>
                  <a:pt x="464" y="839"/>
                  <a:pt x="465" y="839"/>
                </a:cubicBezTo>
                <a:cubicBezTo>
                  <a:pt x="465" y="838"/>
                  <a:pt x="464" y="838"/>
                  <a:pt x="464" y="838"/>
                </a:cubicBezTo>
                <a:close/>
                <a:moveTo>
                  <a:pt x="463" y="837"/>
                </a:moveTo>
                <a:cubicBezTo>
                  <a:pt x="464" y="837"/>
                  <a:pt x="464" y="838"/>
                  <a:pt x="464" y="837"/>
                </a:cubicBezTo>
                <a:cubicBezTo>
                  <a:pt x="464" y="835"/>
                  <a:pt x="463" y="836"/>
                  <a:pt x="463" y="837"/>
                </a:cubicBezTo>
                <a:close/>
                <a:moveTo>
                  <a:pt x="465" y="828"/>
                </a:moveTo>
                <a:cubicBezTo>
                  <a:pt x="465" y="829"/>
                  <a:pt x="464" y="829"/>
                  <a:pt x="464" y="829"/>
                </a:cubicBezTo>
                <a:cubicBezTo>
                  <a:pt x="464" y="830"/>
                  <a:pt x="464" y="830"/>
                  <a:pt x="464" y="831"/>
                </a:cubicBezTo>
                <a:cubicBezTo>
                  <a:pt x="464" y="831"/>
                  <a:pt x="466" y="831"/>
                  <a:pt x="466" y="831"/>
                </a:cubicBezTo>
                <a:cubicBezTo>
                  <a:pt x="466" y="830"/>
                  <a:pt x="467" y="831"/>
                  <a:pt x="467" y="830"/>
                </a:cubicBezTo>
                <a:cubicBezTo>
                  <a:pt x="467" y="829"/>
                  <a:pt x="467" y="828"/>
                  <a:pt x="468" y="829"/>
                </a:cubicBezTo>
                <a:cubicBezTo>
                  <a:pt x="468" y="828"/>
                  <a:pt x="468" y="827"/>
                  <a:pt x="467" y="827"/>
                </a:cubicBezTo>
                <a:cubicBezTo>
                  <a:pt x="469" y="826"/>
                  <a:pt x="468" y="826"/>
                  <a:pt x="467" y="825"/>
                </a:cubicBezTo>
                <a:cubicBezTo>
                  <a:pt x="467" y="825"/>
                  <a:pt x="467" y="824"/>
                  <a:pt x="467" y="823"/>
                </a:cubicBezTo>
                <a:cubicBezTo>
                  <a:pt x="468" y="823"/>
                  <a:pt x="468" y="824"/>
                  <a:pt x="468" y="823"/>
                </a:cubicBezTo>
                <a:cubicBezTo>
                  <a:pt x="468" y="822"/>
                  <a:pt x="468" y="821"/>
                  <a:pt x="468" y="821"/>
                </a:cubicBezTo>
                <a:cubicBezTo>
                  <a:pt x="467" y="821"/>
                  <a:pt x="466" y="821"/>
                  <a:pt x="466" y="821"/>
                </a:cubicBezTo>
                <a:cubicBezTo>
                  <a:pt x="466" y="821"/>
                  <a:pt x="465" y="821"/>
                  <a:pt x="465" y="821"/>
                </a:cubicBezTo>
                <a:cubicBezTo>
                  <a:pt x="465" y="822"/>
                  <a:pt x="465" y="823"/>
                  <a:pt x="465" y="824"/>
                </a:cubicBezTo>
                <a:cubicBezTo>
                  <a:pt x="465" y="824"/>
                  <a:pt x="465" y="828"/>
                  <a:pt x="465" y="828"/>
                </a:cubicBezTo>
                <a:close/>
                <a:moveTo>
                  <a:pt x="1640" y="818"/>
                </a:moveTo>
                <a:cubicBezTo>
                  <a:pt x="1640" y="818"/>
                  <a:pt x="1640" y="818"/>
                  <a:pt x="1640" y="818"/>
                </a:cubicBezTo>
                <a:cubicBezTo>
                  <a:pt x="1640" y="818"/>
                  <a:pt x="1640" y="818"/>
                  <a:pt x="1640" y="818"/>
                </a:cubicBezTo>
                <a:close/>
                <a:moveTo>
                  <a:pt x="1640" y="820"/>
                </a:moveTo>
                <a:cubicBezTo>
                  <a:pt x="1640" y="819"/>
                  <a:pt x="1640" y="818"/>
                  <a:pt x="1639" y="819"/>
                </a:cubicBezTo>
                <a:cubicBezTo>
                  <a:pt x="1639" y="819"/>
                  <a:pt x="1639" y="819"/>
                  <a:pt x="1639" y="820"/>
                </a:cubicBezTo>
                <a:cubicBezTo>
                  <a:pt x="1638" y="820"/>
                  <a:pt x="1638" y="820"/>
                  <a:pt x="1637" y="819"/>
                </a:cubicBezTo>
                <a:cubicBezTo>
                  <a:pt x="1637" y="819"/>
                  <a:pt x="1637" y="819"/>
                  <a:pt x="1637" y="818"/>
                </a:cubicBezTo>
                <a:cubicBezTo>
                  <a:pt x="1637" y="817"/>
                  <a:pt x="1636" y="818"/>
                  <a:pt x="1636" y="817"/>
                </a:cubicBezTo>
                <a:cubicBezTo>
                  <a:pt x="1635" y="817"/>
                  <a:pt x="1635" y="816"/>
                  <a:pt x="1635" y="816"/>
                </a:cubicBezTo>
                <a:cubicBezTo>
                  <a:pt x="1635" y="816"/>
                  <a:pt x="1636" y="816"/>
                  <a:pt x="1636" y="815"/>
                </a:cubicBezTo>
                <a:cubicBezTo>
                  <a:pt x="1636" y="815"/>
                  <a:pt x="1636" y="815"/>
                  <a:pt x="1636" y="815"/>
                </a:cubicBezTo>
                <a:cubicBezTo>
                  <a:pt x="1635" y="815"/>
                  <a:pt x="1635" y="815"/>
                  <a:pt x="1634" y="815"/>
                </a:cubicBezTo>
                <a:cubicBezTo>
                  <a:pt x="1633" y="816"/>
                  <a:pt x="1632" y="817"/>
                  <a:pt x="1631" y="818"/>
                </a:cubicBezTo>
                <a:cubicBezTo>
                  <a:pt x="1631" y="819"/>
                  <a:pt x="1631" y="820"/>
                  <a:pt x="1631" y="821"/>
                </a:cubicBezTo>
                <a:cubicBezTo>
                  <a:pt x="1631" y="821"/>
                  <a:pt x="1631" y="822"/>
                  <a:pt x="1631" y="822"/>
                </a:cubicBezTo>
                <a:cubicBezTo>
                  <a:pt x="1631" y="823"/>
                  <a:pt x="1629" y="823"/>
                  <a:pt x="1630" y="824"/>
                </a:cubicBezTo>
                <a:cubicBezTo>
                  <a:pt x="1630" y="824"/>
                  <a:pt x="1630" y="825"/>
                  <a:pt x="1629" y="825"/>
                </a:cubicBezTo>
                <a:cubicBezTo>
                  <a:pt x="1629" y="825"/>
                  <a:pt x="1628" y="825"/>
                  <a:pt x="1628" y="826"/>
                </a:cubicBezTo>
                <a:cubicBezTo>
                  <a:pt x="1628" y="826"/>
                  <a:pt x="1628" y="827"/>
                  <a:pt x="1628" y="827"/>
                </a:cubicBezTo>
                <a:cubicBezTo>
                  <a:pt x="1627" y="828"/>
                  <a:pt x="1627" y="829"/>
                  <a:pt x="1626" y="830"/>
                </a:cubicBezTo>
                <a:cubicBezTo>
                  <a:pt x="1626" y="831"/>
                  <a:pt x="1625" y="831"/>
                  <a:pt x="1625" y="832"/>
                </a:cubicBezTo>
                <a:cubicBezTo>
                  <a:pt x="1625" y="833"/>
                  <a:pt x="1624" y="833"/>
                  <a:pt x="1623" y="833"/>
                </a:cubicBezTo>
                <a:cubicBezTo>
                  <a:pt x="1623" y="833"/>
                  <a:pt x="1623" y="834"/>
                  <a:pt x="1622" y="834"/>
                </a:cubicBezTo>
                <a:cubicBezTo>
                  <a:pt x="1622" y="834"/>
                  <a:pt x="1622" y="834"/>
                  <a:pt x="1622" y="834"/>
                </a:cubicBezTo>
                <a:cubicBezTo>
                  <a:pt x="1622" y="835"/>
                  <a:pt x="1622" y="834"/>
                  <a:pt x="1621" y="834"/>
                </a:cubicBezTo>
                <a:cubicBezTo>
                  <a:pt x="1621" y="835"/>
                  <a:pt x="1621" y="836"/>
                  <a:pt x="1620" y="836"/>
                </a:cubicBezTo>
                <a:cubicBezTo>
                  <a:pt x="1620" y="836"/>
                  <a:pt x="1620" y="835"/>
                  <a:pt x="1620" y="836"/>
                </a:cubicBezTo>
                <a:cubicBezTo>
                  <a:pt x="1620" y="836"/>
                  <a:pt x="1619" y="836"/>
                  <a:pt x="1619" y="836"/>
                </a:cubicBezTo>
                <a:cubicBezTo>
                  <a:pt x="1618" y="837"/>
                  <a:pt x="1618" y="837"/>
                  <a:pt x="1617" y="837"/>
                </a:cubicBezTo>
                <a:cubicBezTo>
                  <a:pt x="1617" y="837"/>
                  <a:pt x="1616" y="837"/>
                  <a:pt x="1616" y="837"/>
                </a:cubicBezTo>
                <a:cubicBezTo>
                  <a:pt x="1616" y="838"/>
                  <a:pt x="1616" y="838"/>
                  <a:pt x="1615" y="838"/>
                </a:cubicBezTo>
                <a:cubicBezTo>
                  <a:pt x="1615" y="838"/>
                  <a:pt x="1615" y="838"/>
                  <a:pt x="1615" y="838"/>
                </a:cubicBezTo>
                <a:cubicBezTo>
                  <a:pt x="1615" y="838"/>
                  <a:pt x="1614" y="838"/>
                  <a:pt x="1614" y="838"/>
                </a:cubicBezTo>
                <a:cubicBezTo>
                  <a:pt x="1614" y="839"/>
                  <a:pt x="1614" y="839"/>
                  <a:pt x="1613" y="840"/>
                </a:cubicBezTo>
                <a:cubicBezTo>
                  <a:pt x="1613" y="840"/>
                  <a:pt x="1612" y="841"/>
                  <a:pt x="1612" y="841"/>
                </a:cubicBezTo>
                <a:cubicBezTo>
                  <a:pt x="1611" y="841"/>
                  <a:pt x="1610" y="841"/>
                  <a:pt x="1610" y="842"/>
                </a:cubicBezTo>
                <a:cubicBezTo>
                  <a:pt x="1610" y="842"/>
                  <a:pt x="1610" y="842"/>
                  <a:pt x="1609" y="843"/>
                </a:cubicBezTo>
                <a:cubicBezTo>
                  <a:pt x="1608" y="843"/>
                  <a:pt x="1608" y="844"/>
                  <a:pt x="1608" y="845"/>
                </a:cubicBezTo>
                <a:cubicBezTo>
                  <a:pt x="1607" y="845"/>
                  <a:pt x="1606" y="844"/>
                  <a:pt x="1606" y="845"/>
                </a:cubicBezTo>
                <a:cubicBezTo>
                  <a:pt x="1606" y="845"/>
                  <a:pt x="1606" y="846"/>
                  <a:pt x="1607" y="846"/>
                </a:cubicBezTo>
                <a:cubicBezTo>
                  <a:pt x="1607" y="847"/>
                  <a:pt x="1606" y="847"/>
                  <a:pt x="1606" y="849"/>
                </a:cubicBezTo>
                <a:cubicBezTo>
                  <a:pt x="1606" y="849"/>
                  <a:pt x="1605" y="849"/>
                  <a:pt x="1605" y="849"/>
                </a:cubicBezTo>
                <a:cubicBezTo>
                  <a:pt x="1605" y="849"/>
                  <a:pt x="1605" y="849"/>
                  <a:pt x="1605" y="849"/>
                </a:cubicBezTo>
                <a:cubicBezTo>
                  <a:pt x="1605" y="849"/>
                  <a:pt x="1605" y="849"/>
                  <a:pt x="1605" y="849"/>
                </a:cubicBezTo>
                <a:cubicBezTo>
                  <a:pt x="1605" y="850"/>
                  <a:pt x="1605" y="850"/>
                  <a:pt x="1605" y="851"/>
                </a:cubicBezTo>
                <a:cubicBezTo>
                  <a:pt x="1606" y="851"/>
                  <a:pt x="1606" y="851"/>
                  <a:pt x="1606" y="851"/>
                </a:cubicBezTo>
                <a:cubicBezTo>
                  <a:pt x="1606" y="851"/>
                  <a:pt x="1606" y="851"/>
                  <a:pt x="1607" y="852"/>
                </a:cubicBezTo>
                <a:cubicBezTo>
                  <a:pt x="1607" y="852"/>
                  <a:pt x="1607" y="852"/>
                  <a:pt x="1608" y="852"/>
                </a:cubicBezTo>
                <a:cubicBezTo>
                  <a:pt x="1609" y="852"/>
                  <a:pt x="1610" y="852"/>
                  <a:pt x="1611" y="851"/>
                </a:cubicBezTo>
                <a:cubicBezTo>
                  <a:pt x="1611" y="852"/>
                  <a:pt x="1611" y="853"/>
                  <a:pt x="1611" y="853"/>
                </a:cubicBezTo>
                <a:cubicBezTo>
                  <a:pt x="1612" y="853"/>
                  <a:pt x="1612" y="853"/>
                  <a:pt x="1613" y="853"/>
                </a:cubicBezTo>
                <a:cubicBezTo>
                  <a:pt x="1614" y="853"/>
                  <a:pt x="1614" y="854"/>
                  <a:pt x="1614" y="854"/>
                </a:cubicBezTo>
                <a:cubicBezTo>
                  <a:pt x="1615" y="854"/>
                  <a:pt x="1615" y="854"/>
                  <a:pt x="1615" y="854"/>
                </a:cubicBezTo>
                <a:cubicBezTo>
                  <a:pt x="1616" y="855"/>
                  <a:pt x="1617" y="854"/>
                  <a:pt x="1618" y="855"/>
                </a:cubicBezTo>
                <a:cubicBezTo>
                  <a:pt x="1619" y="854"/>
                  <a:pt x="1619" y="854"/>
                  <a:pt x="1620" y="853"/>
                </a:cubicBezTo>
                <a:cubicBezTo>
                  <a:pt x="1620" y="853"/>
                  <a:pt x="1621" y="853"/>
                  <a:pt x="1621" y="852"/>
                </a:cubicBezTo>
                <a:cubicBezTo>
                  <a:pt x="1622" y="852"/>
                  <a:pt x="1622" y="852"/>
                  <a:pt x="1622" y="851"/>
                </a:cubicBezTo>
                <a:cubicBezTo>
                  <a:pt x="1623" y="851"/>
                  <a:pt x="1623" y="850"/>
                  <a:pt x="1624" y="849"/>
                </a:cubicBezTo>
                <a:cubicBezTo>
                  <a:pt x="1624" y="849"/>
                  <a:pt x="1624" y="850"/>
                  <a:pt x="1624" y="849"/>
                </a:cubicBezTo>
                <a:cubicBezTo>
                  <a:pt x="1624" y="849"/>
                  <a:pt x="1624" y="849"/>
                  <a:pt x="1624" y="848"/>
                </a:cubicBezTo>
                <a:cubicBezTo>
                  <a:pt x="1624" y="848"/>
                  <a:pt x="1625" y="848"/>
                  <a:pt x="1625" y="848"/>
                </a:cubicBezTo>
                <a:cubicBezTo>
                  <a:pt x="1625" y="848"/>
                  <a:pt x="1625" y="848"/>
                  <a:pt x="1625" y="848"/>
                </a:cubicBezTo>
                <a:cubicBezTo>
                  <a:pt x="1625" y="847"/>
                  <a:pt x="1625" y="849"/>
                  <a:pt x="1625" y="847"/>
                </a:cubicBezTo>
                <a:cubicBezTo>
                  <a:pt x="1625" y="847"/>
                  <a:pt x="1625" y="846"/>
                  <a:pt x="1626" y="846"/>
                </a:cubicBezTo>
                <a:cubicBezTo>
                  <a:pt x="1626" y="846"/>
                  <a:pt x="1626" y="845"/>
                  <a:pt x="1626" y="845"/>
                </a:cubicBezTo>
                <a:cubicBezTo>
                  <a:pt x="1627" y="844"/>
                  <a:pt x="1626" y="844"/>
                  <a:pt x="1627" y="843"/>
                </a:cubicBezTo>
                <a:cubicBezTo>
                  <a:pt x="1627" y="843"/>
                  <a:pt x="1627" y="843"/>
                  <a:pt x="1627" y="843"/>
                </a:cubicBezTo>
                <a:cubicBezTo>
                  <a:pt x="1627" y="843"/>
                  <a:pt x="1627" y="843"/>
                  <a:pt x="1627" y="842"/>
                </a:cubicBezTo>
                <a:cubicBezTo>
                  <a:pt x="1627" y="842"/>
                  <a:pt x="1627" y="842"/>
                  <a:pt x="1627" y="841"/>
                </a:cubicBezTo>
                <a:cubicBezTo>
                  <a:pt x="1627" y="840"/>
                  <a:pt x="1627" y="839"/>
                  <a:pt x="1628" y="839"/>
                </a:cubicBezTo>
                <a:cubicBezTo>
                  <a:pt x="1629" y="839"/>
                  <a:pt x="1629" y="839"/>
                  <a:pt x="1629" y="839"/>
                </a:cubicBezTo>
                <a:cubicBezTo>
                  <a:pt x="1630" y="840"/>
                  <a:pt x="1630" y="839"/>
                  <a:pt x="1631" y="839"/>
                </a:cubicBezTo>
                <a:cubicBezTo>
                  <a:pt x="1632" y="838"/>
                  <a:pt x="1632" y="838"/>
                  <a:pt x="1632" y="837"/>
                </a:cubicBezTo>
                <a:cubicBezTo>
                  <a:pt x="1633" y="837"/>
                  <a:pt x="1635" y="837"/>
                  <a:pt x="1636" y="837"/>
                </a:cubicBezTo>
                <a:cubicBezTo>
                  <a:pt x="1636" y="837"/>
                  <a:pt x="1637" y="837"/>
                  <a:pt x="1637" y="837"/>
                </a:cubicBezTo>
                <a:cubicBezTo>
                  <a:pt x="1637" y="836"/>
                  <a:pt x="1636" y="837"/>
                  <a:pt x="1635" y="837"/>
                </a:cubicBezTo>
                <a:cubicBezTo>
                  <a:pt x="1635" y="837"/>
                  <a:pt x="1635" y="835"/>
                  <a:pt x="1635" y="835"/>
                </a:cubicBezTo>
                <a:cubicBezTo>
                  <a:pt x="1635" y="834"/>
                  <a:pt x="1634" y="834"/>
                  <a:pt x="1635" y="833"/>
                </a:cubicBezTo>
                <a:cubicBezTo>
                  <a:pt x="1636" y="833"/>
                  <a:pt x="1636" y="832"/>
                  <a:pt x="1637" y="832"/>
                </a:cubicBezTo>
                <a:cubicBezTo>
                  <a:pt x="1637" y="832"/>
                  <a:pt x="1637" y="832"/>
                  <a:pt x="1637" y="832"/>
                </a:cubicBezTo>
                <a:cubicBezTo>
                  <a:pt x="1637" y="832"/>
                  <a:pt x="1638" y="832"/>
                  <a:pt x="1638" y="831"/>
                </a:cubicBezTo>
                <a:cubicBezTo>
                  <a:pt x="1638" y="831"/>
                  <a:pt x="1638" y="831"/>
                  <a:pt x="1638" y="830"/>
                </a:cubicBezTo>
                <a:cubicBezTo>
                  <a:pt x="1638" y="830"/>
                  <a:pt x="1638" y="831"/>
                  <a:pt x="1638" y="830"/>
                </a:cubicBezTo>
                <a:cubicBezTo>
                  <a:pt x="1638" y="830"/>
                  <a:pt x="1639" y="830"/>
                  <a:pt x="1639" y="829"/>
                </a:cubicBezTo>
                <a:cubicBezTo>
                  <a:pt x="1639" y="828"/>
                  <a:pt x="1639" y="828"/>
                  <a:pt x="1640" y="828"/>
                </a:cubicBezTo>
                <a:cubicBezTo>
                  <a:pt x="1640" y="827"/>
                  <a:pt x="1641" y="824"/>
                  <a:pt x="1642" y="825"/>
                </a:cubicBezTo>
                <a:cubicBezTo>
                  <a:pt x="1642" y="824"/>
                  <a:pt x="1641" y="822"/>
                  <a:pt x="1642" y="822"/>
                </a:cubicBezTo>
                <a:cubicBezTo>
                  <a:pt x="1643" y="821"/>
                  <a:pt x="1643" y="820"/>
                  <a:pt x="1643" y="819"/>
                </a:cubicBezTo>
                <a:cubicBezTo>
                  <a:pt x="1642" y="819"/>
                  <a:pt x="1641" y="819"/>
                  <a:pt x="1640" y="820"/>
                </a:cubicBezTo>
                <a:cubicBezTo>
                  <a:pt x="1640" y="819"/>
                  <a:pt x="1640" y="820"/>
                  <a:pt x="1640" y="820"/>
                </a:cubicBezTo>
                <a:close/>
                <a:moveTo>
                  <a:pt x="1516" y="815"/>
                </a:moveTo>
                <a:cubicBezTo>
                  <a:pt x="1515" y="816"/>
                  <a:pt x="1515" y="816"/>
                  <a:pt x="1515" y="817"/>
                </a:cubicBezTo>
                <a:cubicBezTo>
                  <a:pt x="1514" y="817"/>
                  <a:pt x="1514" y="817"/>
                  <a:pt x="1513" y="817"/>
                </a:cubicBezTo>
                <a:cubicBezTo>
                  <a:pt x="1512" y="818"/>
                  <a:pt x="1511" y="818"/>
                  <a:pt x="1509" y="818"/>
                </a:cubicBezTo>
                <a:cubicBezTo>
                  <a:pt x="1509" y="818"/>
                  <a:pt x="1509" y="818"/>
                  <a:pt x="1508" y="818"/>
                </a:cubicBezTo>
                <a:cubicBezTo>
                  <a:pt x="1508" y="818"/>
                  <a:pt x="1508" y="818"/>
                  <a:pt x="1508" y="818"/>
                </a:cubicBezTo>
                <a:cubicBezTo>
                  <a:pt x="1508" y="817"/>
                  <a:pt x="1508" y="818"/>
                  <a:pt x="1507" y="818"/>
                </a:cubicBezTo>
                <a:cubicBezTo>
                  <a:pt x="1507" y="818"/>
                  <a:pt x="1507" y="817"/>
                  <a:pt x="1507" y="817"/>
                </a:cubicBezTo>
                <a:cubicBezTo>
                  <a:pt x="1506" y="817"/>
                  <a:pt x="1506" y="817"/>
                  <a:pt x="1506" y="817"/>
                </a:cubicBezTo>
                <a:cubicBezTo>
                  <a:pt x="1505" y="816"/>
                  <a:pt x="1505" y="816"/>
                  <a:pt x="1504" y="816"/>
                </a:cubicBezTo>
                <a:cubicBezTo>
                  <a:pt x="1504" y="816"/>
                  <a:pt x="1504" y="816"/>
                  <a:pt x="1503" y="816"/>
                </a:cubicBezTo>
                <a:cubicBezTo>
                  <a:pt x="1503" y="816"/>
                  <a:pt x="1504" y="815"/>
                  <a:pt x="1503" y="815"/>
                </a:cubicBezTo>
                <a:cubicBezTo>
                  <a:pt x="1502" y="815"/>
                  <a:pt x="1502" y="816"/>
                  <a:pt x="1502" y="816"/>
                </a:cubicBezTo>
                <a:cubicBezTo>
                  <a:pt x="1501" y="816"/>
                  <a:pt x="1501" y="815"/>
                  <a:pt x="1500" y="815"/>
                </a:cubicBezTo>
                <a:cubicBezTo>
                  <a:pt x="1499" y="815"/>
                  <a:pt x="1499" y="815"/>
                  <a:pt x="1499" y="816"/>
                </a:cubicBezTo>
                <a:cubicBezTo>
                  <a:pt x="1499" y="817"/>
                  <a:pt x="1499" y="818"/>
                  <a:pt x="1500" y="819"/>
                </a:cubicBezTo>
                <a:cubicBezTo>
                  <a:pt x="1500" y="819"/>
                  <a:pt x="1501" y="820"/>
                  <a:pt x="1501" y="820"/>
                </a:cubicBezTo>
                <a:cubicBezTo>
                  <a:pt x="1501" y="821"/>
                  <a:pt x="1501" y="820"/>
                  <a:pt x="1501" y="821"/>
                </a:cubicBezTo>
                <a:cubicBezTo>
                  <a:pt x="1501" y="822"/>
                  <a:pt x="1503" y="822"/>
                  <a:pt x="1503" y="823"/>
                </a:cubicBezTo>
                <a:cubicBezTo>
                  <a:pt x="1503" y="824"/>
                  <a:pt x="1503" y="824"/>
                  <a:pt x="1504" y="824"/>
                </a:cubicBezTo>
                <a:cubicBezTo>
                  <a:pt x="1504" y="824"/>
                  <a:pt x="1505" y="825"/>
                  <a:pt x="1505" y="825"/>
                </a:cubicBezTo>
                <a:cubicBezTo>
                  <a:pt x="1504" y="825"/>
                  <a:pt x="1503" y="825"/>
                  <a:pt x="1503" y="826"/>
                </a:cubicBezTo>
                <a:cubicBezTo>
                  <a:pt x="1503" y="826"/>
                  <a:pt x="1503" y="827"/>
                  <a:pt x="1503" y="827"/>
                </a:cubicBezTo>
                <a:cubicBezTo>
                  <a:pt x="1503" y="828"/>
                  <a:pt x="1504" y="828"/>
                  <a:pt x="1504" y="829"/>
                </a:cubicBezTo>
                <a:cubicBezTo>
                  <a:pt x="1504" y="830"/>
                  <a:pt x="1505" y="829"/>
                  <a:pt x="1505" y="830"/>
                </a:cubicBezTo>
                <a:cubicBezTo>
                  <a:pt x="1505" y="830"/>
                  <a:pt x="1505" y="830"/>
                  <a:pt x="1505" y="830"/>
                </a:cubicBezTo>
                <a:cubicBezTo>
                  <a:pt x="1506" y="831"/>
                  <a:pt x="1507" y="831"/>
                  <a:pt x="1507" y="832"/>
                </a:cubicBezTo>
                <a:cubicBezTo>
                  <a:pt x="1507" y="833"/>
                  <a:pt x="1507" y="832"/>
                  <a:pt x="1508" y="833"/>
                </a:cubicBezTo>
                <a:cubicBezTo>
                  <a:pt x="1508" y="833"/>
                  <a:pt x="1508" y="833"/>
                  <a:pt x="1509" y="833"/>
                </a:cubicBezTo>
                <a:cubicBezTo>
                  <a:pt x="1510" y="833"/>
                  <a:pt x="1509" y="833"/>
                  <a:pt x="1510" y="833"/>
                </a:cubicBezTo>
                <a:cubicBezTo>
                  <a:pt x="1511" y="833"/>
                  <a:pt x="1511" y="833"/>
                  <a:pt x="1511" y="832"/>
                </a:cubicBezTo>
                <a:cubicBezTo>
                  <a:pt x="1512" y="833"/>
                  <a:pt x="1512" y="833"/>
                  <a:pt x="1512" y="833"/>
                </a:cubicBezTo>
                <a:cubicBezTo>
                  <a:pt x="1513" y="832"/>
                  <a:pt x="1513" y="832"/>
                  <a:pt x="1513" y="831"/>
                </a:cubicBezTo>
                <a:cubicBezTo>
                  <a:pt x="1512" y="832"/>
                  <a:pt x="1512" y="832"/>
                  <a:pt x="1512" y="832"/>
                </a:cubicBezTo>
                <a:cubicBezTo>
                  <a:pt x="1511" y="832"/>
                  <a:pt x="1511" y="831"/>
                  <a:pt x="1511" y="830"/>
                </a:cubicBezTo>
                <a:cubicBezTo>
                  <a:pt x="1512" y="830"/>
                  <a:pt x="1513" y="829"/>
                  <a:pt x="1513" y="829"/>
                </a:cubicBezTo>
                <a:cubicBezTo>
                  <a:pt x="1514" y="829"/>
                  <a:pt x="1514" y="831"/>
                  <a:pt x="1515" y="831"/>
                </a:cubicBezTo>
                <a:cubicBezTo>
                  <a:pt x="1515" y="830"/>
                  <a:pt x="1515" y="831"/>
                  <a:pt x="1515" y="830"/>
                </a:cubicBezTo>
                <a:cubicBezTo>
                  <a:pt x="1515" y="829"/>
                  <a:pt x="1515" y="829"/>
                  <a:pt x="1515" y="829"/>
                </a:cubicBezTo>
                <a:cubicBezTo>
                  <a:pt x="1515" y="827"/>
                  <a:pt x="1515" y="827"/>
                  <a:pt x="1515" y="825"/>
                </a:cubicBezTo>
                <a:cubicBezTo>
                  <a:pt x="1515" y="824"/>
                  <a:pt x="1515" y="825"/>
                  <a:pt x="1516" y="824"/>
                </a:cubicBezTo>
                <a:cubicBezTo>
                  <a:pt x="1516" y="824"/>
                  <a:pt x="1516" y="823"/>
                  <a:pt x="1516" y="824"/>
                </a:cubicBezTo>
                <a:cubicBezTo>
                  <a:pt x="1517" y="824"/>
                  <a:pt x="1517" y="823"/>
                  <a:pt x="1517" y="822"/>
                </a:cubicBezTo>
                <a:cubicBezTo>
                  <a:pt x="1517" y="821"/>
                  <a:pt x="1517" y="820"/>
                  <a:pt x="1517" y="820"/>
                </a:cubicBezTo>
                <a:cubicBezTo>
                  <a:pt x="1517" y="819"/>
                  <a:pt x="1517" y="818"/>
                  <a:pt x="1516" y="817"/>
                </a:cubicBezTo>
                <a:cubicBezTo>
                  <a:pt x="1516" y="817"/>
                  <a:pt x="1516" y="816"/>
                  <a:pt x="1516" y="815"/>
                </a:cubicBezTo>
                <a:close/>
                <a:moveTo>
                  <a:pt x="1515" y="810"/>
                </a:moveTo>
                <a:cubicBezTo>
                  <a:pt x="1515" y="810"/>
                  <a:pt x="1514" y="811"/>
                  <a:pt x="1515" y="811"/>
                </a:cubicBezTo>
                <a:cubicBezTo>
                  <a:pt x="1516" y="812"/>
                  <a:pt x="1515" y="813"/>
                  <a:pt x="1516" y="813"/>
                </a:cubicBezTo>
                <a:cubicBezTo>
                  <a:pt x="1517" y="813"/>
                  <a:pt x="1517" y="812"/>
                  <a:pt x="1518" y="812"/>
                </a:cubicBezTo>
                <a:cubicBezTo>
                  <a:pt x="1517" y="812"/>
                  <a:pt x="1517" y="811"/>
                  <a:pt x="1517" y="811"/>
                </a:cubicBezTo>
                <a:cubicBezTo>
                  <a:pt x="1516" y="810"/>
                  <a:pt x="1516" y="810"/>
                  <a:pt x="1515" y="810"/>
                </a:cubicBezTo>
                <a:close/>
                <a:moveTo>
                  <a:pt x="1495" y="811"/>
                </a:moveTo>
                <a:cubicBezTo>
                  <a:pt x="1496" y="811"/>
                  <a:pt x="1496" y="809"/>
                  <a:pt x="1496" y="809"/>
                </a:cubicBezTo>
                <a:cubicBezTo>
                  <a:pt x="1495" y="808"/>
                  <a:pt x="1495" y="810"/>
                  <a:pt x="1495" y="811"/>
                </a:cubicBezTo>
                <a:close/>
                <a:moveTo>
                  <a:pt x="1650" y="790"/>
                </a:moveTo>
                <a:cubicBezTo>
                  <a:pt x="1650" y="790"/>
                  <a:pt x="1650" y="789"/>
                  <a:pt x="1650" y="789"/>
                </a:cubicBezTo>
                <a:cubicBezTo>
                  <a:pt x="1650" y="789"/>
                  <a:pt x="1650" y="789"/>
                  <a:pt x="1649" y="790"/>
                </a:cubicBezTo>
                <a:cubicBezTo>
                  <a:pt x="1650" y="789"/>
                  <a:pt x="1649" y="790"/>
                  <a:pt x="1650" y="790"/>
                </a:cubicBezTo>
                <a:close/>
                <a:moveTo>
                  <a:pt x="1467" y="783"/>
                </a:moveTo>
                <a:cubicBezTo>
                  <a:pt x="1467" y="783"/>
                  <a:pt x="1466" y="783"/>
                  <a:pt x="1465" y="783"/>
                </a:cubicBezTo>
                <a:cubicBezTo>
                  <a:pt x="1464" y="783"/>
                  <a:pt x="1465" y="784"/>
                  <a:pt x="1464" y="785"/>
                </a:cubicBezTo>
                <a:cubicBezTo>
                  <a:pt x="1466" y="785"/>
                  <a:pt x="1467" y="785"/>
                  <a:pt x="1469" y="785"/>
                </a:cubicBezTo>
                <a:cubicBezTo>
                  <a:pt x="1470" y="783"/>
                  <a:pt x="1467" y="784"/>
                  <a:pt x="1467" y="783"/>
                </a:cubicBezTo>
                <a:cubicBezTo>
                  <a:pt x="1467" y="783"/>
                  <a:pt x="1467" y="783"/>
                  <a:pt x="1467" y="783"/>
                </a:cubicBezTo>
                <a:close/>
                <a:moveTo>
                  <a:pt x="1662" y="799"/>
                </a:moveTo>
                <a:cubicBezTo>
                  <a:pt x="1660" y="799"/>
                  <a:pt x="1659" y="800"/>
                  <a:pt x="1657" y="800"/>
                </a:cubicBezTo>
                <a:cubicBezTo>
                  <a:pt x="1657" y="801"/>
                  <a:pt x="1657" y="801"/>
                  <a:pt x="1657" y="801"/>
                </a:cubicBezTo>
                <a:cubicBezTo>
                  <a:pt x="1657" y="800"/>
                  <a:pt x="1656" y="801"/>
                  <a:pt x="1656" y="801"/>
                </a:cubicBezTo>
                <a:cubicBezTo>
                  <a:pt x="1655" y="801"/>
                  <a:pt x="1656" y="800"/>
                  <a:pt x="1656" y="800"/>
                </a:cubicBezTo>
                <a:cubicBezTo>
                  <a:pt x="1656" y="800"/>
                  <a:pt x="1655" y="800"/>
                  <a:pt x="1655" y="800"/>
                </a:cubicBezTo>
                <a:cubicBezTo>
                  <a:pt x="1655" y="800"/>
                  <a:pt x="1655" y="800"/>
                  <a:pt x="1655" y="800"/>
                </a:cubicBezTo>
                <a:cubicBezTo>
                  <a:pt x="1654" y="800"/>
                  <a:pt x="1654" y="800"/>
                  <a:pt x="1653" y="800"/>
                </a:cubicBezTo>
                <a:cubicBezTo>
                  <a:pt x="1653" y="800"/>
                  <a:pt x="1652" y="799"/>
                  <a:pt x="1652" y="799"/>
                </a:cubicBezTo>
                <a:cubicBezTo>
                  <a:pt x="1651" y="798"/>
                  <a:pt x="1651" y="798"/>
                  <a:pt x="1651" y="797"/>
                </a:cubicBezTo>
                <a:cubicBezTo>
                  <a:pt x="1651" y="797"/>
                  <a:pt x="1652" y="796"/>
                  <a:pt x="1651" y="796"/>
                </a:cubicBezTo>
                <a:cubicBezTo>
                  <a:pt x="1651" y="796"/>
                  <a:pt x="1651" y="796"/>
                  <a:pt x="1651" y="795"/>
                </a:cubicBezTo>
                <a:cubicBezTo>
                  <a:pt x="1651" y="795"/>
                  <a:pt x="1651" y="794"/>
                  <a:pt x="1651" y="793"/>
                </a:cubicBezTo>
                <a:cubicBezTo>
                  <a:pt x="1651" y="793"/>
                  <a:pt x="1650" y="794"/>
                  <a:pt x="1650" y="794"/>
                </a:cubicBezTo>
                <a:cubicBezTo>
                  <a:pt x="1650" y="793"/>
                  <a:pt x="1650" y="793"/>
                  <a:pt x="1650" y="792"/>
                </a:cubicBezTo>
                <a:cubicBezTo>
                  <a:pt x="1649" y="792"/>
                  <a:pt x="1650" y="792"/>
                  <a:pt x="1650" y="791"/>
                </a:cubicBezTo>
                <a:cubicBezTo>
                  <a:pt x="1650" y="791"/>
                  <a:pt x="1649" y="791"/>
                  <a:pt x="1649" y="792"/>
                </a:cubicBezTo>
                <a:cubicBezTo>
                  <a:pt x="1649" y="792"/>
                  <a:pt x="1649" y="793"/>
                  <a:pt x="1649" y="793"/>
                </a:cubicBezTo>
                <a:cubicBezTo>
                  <a:pt x="1649" y="793"/>
                  <a:pt x="1648" y="793"/>
                  <a:pt x="1648" y="793"/>
                </a:cubicBezTo>
                <a:cubicBezTo>
                  <a:pt x="1648" y="794"/>
                  <a:pt x="1648" y="794"/>
                  <a:pt x="1648" y="794"/>
                </a:cubicBezTo>
                <a:cubicBezTo>
                  <a:pt x="1648" y="795"/>
                  <a:pt x="1649" y="795"/>
                  <a:pt x="1648" y="795"/>
                </a:cubicBezTo>
                <a:cubicBezTo>
                  <a:pt x="1648" y="795"/>
                  <a:pt x="1648" y="794"/>
                  <a:pt x="1647" y="794"/>
                </a:cubicBezTo>
                <a:cubicBezTo>
                  <a:pt x="1647" y="794"/>
                  <a:pt x="1646" y="794"/>
                  <a:pt x="1646" y="794"/>
                </a:cubicBezTo>
                <a:cubicBezTo>
                  <a:pt x="1646" y="794"/>
                  <a:pt x="1646" y="793"/>
                  <a:pt x="1646" y="792"/>
                </a:cubicBezTo>
                <a:cubicBezTo>
                  <a:pt x="1646" y="792"/>
                  <a:pt x="1646" y="791"/>
                  <a:pt x="1646" y="790"/>
                </a:cubicBezTo>
                <a:cubicBezTo>
                  <a:pt x="1646" y="790"/>
                  <a:pt x="1646" y="790"/>
                  <a:pt x="1646" y="790"/>
                </a:cubicBezTo>
                <a:cubicBezTo>
                  <a:pt x="1645" y="790"/>
                  <a:pt x="1645" y="789"/>
                  <a:pt x="1645" y="788"/>
                </a:cubicBezTo>
                <a:cubicBezTo>
                  <a:pt x="1645" y="788"/>
                  <a:pt x="1644" y="786"/>
                  <a:pt x="1645" y="786"/>
                </a:cubicBezTo>
                <a:cubicBezTo>
                  <a:pt x="1645" y="785"/>
                  <a:pt x="1645" y="784"/>
                  <a:pt x="1645" y="784"/>
                </a:cubicBezTo>
                <a:cubicBezTo>
                  <a:pt x="1644" y="784"/>
                  <a:pt x="1644" y="784"/>
                  <a:pt x="1643" y="784"/>
                </a:cubicBezTo>
                <a:cubicBezTo>
                  <a:pt x="1643" y="784"/>
                  <a:pt x="1643" y="783"/>
                  <a:pt x="1643" y="783"/>
                </a:cubicBezTo>
                <a:cubicBezTo>
                  <a:pt x="1643" y="782"/>
                  <a:pt x="1643" y="782"/>
                  <a:pt x="1642" y="782"/>
                </a:cubicBezTo>
                <a:cubicBezTo>
                  <a:pt x="1642" y="782"/>
                  <a:pt x="1642" y="782"/>
                  <a:pt x="1642" y="781"/>
                </a:cubicBezTo>
                <a:cubicBezTo>
                  <a:pt x="1641" y="781"/>
                  <a:pt x="1640" y="781"/>
                  <a:pt x="1640" y="781"/>
                </a:cubicBezTo>
                <a:cubicBezTo>
                  <a:pt x="1640" y="781"/>
                  <a:pt x="1640" y="780"/>
                  <a:pt x="1640" y="780"/>
                </a:cubicBezTo>
                <a:cubicBezTo>
                  <a:pt x="1640" y="780"/>
                  <a:pt x="1639" y="780"/>
                  <a:pt x="1639" y="780"/>
                </a:cubicBezTo>
                <a:cubicBezTo>
                  <a:pt x="1639" y="780"/>
                  <a:pt x="1639" y="781"/>
                  <a:pt x="1639" y="781"/>
                </a:cubicBezTo>
                <a:cubicBezTo>
                  <a:pt x="1639" y="781"/>
                  <a:pt x="1638" y="780"/>
                  <a:pt x="1638" y="780"/>
                </a:cubicBezTo>
                <a:cubicBezTo>
                  <a:pt x="1638" y="779"/>
                  <a:pt x="1637" y="779"/>
                  <a:pt x="1637" y="779"/>
                </a:cubicBezTo>
                <a:cubicBezTo>
                  <a:pt x="1637" y="779"/>
                  <a:pt x="1637" y="778"/>
                  <a:pt x="1636" y="778"/>
                </a:cubicBezTo>
                <a:cubicBezTo>
                  <a:pt x="1636" y="778"/>
                  <a:pt x="1636" y="777"/>
                  <a:pt x="1636" y="777"/>
                </a:cubicBezTo>
                <a:cubicBezTo>
                  <a:pt x="1636" y="777"/>
                  <a:pt x="1635" y="777"/>
                  <a:pt x="1635" y="778"/>
                </a:cubicBezTo>
                <a:cubicBezTo>
                  <a:pt x="1635" y="779"/>
                  <a:pt x="1636" y="780"/>
                  <a:pt x="1637" y="780"/>
                </a:cubicBezTo>
                <a:cubicBezTo>
                  <a:pt x="1637" y="780"/>
                  <a:pt x="1637" y="781"/>
                  <a:pt x="1637" y="781"/>
                </a:cubicBezTo>
                <a:cubicBezTo>
                  <a:pt x="1637" y="781"/>
                  <a:pt x="1638" y="781"/>
                  <a:pt x="1638" y="782"/>
                </a:cubicBezTo>
                <a:cubicBezTo>
                  <a:pt x="1638" y="782"/>
                  <a:pt x="1638" y="784"/>
                  <a:pt x="1638" y="784"/>
                </a:cubicBezTo>
                <a:cubicBezTo>
                  <a:pt x="1639" y="784"/>
                  <a:pt x="1639" y="785"/>
                  <a:pt x="1639" y="785"/>
                </a:cubicBezTo>
                <a:cubicBezTo>
                  <a:pt x="1640" y="785"/>
                  <a:pt x="1640" y="785"/>
                  <a:pt x="1640" y="786"/>
                </a:cubicBezTo>
                <a:cubicBezTo>
                  <a:pt x="1640" y="786"/>
                  <a:pt x="1640" y="787"/>
                  <a:pt x="1640" y="787"/>
                </a:cubicBezTo>
                <a:cubicBezTo>
                  <a:pt x="1641" y="787"/>
                  <a:pt x="1641" y="788"/>
                  <a:pt x="1642" y="789"/>
                </a:cubicBezTo>
                <a:cubicBezTo>
                  <a:pt x="1642" y="789"/>
                  <a:pt x="1642" y="789"/>
                  <a:pt x="1643" y="789"/>
                </a:cubicBezTo>
                <a:cubicBezTo>
                  <a:pt x="1644" y="790"/>
                  <a:pt x="1644" y="790"/>
                  <a:pt x="1644" y="791"/>
                </a:cubicBezTo>
                <a:cubicBezTo>
                  <a:pt x="1643" y="791"/>
                  <a:pt x="1643" y="791"/>
                  <a:pt x="1643" y="791"/>
                </a:cubicBezTo>
                <a:cubicBezTo>
                  <a:pt x="1643" y="792"/>
                  <a:pt x="1643" y="793"/>
                  <a:pt x="1643" y="793"/>
                </a:cubicBezTo>
                <a:cubicBezTo>
                  <a:pt x="1643" y="794"/>
                  <a:pt x="1644" y="794"/>
                  <a:pt x="1645" y="794"/>
                </a:cubicBezTo>
                <a:cubicBezTo>
                  <a:pt x="1645" y="795"/>
                  <a:pt x="1644" y="795"/>
                  <a:pt x="1644" y="796"/>
                </a:cubicBezTo>
                <a:cubicBezTo>
                  <a:pt x="1644" y="796"/>
                  <a:pt x="1645" y="797"/>
                  <a:pt x="1645" y="798"/>
                </a:cubicBezTo>
                <a:cubicBezTo>
                  <a:pt x="1645" y="798"/>
                  <a:pt x="1645" y="799"/>
                  <a:pt x="1645" y="800"/>
                </a:cubicBezTo>
                <a:cubicBezTo>
                  <a:pt x="1645" y="800"/>
                  <a:pt x="1645" y="800"/>
                  <a:pt x="1645" y="801"/>
                </a:cubicBezTo>
                <a:cubicBezTo>
                  <a:pt x="1645" y="801"/>
                  <a:pt x="1645" y="801"/>
                  <a:pt x="1645" y="802"/>
                </a:cubicBezTo>
                <a:cubicBezTo>
                  <a:pt x="1645" y="802"/>
                  <a:pt x="1644" y="802"/>
                  <a:pt x="1644" y="802"/>
                </a:cubicBezTo>
                <a:cubicBezTo>
                  <a:pt x="1644" y="803"/>
                  <a:pt x="1644" y="803"/>
                  <a:pt x="1644" y="804"/>
                </a:cubicBezTo>
                <a:cubicBezTo>
                  <a:pt x="1644" y="804"/>
                  <a:pt x="1643" y="804"/>
                  <a:pt x="1643" y="804"/>
                </a:cubicBezTo>
                <a:cubicBezTo>
                  <a:pt x="1643" y="804"/>
                  <a:pt x="1644" y="805"/>
                  <a:pt x="1643" y="805"/>
                </a:cubicBezTo>
                <a:cubicBezTo>
                  <a:pt x="1643" y="805"/>
                  <a:pt x="1643" y="805"/>
                  <a:pt x="1643" y="806"/>
                </a:cubicBezTo>
                <a:cubicBezTo>
                  <a:pt x="1643" y="806"/>
                  <a:pt x="1642" y="806"/>
                  <a:pt x="1641" y="806"/>
                </a:cubicBezTo>
                <a:cubicBezTo>
                  <a:pt x="1640" y="806"/>
                  <a:pt x="1639" y="807"/>
                  <a:pt x="1640" y="808"/>
                </a:cubicBezTo>
                <a:cubicBezTo>
                  <a:pt x="1641" y="810"/>
                  <a:pt x="1643" y="810"/>
                  <a:pt x="1644" y="810"/>
                </a:cubicBezTo>
                <a:cubicBezTo>
                  <a:pt x="1644" y="810"/>
                  <a:pt x="1644" y="811"/>
                  <a:pt x="1644" y="811"/>
                </a:cubicBezTo>
                <a:cubicBezTo>
                  <a:pt x="1644" y="811"/>
                  <a:pt x="1644" y="811"/>
                  <a:pt x="1645" y="811"/>
                </a:cubicBezTo>
                <a:cubicBezTo>
                  <a:pt x="1646" y="812"/>
                  <a:pt x="1646" y="812"/>
                  <a:pt x="1646" y="813"/>
                </a:cubicBezTo>
                <a:cubicBezTo>
                  <a:pt x="1647" y="814"/>
                  <a:pt x="1647" y="815"/>
                  <a:pt x="1647" y="815"/>
                </a:cubicBezTo>
                <a:cubicBezTo>
                  <a:pt x="1647" y="816"/>
                  <a:pt x="1646" y="816"/>
                  <a:pt x="1646" y="817"/>
                </a:cubicBezTo>
                <a:cubicBezTo>
                  <a:pt x="1646" y="818"/>
                  <a:pt x="1646" y="818"/>
                  <a:pt x="1645" y="819"/>
                </a:cubicBezTo>
                <a:cubicBezTo>
                  <a:pt x="1645" y="819"/>
                  <a:pt x="1645" y="820"/>
                  <a:pt x="1645" y="820"/>
                </a:cubicBezTo>
                <a:cubicBezTo>
                  <a:pt x="1646" y="820"/>
                  <a:pt x="1646" y="821"/>
                  <a:pt x="1646" y="821"/>
                </a:cubicBezTo>
                <a:cubicBezTo>
                  <a:pt x="1646" y="821"/>
                  <a:pt x="1647" y="821"/>
                  <a:pt x="1648" y="821"/>
                </a:cubicBezTo>
                <a:cubicBezTo>
                  <a:pt x="1648" y="821"/>
                  <a:pt x="1649" y="822"/>
                  <a:pt x="1649" y="822"/>
                </a:cubicBezTo>
                <a:cubicBezTo>
                  <a:pt x="1650" y="822"/>
                  <a:pt x="1650" y="821"/>
                  <a:pt x="1651" y="821"/>
                </a:cubicBezTo>
                <a:cubicBezTo>
                  <a:pt x="1651" y="821"/>
                  <a:pt x="1652" y="820"/>
                  <a:pt x="1652" y="820"/>
                </a:cubicBezTo>
                <a:cubicBezTo>
                  <a:pt x="1652" y="820"/>
                  <a:pt x="1652" y="819"/>
                  <a:pt x="1652" y="819"/>
                </a:cubicBezTo>
                <a:cubicBezTo>
                  <a:pt x="1652" y="819"/>
                  <a:pt x="1652" y="819"/>
                  <a:pt x="1652" y="819"/>
                </a:cubicBezTo>
                <a:cubicBezTo>
                  <a:pt x="1652" y="818"/>
                  <a:pt x="1652" y="818"/>
                  <a:pt x="1653" y="818"/>
                </a:cubicBezTo>
                <a:cubicBezTo>
                  <a:pt x="1653" y="817"/>
                  <a:pt x="1653" y="818"/>
                  <a:pt x="1653" y="817"/>
                </a:cubicBezTo>
                <a:cubicBezTo>
                  <a:pt x="1653" y="817"/>
                  <a:pt x="1653" y="816"/>
                  <a:pt x="1653" y="816"/>
                </a:cubicBezTo>
                <a:cubicBezTo>
                  <a:pt x="1653" y="816"/>
                  <a:pt x="1655" y="815"/>
                  <a:pt x="1655" y="814"/>
                </a:cubicBezTo>
                <a:cubicBezTo>
                  <a:pt x="1656" y="814"/>
                  <a:pt x="1656" y="814"/>
                  <a:pt x="1656" y="813"/>
                </a:cubicBezTo>
                <a:cubicBezTo>
                  <a:pt x="1656" y="812"/>
                  <a:pt x="1656" y="811"/>
                  <a:pt x="1657" y="811"/>
                </a:cubicBezTo>
                <a:cubicBezTo>
                  <a:pt x="1656" y="810"/>
                  <a:pt x="1655" y="810"/>
                  <a:pt x="1656" y="809"/>
                </a:cubicBezTo>
                <a:cubicBezTo>
                  <a:pt x="1657" y="808"/>
                  <a:pt x="1657" y="808"/>
                  <a:pt x="1658" y="808"/>
                </a:cubicBezTo>
                <a:cubicBezTo>
                  <a:pt x="1658" y="808"/>
                  <a:pt x="1659" y="807"/>
                  <a:pt x="1659" y="807"/>
                </a:cubicBezTo>
                <a:cubicBezTo>
                  <a:pt x="1659" y="807"/>
                  <a:pt x="1660" y="807"/>
                  <a:pt x="1660" y="808"/>
                </a:cubicBezTo>
                <a:cubicBezTo>
                  <a:pt x="1660" y="808"/>
                  <a:pt x="1660" y="808"/>
                  <a:pt x="1661" y="808"/>
                </a:cubicBezTo>
                <a:cubicBezTo>
                  <a:pt x="1661" y="807"/>
                  <a:pt x="1660" y="807"/>
                  <a:pt x="1660" y="806"/>
                </a:cubicBezTo>
                <a:cubicBezTo>
                  <a:pt x="1661" y="805"/>
                  <a:pt x="1661" y="805"/>
                  <a:pt x="1661" y="805"/>
                </a:cubicBezTo>
                <a:cubicBezTo>
                  <a:pt x="1661" y="804"/>
                  <a:pt x="1662" y="805"/>
                  <a:pt x="1662" y="804"/>
                </a:cubicBezTo>
                <a:cubicBezTo>
                  <a:pt x="1662" y="804"/>
                  <a:pt x="1662" y="804"/>
                  <a:pt x="1662" y="804"/>
                </a:cubicBezTo>
                <a:cubicBezTo>
                  <a:pt x="1662" y="803"/>
                  <a:pt x="1662" y="803"/>
                  <a:pt x="1662" y="803"/>
                </a:cubicBezTo>
                <a:cubicBezTo>
                  <a:pt x="1662" y="802"/>
                  <a:pt x="1662" y="803"/>
                  <a:pt x="1662" y="802"/>
                </a:cubicBezTo>
                <a:cubicBezTo>
                  <a:pt x="1662" y="802"/>
                  <a:pt x="1663" y="802"/>
                  <a:pt x="1663" y="801"/>
                </a:cubicBezTo>
                <a:cubicBezTo>
                  <a:pt x="1663" y="801"/>
                  <a:pt x="1663" y="801"/>
                  <a:pt x="1663" y="801"/>
                </a:cubicBezTo>
                <a:cubicBezTo>
                  <a:pt x="1664" y="800"/>
                  <a:pt x="1663" y="799"/>
                  <a:pt x="1662" y="799"/>
                </a:cubicBezTo>
                <a:cubicBezTo>
                  <a:pt x="1659" y="799"/>
                  <a:pt x="1662" y="799"/>
                  <a:pt x="1662" y="799"/>
                </a:cubicBezTo>
                <a:close/>
                <a:moveTo>
                  <a:pt x="566" y="763"/>
                </a:moveTo>
                <a:cubicBezTo>
                  <a:pt x="566" y="763"/>
                  <a:pt x="567" y="763"/>
                  <a:pt x="567" y="762"/>
                </a:cubicBezTo>
                <a:cubicBezTo>
                  <a:pt x="566" y="762"/>
                  <a:pt x="565" y="762"/>
                  <a:pt x="566" y="763"/>
                </a:cubicBezTo>
                <a:cubicBezTo>
                  <a:pt x="566" y="763"/>
                  <a:pt x="566" y="763"/>
                  <a:pt x="566" y="763"/>
                </a:cubicBezTo>
                <a:close/>
                <a:moveTo>
                  <a:pt x="568" y="762"/>
                </a:moveTo>
                <a:cubicBezTo>
                  <a:pt x="568" y="762"/>
                  <a:pt x="568" y="763"/>
                  <a:pt x="568" y="763"/>
                </a:cubicBezTo>
                <a:cubicBezTo>
                  <a:pt x="569" y="763"/>
                  <a:pt x="570" y="763"/>
                  <a:pt x="571" y="762"/>
                </a:cubicBezTo>
                <a:cubicBezTo>
                  <a:pt x="570" y="762"/>
                  <a:pt x="569" y="762"/>
                  <a:pt x="568" y="762"/>
                </a:cubicBezTo>
                <a:close/>
                <a:moveTo>
                  <a:pt x="570" y="760"/>
                </a:moveTo>
                <a:cubicBezTo>
                  <a:pt x="571" y="760"/>
                  <a:pt x="572" y="760"/>
                  <a:pt x="572" y="759"/>
                </a:cubicBezTo>
                <a:cubicBezTo>
                  <a:pt x="571" y="759"/>
                  <a:pt x="571" y="759"/>
                  <a:pt x="570" y="760"/>
                </a:cubicBezTo>
                <a:cubicBezTo>
                  <a:pt x="572" y="760"/>
                  <a:pt x="570" y="760"/>
                  <a:pt x="570" y="760"/>
                </a:cubicBezTo>
                <a:close/>
                <a:moveTo>
                  <a:pt x="1353" y="720"/>
                </a:moveTo>
                <a:cubicBezTo>
                  <a:pt x="1353" y="720"/>
                  <a:pt x="1353" y="720"/>
                  <a:pt x="1353" y="720"/>
                </a:cubicBezTo>
                <a:cubicBezTo>
                  <a:pt x="1353" y="720"/>
                  <a:pt x="1353" y="720"/>
                  <a:pt x="1353" y="720"/>
                </a:cubicBezTo>
                <a:close/>
                <a:moveTo>
                  <a:pt x="1613" y="703"/>
                </a:moveTo>
                <a:cubicBezTo>
                  <a:pt x="1613" y="702"/>
                  <a:pt x="1613" y="702"/>
                  <a:pt x="1612" y="702"/>
                </a:cubicBezTo>
                <a:cubicBezTo>
                  <a:pt x="1613" y="702"/>
                  <a:pt x="1613" y="702"/>
                  <a:pt x="1613" y="703"/>
                </a:cubicBezTo>
                <a:close/>
                <a:moveTo>
                  <a:pt x="1608" y="696"/>
                </a:moveTo>
                <a:cubicBezTo>
                  <a:pt x="1608" y="697"/>
                  <a:pt x="1608" y="698"/>
                  <a:pt x="1608" y="698"/>
                </a:cubicBezTo>
                <a:cubicBezTo>
                  <a:pt x="1608" y="699"/>
                  <a:pt x="1608" y="699"/>
                  <a:pt x="1609" y="699"/>
                </a:cubicBezTo>
                <a:cubicBezTo>
                  <a:pt x="1609" y="699"/>
                  <a:pt x="1609" y="699"/>
                  <a:pt x="1609" y="699"/>
                </a:cubicBezTo>
                <a:cubicBezTo>
                  <a:pt x="1609" y="698"/>
                  <a:pt x="1609" y="697"/>
                  <a:pt x="1608" y="696"/>
                </a:cubicBezTo>
                <a:cubicBezTo>
                  <a:pt x="1608" y="697"/>
                  <a:pt x="1608" y="696"/>
                  <a:pt x="1608" y="696"/>
                </a:cubicBezTo>
                <a:close/>
                <a:moveTo>
                  <a:pt x="1077" y="696"/>
                </a:moveTo>
                <a:cubicBezTo>
                  <a:pt x="1077" y="696"/>
                  <a:pt x="1077" y="697"/>
                  <a:pt x="1077" y="697"/>
                </a:cubicBezTo>
                <a:cubicBezTo>
                  <a:pt x="1077" y="697"/>
                  <a:pt x="1077" y="698"/>
                  <a:pt x="1078" y="698"/>
                </a:cubicBezTo>
                <a:cubicBezTo>
                  <a:pt x="1079" y="698"/>
                  <a:pt x="1079" y="698"/>
                  <a:pt x="1080" y="698"/>
                </a:cubicBezTo>
                <a:cubicBezTo>
                  <a:pt x="1080" y="697"/>
                  <a:pt x="1079" y="697"/>
                  <a:pt x="1079" y="696"/>
                </a:cubicBezTo>
                <a:cubicBezTo>
                  <a:pt x="1078" y="696"/>
                  <a:pt x="1078" y="696"/>
                  <a:pt x="1077" y="696"/>
                </a:cubicBezTo>
                <a:close/>
                <a:moveTo>
                  <a:pt x="1605" y="705"/>
                </a:moveTo>
                <a:cubicBezTo>
                  <a:pt x="1606" y="705"/>
                  <a:pt x="1606" y="706"/>
                  <a:pt x="1606" y="706"/>
                </a:cubicBezTo>
                <a:cubicBezTo>
                  <a:pt x="1607" y="706"/>
                  <a:pt x="1608" y="706"/>
                  <a:pt x="1608" y="706"/>
                </a:cubicBezTo>
                <a:cubicBezTo>
                  <a:pt x="1608" y="706"/>
                  <a:pt x="1609" y="706"/>
                  <a:pt x="1609" y="706"/>
                </a:cubicBezTo>
                <a:cubicBezTo>
                  <a:pt x="1609" y="705"/>
                  <a:pt x="1608" y="704"/>
                  <a:pt x="1607" y="704"/>
                </a:cubicBezTo>
                <a:cubicBezTo>
                  <a:pt x="1607" y="704"/>
                  <a:pt x="1607" y="703"/>
                  <a:pt x="1607" y="703"/>
                </a:cubicBezTo>
                <a:cubicBezTo>
                  <a:pt x="1607" y="703"/>
                  <a:pt x="1607" y="703"/>
                  <a:pt x="1606" y="703"/>
                </a:cubicBezTo>
                <a:cubicBezTo>
                  <a:pt x="1606" y="702"/>
                  <a:pt x="1606" y="702"/>
                  <a:pt x="1606" y="702"/>
                </a:cubicBezTo>
                <a:cubicBezTo>
                  <a:pt x="1605" y="701"/>
                  <a:pt x="1604" y="702"/>
                  <a:pt x="1603" y="701"/>
                </a:cubicBezTo>
                <a:cubicBezTo>
                  <a:pt x="1603" y="701"/>
                  <a:pt x="1603" y="700"/>
                  <a:pt x="1602" y="700"/>
                </a:cubicBezTo>
                <a:cubicBezTo>
                  <a:pt x="1602" y="699"/>
                  <a:pt x="1602" y="700"/>
                  <a:pt x="1602" y="699"/>
                </a:cubicBezTo>
                <a:cubicBezTo>
                  <a:pt x="1601" y="698"/>
                  <a:pt x="1601" y="699"/>
                  <a:pt x="1600" y="698"/>
                </a:cubicBezTo>
                <a:cubicBezTo>
                  <a:pt x="1600" y="698"/>
                  <a:pt x="1600" y="697"/>
                  <a:pt x="1600" y="697"/>
                </a:cubicBezTo>
                <a:cubicBezTo>
                  <a:pt x="1599" y="697"/>
                  <a:pt x="1599" y="697"/>
                  <a:pt x="1598" y="696"/>
                </a:cubicBezTo>
                <a:cubicBezTo>
                  <a:pt x="1598" y="696"/>
                  <a:pt x="1598" y="695"/>
                  <a:pt x="1598" y="694"/>
                </a:cubicBezTo>
                <a:cubicBezTo>
                  <a:pt x="1598" y="693"/>
                  <a:pt x="1598" y="693"/>
                  <a:pt x="1596" y="693"/>
                </a:cubicBezTo>
                <a:cubicBezTo>
                  <a:pt x="1595" y="693"/>
                  <a:pt x="1595" y="693"/>
                  <a:pt x="1595" y="693"/>
                </a:cubicBezTo>
                <a:cubicBezTo>
                  <a:pt x="1595" y="694"/>
                  <a:pt x="1595" y="694"/>
                  <a:pt x="1595" y="695"/>
                </a:cubicBezTo>
                <a:cubicBezTo>
                  <a:pt x="1596" y="695"/>
                  <a:pt x="1596" y="695"/>
                  <a:pt x="1596" y="696"/>
                </a:cubicBezTo>
                <a:cubicBezTo>
                  <a:pt x="1597" y="698"/>
                  <a:pt x="1596" y="696"/>
                  <a:pt x="1597" y="697"/>
                </a:cubicBezTo>
                <a:cubicBezTo>
                  <a:pt x="1597" y="697"/>
                  <a:pt x="1596" y="697"/>
                  <a:pt x="1597" y="697"/>
                </a:cubicBezTo>
                <a:cubicBezTo>
                  <a:pt x="1597" y="698"/>
                  <a:pt x="1598" y="698"/>
                  <a:pt x="1598" y="698"/>
                </a:cubicBezTo>
                <a:cubicBezTo>
                  <a:pt x="1598" y="698"/>
                  <a:pt x="1598" y="699"/>
                  <a:pt x="1598" y="700"/>
                </a:cubicBezTo>
                <a:cubicBezTo>
                  <a:pt x="1599" y="700"/>
                  <a:pt x="1599" y="701"/>
                  <a:pt x="1600" y="701"/>
                </a:cubicBezTo>
                <a:cubicBezTo>
                  <a:pt x="1601" y="701"/>
                  <a:pt x="1601" y="702"/>
                  <a:pt x="1601" y="703"/>
                </a:cubicBezTo>
                <a:cubicBezTo>
                  <a:pt x="1602" y="704"/>
                  <a:pt x="1602" y="704"/>
                  <a:pt x="1603" y="704"/>
                </a:cubicBezTo>
                <a:cubicBezTo>
                  <a:pt x="1604" y="704"/>
                  <a:pt x="1604" y="705"/>
                  <a:pt x="1605" y="705"/>
                </a:cubicBezTo>
                <a:close/>
                <a:moveTo>
                  <a:pt x="1088" y="691"/>
                </a:moveTo>
                <a:cubicBezTo>
                  <a:pt x="1087" y="691"/>
                  <a:pt x="1087" y="691"/>
                  <a:pt x="1087" y="692"/>
                </a:cubicBezTo>
                <a:cubicBezTo>
                  <a:pt x="1087" y="693"/>
                  <a:pt x="1087" y="693"/>
                  <a:pt x="1087" y="693"/>
                </a:cubicBezTo>
                <a:cubicBezTo>
                  <a:pt x="1088" y="693"/>
                  <a:pt x="1088" y="693"/>
                  <a:pt x="1088" y="694"/>
                </a:cubicBezTo>
                <a:cubicBezTo>
                  <a:pt x="1089" y="694"/>
                  <a:pt x="1089" y="694"/>
                  <a:pt x="1090" y="693"/>
                </a:cubicBezTo>
                <a:cubicBezTo>
                  <a:pt x="1090" y="692"/>
                  <a:pt x="1090" y="691"/>
                  <a:pt x="1089" y="689"/>
                </a:cubicBezTo>
                <a:cubicBezTo>
                  <a:pt x="1089" y="690"/>
                  <a:pt x="1088" y="690"/>
                  <a:pt x="1088" y="691"/>
                </a:cubicBezTo>
                <a:close/>
                <a:moveTo>
                  <a:pt x="1659" y="680"/>
                </a:moveTo>
                <a:cubicBezTo>
                  <a:pt x="1659" y="681"/>
                  <a:pt x="1658" y="682"/>
                  <a:pt x="1659" y="683"/>
                </a:cubicBezTo>
                <a:cubicBezTo>
                  <a:pt x="1660" y="683"/>
                  <a:pt x="1661" y="682"/>
                  <a:pt x="1661" y="683"/>
                </a:cubicBezTo>
                <a:cubicBezTo>
                  <a:pt x="1663" y="683"/>
                  <a:pt x="1665" y="683"/>
                  <a:pt x="1664" y="681"/>
                </a:cubicBezTo>
                <a:cubicBezTo>
                  <a:pt x="1664" y="680"/>
                  <a:pt x="1664" y="680"/>
                  <a:pt x="1663" y="679"/>
                </a:cubicBezTo>
                <a:cubicBezTo>
                  <a:pt x="1662" y="680"/>
                  <a:pt x="1661" y="680"/>
                  <a:pt x="1659" y="680"/>
                </a:cubicBezTo>
                <a:cubicBezTo>
                  <a:pt x="1659" y="681"/>
                  <a:pt x="1659" y="680"/>
                  <a:pt x="1659" y="680"/>
                </a:cubicBezTo>
                <a:close/>
                <a:moveTo>
                  <a:pt x="1615" y="675"/>
                </a:moveTo>
                <a:cubicBezTo>
                  <a:pt x="1615" y="675"/>
                  <a:pt x="1614" y="675"/>
                  <a:pt x="1614" y="675"/>
                </a:cubicBezTo>
                <a:cubicBezTo>
                  <a:pt x="1614" y="676"/>
                  <a:pt x="1615" y="678"/>
                  <a:pt x="1615" y="679"/>
                </a:cubicBezTo>
                <a:cubicBezTo>
                  <a:pt x="1616" y="679"/>
                  <a:pt x="1616" y="679"/>
                  <a:pt x="1617" y="679"/>
                </a:cubicBezTo>
                <a:cubicBezTo>
                  <a:pt x="1617" y="678"/>
                  <a:pt x="1616" y="678"/>
                  <a:pt x="1616" y="677"/>
                </a:cubicBezTo>
                <a:cubicBezTo>
                  <a:pt x="1616" y="677"/>
                  <a:pt x="1616" y="677"/>
                  <a:pt x="1616" y="677"/>
                </a:cubicBezTo>
                <a:cubicBezTo>
                  <a:pt x="1616" y="677"/>
                  <a:pt x="1615" y="677"/>
                  <a:pt x="1615" y="677"/>
                </a:cubicBezTo>
                <a:cubicBezTo>
                  <a:pt x="1615" y="676"/>
                  <a:pt x="1615" y="676"/>
                  <a:pt x="1615" y="675"/>
                </a:cubicBezTo>
                <a:close/>
                <a:moveTo>
                  <a:pt x="1053" y="675"/>
                </a:moveTo>
                <a:cubicBezTo>
                  <a:pt x="1054" y="675"/>
                  <a:pt x="1054" y="672"/>
                  <a:pt x="1053" y="675"/>
                </a:cubicBezTo>
                <a:close/>
                <a:moveTo>
                  <a:pt x="1664" y="676"/>
                </a:moveTo>
                <a:cubicBezTo>
                  <a:pt x="1665" y="676"/>
                  <a:pt x="1666" y="675"/>
                  <a:pt x="1667" y="675"/>
                </a:cubicBezTo>
                <a:cubicBezTo>
                  <a:pt x="1667" y="675"/>
                  <a:pt x="1669" y="675"/>
                  <a:pt x="1669" y="674"/>
                </a:cubicBezTo>
                <a:cubicBezTo>
                  <a:pt x="1669" y="674"/>
                  <a:pt x="1669" y="673"/>
                  <a:pt x="1669" y="673"/>
                </a:cubicBezTo>
                <a:cubicBezTo>
                  <a:pt x="1670" y="673"/>
                  <a:pt x="1670" y="672"/>
                  <a:pt x="1670" y="671"/>
                </a:cubicBezTo>
                <a:cubicBezTo>
                  <a:pt x="1668" y="672"/>
                  <a:pt x="1666" y="674"/>
                  <a:pt x="1663" y="675"/>
                </a:cubicBezTo>
                <a:cubicBezTo>
                  <a:pt x="1664" y="675"/>
                  <a:pt x="1664" y="675"/>
                  <a:pt x="1664" y="676"/>
                </a:cubicBezTo>
                <a:cubicBezTo>
                  <a:pt x="1666" y="675"/>
                  <a:pt x="1664" y="676"/>
                  <a:pt x="1664" y="676"/>
                </a:cubicBezTo>
                <a:close/>
                <a:moveTo>
                  <a:pt x="1477" y="674"/>
                </a:moveTo>
                <a:cubicBezTo>
                  <a:pt x="1477" y="673"/>
                  <a:pt x="1478" y="672"/>
                  <a:pt x="1478" y="672"/>
                </a:cubicBezTo>
                <a:cubicBezTo>
                  <a:pt x="1478" y="671"/>
                  <a:pt x="1477" y="671"/>
                  <a:pt x="1477" y="671"/>
                </a:cubicBezTo>
                <a:cubicBezTo>
                  <a:pt x="1476" y="673"/>
                  <a:pt x="1476" y="673"/>
                  <a:pt x="1477" y="674"/>
                </a:cubicBezTo>
                <a:cubicBezTo>
                  <a:pt x="1477" y="673"/>
                  <a:pt x="1477" y="674"/>
                  <a:pt x="1477" y="674"/>
                </a:cubicBezTo>
                <a:close/>
                <a:moveTo>
                  <a:pt x="1614" y="670"/>
                </a:moveTo>
                <a:cubicBezTo>
                  <a:pt x="1612" y="671"/>
                  <a:pt x="1613" y="668"/>
                  <a:pt x="1612" y="668"/>
                </a:cubicBezTo>
                <a:cubicBezTo>
                  <a:pt x="1611" y="668"/>
                  <a:pt x="1612" y="671"/>
                  <a:pt x="1612" y="671"/>
                </a:cubicBezTo>
                <a:cubicBezTo>
                  <a:pt x="1612" y="671"/>
                  <a:pt x="1612" y="673"/>
                  <a:pt x="1612" y="674"/>
                </a:cubicBezTo>
                <a:cubicBezTo>
                  <a:pt x="1614" y="673"/>
                  <a:pt x="1614" y="674"/>
                  <a:pt x="1615" y="673"/>
                </a:cubicBezTo>
                <a:cubicBezTo>
                  <a:pt x="1615" y="673"/>
                  <a:pt x="1615" y="672"/>
                  <a:pt x="1615" y="672"/>
                </a:cubicBezTo>
                <a:cubicBezTo>
                  <a:pt x="1615" y="671"/>
                  <a:pt x="1615" y="671"/>
                  <a:pt x="1614" y="671"/>
                </a:cubicBezTo>
                <a:cubicBezTo>
                  <a:pt x="1615" y="670"/>
                  <a:pt x="1615" y="670"/>
                  <a:pt x="1615" y="669"/>
                </a:cubicBezTo>
                <a:cubicBezTo>
                  <a:pt x="1614" y="669"/>
                  <a:pt x="1614" y="669"/>
                  <a:pt x="1614" y="670"/>
                </a:cubicBezTo>
                <a:close/>
                <a:moveTo>
                  <a:pt x="1465" y="659"/>
                </a:moveTo>
                <a:cubicBezTo>
                  <a:pt x="1465" y="659"/>
                  <a:pt x="1465" y="659"/>
                  <a:pt x="1465" y="658"/>
                </a:cubicBezTo>
                <a:cubicBezTo>
                  <a:pt x="1465" y="657"/>
                  <a:pt x="1465" y="657"/>
                  <a:pt x="1464" y="657"/>
                </a:cubicBezTo>
                <a:cubicBezTo>
                  <a:pt x="1464" y="656"/>
                  <a:pt x="1463" y="657"/>
                  <a:pt x="1463" y="657"/>
                </a:cubicBezTo>
                <a:cubicBezTo>
                  <a:pt x="1462" y="658"/>
                  <a:pt x="1462" y="658"/>
                  <a:pt x="1462" y="659"/>
                </a:cubicBezTo>
                <a:cubicBezTo>
                  <a:pt x="1463" y="659"/>
                  <a:pt x="1463" y="659"/>
                  <a:pt x="1464" y="659"/>
                </a:cubicBezTo>
                <a:cubicBezTo>
                  <a:pt x="1464" y="660"/>
                  <a:pt x="1465" y="659"/>
                  <a:pt x="1465" y="659"/>
                </a:cubicBezTo>
                <a:cubicBezTo>
                  <a:pt x="1464" y="658"/>
                  <a:pt x="1465" y="659"/>
                  <a:pt x="1465" y="659"/>
                </a:cubicBezTo>
                <a:close/>
                <a:moveTo>
                  <a:pt x="1055" y="660"/>
                </a:moveTo>
                <a:cubicBezTo>
                  <a:pt x="1055" y="660"/>
                  <a:pt x="1055" y="660"/>
                  <a:pt x="1054" y="659"/>
                </a:cubicBezTo>
                <a:cubicBezTo>
                  <a:pt x="1054" y="659"/>
                  <a:pt x="1055" y="659"/>
                  <a:pt x="1054" y="659"/>
                </a:cubicBezTo>
                <a:cubicBezTo>
                  <a:pt x="1054" y="658"/>
                  <a:pt x="1054" y="657"/>
                  <a:pt x="1054" y="656"/>
                </a:cubicBezTo>
                <a:cubicBezTo>
                  <a:pt x="1053" y="656"/>
                  <a:pt x="1054" y="653"/>
                  <a:pt x="1054" y="653"/>
                </a:cubicBezTo>
                <a:cubicBezTo>
                  <a:pt x="1053" y="653"/>
                  <a:pt x="1053" y="652"/>
                  <a:pt x="1053" y="652"/>
                </a:cubicBezTo>
                <a:cubicBezTo>
                  <a:pt x="1053" y="651"/>
                  <a:pt x="1053" y="650"/>
                  <a:pt x="1052" y="650"/>
                </a:cubicBezTo>
                <a:cubicBezTo>
                  <a:pt x="1051" y="650"/>
                  <a:pt x="1051" y="650"/>
                  <a:pt x="1051" y="649"/>
                </a:cubicBezTo>
                <a:cubicBezTo>
                  <a:pt x="1049" y="648"/>
                  <a:pt x="1049" y="649"/>
                  <a:pt x="1050" y="647"/>
                </a:cubicBezTo>
                <a:cubicBezTo>
                  <a:pt x="1049" y="647"/>
                  <a:pt x="1049" y="647"/>
                  <a:pt x="1049" y="647"/>
                </a:cubicBezTo>
                <a:cubicBezTo>
                  <a:pt x="1048" y="647"/>
                  <a:pt x="1048" y="647"/>
                  <a:pt x="1048" y="648"/>
                </a:cubicBezTo>
                <a:cubicBezTo>
                  <a:pt x="1048" y="648"/>
                  <a:pt x="1048" y="649"/>
                  <a:pt x="1048" y="649"/>
                </a:cubicBezTo>
                <a:cubicBezTo>
                  <a:pt x="1047" y="649"/>
                  <a:pt x="1047" y="650"/>
                  <a:pt x="1047" y="651"/>
                </a:cubicBezTo>
                <a:cubicBezTo>
                  <a:pt x="1047" y="651"/>
                  <a:pt x="1047" y="651"/>
                  <a:pt x="1047" y="651"/>
                </a:cubicBezTo>
                <a:cubicBezTo>
                  <a:pt x="1047" y="652"/>
                  <a:pt x="1047" y="653"/>
                  <a:pt x="1047" y="654"/>
                </a:cubicBezTo>
                <a:cubicBezTo>
                  <a:pt x="1047" y="654"/>
                  <a:pt x="1047" y="654"/>
                  <a:pt x="1047" y="654"/>
                </a:cubicBezTo>
                <a:cubicBezTo>
                  <a:pt x="1047" y="655"/>
                  <a:pt x="1047" y="654"/>
                  <a:pt x="1047" y="655"/>
                </a:cubicBezTo>
                <a:cubicBezTo>
                  <a:pt x="1047" y="655"/>
                  <a:pt x="1047" y="655"/>
                  <a:pt x="1047" y="655"/>
                </a:cubicBezTo>
                <a:cubicBezTo>
                  <a:pt x="1046" y="656"/>
                  <a:pt x="1046" y="656"/>
                  <a:pt x="1046" y="656"/>
                </a:cubicBezTo>
                <a:cubicBezTo>
                  <a:pt x="1045" y="656"/>
                  <a:pt x="1045" y="657"/>
                  <a:pt x="1044" y="657"/>
                </a:cubicBezTo>
                <a:cubicBezTo>
                  <a:pt x="1044" y="656"/>
                  <a:pt x="1044" y="656"/>
                  <a:pt x="1043" y="656"/>
                </a:cubicBezTo>
                <a:cubicBezTo>
                  <a:pt x="1043" y="656"/>
                  <a:pt x="1043" y="657"/>
                  <a:pt x="1043" y="657"/>
                </a:cubicBezTo>
                <a:cubicBezTo>
                  <a:pt x="1044" y="657"/>
                  <a:pt x="1044" y="659"/>
                  <a:pt x="1043" y="659"/>
                </a:cubicBezTo>
                <a:cubicBezTo>
                  <a:pt x="1042" y="659"/>
                  <a:pt x="1043" y="660"/>
                  <a:pt x="1043" y="661"/>
                </a:cubicBezTo>
                <a:cubicBezTo>
                  <a:pt x="1043" y="661"/>
                  <a:pt x="1042" y="660"/>
                  <a:pt x="1042" y="661"/>
                </a:cubicBezTo>
                <a:cubicBezTo>
                  <a:pt x="1042" y="662"/>
                  <a:pt x="1042" y="662"/>
                  <a:pt x="1041" y="662"/>
                </a:cubicBezTo>
                <a:cubicBezTo>
                  <a:pt x="1041" y="662"/>
                  <a:pt x="1041" y="662"/>
                  <a:pt x="1040" y="661"/>
                </a:cubicBezTo>
                <a:cubicBezTo>
                  <a:pt x="1040" y="662"/>
                  <a:pt x="1039" y="662"/>
                  <a:pt x="1039" y="662"/>
                </a:cubicBezTo>
                <a:cubicBezTo>
                  <a:pt x="1039" y="663"/>
                  <a:pt x="1039" y="664"/>
                  <a:pt x="1039" y="664"/>
                </a:cubicBezTo>
                <a:cubicBezTo>
                  <a:pt x="1039" y="665"/>
                  <a:pt x="1039" y="665"/>
                  <a:pt x="1039" y="666"/>
                </a:cubicBezTo>
                <a:cubicBezTo>
                  <a:pt x="1039" y="666"/>
                  <a:pt x="1038" y="665"/>
                  <a:pt x="1039" y="665"/>
                </a:cubicBezTo>
                <a:cubicBezTo>
                  <a:pt x="1037" y="665"/>
                  <a:pt x="1036" y="666"/>
                  <a:pt x="1035" y="666"/>
                </a:cubicBezTo>
                <a:cubicBezTo>
                  <a:pt x="1035" y="667"/>
                  <a:pt x="1034" y="667"/>
                  <a:pt x="1034" y="667"/>
                </a:cubicBezTo>
                <a:cubicBezTo>
                  <a:pt x="1032" y="666"/>
                  <a:pt x="1032" y="666"/>
                  <a:pt x="1032" y="668"/>
                </a:cubicBezTo>
                <a:cubicBezTo>
                  <a:pt x="1030" y="667"/>
                  <a:pt x="1030" y="668"/>
                  <a:pt x="1029" y="669"/>
                </a:cubicBezTo>
                <a:cubicBezTo>
                  <a:pt x="1028" y="669"/>
                  <a:pt x="1027" y="670"/>
                  <a:pt x="1027" y="670"/>
                </a:cubicBezTo>
                <a:cubicBezTo>
                  <a:pt x="1026" y="671"/>
                  <a:pt x="1026" y="671"/>
                  <a:pt x="1025" y="671"/>
                </a:cubicBezTo>
                <a:cubicBezTo>
                  <a:pt x="1025" y="672"/>
                  <a:pt x="1025" y="673"/>
                  <a:pt x="1024" y="674"/>
                </a:cubicBezTo>
                <a:cubicBezTo>
                  <a:pt x="1024" y="674"/>
                  <a:pt x="1024" y="675"/>
                  <a:pt x="1023" y="675"/>
                </a:cubicBezTo>
                <a:cubicBezTo>
                  <a:pt x="1023" y="675"/>
                  <a:pt x="1023" y="677"/>
                  <a:pt x="1023" y="677"/>
                </a:cubicBezTo>
                <a:cubicBezTo>
                  <a:pt x="1024" y="678"/>
                  <a:pt x="1024" y="678"/>
                  <a:pt x="1024" y="679"/>
                </a:cubicBezTo>
                <a:cubicBezTo>
                  <a:pt x="1025" y="679"/>
                  <a:pt x="1025" y="682"/>
                  <a:pt x="1025" y="683"/>
                </a:cubicBezTo>
                <a:cubicBezTo>
                  <a:pt x="1025" y="684"/>
                  <a:pt x="1025" y="683"/>
                  <a:pt x="1025" y="684"/>
                </a:cubicBezTo>
                <a:cubicBezTo>
                  <a:pt x="1025" y="684"/>
                  <a:pt x="1025" y="685"/>
                  <a:pt x="1025" y="685"/>
                </a:cubicBezTo>
                <a:cubicBezTo>
                  <a:pt x="1025" y="685"/>
                  <a:pt x="1026" y="685"/>
                  <a:pt x="1026" y="686"/>
                </a:cubicBezTo>
                <a:cubicBezTo>
                  <a:pt x="1026" y="687"/>
                  <a:pt x="1026" y="688"/>
                  <a:pt x="1026" y="689"/>
                </a:cubicBezTo>
                <a:cubicBezTo>
                  <a:pt x="1026" y="689"/>
                  <a:pt x="1026" y="690"/>
                  <a:pt x="1025" y="690"/>
                </a:cubicBezTo>
                <a:cubicBezTo>
                  <a:pt x="1025" y="690"/>
                  <a:pt x="1025" y="690"/>
                  <a:pt x="1025" y="690"/>
                </a:cubicBezTo>
                <a:cubicBezTo>
                  <a:pt x="1025" y="690"/>
                  <a:pt x="1025" y="691"/>
                  <a:pt x="1025" y="691"/>
                </a:cubicBezTo>
                <a:cubicBezTo>
                  <a:pt x="1025" y="692"/>
                  <a:pt x="1022" y="692"/>
                  <a:pt x="1022" y="694"/>
                </a:cubicBezTo>
                <a:cubicBezTo>
                  <a:pt x="1022" y="694"/>
                  <a:pt x="1022" y="695"/>
                  <a:pt x="1022" y="695"/>
                </a:cubicBezTo>
                <a:cubicBezTo>
                  <a:pt x="1022" y="696"/>
                  <a:pt x="1021" y="698"/>
                  <a:pt x="1020" y="697"/>
                </a:cubicBezTo>
                <a:cubicBezTo>
                  <a:pt x="1020" y="698"/>
                  <a:pt x="1020" y="699"/>
                  <a:pt x="1020" y="699"/>
                </a:cubicBezTo>
                <a:cubicBezTo>
                  <a:pt x="1020" y="700"/>
                  <a:pt x="1020" y="700"/>
                  <a:pt x="1020" y="700"/>
                </a:cubicBezTo>
                <a:cubicBezTo>
                  <a:pt x="1019" y="701"/>
                  <a:pt x="1020" y="701"/>
                  <a:pt x="1019" y="701"/>
                </a:cubicBezTo>
                <a:cubicBezTo>
                  <a:pt x="1019" y="702"/>
                  <a:pt x="1020" y="702"/>
                  <a:pt x="1020" y="703"/>
                </a:cubicBezTo>
                <a:cubicBezTo>
                  <a:pt x="1020" y="704"/>
                  <a:pt x="1019" y="705"/>
                  <a:pt x="1019" y="706"/>
                </a:cubicBezTo>
                <a:cubicBezTo>
                  <a:pt x="1020" y="706"/>
                  <a:pt x="1020" y="707"/>
                  <a:pt x="1020" y="707"/>
                </a:cubicBezTo>
                <a:cubicBezTo>
                  <a:pt x="1020" y="707"/>
                  <a:pt x="1020" y="707"/>
                  <a:pt x="1020" y="707"/>
                </a:cubicBezTo>
                <a:cubicBezTo>
                  <a:pt x="1020" y="708"/>
                  <a:pt x="1021" y="708"/>
                  <a:pt x="1021" y="709"/>
                </a:cubicBezTo>
                <a:cubicBezTo>
                  <a:pt x="1022" y="710"/>
                  <a:pt x="1022" y="710"/>
                  <a:pt x="1022" y="711"/>
                </a:cubicBezTo>
                <a:cubicBezTo>
                  <a:pt x="1022" y="711"/>
                  <a:pt x="1022" y="711"/>
                  <a:pt x="1022" y="712"/>
                </a:cubicBezTo>
                <a:cubicBezTo>
                  <a:pt x="1022" y="712"/>
                  <a:pt x="1022" y="712"/>
                  <a:pt x="1022" y="712"/>
                </a:cubicBezTo>
                <a:cubicBezTo>
                  <a:pt x="1022" y="713"/>
                  <a:pt x="1022" y="713"/>
                  <a:pt x="1022" y="714"/>
                </a:cubicBezTo>
                <a:cubicBezTo>
                  <a:pt x="1022" y="714"/>
                  <a:pt x="1023" y="714"/>
                  <a:pt x="1023" y="714"/>
                </a:cubicBezTo>
                <a:cubicBezTo>
                  <a:pt x="1023" y="715"/>
                  <a:pt x="1024" y="716"/>
                  <a:pt x="1024" y="717"/>
                </a:cubicBezTo>
                <a:cubicBezTo>
                  <a:pt x="1024" y="718"/>
                  <a:pt x="1025" y="718"/>
                  <a:pt x="1026" y="719"/>
                </a:cubicBezTo>
                <a:cubicBezTo>
                  <a:pt x="1026" y="719"/>
                  <a:pt x="1026" y="719"/>
                  <a:pt x="1026" y="719"/>
                </a:cubicBezTo>
                <a:cubicBezTo>
                  <a:pt x="1027" y="719"/>
                  <a:pt x="1027" y="720"/>
                  <a:pt x="1028" y="720"/>
                </a:cubicBezTo>
                <a:cubicBezTo>
                  <a:pt x="1028" y="720"/>
                  <a:pt x="1029" y="721"/>
                  <a:pt x="1030" y="721"/>
                </a:cubicBezTo>
                <a:cubicBezTo>
                  <a:pt x="1030" y="722"/>
                  <a:pt x="1031" y="722"/>
                  <a:pt x="1032" y="722"/>
                </a:cubicBezTo>
                <a:cubicBezTo>
                  <a:pt x="1032" y="722"/>
                  <a:pt x="1033" y="721"/>
                  <a:pt x="1033" y="721"/>
                </a:cubicBezTo>
                <a:cubicBezTo>
                  <a:pt x="1033" y="721"/>
                  <a:pt x="1034" y="720"/>
                  <a:pt x="1035" y="720"/>
                </a:cubicBezTo>
                <a:cubicBezTo>
                  <a:pt x="1035" y="720"/>
                  <a:pt x="1036" y="720"/>
                  <a:pt x="1036" y="720"/>
                </a:cubicBezTo>
                <a:cubicBezTo>
                  <a:pt x="1037" y="720"/>
                  <a:pt x="1037" y="719"/>
                  <a:pt x="1038" y="719"/>
                </a:cubicBezTo>
                <a:cubicBezTo>
                  <a:pt x="1038" y="718"/>
                  <a:pt x="1038" y="718"/>
                  <a:pt x="1038" y="717"/>
                </a:cubicBezTo>
                <a:cubicBezTo>
                  <a:pt x="1038" y="717"/>
                  <a:pt x="1039" y="717"/>
                  <a:pt x="1039" y="716"/>
                </a:cubicBezTo>
                <a:cubicBezTo>
                  <a:pt x="1039" y="716"/>
                  <a:pt x="1039" y="715"/>
                  <a:pt x="1039" y="715"/>
                </a:cubicBezTo>
                <a:cubicBezTo>
                  <a:pt x="1040" y="715"/>
                  <a:pt x="1040" y="713"/>
                  <a:pt x="1040" y="713"/>
                </a:cubicBezTo>
                <a:cubicBezTo>
                  <a:pt x="1040" y="712"/>
                  <a:pt x="1040" y="713"/>
                  <a:pt x="1040" y="712"/>
                </a:cubicBezTo>
                <a:cubicBezTo>
                  <a:pt x="1041" y="712"/>
                  <a:pt x="1041" y="709"/>
                  <a:pt x="1041" y="709"/>
                </a:cubicBezTo>
                <a:cubicBezTo>
                  <a:pt x="1041" y="709"/>
                  <a:pt x="1041" y="708"/>
                  <a:pt x="1041" y="708"/>
                </a:cubicBezTo>
                <a:cubicBezTo>
                  <a:pt x="1041" y="707"/>
                  <a:pt x="1042" y="707"/>
                  <a:pt x="1042" y="707"/>
                </a:cubicBezTo>
                <a:cubicBezTo>
                  <a:pt x="1042" y="707"/>
                  <a:pt x="1042" y="706"/>
                  <a:pt x="1042" y="706"/>
                </a:cubicBezTo>
                <a:cubicBezTo>
                  <a:pt x="1042" y="706"/>
                  <a:pt x="1043" y="706"/>
                  <a:pt x="1043" y="706"/>
                </a:cubicBezTo>
                <a:cubicBezTo>
                  <a:pt x="1043" y="705"/>
                  <a:pt x="1043" y="704"/>
                  <a:pt x="1043" y="703"/>
                </a:cubicBezTo>
                <a:cubicBezTo>
                  <a:pt x="1043" y="703"/>
                  <a:pt x="1043" y="702"/>
                  <a:pt x="1043" y="702"/>
                </a:cubicBezTo>
                <a:cubicBezTo>
                  <a:pt x="1043" y="702"/>
                  <a:pt x="1044" y="702"/>
                  <a:pt x="1044" y="702"/>
                </a:cubicBezTo>
                <a:cubicBezTo>
                  <a:pt x="1044" y="701"/>
                  <a:pt x="1044" y="701"/>
                  <a:pt x="1044" y="701"/>
                </a:cubicBezTo>
                <a:cubicBezTo>
                  <a:pt x="1044" y="701"/>
                  <a:pt x="1044" y="700"/>
                  <a:pt x="1044" y="700"/>
                </a:cubicBezTo>
                <a:cubicBezTo>
                  <a:pt x="1044" y="700"/>
                  <a:pt x="1044" y="699"/>
                  <a:pt x="1044" y="698"/>
                </a:cubicBezTo>
                <a:cubicBezTo>
                  <a:pt x="1044" y="698"/>
                  <a:pt x="1045" y="698"/>
                  <a:pt x="1045" y="698"/>
                </a:cubicBezTo>
                <a:cubicBezTo>
                  <a:pt x="1045" y="698"/>
                  <a:pt x="1045" y="697"/>
                  <a:pt x="1045" y="697"/>
                </a:cubicBezTo>
                <a:cubicBezTo>
                  <a:pt x="1045" y="697"/>
                  <a:pt x="1046" y="697"/>
                  <a:pt x="1046" y="696"/>
                </a:cubicBezTo>
                <a:cubicBezTo>
                  <a:pt x="1046" y="696"/>
                  <a:pt x="1046" y="695"/>
                  <a:pt x="1046" y="695"/>
                </a:cubicBezTo>
                <a:cubicBezTo>
                  <a:pt x="1046" y="694"/>
                  <a:pt x="1046" y="695"/>
                  <a:pt x="1046" y="695"/>
                </a:cubicBezTo>
                <a:cubicBezTo>
                  <a:pt x="1046" y="694"/>
                  <a:pt x="1046" y="694"/>
                  <a:pt x="1046" y="694"/>
                </a:cubicBezTo>
                <a:cubicBezTo>
                  <a:pt x="1046" y="693"/>
                  <a:pt x="1046" y="694"/>
                  <a:pt x="1046" y="694"/>
                </a:cubicBezTo>
                <a:cubicBezTo>
                  <a:pt x="1046" y="693"/>
                  <a:pt x="1046" y="691"/>
                  <a:pt x="1047" y="692"/>
                </a:cubicBezTo>
                <a:cubicBezTo>
                  <a:pt x="1047" y="691"/>
                  <a:pt x="1046" y="690"/>
                  <a:pt x="1046" y="689"/>
                </a:cubicBezTo>
                <a:cubicBezTo>
                  <a:pt x="1047" y="689"/>
                  <a:pt x="1048" y="687"/>
                  <a:pt x="1048" y="686"/>
                </a:cubicBezTo>
                <a:cubicBezTo>
                  <a:pt x="1048" y="686"/>
                  <a:pt x="1048" y="685"/>
                  <a:pt x="1048" y="685"/>
                </a:cubicBezTo>
                <a:cubicBezTo>
                  <a:pt x="1049" y="685"/>
                  <a:pt x="1048" y="684"/>
                  <a:pt x="1049" y="684"/>
                </a:cubicBezTo>
                <a:cubicBezTo>
                  <a:pt x="1049" y="684"/>
                  <a:pt x="1050" y="681"/>
                  <a:pt x="1050" y="680"/>
                </a:cubicBezTo>
                <a:cubicBezTo>
                  <a:pt x="1050" y="680"/>
                  <a:pt x="1051" y="680"/>
                  <a:pt x="1051" y="679"/>
                </a:cubicBezTo>
                <a:cubicBezTo>
                  <a:pt x="1051" y="679"/>
                  <a:pt x="1050" y="678"/>
                  <a:pt x="1051" y="678"/>
                </a:cubicBezTo>
                <a:cubicBezTo>
                  <a:pt x="1051" y="678"/>
                  <a:pt x="1051" y="678"/>
                  <a:pt x="1051" y="678"/>
                </a:cubicBezTo>
                <a:cubicBezTo>
                  <a:pt x="1051" y="677"/>
                  <a:pt x="1051" y="676"/>
                  <a:pt x="1051" y="676"/>
                </a:cubicBezTo>
                <a:cubicBezTo>
                  <a:pt x="1051" y="675"/>
                  <a:pt x="1052" y="674"/>
                  <a:pt x="1052" y="673"/>
                </a:cubicBezTo>
                <a:cubicBezTo>
                  <a:pt x="1052" y="673"/>
                  <a:pt x="1052" y="673"/>
                  <a:pt x="1052" y="673"/>
                </a:cubicBezTo>
                <a:cubicBezTo>
                  <a:pt x="1052" y="673"/>
                  <a:pt x="1052" y="672"/>
                  <a:pt x="1053" y="672"/>
                </a:cubicBezTo>
                <a:cubicBezTo>
                  <a:pt x="1053" y="671"/>
                  <a:pt x="1053" y="670"/>
                  <a:pt x="1052" y="669"/>
                </a:cubicBezTo>
                <a:cubicBezTo>
                  <a:pt x="1052" y="669"/>
                  <a:pt x="1052" y="669"/>
                  <a:pt x="1052" y="668"/>
                </a:cubicBezTo>
                <a:cubicBezTo>
                  <a:pt x="1052" y="668"/>
                  <a:pt x="1052" y="667"/>
                  <a:pt x="1052" y="667"/>
                </a:cubicBezTo>
                <a:cubicBezTo>
                  <a:pt x="1051" y="667"/>
                  <a:pt x="1051" y="666"/>
                  <a:pt x="1051" y="665"/>
                </a:cubicBezTo>
                <a:cubicBezTo>
                  <a:pt x="1051" y="665"/>
                  <a:pt x="1051" y="665"/>
                  <a:pt x="1052" y="665"/>
                </a:cubicBezTo>
                <a:cubicBezTo>
                  <a:pt x="1052" y="665"/>
                  <a:pt x="1052" y="665"/>
                  <a:pt x="1052" y="665"/>
                </a:cubicBezTo>
                <a:cubicBezTo>
                  <a:pt x="1053" y="665"/>
                  <a:pt x="1053" y="665"/>
                  <a:pt x="1053" y="666"/>
                </a:cubicBezTo>
                <a:cubicBezTo>
                  <a:pt x="1053" y="666"/>
                  <a:pt x="1054" y="668"/>
                  <a:pt x="1054" y="667"/>
                </a:cubicBezTo>
                <a:cubicBezTo>
                  <a:pt x="1055" y="666"/>
                  <a:pt x="1057" y="660"/>
                  <a:pt x="1055" y="660"/>
                </a:cubicBezTo>
                <a:close/>
                <a:moveTo>
                  <a:pt x="1437" y="644"/>
                </a:moveTo>
                <a:cubicBezTo>
                  <a:pt x="1436" y="644"/>
                  <a:pt x="1436" y="644"/>
                  <a:pt x="1436" y="646"/>
                </a:cubicBezTo>
                <a:cubicBezTo>
                  <a:pt x="1437" y="646"/>
                  <a:pt x="1437" y="646"/>
                  <a:pt x="1437" y="644"/>
                </a:cubicBezTo>
                <a:cubicBezTo>
                  <a:pt x="1437" y="644"/>
                  <a:pt x="1437" y="644"/>
                  <a:pt x="1437" y="644"/>
                </a:cubicBezTo>
                <a:close/>
                <a:moveTo>
                  <a:pt x="1433" y="646"/>
                </a:moveTo>
                <a:cubicBezTo>
                  <a:pt x="1433" y="646"/>
                  <a:pt x="1433" y="646"/>
                  <a:pt x="1434" y="646"/>
                </a:cubicBezTo>
                <a:cubicBezTo>
                  <a:pt x="1434" y="646"/>
                  <a:pt x="1434" y="644"/>
                  <a:pt x="1434" y="644"/>
                </a:cubicBezTo>
                <a:cubicBezTo>
                  <a:pt x="1433" y="644"/>
                  <a:pt x="1433" y="645"/>
                  <a:pt x="1433" y="646"/>
                </a:cubicBezTo>
                <a:cubicBezTo>
                  <a:pt x="1433" y="646"/>
                  <a:pt x="1433" y="646"/>
                  <a:pt x="1433" y="646"/>
                </a:cubicBezTo>
                <a:close/>
                <a:moveTo>
                  <a:pt x="1437" y="645"/>
                </a:moveTo>
                <a:cubicBezTo>
                  <a:pt x="1438" y="645"/>
                  <a:pt x="1439" y="645"/>
                  <a:pt x="1439" y="644"/>
                </a:cubicBezTo>
                <a:cubicBezTo>
                  <a:pt x="1439" y="644"/>
                  <a:pt x="1438" y="644"/>
                  <a:pt x="1438" y="644"/>
                </a:cubicBezTo>
                <a:cubicBezTo>
                  <a:pt x="1437" y="643"/>
                  <a:pt x="1437" y="644"/>
                  <a:pt x="1437" y="645"/>
                </a:cubicBezTo>
                <a:close/>
                <a:moveTo>
                  <a:pt x="1468" y="757"/>
                </a:moveTo>
                <a:cubicBezTo>
                  <a:pt x="1468" y="757"/>
                  <a:pt x="1466" y="754"/>
                  <a:pt x="1466" y="753"/>
                </a:cubicBezTo>
                <a:cubicBezTo>
                  <a:pt x="1468" y="753"/>
                  <a:pt x="1468" y="755"/>
                  <a:pt x="1468" y="757"/>
                </a:cubicBezTo>
                <a:close/>
                <a:moveTo>
                  <a:pt x="1461" y="760"/>
                </a:moveTo>
                <a:cubicBezTo>
                  <a:pt x="1461" y="760"/>
                  <a:pt x="1461" y="760"/>
                  <a:pt x="1461" y="760"/>
                </a:cubicBezTo>
                <a:cubicBezTo>
                  <a:pt x="1460" y="760"/>
                  <a:pt x="1460" y="760"/>
                  <a:pt x="1460" y="760"/>
                </a:cubicBezTo>
                <a:cubicBezTo>
                  <a:pt x="1459" y="760"/>
                  <a:pt x="1459" y="759"/>
                  <a:pt x="1459" y="758"/>
                </a:cubicBezTo>
                <a:cubicBezTo>
                  <a:pt x="1459" y="757"/>
                  <a:pt x="1458" y="756"/>
                  <a:pt x="1458" y="756"/>
                </a:cubicBezTo>
                <a:cubicBezTo>
                  <a:pt x="1460" y="756"/>
                  <a:pt x="1461" y="758"/>
                  <a:pt x="1461" y="760"/>
                </a:cubicBezTo>
                <a:close/>
                <a:moveTo>
                  <a:pt x="1457" y="757"/>
                </a:moveTo>
                <a:cubicBezTo>
                  <a:pt x="1456" y="757"/>
                  <a:pt x="1456" y="757"/>
                  <a:pt x="1457" y="756"/>
                </a:cubicBezTo>
                <a:cubicBezTo>
                  <a:pt x="1457" y="757"/>
                  <a:pt x="1457" y="757"/>
                  <a:pt x="1457" y="757"/>
                </a:cubicBezTo>
                <a:close/>
                <a:moveTo>
                  <a:pt x="1542" y="738"/>
                </a:moveTo>
                <a:cubicBezTo>
                  <a:pt x="1541" y="738"/>
                  <a:pt x="1540" y="737"/>
                  <a:pt x="1540" y="737"/>
                </a:cubicBezTo>
                <a:cubicBezTo>
                  <a:pt x="1540" y="737"/>
                  <a:pt x="1540" y="737"/>
                  <a:pt x="1540" y="736"/>
                </a:cubicBezTo>
                <a:cubicBezTo>
                  <a:pt x="1540" y="736"/>
                  <a:pt x="1540" y="736"/>
                  <a:pt x="1540" y="736"/>
                </a:cubicBezTo>
                <a:cubicBezTo>
                  <a:pt x="1540" y="736"/>
                  <a:pt x="1540" y="736"/>
                  <a:pt x="1540" y="736"/>
                </a:cubicBezTo>
                <a:cubicBezTo>
                  <a:pt x="1539" y="736"/>
                  <a:pt x="1539" y="733"/>
                  <a:pt x="1539" y="733"/>
                </a:cubicBezTo>
                <a:cubicBezTo>
                  <a:pt x="1540" y="733"/>
                  <a:pt x="1539" y="733"/>
                  <a:pt x="1539" y="732"/>
                </a:cubicBezTo>
                <a:cubicBezTo>
                  <a:pt x="1539" y="731"/>
                  <a:pt x="1539" y="731"/>
                  <a:pt x="1539" y="731"/>
                </a:cubicBezTo>
                <a:cubicBezTo>
                  <a:pt x="1539" y="731"/>
                  <a:pt x="1539" y="730"/>
                  <a:pt x="1539" y="730"/>
                </a:cubicBezTo>
                <a:cubicBezTo>
                  <a:pt x="1539" y="729"/>
                  <a:pt x="1539" y="729"/>
                  <a:pt x="1539" y="729"/>
                </a:cubicBezTo>
                <a:cubicBezTo>
                  <a:pt x="1539" y="729"/>
                  <a:pt x="1539" y="728"/>
                  <a:pt x="1539" y="728"/>
                </a:cubicBezTo>
                <a:cubicBezTo>
                  <a:pt x="1539" y="727"/>
                  <a:pt x="1539" y="728"/>
                  <a:pt x="1540" y="727"/>
                </a:cubicBezTo>
                <a:cubicBezTo>
                  <a:pt x="1540" y="727"/>
                  <a:pt x="1539" y="727"/>
                  <a:pt x="1539" y="726"/>
                </a:cubicBezTo>
                <a:cubicBezTo>
                  <a:pt x="1539" y="726"/>
                  <a:pt x="1540" y="725"/>
                  <a:pt x="1539" y="724"/>
                </a:cubicBezTo>
                <a:cubicBezTo>
                  <a:pt x="1539" y="724"/>
                  <a:pt x="1539" y="724"/>
                  <a:pt x="1539" y="723"/>
                </a:cubicBezTo>
                <a:cubicBezTo>
                  <a:pt x="1539" y="722"/>
                  <a:pt x="1539" y="722"/>
                  <a:pt x="1538" y="722"/>
                </a:cubicBezTo>
                <a:cubicBezTo>
                  <a:pt x="1537" y="722"/>
                  <a:pt x="1538" y="722"/>
                  <a:pt x="1538" y="721"/>
                </a:cubicBezTo>
                <a:cubicBezTo>
                  <a:pt x="1538" y="721"/>
                  <a:pt x="1537" y="721"/>
                  <a:pt x="1537" y="721"/>
                </a:cubicBezTo>
                <a:cubicBezTo>
                  <a:pt x="1537" y="721"/>
                  <a:pt x="1537" y="720"/>
                  <a:pt x="1536" y="720"/>
                </a:cubicBezTo>
                <a:cubicBezTo>
                  <a:pt x="1536" y="720"/>
                  <a:pt x="1536" y="719"/>
                  <a:pt x="1536" y="719"/>
                </a:cubicBezTo>
                <a:cubicBezTo>
                  <a:pt x="1535" y="719"/>
                  <a:pt x="1535" y="719"/>
                  <a:pt x="1535" y="719"/>
                </a:cubicBezTo>
                <a:cubicBezTo>
                  <a:pt x="1535" y="717"/>
                  <a:pt x="1535" y="717"/>
                  <a:pt x="1534" y="716"/>
                </a:cubicBezTo>
                <a:cubicBezTo>
                  <a:pt x="1533" y="716"/>
                  <a:pt x="1531" y="714"/>
                  <a:pt x="1531" y="714"/>
                </a:cubicBezTo>
                <a:cubicBezTo>
                  <a:pt x="1531" y="714"/>
                  <a:pt x="1531" y="714"/>
                  <a:pt x="1531" y="714"/>
                </a:cubicBezTo>
                <a:cubicBezTo>
                  <a:pt x="1531" y="714"/>
                  <a:pt x="1531" y="713"/>
                  <a:pt x="1530" y="713"/>
                </a:cubicBezTo>
                <a:cubicBezTo>
                  <a:pt x="1529" y="712"/>
                  <a:pt x="1530" y="711"/>
                  <a:pt x="1530" y="710"/>
                </a:cubicBezTo>
                <a:cubicBezTo>
                  <a:pt x="1530" y="709"/>
                  <a:pt x="1530" y="709"/>
                  <a:pt x="1530" y="708"/>
                </a:cubicBezTo>
                <a:cubicBezTo>
                  <a:pt x="1530" y="708"/>
                  <a:pt x="1529" y="708"/>
                  <a:pt x="1529" y="708"/>
                </a:cubicBezTo>
                <a:cubicBezTo>
                  <a:pt x="1529" y="708"/>
                  <a:pt x="1529" y="707"/>
                  <a:pt x="1529" y="707"/>
                </a:cubicBezTo>
                <a:cubicBezTo>
                  <a:pt x="1528" y="707"/>
                  <a:pt x="1527" y="706"/>
                  <a:pt x="1527" y="705"/>
                </a:cubicBezTo>
                <a:cubicBezTo>
                  <a:pt x="1527" y="705"/>
                  <a:pt x="1526" y="705"/>
                  <a:pt x="1526" y="706"/>
                </a:cubicBezTo>
                <a:cubicBezTo>
                  <a:pt x="1525" y="705"/>
                  <a:pt x="1523" y="704"/>
                  <a:pt x="1524" y="702"/>
                </a:cubicBezTo>
                <a:cubicBezTo>
                  <a:pt x="1524" y="702"/>
                  <a:pt x="1524" y="702"/>
                  <a:pt x="1524" y="702"/>
                </a:cubicBezTo>
                <a:cubicBezTo>
                  <a:pt x="1524" y="702"/>
                  <a:pt x="1524" y="701"/>
                  <a:pt x="1524" y="700"/>
                </a:cubicBezTo>
                <a:cubicBezTo>
                  <a:pt x="1524" y="700"/>
                  <a:pt x="1524" y="700"/>
                  <a:pt x="1524" y="699"/>
                </a:cubicBezTo>
                <a:cubicBezTo>
                  <a:pt x="1524" y="698"/>
                  <a:pt x="1523" y="699"/>
                  <a:pt x="1523" y="698"/>
                </a:cubicBezTo>
                <a:cubicBezTo>
                  <a:pt x="1523" y="698"/>
                  <a:pt x="1523" y="698"/>
                  <a:pt x="1523" y="697"/>
                </a:cubicBezTo>
                <a:cubicBezTo>
                  <a:pt x="1522" y="696"/>
                  <a:pt x="1522" y="697"/>
                  <a:pt x="1521" y="697"/>
                </a:cubicBezTo>
                <a:cubicBezTo>
                  <a:pt x="1521" y="697"/>
                  <a:pt x="1522" y="696"/>
                  <a:pt x="1520" y="696"/>
                </a:cubicBezTo>
                <a:cubicBezTo>
                  <a:pt x="1520" y="696"/>
                  <a:pt x="1520" y="695"/>
                  <a:pt x="1520" y="695"/>
                </a:cubicBezTo>
                <a:cubicBezTo>
                  <a:pt x="1521" y="694"/>
                  <a:pt x="1521" y="694"/>
                  <a:pt x="1521" y="693"/>
                </a:cubicBezTo>
                <a:cubicBezTo>
                  <a:pt x="1521" y="692"/>
                  <a:pt x="1520" y="692"/>
                  <a:pt x="1519" y="692"/>
                </a:cubicBezTo>
                <a:cubicBezTo>
                  <a:pt x="1518" y="690"/>
                  <a:pt x="1519" y="689"/>
                  <a:pt x="1517" y="689"/>
                </a:cubicBezTo>
                <a:cubicBezTo>
                  <a:pt x="1517" y="689"/>
                  <a:pt x="1515" y="688"/>
                  <a:pt x="1516" y="689"/>
                </a:cubicBezTo>
                <a:cubicBezTo>
                  <a:pt x="1515" y="689"/>
                  <a:pt x="1514" y="689"/>
                  <a:pt x="1514" y="689"/>
                </a:cubicBezTo>
                <a:cubicBezTo>
                  <a:pt x="1514" y="688"/>
                  <a:pt x="1514" y="688"/>
                  <a:pt x="1514" y="687"/>
                </a:cubicBezTo>
                <a:cubicBezTo>
                  <a:pt x="1513" y="687"/>
                  <a:pt x="1512" y="687"/>
                  <a:pt x="1511" y="687"/>
                </a:cubicBezTo>
                <a:cubicBezTo>
                  <a:pt x="1510" y="687"/>
                  <a:pt x="1510" y="686"/>
                  <a:pt x="1510" y="686"/>
                </a:cubicBezTo>
                <a:cubicBezTo>
                  <a:pt x="1509" y="686"/>
                  <a:pt x="1509" y="685"/>
                  <a:pt x="1509" y="684"/>
                </a:cubicBezTo>
                <a:cubicBezTo>
                  <a:pt x="1509" y="683"/>
                  <a:pt x="1509" y="684"/>
                  <a:pt x="1509" y="683"/>
                </a:cubicBezTo>
                <a:cubicBezTo>
                  <a:pt x="1509" y="683"/>
                  <a:pt x="1509" y="682"/>
                  <a:pt x="1509" y="682"/>
                </a:cubicBezTo>
                <a:cubicBezTo>
                  <a:pt x="1509" y="682"/>
                  <a:pt x="1508" y="681"/>
                  <a:pt x="1508" y="681"/>
                </a:cubicBezTo>
                <a:cubicBezTo>
                  <a:pt x="1508" y="680"/>
                  <a:pt x="1508" y="679"/>
                  <a:pt x="1508" y="678"/>
                </a:cubicBezTo>
                <a:cubicBezTo>
                  <a:pt x="1508" y="678"/>
                  <a:pt x="1508" y="677"/>
                  <a:pt x="1508" y="677"/>
                </a:cubicBezTo>
                <a:cubicBezTo>
                  <a:pt x="1508" y="676"/>
                  <a:pt x="1508" y="677"/>
                  <a:pt x="1508" y="676"/>
                </a:cubicBezTo>
                <a:cubicBezTo>
                  <a:pt x="1508" y="676"/>
                  <a:pt x="1508" y="675"/>
                  <a:pt x="1508" y="675"/>
                </a:cubicBezTo>
                <a:cubicBezTo>
                  <a:pt x="1508" y="675"/>
                  <a:pt x="1507" y="675"/>
                  <a:pt x="1507" y="675"/>
                </a:cubicBezTo>
                <a:cubicBezTo>
                  <a:pt x="1507" y="674"/>
                  <a:pt x="1507" y="674"/>
                  <a:pt x="1507" y="673"/>
                </a:cubicBezTo>
                <a:cubicBezTo>
                  <a:pt x="1507" y="673"/>
                  <a:pt x="1507" y="673"/>
                  <a:pt x="1507" y="673"/>
                </a:cubicBezTo>
                <a:cubicBezTo>
                  <a:pt x="1506" y="672"/>
                  <a:pt x="1506" y="672"/>
                  <a:pt x="1506" y="671"/>
                </a:cubicBezTo>
                <a:cubicBezTo>
                  <a:pt x="1505" y="671"/>
                  <a:pt x="1505" y="671"/>
                  <a:pt x="1505" y="670"/>
                </a:cubicBezTo>
                <a:cubicBezTo>
                  <a:pt x="1505" y="670"/>
                  <a:pt x="1505" y="670"/>
                  <a:pt x="1504" y="670"/>
                </a:cubicBezTo>
                <a:cubicBezTo>
                  <a:pt x="1504" y="669"/>
                  <a:pt x="1505" y="669"/>
                  <a:pt x="1505" y="669"/>
                </a:cubicBezTo>
                <a:cubicBezTo>
                  <a:pt x="1505" y="668"/>
                  <a:pt x="1504" y="669"/>
                  <a:pt x="1504" y="668"/>
                </a:cubicBezTo>
                <a:cubicBezTo>
                  <a:pt x="1504" y="668"/>
                  <a:pt x="1504" y="667"/>
                  <a:pt x="1504" y="667"/>
                </a:cubicBezTo>
                <a:cubicBezTo>
                  <a:pt x="1504" y="666"/>
                  <a:pt x="1505" y="667"/>
                  <a:pt x="1505" y="667"/>
                </a:cubicBezTo>
                <a:cubicBezTo>
                  <a:pt x="1505" y="666"/>
                  <a:pt x="1505" y="666"/>
                  <a:pt x="1505" y="666"/>
                </a:cubicBezTo>
                <a:cubicBezTo>
                  <a:pt x="1505" y="665"/>
                  <a:pt x="1504" y="665"/>
                  <a:pt x="1504" y="665"/>
                </a:cubicBezTo>
                <a:cubicBezTo>
                  <a:pt x="1504" y="665"/>
                  <a:pt x="1504" y="664"/>
                  <a:pt x="1505" y="664"/>
                </a:cubicBezTo>
                <a:cubicBezTo>
                  <a:pt x="1505" y="663"/>
                  <a:pt x="1504" y="663"/>
                  <a:pt x="1504" y="662"/>
                </a:cubicBezTo>
                <a:cubicBezTo>
                  <a:pt x="1503" y="662"/>
                  <a:pt x="1503" y="662"/>
                  <a:pt x="1503" y="662"/>
                </a:cubicBezTo>
                <a:cubicBezTo>
                  <a:pt x="1502" y="661"/>
                  <a:pt x="1503" y="661"/>
                  <a:pt x="1502" y="661"/>
                </a:cubicBezTo>
                <a:cubicBezTo>
                  <a:pt x="1502" y="660"/>
                  <a:pt x="1502" y="662"/>
                  <a:pt x="1501" y="660"/>
                </a:cubicBezTo>
                <a:cubicBezTo>
                  <a:pt x="1501" y="659"/>
                  <a:pt x="1501" y="659"/>
                  <a:pt x="1500" y="659"/>
                </a:cubicBezTo>
                <a:cubicBezTo>
                  <a:pt x="1500" y="660"/>
                  <a:pt x="1498" y="660"/>
                  <a:pt x="1498" y="661"/>
                </a:cubicBezTo>
                <a:cubicBezTo>
                  <a:pt x="1496" y="660"/>
                  <a:pt x="1496" y="660"/>
                  <a:pt x="1496" y="658"/>
                </a:cubicBezTo>
                <a:cubicBezTo>
                  <a:pt x="1496" y="658"/>
                  <a:pt x="1496" y="657"/>
                  <a:pt x="1496" y="657"/>
                </a:cubicBezTo>
                <a:cubicBezTo>
                  <a:pt x="1496" y="657"/>
                  <a:pt x="1497" y="656"/>
                  <a:pt x="1497" y="656"/>
                </a:cubicBezTo>
                <a:cubicBezTo>
                  <a:pt x="1497" y="655"/>
                  <a:pt x="1497" y="654"/>
                  <a:pt x="1497" y="653"/>
                </a:cubicBezTo>
                <a:cubicBezTo>
                  <a:pt x="1497" y="653"/>
                  <a:pt x="1497" y="653"/>
                  <a:pt x="1497" y="652"/>
                </a:cubicBezTo>
                <a:cubicBezTo>
                  <a:pt x="1496" y="652"/>
                  <a:pt x="1496" y="652"/>
                  <a:pt x="1496" y="652"/>
                </a:cubicBezTo>
                <a:cubicBezTo>
                  <a:pt x="1496" y="652"/>
                  <a:pt x="1496" y="651"/>
                  <a:pt x="1496" y="651"/>
                </a:cubicBezTo>
                <a:cubicBezTo>
                  <a:pt x="1495" y="650"/>
                  <a:pt x="1495" y="650"/>
                  <a:pt x="1495" y="650"/>
                </a:cubicBezTo>
                <a:cubicBezTo>
                  <a:pt x="1495" y="649"/>
                  <a:pt x="1494" y="649"/>
                  <a:pt x="1494" y="649"/>
                </a:cubicBezTo>
                <a:cubicBezTo>
                  <a:pt x="1494" y="649"/>
                  <a:pt x="1494" y="648"/>
                  <a:pt x="1494" y="648"/>
                </a:cubicBezTo>
                <a:cubicBezTo>
                  <a:pt x="1494" y="647"/>
                  <a:pt x="1493" y="647"/>
                  <a:pt x="1493" y="646"/>
                </a:cubicBezTo>
                <a:cubicBezTo>
                  <a:pt x="1493" y="645"/>
                  <a:pt x="1493" y="645"/>
                  <a:pt x="1491" y="644"/>
                </a:cubicBezTo>
                <a:cubicBezTo>
                  <a:pt x="1491" y="643"/>
                  <a:pt x="1491" y="642"/>
                  <a:pt x="1491" y="642"/>
                </a:cubicBezTo>
                <a:cubicBezTo>
                  <a:pt x="1490" y="641"/>
                  <a:pt x="1490" y="641"/>
                  <a:pt x="1489" y="641"/>
                </a:cubicBezTo>
                <a:cubicBezTo>
                  <a:pt x="1488" y="641"/>
                  <a:pt x="1489" y="642"/>
                  <a:pt x="1488" y="643"/>
                </a:cubicBezTo>
                <a:cubicBezTo>
                  <a:pt x="1488" y="644"/>
                  <a:pt x="1488" y="645"/>
                  <a:pt x="1488" y="647"/>
                </a:cubicBezTo>
                <a:cubicBezTo>
                  <a:pt x="1487" y="647"/>
                  <a:pt x="1487" y="647"/>
                  <a:pt x="1487" y="648"/>
                </a:cubicBezTo>
                <a:cubicBezTo>
                  <a:pt x="1487" y="649"/>
                  <a:pt x="1487" y="649"/>
                  <a:pt x="1487" y="649"/>
                </a:cubicBezTo>
                <a:cubicBezTo>
                  <a:pt x="1487" y="649"/>
                  <a:pt x="1487" y="649"/>
                  <a:pt x="1488" y="649"/>
                </a:cubicBezTo>
                <a:cubicBezTo>
                  <a:pt x="1487" y="650"/>
                  <a:pt x="1487" y="652"/>
                  <a:pt x="1487" y="653"/>
                </a:cubicBezTo>
                <a:cubicBezTo>
                  <a:pt x="1488" y="653"/>
                  <a:pt x="1488" y="654"/>
                  <a:pt x="1487" y="655"/>
                </a:cubicBezTo>
                <a:cubicBezTo>
                  <a:pt x="1487" y="655"/>
                  <a:pt x="1487" y="656"/>
                  <a:pt x="1486" y="656"/>
                </a:cubicBezTo>
                <a:cubicBezTo>
                  <a:pt x="1486" y="657"/>
                  <a:pt x="1487" y="663"/>
                  <a:pt x="1487" y="663"/>
                </a:cubicBezTo>
                <a:cubicBezTo>
                  <a:pt x="1487" y="663"/>
                  <a:pt x="1487" y="664"/>
                  <a:pt x="1487" y="664"/>
                </a:cubicBezTo>
                <a:cubicBezTo>
                  <a:pt x="1487" y="664"/>
                  <a:pt x="1488" y="665"/>
                  <a:pt x="1487" y="665"/>
                </a:cubicBezTo>
                <a:cubicBezTo>
                  <a:pt x="1487" y="665"/>
                  <a:pt x="1487" y="665"/>
                  <a:pt x="1487" y="665"/>
                </a:cubicBezTo>
                <a:cubicBezTo>
                  <a:pt x="1486" y="666"/>
                  <a:pt x="1486" y="666"/>
                  <a:pt x="1486" y="666"/>
                </a:cubicBezTo>
                <a:cubicBezTo>
                  <a:pt x="1486" y="667"/>
                  <a:pt x="1486" y="668"/>
                  <a:pt x="1486" y="668"/>
                </a:cubicBezTo>
                <a:cubicBezTo>
                  <a:pt x="1486" y="669"/>
                  <a:pt x="1486" y="669"/>
                  <a:pt x="1486" y="669"/>
                </a:cubicBezTo>
                <a:cubicBezTo>
                  <a:pt x="1486" y="670"/>
                  <a:pt x="1486" y="669"/>
                  <a:pt x="1486" y="670"/>
                </a:cubicBezTo>
                <a:cubicBezTo>
                  <a:pt x="1486" y="670"/>
                  <a:pt x="1485" y="670"/>
                  <a:pt x="1485" y="671"/>
                </a:cubicBezTo>
                <a:cubicBezTo>
                  <a:pt x="1485" y="671"/>
                  <a:pt x="1484" y="671"/>
                  <a:pt x="1485" y="672"/>
                </a:cubicBezTo>
                <a:cubicBezTo>
                  <a:pt x="1485" y="673"/>
                  <a:pt x="1485" y="673"/>
                  <a:pt x="1485" y="674"/>
                </a:cubicBezTo>
                <a:cubicBezTo>
                  <a:pt x="1483" y="675"/>
                  <a:pt x="1484" y="678"/>
                  <a:pt x="1483" y="678"/>
                </a:cubicBezTo>
                <a:cubicBezTo>
                  <a:pt x="1482" y="679"/>
                  <a:pt x="1481" y="679"/>
                  <a:pt x="1480" y="679"/>
                </a:cubicBezTo>
                <a:cubicBezTo>
                  <a:pt x="1479" y="679"/>
                  <a:pt x="1479" y="679"/>
                  <a:pt x="1478" y="679"/>
                </a:cubicBezTo>
                <a:cubicBezTo>
                  <a:pt x="1478" y="678"/>
                  <a:pt x="1478" y="678"/>
                  <a:pt x="1478" y="677"/>
                </a:cubicBezTo>
                <a:cubicBezTo>
                  <a:pt x="1477" y="677"/>
                  <a:pt x="1477" y="677"/>
                  <a:pt x="1477" y="676"/>
                </a:cubicBezTo>
                <a:cubicBezTo>
                  <a:pt x="1477" y="675"/>
                  <a:pt x="1476" y="676"/>
                  <a:pt x="1476" y="675"/>
                </a:cubicBezTo>
                <a:cubicBezTo>
                  <a:pt x="1476" y="674"/>
                  <a:pt x="1474" y="674"/>
                  <a:pt x="1474" y="674"/>
                </a:cubicBezTo>
                <a:cubicBezTo>
                  <a:pt x="1473" y="673"/>
                  <a:pt x="1472" y="673"/>
                  <a:pt x="1472" y="672"/>
                </a:cubicBezTo>
                <a:cubicBezTo>
                  <a:pt x="1471" y="672"/>
                  <a:pt x="1470" y="672"/>
                  <a:pt x="1470" y="671"/>
                </a:cubicBezTo>
                <a:cubicBezTo>
                  <a:pt x="1470" y="671"/>
                  <a:pt x="1470" y="670"/>
                  <a:pt x="1470" y="670"/>
                </a:cubicBezTo>
                <a:cubicBezTo>
                  <a:pt x="1468" y="670"/>
                  <a:pt x="1468" y="670"/>
                  <a:pt x="1467" y="668"/>
                </a:cubicBezTo>
                <a:cubicBezTo>
                  <a:pt x="1466" y="668"/>
                  <a:pt x="1465" y="668"/>
                  <a:pt x="1465" y="668"/>
                </a:cubicBezTo>
                <a:cubicBezTo>
                  <a:pt x="1465" y="667"/>
                  <a:pt x="1464" y="668"/>
                  <a:pt x="1464" y="668"/>
                </a:cubicBezTo>
                <a:cubicBezTo>
                  <a:pt x="1463" y="668"/>
                  <a:pt x="1463" y="667"/>
                  <a:pt x="1463" y="667"/>
                </a:cubicBezTo>
                <a:cubicBezTo>
                  <a:pt x="1463" y="666"/>
                  <a:pt x="1462" y="666"/>
                  <a:pt x="1462" y="666"/>
                </a:cubicBezTo>
                <a:cubicBezTo>
                  <a:pt x="1460" y="665"/>
                  <a:pt x="1462" y="666"/>
                  <a:pt x="1461" y="665"/>
                </a:cubicBezTo>
                <a:cubicBezTo>
                  <a:pt x="1461" y="665"/>
                  <a:pt x="1461" y="665"/>
                  <a:pt x="1460" y="665"/>
                </a:cubicBezTo>
                <a:cubicBezTo>
                  <a:pt x="1460" y="665"/>
                  <a:pt x="1460" y="664"/>
                  <a:pt x="1460" y="664"/>
                </a:cubicBezTo>
                <a:cubicBezTo>
                  <a:pt x="1458" y="664"/>
                  <a:pt x="1458" y="662"/>
                  <a:pt x="1459" y="661"/>
                </a:cubicBezTo>
                <a:cubicBezTo>
                  <a:pt x="1459" y="660"/>
                  <a:pt x="1459" y="659"/>
                  <a:pt x="1459" y="659"/>
                </a:cubicBezTo>
                <a:cubicBezTo>
                  <a:pt x="1460" y="659"/>
                  <a:pt x="1460" y="657"/>
                  <a:pt x="1460" y="656"/>
                </a:cubicBezTo>
                <a:cubicBezTo>
                  <a:pt x="1459" y="656"/>
                  <a:pt x="1460" y="655"/>
                  <a:pt x="1460" y="654"/>
                </a:cubicBezTo>
                <a:cubicBezTo>
                  <a:pt x="1461" y="654"/>
                  <a:pt x="1462" y="654"/>
                  <a:pt x="1463" y="655"/>
                </a:cubicBezTo>
                <a:cubicBezTo>
                  <a:pt x="1463" y="654"/>
                  <a:pt x="1463" y="653"/>
                  <a:pt x="1463" y="652"/>
                </a:cubicBezTo>
                <a:cubicBezTo>
                  <a:pt x="1462" y="652"/>
                  <a:pt x="1462" y="651"/>
                  <a:pt x="1463" y="651"/>
                </a:cubicBezTo>
                <a:cubicBezTo>
                  <a:pt x="1464" y="651"/>
                  <a:pt x="1464" y="650"/>
                  <a:pt x="1465" y="650"/>
                </a:cubicBezTo>
                <a:cubicBezTo>
                  <a:pt x="1465" y="650"/>
                  <a:pt x="1465" y="649"/>
                  <a:pt x="1465" y="648"/>
                </a:cubicBezTo>
                <a:cubicBezTo>
                  <a:pt x="1465" y="648"/>
                  <a:pt x="1464" y="649"/>
                  <a:pt x="1464" y="649"/>
                </a:cubicBezTo>
                <a:cubicBezTo>
                  <a:pt x="1464" y="648"/>
                  <a:pt x="1464" y="647"/>
                  <a:pt x="1464" y="647"/>
                </a:cubicBezTo>
                <a:cubicBezTo>
                  <a:pt x="1464" y="647"/>
                  <a:pt x="1464" y="647"/>
                  <a:pt x="1464" y="646"/>
                </a:cubicBezTo>
                <a:cubicBezTo>
                  <a:pt x="1463" y="647"/>
                  <a:pt x="1463" y="647"/>
                  <a:pt x="1462" y="647"/>
                </a:cubicBezTo>
                <a:cubicBezTo>
                  <a:pt x="1461" y="648"/>
                  <a:pt x="1461" y="647"/>
                  <a:pt x="1461" y="649"/>
                </a:cubicBezTo>
                <a:cubicBezTo>
                  <a:pt x="1460" y="648"/>
                  <a:pt x="1458" y="645"/>
                  <a:pt x="1457" y="647"/>
                </a:cubicBezTo>
                <a:cubicBezTo>
                  <a:pt x="1456" y="647"/>
                  <a:pt x="1456" y="647"/>
                  <a:pt x="1455" y="647"/>
                </a:cubicBezTo>
                <a:cubicBezTo>
                  <a:pt x="1455" y="646"/>
                  <a:pt x="1454" y="646"/>
                  <a:pt x="1453" y="647"/>
                </a:cubicBezTo>
                <a:cubicBezTo>
                  <a:pt x="1453" y="647"/>
                  <a:pt x="1453" y="647"/>
                  <a:pt x="1452" y="646"/>
                </a:cubicBezTo>
                <a:cubicBezTo>
                  <a:pt x="1451" y="646"/>
                  <a:pt x="1450" y="646"/>
                  <a:pt x="1449" y="646"/>
                </a:cubicBezTo>
                <a:cubicBezTo>
                  <a:pt x="1449" y="646"/>
                  <a:pt x="1450" y="646"/>
                  <a:pt x="1449" y="646"/>
                </a:cubicBezTo>
                <a:cubicBezTo>
                  <a:pt x="1449" y="645"/>
                  <a:pt x="1449" y="645"/>
                  <a:pt x="1448" y="644"/>
                </a:cubicBezTo>
                <a:cubicBezTo>
                  <a:pt x="1448" y="644"/>
                  <a:pt x="1448" y="644"/>
                  <a:pt x="1448" y="644"/>
                </a:cubicBezTo>
                <a:cubicBezTo>
                  <a:pt x="1448" y="645"/>
                  <a:pt x="1448" y="645"/>
                  <a:pt x="1448" y="645"/>
                </a:cubicBezTo>
                <a:cubicBezTo>
                  <a:pt x="1448" y="645"/>
                  <a:pt x="1447" y="645"/>
                  <a:pt x="1447" y="645"/>
                </a:cubicBezTo>
                <a:cubicBezTo>
                  <a:pt x="1446" y="645"/>
                  <a:pt x="1446" y="646"/>
                  <a:pt x="1445" y="645"/>
                </a:cubicBezTo>
                <a:cubicBezTo>
                  <a:pt x="1445" y="645"/>
                  <a:pt x="1445" y="644"/>
                  <a:pt x="1445" y="644"/>
                </a:cubicBezTo>
                <a:cubicBezTo>
                  <a:pt x="1445" y="644"/>
                  <a:pt x="1445" y="643"/>
                  <a:pt x="1444" y="643"/>
                </a:cubicBezTo>
                <a:cubicBezTo>
                  <a:pt x="1444" y="643"/>
                  <a:pt x="1443" y="644"/>
                  <a:pt x="1443" y="644"/>
                </a:cubicBezTo>
                <a:cubicBezTo>
                  <a:pt x="1443" y="643"/>
                  <a:pt x="1441" y="643"/>
                  <a:pt x="1441" y="643"/>
                </a:cubicBezTo>
                <a:cubicBezTo>
                  <a:pt x="1441" y="644"/>
                  <a:pt x="1442" y="645"/>
                  <a:pt x="1443" y="645"/>
                </a:cubicBezTo>
                <a:cubicBezTo>
                  <a:pt x="1443" y="645"/>
                  <a:pt x="1444" y="645"/>
                  <a:pt x="1444" y="645"/>
                </a:cubicBezTo>
                <a:cubicBezTo>
                  <a:pt x="1445" y="646"/>
                  <a:pt x="1445" y="646"/>
                  <a:pt x="1445" y="646"/>
                </a:cubicBezTo>
                <a:cubicBezTo>
                  <a:pt x="1445" y="647"/>
                  <a:pt x="1446" y="647"/>
                  <a:pt x="1446" y="648"/>
                </a:cubicBezTo>
                <a:cubicBezTo>
                  <a:pt x="1446" y="649"/>
                  <a:pt x="1446" y="648"/>
                  <a:pt x="1445" y="649"/>
                </a:cubicBezTo>
                <a:cubicBezTo>
                  <a:pt x="1445" y="649"/>
                  <a:pt x="1444" y="649"/>
                  <a:pt x="1444" y="650"/>
                </a:cubicBezTo>
                <a:cubicBezTo>
                  <a:pt x="1444" y="650"/>
                  <a:pt x="1444" y="649"/>
                  <a:pt x="1443" y="649"/>
                </a:cubicBezTo>
                <a:cubicBezTo>
                  <a:pt x="1442" y="649"/>
                  <a:pt x="1442" y="649"/>
                  <a:pt x="1441" y="649"/>
                </a:cubicBezTo>
                <a:cubicBezTo>
                  <a:pt x="1441" y="648"/>
                  <a:pt x="1440" y="648"/>
                  <a:pt x="1440" y="648"/>
                </a:cubicBezTo>
                <a:cubicBezTo>
                  <a:pt x="1439" y="648"/>
                  <a:pt x="1439" y="649"/>
                  <a:pt x="1439" y="649"/>
                </a:cubicBezTo>
                <a:cubicBezTo>
                  <a:pt x="1438" y="649"/>
                  <a:pt x="1438" y="648"/>
                  <a:pt x="1438" y="648"/>
                </a:cubicBezTo>
                <a:cubicBezTo>
                  <a:pt x="1438" y="648"/>
                  <a:pt x="1438" y="648"/>
                  <a:pt x="1437" y="648"/>
                </a:cubicBezTo>
                <a:cubicBezTo>
                  <a:pt x="1437" y="649"/>
                  <a:pt x="1437" y="649"/>
                  <a:pt x="1436" y="649"/>
                </a:cubicBezTo>
                <a:cubicBezTo>
                  <a:pt x="1436" y="650"/>
                  <a:pt x="1435" y="649"/>
                  <a:pt x="1434" y="649"/>
                </a:cubicBezTo>
                <a:cubicBezTo>
                  <a:pt x="1434" y="649"/>
                  <a:pt x="1434" y="650"/>
                  <a:pt x="1435" y="650"/>
                </a:cubicBezTo>
                <a:cubicBezTo>
                  <a:pt x="1435" y="650"/>
                  <a:pt x="1434" y="651"/>
                  <a:pt x="1434" y="651"/>
                </a:cubicBezTo>
                <a:cubicBezTo>
                  <a:pt x="1433" y="651"/>
                  <a:pt x="1432" y="651"/>
                  <a:pt x="1433" y="652"/>
                </a:cubicBezTo>
                <a:cubicBezTo>
                  <a:pt x="1433" y="653"/>
                  <a:pt x="1434" y="654"/>
                  <a:pt x="1434" y="655"/>
                </a:cubicBezTo>
                <a:cubicBezTo>
                  <a:pt x="1434" y="655"/>
                  <a:pt x="1433" y="655"/>
                  <a:pt x="1433" y="655"/>
                </a:cubicBezTo>
                <a:cubicBezTo>
                  <a:pt x="1432" y="654"/>
                  <a:pt x="1432" y="655"/>
                  <a:pt x="1432" y="655"/>
                </a:cubicBezTo>
                <a:cubicBezTo>
                  <a:pt x="1431" y="655"/>
                  <a:pt x="1431" y="655"/>
                  <a:pt x="1431" y="656"/>
                </a:cubicBezTo>
                <a:cubicBezTo>
                  <a:pt x="1431" y="657"/>
                  <a:pt x="1431" y="658"/>
                  <a:pt x="1431" y="658"/>
                </a:cubicBezTo>
                <a:cubicBezTo>
                  <a:pt x="1430" y="658"/>
                  <a:pt x="1430" y="658"/>
                  <a:pt x="1429" y="658"/>
                </a:cubicBezTo>
                <a:cubicBezTo>
                  <a:pt x="1429" y="658"/>
                  <a:pt x="1429" y="658"/>
                  <a:pt x="1429" y="658"/>
                </a:cubicBezTo>
                <a:cubicBezTo>
                  <a:pt x="1429" y="660"/>
                  <a:pt x="1429" y="661"/>
                  <a:pt x="1430" y="662"/>
                </a:cubicBezTo>
                <a:cubicBezTo>
                  <a:pt x="1431" y="663"/>
                  <a:pt x="1431" y="662"/>
                  <a:pt x="1431" y="664"/>
                </a:cubicBezTo>
                <a:cubicBezTo>
                  <a:pt x="1430" y="664"/>
                  <a:pt x="1429" y="663"/>
                  <a:pt x="1429" y="663"/>
                </a:cubicBezTo>
                <a:cubicBezTo>
                  <a:pt x="1428" y="664"/>
                  <a:pt x="1428" y="663"/>
                  <a:pt x="1427" y="663"/>
                </a:cubicBezTo>
                <a:cubicBezTo>
                  <a:pt x="1427" y="662"/>
                  <a:pt x="1426" y="663"/>
                  <a:pt x="1426" y="662"/>
                </a:cubicBezTo>
                <a:cubicBezTo>
                  <a:pt x="1425" y="661"/>
                  <a:pt x="1424" y="662"/>
                  <a:pt x="1424" y="663"/>
                </a:cubicBezTo>
                <a:cubicBezTo>
                  <a:pt x="1424" y="665"/>
                  <a:pt x="1424" y="665"/>
                  <a:pt x="1422" y="666"/>
                </a:cubicBezTo>
                <a:cubicBezTo>
                  <a:pt x="1422" y="664"/>
                  <a:pt x="1423" y="662"/>
                  <a:pt x="1423" y="661"/>
                </a:cubicBezTo>
                <a:cubicBezTo>
                  <a:pt x="1422" y="661"/>
                  <a:pt x="1422" y="659"/>
                  <a:pt x="1421" y="659"/>
                </a:cubicBezTo>
                <a:cubicBezTo>
                  <a:pt x="1420" y="659"/>
                  <a:pt x="1420" y="657"/>
                  <a:pt x="1419" y="657"/>
                </a:cubicBezTo>
                <a:cubicBezTo>
                  <a:pt x="1417" y="656"/>
                  <a:pt x="1417" y="656"/>
                  <a:pt x="1416" y="657"/>
                </a:cubicBezTo>
                <a:cubicBezTo>
                  <a:pt x="1415" y="658"/>
                  <a:pt x="1416" y="658"/>
                  <a:pt x="1415" y="658"/>
                </a:cubicBezTo>
                <a:cubicBezTo>
                  <a:pt x="1414" y="658"/>
                  <a:pt x="1415" y="657"/>
                  <a:pt x="1415" y="657"/>
                </a:cubicBezTo>
                <a:cubicBezTo>
                  <a:pt x="1414" y="658"/>
                  <a:pt x="1414" y="659"/>
                  <a:pt x="1414" y="660"/>
                </a:cubicBezTo>
                <a:cubicBezTo>
                  <a:pt x="1413" y="660"/>
                  <a:pt x="1413" y="660"/>
                  <a:pt x="1413" y="659"/>
                </a:cubicBezTo>
                <a:cubicBezTo>
                  <a:pt x="1412" y="659"/>
                  <a:pt x="1411" y="659"/>
                  <a:pt x="1412" y="660"/>
                </a:cubicBezTo>
                <a:cubicBezTo>
                  <a:pt x="1412" y="660"/>
                  <a:pt x="1412" y="661"/>
                  <a:pt x="1412" y="661"/>
                </a:cubicBezTo>
                <a:cubicBezTo>
                  <a:pt x="1411" y="661"/>
                  <a:pt x="1411" y="660"/>
                  <a:pt x="1410" y="662"/>
                </a:cubicBezTo>
                <a:cubicBezTo>
                  <a:pt x="1411" y="662"/>
                  <a:pt x="1412" y="662"/>
                  <a:pt x="1411" y="663"/>
                </a:cubicBezTo>
                <a:cubicBezTo>
                  <a:pt x="1411" y="663"/>
                  <a:pt x="1410" y="663"/>
                  <a:pt x="1410" y="663"/>
                </a:cubicBezTo>
                <a:cubicBezTo>
                  <a:pt x="1410" y="664"/>
                  <a:pt x="1410" y="665"/>
                  <a:pt x="1410" y="665"/>
                </a:cubicBezTo>
                <a:cubicBezTo>
                  <a:pt x="1410" y="665"/>
                  <a:pt x="1409" y="665"/>
                  <a:pt x="1409" y="665"/>
                </a:cubicBezTo>
                <a:cubicBezTo>
                  <a:pt x="1409" y="664"/>
                  <a:pt x="1409" y="665"/>
                  <a:pt x="1409" y="665"/>
                </a:cubicBezTo>
                <a:cubicBezTo>
                  <a:pt x="1408" y="665"/>
                  <a:pt x="1409" y="665"/>
                  <a:pt x="1408" y="665"/>
                </a:cubicBezTo>
                <a:cubicBezTo>
                  <a:pt x="1408" y="665"/>
                  <a:pt x="1407" y="665"/>
                  <a:pt x="1407" y="665"/>
                </a:cubicBezTo>
                <a:cubicBezTo>
                  <a:pt x="1407" y="666"/>
                  <a:pt x="1407" y="667"/>
                  <a:pt x="1407" y="668"/>
                </a:cubicBezTo>
                <a:cubicBezTo>
                  <a:pt x="1406" y="668"/>
                  <a:pt x="1406" y="670"/>
                  <a:pt x="1405" y="670"/>
                </a:cubicBezTo>
                <a:cubicBezTo>
                  <a:pt x="1405" y="670"/>
                  <a:pt x="1405" y="669"/>
                  <a:pt x="1405" y="669"/>
                </a:cubicBezTo>
                <a:cubicBezTo>
                  <a:pt x="1404" y="669"/>
                  <a:pt x="1404" y="669"/>
                  <a:pt x="1404" y="668"/>
                </a:cubicBezTo>
                <a:cubicBezTo>
                  <a:pt x="1404" y="668"/>
                  <a:pt x="1403" y="669"/>
                  <a:pt x="1403" y="669"/>
                </a:cubicBezTo>
                <a:cubicBezTo>
                  <a:pt x="1402" y="669"/>
                  <a:pt x="1402" y="669"/>
                  <a:pt x="1402" y="670"/>
                </a:cubicBezTo>
                <a:cubicBezTo>
                  <a:pt x="1402" y="671"/>
                  <a:pt x="1402" y="672"/>
                  <a:pt x="1402" y="673"/>
                </a:cubicBezTo>
                <a:cubicBezTo>
                  <a:pt x="1402" y="673"/>
                  <a:pt x="1404" y="674"/>
                  <a:pt x="1403" y="674"/>
                </a:cubicBezTo>
                <a:cubicBezTo>
                  <a:pt x="1403" y="674"/>
                  <a:pt x="1403" y="675"/>
                  <a:pt x="1402" y="675"/>
                </a:cubicBezTo>
                <a:cubicBezTo>
                  <a:pt x="1402" y="675"/>
                  <a:pt x="1402" y="676"/>
                  <a:pt x="1402" y="676"/>
                </a:cubicBezTo>
                <a:cubicBezTo>
                  <a:pt x="1402" y="676"/>
                  <a:pt x="1401" y="675"/>
                  <a:pt x="1401" y="675"/>
                </a:cubicBezTo>
                <a:cubicBezTo>
                  <a:pt x="1400" y="675"/>
                  <a:pt x="1400" y="675"/>
                  <a:pt x="1400" y="674"/>
                </a:cubicBezTo>
                <a:cubicBezTo>
                  <a:pt x="1400" y="674"/>
                  <a:pt x="1400" y="674"/>
                  <a:pt x="1400" y="674"/>
                </a:cubicBezTo>
                <a:cubicBezTo>
                  <a:pt x="1400" y="673"/>
                  <a:pt x="1400" y="673"/>
                  <a:pt x="1400" y="672"/>
                </a:cubicBezTo>
                <a:cubicBezTo>
                  <a:pt x="1400" y="671"/>
                  <a:pt x="1399" y="671"/>
                  <a:pt x="1399" y="671"/>
                </a:cubicBezTo>
                <a:cubicBezTo>
                  <a:pt x="1399" y="671"/>
                  <a:pt x="1399" y="672"/>
                  <a:pt x="1399" y="672"/>
                </a:cubicBezTo>
                <a:cubicBezTo>
                  <a:pt x="1399" y="672"/>
                  <a:pt x="1397" y="673"/>
                  <a:pt x="1397" y="673"/>
                </a:cubicBezTo>
                <a:cubicBezTo>
                  <a:pt x="1396" y="673"/>
                  <a:pt x="1396" y="675"/>
                  <a:pt x="1396" y="675"/>
                </a:cubicBezTo>
                <a:cubicBezTo>
                  <a:pt x="1396" y="676"/>
                  <a:pt x="1396" y="677"/>
                  <a:pt x="1396" y="678"/>
                </a:cubicBezTo>
                <a:cubicBezTo>
                  <a:pt x="1395" y="678"/>
                  <a:pt x="1395" y="678"/>
                  <a:pt x="1395" y="679"/>
                </a:cubicBezTo>
                <a:cubicBezTo>
                  <a:pt x="1395" y="680"/>
                  <a:pt x="1396" y="680"/>
                  <a:pt x="1396" y="681"/>
                </a:cubicBezTo>
                <a:cubicBezTo>
                  <a:pt x="1396" y="682"/>
                  <a:pt x="1395" y="681"/>
                  <a:pt x="1395" y="682"/>
                </a:cubicBezTo>
                <a:cubicBezTo>
                  <a:pt x="1395" y="682"/>
                  <a:pt x="1394" y="682"/>
                  <a:pt x="1394" y="683"/>
                </a:cubicBezTo>
                <a:cubicBezTo>
                  <a:pt x="1394" y="683"/>
                  <a:pt x="1393" y="683"/>
                  <a:pt x="1393" y="683"/>
                </a:cubicBezTo>
                <a:cubicBezTo>
                  <a:pt x="1393" y="684"/>
                  <a:pt x="1393" y="684"/>
                  <a:pt x="1393" y="684"/>
                </a:cubicBezTo>
                <a:cubicBezTo>
                  <a:pt x="1392" y="685"/>
                  <a:pt x="1392" y="685"/>
                  <a:pt x="1392" y="686"/>
                </a:cubicBezTo>
                <a:cubicBezTo>
                  <a:pt x="1392" y="686"/>
                  <a:pt x="1391" y="687"/>
                  <a:pt x="1391" y="687"/>
                </a:cubicBezTo>
                <a:cubicBezTo>
                  <a:pt x="1390" y="687"/>
                  <a:pt x="1390" y="687"/>
                  <a:pt x="1390" y="688"/>
                </a:cubicBezTo>
                <a:cubicBezTo>
                  <a:pt x="1390" y="688"/>
                  <a:pt x="1389" y="688"/>
                  <a:pt x="1389" y="688"/>
                </a:cubicBezTo>
                <a:cubicBezTo>
                  <a:pt x="1389" y="688"/>
                  <a:pt x="1389" y="688"/>
                  <a:pt x="1389" y="688"/>
                </a:cubicBezTo>
                <a:cubicBezTo>
                  <a:pt x="1388" y="688"/>
                  <a:pt x="1388" y="688"/>
                  <a:pt x="1388" y="688"/>
                </a:cubicBezTo>
                <a:cubicBezTo>
                  <a:pt x="1387" y="688"/>
                  <a:pt x="1387" y="689"/>
                  <a:pt x="1387" y="689"/>
                </a:cubicBezTo>
                <a:cubicBezTo>
                  <a:pt x="1387" y="689"/>
                  <a:pt x="1386" y="689"/>
                  <a:pt x="1386" y="689"/>
                </a:cubicBezTo>
                <a:cubicBezTo>
                  <a:pt x="1385" y="689"/>
                  <a:pt x="1385" y="689"/>
                  <a:pt x="1383" y="689"/>
                </a:cubicBezTo>
                <a:cubicBezTo>
                  <a:pt x="1383" y="690"/>
                  <a:pt x="1383" y="690"/>
                  <a:pt x="1382" y="690"/>
                </a:cubicBezTo>
                <a:cubicBezTo>
                  <a:pt x="1381" y="690"/>
                  <a:pt x="1381" y="690"/>
                  <a:pt x="1380" y="690"/>
                </a:cubicBezTo>
                <a:cubicBezTo>
                  <a:pt x="1380" y="690"/>
                  <a:pt x="1380" y="690"/>
                  <a:pt x="1380" y="690"/>
                </a:cubicBezTo>
                <a:cubicBezTo>
                  <a:pt x="1379" y="690"/>
                  <a:pt x="1379" y="691"/>
                  <a:pt x="1379" y="692"/>
                </a:cubicBezTo>
                <a:cubicBezTo>
                  <a:pt x="1379" y="692"/>
                  <a:pt x="1378" y="693"/>
                  <a:pt x="1378" y="693"/>
                </a:cubicBezTo>
                <a:cubicBezTo>
                  <a:pt x="1378" y="693"/>
                  <a:pt x="1376" y="693"/>
                  <a:pt x="1375" y="693"/>
                </a:cubicBezTo>
                <a:cubicBezTo>
                  <a:pt x="1375" y="694"/>
                  <a:pt x="1375" y="694"/>
                  <a:pt x="1374" y="694"/>
                </a:cubicBezTo>
                <a:cubicBezTo>
                  <a:pt x="1373" y="695"/>
                  <a:pt x="1371" y="695"/>
                  <a:pt x="1371" y="694"/>
                </a:cubicBezTo>
                <a:cubicBezTo>
                  <a:pt x="1370" y="694"/>
                  <a:pt x="1370" y="694"/>
                  <a:pt x="1369" y="695"/>
                </a:cubicBezTo>
                <a:cubicBezTo>
                  <a:pt x="1369" y="697"/>
                  <a:pt x="1367" y="695"/>
                  <a:pt x="1366" y="696"/>
                </a:cubicBezTo>
                <a:cubicBezTo>
                  <a:pt x="1366" y="697"/>
                  <a:pt x="1365" y="699"/>
                  <a:pt x="1364" y="699"/>
                </a:cubicBezTo>
                <a:cubicBezTo>
                  <a:pt x="1363" y="699"/>
                  <a:pt x="1364" y="700"/>
                  <a:pt x="1363" y="700"/>
                </a:cubicBezTo>
                <a:cubicBezTo>
                  <a:pt x="1363" y="700"/>
                  <a:pt x="1362" y="700"/>
                  <a:pt x="1362" y="700"/>
                </a:cubicBezTo>
                <a:cubicBezTo>
                  <a:pt x="1362" y="700"/>
                  <a:pt x="1362" y="700"/>
                  <a:pt x="1362" y="701"/>
                </a:cubicBezTo>
                <a:cubicBezTo>
                  <a:pt x="1362" y="701"/>
                  <a:pt x="1360" y="702"/>
                  <a:pt x="1360" y="702"/>
                </a:cubicBezTo>
                <a:cubicBezTo>
                  <a:pt x="1360" y="704"/>
                  <a:pt x="1358" y="703"/>
                  <a:pt x="1358" y="704"/>
                </a:cubicBezTo>
                <a:cubicBezTo>
                  <a:pt x="1358" y="704"/>
                  <a:pt x="1357" y="704"/>
                  <a:pt x="1357" y="705"/>
                </a:cubicBezTo>
                <a:cubicBezTo>
                  <a:pt x="1357" y="705"/>
                  <a:pt x="1356" y="704"/>
                  <a:pt x="1356" y="704"/>
                </a:cubicBezTo>
                <a:cubicBezTo>
                  <a:pt x="1357" y="704"/>
                  <a:pt x="1357" y="703"/>
                  <a:pt x="1357" y="702"/>
                </a:cubicBezTo>
                <a:cubicBezTo>
                  <a:pt x="1356" y="702"/>
                  <a:pt x="1356" y="702"/>
                  <a:pt x="1356" y="703"/>
                </a:cubicBezTo>
                <a:cubicBezTo>
                  <a:pt x="1356" y="703"/>
                  <a:pt x="1355" y="703"/>
                  <a:pt x="1355" y="703"/>
                </a:cubicBezTo>
                <a:cubicBezTo>
                  <a:pt x="1355" y="704"/>
                  <a:pt x="1355" y="704"/>
                  <a:pt x="1355" y="704"/>
                </a:cubicBezTo>
                <a:cubicBezTo>
                  <a:pt x="1355" y="704"/>
                  <a:pt x="1355" y="705"/>
                  <a:pt x="1355" y="705"/>
                </a:cubicBezTo>
                <a:cubicBezTo>
                  <a:pt x="1355" y="705"/>
                  <a:pt x="1355" y="705"/>
                  <a:pt x="1354" y="706"/>
                </a:cubicBezTo>
                <a:cubicBezTo>
                  <a:pt x="1354" y="707"/>
                  <a:pt x="1355" y="706"/>
                  <a:pt x="1355" y="707"/>
                </a:cubicBezTo>
                <a:cubicBezTo>
                  <a:pt x="1356" y="708"/>
                  <a:pt x="1356" y="707"/>
                  <a:pt x="1356" y="708"/>
                </a:cubicBezTo>
                <a:cubicBezTo>
                  <a:pt x="1356" y="708"/>
                  <a:pt x="1355" y="709"/>
                  <a:pt x="1355" y="709"/>
                </a:cubicBezTo>
                <a:cubicBezTo>
                  <a:pt x="1355" y="710"/>
                  <a:pt x="1355" y="710"/>
                  <a:pt x="1355" y="710"/>
                </a:cubicBezTo>
                <a:cubicBezTo>
                  <a:pt x="1355" y="711"/>
                  <a:pt x="1355" y="711"/>
                  <a:pt x="1355" y="712"/>
                </a:cubicBezTo>
                <a:cubicBezTo>
                  <a:pt x="1355" y="712"/>
                  <a:pt x="1355" y="712"/>
                  <a:pt x="1355" y="712"/>
                </a:cubicBezTo>
                <a:cubicBezTo>
                  <a:pt x="1354" y="713"/>
                  <a:pt x="1354" y="713"/>
                  <a:pt x="1354" y="714"/>
                </a:cubicBezTo>
                <a:cubicBezTo>
                  <a:pt x="1354" y="714"/>
                  <a:pt x="1353" y="714"/>
                  <a:pt x="1353" y="714"/>
                </a:cubicBezTo>
                <a:cubicBezTo>
                  <a:pt x="1353" y="716"/>
                  <a:pt x="1354" y="716"/>
                  <a:pt x="1355" y="717"/>
                </a:cubicBezTo>
                <a:cubicBezTo>
                  <a:pt x="1356" y="718"/>
                  <a:pt x="1355" y="720"/>
                  <a:pt x="1356" y="720"/>
                </a:cubicBezTo>
                <a:cubicBezTo>
                  <a:pt x="1356" y="720"/>
                  <a:pt x="1356" y="720"/>
                  <a:pt x="1356" y="721"/>
                </a:cubicBezTo>
                <a:cubicBezTo>
                  <a:pt x="1356" y="721"/>
                  <a:pt x="1356" y="722"/>
                  <a:pt x="1356" y="722"/>
                </a:cubicBezTo>
                <a:cubicBezTo>
                  <a:pt x="1357" y="724"/>
                  <a:pt x="1357" y="725"/>
                  <a:pt x="1357" y="726"/>
                </a:cubicBezTo>
                <a:cubicBezTo>
                  <a:pt x="1356" y="726"/>
                  <a:pt x="1355" y="726"/>
                  <a:pt x="1355" y="725"/>
                </a:cubicBezTo>
                <a:cubicBezTo>
                  <a:pt x="1355" y="724"/>
                  <a:pt x="1355" y="723"/>
                  <a:pt x="1354" y="724"/>
                </a:cubicBezTo>
                <a:cubicBezTo>
                  <a:pt x="1354" y="725"/>
                  <a:pt x="1354" y="725"/>
                  <a:pt x="1354" y="726"/>
                </a:cubicBezTo>
                <a:cubicBezTo>
                  <a:pt x="1355" y="727"/>
                  <a:pt x="1355" y="727"/>
                  <a:pt x="1355" y="727"/>
                </a:cubicBezTo>
                <a:cubicBezTo>
                  <a:pt x="1355" y="728"/>
                  <a:pt x="1355" y="728"/>
                  <a:pt x="1356" y="729"/>
                </a:cubicBezTo>
                <a:cubicBezTo>
                  <a:pt x="1355" y="729"/>
                  <a:pt x="1355" y="729"/>
                  <a:pt x="1354" y="729"/>
                </a:cubicBezTo>
                <a:cubicBezTo>
                  <a:pt x="1354" y="728"/>
                  <a:pt x="1354" y="727"/>
                  <a:pt x="1353" y="727"/>
                </a:cubicBezTo>
                <a:cubicBezTo>
                  <a:pt x="1353" y="726"/>
                  <a:pt x="1353" y="724"/>
                  <a:pt x="1352" y="724"/>
                </a:cubicBezTo>
                <a:cubicBezTo>
                  <a:pt x="1352" y="725"/>
                  <a:pt x="1353" y="726"/>
                  <a:pt x="1353" y="728"/>
                </a:cubicBezTo>
                <a:cubicBezTo>
                  <a:pt x="1353" y="728"/>
                  <a:pt x="1353" y="728"/>
                  <a:pt x="1354" y="729"/>
                </a:cubicBezTo>
                <a:cubicBezTo>
                  <a:pt x="1354" y="729"/>
                  <a:pt x="1354" y="729"/>
                  <a:pt x="1354" y="730"/>
                </a:cubicBezTo>
                <a:cubicBezTo>
                  <a:pt x="1354" y="730"/>
                  <a:pt x="1356" y="731"/>
                  <a:pt x="1356" y="732"/>
                </a:cubicBezTo>
                <a:cubicBezTo>
                  <a:pt x="1356" y="732"/>
                  <a:pt x="1356" y="732"/>
                  <a:pt x="1357" y="732"/>
                </a:cubicBezTo>
                <a:cubicBezTo>
                  <a:pt x="1357" y="732"/>
                  <a:pt x="1357" y="733"/>
                  <a:pt x="1357" y="734"/>
                </a:cubicBezTo>
                <a:cubicBezTo>
                  <a:pt x="1357" y="734"/>
                  <a:pt x="1357" y="735"/>
                  <a:pt x="1358" y="735"/>
                </a:cubicBezTo>
                <a:cubicBezTo>
                  <a:pt x="1358" y="735"/>
                  <a:pt x="1358" y="735"/>
                  <a:pt x="1358" y="735"/>
                </a:cubicBezTo>
                <a:cubicBezTo>
                  <a:pt x="1357" y="736"/>
                  <a:pt x="1358" y="737"/>
                  <a:pt x="1358" y="737"/>
                </a:cubicBezTo>
                <a:cubicBezTo>
                  <a:pt x="1358" y="737"/>
                  <a:pt x="1360" y="740"/>
                  <a:pt x="1361" y="739"/>
                </a:cubicBezTo>
                <a:cubicBezTo>
                  <a:pt x="1360" y="740"/>
                  <a:pt x="1360" y="741"/>
                  <a:pt x="1360" y="742"/>
                </a:cubicBezTo>
                <a:cubicBezTo>
                  <a:pt x="1360" y="742"/>
                  <a:pt x="1361" y="742"/>
                  <a:pt x="1361" y="743"/>
                </a:cubicBezTo>
                <a:cubicBezTo>
                  <a:pt x="1363" y="745"/>
                  <a:pt x="1361" y="747"/>
                  <a:pt x="1362" y="748"/>
                </a:cubicBezTo>
                <a:cubicBezTo>
                  <a:pt x="1362" y="749"/>
                  <a:pt x="1362" y="749"/>
                  <a:pt x="1362" y="750"/>
                </a:cubicBezTo>
                <a:cubicBezTo>
                  <a:pt x="1362" y="750"/>
                  <a:pt x="1362" y="750"/>
                  <a:pt x="1362" y="751"/>
                </a:cubicBezTo>
                <a:cubicBezTo>
                  <a:pt x="1362" y="751"/>
                  <a:pt x="1362" y="751"/>
                  <a:pt x="1362" y="751"/>
                </a:cubicBezTo>
                <a:cubicBezTo>
                  <a:pt x="1362" y="751"/>
                  <a:pt x="1362" y="752"/>
                  <a:pt x="1363" y="752"/>
                </a:cubicBezTo>
                <a:cubicBezTo>
                  <a:pt x="1364" y="753"/>
                  <a:pt x="1363" y="755"/>
                  <a:pt x="1364" y="755"/>
                </a:cubicBezTo>
                <a:cubicBezTo>
                  <a:pt x="1363" y="756"/>
                  <a:pt x="1364" y="757"/>
                  <a:pt x="1364" y="758"/>
                </a:cubicBezTo>
                <a:cubicBezTo>
                  <a:pt x="1364" y="758"/>
                  <a:pt x="1365" y="759"/>
                  <a:pt x="1365" y="760"/>
                </a:cubicBezTo>
                <a:cubicBezTo>
                  <a:pt x="1365" y="760"/>
                  <a:pt x="1364" y="761"/>
                  <a:pt x="1364" y="762"/>
                </a:cubicBezTo>
                <a:cubicBezTo>
                  <a:pt x="1365" y="763"/>
                  <a:pt x="1365" y="764"/>
                  <a:pt x="1364" y="764"/>
                </a:cubicBezTo>
                <a:cubicBezTo>
                  <a:pt x="1364" y="765"/>
                  <a:pt x="1364" y="766"/>
                  <a:pt x="1364" y="766"/>
                </a:cubicBezTo>
                <a:cubicBezTo>
                  <a:pt x="1364" y="767"/>
                  <a:pt x="1364" y="766"/>
                  <a:pt x="1364" y="767"/>
                </a:cubicBezTo>
                <a:cubicBezTo>
                  <a:pt x="1364" y="768"/>
                  <a:pt x="1364" y="770"/>
                  <a:pt x="1363" y="771"/>
                </a:cubicBezTo>
                <a:cubicBezTo>
                  <a:pt x="1363" y="770"/>
                  <a:pt x="1362" y="770"/>
                  <a:pt x="1361" y="769"/>
                </a:cubicBezTo>
                <a:cubicBezTo>
                  <a:pt x="1361" y="770"/>
                  <a:pt x="1361" y="770"/>
                  <a:pt x="1361" y="770"/>
                </a:cubicBezTo>
                <a:cubicBezTo>
                  <a:pt x="1361" y="771"/>
                  <a:pt x="1361" y="772"/>
                  <a:pt x="1362" y="773"/>
                </a:cubicBezTo>
                <a:cubicBezTo>
                  <a:pt x="1362" y="774"/>
                  <a:pt x="1363" y="774"/>
                  <a:pt x="1364" y="774"/>
                </a:cubicBezTo>
                <a:cubicBezTo>
                  <a:pt x="1364" y="774"/>
                  <a:pt x="1364" y="774"/>
                  <a:pt x="1365" y="774"/>
                </a:cubicBezTo>
                <a:cubicBezTo>
                  <a:pt x="1365" y="775"/>
                  <a:pt x="1365" y="774"/>
                  <a:pt x="1365" y="775"/>
                </a:cubicBezTo>
                <a:cubicBezTo>
                  <a:pt x="1365" y="775"/>
                  <a:pt x="1366" y="776"/>
                  <a:pt x="1366" y="776"/>
                </a:cubicBezTo>
                <a:cubicBezTo>
                  <a:pt x="1367" y="777"/>
                  <a:pt x="1367" y="777"/>
                  <a:pt x="1368" y="777"/>
                </a:cubicBezTo>
                <a:cubicBezTo>
                  <a:pt x="1369" y="777"/>
                  <a:pt x="1369" y="778"/>
                  <a:pt x="1370" y="778"/>
                </a:cubicBezTo>
                <a:cubicBezTo>
                  <a:pt x="1370" y="777"/>
                  <a:pt x="1371" y="777"/>
                  <a:pt x="1372" y="777"/>
                </a:cubicBezTo>
                <a:cubicBezTo>
                  <a:pt x="1372" y="777"/>
                  <a:pt x="1372" y="777"/>
                  <a:pt x="1373" y="778"/>
                </a:cubicBezTo>
                <a:cubicBezTo>
                  <a:pt x="1373" y="778"/>
                  <a:pt x="1373" y="778"/>
                  <a:pt x="1374" y="778"/>
                </a:cubicBezTo>
                <a:cubicBezTo>
                  <a:pt x="1374" y="778"/>
                  <a:pt x="1374" y="779"/>
                  <a:pt x="1375" y="777"/>
                </a:cubicBezTo>
                <a:cubicBezTo>
                  <a:pt x="1375" y="777"/>
                  <a:pt x="1376" y="777"/>
                  <a:pt x="1376" y="777"/>
                </a:cubicBezTo>
                <a:cubicBezTo>
                  <a:pt x="1376" y="776"/>
                  <a:pt x="1377" y="776"/>
                  <a:pt x="1378" y="775"/>
                </a:cubicBezTo>
                <a:cubicBezTo>
                  <a:pt x="1378" y="774"/>
                  <a:pt x="1379" y="774"/>
                  <a:pt x="1379" y="774"/>
                </a:cubicBezTo>
                <a:cubicBezTo>
                  <a:pt x="1380" y="774"/>
                  <a:pt x="1380" y="774"/>
                  <a:pt x="1380" y="775"/>
                </a:cubicBezTo>
                <a:cubicBezTo>
                  <a:pt x="1381" y="775"/>
                  <a:pt x="1381" y="776"/>
                  <a:pt x="1382" y="774"/>
                </a:cubicBezTo>
                <a:cubicBezTo>
                  <a:pt x="1382" y="774"/>
                  <a:pt x="1382" y="773"/>
                  <a:pt x="1382" y="772"/>
                </a:cubicBezTo>
                <a:cubicBezTo>
                  <a:pt x="1383" y="772"/>
                  <a:pt x="1384" y="773"/>
                  <a:pt x="1385" y="772"/>
                </a:cubicBezTo>
                <a:cubicBezTo>
                  <a:pt x="1385" y="772"/>
                  <a:pt x="1384" y="772"/>
                  <a:pt x="1385" y="772"/>
                </a:cubicBezTo>
                <a:cubicBezTo>
                  <a:pt x="1385" y="772"/>
                  <a:pt x="1385" y="772"/>
                  <a:pt x="1385" y="772"/>
                </a:cubicBezTo>
                <a:cubicBezTo>
                  <a:pt x="1386" y="772"/>
                  <a:pt x="1387" y="772"/>
                  <a:pt x="1387" y="772"/>
                </a:cubicBezTo>
                <a:cubicBezTo>
                  <a:pt x="1387" y="771"/>
                  <a:pt x="1388" y="771"/>
                  <a:pt x="1388" y="771"/>
                </a:cubicBezTo>
                <a:cubicBezTo>
                  <a:pt x="1389" y="771"/>
                  <a:pt x="1389" y="771"/>
                  <a:pt x="1391" y="771"/>
                </a:cubicBezTo>
                <a:cubicBezTo>
                  <a:pt x="1391" y="771"/>
                  <a:pt x="1393" y="771"/>
                  <a:pt x="1392" y="772"/>
                </a:cubicBezTo>
                <a:cubicBezTo>
                  <a:pt x="1393" y="771"/>
                  <a:pt x="1393" y="771"/>
                  <a:pt x="1394" y="771"/>
                </a:cubicBezTo>
                <a:cubicBezTo>
                  <a:pt x="1394" y="771"/>
                  <a:pt x="1395" y="772"/>
                  <a:pt x="1395" y="772"/>
                </a:cubicBezTo>
                <a:cubicBezTo>
                  <a:pt x="1395" y="772"/>
                  <a:pt x="1395" y="771"/>
                  <a:pt x="1395" y="771"/>
                </a:cubicBezTo>
                <a:cubicBezTo>
                  <a:pt x="1396" y="771"/>
                  <a:pt x="1397" y="771"/>
                  <a:pt x="1398" y="771"/>
                </a:cubicBezTo>
                <a:cubicBezTo>
                  <a:pt x="1398" y="770"/>
                  <a:pt x="1399" y="771"/>
                  <a:pt x="1399" y="772"/>
                </a:cubicBezTo>
                <a:cubicBezTo>
                  <a:pt x="1401" y="771"/>
                  <a:pt x="1400" y="771"/>
                  <a:pt x="1402" y="771"/>
                </a:cubicBezTo>
                <a:cubicBezTo>
                  <a:pt x="1402" y="771"/>
                  <a:pt x="1403" y="770"/>
                  <a:pt x="1403" y="770"/>
                </a:cubicBezTo>
                <a:cubicBezTo>
                  <a:pt x="1403" y="769"/>
                  <a:pt x="1403" y="769"/>
                  <a:pt x="1404" y="768"/>
                </a:cubicBezTo>
                <a:cubicBezTo>
                  <a:pt x="1404" y="768"/>
                  <a:pt x="1404" y="767"/>
                  <a:pt x="1405" y="767"/>
                </a:cubicBezTo>
                <a:cubicBezTo>
                  <a:pt x="1406" y="766"/>
                  <a:pt x="1406" y="766"/>
                  <a:pt x="1407" y="766"/>
                </a:cubicBezTo>
                <a:cubicBezTo>
                  <a:pt x="1408" y="766"/>
                  <a:pt x="1408" y="766"/>
                  <a:pt x="1408" y="765"/>
                </a:cubicBezTo>
                <a:cubicBezTo>
                  <a:pt x="1409" y="765"/>
                  <a:pt x="1409" y="765"/>
                  <a:pt x="1409" y="764"/>
                </a:cubicBezTo>
                <a:cubicBezTo>
                  <a:pt x="1409" y="764"/>
                  <a:pt x="1409" y="764"/>
                  <a:pt x="1410" y="764"/>
                </a:cubicBezTo>
                <a:cubicBezTo>
                  <a:pt x="1410" y="764"/>
                  <a:pt x="1410" y="764"/>
                  <a:pt x="1411" y="764"/>
                </a:cubicBezTo>
                <a:cubicBezTo>
                  <a:pt x="1411" y="764"/>
                  <a:pt x="1411" y="763"/>
                  <a:pt x="1411" y="763"/>
                </a:cubicBezTo>
                <a:cubicBezTo>
                  <a:pt x="1412" y="763"/>
                  <a:pt x="1412" y="763"/>
                  <a:pt x="1412" y="762"/>
                </a:cubicBezTo>
                <a:cubicBezTo>
                  <a:pt x="1413" y="762"/>
                  <a:pt x="1415" y="762"/>
                  <a:pt x="1416" y="762"/>
                </a:cubicBezTo>
                <a:cubicBezTo>
                  <a:pt x="1416" y="761"/>
                  <a:pt x="1420" y="762"/>
                  <a:pt x="1420" y="761"/>
                </a:cubicBezTo>
                <a:cubicBezTo>
                  <a:pt x="1420" y="761"/>
                  <a:pt x="1421" y="761"/>
                  <a:pt x="1421" y="761"/>
                </a:cubicBezTo>
                <a:cubicBezTo>
                  <a:pt x="1421" y="760"/>
                  <a:pt x="1423" y="761"/>
                  <a:pt x="1423" y="761"/>
                </a:cubicBezTo>
                <a:cubicBezTo>
                  <a:pt x="1423" y="759"/>
                  <a:pt x="1426" y="760"/>
                  <a:pt x="1425" y="759"/>
                </a:cubicBezTo>
                <a:cubicBezTo>
                  <a:pt x="1426" y="760"/>
                  <a:pt x="1427" y="760"/>
                  <a:pt x="1427" y="760"/>
                </a:cubicBezTo>
                <a:cubicBezTo>
                  <a:pt x="1427" y="759"/>
                  <a:pt x="1427" y="759"/>
                  <a:pt x="1427" y="759"/>
                </a:cubicBezTo>
                <a:cubicBezTo>
                  <a:pt x="1428" y="759"/>
                  <a:pt x="1428" y="759"/>
                  <a:pt x="1428" y="759"/>
                </a:cubicBezTo>
                <a:cubicBezTo>
                  <a:pt x="1429" y="759"/>
                  <a:pt x="1430" y="759"/>
                  <a:pt x="1431" y="759"/>
                </a:cubicBezTo>
                <a:cubicBezTo>
                  <a:pt x="1432" y="759"/>
                  <a:pt x="1431" y="758"/>
                  <a:pt x="1432" y="758"/>
                </a:cubicBezTo>
                <a:cubicBezTo>
                  <a:pt x="1432" y="758"/>
                  <a:pt x="1432" y="758"/>
                  <a:pt x="1432" y="758"/>
                </a:cubicBezTo>
                <a:cubicBezTo>
                  <a:pt x="1433" y="758"/>
                  <a:pt x="1433" y="758"/>
                  <a:pt x="1433" y="758"/>
                </a:cubicBezTo>
                <a:cubicBezTo>
                  <a:pt x="1434" y="758"/>
                  <a:pt x="1435" y="759"/>
                  <a:pt x="1436" y="758"/>
                </a:cubicBezTo>
                <a:cubicBezTo>
                  <a:pt x="1436" y="758"/>
                  <a:pt x="1436" y="757"/>
                  <a:pt x="1437" y="757"/>
                </a:cubicBezTo>
                <a:cubicBezTo>
                  <a:pt x="1437" y="757"/>
                  <a:pt x="1438" y="758"/>
                  <a:pt x="1439" y="758"/>
                </a:cubicBezTo>
                <a:cubicBezTo>
                  <a:pt x="1440" y="758"/>
                  <a:pt x="1440" y="759"/>
                  <a:pt x="1441" y="759"/>
                </a:cubicBezTo>
                <a:cubicBezTo>
                  <a:pt x="1441" y="759"/>
                  <a:pt x="1441" y="760"/>
                  <a:pt x="1441" y="760"/>
                </a:cubicBezTo>
                <a:cubicBezTo>
                  <a:pt x="1442" y="761"/>
                  <a:pt x="1443" y="761"/>
                  <a:pt x="1443" y="760"/>
                </a:cubicBezTo>
                <a:cubicBezTo>
                  <a:pt x="1443" y="760"/>
                  <a:pt x="1445" y="760"/>
                  <a:pt x="1445" y="760"/>
                </a:cubicBezTo>
                <a:cubicBezTo>
                  <a:pt x="1445" y="760"/>
                  <a:pt x="1446" y="760"/>
                  <a:pt x="1446" y="760"/>
                </a:cubicBezTo>
                <a:cubicBezTo>
                  <a:pt x="1447" y="762"/>
                  <a:pt x="1447" y="761"/>
                  <a:pt x="1448" y="760"/>
                </a:cubicBezTo>
                <a:cubicBezTo>
                  <a:pt x="1448" y="761"/>
                  <a:pt x="1449" y="761"/>
                  <a:pt x="1449" y="761"/>
                </a:cubicBezTo>
                <a:cubicBezTo>
                  <a:pt x="1450" y="762"/>
                  <a:pt x="1450" y="762"/>
                  <a:pt x="1449" y="764"/>
                </a:cubicBezTo>
                <a:cubicBezTo>
                  <a:pt x="1451" y="764"/>
                  <a:pt x="1451" y="764"/>
                  <a:pt x="1452" y="764"/>
                </a:cubicBezTo>
                <a:cubicBezTo>
                  <a:pt x="1452" y="764"/>
                  <a:pt x="1452" y="765"/>
                  <a:pt x="1451" y="765"/>
                </a:cubicBezTo>
                <a:cubicBezTo>
                  <a:pt x="1451" y="765"/>
                  <a:pt x="1451" y="765"/>
                  <a:pt x="1451" y="765"/>
                </a:cubicBezTo>
                <a:cubicBezTo>
                  <a:pt x="1449" y="766"/>
                  <a:pt x="1454" y="767"/>
                  <a:pt x="1454" y="767"/>
                </a:cubicBezTo>
                <a:cubicBezTo>
                  <a:pt x="1455" y="768"/>
                  <a:pt x="1454" y="770"/>
                  <a:pt x="1454" y="771"/>
                </a:cubicBezTo>
                <a:cubicBezTo>
                  <a:pt x="1455" y="771"/>
                  <a:pt x="1455" y="772"/>
                  <a:pt x="1455" y="772"/>
                </a:cubicBezTo>
                <a:cubicBezTo>
                  <a:pt x="1456" y="773"/>
                  <a:pt x="1457" y="772"/>
                  <a:pt x="1456" y="774"/>
                </a:cubicBezTo>
                <a:cubicBezTo>
                  <a:pt x="1457" y="774"/>
                  <a:pt x="1456" y="775"/>
                  <a:pt x="1457" y="775"/>
                </a:cubicBezTo>
                <a:cubicBezTo>
                  <a:pt x="1457" y="775"/>
                  <a:pt x="1457" y="775"/>
                  <a:pt x="1458" y="775"/>
                </a:cubicBezTo>
                <a:cubicBezTo>
                  <a:pt x="1458" y="775"/>
                  <a:pt x="1459" y="775"/>
                  <a:pt x="1459" y="775"/>
                </a:cubicBezTo>
                <a:cubicBezTo>
                  <a:pt x="1460" y="775"/>
                  <a:pt x="1460" y="774"/>
                  <a:pt x="1460" y="774"/>
                </a:cubicBezTo>
                <a:cubicBezTo>
                  <a:pt x="1460" y="773"/>
                  <a:pt x="1460" y="773"/>
                  <a:pt x="1461" y="772"/>
                </a:cubicBezTo>
                <a:cubicBezTo>
                  <a:pt x="1461" y="772"/>
                  <a:pt x="1461" y="772"/>
                  <a:pt x="1461" y="772"/>
                </a:cubicBezTo>
                <a:cubicBezTo>
                  <a:pt x="1462" y="772"/>
                  <a:pt x="1462" y="772"/>
                  <a:pt x="1462" y="771"/>
                </a:cubicBezTo>
                <a:cubicBezTo>
                  <a:pt x="1462" y="771"/>
                  <a:pt x="1463" y="770"/>
                  <a:pt x="1463" y="770"/>
                </a:cubicBezTo>
                <a:cubicBezTo>
                  <a:pt x="1464" y="770"/>
                  <a:pt x="1464" y="769"/>
                  <a:pt x="1465" y="769"/>
                </a:cubicBezTo>
                <a:cubicBezTo>
                  <a:pt x="1465" y="769"/>
                  <a:pt x="1466" y="769"/>
                  <a:pt x="1466" y="769"/>
                </a:cubicBezTo>
                <a:cubicBezTo>
                  <a:pt x="1466" y="768"/>
                  <a:pt x="1467" y="766"/>
                  <a:pt x="1468" y="766"/>
                </a:cubicBezTo>
                <a:cubicBezTo>
                  <a:pt x="1468" y="767"/>
                  <a:pt x="1468" y="770"/>
                  <a:pt x="1468" y="770"/>
                </a:cubicBezTo>
                <a:cubicBezTo>
                  <a:pt x="1467" y="770"/>
                  <a:pt x="1467" y="772"/>
                  <a:pt x="1467" y="773"/>
                </a:cubicBezTo>
                <a:cubicBezTo>
                  <a:pt x="1467" y="774"/>
                  <a:pt x="1466" y="773"/>
                  <a:pt x="1466" y="774"/>
                </a:cubicBezTo>
                <a:cubicBezTo>
                  <a:pt x="1466" y="775"/>
                  <a:pt x="1466" y="776"/>
                  <a:pt x="1466" y="776"/>
                </a:cubicBezTo>
                <a:cubicBezTo>
                  <a:pt x="1466" y="778"/>
                  <a:pt x="1465" y="778"/>
                  <a:pt x="1463" y="778"/>
                </a:cubicBezTo>
                <a:cubicBezTo>
                  <a:pt x="1463" y="779"/>
                  <a:pt x="1464" y="780"/>
                  <a:pt x="1464" y="780"/>
                </a:cubicBezTo>
                <a:cubicBezTo>
                  <a:pt x="1464" y="779"/>
                  <a:pt x="1466" y="780"/>
                  <a:pt x="1465" y="779"/>
                </a:cubicBezTo>
                <a:cubicBezTo>
                  <a:pt x="1466" y="779"/>
                  <a:pt x="1466" y="779"/>
                  <a:pt x="1467" y="779"/>
                </a:cubicBezTo>
                <a:cubicBezTo>
                  <a:pt x="1467" y="778"/>
                  <a:pt x="1467" y="778"/>
                  <a:pt x="1468" y="778"/>
                </a:cubicBezTo>
                <a:cubicBezTo>
                  <a:pt x="1468" y="778"/>
                  <a:pt x="1468" y="777"/>
                  <a:pt x="1467" y="776"/>
                </a:cubicBezTo>
                <a:cubicBezTo>
                  <a:pt x="1468" y="777"/>
                  <a:pt x="1468" y="775"/>
                  <a:pt x="1468" y="775"/>
                </a:cubicBezTo>
                <a:cubicBezTo>
                  <a:pt x="1468" y="774"/>
                  <a:pt x="1469" y="774"/>
                  <a:pt x="1470" y="774"/>
                </a:cubicBezTo>
                <a:cubicBezTo>
                  <a:pt x="1470" y="774"/>
                  <a:pt x="1470" y="776"/>
                  <a:pt x="1471" y="776"/>
                </a:cubicBezTo>
                <a:cubicBezTo>
                  <a:pt x="1471" y="776"/>
                  <a:pt x="1471" y="777"/>
                  <a:pt x="1471" y="777"/>
                </a:cubicBezTo>
                <a:cubicBezTo>
                  <a:pt x="1471" y="777"/>
                  <a:pt x="1471" y="779"/>
                  <a:pt x="1471" y="779"/>
                </a:cubicBezTo>
                <a:cubicBezTo>
                  <a:pt x="1471" y="780"/>
                  <a:pt x="1471" y="782"/>
                  <a:pt x="1471" y="783"/>
                </a:cubicBezTo>
                <a:cubicBezTo>
                  <a:pt x="1473" y="783"/>
                  <a:pt x="1474" y="782"/>
                  <a:pt x="1475" y="782"/>
                </a:cubicBezTo>
                <a:cubicBezTo>
                  <a:pt x="1475" y="782"/>
                  <a:pt x="1475" y="783"/>
                  <a:pt x="1475" y="783"/>
                </a:cubicBezTo>
                <a:cubicBezTo>
                  <a:pt x="1475" y="784"/>
                  <a:pt x="1476" y="784"/>
                  <a:pt x="1476" y="784"/>
                </a:cubicBezTo>
                <a:cubicBezTo>
                  <a:pt x="1476" y="785"/>
                  <a:pt x="1476" y="784"/>
                  <a:pt x="1476" y="785"/>
                </a:cubicBezTo>
                <a:cubicBezTo>
                  <a:pt x="1476" y="785"/>
                  <a:pt x="1476" y="785"/>
                  <a:pt x="1476" y="785"/>
                </a:cubicBezTo>
                <a:cubicBezTo>
                  <a:pt x="1476" y="786"/>
                  <a:pt x="1477" y="785"/>
                  <a:pt x="1477" y="786"/>
                </a:cubicBezTo>
                <a:cubicBezTo>
                  <a:pt x="1477" y="786"/>
                  <a:pt x="1477" y="786"/>
                  <a:pt x="1477" y="786"/>
                </a:cubicBezTo>
                <a:cubicBezTo>
                  <a:pt x="1477" y="787"/>
                  <a:pt x="1477" y="787"/>
                  <a:pt x="1477" y="787"/>
                </a:cubicBezTo>
                <a:cubicBezTo>
                  <a:pt x="1478" y="787"/>
                  <a:pt x="1478" y="788"/>
                  <a:pt x="1478" y="788"/>
                </a:cubicBezTo>
                <a:cubicBezTo>
                  <a:pt x="1478" y="788"/>
                  <a:pt x="1477" y="788"/>
                  <a:pt x="1477" y="788"/>
                </a:cubicBezTo>
                <a:cubicBezTo>
                  <a:pt x="1477" y="789"/>
                  <a:pt x="1477" y="789"/>
                  <a:pt x="1477" y="789"/>
                </a:cubicBezTo>
                <a:cubicBezTo>
                  <a:pt x="1477" y="791"/>
                  <a:pt x="1477" y="792"/>
                  <a:pt x="1477" y="793"/>
                </a:cubicBezTo>
                <a:cubicBezTo>
                  <a:pt x="1478" y="794"/>
                  <a:pt x="1478" y="794"/>
                  <a:pt x="1479" y="795"/>
                </a:cubicBezTo>
                <a:cubicBezTo>
                  <a:pt x="1479" y="795"/>
                  <a:pt x="1481" y="796"/>
                  <a:pt x="1481" y="797"/>
                </a:cubicBezTo>
                <a:cubicBezTo>
                  <a:pt x="1481" y="798"/>
                  <a:pt x="1481" y="798"/>
                  <a:pt x="1482" y="798"/>
                </a:cubicBezTo>
                <a:cubicBezTo>
                  <a:pt x="1483" y="798"/>
                  <a:pt x="1483" y="798"/>
                  <a:pt x="1484" y="799"/>
                </a:cubicBezTo>
                <a:cubicBezTo>
                  <a:pt x="1485" y="799"/>
                  <a:pt x="1486" y="800"/>
                  <a:pt x="1486" y="800"/>
                </a:cubicBezTo>
                <a:cubicBezTo>
                  <a:pt x="1487" y="799"/>
                  <a:pt x="1486" y="799"/>
                  <a:pt x="1488" y="799"/>
                </a:cubicBezTo>
                <a:cubicBezTo>
                  <a:pt x="1488" y="799"/>
                  <a:pt x="1489" y="799"/>
                  <a:pt x="1489" y="800"/>
                </a:cubicBezTo>
                <a:cubicBezTo>
                  <a:pt x="1489" y="801"/>
                  <a:pt x="1490" y="800"/>
                  <a:pt x="1490" y="800"/>
                </a:cubicBezTo>
                <a:cubicBezTo>
                  <a:pt x="1490" y="801"/>
                  <a:pt x="1491" y="802"/>
                  <a:pt x="1491" y="803"/>
                </a:cubicBezTo>
                <a:cubicBezTo>
                  <a:pt x="1492" y="802"/>
                  <a:pt x="1492" y="802"/>
                  <a:pt x="1493" y="803"/>
                </a:cubicBezTo>
                <a:cubicBezTo>
                  <a:pt x="1494" y="803"/>
                  <a:pt x="1494" y="804"/>
                  <a:pt x="1495" y="804"/>
                </a:cubicBezTo>
                <a:cubicBezTo>
                  <a:pt x="1495" y="804"/>
                  <a:pt x="1496" y="804"/>
                  <a:pt x="1496" y="803"/>
                </a:cubicBezTo>
                <a:cubicBezTo>
                  <a:pt x="1496" y="803"/>
                  <a:pt x="1496" y="803"/>
                  <a:pt x="1496" y="803"/>
                </a:cubicBezTo>
                <a:cubicBezTo>
                  <a:pt x="1496" y="802"/>
                  <a:pt x="1497" y="802"/>
                  <a:pt x="1497" y="802"/>
                </a:cubicBezTo>
                <a:cubicBezTo>
                  <a:pt x="1497" y="801"/>
                  <a:pt x="1497" y="802"/>
                  <a:pt x="1498" y="802"/>
                </a:cubicBezTo>
                <a:cubicBezTo>
                  <a:pt x="1498" y="801"/>
                  <a:pt x="1498" y="800"/>
                  <a:pt x="1499" y="800"/>
                </a:cubicBezTo>
                <a:cubicBezTo>
                  <a:pt x="1499" y="800"/>
                  <a:pt x="1500" y="799"/>
                  <a:pt x="1500" y="799"/>
                </a:cubicBezTo>
                <a:cubicBezTo>
                  <a:pt x="1500" y="799"/>
                  <a:pt x="1499" y="798"/>
                  <a:pt x="1499" y="798"/>
                </a:cubicBezTo>
                <a:cubicBezTo>
                  <a:pt x="1499" y="798"/>
                  <a:pt x="1501" y="797"/>
                  <a:pt x="1501" y="797"/>
                </a:cubicBezTo>
                <a:cubicBezTo>
                  <a:pt x="1502" y="797"/>
                  <a:pt x="1501" y="796"/>
                  <a:pt x="1502" y="796"/>
                </a:cubicBezTo>
                <a:cubicBezTo>
                  <a:pt x="1503" y="796"/>
                  <a:pt x="1503" y="797"/>
                  <a:pt x="1503" y="797"/>
                </a:cubicBezTo>
                <a:cubicBezTo>
                  <a:pt x="1503" y="798"/>
                  <a:pt x="1503" y="798"/>
                  <a:pt x="1502" y="799"/>
                </a:cubicBezTo>
                <a:cubicBezTo>
                  <a:pt x="1502" y="800"/>
                  <a:pt x="1501" y="799"/>
                  <a:pt x="1501" y="800"/>
                </a:cubicBezTo>
                <a:cubicBezTo>
                  <a:pt x="1502" y="800"/>
                  <a:pt x="1503" y="800"/>
                  <a:pt x="1503" y="800"/>
                </a:cubicBezTo>
                <a:cubicBezTo>
                  <a:pt x="1504" y="799"/>
                  <a:pt x="1504" y="799"/>
                  <a:pt x="1505" y="800"/>
                </a:cubicBezTo>
                <a:cubicBezTo>
                  <a:pt x="1504" y="800"/>
                  <a:pt x="1504" y="800"/>
                  <a:pt x="1503" y="801"/>
                </a:cubicBezTo>
                <a:cubicBezTo>
                  <a:pt x="1504" y="802"/>
                  <a:pt x="1505" y="802"/>
                  <a:pt x="1506" y="802"/>
                </a:cubicBezTo>
                <a:cubicBezTo>
                  <a:pt x="1506" y="803"/>
                  <a:pt x="1507" y="804"/>
                  <a:pt x="1507" y="804"/>
                </a:cubicBezTo>
                <a:cubicBezTo>
                  <a:pt x="1507" y="804"/>
                  <a:pt x="1507" y="804"/>
                  <a:pt x="1508" y="804"/>
                </a:cubicBezTo>
                <a:cubicBezTo>
                  <a:pt x="1508" y="805"/>
                  <a:pt x="1508" y="805"/>
                  <a:pt x="1509" y="806"/>
                </a:cubicBezTo>
                <a:cubicBezTo>
                  <a:pt x="1509" y="805"/>
                  <a:pt x="1509" y="805"/>
                  <a:pt x="1509" y="804"/>
                </a:cubicBezTo>
                <a:cubicBezTo>
                  <a:pt x="1509" y="804"/>
                  <a:pt x="1511" y="803"/>
                  <a:pt x="1512" y="803"/>
                </a:cubicBezTo>
                <a:cubicBezTo>
                  <a:pt x="1512" y="802"/>
                  <a:pt x="1513" y="801"/>
                  <a:pt x="1514" y="800"/>
                </a:cubicBezTo>
                <a:cubicBezTo>
                  <a:pt x="1514" y="800"/>
                  <a:pt x="1514" y="800"/>
                  <a:pt x="1514" y="800"/>
                </a:cubicBezTo>
                <a:cubicBezTo>
                  <a:pt x="1515" y="799"/>
                  <a:pt x="1514" y="799"/>
                  <a:pt x="1514" y="798"/>
                </a:cubicBezTo>
                <a:cubicBezTo>
                  <a:pt x="1515" y="798"/>
                  <a:pt x="1514" y="797"/>
                  <a:pt x="1515" y="797"/>
                </a:cubicBezTo>
                <a:cubicBezTo>
                  <a:pt x="1516" y="796"/>
                  <a:pt x="1515" y="796"/>
                  <a:pt x="1516" y="796"/>
                </a:cubicBezTo>
                <a:cubicBezTo>
                  <a:pt x="1517" y="796"/>
                  <a:pt x="1518" y="796"/>
                  <a:pt x="1519" y="796"/>
                </a:cubicBezTo>
                <a:cubicBezTo>
                  <a:pt x="1519" y="796"/>
                  <a:pt x="1519" y="797"/>
                  <a:pt x="1520" y="797"/>
                </a:cubicBezTo>
                <a:cubicBezTo>
                  <a:pt x="1521" y="796"/>
                  <a:pt x="1521" y="796"/>
                  <a:pt x="1521" y="796"/>
                </a:cubicBezTo>
                <a:cubicBezTo>
                  <a:pt x="1522" y="797"/>
                  <a:pt x="1523" y="797"/>
                  <a:pt x="1523" y="797"/>
                </a:cubicBezTo>
                <a:cubicBezTo>
                  <a:pt x="1524" y="797"/>
                  <a:pt x="1523" y="796"/>
                  <a:pt x="1524" y="796"/>
                </a:cubicBezTo>
                <a:cubicBezTo>
                  <a:pt x="1524" y="796"/>
                  <a:pt x="1524" y="796"/>
                  <a:pt x="1524" y="796"/>
                </a:cubicBezTo>
                <a:cubicBezTo>
                  <a:pt x="1524" y="795"/>
                  <a:pt x="1525" y="795"/>
                  <a:pt x="1525" y="795"/>
                </a:cubicBezTo>
                <a:cubicBezTo>
                  <a:pt x="1525" y="795"/>
                  <a:pt x="1524" y="794"/>
                  <a:pt x="1525" y="794"/>
                </a:cubicBezTo>
                <a:cubicBezTo>
                  <a:pt x="1526" y="793"/>
                  <a:pt x="1526" y="793"/>
                  <a:pt x="1526" y="793"/>
                </a:cubicBezTo>
                <a:cubicBezTo>
                  <a:pt x="1526" y="793"/>
                  <a:pt x="1524" y="792"/>
                  <a:pt x="1524" y="792"/>
                </a:cubicBezTo>
                <a:cubicBezTo>
                  <a:pt x="1524" y="791"/>
                  <a:pt x="1525" y="791"/>
                  <a:pt x="1524" y="791"/>
                </a:cubicBezTo>
                <a:cubicBezTo>
                  <a:pt x="1524" y="790"/>
                  <a:pt x="1525" y="789"/>
                  <a:pt x="1526" y="788"/>
                </a:cubicBezTo>
                <a:cubicBezTo>
                  <a:pt x="1526" y="788"/>
                  <a:pt x="1526" y="785"/>
                  <a:pt x="1527" y="784"/>
                </a:cubicBezTo>
                <a:cubicBezTo>
                  <a:pt x="1526" y="784"/>
                  <a:pt x="1526" y="784"/>
                  <a:pt x="1526" y="784"/>
                </a:cubicBezTo>
                <a:cubicBezTo>
                  <a:pt x="1527" y="784"/>
                  <a:pt x="1527" y="783"/>
                  <a:pt x="1527" y="783"/>
                </a:cubicBezTo>
                <a:cubicBezTo>
                  <a:pt x="1527" y="782"/>
                  <a:pt x="1527" y="782"/>
                  <a:pt x="1528" y="781"/>
                </a:cubicBezTo>
                <a:cubicBezTo>
                  <a:pt x="1528" y="781"/>
                  <a:pt x="1528" y="780"/>
                  <a:pt x="1528" y="779"/>
                </a:cubicBezTo>
                <a:cubicBezTo>
                  <a:pt x="1528" y="779"/>
                  <a:pt x="1529" y="780"/>
                  <a:pt x="1529" y="779"/>
                </a:cubicBezTo>
                <a:cubicBezTo>
                  <a:pt x="1529" y="779"/>
                  <a:pt x="1529" y="779"/>
                  <a:pt x="1529" y="778"/>
                </a:cubicBezTo>
                <a:cubicBezTo>
                  <a:pt x="1529" y="778"/>
                  <a:pt x="1529" y="778"/>
                  <a:pt x="1529" y="778"/>
                </a:cubicBezTo>
                <a:cubicBezTo>
                  <a:pt x="1529" y="777"/>
                  <a:pt x="1530" y="777"/>
                  <a:pt x="1530" y="776"/>
                </a:cubicBezTo>
                <a:cubicBezTo>
                  <a:pt x="1530" y="776"/>
                  <a:pt x="1529" y="775"/>
                  <a:pt x="1530" y="775"/>
                </a:cubicBezTo>
                <a:cubicBezTo>
                  <a:pt x="1530" y="775"/>
                  <a:pt x="1530" y="775"/>
                  <a:pt x="1530" y="775"/>
                </a:cubicBezTo>
                <a:cubicBezTo>
                  <a:pt x="1530" y="774"/>
                  <a:pt x="1530" y="775"/>
                  <a:pt x="1530" y="775"/>
                </a:cubicBezTo>
                <a:cubicBezTo>
                  <a:pt x="1531" y="773"/>
                  <a:pt x="1531" y="772"/>
                  <a:pt x="1531" y="770"/>
                </a:cubicBezTo>
                <a:cubicBezTo>
                  <a:pt x="1530" y="770"/>
                  <a:pt x="1530" y="769"/>
                  <a:pt x="1531" y="769"/>
                </a:cubicBezTo>
                <a:cubicBezTo>
                  <a:pt x="1533" y="769"/>
                  <a:pt x="1532" y="769"/>
                  <a:pt x="1532" y="768"/>
                </a:cubicBezTo>
                <a:cubicBezTo>
                  <a:pt x="1532" y="767"/>
                  <a:pt x="1533" y="767"/>
                  <a:pt x="1533" y="766"/>
                </a:cubicBezTo>
                <a:cubicBezTo>
                  <a:pt x="1533" y="766"/>
                  <a:pt x="1534" y="767"/>
                  <a:pt x="1534" y="766"/>
                </a:cubicBezTo>
                <a:cubicBezTo>
                  <a:pt x="1534" y="766"/>
                  <a:pt x="1535" y="766"/>
                  <a:pt x="1535" y="765"/>
                </a:cubicBezTo>
                <a:cubicBezTo>
                  <a:pt x="1535" y="765"/>
                  <a:pt x="1536" y="765"/>
                  <a:pt x="1537" y="764"/>
                </a:cubicBezTo>
                <a:cubicBezTo>
                  <a:pt x="1538" y="764"/>
                  <a:pt x="1537" y="764"/>
                  <a:pt x="1538" y="763"/>
                </a:cubicBezTo>
                <a:cubicBezTo>
                  <a:pt x="1537" y="763"/>
                  <a:pt x="1538" y="760"/>
                  <a:pt x="1539" y="760"/>
                </a:cubicBezTo>
                <a:cubicBezTo>
                  <a:pt x="1539" y="760"/>
                  <a:pt x="1540" y="757"/>
                  <a:pt x="1540" y="756"/>
                </a:cubicBezTo>
                <a:cubicBezTo>
                  <a:pt x="1540" y="756"/>
                  <a:pt x="1540" y="756"/>
                  <a:pt x="1540" y="756"/>
                </a:cubicBezTo>
                <a:cubicBezTo>
                  <a:pt x="1540" y="756"/>
                  <a:pt x="1540" y="756"/>
                  <a:pt x="1540" y="755"/>
                </a:cubicBezTo>
                <a:cubicBezTo>
                  <a:pt x="1540" y="755"/>
                  <a:pt x="1540" y="754"/>
                  <a:pt x="1540" y="754"/>
                </a:cubicBezTo>
                <a:cubicBezTo>
                  <a:pt x="1540" y="754"/>
                  <a:pt x="1541" y="752"/>
                  <a:pt x="1540" y="752"/>
                </a:cubicBezTo>
                <a:cubicBezTo>
                  <a:pt x="1540" y="751"/>
                  <a:pt x="1540" y="749"/>
                  <a:pt x="1541" y="748"/>
                </a:cubicBezTo>
                <a:cubicBezTo>
                  <a:pt x="1541" y="748"/>
                  <a:pt x="1541" y="747"/>
                  <a:pt x="1541" y="747"/>
                </a:cubicBezTo>
                <a:cubicBezTo>
                  <a:pt x="1540" y="747"/>
                  <a:pt x="1539" y="747"/>
                  <a:pt x="1540" y="746"/>
                </a:cubicBezTo>
                <a:cubicBezTo>
                  <a:pt x="1540" y="746"/>
                  <a:pt x="1541" y="745"/>
                  <a:pt x="1541" y="745"/>
                </a:cubicBezTo>
                <a:cubicBezTo>
                  <a:pt x="1542" y="744"/>
                  <a:pt x="1541" y="744"/>
                  <a:pt x="1541" y="743"/>
                </a:cubicBezTo>
                <a:cubicBezTo>
                  <a:pt x="1542" y="742"/>
                  <a:pt x="1542" y="742"/>
                  <a:pt x="1542" y="741"/>
                </a:cubicBezTo>
                <a:cubicBezTo>
                  <a:pt x="1542" y="740"/>
                  <a:pt x="1542" y="740"/>
                  <a:pt x="1542" y="739"/>
                </a:cubicBezTo>
                <a:cubicBezTo>
                  <a:pt x="1542" y="739"/>
                  <a:pt x="1541" y="739"/>
                  <a:pt x="1542" y="738"/>
                </a:cubicBezTo>
                <a:cubicBezTo>
                  <a:pt x="1541" y="738"/>
                  <a:pt x="1542" y="738"/>
                  <a:pt x="1542" y="738"/>
                </a:cubicBezTo>
                <a:close/>
                <a:moveTo>
                  <a:pt x="1580" y="637"/>
                </a:moveTo>
                <a:cubicBezTo>
                  <a:pt x="1580" y="638"/>
                  <a:pt x="1580" y="638"/>
                  <a:pt x="1580" y="638"/>
                </a:cubicBezTo>
                <a:cubicBezTo>
                  <a:pt x="1580" y="638"/>
                  <a:pt x="1580" y="639"/>
                  <a:pt x="1581" y="639"/>
                </a:cubicBezTo>
                <a:cubicBezTo>
                  <a:pt x="1582" y="640"/>
                  <a:pt x="1583" y="640"/>
                  <a:pt x="1584" y="641"/>
                </a:cubicBezTo>
                <a:cubicBezTo>
                  <a:pt x="1584" y="639"/>
                  <a:pt x="1582" y="638"/>
                  <a:pt x="1580" y="637"/>
                </a:cubicBezTo>
                <a:close/>
                <a:moveTo>
                  <a:pt x="1531" y="636"/>
                </a:moveTo>
                <a:cubicBezTo>
                  <a:pt x="1532" y="635"/>
                  <a:pt x="1531" y="635"/>
                  <a:pt x="1531" y="635"/>
                </a:cubicBezTo>
                <a:cubicBezTo>
                  <a:pt x="1530" y="635"/>
                  <a:pt x="1531" y="636"/>
                  <a:pt x="1531" y="636"/>
                </a:cubicBezTo>
                <a:cubicBezTo>
                  <a:pt x="1531" y="636"/>
                  <a:pt x="1531" y="636"/>
                  <a:pt x="1531" y="636"/>
                </a:cubicBezTo>
                <a:close/>
                <a:moveTo>
                  <a:pt x="1385" y="637"/>
                </a:moveTo>
                <a:cubicBezTo>
                  <a:pt x="1386" y="637"/>
                  <a:pt x="1386" y="637"/>
                  <a:pt x="1387" y="637"/>
                </a:cubicBezTo>
                <a:cubicBezTo>
                  <a:pt x="1389" y="637"/>
                  <a:pt x="1388" y="637"/>
                  <a:pt x="1389" y="635"/>
                </a:cubicBezTo>
                <a:cubicBezTo>
                  <a:pt x="1388" y="635"/>
                  <a:pt x="1388" y="634"/>
                  <a:pt x="1388" y="634"/>
                </a:cubicBezTo>
                <a:cubicBezTo>
                  <a:pt x="1387" y="634"/>
                  <a:pt x="1387" y="634"/>
                  <a:pt x="1386" y="634"/>
                </a:cubicBezTo>
                <a:cubicBezTo>
                  <a:pt x="1383" y="634"/>
                  <a:pt x="1386" y="634"/>
                  <a:pt x="1385" y="634"/>
                </a:cubicBezTo>
                <a:cubicBezTo>
                  <a:pt x="1385" y="633"/>
                  <a:pt x="1384" y="633"/>
                  <a:pt x="1383" y="633"/>
                </a:cubicBezTo>
                <a:cubicBezTo>
                  <a:pt x="1382" y="633"/>
                  <a:pt x="1382" y="633"/>
                  <a:pt x="1381" y="633"/>
                </a:cubicBezTo>
                <a:cubicBezTo>
                  <a:pt x="1380" y="633"/>
                  <a:pt x="1381" y="634"/>
                  <a:pt x="1380" y="634"/>
                </a:cubicBezTo>
                <a:cubicBezTo>
                  <a:pt x="1382" y="635"/>
                  <a:pt x="1384" y="635"/>
                  <a:pt x="1385" y="637"/>
                </a:cubicBezTo>
                <a:close/>
                <a:moveTo>
                  <a:pt x="1576" y="633"/>
                </a:moveTo>
                <a:cubicBezTo>
                  <a:pt x="1575" y="633"/>
                  <a:pt x="1575" y="633"/>
                  <a:pt x="1575" y="632"/>
                </a:cubicBezTo>
                <a:cubicBezTo>
                  <a:pt x="1575" y="632"/>
                  <a:pt x="1574" y="632"/>
                  <a:pt x="1574" y="632"/>
                </a:cubicBezTo>
                <a:cubicBezTo>
                  <a:pt x="1573" y="632"/>
                  <a:pt x="1572" y="632"/>
                  <a:pt x="1571" y="632"/>
                </a:cubicBezTo>
                <a:cubicBezTo>
                  <a:pt x="1571" y="632"/>
                  <a:pt x="1571" y="632"/>
                  <a:pt x="1571" y="632"/>
                </a:cubicBezTo>
                <a:cubicBezTo>
                  <a:pt x="1571" y="633"/>
                  <a:pt x="1572" y="634"/>
                  <a:pt x="1572" y="634"/>
                </a:cubicBezTo>
                <a:cubicBezTo>
                  <a:pt x="1573" y="635"/>
                  <a:pt x="1574" y="635"/>
                  <a:pt x="1575" y="635"/>
                </a:cubicBezTo>
                <a:cubicBezTo>
                  <a:pt x="1575" y="635"/>
                  <a:pt x="1577" y="635"/>
                  <a:pt x="1577" y="634"/>
                </a:cubicBezTo>
                <a:cubicBezTo>
                  <a:pt x="1577" y="633"/>
                  <a:pt x="1576" y="634"/>
                  <a:pt x="1576" y="633"/>
                </a:cubicBezTo>
                <a:close/>
                <a:moveTo>
                  <a:pt x="1528" y="633"/>
                </a:moveTo>
                <a:cubicBezTo>
                  <a:pt x="1529" y="633"/>
                  <a:pt x="1529" y="633"/>
                  <a:pt x="1530" y="633"/>
                </a:cubicBezTo>
                <a:cubicBezTo>
                  <a:pt x="1530" y="633"/>
                  <a:pt x="1530" y="632"/>
                  <a:pt x="1530" y="632"/>
                </a:cubicBezTo>
                <a:cubicBezTo>
                  <a:pt x="1529" y="632"/>
                  <a:pt x="1529" y="632"/>
                  <a:pt x="1528" y="633"/>
                </a:cubicBezTo>
                <a:cubicBezTo>
                  <a:pt x="1529" y="633"/>
                  <a:pt x="1528" y="633"/>
                  <a:pt x="1528" y="633"/>
                </a:cubicBezTo>
                <a:close/>
                <a:moveTo>
                  <a:pt x="1580" y="632"/>
                </a:moveTo>
                <a:cubicBezTo>
                  <a:pt x="1579" y="632"/>
                  <a:pt x="1579" y="632"/>
                  <a:pt x="1579" y="631"/>
                </a:cubicBezTo>
                <a:cubicBezTo>
                  <a:pt x="1579" y="630"/>
                  <a:pt x="1579" y="631"/>
                  <a:pt x="1579" y="630"/>
                </a:cubicBezTo>
                <a:cubicBezTo>
                  <a:pt x="1579" y="630"/>
                  <a:pt x="1579" y="630"/>
                  <a:pt x="1578" y="630"/>
                </a:cubicBezTo>
                <a:cubicBezTo>
                  <a:pt x="1578" y="630"/>
                  <a:pt x="1578" y="629"/>
                  <a:pt x="1578" y="629"/>
                </a:cubicBezTo>
                <a:cubicBezTo>
                  <a:pt x="1578" y="628"/>
                  <a:pt x="1577" y="627"/>
                  <a:pt x="1576" y="627"/>
                </a:cubicBezTo>
                <a:cubicBezTo>
                  <a:pt x="1576" y="628"/>
                  <a:pt x="1576" y="628"/>
                  <a:pt x="1577" y="629"/>
                </a:cubicBezTo>
                <a:cubicBezTo>
                  <a:pt x="1577" y="629"/>
                  <a:pt x="1577" y="629"/>
                  <a:pt x="1577" y="630"/>
                </a:cubicBezTo>
                <a:cubicBezTo>
                  <a:pt x="1577" y="630"/>
                  <a:pt x="1577" y="630"/>
                  <a:pt x="1577" y="631"/>
                </a:cubicBezTo>
                <a:cubicBezTo>
                  <a:pt x="1577" y="631"/>
                  <a:pt x="1578" y="630"/>
                  <a:pt x="1578" y="631"/>
                </a:cubicBezTo>
                <a:cubicBezTo>
                  <a:pt x="1578" y="631"/>
                  <a:pt x="1580" y="633"/>
                  <a:pt x="1580" y="632"/>
                </a:cubicBezTo>
                <a:close/>
                <a:moveTo>
                  <a:pt x="1397" y="640"/>
                </a:moveTo>
                <a:cubicBezTo>
                  <a:pt x="1398" y="640"/>
                  <a:pt x="1398" y="640"/>
                  <a:pt x="1399" y="640"/>
                </a:cubicBezTo>
                <a:cubicBezTo>
                  <a:pt x="1400" y="639"/>
                  <a:pt x="1400" y="639"/>
                  <a:pt x="1400" y="638"/>
                </a:cubicBezTo>
                <a:cubicBezTo>
                  <a:pt x="1400" y="638"/>
                  <a:pt x="1401" y="638"/>
                  <a:pt x="1401" y="638"/>
                </a:cubicBezTo>
                <a:cubicBezTo>
                  <a:pt x="1402" y="638"/>
                  <a:pt x="1402" y="637"/>
                  <a:pt x="1402" y="637"/>
                </a:cubicBezTo>
                <a:cubicBezTo>
                  <a:pt x="1403" y="636"/>
                  <a:pt x="1403" y="637"/>
                  <a:pt x="1404" y="637"/>
                </a:cubicBezTo>
                <a:cubicBezTo>
                  <a:pt x="1404" y="637"/>
                  <a:pt x="1404" y="636"/>
                  <a:pt x="1405" y="636"/>
                </a:cubicBezTo>
                <a:cubicBezTo>
                  <a:pt x="1405" y="636"/>
                  <a:pt x="1406" y="636"/>
                  <a:pt x="1406" y="636"/>
                </a:cubicBezTo>
                <a:cubicBezTo>
                  <a:pt x="1407" y="636"/>
                  <a:pt x="1407" y="636"/>
                  <a:pt x="1407" y="635"/>
                </a:cubicBezTo>
                <a:cubicBezTo>
                  <a:pt x="1407" y="635"/>
                  <a:pt x="1408" y="635"/>
                  <a:pt x="1408" y="635"/>
                </a:cubicBezTo>
                <a:cubicBezTo>
                  <a:pt x="1409" y="634"/>
                  <a:pt x="1408" y="633"/>
                  <a:pt x="1409" y="633"/>
                </a:cubicBezTo>
                <a:cubicBezTo>
                  <a:pt x="1411" y="633"/>
                  <a:pt x="1410" y="632"/>
                  <a:pt x="1410" y="632"/>
                </a:cubicBezTo>
                <a:cubicBezTo>
                  <a:pt x="1412" y="632"/>
                  <a:pt x="1413" y="631"/>
                  <a:pt x="1413" y="630"/>
                </a:cubicBezTo>
                <a:cubicBezTo>
                  <a:pt x="1413" y="630"/>
                  <a:pt x="1415" y="629"/>
                  <a:pt x="1414" y="629"/>
                </a:cubicBezTo>
                <a:cubicBezTo>
                  <a:pt x="1415" y="629"/>
                  <a:pt x="1415" y="629"/>
                  <a:pt x="1416" y="629"/>
                </a:cubicBezTo>
                <a:cubicBezTo>
                  <a:pt x="1416" y="629"/>
                  <a:pt x="1417" y="628"/>
                  <a:pt x="1417" y="628"/>
                </a:cubicBezTo>
                <a:cubicBezTo>
                  <a:pt x="1418" y="627"/>
                  <a:pt x="1418" y="628"/>
                  <a:pt x="1418" y="627"/>
                </a:cubicBezTo>
                <a:cubicBezTo>
                  <a:pt x="1418" y="627"/>
                  <a:pt x="1415" y="627"/>
                  <a:pt x="1415" y="627"/>
                </a:cubicBezTo>
                <a:cubicBezTo>
                  <a:pt x="1415" y="627"/>
                  <a:pt x="1415" y="627"/>
                  <a:pt x="1415" y="627"/>
                </a:cubicBezTo>
                <a:cubicBezTo>
                  <a:pt x="1414" y="627"/>
                  <a:pt x="1413" y="627"/>
                  <a:pt x="1413" y="627"/>
                </a:cubicBezTo>
                <a:cubicBezTo>
                  <a:pt x="1413" y="627"/>
                  <a:pt x="1412" y="628"/>
                  <a:pt x="1412" y="628"/>
                </a:cubicBezTo>
                <a:cubicBezTo>
                  <a:pt x="1411" y="628"/>
                  <a:pt x="1411" y="628"/>
                  <a:pt x="1410" y="628"/>
                </a:cubicBezTo>
                <a:cubicBezTo>
                  <a:pt x="1410" y="628"/>
                  <a:pt x="1410" y="628"/>
                  <a:pt x="1409" y="628"/>
                </a:cubicBezTo>
                <a:cubicBezTo>
                  <a:pt x="1408" y="628"/>
                  <a:pt x="1408" y="628"/>
                  <a:pt x="1407" y="629"/>
                </a:cubicBezTo>
                <a:cubicBezTo>
                  <a:pt x="1407" y="630"/>
                  <a:pt x="1407" y="631"/>
                  <a:pt x="1406" y="631"/>
                </a:cubicBezTo>
                <a:cubicBezTo>
                  <a:pt x="1405" y="631"/>
                  <a:pt x="1405" y="631"/>
                  <a:pt x="1404" y="632"/>
                </a:cubicBezTo>
                <a:cubicBezTo>
                  <a:pt x="1404" y="633"/>
                  <a:pt x="1403" y="633"/>
                  <a:pt x="1403" y="633"/>
                </a:cubicBezTo>
                <a:cubicBezTo>
                  <a:pt x="1403" y="633"/>
                  <a:pt x="1403" y="634"/>
                  <a:pt x="1402" y="634"/>
                </a:cubicBezTo>
                <a:cubicBezTo>
                  <a:pt x="1402" y="634"/>
                  <a:pt x="1401" y="635"/>
                  <a:pt x="1400" y="634"/>
                </a:cubicBezTo>
                <a:cubicBezTo>
                  <a:pt x="1401" y="635"/>
                  <a:pt x="1402" y="637"/>
                  <a:pt x="1400" y="637"/>
                </a:cubicBezTo>
                <a:cubicBezTo>
                  <a:pt x="1399" y="637"/>
                  <a:pt x="1399" y="637"/>
                  <a:pt x="1399" y="638"/>
                </a:cubicBezTo>
                <a:cubicBezTo>
                  <a:pt x="1398" y="638"/>
                  <a:pt x="1398" y="637"/>
                  <a:pt x="1397" y="637"/>
                </a:cubicBezTo>
                <a:cubicBezTo>
                  <a:pt x="1397" y="637"/>
                  <a:pt x="1396" y="638"/>
                  <a:pt x="1396" y="639"/>
                </a:cubicBezTo>
                <a:cubicBezTo>
                  <a:pt x="1396" y="639"/>
                  <a:pt x="1396" y="639"/>
                  <a:pt x="1396" y="639"/>
                </a:cubicBezTo>
                <a:cubicBezTo>
                  <a:pt x="1396" y="639"/>
                  <a:pt x="1397" y="640"/>
                  <a:pt x="1397" y="640"/>
                </a:cubicBezTo>
                <a:cubicBezTo>
                  <a:pt x="1398" y="640"/>
                  <a:pt x="1397" y="640"/>
                  <a:pt x="1397" y="640"/>
                </a:cubicBezTo>
                <a:close/>
                <a:moveTo>
                  <a:pt x="1404" y="627"/>
                </a:moveTo>
                <a:cubicBezTo>
                  <a:pt x="1404" y="627"/>
                  <a:pt x="1403" y="627"/>
                  <a:pt x="1403" y="628"/>
                </a:cubicBezTo>
                <a:cubicBezTo>
                  <a:pt x="1404" y="627"/>
                  <a:pt x="1404" y="627"/>
                  <a:pt x="1404" y="627"/>
                </a:cubicBezTo>
                <a:cubicBezTo>
                  <a:pt x="1404" y="627"/>
                  <a:pt x="1404" y="627"/>
                  <a:pt x="1404" y="627"/>
                </a:cubicBezTo>
                <a:cubicBezTo>
                  <a:pt x="1404" y="627"/>
                  <a:pt x="1404" y="627"/>
                  <a:pt x="1404" y="627"/>
                </a:cubicBezTo>
                <a:close/>
                <a:moveTo>
                  <a:pt x="1402" y="627"/>
                </a:moveTo>
                <a:cubicBezTo>
                  <a:pt x="1402" y="627"/>
                  <a:pt x="1402" y="627"/>
                  <a:pt x="1402" y="627"/>
                </a:cubicBezTo>
                <a:cubicBezTo>
                  <a:pt x="1402" y="626"/>
                  <a:pt x="1401" y="626"/>
                  <a:pt x="1401" y="627"/>
                </a:cubicBezTo>
                <a:cubicBezTo>
                  <a:pt x="1401" y="627"/>
                  <a:pt x="1401" y="627"/>
                  <a:pt x="1402" y="627"/>
                </a:cubicBezTo>
                <a:close/>
                <a:moveTo>
                  <a:pt x="1406" y="627"/>
                </a:moveTo>
                <a:cubicBezTo>
                  <a:pt x="1406" y="627"/>
                  <a:pt x="1408" y="627"/>
                  <a:pt x="1408" y="626"/>
                </a:cubicBezTo>
                <a:cubicBezTo>
                  <a:pt x="1407" y="626"/>
                  <a:pt x="1406" y="626"/>
                  <a:pt x="1406" y="626"/>
                </a:cubicBezTo>
                <a:cubicBezTo>
                  <a:pt x="1406" y="626"/>
                  <a:pt x="1405" y="627"/>
                  <a:pt x="1406" y="627"/>
                </a:cubicBezTo>
                <a:close/>
                <a:moveTo>
                  <a:pt x="1392" y="629"/>
                </a:moveTo>
                <a:cubicBezTo>
                  <a:pt x="1393" y="628"/>
                  <a:pt x="1393" y="629"/>
                  <a:pt x="1394" y="629"/>
                </a:cubicBezTo>
                <a:cubicBezTo>
                  <a:pt x="1395" y="629"/>
                  <a:pt x="1395" y="628"/>
                  <a:pt x="1396" y="628"/>
                </a:cubicBezTo>
                <a:cubicBezTo>
                  <a:pt x="1397" y="628"/>
                  <a:pt x="1397" y="627"/>
                  <a:pt x="1398" y="628"/>
                </a:cubicBezTo>
                <a:cubicBezTo>
                  <a:pt x="1398" y="628"/>
                  <a:pt x="1398" y="629"/>
                  <a:pt x="1398" y="629"/>
                </a:cubicBezTo>
                <a:cubicBezTo>
                  <a:pt x="1398" y="629"/>
                  <a:pt x="1398" y="628"/>
                  <a:pt x="1398" y="628"/>
                </a:cubicBezTo>
                <a:cubicBezTo>
                  <a:pt x="1398" y="627"/>
                  <a:pt x="1399" y="627"/>
                  <a:pt x="1399" y="627"/>
                </a:cubicBezTo>
                <a:cubicBezTo>
                  <a:pt x="1398" y="626"/>
                  <a:pt x="1398" y="626"/>
                  <a:pt x="1398" y="626"/>
                </a:cubicBezTo>
                <a:cubicBezTo>
                  <a:pt x="1397" y="626"/>
                  <a:pt x="1396" y="627"/>
                  <a:pt x="1395" y="627"/>
                </a:cubicBezTo>
                <a:cubicBezTo>
                  <a:pt x="1395" y="627"/>
                  <a:pt x="1394" y="627"/>
                  <a:pt x="1394" y="626"/>
                </a:cubicBezTo>
                <a:cubicBezTo>
                  <a:pt x="1393" y="626"/>
                  <a:pt x="1392" y="626"/>
                  <a:pt x="1391" y="626"/>
                </a:cubicBezTo>
                <a:cubicBezTo>
                  <a:pt x="1391" y="626"/>
                  <a:pt x="1390" y="626"/>
                  <a:pt x="1390" y="626"/>
                </a:cubicBezTo>
                <a:cubicBezTo>
                  <a:pt x="1389" y="626"/>
                  <a:pt x="1390" y="626"/>
                  <a:pt x="1389" y="626"/>
                </a:cubicBezTo>
                <a:cubicBezTo>
                  <a:pt x="1388" y="626"/>
                  <a:pt x="1386" y="626"/>
                  <a:pt x="1385" y="625"/>
                </a:cubicBezTo>
                <a:cubicBezTo>
                  <a:pt x="1386" y="626"/>
                  <a:pt x="1384" y="626"/>
                  <a:pt x="1383" y="626"/>
                </a:cubicBezTo>
                <a:cubicBezTo>
                  <a:pt x="1383" y="627"/>
                  <a:pt x="1383" y="627"/>
                  <a:pt x="1383" y="627"/>
                </a:cubicBezTo>
                <a:cubicBezTo>
                  <a:pt x="1384" y="628"/>
                  <a:pt x="1384" y="628"/>
                  <a:pt x="1385" y="628"/>
                </a:cubicBezTo>
                <a:cubicBezTo>
                  <a:pt x="1386" y="628"/>
                  <a:pt x="1388" y="628"/>
                  <a:pt x="1388" y="629"/>
                </a:cubicBezTo>
                <a:cubicBezTo>
                  <a:pt x="1389" y="629"/>
                  <a:pt x="1390" y="629"/>
                  <a:pt x="1391" y="629"/>
                </a:cubicBezTo>
                <a:cubicBezTo>
                  <a:pt x="1392" y="629"/>
                  <a:pt x="1391" y="630"/>
                  <a:pt x="1392" y="629"/>
                </a:cubicBezTo>
                <a:cubicBezTo>
                  <a:pt x="1392" y="629"/>
                  <a:pt x="1392" y="629"/>
                  <a:pt x="1392" y="629"/>
                </a:cubicBezTo>
                <a:close/>
                <a:moveTo>
                  <a:pt x="1423" y="626"/>
                </a:moveTo>
                <a:cubicBezTo>
                  <a:pt x="1423" y="625"/>
                  <a:pt x="1423" y="625"/>
                  <a:pt x="1422" y="625"/>
                </a:cubicBezTo>
                <a:cubicBezTo>
                  <a:pt x="1422" y="626"/>
                  <a:pt x="1423" y="626"/>
                  <a:pt x="1423" y="626"/>
                </a:cubicBezTo>
                <a:close/>
                <a:moveTo>
                  <a:pt x="1373" y="630"/>
                </a:moveTo>
                <a:cubicBezTo>
                  <a:pt x="1373" y="629"/>
                  <a:pt x="1375" y="629"/>
                  <a:pt x="1375" y="629"/>
                </a:cubicBezTo>
                <a:cubicBezTo>
                  <a:pt x="1376" y="629"/>
                  <a:pt x="1377" y="629"/>
                  <a:pt x="1377" y="629"/>
                </a:cubicBezTo>
                <a:cubicBezTo>
                  <a:pt x="1377" y="628"/>
                  <a:pt x="1379" y="629"/>
                  <a:pt x="1380" y="629"/>
                </a:cubicBezTo>
                <a:cubicBezTo>
                  <a:pt x="1380" y="629"/>
                  <a:pt x="1380" y="629"/>
                  <a:pt x="1380" y="629"/>
                </a:cubicBezTo>
                <a:cubicBezTo>
                  <a:pt x="1380" y="628"/>
                  <a:pt x="1380" y="628"/>
                  <a:pt x="1380" y="627"/>
                </a:cubicBezTo>
                <a:cubicBezTo>
                  <a:pt x="1379" y="626"/>
                  <a:pt x="1378" y="626"/>
                  <a:pt x="1378" y="626"/>
                </a:cubicBezTo>
                <a:cubicBezTo>
                  <a:pt x="1376" y="626"/>
                  <a:pt x="1376" y="626"/>
                  <a:pt x="1376" y="625"/>
                </a:cubicBezTo>
                <a:cubicBezTo>
                  <a:pt x="1375" y="625"/>
                  <a:pt x="1375" y="625"/>
                  <a:pt x="1374" y="624"/>
                </a:cubicBezTo>
                <a:cubicBezTo>
                  <a:pt x="1374" y="625"/>
                  <a:pt x="1374" y="626"/>
                  <a:pt x="1374" y="626"/>
                </a:cubicBezTo>
                <a:cubicBezTo>
                  <a:pt x="1374" y="626"/>
                  <a:pt x="1375" y="626"/>
                  <a:pt x="1375" y="626"/>
                </a:cubicBezTo>
                <a:cubicBezTo>
                  <a:pt x="1375" y="627"/>
                  <a:pt x="1375" y="627"/>
                  <a:pt x="1375" y="628"/>
                </a:cubicBezTo>
                <a:cubicBezTo>
                  <a:pt x="1374" y="627"/>
                  <a:pt x="1373" y="627"/>
                  <a:pt x="1372" y="627"/>
                </a:cubicBezTo>
                <a:cubicBezTo>
                  <a:pt x="1372" y="627"/>
                  <a:pt x="1371" y="626"/>
                  <a:pt x="1371" y="626"/>
                </a:cubicBezTo>
                <a:cubicBezTo>
                  <a:pt x="1371" y="626"/>
                  <a:pt x="1370" y="627"/>
                  <a:pt x="1370" y="627"/>
                </a:cubicBezTo>
                <a:cubicBezTo>
                  <a:pt x="1370" y="628"/>
                  <a:pt x="1369" y="629"/>
                  <a:pt x="1369" y="630"/>
                </a:cubicBezTo>
                <a:cubicBezTo>
                  <a:pt x="1370" y="629"/>
                  <a:pt x="1371" y="629"/>
                  <a:pt x="1372" y="629"/>
                </a:cubicBezTo>
                <a:cubicBezTo>
                  <a:pt x="1371" y="630"/>
                  <a:pt x="1373" y="630"/>
                  <a:pt x="1373" y="630"/>
                </a:cubicBezTo>
                <a:close/>
                <a:moveTo>
                  <a:pt x="1369" y="627"/>
                </a:moveTo>
                <a:cubicBezTo>
                  <a:pt x="1369" y="626"/>
                  <a:pt x="1369" y="625"/>
                  <a:pt x="1369" y="624"/>
                </a:cubicBezTo>
                <a:cubicBezTo>
                  <a:pt x="1369" y="624"/>
                  <a:pt x="1369" y="624"/>
                  <a:pt x="1368" y="624"/>
                </a:cubicBezTo>
                <a:cubicBezTo>
                  <a:pt x="1367" y="624"/>
                  <a:pt x="1367" y="626"/>
                  <a:pt x="1366" y="627"/>
                </a:cubicBezTo>
                <a:cubicBezTo>
                  <a:pt x="1367" y="627"/>
                  <a:pt x="1367" y="627"/>
                  <a:pt x="1367" y="628"/>
                </a:cubicBezTo>
                <a:cubicBezTo>
                  <a:pt x="1368" y="627"/>
                  <a:pt x="1368" y="627"/>
                  <a:pt x="1369" y="627"/>
                </a:cubicBezTo>
                <a:cubicBezTo>
                  <a:pt x="1369" y="626"/>
                  <a:pt x="1369" y="627"/>
                  <a:pt x="1369" y="627"/>
                </a:cubicBezTo>
                <a:close/>
                <a:moveTo>
                  <a:pt x="1562" y="624"/>
                </a:moveTo>
                <a:cubicBezTo>
                  <a:pt x="1561" y="624"/>
                  <a:pt x="1560" y="625"/>
                  <a:pt x="1560" y="626"/>
                </a:cubicBezTo>
                <a:cubicBezTo>
                  <a:pt x="1560" y="626"/>
                  <a:pt x="1561" y="626"/>
                  <a:pt x="1561" y="626"/>
                </a:cubicBezTo>
                <a:cubicBezTo>
                  <a:pt x="1561" y="627"/>
                  <a:pt x="1562" y="627"/>
                  <a:pt x="1563" y="627"/>
                </a:cubicBezTo>
                <a:cubicBezTo>
                  <a:pt x="1563" y="626"/>
                  <a:pt x="1563" y="626"/>
                  <a:pt x="1562" y="625"/>
                </a:cubicBezTo>
                <a:cubicBezTo>
                  <a:pt x="1562" y="624"/>
                  <a:pt x="1562" y="624"/>
                  <a:pt x="1562" y="624"/>
                </a:cubicBezTo>
                <a:cubicBezTo>
                  <a:pt x="1561" y="624"/>
                  <a:pt x="1562" y="624"/>
                  <a:pt x="1562" y="624"/>
                </a:cubicBezTo>
                <a:close/>
                <a:moveTo>
                  <a:pt x="1412" y="623"/>
                </a:moveTo>
                <a:cubicBezTo>
                  <a:pt x="1412" y="624"/>
                  <a:pt x="1411" y="624"/>
                  <a:pt x="1413" y="624"/>
                </a:cubicBezTo>
                <a:cubicBezTo>
                  <a:pt x="1414" y="624"/>
                  <a:pt x="1415" y="624"/>
                  <a:pt x="1417" y="624"/>
                </a:cubicBezTo>
                <a:cubicBezTo>
                  <a:pt x="1416" y="624"/>
                  <a:pt x="1416" y="623"/>
                  <a:pt x="1416" y="623"/>
                </a:cubicBezTo>
                <a:cubicBezTo>
                  <a:pt x="1415" y="623"/>
                  <a:pt x="1415" y="623"/>
                  <a:pt x="1414" y="623"/>
                </a:cubicBezTo>
                <a:cubicBezTo>
                  <a:pt x="1414" y="623"/>
                  <a:pt x="1414" y="623"/>
                  <a:pt x="1414" y="623"/>
                </a:cubicBezTo>
                <a:cubicBezTo>
                  <a:pt x="1413" y="623"/>
                  <a:pt x="1414" y="623"/>
                  <a:pt x="1414" y="623"/>
                </a:cubicBezTo>
                <a:cubicBezTo>
                  <a:pt x="1413" y="623"/>
                  <a:pt x="1413" y="623"/>
                  <a:pt x="1412" y="623"/>
                </a:cubicBezTo>
                <a:close/>
                <a:moveTo>
                  <a:pt x="1362" y="626"/>
                </a:moveTo>
                <a:cubicBezTo>
                  <a:pt x="1363" y="626"/>
                  <a:pt x="1363" y="625"/>
                  <a:pt x="1364" y="624"/>
                </a:cubicBezTo>
                <a:cubicBezTo>
                  <a:pt x="1364" y="624"/>
                  <a:pt x="1364" y="622"/>
                  <a:pt x="1363" y="622"/>
                </a:cubicBezTo>
                <a:cubicBezTo>
                  <a:pt x="1363" y="623"/>
                  <a:pt x="1362" y="623"/>
                  <a:pt x="1362" y="623"/>
                </a:cubicBezTo>
                <a:cubicBezTo>
                  <a:pt x="1362" y="623"/>
                  <a:pt x="1361" y="622"/>
                  <a:pt x="1361" y="622"/>
                </a:cubicBezTo>
                <a:cubicBezTo>
                  <a:pt x="1361" y="622"/>
                  <a:pt x="1361" y="622"/>
                  <a:pt x="1360" y="622"/>
                </a:cubicBezTo>
                <a:cubicBezTo>
                  <a:pt x="1360" y="622"/>
                  <a:pt x="1360" y="623"/>
                  <a:pt x="1361" y="624"/>
                </a:cubicBezTo>
                <a:cubicBezTo>
                  <a:pt x="1361" y="624"/>
                  <a:pt x="1362" y="624"/>
                  <a:pt x="1362" y="625"/>
                </a:cubicBezTo>
                <a:cubicBezTo>
                  <a:pt x="1361" y="626"/>
                  <a:pt x="1362" y="626"/>
                  <a:pt x="1362" y="626"/>
                </a:cubicBezTo>
                <a:close/>
                <a:moveTo>
                  <a:pt x="1571" y="626"/>
                </a:moveTo>
                <a:cubicBezTo>
                  <a:pt x="1571" y="626"/>
                  <a:pt x="1572" y="626"/>
                  <a:pt x="1572" y="626"/>
                </a:cubicBezTo>
                <a:cubicBezTo>
                  <a:pt x="1572" y="626"/>
                  <a:pt x="1570" y="624"/>
                  <a:pt x="1570" y="624"/>
                </a:cubicBezTo>
                <a:cubicBezTo>
                  <a:pt x="1569" y="623"/>
                  <a:pt x="1569" y="622"/>
                  <a:pt x="1569" y="622"/>
                </a:cubicBezTo>
                <a:cubicBezTo>
                  <a:pt x="1568" y="622"/>
                  <a:pt x="1568" y="623"/>
                  <a:pt x="1567" y="622"/>
                </a:cubicBezTo>
                <a:cubicBezTo>
                  <a:pt x="1566" y="621"/>
                  <a:pt x="1566" y="621"/>
                  <a:pt x="1566" y="623"/>
                </a:cubicBezTo>
                <a:cubicBezTo>
                  <a:pt x="1567" y="622"/>
                  <a:pt x="1567" y="624"/>
                  <a:pt x="1568" y="624"/>
                </a:cubicBezTo>
                <a:cubicBezTo>
                  <a:pt x="1568" y="624"/>
                  <a:pt x="1568" y="624"/>
                  <a:pt x="1569" y="624"/>
                </a:cubicBezTo>
                <a:cubicBezTo>
                  <a:pt x="1569" y="624"/>
                  <a:pt x="1569" y="625"/>
                  <a:pt x="1569" y="625"/>
                </a:cubicBezTo>
                <a:cubicBezTo>
                  <a:pt x="1570" y="626"/>
                  <a:pt x="1571" y="626"/>
                  <a:pt x="1571" y="626"/>
                </a:cubicBezTo>
                <a:cubicBezTo>
                  <a:pt x="1571" y="626"/>
                  <a:pt x="1571" y="626"/>
                  <a:pt x="1571" y="626"/>
                </a:cubicBezTo>
                <a:cubicBezTo>
                  <a:pt x="1571" y="626"/>
                  <a:pt x="1571" y="626"/>
                  <a:pt x="1571" y="626"/>
                </a:cubicBezTo>
                <a:close/>
                <a:moveTo>
                  <a:pt x="1436" y="624"/>
                </a:moveTo>
                <a:cubicBezTo>
                  <a:pt x="1437" y="624"/>
                  <a:pt x="1437" y="623"/>
                  <a:pt x="1437" y="622"/>
                </a:cubicBezTo>
                <a:cubicBezTo>
                  <a:pt x="1437" y="622"/>
                  <a:pt x="1438" y="622"/>
                  <a:pt x="1438" y="622"/>
                </a:cubicBezTo>
                <a:cubicBezTo>
                  <a:pt x="1438" y="621"/>
                  <a:pt x="1438" y="621"/>
                  <a:pt x="1438" y="620"/>
                </a:cubicBezTo>
                <a:cubicBezTo>
                  <a:pt x="1437" y="620"/>
                  <a:pt x="1437" y="621"/>
                  <a:pt x="1437" y="622"/>
                </a:cubicBezTo>
                <a:cubicBezTo>
                  <a:pt x="1436" y="622"/>
                  <a:pt x="1436" y="622"/>
                  <a:pt x="1436" y="622"/>
                </a:cubicBezTo>
                <a:cubicBezTo>
                  <a:pt x="1436" y="622"/>
                  <a:pt x="1436" y="622"/>
                  <a:pt x="1436" y="622"/>
                </a:cubicBezTo>
                <a:cubicBezTo>
                  <a:pt x="1436" y="623"/>
                  <a:pt x="1435" y="624"/>
                  <a:pt x="1436" y="624"/>
                </a:cubicBezTo>
                <a:cubicBezTo>
                  <a:pt x="1436" y="624"/>
                  <a:pt x="1436" y="624"/>
                  <a:pt x="1436" y="624"/>
                </a:cubicBezTo>
                <a:cubicBezTo>
                  <a:pt x="1437" y="624"/>
                  <a:pt x="1436" y="624"/>
                  <a:pt x="1436" y="624"/>
                </a:cubicBezTo>
                <a:close/>
                <a:moveTo>
                  <a:pt x="1472" y="618"/>
                </a:moveTo>
                <a:cubicBezTo>
                  <a:pt x="1471" y="618"/>
                  <a:pt x="1471" y="618"/>
                  <a:pt x="1471" y="619"/>
                </a:cubicBezTo>
                <a:cubicBezTo>
                  <a:pt x="1471" y="620"/>
                  <a:pt x="1472" y="620"/>
                  <a:pt x="1472" y="620"/>
                </a:cubicBezTo>
                <a:cubicBezTo>
                  <a:pt x="1472" y="619"/>
                  <a:pt x="1472" y="618"/>
                  <a:pt x="1472" y="618"/>
                </a:cubicBezTo>
                <a:cubicBezTo>
                  <a:pt x="1471" y="618"/>
                  <a:pt x="1472" y="618"/>
                  <a:pt x="1472" y="618"/>
                </a:cubicBezTo>
                <a:close/>
                <a:moveTo>
                  <a:pt x="1559" y="619"/>
                </a:moveTo>
                <a:cubicBezTo>
                  <a:pt x="1558" y="618"/>
                  <a:pt x="1558" y="617"/>
                  <a:pt x="1557" y="617"/>
                </a:cubicBezTo>
                <a:cubicBezTo>
                  <a:pt x="1557" y="618"/>
                  <a:pt x="1557" y="620"/>
                  <a:pt x="1559" y="620"/>
                </a:cubicBezTo>
                <a:cubicBezTo>
                  <a:pt x="1559" y="621"/>
                  <a:pt x="1560" y="621"/>
                  <a:pt x="1561" y="621"/>
                </a:cubicBezTo>
                <a:cubicBezTo>
                  <a:pt x="1561" y="620"/>
                  <a:pt x="1559" y="620"/>
                  <a:pt x="1559" y="619"/>
                </a:cubicBezTo>
                <a:cubicBezTo>
                  <a:pt x="1558" y="618"/>
                  <a:pt x="1559" y="619"/>
                  <a:pt x="1559" y="619"/>
                </a:cubicBezTo>
                <a:close/>
                <a:moveTo>
                  <a:pt x="1353" y="613"/>
                </a:moveTo>
                <a:cubicBezTo>
                  <a:pt x="1352" y="613"/>
                  <a:pt x="1352" y="614"/>
                  <a:pt x="1353" y="614"/>
                </a:cubicBezTo>
                <a:cubicBezTo>
                  <a:pt x="1353" y="615"/>
                  <a:pt x="1354" y="615"/>
                  <a:pt x="1355" y="615"/>
                </a:cubicBezTo>
                <a:cubicBezTo>
                  <a:pt x="1355" y="615"/>
                  <a:pt x="1357" y="614"/>
                  <a:pt x="1357" y="614"/>
                </a:cubicBezTo>
                <a:cubicBezTo>
                  <a:pt x="1357" y="613"/>
                  <a:pt x="1355" y="613"/>
                  <a:pt x="1355" y="613"/>
                </a:cubicBezTo>
                <a:cubicBezTo>
                  <a:pt x="1354" y="613"/>
                  <a:pt x="1354" y="613"/>
                  <a:pt x="1354" y="613"/>
                </a:cubicBezTo>
                <a:cubicBezTo>
                  <a:pt x="1354" y="613"/>
                  <a:pt x="1353" y="613"/>
                  <a:pt x="1353" y="613"/>
                </a:cubicBezTo>
                <a:close/>
                <a:moveTo>
                  <a:pt x="1004" y="614"/>
                </a:moveTo>
                <a:cubicBezTo>
                  <a:pt x="1005" y="614"/>
                  <a:pt x="1004" y="613"/>
                  <a:pt x="1005" y="613"/>
                </a:cubicBezTo>
                <a:cubicBezTo>
                  <a:pt x="1005" y="613"/>
                  <a:pt x="1004" y="611"/>
                  <a:pt x="1003" y="611"/>
                </a:cubicBezTo>
                <a:cubicBezTo>
                  <a:pt x="1004" y="612"/>
                  <a:pt x="1003" y="612"/>
                  <a:pt x="1003" y="612"/>
                </a:cubicBezTo>
                <a:cubicBezTo>
                  <a:pt x="1003" y="613"/>
                  <a:pt x="1003" y="613"/>
                  <a:pt x="1004" y="614"/>
                </a:cubicBezTo>
                <a:close/>
                <a:moveTo>
                  <a:pt x="1454" y="613"/>
                </a:moveTo>
                <a:cubicBezTo>
                  <a:pt x="1454" y="613"/>
                  <a:pt x="1455" y="612"/>
                  <a:pt x="1455" y="612"/>
                </a:cubicBezTo>
                <a:cubicBezTo>
                  <a:pt x="1454" y="612"/>
                  <a:pt x="1454" y="611"/>
                  <a:pt x="1454" y="611"/>
                </a:cubicBezTo>
                <a:cubicBezTo>
                  <a:pt x="1453" y="610"/>
                  <a:pt x="1453" y="610"/>
                  <a:pt x="1452" y="610"/>
                </a:cubicBezTo>
                <a:cubicBezTo>
                  <a:pt x="1451" y="611"/>
                  <a:pt x="1452" y="611"/>
                  <a:pt x="1452" y="611"/>
                </a:cubicBezTo>
                <a:cubicBezTo>
                  <a:pt x="1453" y="612"/>
                  <a:pt x="1452" y="612"/>
                  <a:pt x="1452" y="612"/>
                </a:cubicBezTo>
                <a:cubicBezTo>
                  <a:pt x="1452" y="612"/>
                  <a:pt x="1452" y="612"/>
                  <a:pt x="1452" y="613"/>
                </a:cubicBezTo>
                <a:cubicBezTo>
                  <a:pt x="1452" y="613"/>
                  <a:pt x="1452" y="614"/>
                  <a:pt x="1452" y="615"/>
                </a:cubicBezTo>
                <a:cubicBezTo>
                  <a:pt x="1451" y="616"/>
                  <a:pt x="1450" y="615"/>
                  <a:pt x="1451" y="617"/>
                </a:cubicBezTo>
                <a:cubicBezTo>
                  <a:pt x="1451" y="617"/>
                  <a:pt x="1452" y="618"/>
                  <a:pt x="1452" y="618"/>
                </a:cubicBezTo>
                <a:cubicBezTo>
                  <a:pt x="1453" y="619"/>
                  <a:pt x="1452" y="618"/>
                  <a:pt x="1452" y="617"/>
                </a:cubicBezTo>
                <a:cubicBezTo>
                  <a:pt x="1452" y="616"/>
                  <a:pt x="1452" y="616"/>
                  <a:pt x="1452" y="616"/>
                </a:cubicBezTo>
                <a:cubicBezTo>
                  <a:pt x="1452" y="616"/>
                  <a:pt x="1453" y="616"/>
                  <a:pt x="1453" y="616"/>
                </a:cubicBezTo>
                <a:cubicBezTo>
                  <a:pt x="1453" y="616"/>
                  <a:pt x="1453" y="616"/>
                  <a:pt x="1453" y="615"/>
                </a:cubicBezTo>
                <a:cubicBezTo>
                  <a:pt x="1454" y="615"/>
                  <a:pt x="1455" y="615"/>
                  <a:pt x="1455" y="614"/>
                </a:cubicBezTo>
                <a:cubicBezTo>
                  <a:pt x="1455" y="613"/>
                  <a:pt x="1454" y="614"/>
                  <a:pt x="1454" y="614"/>
                </a:cubicBezTo>
                <a:cubicBezTo>
                  <a:pt x="1453" y="613"/>
                  <a:pt x="1454" y="613"/>
                  <a:pt x="1454" y="613"/>
                </a:cubicBezTo>
                <a:cubicBezTo>
                  <a:pt x="1454" y="612"/>
                  <a:pt x="1454" y="613"/>
                  <a:pt x="1454" y="613"/>
                </a:cubicBezTo>
                <a:close/>
                <a:moveTo>
                  <a:pt x="1516" y="610"/>
                </a:moveTo>
                <a:cubicBezTo>
                  <a:pt x="1516" y="610"/>
                  <a:pt x="1516" y="610"/>
                  <a:pt x="1516" y="609"/>
                </a:cubicBezTo>
                <a:cubicBezTo>
                  <a:pt x="1516" y="609"/>
                  <a:pt x="1516" y="609"/>
                  <a:pt x="1515" y="609"/>
                </a:cubicBezTo>
                <a:cubicBezTo>
                  <a:pt x="1515" y="609"/>
                  <a:pt x="1515" y="610"/>
                  <a:pt x="1515" y="610"/>
                </a:cubicBezTo>
                <a:cubicBezTo>
                  <a:pt x="1515" y="610"/>
                  <a:pt x="1516" y="610"/>
                  <a:pt x="1516" y="610"/>
                </a:cubicBezTo>
                <a:cubicBezTo>
                  <a:pt x="1516" y="610"/>
                  <a:pt x="1516" y="610"/>
                  <a:pt x="1516" y="610"/>
                </a:cubicBezTo>
                <a:close/>
                <a:moveTo>
                  <a:pt x="1393" y="608"/>
                </a:moveTo>
                <a:cubicBezTo>
                  <a:pt x="1393" y="609"/>
                  <a:pt x="1393" y="609"/>
                  <a:pt x="1394" y="609"/>
                </a:cubicBezTo>
                <a:cubicBezTo>
                  <a:pt x="1394" y="609"/>
                  <a:pt x="1394" y="609"/>
                  <a:pt x="1393" y="608"/>
                </a:cubicBezTo>
                <a:close/>
                <a:moveTo>
                  <a:pt x="1354" y="622"/>
                </a:moveTo>
                <a:cubicBezTo>
                  <a:pt x="1354" y="623"/>
                  <a:pt x="1355" y="623"/>
                  <a:pt x="1355" y="624"/>
                </a:cubicBezTo>
                <a:cubicBezTo>
                  <a:pt x="1355" y="624"/>
                  <a:pt x="1356" y="624"/>
                  <a:pt x="1356" y="624"/>
                </a:cubicBezTo>
                <a:cubicBezTo>
                  <a:pt x="1357" y="624"/>
                  <a:pt x="1357" y="624"/>
                  <a:pt x="1357" y="624"/>
                </a:cubicBezTo>
                <a:cubicBezTo>
                  <a:pt x="1358" y="624"/>
                  <a:pt x="1359" y="624"/>
                  <a:pt x="1359" y="625"/>
                </a:cubicBezTo>
                <a:cubicBezTo>
                  <a:pt x="1359" y="625"/>
                  <a:pt x="1360" y="625"/>
                  <a:pt x="1360" y="625"/>
                </a:cubicBezTo>
                <a:cubicBezTo>
                  <a:pt x="1360" y="625"/>
                  <a:pt x="1360" y="625"/>
                  <a:pt x="1360" y="624"/>
                </a:cubicBezTo>
                <a:cubicBezTo>
                  <a:pt x="1360" y="624"/>
                  <a:pt x="1359" y="624"/>
                  <a:pt x="1359" y="624"/>
                </a:cubicBezTo>
                <a:cubicBezTo>
                  <a:pt x="1359" y="623"/>
                  <a:pt x="1359" y="623"/>
                  <a:pt x="1359" y="623"/>
                </a:cubicBezTo>
                <a:cubicBezTo>
                  <a:pt x="1359" y="622"/>
                  <a:pt x="1359" y="623"/>
                  <a:pt x="1359" y="623"/>
                </a:cubicBezTo>
                <a:cubicBezTo>
                  <a:pt x="1358" y="622"/>
                  <a:pt x="1358" y="621"/>
                  <a:pt x="1359" y="620"/>
                </a:cubicBezTo>
                <a:cubicBezTo>
                  <a:pt x="1359" y="619"/>
                  <a:pt x="1359" y="619"/>
                  <a:pt x="1357" y="618"/>
                </a:cubicBezTo>
                <a:cubicBezTo>
                  <a:pt x="1357" y="618"/>
                  <a:pt x="1357" y="618"/>
                  <a:pt x="1357" y="618"/>
                </a:cubicBezTo>
                <a:cubicBezTo>
                  <a:pt x="1356" y="618"/>
                  <a:pt x="1356" y="618"/>
                  <a:pt x="1356" y="618"/>
                </a:cubicBezTo>
                <a:cubicBezTo>
                  <a:pt x="1355" y="618"/>
                  <a:pt x="1356" y="618"/>
                  <a:pt x="1355" y="618"/>
                </a:cubicBezTo>
                <a:cubicBezTo>
                  <a:pt x="1355" y="618"/>
                  <a:pt x="1353" y="617"/>
                  <a:pt x="1354" y="618"/>
                </a:cubicBezTo>
                <a:cubicBezTo>
                  <a:pt x="1352" y="618"/>
                  <a:pt x="1351" y="618"/>
                  <a:pt x="1351" y="617"/>
                </a:cubicBezTo>
                <a:cubicBezTo>
                  <a:pt x="1351" y="616"/>
                  <a:pt x="1351" y="616"/>
                  <a:pt x="1351" y="615"/>
                </a:cubicBezTo>
                <a:cubicBezTo>
                  <a:pt x="1352" y="614"/>
                  <a:pt x="1351" y="615"/>
                  <a:pt x="1351" y="614"/>
                </a:cubicBezTo>
                <a:cubicBezTo>
                  <a:pt x="1351" y="613"/>
                  <a:pt x="1351" y="613"/>
                  <a:pt x="1351" y="612"/>
                </a:cubicBezTo>
                <a:cubicBezTo>
                  <a:pt x="1350" y="612"/>
                  <a:pt x="1350" y="612"/>
                  <a:pt x="1349" y="613"/>
                </a:cubicBezTo>
                <a:cubicBezTo>
                  <a:pt x="1348" y="613"/>
                  <a:pt x="1348" y="613"/>
                  <a:pt x="1348" y="612"/>
                </a:cubicBezTo>
                <a:cubicBezTo>
                  <a:pt x="1347" y="612"/>
                  <a:pt x="1347" y="612"/>
                  <a:pt x="1346" y="612"/>
                </a:cubicBezTo>
                <a:cubicBezTo>
                  <a:pt x="1345" y="612"/>
                  <a:pt x="1346" y="611"/>
                  <a:pt x="1345" y="611"/>
                </a:cubicBezTo>
                <a:cubicBezTo>
                  <a:pt x="1344" y="611"/>
                  <a:pt x="1343" y="612"/>
                  <a:pt x="1343" y="611"/>
                </a:cubicBezTo>
                <a:cubicBezTo>
                  <a:pt x="1342" y="611"/>
                  <a:pt x="1343" y="610"/>
                  <a:pt x="1342" y="611"/>
                </a:cubicBezTo>
                <a:cubicBezTo>
                  <a:pt x="1341" y="611"/>
                  <a:pt x="1341" y="611"/>
                  <a:pt x="1341" y="611"/>
                </a:cubicBezTo>
                <a:cubicBezTo>
                  <a:pt x="1340" y="612"/>
                  <a:pt x="1341" y="612"/>
                  <a:pt x="1340" y="612"/>
                </a:cubicBezTo>
                <a:cubicBezTo>
                  <a:pt x="1339" y="612"/>
                  <a:pt x="1338" y="612"/>
                  <a:pt x="1337" y="612"/>
                </a:cubicBezTo>
                <a:cubicBezTo>
                  <a:pt x="1336" y="612"/>
                  <a:pt x="1334" y="612"/>
                  <a:pt x="1334" y="612"/>
                </a:cubicBezTo>
                <a:cubicBezTo>
                  <a:pt x="1334" y="611"/>
                  <a:pt x="1332" y="611"/>
                  <a:pt x="1331" y="611"/>
                </a:cubicBezTo>
                <a:cubicBezTo>
                  <a:pt x="1331" y="611"/>
                  <a:pt x="1331" y="609"/>
                  <a:pt x="1330" y="609"/>
                </a:cubicBezTo>
                <a:cubicBezTo>
                  <a:pt x="1330" y="609"/>
                  <a:pt x="1329" y="609"/>
                  <a:pt x="1328" y="609"/>
                </a:cubicBezTo>
                <a:cubicBezTo>
                  <a:pt x="1327" y="609"/>
                  <a:pt x="1327" y="609"/>
                  <a:pt x="1327" y="609"/>
                </a:cubicBezTo>
                <a:cubicBezTo>
                  <a:pt x="1326" y="608"/>
                  <a:pt x="1325" y="608"/>
                  <a:pt x="1324" y="608"/>
                </a:cubicBezTo>
                <a:cubicBezTo>
                  <a:pt x="1323" y="608"/>
                  <a:pt x="1323" y="609"/>
                  <a:pt x="1322" y="609"/>
                </a:cubicBezTo>
                <a:cubicBezTo>
                  <a:pt x="1321" y="609"/>
                  <a:pt x="1320" y="609"/>
                  <a:pt x="1319" y="609"/>
                </a:cubicBezTo>
                <a:cubicBezTo>
                  <a:pt x="1318" y="609"/>
                  <a:pt x="1317" y="608"/>
                  <a:pt x="1317" y="609"/>
                </a:cubicBezTo>
                <a:cubicBezTo>
                  <a:pt x="1317" y="610"/>
                  <a:pt x="1317" y="611"/>
                  <a:pt x="1317" y="611"/>
                </a:cubicBezTo>
                <a:cubicBezTo>
                  <a:pt x="1317" y="612"/>
                  <a:pt x="1316" y="612"/>
                  <a:pt x="1316" y="613"/>
                </a:cubicBezTo>
                <a:cubicBezTo>
                  <a:pt x="1315" y="613"/>
                  <a:pt x="1315" y="613"/>
                  <a:pt x="1315" y="614"/>
                </a:cubicBezTo>
                <a:cubicBezTo>
                  <a:pt x="1316" y="615"/>
                  <a:pt x="1317" y="615"/>
                  <a:pt x="1317" y="614"/>
                </a:cubicBezTo>
                <a:cubicBezTo>
                  <a:pt x="1317" y="614"/>
                  <a:pt x="1321" y="614"/>
                  <a:pt x="1320" y="615"/>
                </a:cubicBezTo>
                <a:cubicBezTo>
                  <a:pt x="1320" y="615"/>
                  <a:pt x="1319" y="615"/>
                  <a:pt x="1319" y="616"/>
                </a:cubicBezTo>
                <a:cubicBezTo>
                  <a:pt x="1319" y="616"/>
                  <a:pt x="1319" y="616"/>
                  <a:pt x="1320" y="617"/>
                </a:cubicBezTo>
                <a:cubicBezTo>
                  <a:pt x="1320" y="617"/>
                  <a:pt x="1322" y="616"/>
                  <a:pt x="1322" y="617"/>
                </a:cubicBezTo>
                <a:cubicBezTo>
                  <a:pt x="1322" y="617"/>
                  <a:pt x="1323" y="617"/>
                  <a:pt x="1323" y="617"/>
                </a:cubicBezTo>
                <a:cubicBezTo>
                  <a:pt x="1323" y="617"/>
                  <a:pt x="1323" y="617"/>
                  <a:pt x="1323" y="617"/>
                </a:cubicBezTo>
                <a:cubicBezTo>
                  <a:pt x="1324" y="617"/>
                  <a:pt x="1325" y="617"/>
                  <a:pt x="1325" y="617"/>
                </a:cubicBezTo>
                <a:cubicBezTo>
                  <a:pt x="1325" y="618"/>
                  <a:pt x="1326" y="618"/>
                  <a:pt x="1327" y="618"/>
                </a:cubicBezTo>
                <a:cubicBezTo>
                  <a:pt x="1327" y="619"/>
                  <a:pt x="1327" y="619"/>
                  <a:pt x="1328" y="619"/>
                </a:cubicBezTo>
                <a:cubicBezTo>
                  <a:pt x="1329" y="619"/>
                  <a:pt x="1330" y="620"/>
                  <a:pt x="1330" y="619"/>
                </a:cubicBezTo>
                <a:cubicBezTo>
                  <a:pt x="1331" y="619"/>
                  <a:pt x="1332" y="619"/>
                  <a:pt x="1334" y="619"/>
                </a:cubicBezTo>
                <a:cubicBezTo>
                  <a:pt x="1334" y="619"/>
                  <a:pt x="1334" y="619"/>
                  <a:pt x="1335" y="619"/>
                </a:cubicBezTo>
                <a:cubicBezTo>
                  <a:pt x="1335" y="619"/>
                  <a:pt x="1337" y="619"/>
                  <a:pt x="1337" y="620"/>
                </a:cubicBezTo>
                <a:cubicBezTo>
                  <a:pt x="1338" y="620"/>
                  <a:pt x="1338" y="620"/>
                  <a:pt x="1339" y="620"/>
                </a:cubicBezTo>
                <a:cubicBezTo>
                  <a:pt x="1341" y="620"/>
                  <a:pt x="1339" y="620"/>
                  <a:pt x="1339" y="620"/>
                </a:cubicBezTo>
                <a:cubicBezTo>
                  <a:pt x="1340" y="620"/>
                  <a:pt x="1340" y="620"/>
                  <a:pt x="1340" y="620"/>
                </a:cubicBezTo>
                <a:cubicBezTo>
                  <a:pt x="1340" y="620"/>
                  <a:pt x="1340" y="621"/>
                  <a:pt x="1340" y="621"/>
                </a:cubicBezTo>
                <a:cubicBezTo>
                  <a:pt x="1340" y="621"/>
                  <a:pt x="1341" y="621"/>
                  <a:pt x="1341" y="621"/>
                </a:cubicBezTo>
                <a:cubicBezTo>
                  <a:pt x="1342" y="621"/>
                  <a:pt x="1341" y="621"/>
                  <a:pt x="1342" y="621"/>
                </a:cubicBezTo>
                <a:cubicBezTo>
                  <a:pt x="1342" y="621"/>
                  <a:pt x="1342" y="621"/>
                  <a:pt x="1343" y="621"/>
                </a:cubicBezTo>
                <a:cubicBezTo>
                  <a:pt x="1343" y="621"/>
                  <a:pt x="1344" y="621"/>
                  <a:pt x="1344" y="622"/>
                </a:cubicBezTo>
                <a:cubicBezTo>
                  <a:pt x="1345" y="622"/>
                  <a:pt x="1346" y="621"/>
                  <a:pt x="1347" y="621"/>
                </a:cubicBezTo>
                <a:cubicBezTo>
                  <a:pt x="1347" y="622"/>
                  <a:pt x="1347" y="622"/>
                  <a:pt x="1347" y="622"/>
                </a:cubicBezTo>
                <a:cubicBezTo>
                  <a:pt x="1348" y="622"/>
                  <a:pt x="1347" y="622"/>
                  <a:pt x="1347" y="622"/>
                </a:cubicBezTo>
                <a:cubicBezTo>
                  <a:pt x="1348" y="622"/>
                  <a:pt x="1348" y="622"/>
                  <a:pt x="1349" y="622"/>
                </a:cubicBezTo>
                <a:cubicBezTo>
                  <a:pt x="1349" y="622"/>
                  <a:pt x="1349" y="622"/>
                  <a:pt x="1349" y="622"/>
                </a:cubicBezTo>
                <a:cubicBezTo>
                  <a:pt x="1350" y="622"/>
                  <a:pt x="1350" y="623"/>
                  <a:pt x="1351" y="623"/>
                </a:cubicBezTo>
                <a:cubicBezTo>
                  <a:pt x="1352" y="622"/>
                  <a:pt x="1352" y="621"/>
                  <a:pt x="1354" y="622"/>
                </a:cubicBezTo>
                <a:cubicBezTo>
                  <a:pt x="1354" y="623"/>
                  <a:pt x="1354" y="622"/>
                  <a:pt x="1354" y="622"/>
                </a:cubicBezTo>
                <a:close/>
                <a:moveTo>
                  <a:pt x="1511" y="608"/>
                </a:moveTo>
                <a:cubicBezTo>
                  <a:pt x="1511" y="608"/>
                  <a:pt x="1512" y="608"/>
                  <a:pt x="1512" y="608"/>
                </a:cubicBezTo>
                <a:cubicBezTo>
                  <a:pt x="1511" y="608"/>
                  <a:pt x="1512" y="607"/>
                  <a:pt x="1512" y="608"/>
                </a:cubicBezTo>
                <a:cubicBezTo>
                  <a:pt x="1512" y="607"/>
                  <a:pt x="1511" y="607"/>
                  <a:pt x="1511" y="607"/>
                </a:cubicBezTo>
                <a:cubicBezTo>
                  <a:pt x="1511" y="607"/>
                  <a:pt x="1511" y="608"/>
                  <a:pt x="1511" y="608"/>
                </a:cubicBezTo>
                <a:close/>
                <a:moveTo>
                  <a:pt x="1552" y="613"/>
                </a:moveTo>
                <a:cubicBezTo>
                  <a:pt x="1552" y="612"/>
                  <a:pt x="1550" y="612"/>
                  <a:pt x="1550" y="611"/>
                </a:cubicBezTo>
                <a:cubicBezTo>
                  <a:pt x="1550" y="610"/>
                  <a:pt x="1550" y="610"/>
                  <a:pt x="1549" y="609"/>
                </a:cubicBezTo>
                <a:cubicBezTo>
                  <a:pt x="1548" y="609"/>
                  <a:pt x="1548" y="609"/>
                  <a:pt x="1548" y="607"/>
                </a:cubicBezTo>
                <a:cubicBezTo>
                  <a:pt x="1548" y="607"/>
                  <a:pt x="1547" y="606"/>
                  <a:pt x="1547" y="607"/>
                </a:cubicBezTo>
                <a:cubicBezTo>
                  <a:pt x="1547" y="607"/>
                  <a:pt x="1547" y="609"/>
                  <a:pt x="1547" y="608"/>
                </a:cubicBezTo>
                <a:cubicBezTo>
                  <a:pt x="1547" y="609"/>
                  <a:pt x="1547" y="610"/>
                  <a:pt x="1547" y="611"/>
                </a:cubicBezTo>
                <a:cubicBezTo>
                  <a:pt x="1547" y="611"/>
                  <a:pt x="1547" y="611"/>
                  <a:pt x="1547" y="611"/>
                </a:cubicBezTo>
                <a:cubicBezTo>
                  <a:pt x="1547" y="612"/>
                  <a:pt x="1547" y="612"/>
                  <a:pt x="1548" y="612"/>
                </a:cubicBezTo>
                <a:cubicBezTo>
                  <a:pt x="1548" y="613"/>
                  <a:pt x="1548" y="614"/>
                  <a:pt x="1548" y="614"/>
                </a:cubicBezTo>
                <a:cubicBezTo>
                  <a:pt x="1549" y="614"/>
                  <a:pt x="1549" y="615"/>
                  <a:pt x="1549" y="615"/>
                </a:cubicBezTo>
                <a:cubicBezTo>
                  <a:pt x="1550" y="616"/>
                  <a:pt x="1550" y="616"/>
                  <a:pt x="1551" y="617"/>
                </a:cubicBezTo>
                <a:cubicBezTo>
                  <a:pt x="1551" y="617"/>
                  <a:pt x="1551" y="617"/>
                  <a:pt x="1551" y="617"/>
                </a:cubicBezTo>
                <a:cubicBezTo>
                  <a:pt x="1552" y="617"/>
                  <a:pt x="1552" y="618"/>
                  <a:pt x="1553" y="618"/>
                </a:cubicBezTo>
                <a:cubicBezTo>
                  <a:pt x="1554" y="617"/>
                  <a:pt x="1554" y="617"/>
                  <a:pt x="1554" y="616"/>
                </a:cubicBezTo>
                <a:cubicBezTo>
                  <a:pt x="1554" y="615"/>
                  <a:pt x="1553" y="614"/>
                  <a:pt x="1553" y="613"/>
                </a:cubicBezTo>
                <a:cubicBezTo>
                  <a:pt x="1553" y="613"/>
                  <a:pt x="1552" y="613"/>
                  <a:pt x="1552" y="613"/>
                </a:cubicBezTo>
                <a:close/>
                <a:moveTo>
                  <a:pt x="1399" y="605"/>
                </a:moveTo>
                <a:cubicBezTo>
                  <a:pt x="1399" y="606"/>
                  <a:pt x="1399" y="606"/>
                  <a:pt x="1399" y="606"/>
                </a:cubicBezTo>
                <a:cubicBezTo>
                  <a:pt x="1398" y="606"/>
                  <a:pt x="1399" y="605"/>
                  <a:pt x="1398" y="605"/>
                </a:cubicBezTo>
                <a:cubicBezTo>
                  <a:pt x="1398" y="605"/>
                  <a:pt x="1398" y="605"/>
                  <a:pt x="1397" y="605"/>
                </a:cubicBezTo>
                <a:cubicBezTo>
                  <a:pt x="1397" y="605"/>
                  <a:pt x="1398" y="606"/>
                  <a:pt x="1397" y="606"/>
                </a:cubicBezTo>
                <a:cubicBezTo>
                  <a:pt x="1397" y="607"/>
                  <a:pt x="1397" y="607"/>
                  <a:pt x="1398" y="607"/>
                </a:cubicBezTo>
                <a:cubicBezTo>
                  <a:pt x="1398" y="608"/>
                  <a:pt x="1398" y="608"/>
                  <a:pt x="1399" y="609"/>
                </a:cubicBezTo>
                <a:cubicBezTo>
                  <a:pt x="1399" y="609"/>
                  <a:pt x="1400" y="609"/>
                  <a:pt x="1400" y="609"/>
                </a:cubicBezTo>
                <a:cubicBezTo>
                  <a:pt x="1401" y="608"/>
                  <a:pt x="1401" y="608"/>
                  <a:pt x="1402" y="607"/>
                </a:cubicBezTo>
                <a:cubicBezTo>
                  <a:pt x="1399" y="606"/>
                  <a:pt x="1402" y="604"/>
                  <a:pt x="1401" y="603"/>
                </a:cubicBezTo>
                <a:cubicBezTo>
                  <a:pt x="1400" y="603"/>
                  <a:pt x="1399" y="603"/>
                  <a:pt x="1399" y="604"/>
                </a:cubicBezTo>
                <a:cubicBezTo>
                  <a:pt x="1399" y="604"/>
                  <a:pt x="1399" y="605"/>
                  <a:pt x="1399" y="605"/>
                </a:cubicBezTo>
                <a:close/>
                <a:moveTo>
                  <a:pt x="1524" y="611"/>
                </a:moveTo>
                <a:cubicBezTo>
                  <a:pt x="1523" y="611"/>
                  <a:pt x="1523" y="610"/>
                  <a:pt x="1522" y="610"/>
                </a:cubicBezTo>
                <a:cubicBezTo>
                  <a:pt x="1521" y="610"/>
                  <a:pt x="1520" y="610"/>
                  <a:pt x="1519" y="611"/>
                </a:cubicBezTo>
                <a:cubicBezTo>
                  <a:pt x="1520" y="611"/>
                  <a:pt x="1520" y="612"/>
                  <a:pt x="1521" y="612"/>
                </a:cubicBezTo>
                <a:cubicBezTo>
                  <a:pt x="1521" y="612"/>
                  <a:pt x="1522" y="612"/>
                  <a:pt x="1522" y="612"/>
                </a:cubicBezTo>
                <a:cubicBezTo>
                  <a:pt x="1522" y="612"/>
                  <a:pt x="1522" y="613"/>
                  <a:pt x="1522" y="613"/>
                </a:cubicBezTo>
                <a:cubicBezTo>
                  <a:pt x="1523" y="613"/>
                  <a:pt x="1526" y="614"/>
                  <a:pt x="1527" y="613"/>
                </a:cubicBezTo>
                <a:cubicBezTo>
                  <a:pt x="1527" y="613"/>
                  <a:pt x="1528" y="613"/>
                  <a:pt x="1528" y="613"/>
                </a:cubicBezTo>
                <a:cubicBezTo>
                  <a:pt x="1530" y="613"/>
                  <a:pt x="1528" y="613"/>
                  <a:pt x="1528" y="613"/>
                </a:cubicBezTo>
                <a:cubicBezTo>
                  <a:pt x="1529" y="613"/>
                  <a:pt x="1530" y="612"/>
                  <a:pt x="1530" y="612"/>
                </a:cubicBezTo>
                <a:cubicBezTo>
                  <a:pt x="1531" y="612"/>
                  <a:pt x="1531" y="611"/>
                  <a:pt x="1532" y="611"/>
                </a:cubicBezTo>
                <a:cubicBezTo>
                  <a:pt x="1534" y="611"/>
                  <a:pt x="1533" y="609"/>
                  <a:pt x="1535" y="609"/>
                </a:cubicBezTo>
                <a:cubicBezTo>
                  <a:pt x="1535" y="609"/>
                  <a:pt x="1536" y="609"/>
                  <a:pt x="1536" y="608"/>
                </a:cubicBezTo>
                <a:cubicBezTo>
                  <a:pt x="1536" y="608"/>
                  <a:pt x="1536" y="608"/>
                  <a:pt x="1537" y="608"/>
                </a:cubicBezTo>
                <a:cubicBezTo>
                  <a:pt x="1537" y="607"/>
                  <a:pt x="1536" y="607"/>
                  <a:pt x="1536" y="606"/>
                </a:cubicBezTo>
                <a:cubicBezTo>
                  <a:pt x="1536" y="606"/>
                  <a:pt x="1537" y="606"/>
                  <a:pt x="1537" y="606"/>
                </a:cubicBezTo>
                <a:cubicBezTo>
                  <a:pt x="1537" y="606"/>
                  <a:pt x="1538" y="605"/>
                  <a:pt x="1537" y="605"/>
                </a:cubicBezTo>
                <a:cubicBezTo>
                  <a:pt x="1537" y="605"/>
                  <a:pt x="1537" y="604"/>
                  <a:pt x="1537" y="604"/>
                </a:cubicBezTo>
                <a:cubicBezTo>
                  <a:pt x="1537" y="604"/>
                  <a:pt x="1537" y="604"/>
                  <a:pt x="1537" y="604"/>
                </a:cubicBezTo>
                <a:cubicBezTo>
                  <a:pt x="1536" y="603"/>
                  <a:pt x="1537" y="603"/>
                  <a:pt x="1537" y="603"/>
                </a:cubicBezTo>
                <a:cubicBezTo>
                  <a:pt x="1536" y="603"/>
                  <a:pt x="1535" y="603"/>
                  <a:pt x="1535" y="603"/>
                </a:cubicBezTo>
                <a:cubicBezTo>
                  <a:pt x="1534" y="603"/>
                  <a:pt x="1534" y="604"/>
                  <a:pt x="1534" y="604"/>
                </a:cubicBezTo>
                <a:cubicBezTo>
                  <a:pt x="1534" y="605"/>
                  <a:pt x="1534" y="605"/>
                  <a:pt x="1534" y="606"/>
                </a:cubicBezTo>
                <a:cubicBezTo>
                  <a:pt x="1534" y="606"/>
                  <a:pt x="1533" y="606"/>
                  <a:pt x="1533" y="606"/>
                </a:cubicBezTo>
                <a:cubicBezTo>
                  <a:pt x="1533" y="606"/>
                  <a:pt x="1532" y="606"/>
                  <a:pt x="1532" y="606"/>
                </a:cubicBezTo>
                <a:cubicBezTo>
                  <a:pt x="1532" y="606"/>
                  <a:pt x="1533" y="607"/>
                  <a:pt x="1532" y="607"/>
                </a:cubicBezTo>
                <a:cubicBezTo>
                  <a:pt x="1532" y="607"/>
                  <a:pt x="1532" y="607"/>
                  <a:pt x="1532" y="608"/>
                </a:cubicBezTo>
                <a:cubicBezTo>
                  <a:pt x="1532" y="608"/>
                  <a:pt x="1532" y="608"/>
                  <a:pt x="1532" y="609"/>
                </a:cubicBezTo>
                <a:cubicBezTo>
                  <a:pt x="1531" y="609"/>
                  <a:pt x="1530" y="609"/>
                  <a:pt x="1530" y="609"/>
                </a:cubicBezTo>
                <a:cubicBezTo>
                  <a:pt x="1529" y="609"/>
                  <a:pt x="1528" y="609"/>
                  <a:pt x="1527" y="608"/>
                </a:cubicBezTo>
                <a:cubicBezTo>
                  <a:pt x="1527" y="608"/>
                  <a:pt x="1528" y="608"/>
                  <a:pt x="1527" y="607"/>
                </a:cubicBezTo>
                <a:cubicBezTo>
                  <a:pt x="1527" y="607"/>
                  <a:pt x="1526" y="609"/>
                  <a:pt x="1526" y="609"/>
                </a:cubicBezTo>
                <a:cubicBezTo>
                  <a:pt x="1526" y="610"/>
                  <a:pt x="1526" y="610"/>
                  <a:pt x="1525" y="610"/>
                </a:cubicBezTo>
                <a:cubicBezTo>
                  <a:pt x="1524" y="610"/>
                  <a:pt x="1524" y="610"/>
                  <a:pt x="1524" y="611"/>
                </a:cubicBezTo>
                <a:cubicBezTo>
                  <a:pt x="1522" y="611"/>
                  <a:pt x="1524" y="611"/>
                  <a:pt x="1524" y="611"/>
                </a:cubicBezTo>
                <a:close/>
                <a:moveTo>
                  <a:pt x="1539" y="605"/>
                </a:moveTo>
                <a:cubicBezTo>
                  <a:pt x="1540" y="604"/>
                  <a:pt x="1539" y="603"/>
                  <a:pt x="1540" y="603"/>
                </a:cubicBezTo>
                <a:cubicBezTo>
                  <a:pt x="1540" y="601"/>
                  <a:pt x="1539" y="602"/>
                  <a:pt x="1539" y="601"/>
                </a:cubicBezTo>
                <a:cubicBezTo>
                  <a:pt x="1538" y="600"/>
                  <a:pt x="1537" y="599"/>
                  <a:pt x="1536" y="598"/>
                </a:cubicBezTo>
                <a:cubicBezTo>
                  <a:pt x="1536" y="600"/>
                  <a:pt x="1537" y="600"/>
                  <a:pt x="1538" y="601"/>
                </a:cubicBezTo>
                <a:cubicBezTo>
                  <a:pt x="1538" y="602"/>
                  <a:pt x="1538" y="603"/>
                  <a:pt x="1538" y="603"/>
                </a:cubicBezTo>
                <a:cubicBezTo>
                  <a:pt x="1538" y="604"/>
                  <a:pt x="1537" y="604"/>
                  <a:pt x="1538" y="605"/>
                </a:cubicBezTo>
                <a:cubicBezTo>
                  <a:pt x="1539" y="605"/>
                  <a:pt x="1539" y="605"/>
                  <a:pt x="1539" y="605"/>
                </a:cubicBezTo>
                <a:cubicBezTo>
                  <a:pt x="1540" y="604"/>
                  <a:pt x="1539" y="605"/>
                  <a:pt x="1539" y="605"/>
                </a:cubicBezTo>
                <a:close/>
                <a:moveTo>
                  <a:pt x="1530" y="596"/>
                </a:moveTo>
                <a:cubicBezTo>
                  <a:pt x="1531" y="596"/>
                  <a:pt x="1534" y="597"/>
                  <a:pt x="1534" y="598"/>
                </a:cubicBezTo>
                <a:cubicBezTo>
                  <a:pt x="1534" y="598"/>
                  <a:pt x="1535" y="598"/>
                  <a:pt x="1535" y="598"/>
                </a:cubicBezTo>
                <a:cubicBezTo>
                  <a:pt x="1536" y="597"/>
                  <a:pt x="1534" y="597"/>
                  <a:pt x="1534" y="597"/>
                </a:cubicBezTo>
                <a:cubicBezTo>
                  <a:pt x="1533" y="596"/>
                  <a:pt x="1531" y="595"/>
                  <a:pt x="1530" y="595"/>
                </a:cubicBezTo>
                <a:cubicBezTo>
                  <a:pt x="1530" y="595"/>
                  <a:pt x="1530" y="595"/>
                  <a:pt x="1530" y="596"/>
                </a:cubicBezTo>
                <a:cubicBezTo>
                  <a:pt x="1531" y="596"/>
                  <a:pt x="1530" y="596"/>
                  <a:pt x="1530" y="596"/>
                </a:cubicBezTo>
                <a:close/>
                <a:moveTo>
                  <a:pt x="1412" y="595"/>
                </a:moveTo>
                <a:cubicBezTo>
                  <a:pt x="1412" y="596"/>
                  <a:pt x="1412" y="596"/>
                  <a:pt x="1413" y="597"/>
                </a:cubicBezTo>
                <a:cubicBezTo>
                  <a:pt x="1414" y="597"/>
                  <a:pt x="1415" y="597"/>
                  <a:pt x="1415" y="598"/>
                </a:cubicBezTo>
                <a:cubicBezTo>
                  <a:pt x="1415" y="598"/>
                  <a:pt x="1415" y="598"/>
                  <a:pt x="1416" y="598"/>
                </a:cubicBezTo>
                <a:cubicBezTo>
                  <a:pt x="1416" y="598"/>
                  <a:pt x="1416" y="598"/>
                  <a:pt x="1416" y="598"/>
                </a:cubicBezTo>
                <a:cubicBezTo>
                  <a:pt x="1417" y="598"/>
                  <a:pt x="1417" y="598"/>
                  <a:pt x="1418" y="598"/>
                </a:cubicBezTo>
                <a:cubicBezTo>
                  <a:pt x="1419" y="598"/>
                  <a:pt x="1419" y="597"/>
                  <a:pt x="1419" y="596"/>
                </a:cubicBezTo>
                <a:cubicBezTo>
                  <a:pt x="1418" y="596"/>
                  <a:pt x="1418" y="596"/>
                  <a:pt x="1418" y="595"/>
                </a:cubicBezTo>
                <a:cubicBezTo>
                  <a:pt x="1416" y="595"/>
                  <a:pt x="1414" y="595"/>
                  <a:pt x="1412" y="595"/>
                </a:cubicBezTo>
                <a:close/>
                <a:moveTo>
                  <a:pt x="1427" y="594"/>
                </a:moveTo>
                <a:cubicBezTo>
                  <a:pt x="1427" y="594"/>
                  <a:pt x="1427" y="595"/>
                  <a:pt x="1427" y="595"/>
                </a:cubicBezTo>
                <a:cubicBezTo>
                  <a:pt x="1426" y="595"/>
                  <a:pt x="1425" y="594"/>
                  <a:pt x="1424" y="594"/>
                </a:cubicBezTo>
                <a:cubicBezTo>
                  <a:pt x="1424" y="595"/>
                  <a:pt x="1424" y="595"/>
                  <a:pt x="1423" y="595"/>
                </a:cubicBezTo>
                <a:cubicBezTo>
                  <a:pt x="1422" y="595"/>
                  <a:pt x="1422" y="595"/>
                  <a:pt x="1422" y="596"/>
                </a:cubicBezTo>
                <a:cubicBezTo>
                  <a:pt x="1422" y="596"/>
                  <a:pt x="1423" y="596"/>
                  <a:pt x="1423" y="596"/>
                </a:cubicBezTo>
                <a:cubicBezTo>
                  <a:pt x="1424" y="596"/>
                  <a:pt x="1423" y="596"/>
                  <a:pt x="1423" y="596"/>
                </a:cubicBezTo>
                <a:cubicBezTo>
                  <a:pt x="1424" y="597"/>
                  <a:pt x="1424" y="597"/>
                  <a:pt x="1425" y="597"/>
                </a:cubicBezTo>
                <a:cubicBezTo>
                  <a:pt x="1426" y="597"/>
                  <a:pt x="1425" y="596"/>
                  <a:pt x="1426" y="596"/>
                </a:cubicBezTo>
                <a:cubicBezTo>
                  <a:pt x="1426" y="596"/>
                  <a:pt x="1427" y="596"/>
                  <a:pt x="1427" y="596"/>
                </a:cubicBezTo>
                <a:cubicBezTo>
                  <a:pt x="1427" y="596"/>
                  <a:pt x="1427" y="597"/>
                  <a:pt x="1427" y="597"/>
                </a:cubicBezTo>
                <a:cubicBezTo>
                  <a:pt x="1427" y="597"/>
                  <a:pt x="1428" y="597"/>
                  <a:pt x="1428" y="597"/>
                </a:cubicBezTo>
                <a:cubicBezTo>
                  <a:pt x="1429" y="597"/>
                  <a:pt x="1429" y="597"/>
                  <a:pt x="1429" y="597"/>
                </a:cubicBezTo>
                <a:cubicBezTo>
                  <a:pt x="1429" y="596"/>
                  <a:pt x="1430" y="597"/>
                  <a:pt x="1430" y="596"/>
                </a:cubicBezTo>
                <a:cubicBezTo>
                  <a:pt x="1430" y="597"/>
                  <a:pt x="1433" y="597"/>
                  <a:pt x="1433" y="598"/>
                </a:cubicBezTo>
                <a:cubicBezTo>
                  <a:pt x="1434" y="598"/>
                  <a:pt x="1435" y="598"/>
                  <a:pt x="1435" y="597"/>
                </a:cubicBezTo>
                <a:cubicBezTo>
                  <a:pt x="1434" y="596"/>
                  <a:pt x="1434" y="595"/>
                  <a:pt x="1433" y="595"/>
                </a:cubicBezTo>
                <a:cubicBezTo>
                  <a:pt x="1433" y="595"/>
                  <a:pt x="1432" y="595"/>
                  <a:pt x="1431" y="595"/>
                </a:cubicBezTo>
                <a:cubicBezTo>
                  <a:pt x="1430" y="594"/>
                  <a:pt x="1429" y="595"/>
                  <a:pt x="1428" y="595"/>
                </a:cubicBezTo>
                <a:cubicBezTo>
                  <a:pt x="1428" y="594"/>
                  <a:pt x="1427" y="594"/>
                  <a:pt x="1427" y="594"/>
                </a:cubicBezTo>
                <a:close/>
                <a:moveTo>
                  <a:pt x="1526" y="594"/>
                </a:moveTo>
                <a:cubicBezTo>
                  <a:pt x="1526" y="594"/>
                  <a:pt x="1526" y="594"/>
                  <a:pt x="1526" y="594"/>
                </a:cubicBezTo>
                <a:cubicBezTo>
                  <a:pt x="1527" y="594"/>
                  <a:pt x="1528" y="596"/>
                  <a:pt x="1529" y="594"/>
                </a:cubicBezTo>
                <a:cubicBezTo>
                  <a:pt x="1529" y="593"/>
                  <a:pt x="1527" y="594"/>
                  <a:pt x="1526" y="594"/>
                </a:cubicBezTo>
                <a:cubicBezTo>
                  <a:pt x="1526" y="594"/>
                  <a:pt x="1526" y="594"/>
                  <a:pt x="1526" y="594"/>
                </a:cubicBezTo>
                <a:close/>
                <a:moveTo>
                  <a:pt x="1326" y="593"/>
                </a:moveTo>
                <a:cubicBezTo>
                  <a:pt x="1326" y="594"/>
                  <a:pt x="1326" y="594"/>
                  <a:pt x="1326" y="595"/>
                </a:cubicBezTo>
                <a:cubicBezTo>
                  <a:pt x="1327" y="595"/>
                  <a:pt x="1327" y="595"/>
                  <a:pt x="1327" y="596"/>
                </a:cubicBezTo>
                <a:cubicBezTo>
                  <a:pt x="1327" y="596"/>
                  <a:pt x="1327" y="596"/>
                  <a:pt x="1328" y="596"/>
                </a:cubicBezTo>
                <a:cubicBezTo>
                  <a:pt x="1328" y="596"/>
                  <a:pt x="1327" y="596"/>
                  <a:pt x="1328" y="596"/>
                </a:cubicBezTo>
                <a:cubicBezTo>
                  <a:pt x="1329" y="596"/>
                  <a:pt x="1329" y="596"/>
                  <a:pt x="1329" y="595"/>
                </a:cubicBezTo>
                <a:cubicBezTo>
                  <a:pt x="1330" y="595"/>
                  <a:pt x="1330" y="594"/>
                  <a:pt x="1330" y="593"/>
                </a:cubicBezTo>
                <a:cubicBezTo>
                  <a:pt x="1329" y="593"/>
                  <a:pt x="1328" y="593"/>
                  <a:pt x="1326" y="593"/>
                </a:cubicBezTo>
                <a:cubicBezTo>
                  <a:pt x="1326" y="594"/>
                  <a:pt x="1326" y="593"/>
                  <a:pt x="1326" y="593"/>
                </a:cubicBezTo>
                <a:close/>
                <a:moveTo>
                  <a:pt x="1291" y="592"/>
                </a:moveTo>
                <a:cubicBezTo>
                  <a:pt x="1291" y="592"/>
                  <a:pt x="1291" y="592"/>
                  <a:pt x="1291" y="592"/>
                </a:cubicBezTo>
                <a:cubicBezTo>
                  <a:pt x="1291" y="592"/>
                  <a:pt x="1291" y="592"/>
                  <a:pt x="1291" y="592"/>
                </a:cubicBezTo>
                <a:cubicBezTo>
                  <a:pt x="1291" y="593"/>
                  <a:pt x="1291" y="593"/>
                  <a:pt x="1292" y="593"/>
                </a:cubicBezTo>
                <a:cubicBezTo>
                  <a:pt x="1292" y="592"/>
                  <a:pt x="1292" y="593"/>
                  <a:pt x="1291" y="592"/>
                </a:cubicBezTo>
                <a:cubicBezTo>
                  <a:pt x="1291" y="592"/>
                  <a:pt x="1291" y="592"/>
                  <a:pt x="1291" y="592"/>
                </a:cubicBezTo>
                <a:close/>
                <a:moveTo>
                  <a:pt x="1509" y="592"/>
                </a:moveTo>
                <a:cubicBezTo>
                  <a:pt x="1511" y="592"/>
                  <a:pt x="1512" y="593"/>
                  <a:pt x="1513" y="592"/>
                </a:cubicBezTo>
                <a:cubicBezTo>
                  <a:pt x="1512" y="591"/>
                  <a:pt x="1511" y="591"/>
                  <a:pt x="1510" y="591"/>
                </a:cubicBezTo>
                <a:cubicBezTo>
                  <a:pt x="1510" y="590"/>
                  <a:pt x="1510" y="591"/>
                  <a:pt x="1509" y="592"/>
                </a:cubicBezTo>
                <a:cubicBezTo>
                  <a:pt x="1511" y="592"/>
                  <a:pt x="1509" y="592"/>
                  <a:pt x="1509" y="592"/>
                </a:cubicBezTo>
                <a:close/>
                <a:moveTo>
                  <a:pt x="978" y="590"/>
                </a:moveTo>
                <a:cubicBezTo>
                  <a:pt x="977" y="589"/>
                  <a:pt x="977" y="589"/>
                  <a:pt x="975" y="589"/>
                </a:cubicBezTo>
                <a:cubicBezTo>
                  <a:pt x="976" y="590"/>
                  <a:pt x="976" y="590"/>
                  <a:pt x="978" y="590"/>
                </a:cubicBezTo>
                <a:cubicBezTo>
                  <a:pt x="978" y="589"/>
                  <a:pt x="978" y="590"/>
                  <a:pt x="978" y="590"/>
                </a:cubicBezTo>
                <a:close/>
                <a:moveTo>
                  <a:pt x="1408" y="588"/>
                </a:moveTo>
                <a:cubicBezTo>
                  <a:pt x="1407" y="588"/>
                  <a:pt x="1404" y="587"/>
                  <a:pt x="1404" y="589"/>
                </a:cubicBezTo>
                <a:cubicBezTo>
                  <a:pt x="1404" y="589"/>
                  <a:pt x="1409" y="589"/>
                  <a:pt x="1408" y="588"/>
                </a:cubicBezTo>
                <a:cubicBezTo>
                  <a:pt x="1407" y="588"/>
                  <a:pt x="1408" y="588"/>
                  <a:pt x="1408" y="588"/>
                </a:cubicBezTo>
                <a:close/>
                <a:moveTo>
                  <a:pt x="1414" y="587"/>
                </a:moveTo>
                <a:cubicBezTo>
                  <a:pt x="1413" y="587"/>
                  <a:pt x="1411" y="587"/>
                  <a:pt x="1410" y="587"/>
                </a:cubicBezTo>
                <a:cubicBezTo>
                  <a:pt x="1410" y="588"/>
                  <a:pt x="1410" y="588"/>
                  <a:pt x="1410" y="588"/>
                </a:cubicBezTo>
                <a:cubicBezTo>
                  <a:pt x="1411" y="588"/>
                  <a:pt x="1414" y="588"/>
                  <a:pt x="1414" y="587"/>
                </a:cubicBezTo>
                <a:cubicBezTo>
                  <a:pt x="1412" y="587"/>
                  <a:pt x="1414" y="587"/>
                  <a:pt x="1414" y="587"/>
                </a:cubicBezTo>
                <a:close/>
                <a:moveTo>
                  <a:pt x="1431" y="588"/>
                </a:moveTo>
                <a:cubicBezTo>
                  <a:pt x="1432" y="588"/>
                  <a:pt x="1432" y="588"/>
                  <a:pt x="1433" y="588"/>
                </a:cubicBezTo>
                <a:cubicBezTo>
                  <a:pt x="1433" y="588"/>
                  <a:pt x="1433" y="587"/>
                  <a:pt x="1433" y="587"/>
                </a:cubicBezTo>
                <a:cubicBezTo>
                  <a:pt x="1432" y="587"/>
                  <a:pt x="1431" y="587"/>
                  <a:pt x="1431" y="588"/>
                </a:cubicBezTo>
                <a:cubicBezTo>
                  <a:pt x="1432" y="588"/>
                  <a:pt x="1431" y="588"/>
                  <a:pt x="1431" y="588"/>
                </a:cubicBezTo>
                <a:close/>
                <a:moveTo>
                  <a:pt x="1318" y="589"/>
                </a:moveTo>
                <a:cubicBezTo>
                  <a:pt x="1319" y="590"/>
                  <a:pt x="1319" y="590"/>
                  <a:pt x="1319" y="590"/>
                </a:cubicBezTo>
                <a:cubicBezTo>
                  <a:pt x="1319" y="590"/>
                  <a:pt x="1318" y="591"/>
                  <a:pt x="1319" y="591"/>
                </a:cubicBezTo>
                <a:cubicBezTo>
                  <a:pt x="1319" y="591"/>
                  <a:pt x="1319" y="592"/>
                  <a:pt x="1319" y="592"/>
                </a:cubicBezTo>
                <a:cubicBezTo>
                  <a:pt x="1319" y="592"/>
                  <a:pt x="1319" y="592"/>
                  <a:pt x="1319" y="592"/>
                </a:cubicBezTo>
                <a:cubicBezTo>
                  <a:pt x="1319" y="593"/>
                  <a:pt x="1320" y="594"/>
                  <a:pt x="1321" y="594"/>
                </a:cubicBezTo>
                <a:cubicBezTo>
                  <a:pt x="1322" y="595"/>
                  <a:pt x="1321" y="595"/>
                  <a:pt x="1322" y="594"/>
                </a:cubicBezTo>
                <a:cubicBezTo>
                  <a:pt x="1322" y="593"/>
                  <a:pt x="1322" y="591"/>
                  <a:pt x="1321" y="591"/>
                </a:cubicBezTo>
                <a:cubicBezTo>
                  <a:pt x="1321" y="590"/>
                  <a:pt x="1321" y="591"/>
                  <a:pt x="1321" y="590"/>
                </a:cubicBezTo>
                <a:cubicBezTo>
                  <a:pt x="1321" y="590"/>
                  <a:pt x="1321" y="590"/>
                  <a:pt x="1321" y="590"/>
                </a:cubicBezTo>
                <a:cubicBezTo>
                  <a:pt x="1320" y="589"/>
                  <a:pt x="1321" y="589"/>
                  <a:pt x="1320" y="588"/>
                </a:cubicBezTo>
                <a:cubicBezTo>
                  <a:pt x="1320" y="588"/>
                  <a:pt x="1320" y="588"/>
                  <a:pt x="1320" y="587"/>
                </a:cubicBezTo>
                <a:cubicBezTo>
                  <a:pt x="1319" y="588"/>
                  <a:pt x="1319" y="588"/>
                  <a:pt x="1318" y="587"/>
                </a:cubicBezTo>
                <a:cubicBezTo>
                  <a:pt x="1318" y="586"/>
                  <a:pt x="1317" y="587"/>
                  <a:pt x="1317" y="587"/>
                </a:cubicBezTo>
                <a:cubicBezTo>
                  <a:pt x="1317" y="588"/>
                  <a:pt x="1317" y="589"/>
                  <a:pt x="1317" y="589"/>
                </a:cubicBezTo>
                <a:cubicBezTo>
                  <a:pt x="1317" y="589"/>
                  <a:pt x="1318" y="589"/>
                  <a:pt x="1318" y="589"/>
                </a:cubicBezTo>
                <a:close/>
                <a:moveTo>
                  <a:pt x="1400" y="588"/>
                </a:moveTo>
                <a:cubicBezTo>
                  <a:pt x="1400" y="588"/>
                  <a:pt x="1400" y="587"/>
                  <a:pt x="1401" y="587"/>
                </a:cubicBezTo>
                <a:cubicBezTo>
                  <a:pt x="1401" y="587"/>
                  <a:pt x="1401" y="587"/>
                  <a:pt x="1401" y="587"/>
                </a:cubicBezTo>
                <a:cubicBezTo>
                  <a:pt x="1401" y="586"/>
                  <a:pt x="1400" y="586"/>
                  <a:pt x="1399" y="586"/>
                </a:cubicBezTo>
                <a:cubicBezTo>
                  <a:pt x="1399" y="586"/>
                  <a:pt x="1398" y="586"/>
                  <a:pt x="1398" y="586"/>
                </a:cubicBezTo>
                <a:cubicBezTo>
                  <a:pt x="1397" y="587"/>
                  <a:pt x="1397" y="587"/>
                  <a:pt x="1397" y="588"/>
                </a:cubicBezTo>
                <a:cubicBezTo>
                  <a:pt x="1398" y="588"/>
                  <a:pt x="1399" y="588"/>
                  <a:pt x="1400" y="588"/>
                </a:cubicBezTo>
                <a:cubicBezTo>
                  <a:pt x="1400" y="588"/>
                  <a:pt x="1400" y="588"/>
                  <a:pt x="1400" y="588"/>
                </a:cubicBezTo>
                <a:cubicBezTo>
                  <a:pt x="1400" y="588"/>
                  <a:pt x="1400" y="588"/>
                  <a:pt x="1400" y="588"/>
                </a:cubicBezTo>
                <a:close/>
                <a:moveTo>
                  <a:pt x="1422" y="585"/>
                </a:moveTo>
                <a:cubicBezTo>
                  <a:pt x="1419" y="586"/>
                  <a:pt x="1422" y="586"/>
                  <a:pt x="1422" y="585"/>
                </a:cubicBezTo>
                <a:cubicBezTo>
                  <a:pt x="1421" y="585"/>
                  <a:pt x="1422" y="585"/>
                  <a:pt x="1422" y="585"/>
                </a:cubicBezTo>
                <a:close/>
                <a:moveTo>
                  <a:pt x="1435" y="586"/>
                </a:moveTo>
                <a:cubicBezTo>
                  <a:pt x="1436" y="586"/>
                  <a:pt x="1436" y="586"/>
                  <a:pt x="1436" y="585"/>
                </a:cubicBezTo>
                <a:cubicBezTo>
                  <a:pt x="1436" y="585"/>
                  <a:pt x="1436" y="585"/>
                  <a:pt x="1436" y="584"/>
                </a:cubicBezTo>
                <a:cubicBezTo>
                  <a:pt x="1435" y="585"/>
                  <a:pt x="1434" y="585"/>
                  <a:pt x="1435" y="586"/>
                </a:cubicBezTo>
                <a:cubicBezTo>
                  <a:pt x="1436" y="586"/>
                  <a:pt x="1435" y="586"/>
                  <a:pt x="1435" y="586"/>
                </a:cubicBezTo>
                <a:close/>
                <a:moveTo>
                  <a:pt x="1433" y="584"/>
                </a:moveTo>
                <a:cubicBezTo>
                  <a:pt x="1433" y="583"/>
                  <a:pt x="1434" y="584"/>
                  <a:pt x="1434" y="584"/>
                </a:cubicBezTo>
                <a:cubicBezTo>
                  <a:pt x="1434" y="583"/>
                  <a:pt x="1433" y="583"/>
                  <a:pt x="1433" y="583"/>
                </a:cubicBezTo>
                <a:cubicBezTo>
                  <a:pt x="1433" y="583"/>
                  <a:pt x="1433" y="584"/>
                  <a:pt x="1433" y="584"/>
                </a:cubicBezTo>
                <a:close/>
                <a:moveTo>
                  <a:pt x="1285" y="584"/>
                </a:moveTo>
                <a:cubicBezTo>
                  <a:pt x="1285" y="585"/>
                  <a:pt x="1286" y="586"/>
                  <a:pt x="1286" y="588"/>
                </a:cubicBezTo>
                <a:cubicBezTo>
                  <a:pt x="1287" y="588"/>
                  <a:pt x="1288" y="588"/>
                  <a:pt x="1288" y="588"/>
                </a:cubicBezTo>
                <a:cubicBezTo>
                  <a:pt x="1288" y="587"/>
                  <a:pt x="1287" y="586"/>
                  <a:pt x="1287" y="584"/>
                </a:cubicBezTo>
                <a:cubicBezTo>
                  <a:pt x="1287" y="584"/>
                  <a:pt x="1287" y="583"/>
                  <a:pt x="1286" y="583"/>
                </a:cubicBezTo>
                <a:cubicBezTo>
                  <a:pt x="1286" y="583"/>
                  <a:pt x="1285" y="583"/>
                  <a:pt x="1285" y="584"/>
                </a:cubicBezTo>
                <a:cubicBezTo>
                  <a:pt x="1285" y="585"/>
                  <a:pt x="1285" y="584"/>
                  <a:pt x="1285" y="584"/>
                </a:cubicBezTo>
                <a:close/>
                <a:moveTo>
                  <a:pt x="1436" y="583"/>
                </a:moveTo>
                <a:cubicBezTo>
                  <a:pt x="1436" y="583"/>
                  <a:pt x="1433" y="583"/>
                  <a:pt x="1436" y="583"/>
                </a:cubicBezTo>
                <a:close/>
                <a:moveTo>
                  <a:pt x="571" y="583"/>
                </a:moveTo>
                <a:cubicBezTo>
                  <a:pt x="572" y="583"/>
                  <a:pt x="572" y="583"/>
                  <a:pt x="572" y="582"/>
                </a:cubicBezTo>
                <a:cubicBezTo>
                  <a:pt x="571" y="582"/>
                  <a:pt x="571" y="582"/>
                  <a:pt x="571" y="583"/>
                </a:cubicBezTo>
                <a:cubicBezTo>
                  <a:pt x="572" y="583"/>
                  <a:pt x="571" y="583"/>
                  <a:pt x="571" y="583"/>
                </a:cubicBezTo>
                <a:close/>
                <a:moveTo>
                  <a:pt x="1505" y="607"/>
                </a:moveTo>
                <a:cubicBezTo>
                  <a:pt x="1506" y="607"/>
                  <a:pt x="1506" y="607"/>
                  <a:pt x="1506" y="606"/>
                </a:cubicBezTo>
                <a:cubicBezTo>
                  <a:pt x="1505" y="607"/>
                  <a:pt x="1505" y="605"/>
                  <a:pt x="1504" y="604"/>
                </a:cubicBezTo>
                <a:cubicBezTo>
                  <a:pt x="1504" y="604"/>
                  <a:pt x="1504" y="603"/>
                  <a:pt x="1503" y="603"/>
                </a:cubicBezTo>
                <a:cubicBezTo>
                  <a:pt x="1503" y="601"/>
                  <a:pt x="1501" y="603"/>
                  <a:pt x="1500" y="602"/>
                </a:cubicBezTo>
                <a:cubicBezTo>
                  <a:pt x="1500" y="602"/>
                  <a:pt x="1500" y="601"/>
                  <a:pt x="1499" y="601"/>
                </a:cubicBezTo>
                <a:cubicBezTo>
                  <a:pt x="1499" y="600"/>
                  <a:pt x="1499" y="601"/>
                  <a:pt x="1499" y="601"/>
                </a:cubicBezTo>
                <a:cubicBezTo>
                  <a:pt x="1499" y="600"/>
                  <a:pt x="1499" y="599"/>
                  <a:pt x="1498" y="599"/>
                </a:cubicBezTo>
                <a:cubicBezTo>
                  <a:pt x="1498" y="599"/>
                  <a:pt x="1497" y="599"/>
                  <a:pt x="1496" y="599"/>
                </a:cubicBezTo>
                <a:cubicBezTo>
                  <a:pt x="1496" y="599"/>
                  <a:pt x="1496" y="599"/>
                  <a:pt x="1496" y="598"/>
                </a:cubicBezTo>
                <a:cubicBezTo>
                  <a:pt x="1495" y="598"/>
                  <a:pt x="1495" y="599"/>
                  <a:pt x="1495" y="598"/>
                </a:cubicBezTo>
                <a:cubicBezTo>
                  <a:pt x="1495" y="598"/>
                  <a:pt x="1495" y="598"/>
                  <a:pt x="1495" y="598"/>
                </a:cubicBezTo>
                <a:cubicBezTo>
                  <a:pt x="1494" y="598"/>
                  <a:pt x="1494" y="598"/>
                  <a:pt x="1494" y="598"/>
                </a:cubicBezTo>
                <a:cubicBezTo>
                  <a:pt x="1493" y="598"/>
                  <a:pt x="1493" y="598"/>
                  <a:pt x="1492" y="597"/>
                </a:cubicBezTo>
                <a:cubicBezTo>
                  <a:pt x="1492" y="597"/>
                  <a:pt x="1490" y="597"/>
                  <a:pt x="1490" y="597"/>
                </a:cubicBezTo>
                <a:cubicBezTo>
                  <a:pt x="1490" y="597"/>
                  <a:pt x="1490" y="597"/>
                  <a:pt x="1490" y="597"/>
                </a:cubicBezTo>
                <a:cubicBezTo>
                  <a:pt x="1489" y="597"/>
                  <a:pt x="1490" y="596"/>
                  <a:pt x="1489" y="596"/>
                </a:cubicBezTo>
                <a:cubicBezTo>
                  <a:pt x="1489" y="596"/>
                  <a:pt x="1488" y="596"/>
                  <a:pt x="1487" y="596"/>
                </a:cubicBezTo>
                <a:cubicBezTo>
                  <a:pt x="1487" y="595"/>
                  <a:pt x="1487" y="595"/>
                  <a:pt x="1486" y="595"/>
                </a:cubicBezTo>
                <a:cubicBezTo>
                  <a:pt x="1485" y="595"/>
                  <a:pt x="1485" y="594"/>
                  <a:pt x="1484" y="594"/>
                </a:cubicBezTo>
                <a:cubicBezTo>
                  <a:pt x="1484" y="594"/>
                  <a:pt x="1484" y="594"/>
                  <a:pt x="1484" y="594"/>
                </a:cubicBezTo>
                <a:cubicBezTo>
                  <a:pt x="1484" y="593"/>
                  <a:pt x="1483" y="594"/>
                  <a:pt x="1483" y="593"/>
                </a:cubicBezTo>
                <a:cubicBezTo>
                  <a:pt x="1483" y="593"/>
                  <a:pt x="1482" y="594"/>
                  <a:pt x="1482" y="593"/>
                </a:cubicBezTo>
                <a:cubicBezTo>
                  <a:pt x="1482" y="592"/>
                  <a:pt x="1481" y="592"/>
                  <a:pt x="1481" y="592"/>
                </a:cubicBezTo>
                <a:cubicBezTo>
                  <a:pt x="1481" y="592"/>
                  <a:pt x="1480" y="592"/>
                  <a:pt x="1479" y="592"/>
                </a:cubicBezTo>
                <a:cubicBezTo>
                  <a:pt x="1479" y="592"/>
                  <a:pt x="1479" y="592"/>
                  <a:pt x="1479" y="592"/>
                </a:cubicBezTo>
                <a:cubicBezTo>
                  <a:pt x="1478" y="592"/>
                  <a:pt x="1479" y="592"/>
                  <a:pt x="1478" y="592"/>
                </a:cubicBezTo>
                <a:cubicBezTo>
                  <a:pt x="1477" y="592"/>
                  <a:pt x="1476" y="592"/>
                  <a:pt x="1476" y="592"/>
                </a:cubicBezTo>
                <a:cubicBezTo>
                  <a:pt x="1475" y="591"/>
                  <a:pt x="1476" y="591"/>
                  <a:pt x="1475" y="591"/>
                </a:cubicBezTo>
                <a:cubicBezTo>
                  <a:pt x="1475" y="591"/>
                  <a:pt x="1475" y="591"/>
                  <a:pt x="1474" y="591"/>
                </a:cubicBezTo>
                <a:cubicBezTo>
                  <a:pt x="1474" y="591"/>
                  <a:pt x="1474" y="591"/>
                  <a:pt x="1474" y="591"/>
                </a:cubicBezTo>
                <a:cubicBezTo>
                  <a:pt x="1474" y="590"/>
                  <a:pt x="1473" y="590"/>
                  <a:pt x="1473" y="590"/>
                </a:cubicBezTo>
                <a:cubicBezTo>
                  <a:pt x="1472" y="589"/>
                  <a:pt x="1472" y="589"/>
                  <a:pt x="1472" y="589"/>
                </a:cubicBezTo>
                <a:cubicBezTo>
                  <a:pt x="1471" y="589"/>
                  <a:pt x="1471" y="588"/>
                  <a:pt x="1470" y="588"/>
                </a:cubicBezTo>
                <a:cubicBezTo>
                  <a:pt x="1470" y="588"/>
                  <a:pt x="1469" y="588"/>
                  <a:pt x="1469" y="588"/>
                </a:cubicBezTo>
                <a:cubicBezTo>
                  <a:pt x="1469" y="587"/>
                  <a:pt x="1468" y="588"/>
                  <a:pt x="1467" y="587"/>
                </a:cubicBezTo>
                <a:cubicBezTo>
                  <a:pt x="1467" y="588"/>
                  <a:pt x="1466" y="588"/>
                  <a:pt x="1465" y="589"/>
                </a:cubicBezTo>
                <a:cubicBezTo>
                  <a:pt x="1465" y="589"/>
                  <a:pt x="1464" y="591"/>
                  <a:pt x="1464" y="591"/>
                </a:cubicBezTo>
                <a:cubicBezTo>
                  <a:pt x="1462" y="591"/>
                  <a:pt x="1463" y="591"/>
                  <a:pt x="1462" y="591"/>
                </a:cubicBezTo>
                <a:cubicBezTo>
                  <a:pt x="1462" y="591"/>
                  <a:pt x="1462" y="591"/>
                  <a:pt x="1461" y="592"/>
                </a:cubicBezTo>
                <a:cubicBezTo>
                  <a:pt x="1461" y="592"/>
                  <a:pt x="1461" y="592"/>
                  <a:pt x="1461" y="593"/>
                </a:cubicBezTo>
                <a:cubicBezTo>
                  <a:pt x="1460" y="594"/>
                  <a:pt x="1460" y="593"/>
                  <a:pt x="1460" y="594"/>
                </a:cubicBezTo>
                <a:cubicBezTo>
                  <a:pt x="1460" y="595"/>
                  <a:pt x="1459" y="595"/>
                  <a:pt x="1459" y="596"/>
                </a:cubicBezTo>
                <a:cubicBezTo>
                  <a:pt x="1458" y="596"/>
                  <a:pt x="1458" y="596"/>
                  <a:pt x="1457" y="596"/>
                </a:cubicBezTo>
                <a:cubicBezTo>
                  <a:pt x="1457" y="596"/>
                  <a:pt x="1457" y="596"/>
                  <a:pt x="1457" y="597"/>
                </a:cubicBezTo>
                <a:cubicBezTo>
                  <a:pt x="1455" y="596"/>
                  <a:pt x="1455" y="597"/>
                  <a:pt x="1455" y="595"/>
                </a:cubicBezTo>
                <a:cubicBezTo>
                  <a:pt x="1455" y="595"/>
                  <a:pt x="1455" y="594"/>
                  <a:pt x="1454" y="595"/>
                </a:cubicBezTo>
                <a:cubicBezTo>
                  <a:pt x="1454" y="596"/>
                  <a:pt x="1454" y="594"/>
                  <a:pt x="1454" y="594"/>
                </a:cubicBezTo>
                <a:cubicBezTo>
                  <a:pt x="1454" y="593"/>
                  <a:pt x="1454" y="593"/>
                  <a:pt x="1453" y="592"/>
                </a:cubicBezTo>
                <a:cubicBezTo>
                  <a:pt x="1453" y="593"/>
                  <a:pt x="1452" y="593"/>
                  <a:pt x="1452" y="593"/>
                </a:cubicBezTo>
                <a:cubicBezTo>
                  <a:pt x="1452" y="592"/>
                  <a:pt x="1451" y="591"/>
                  <a:pt x="1451" y="590"/>
                </a:cubicBezTo>
                <a:cubicBezTo>
                  <a:pt x="1451" y="589"/>
                  <a:pt x="1451" y="588"/>
                  <a:pt x="1451" y="587"/>
                </a:cubicBezTo>
                <a:cubicBezTo>
                  <a:pt x="1451" y="586"/>
                  <a:pt x="1452" y="587"/>
                  <a:pt x="1452" y="587"/>
                </a:cubicBezTo>
                <a:cubicBezTo>
                  <a:pt x="1452" y="586"/>
                  <a:pt x="1451" y="586"/>
                  <a:pt x="1452" y="586"/>
                </a:cubicBezTo>
                <a:cubicBezTo>
                  <a:pt x="1452" y="585"/>
                  <a:pt x="1452" y="584"/>
                  <a:pt x="1451" y="583"/>
                </a:cubicBezTo>
                <a:cubicBezTo>
                  <a:pt x="1451" y="583"/>
                  <a:pt x="1450" y="583"/>
                  <a:pt x="1450" y="582"/>
                </a:cubicBezTo>
                <a:cubicBezTo>
                  <a:pt x="1450" y="582"/>
                  <a:pt x="1449" y="582"/>
                  <a:pt x="1448" y="583"/>
                </a:cubicBezTo>
                <a:cubicBezTo>
                  <a:pt x="1449" y="582"/>
                  <a:pt x="1447" y="582"/>
                  <a:pt x="1447" y="583"/>
                </a:cubicBezTo>
                <a:cubicBezTo>
                  <a:pt x="1446" y="582"/>
                  <a:pt x="1445" y="582"/>
                  <a:pt x="1444" y="582"/>
                </a:cubicBezTo>
                <a:cubicBezTo>
                  <a:pt x="1443" y="581"/>
                  <a:pt x="1442" y="582"/>
                  <a:pt x="1441" y="582"/>
                </a:cubicBezTo>
                <a:cubicBezTo>
                  <a:pt x="1440" y="583"/>
                  <a:pt x="1441" y="583"/>
                  <a:pt x="1440" y="583"/>
                </a:cubicBezTo>
                <a:cubicBezTo>
                  <a:pt x="1439" y="583"/>
                  <a:pt x="1439" y="583"/>
                  <a:pt x="1438" y="583"/>
                </a:cubicBezTo>
                <a:cubicBezTo>
                  <a:pt x="1437" y="583"/>
                  <a:pt x="1437" y="583"/>
                  <a:pt x="1437" y="584"/>
                </a:cubicBezTo>
                <a:cubicBezTo>
                  <a:pt x="1438" y="584"/>
                  <a:pt x="1437" y="587"/>
                  <a:pt x="1437" y="587"/>
                </a:cubicBezTo>
                <a:cubicBezTo>
                  <a:pt x="1437" y="588"/>
                  <a:pt x="1439" y="587"/>
                  <a:pt x="1440" y="587"/>
                </a:cubicBezTo>
                <a:cubicBezTo>
                  <a:pt x="1441" y="587"/>
                  <a:pt x="1440" y="588"/>
                  <a:pt x="1441" y="588"/>
                </a:cubicBezTo>
                <a:cubicBezTo>
                  <a:pt x="1442" y="588"/>
                  <a:pt x="1441" y="588"/>
                  <a:pt x="1441" y="589"/>
                </a:cubicBezTo>
                <a:cubicBezTo>
                  <a:pt x="1441" y="589"/>
                  <a:pt x="1442" y="590"/>
                  <a:pt x="1441" y="590"/>
                </a:cubicBezTo>
                <a:cubicBezTo>
                  <a:pt x="1442" y="590"/>
                  <a:pt x="1445" y="590"/>
                  <a:pt x="1445" y="591"/>
                </a:cubicBezTo>
                <a:cubicBezTo>
                  <a:pt x="1446" y="591"/>
                  <a:pt x="1446" y="590"/>
                  <a:pt x="1447" y="590"/>
                </a:cubicBezTo>
                <a:cubicBezTo>
                  <a:pt x="1447" y="590"/>
                  <a:pt x="1448" y="591"/>
                  <a:pt x="1449" y="591"/>
                </a:cubicBezTo>
                <a:cubicBezTo>
                  <a:pt x="1450" y="591"/>
                  <a:pt x="1450" y="591"/>
                  <a:pt x="1450" y="592"/>
                </a:cubicBezTo>
                <a:cubicBezTo>
                  <a:pt x="1449" y="592"/>
                  <a:pt x="1447" y="592"/>
                  <a:pt x="1448" y="592"/>
                </a:cubicBezTo>
                <a:cubicBezTo>
                  <a:pt x="1447" y="592"/>
                  <a:pt x="1447" y="592"/>
                  <a:pt x="1446" y="592"/>
                </a:cubicBezTo>
                <a:cubicBezTo>
                  <a:pt x="1446" y="593"/>
                  <a:pt x="1442" y="593"/>
                  <a:pt x="1441" y="593"/>
                </a:cubicBezTo>
                <a:cubicBezTo>
                  <a:pt x="1440" y="593"/>
                  <a:pt x="1441" y="593"/>
                  <a:pt x="1440" y="593"/>
                </a:cubicBezTo>
                <a:cubicBezTo>
                  <a:pt x="1441" y="594"/>
                  <a:pt x="1441" y="594"/>
                  <a:pt x="1442" y="594"/>
                </a:cubicBezTo>
                <a:cubicBezTo>
                  <a:pt x="1443" y="593"/>
                  <a:pt x="1443" y="594"/>
                  <a:pt x="1443" y="594"/>
                </a:cubicBezTo>
                <a:cubicBezTo>
                  <a:pt x="1443" y="595"/>
                  <a:pt x="1443" y="596"/>
                  <a:pt x="1444" y="596"/>
                </a:cubicBezTo>
                <a:cubicBezTo>
                  <a:pt x="1444" y="596"/>
                  <a:pt x="1445" y="596"/>
                  <a:pt x="1445" y="597"/>
                </a:cubicBezTo>
                <a:cubicBezTo>
                  <a:pt x="1445" y="597"/>
                  <a:pt x="1445" y="597"/>
                  <a:pt x="1445" y="597"/>
                </a:cubicBezTo>
                <a:cubicBezTo>
                  <a:pt x="1445" y="598"/>
                  <a:pt x="1445" y="598"/>
                  <a:pt x="1445" y="599"/>
                </a:cubicBezTo>
                <a:cubicBezTo>
                  <a:pt x="1446" y="601"/>
                  <a:pt x="1447" y="597"/>
                  <a:pt x="1448" y="597"/>
                </a:cubicBezTo>
                <a:cubicBezTo>
                  <a:pt x="1448" y="597"/>
                  <a:pt x="1448" y="596"/>
                  <a:pt x="1448" y="596"/>
                </a:cubicBezTo>
                <a:cubicBezTo>
                  <a:pt x="1448" y="596"/>
                  <a:pt x="1448" y="597"/>
                  <a:pt x="1448" y="597"/>
                </a:cubicBezTo>
                <a:cubicBezTo>
                  <a:pt x="1448" y="597"/>
                  <a:pt x="1449" y="597"/>
                  <a:pt x="1449" y="597"/>
                </a:cubicBezTo>
                <a:cubicBezTo>
                  <a:pt x="1449" y="598"/>
                  <a:pt x="1449" y="598"/>
                  <a:pt x="1449" y="598"/>
                </a:cubicBezTo>
                <a:cubicBezTo>
                  <a:pt x="1450" y="598"/>
                  <a:pt x="1450" y="598"/>
                  <a:pt x="1450" y="598"/>
                </a:cubicBezTo>
                <a:cubicBezTo>
                  <a:pt x="1450" y="598"/>
                  <a:pt x="1450" y="598"/>
                  <a:pt x="1451" y="599"/>
                </a:cubicBezTo>
                <a:cubicBezTo>
                  <a:pt x="1452" y="599"/>
                  <a:pt x="1452" y="599"/>
                  <a:pt x="1452" y="599"/>
                </a:cubicBezTo>
                <a:cubicBezTo>
                  <a:pt x="1452" y="599"/>
                  <a:pt x="1453" y="599"/>
                  <a:pt x="1453" y="599"/>
                </a:cubicBezTo>
                <a:cubicBezTo>
                  <a:pt x="1453" y="599"/>
                  <a:pt x="1453" y="600"/>
                  <a:pt x="1453" y="600"/>
                </a:cubicBezTo>
                <a:cubicBezTo>
                  <a:pt x="1453" y="602"/>
                  <a:pt x="1453" y="601"/>
                  <a:pt x="1454" y="602"/>
                </a:cubicBezTo>
                <a:cubicBezTo>
                  <a:pt x="1454" y="602"/>
                  <a:pt x="1454" y="602"/>
                  <a:pt x="1454" y="602"/>
                </a:cubicBezTo>
                <a:cubicBezTo>
                  <a:pt x="1454" y="602"/>
                  <a:pt x="1455" y="602"/>
                  <a:pt x="1455" y="602"/>
                </a:cubicBezTo>
                <a:cubicBezTo>
                  <a:pt x="1455" y="602"/>
                  <a:pt x="1456" y="602"/>
                  <a:pt x="1457" y="602"/>
                </a:cubicBezTo>
                <a:cubicBezTo>
                  <a:pt x="1457" y="603"/>
                  <a:pt x="1458" y="602"/>
                  <a:pt x="1458" y="603"/>
                </a:cubicBezTo>
                <a:cubicBezTo>
                  <a:pt x="1458" y="603"/>
                  <a:pt x="1459" y="602"/>
                  <a:pt x="1460" y="602"/>
                </a:cubicBezTo>
                <a:cubicBezTo>
                  <a:pt x="1460" y="603"/>
                  <a:pt x="1460" y="603"/>
                  <a:pt x="1461" y="603"/>
                </a:cubicBezTo>
                <a:cubicBezTo>
                  <a:pt x="1461" y="604"/>
                  <a:pt x="1462" y="604"/>
                  <a:pt x="1462" y="604"/>
                </a:cubicBezTo>
                <a:cubicBezTo>
                  <a:pt x="1463" y="604"/>
                  <a:pt x="1463" y="605"/>
                  <a:pt x="1463" y="606"/>
                </a:cubicBezTo>
                <a:cubicBezTo>
                  <a:pt x="1464" y="607"/>
                  <a:pt x="1465" y="606"/>
                  <a:pt x="1466" y="606"/>
                </a:cubicBezTo>
                <a:cubicBezTo>
                  <a:pt x="1467" y="606"/>
                  <a:pt x="1467" y="606"/>
                  <a:pt x="1467" y="607"/>
                </a:cubicBezTo>
                <a:cubicBezTo>
                  <a:pt x="1468" y="607"/>
                  <a:pt x="1468" y="607"/>
                  <a:pt x="1469" y="607"/>
                </a:cubicBezTo>
                <a:cubicBezTo>
                  <a:pt x="1470" y="607"/>
                  <a:pt x="1470" y="608"/>
                  <a:pt x="1470" y="608"/>
                </a:cubicBezTo>
                <a:cubicBezTo>
                  <a:pt x="1471" y="608"/>
                  <a:pt x="1470" y="609"/>
                  <a:pt x="1470" y="610"/>
                </a:cubicBezTo>
                <a:cubicBezTo>
                  <a:pt x="1471" y="610"/>
                  <a:pt x="1471" y="610"/>
                  <a:pt x="1471" y="611"/>
                </a:cubicBezTo>
                <a:cubicBezTo>
                  <a:pt x="1471" y="612"/>
                  <a:pt x="1471" y="612"/>
                  <a:pt x="1471" y="612"/>
                </a:cubicBezTo>
                <a:cubicBezTo>
                  <a:pt x="1471" y="613"/>
                  <a:pt x="1471" y="613"/>
                  <a:pt x="1471" y="613"/>
                </a:cubicBezTo>
                <a:cubicBezTo>
                  <a:pt x="1471" y="613"/>
                  <a:pt x="1471" y="613"/>
                  <a:pt x="1471" y="614"/>
                </a:cubicBezTo>
                <a:cubicBezTo>
                  <a:pt x="1470" y="615"/>
                  <a:pt x="1472" y="615"/>
                  <a:pt x="1472" y="616"/>
                </a:cubicBezTo>
                <a:cubicBezTo>
                  <a:pt x="1472" y="616"/>
                  <a:pt x="1472" y="617"/>
                  <a:pt x="1472" y="617"/>
                </a:cubicBezTo>
                <a:cubicBezTo>
                  <a:pt x="1472" y="617"/>
                  <a:pt x="1472" y="617"/>
                  <a:pt x="1473" y="617"/>
                </a:cubicBezTo>
                <a:cubicBezTo>
                  <a:pt x="1473" y="617"/>
                  <a:pt x="1473" y="617"/>
                  <a:pt x="1473" y="618"/>
                </a:cubicBezTo>
                <a:cubicBezTo>
                  <a:pt x="1473" y="618"/>
                  <a:pt x="1473" y="618"/>
                  <a:pt x="1473" y="618"/>
                </a:cubicBezTo>
                <a:cubicBezTo>
                  <a:pt x="1473" y="618"/>
                  <a:pt x="1473" y="619"/>
                  <a:pt x="1473" y="619"/>
                </a:cubicBezTo>
                <a:cubicBezTo>
                  <a:pt x="1474" y="619"/>
                  <a:pt x="1473" y="620"/>
                  <a:pt x="1473" y="620"/>
                </a:cubicBezTo>
                <a:cubicBezTo>
                  <a:pt x="1473" y="620"/>
                  <a:pt x="1473" y="621"/>
                  <a:pt x="1473" y="621"/>
                </a:cubicBezTo>
                <a:cubicBezTo>
                  <a:pt x="1474" y="622"/>
                  <a:pt x="1474" y="622"/>
                  <a:pt x="1474" y="623"/>
                </a:cubicBezTo>
                <a:cubicBezTo>
                  <a:pt x="1473" y="622"/>
                  <a:pt x="1473" y="622"/>
                  <a:pt x="1473" y="622"/>
                </a:cubicBezTo>
                <a:cubicBezTo>
                  <a:pt x="1472" y="621"/>
                  <a:pt x="1471" y="621"/>
                  <a:pt x="1470" y="622"/>
                </a:cubicBezTo>
                <a:cubicBezTo>
                  <a:pt x="1470" y="622"/>
                  <a:pt x="1470" y="622"/>
                  <a:pt x="1470" y="622"/>
                </a:cubicBezTo>
                <a:cubicBezTo>
                  <a:pt x="1470" y="623"/>
                  <a:pt x="1469" y="623"/>
                  <a:pt x="1469" y="623"/>
                </a:cubicBezTo>
                <a:cubicBezTo>
                  <a:pt x="1469" y="623"/>
                  <a:pt x="1468" y="624"/>
                  <a:pt x="1467" y="625"/>
                </a:cubicBezTo>
                <a:cubicBezTo>
                  <a:pt x="1468" y="625"/>
                  <a:pt x="1469" y="625"/>
                  <a:pt x="1470" y="625"/>
                </a:cubicBezTo>
                <a:cubicBezTo>
                  <a:pt x="1471" y="625"/>
                  <a:pt x="1471" y="625"/>
                  <a:pt x="1472" y="625"/>
                </a:cubicBezTo>
                <a:cubicBezTo>
                  <a:pt x="1473" y="624"/>
                  <a:pt x="1473" y="624"/>
                  <a:pt x="1473" y="623"/>
                </a:cubicBezTo>
                <a:cubicBezTo>
                  <a:pt x="1473" y="623"/>
                  <a:pt x="1473" y="624"/>
                  <a:pt x="1474" y="624"/>
                </a:cubicBezTo>
                <a:cubicBezTo>
                  <a:pt x="1474" y="624"/>
                  <a:pt x="1475" y="624"/>
                  <a:pt x="1476" y="624"/>
                </a:cubicBezTo>
                <a:cubicBezTo>
                  <a:pt x="1477" y="624"/>
                  <a:pt x="1478" y="623"/>
                  <a:pt x="1479" y="624"/>
                </a:cubicBezTo>
                <a:cubicBezTo>
                  <a:pt x="1479" y="625"/>
                  <a:pt x="1479" y="625"/>
                  <a:pt x="1479" y="625"/>
                </a:cubicBezTo>
                <a:cubicBezTo>
                  <a:pt x="1480" y="626"/>
                  <a:pt x="1480" y="626"/>
                  <a:pt x="1480" y="627"/>
                </a:cubicBezTo>
                <a:cubicBezTo>
                  <a:pt x="1480" y="628"/>
                  <a:pt x="1481" y="628"/>
                  <a:pt x="1481" y="628"/>
                </a:cubicBezTo>
                <a:cubicBezTo>
                  <a:pt x="1482" y="629"/>
                  <a:pt x="1482" y="629"/>
                  <a:pt x="1482" y="629"/>
                </a:cubicBezTo>
                <a:cubicBezTo>
                  <a:pt x="1482" y="629"/>
                  <a:pt x="1482" y="629"/>
                  <a:pt x="1483" y="629"/>
                </a:cubicBezTo>
                <a:cubicBezTo>
                  <a:pt x="1483" y="629"/>
                  <a:pt x="1483" y="629"/>
                  <a:pt x="1483" y="629"/>
                </a:cubicBezTo>
                <a:cubicBezTo>
                  <a:pt x="1484" y="629"/>
                  <a:pt x="1485" y="629"/>
                  <a:pt x="1486" y="629"/>
                </a:cubicBezTo>
                <a:cubicBezTo>
                  <a:pt x="1487" y="629"/>
                  <a:pt x="1489" y="629"/>
                  <a:pt x="1489" y="628"/>
                </a:cubicBezTo>
                <a:cubicBezTo>
                  <a:pt x="1490" y="628"/>
                  <a:pt x="1489" y="629"/>
                  <a:pt x="1490" y="629"/>
                </a:cubicBezTo>
                <a:cubicBezTo>
                  <a:pt x="1490" y="629"/>
                  <a:pt x="1491" y="629"/>
                  <a:pt x="1491" y="629"/>
                </a:cubicBezTo>
                <a:cubicBezTo>
                  <a:pt x="1492" y="629"/>
                  <a:pt x="1492" y="629"/>
                  <a:pt x="1493" y="629"/>
                </a:cubicBezTo>
                <a:cubicBezTo>
                  <a:pt x="1493" y="629"/>
                  <a:pt x="1493" y="629"/>
                  <a:pt x="1493" y="629"/>
                </a:cubicBezTo>
                <a:cubicBezTo>
                  <a:pt x="1493" y="628"/>
                  <a:pt x="1493" y="629"/>
                  <a:pt x="1493" y="629"/>
                </a:cubicBezTo>
                <a:cubicBezTo>
                  <a:pt x="1493" y="628"/>
                  <a:pt x="1493" y="628"/>
                  <a:pt x="1493" y="628"/>
                </a:cubicBezTo>
                <a:cubicBezTo>
                  <a:pt x="1494" y="628"/>
                  <a:pt x="1494" y="628"/>
                  <a:pt x="1494" y="628"/>
                </a:cubicBezTo>
                <a:cubicBezTo>
                  <a:pt x="1494" y="627"/>
                  <a:pt x="1496" y="627"/>
                  <a:pt x="1496" y="626"/>
                </a:cubicBezTo>
                <a:cubicBezTo>
                  <a:pt x="1495" y="625"/>
                  <a:pt x="1495" y="625"/>
                  <a:pt x="1495" y="624"/>
                </a:cubicBezTo>
                <a:cubicBezTo>
                  <a:pt x="1495" y="624"/>
                  <a:pt x="1496" y="623"/>
                  <a:pt x="1496" y="623"/>
                </a:cubicBezTo>
                <a:cubicBezTo>
                  <a:pt x="1497" y="623"/>
                  <a:pt x="1497" y="623"/>
                  <a:pt x="1498" y="623"/>
                </a:cubicBezTo>
                <a:cubicBezTo>
                  <a:pt x="1498" y="623"/>
                  <a:pt x="1498" y="623"/>
                  <a:pt x="1498" y="623"/>
                </a:cubicBezTo>
                <a:cubicBezTo>
                  <a:pt x="1499" y="623"/>
                  <a:pt x="1500" y="624"/>
                  <a:pt x="1502" y="624"/>
                </a:cubicBezTo>
                <a:cubicBezTo>
                  <a:pt x="1502" y="624"/>
                  <a:pt x="1502" y="623"/>
                  <a:pt x="1503" y="623"/>
                </a:cubicBezTo>
                <a:cubicBezTo>
                  <a:pt x="1503" y="623"/>
                  <a:pt x="1503" y="624"/>
                  <a:pt x="1504" y="624"/>
                </a:cubicBezTo>
                <a:cubicBezTo>
                  <a:pt x="1504" y="624"/>
                  <a:pt x="1504" y="624"/>
                  <a:pt x="1505" y="624"/>
                </a:cubicBezTo>
                <a:cubicBezTo>
                  <a:pt x="1505" y="624"/>
                  <a:pt x="1505" y="624"/>
                  <a:pt x="1505" y="624"/>
                </a:cubicBezTo>
                <a:cubicBezTo>
                  <a:pt x="1505" y="624"/>
                  <a:pt x="1505" y="624"/>
                  <a:pt x="1506" y="624"/>
                </a:cubicBezTo>
                <a:cubicBezTo>
                  <a:pt x="1506" y="624"/>
                  <a:pt x="1506" y="624"/>
                  <a:pt x="1506" y="624"/>
                </a:cubicBezTo>
                <a:cubicBezTo>
                  <a:pt x="1506" y="625"/>
                  <a:pt x="1508" y="625"/>
                  <a:pt x="1508" y="626"/>
                </a:cubicBezTo>
                <a:cubicBezTo>
                  <a:pt x="1508" y="626"/>
                  <a:pt x="1509" y="627"/>
                  <a:pt x="1509" y="628"/>
                </a:cubicBezTo>
                <a:cubicBezTo>
                  <a:pt x="1509" y="628"/>
                  <a:pt x="1509" y="629"/>
                  <a:pt x="1509" y="629"/>
                </a:cubicBezTo>
                <a:cubicBezTo>
                  <a:pt x="1509" y="629"/>
                  <a:pt x="1510" y="629"/>
                  <a:pt x="1510" y="629"/>
                </a:cubicBezTo>
                <a:cubicBezTo>
                  <a:pt x="1510" y="630"/>
                  <a:pt x="1511" y="631"/>
                  <a:pt x="1512" y="631"/>
                </a:cubicBezTo>
                <a:cubicBezTo>
                  <a:pt x="1514" y="632"/>
                  <a:pt x="1512" y="632"/>
                  <a:pt x="1513" y="632"/>
                </a:cubicBezTo>
                <a:cubicBezTo>
                  <a:pt x="1513" y="633"/>
                  <a:pt x="1514" y="633"/>
                  <a:pt x="1514" y="633"/>
                </a:cubicBezTo>
                <a:cubicBezTo>
                  <a:pt x="1515" y="634"/>
                  <a:pt x="1515" y="634"/>
                  <a:pt x="1515" y="634"/>
                </a:cubicBezTo>
                <a:cubicBezTo>
                  <a:pt x="1515" y="636"/>
                  <a:pt x="1516" y="635"/>
                  <a:pt x="1517" y="635"/>
                </a:cubicBezTo>
                <a:cubicBezTo>
                  <a:pt x="1517" y="635"/>
                  <a:pt x="1518" y="636"/>
                  <a:pt x="1518" y="636"/>
                </a:cubicBezTo>
                <a:cubicBezTo>
                  <a:pt x="1518" y="637"/>
                  <a:pt x="1519" y="636"/>
                  <a:pt x="1519" y="636"/>
                </a:cubicBezTo>
                <a:cubicBezTo>
                  <a:pt x="1519" y="636"/>
                  <a:pt x="1520" y="637"/>
                  <a:pt x="1521" y="637"/>
                </a:cubicBezTo>
                <a:cubicBezTo>
                  <a:pt x="1522" y="637"/>
                  <a:pt x="1523" y="637"/>
                  <a:pt x="1524" y="637"/>
                </a:cubicBezTo>
                <a:cubicBezTo>
                  <a:pt x="1524" y="637"/>
                  <a:pt x="1524" y="638"/>
                  <a:pt x="1525" y="638"/>
                </a:cubicBezTo>
                <a:cubicBezTo>
                  <a:pt x="1526" y="638"/>
                  <a:pt x="1527" y="638"/>
                  <a:pt x="1528" y="638"/>
                </a:cubicBezTo>
                <a:cubicBezTo>
                  <a:pt x="1528" y="637"/>
                  <a:pt x="1528" y="637"/>
                  <a:pt x="1528" y="636"/>
                </a:cubicBezTo>
                <a:cubicBezTo>
                  <a:pt x="1527" y="636"/>
                  <a:pt x="1526" y="636"/>
                  <a:pt x="1526" y="636"/>
                </a:cubicBezTo>
                <a:cubicBezTo>
                  <a:pt x="1526" y="635"/>
                  <a:pt x="1525" y="635"/>
                  <a:pt x="1525" y="635"/>
                </a:cubicBezTo>
                <a:cubicBezTo>
                  <a:pt x="1525" y="634"/>
                  <a:pt x="1525" y="633"/>
                  <a:pt x="1524" y="633"/>
                </a:cubicBezTo>
                <a:cubicBezTo>
                  <a:pt x="1523" y="633"/>
                  <a:pt x="1523" y="633"/>
                  <a:pt x="1522" y="632"/>
                </a:cubicBezTo>
                <a:cubicBezTo>
                  <a:pt x="1522" y="631"/>
                  <a:pt x="1522" y="631"/>
                  <a:pt x="1522" y="630"/>
                </a:cubicBezTo>
                <a:cubicBezTo>
                  <a:pt x="1521" y="630"/>
                  <a:pt x="1521" y="629"/>
                  <a:pt x="1520" y="629"/>
                </a:cubicBezTo>
                <a:cubicBezTo>
                  <a:pt x="1519" y="629"/>
                  <a:pt x="1519" y="629"/>
                  <a:pt x="1519" y="629"/>
                </a:cubicBezTo>
                <a:cubicBezTo>
                  <a:pt x="1519" y="629"/>
                  <a:pt x="1519" y="628"/>
                  <a:pt x="1519" y="627"/>
                </a:cubicBezTo>
                <a:cubicBezTo>
                  <a:pt x="1518" y="627"/>
                  <a:pt x="1518" y="627"/>
                  <a:pt x="1518" y="626"/>
                </a:cubicBezTo>
                <a:cubicBezTo>
                  <a:pt x="1517" y="626"/>
                  <a:pt x="1518" y="625"/>
                  <a:pt x="1518" y="625"/>
                </a:cubicBezTo>
                <a:cubicBezTo>
                  <a:pt x="1517" y="624"/>
                  <a:pt x="1516" y="624"/>
                  <a:pt x="1516" y="624"/>
                </a:cubicBezTo>
                <a:cubicBezTo>
                  <a:pt x="1516" y="623"/>
                  <a:pt x="1515" y="624"/>
                  <a:pt x="1515" y="624"/>
                </a:cubicBezTo>
                <a:cubicBezTo>
                  <a:pt x="1515" y="624"/>
                  <a:pt x="1515" y="623"/>
                  <a:pt x="1514" y="623"/>
                </a:cubicBezTo>
                <a:cubicBezTo>
                  <a:pt x="1514" y="623"/>
                  <a:pt x="1514" y="623"/>
                  <a:pt x="1513" y="622"/>
                </a:cubicBezTo>
                <a:cubicBezTo>
                  <a:pt x="1513" y="622"/>
                  <a:pt x="1513" y="621"/>
                  <a:pt x="1513" y="621"/>
                </a:cubicBezTo>
                <a:cubicBezTo>
                  <a:pt x="1513" y="620"/>
                  <a:pt x="1513" y="619"/>
                  <a:pt x="1513" y="618"/>
                </a:cubicBezTo>
                <a:cubicBezTo>
                  <a:pt x="1513" y="618"/>
                  <a:pt x="1512" y="618"/>
                  <a:pt x="1512" y="618"/>
                </a:cubicBezTo>
                <a:cubicBezTo>
                  <a:pt x="1513" y="618"/>
                  <a:pt x="1512" y="617"/>
                  <a:pt x="1513" y="617"/>
                </a:cubicBezTo>
                <a:cubicBezTo>
                  <a:pt x="1513" y="617"/>
                  <a:pt x="1513" y="617"/>
                  <a:pt x="1514" y="617"/>
                </a:cubicBezTo>
                <a:cubicBezTo>
                  <a:pt x="1514" y="617"/>
                  <a:pt x="1514" y="617"/>
                  <a:pt x="1515" y="617"/>
                </a:cubicBezTo>
                <a:cubicBezTo>
                  <a:pt x="1516" y="616"/>
                  <a:pt x="1517" y="615"/>
                  <a:pt x="1516" y="614"/>
                </a:cubicBezTo>
                <a:cubicBezTo>
                  <a:pt x="1515" y="613"/>
                  <a:pt x="1515" y="614"/>
                  <a:pt x="1515" y="613"/>
                </a:cubicBezTo>
                <a:cubicBezTo>
                  <a:pt x="1515" y="612"/>
                  <a:pt x="1514" y="612"/>
                  <a:pt x="1514" y="612"/>
                </a:cubicBezTo>
                <a:cubicBezTo>
                  <a:pt x="1513" y="612"/>
                  <a:pt x="1513" y="613"/>
                  <a:pt x="1512" y="612"/>
                </a:cubicBezTo>
                <a:cubicBezTo>
                  <a:pt x="1511" y="612"/>
                  <a:pt x="1511" y="611"/>
                  <a:pt x="1510" y="610"/>
                </a:cubicBezTo>
                <a:cubicBezTo>
                  <a:pt x="1510" y="610"/>
                  <a:pt x="1510" y="610"/>
                  <a:pt x="1510" y="609"/>
                </a:cubicBezTo>
                <a:cubicBezTo>
                  <a:pt x="1510" y="609"/>
                  <a:pt x="1508" y="609"/>
                  <a:pt x="1508" y="609"/>
                </a:cubicBezTo>
                <a:cubicBezTo>
                  <a:pt x="1507" y="609"/>
                  <a:pt x="1505" y="609"/>
                  <a:pt x="1505" y="607"/>
                </a:cubicBezTo>
                <a:close/>
                <a:moveTo>
                  <a:pt x="573" y="581"/>
                </a:moveTo>
                <a:cubicBezTo>
                  <a:pt x="573" y="581"/>
                  <a:pt x="573" y="581"/>
                  <a:pt x="574" y="581"/>
                </a:cubicBezTo>
                <a:cubicBezTo>
                  <a:pt x="573" y="581"/>
                  <a:pt x="574" y="581"/>
                  <a:pt x="573" y="580"/>
                </a:cubicBezTo>
                <a:cubicBezTo>
                  <a:pt x="573" y="581"/>
                  <a:pt x="573" y="581"/>
                  <a:pt x="573" y="581"/>
                </a:cubicBezTo>
                <a:close/>
                <a:moveTo>
                  <a:pt x="1421" y="582"/>
                </a:moveTo>
                <a:cubicBezTo>
                  <a:pt x="1421" y="581"/>
                  <a:pt x="1420" y="581"/>
                  <a:pt x="1420" y="581"/>
                </a:cubicBezTo>
                <a:cubicBezTo>
                  <a:pt x="1420" y="581"/>
                  <a:pt x="1420" y="580"/>
                  <a:pt x="1419" y="580"/>
                </a:cubicBezTo>
                <a:cubicBezTo>
                  <a:pt x="1419" y="580"/>
                  <a:pt x="1419" y="582"/>
                  <a:pt x="1419" y="583"/>
                </a:cubicBezTo>
                <a:cubicBezTo>
                  <a:pt x="1420" y="582"/>
                  <a:pt x="1421" y="582"/>
                  <a:pt x="1421" y="582"/>
                </a:cubicBezTo>
                <a:cubicBezTo>
                  <a:pt x="1420" y="581"/>
                  <a:pt x="1421" y="582"/>
                  <a:pt x="1421" y="582"/>
                </a:cubicBezTo>
                <a:close/>
                <a:moveTo>
                  <a:pt x="1309" y="580"/>
                </a:moveTo>
                <a:cubicBezTo>
                  <a:pt x="1309" y="580"/>
                  <a:pt x="1310" y="580"/>
                  <a:pt x="1309" y="579"/>
                </a:cubicBezTo>
                <a:cubicBezTo>
                  <a:pt x="1309" y="580"/>
                  <a:pt x="1308" y="580"/>
                  <a:pt x="1309" y="580"/>
                </a:cubicBezTo>
                <a:close/>
                <a:moveTo>
                  <a:pt x="572" y="579"/>
                </a:moveTo>
                <a:cubicBezTo>
                  <a:pt x="573" y="579"/>
                  <a:pt x="573" y="579"/>
                  <a:pt x="573" y="579"/>
                </a:cubicBezTo>
                <a:cubicBezTo>
                  <a:pt x="572" y="579"/>
                  <a:pt x="572" y="579"/>
                  <a:pt x="572" y="579"/>
                </a:cubicBezTo>
                <a:cubicBezTo>
                  <a:pt x="572" y="580"/>
                  <a:pt x="572" y="579"/>
                  <a:pt x="572" y="579"/>
                </a:cubicBezTo>
                <a:cubicBezTo>
                  <a:pt x="573" y="579"/>
                  <a:pt x="572" y="579"/>
                  <a:pt x="572" y="579"/>
                </a:cubicBezTo>
                <a:close/>
                <a:moveTo>
                  <a:pt x="1438" y="580"/>
                </a:moveTo>
                <a:cubicBezTo>
                  <a:pt x="1438" y="579"/>
                  <a:pt x="1437" y="579"/>
                  <a:pt x="1437" y="579"/>
                </a:cubicBezTo>
                <a:cubicBezTo>
                  <a:pt x="1436" y="579"/>
                  <a:pt x="1435" y="579"/>
                  <a:pt x="1435" y="578"/>
                </a:cubicBezTo>
                <a:cubicBezTo>
                  <a:pt x="1434" y="578"/>
                  <a:pt x="1434" y="579"/>
                  <a:pt x="1433" y="579"/>
                </a:cubicBezTo>
                <a:cubicBezTo>
                  <a:pt x="1432" y="579"/>
                  <a:pt x="1432" y="579"/>
                  <a:pt x="1432" y="579"/>
                </a:cubicBezTo>
                <a:cubicBezTo>
                  <a:pt x="1432" y="580"/>
                  <a:pt x="1432" y="580"/>
                  <a:pt x="1433" y="580"/>
                </a:cubicBezTo>
                <a:cubicBezTo>
                  <a:pt x="1434" y="579"/>
                  <a:pt x="1434" y="580"/>
                  <a:pt x="1434" y="580"/>
                </a:cubicBezTo>
                <a:cubicBezTo>
                  <a:pt x="1435" y="580"/>
                  <a:pt x="1437" y="581"/>
                  <a:pt x="1438" y="580"/>
                </a:cubicBezTo>
                <a:close/>
                <a:moveTo>
                  <a:pt x="583" y="576"/>
                </a:moveTo>
                <a:cubicBezTo>
                  <a:pt x="583" y="575"/>
                  <a:pt x="582" y="575"/>
                  <a:pt x="581" y="575"/>
                </a:cubicBezTo>
                <a:cubicBezTo>
                  <a:pt x="581" y="575"/>
                  <a:pt x="580" y="576"/>
                  <a:pt x="579" y="576"/>
                </a:cubicBezTo>
                <a:cubicBezTo>
                  <a:pt x="580" y="576"/>
                  <a:pt x="580" y="576"/>
                  <a:pt x="580" y="577"/>
                </a:cubicBezTo>
                <a:cubicBezTo>
                  <a:pt x="579" y="577"/>
                  <a:pt x="577" y="578"/>
                  <a:pt x="577" y="579"/>
                </a:cubicBezTo>
                <a:cubicBezTo>
                  <a:pt x="577" y="580"/>
                  <a:pt x="577" y="580"/>
                  <a:pt x="576" y="580"/>
                </a:cubicBezTo>
                <a:cubicBezTo>
                  <a:pt x="575" y="581"/>
                  <a:pt x="575" y="581"/>
                  <a:pt x="575" y="582"/>
                </a:cubicBezTo>
                <a:cubicBezTo>
                  <a:pt x="575" y="583"/>
                  <a:pt x="575" y="584"/>
                  <a:pt x="576" y="585"/>
                </a:cubicBezTo>
                <a:cubicBezTo>
                  <a:pt x="576" y="585"/>
                  <a:pt x="576" y="585"/>
                  <a:pt x="577" y="586"/>
                </a:cubicBezTo>
                <a:cubicBezTo>
                  <a:pt x="577" y="586"/>
                  <a:pt x="579" y="587"/>
                  <a:pt x="579" y="586"/>
                </a:cubicBezTo>
                <a:cubicBezTo>
                  <a:pt x="580" y="586"/>
                  <a:pt x="581" y="586"/>
                  <a:pt x="582" y="586"/>
                </a:cubicBezTo>
                <a:cubicBezTo>
                  <a:pt x="582" y="586"/>
                  <a:pt x="583" y="586"/>
                  <a:pt x="583" y="585"/>
                </a:cubicBezTo>
                <a:cubicBezTo>
                  <a:pt x="583" y="585"/>
                  <a:pt x="584" y="585"/>
                  <a:pt x="584" y="585"/>
                </a:cubicBezTo>
                <a:cubicBezTo>
                  <a:pt x="584" y="584"/>
                  <a:pt x="585" y="584"/>
                  <a:pt x="585" y="584"/>
                </a:cubicBezTo>
                <a:cubicBezTo>
                  <a:pt x="586" y="583"/>
                  <a:pt x="585" y="582"/>
                  <a:pt x="586" y="582"/>
                </a:cubicBezTo>
                <a:cubicBezTo>
                  <a:pt x="587" y="581"/>
                  <a:pt x="587" y="581"/>
                  <a:pt x="586" y="580"/>
                </a:cubicBezTo>
                <a:cubicBezTo>
                  <a:pt x="586" y="580"/>
                  <a:pt x="586" y="580"/>
                  <a:pt x="586" y="579"/>
                </a:cubicBezTo>
                <a:cubicBezTo>
                  <a:pt x="586" y="578"/>
                  <a:pt x="586" y="578"/>
                  <a:pt x="586" y="577"/>
                </a:cubicBezTo>
                <a:cubicBezTo>
                  <a:pt x="585" y="577"/>
                  <a:pt x="585" y="577"/>
                  <a:pt x="584" y="577"/>
                </a:cubicBezTo>
                <a:cubicBezTo>
                  <a:pt x="583" y="577"/>
                  <a:pt x="583" y="577"/>
                  <a:pt x="582" y="577"/>
                </a:cubicBezTo>
                <a:cubicBezTo>
                  <a:pt x="583" y="577"/>
                  <a:pt x="583" y="577"/>
                  <a:pt x="583" y="576"/>
                </a:cubicBezTo>
                <a:cubicBezTo>
                  <a:pt x="583" y="575"/>
                  <a:pt x="583" y="576"/>
                  <a:pt x="583" y="576"/>
                </a:cubicBezTo>
                <a:close/>
                <a:moveTo>
                  <a:pt x="1312" y="570"/>
                </a:moveTo>
                <a:cubicBezTo>
                  <a:pt x="1311" y="570"/>
                  <a:pt x="1312" y="571"/>
                  <a:pt x="1313" y="570"/>
                </a:cubicBezTo>
                <a:cubicBezTo>
                  <a:pt x="1313" y="570"/>
                  <a:pt x="1312" y="570"/>
                  <a:pt x="1312" y="570"/>
                </a:cubicBezTo>
                <a:close/>
                <a:moveTo>
                  <a:pt x="1303" y="571"/>
                </a:moveTo>
                <a:cubicBezTo>
                  <a:pt x="1303" y="570"/>
                  <a:pt x="1303" y="570"/>
                  <a:pt x="1302" y="570"/>
                </a:cubicBezTo>
                <a:cubicBezTo>
                  <a:pt x="1302" y="571"/>
                  <a:pt x="1302" y="571"/>
                  <a:pt x="1303" y="571"/>
                </a:cubicBezTo>
                <a:cubicBezTo>
                  <a:pt x="1303" y="570"/>
                  <a:pt x="1303" y="571"/>
                  <a:pt x="1303" y="571"/>
                </a:cubicBezTo>
                <a:close/>
                <a:moveTo>
                  <a:pt x="1382" y="583"/>
                </a:moveTo>
                <a:cubicBezTo>
                  <a:pt x="1381" y="584"/>
                  <a:pt x="1381" y="585"/>
                  <a:pt x="1381" y="586"/>
                </a:cubicBezTo>
                <a:cubicBezTo>
                  <a:pt x="1381" y="587"/>
                  <a:pt x="1381" y="588"/>
                  <a:pt x="1381" y="588"/>
                </a:cubicBezTo>
                <a:cubicBezTo>
                  <a:pt x="1381" y="589"/>
                  <a:pt x="1381" y="589"/>
                  <a:pt x="1381" y="589"/>
                </a:cubicBezTo>
                <a:cubicBezTo>
                  <a:pt x="1381" y="589"/>
                  <a:pt x="1381" y="590"/>
                  <a:pt x="1381" y="591"/>
                </a:cubicBezTo>
                <a:cubicBezTo>
                  <a:pt x="1381" y="590"/>
                  <a:pt x="1380" y="592"/>
                  <a:pt x="1380" y="592"/>
                </a:cubicBezTo>
                <a:cubicBezTo>
                  <a:pt x="1379" y="592"/>
                  <a:pt x="1380" y="592"/>
                  <a:pt x="1380" y="593"/>
                </a:cubicBezTo>
                <a:cubicBezTo>
                  <a:pt x="1380" y="594"/>
                  <a:pt x="1380" y="594"/>
                  <a:pt x="1379" y="594"/>
                </a:cubicBezTo>
                <a:cubicBezTo>
                  <a:pt x="1379" y="595"/>
                  <a:pt x="1380" y="596"/>
                  <a:pt x="1380" y="597"/>
                </a:cubicBezTo>
                <a:cubicBezTo>
                  <a:pt x="1380" y="597"/>
                  <a:pt x="1381" y="597"/>
                  <a:pt x="1382" y="598"/>
                </a:cubicBezTo>
                <a:cubicBezTo>
                  <a:pt x="1383" y="598"/>
                  <a:pt x="1382" y="599"/>
                  <a:pt x="1382" y="599"/>
                </a:cubicBezTo>
                <a:cubicBezTo>
                  <a:pt x="1382" y="600"/>
                  <a:pt x="1383" y="601"/>
                  <a:pt x="1382" y="601"/>
                </a:cubicBezTo>
                <a:cubicBezTo>
                  <a:pt x="1382" y="602"/>
                  <a:pt x="1382" y="602"/>
                  <a:pt x="1382" y="602"/>
                </a:cubicBezTo>
                <a:cubicBezTo>
                  <a:pt x="1382" y="602"/>
                  <a:pt x="1381" y="602"/>
                  <a:pt x="1381" y="603"/>
                </a:cubicBezTo>
                <a:cubicBezTo>
                  <a:pt x="1381" y="603"/>
                  <a:pt x="1381" y="603"/>
                  <a:pt x="1381" y="603"/>
                </a:cubicBezTo>
                <a:cubicBezTo>
                  <a:pt x="1380" y="603"/>
                  <a:pt x="1381" y="604"/>
                  <a:pt x="1381" y="605"/>
                </a:cubicBezTo>
                <a:cubicBezTo>
                  <a:pt x="1381" y="606"/>
                  <a:pt x="1381" y="607"/>
                  <a:pt x="1381" y="608"/>
                </a:cubicBezTo>
                <a:cubicBezTo>
                  <a:pt x="1381" y="609"/>
                  <a:pt x="1382" y="608"/>
                  <a:pt x="1383" y="608"/>
                </a:cubicBezTo>
                <a:cubicBezTo>
                  <a:pt x="1383" y="608"/>
                  <a:pt x="1383" y="609"/>
                  <a:pt x="1383" y="608"/>
                </a:cubicBezTo>
                <a:cubicBezTo>
                  <a:pt x="1383" y="608"/>
                  <a:pt x="1385" y="608"/>
                  <a:pt x="1385" y="608"/>
                </a:cubicBezTo>
                <a:cubicBezTo>
                  <a:pt x="1387" y="608"/>
                  <a:pt x="1387" y="608"/>
                  <a:pt x="1387" y="607"/>
                </a:cubicBezTo>
                <a:cubicBezTo>
                  <a:pt x="1387" y="606"/>
                  <a:pt x="1386" y="606"/>
                  <a:pt x="1386" y="605"/>
                </a:cubicBezTo>
                <a:cubicBezTo>
                  <a:pt x="1387" y="605"/>
                  <a:pt x="1387" y="604"/>
                  <a:pt x="1387" y="603"/>
                </a:cubicBezTo>
                <a:cubicBezTo>
                  <a:pt x="1386" y="603"/>
                  <a:pt x="1386" y="602"/>
                  <a:pt x="1386" y="602"/>
                </a:cubicBezTo>
                <a:cubicBezTo>
                  <a:pt x="1386" y="601"/>
                  <a:pt x="1386" y="601"/>
                  <a:pt x="1387" y="600"/>
                </a:cubicBezTo>
                <a:cubicBezTo>
                  <a:pt x="1388" y="600"/>
                  <a:pt x="1387" y="599"/>
                  <a:pt x="1387" y="598"/>
                </a:cubicBezTo>
                <a:cubicBezTo>
                  <a:pt x="1387" y="597"/>
                  <a:pt x="1387" y="597"/>
                  <a:pt x="1387" y="596"/>
                </a:cubicBezTo>
                <a:cubicBezTo>
                  <a:pt x="1387" y="596"/>
                  <a:pt x="1388" y="596"/>
                  <a:pt x="1388" y="596"/>
                </a:cubicBezTo>
                <a:cubicBezTo>
                  <a:pt x="1388" y="595"/>
                  <a:pt x="1389" y="595"/>
                  <a:pt x="1389" y="595"/>
                </a:cubicBezTo>
                <a:cubicBezTo>
                  <a:pt x="1390" y="595"/>
                  <a:pt x="1389" y="595"/>
                  <a:pt x="1390" y="596"/>
                </a:cubicBezTo>
                <a:cubicBezTo>
                  <a:pt x="1391" y="596"/>
                  <a:pt x="1390" y="600"/>
                  <a:pt x="1391" y="600"/>
                </a:cubicBezTo>
                <a:cubicBezTo>
                  <a:pt x="1391" y="600"/>
                  <a:pt x="1391" y="600"/>
                  <a:pt x="1391" y="601"/>
                </a:cubicBezTo>
                <a:cubicBezTo>
                  <a:pt x="1392" y="601"/>
                  <a:pt x="1392" y="601"/>
                  <a:pt x="1392" y="602"/>
                </a:cubicBezTo>
                <a:cubicBezTo>
                  <a:pt x="1392" y="602"/>
                  <a:pt x="1392" y="602"/>
                  <a:pt x="1392" y="602"/>
                </a:cubicBezTo>
                <a:cubicBezTo>
                  <a:pt x="1392" y="603"/>
                  <a:pt x="1392" y="604"/>
                  <a:pt x="1392" y="605"/>
                </a:cubicBezTo>
                <a:cubicBezTo>
                  <a:pt x="1392" y="605"/>
                  <a:pt x="1392" y="606"/>
                  <a:pt x="1393" y="606"/>
                </a:cubicBezTo>
                <a:cubicBezTo>
                  <a:pt x="1393" y="606"/>
                  <a:pt x="1393" y="606"/>
                  <a:pt x="1393" y="606"/>
                </a:cubicBezTo>
                <a:cubicBezTo>
                  <a:pt x="1394" y="606"/>
                  <a:pt x="1395" y="606"/>
                  <a:pt x="1395" y="606"/>
                </a:cubicBezTo>
                <a:cubicBezTo>
                  <a:pt x="1396" y="605"/>
                  <a:pt x="1395" y="604"/>
                  <a:pt x="1395" y="603"/>
                </a:cubicBezTo>
                <a:cubicBezTo>
                  <a:pt x="1397" y="603"/>
                  <a:pt x="1399" y="604"/>
                  <a:pt x="1399" y="602"/>
                </a:cubicBezTo>
                <a:cubicBezTo>
                  <a:pt x="1399" y="601"/>
                  <a:pt x="1398" y="601"/>
                  <a:pt x="1398" y="600"/>
                </a:cubicBezTo>
                <a:cubicBezTo>
                  <a:pt x="1398" y="600"/>
                  <a:pt x="1397" y="600"/>
                  <a:pt x="1397" y="600"/>
                </a:cubicBezTo>
                <a:cubicBezTo>
                  <a:pt x="1397" y="599"/>
                  <a:pt x="1397" y="598"/>
                  <a:pt x="1396" y="598"/>
                </a:cubicBezTo>
                <a:cubicBezTo>
                  <a:pt x="1396" y="598"/>
                  <a:pt x="1397" y="597"/>
                  <a:pt x="1397" y="596"/>
                </a:cubicBezTo>
                <a:cubicBezTo>
                  <a:pt x="1396" y="597"/>
                  <a:pt x="1397" y="595"/>
                  <a:pt x="1395" y="595"/>
                </a:cubicBezTo>
                <a:cubicBezTo>
                  <a:pt x="1395" y="595"/>
                  <a:pt x="1395" y="595"/>
                  <a:pt x="1394" y="595"/>
                </a:cubicBezTo>
                <a:cubicBezTo>
                  <a:pt x="1394" y="595"/>
                  <a:pt x="1394" y="595"/>
                  <a:pt x="1394" y="595"/>
                </a:cubicBezTo>
                <a:cubicBezTo>
                  <a:pt x="1394" y="594"/>
                  <a:pt x="1393" y="593"/>
                  <a:pt x="1393" y="592"/>
                </a:cubicBezTo>
                <a:cubicBezTo>
                  <a:pt x="1393" y="591"/>
                  <a:pt x="1393" y="592"/>
                  <a:pt x="1392" y="591"/>
                </a:cubicBezTo>
                <a:cubicBezTo>
                  <a:pt x="1391" y="591"/>
                  <a:pt x="1391" y="591"/>
                  <a:pt x="1390" y="590"/>
                </a:cubicBezTo>
                <a:cubicBezTo>
                  <a:pt x="1390" y="590"/>
                  <a:pt x="1390" y="590"/>
                  <a:pt x="1390" y="590"/>
                </a:cubicBezTo>
                <a:cubicBezTo>
                  <a:pt x="1391" y="589"/>
                  <a:pt x="1391" y="589"/>
                  <a:pt x="1392" y="589"/>
                </a:cubicBezTo>
                <a:cubicBezTo>
                  <a:pt x="1392" y="589"/>
                  <a:pt x="1392" y="589"/>
                  <a:pt x="1393" y="589"/>
                </a:cubicBezTo>
                <a:cubicBezTo>
                  <a:pt x="1393" y="589"/>
                  <a:pt x="1393" y="589"/>
                  <a:pt x="1393" y="589"/>
                </a:cubicBezTo>
                <a:cubicBezTo>
                  <a:pt x="1394" y="589"/>
                  <a:pt x="1395" y="588"/>
                  <a:pt x="1395" y="588"/>
                </a:cubicBezTo>
                <a:cubicBezTo>
                  <a:pt x="1395" y="588"/>
                  <a:pt x="1396" y="588"/>
                  <a:pt x="1396" y="587"/>
                </a:cubicBezTo>
                <a:cubicBezTo>
                  <a:pt x="1396" y="587"/>
                  <a:pt x="1397" y="587"/>
                  <a:pt x="1397" y="587"/>
                </a:cubicBezTo>
                <a:cubicBezTo>
                  <a:pt x="1397" y="586"/>
                  <a:pt x="1397" y="586"/>
                  <a:pt x="1398" y="585"/>
                </a:cubicBezTo>
                <a:cubicBezTo>
                  <a:pt x="1398" y="585"/>
                  <a:pt x="1398" y="585"/>
                  <a:pt x="1399" y="585"/>
                </a:cubicBezTo>
                <a:cubicBezTo>
                  <a:pt x="1399" y="585"/>
                  <a:pt x="1399" y="585"/>
                  <a:pt x="1400" y="585"/>
                </a:cubicBezTo>
                <a:cubicBezTo>
                  <a:pt x="1400" y="584"/>
                  <a:pt x="1400" y="584"/>
                  <a:pt x="1400" y="583"/>
                </a:cubicBezTo>
                <a:cubicBezTo>
                  <a:pt x="1398" y="583"/>
                  <a:pt x="1395" y="583"/>
                  <a:pt x="1393" y="583"/>
                </a:cubicBezTo>
                <a:cubicBezTo>
                  <a:pt x="1391" y="582"/>
                  <a:pt x="1392" y="583"/>
                  <a:pt x="1391" y="584"/>
                </a:cubicBezTo>
                <a:cubicBezTo>
                  <a:pt x="1391" y="584"/>
                  <a:pt x="1390" y="584"/>
                  <a:pt x="1389" y="585"/>
                </a:cubicBezTo>
                <a:cubicBezTo>
                  <a:pt x="1389" y="584"/>
                  <a:pt x="1389" y="583"/>
                  <a:pt x="1388" y="583"/>
                </a:cubicBezTo>
                <a:cubicBezTo>
                  <a:pt x="1387" y="583"/>
                  <a:pt x="1388" y="583"/>
                  <a:pt x="1387" y="582"/>
                </a:cubicBezTo>
                <a:cubicBezTo>
                  <a:pt x="1385" y="582"/>
                  <a:pt x="1387" y="577"/>
                  <a:pt x="1387" y="575"/>
                </a:cubicBezTo>
                <a:cubicBezTo>
                  <a:pt x="1387" y="575"/>
                  <a:pt x="1388" y="576"/>
                  <a:pt x="1388" y="576"/>
                </a:cubicBezTo>
                <a:cubicBezTo>
                  <a:pt x="1388" y="575"/>
                  <a:pt x="1389" y="575"/>
                  <a:pt x="1389" y="575"/>
                </a:cubicBezTo>
                <a:cubicBezTo>
                  <a:pt x="1390" y="575"/>
                  <a:pt x="1390" y="575"/>
                  <a:pt x="1390" y="575"/>
                </a:cubicBezTo>
                <a:cubicBezTo>
                  <a:pt x="1391" y="575"/>
                  <a:pt x="1391" y="575"/>
                  <a:pt x="1391" y="575"/>
                </a:cubicBezTo>
                <a:cubicBezTo>
                  <a:pt x="1391" y="576"/>
                  <a:pt x="1392" y="575"/>
                  <a:pt x="1393" y="576"/>
                </a:cubicBezTo>
                <a:cubicBezTo>
                  <a:pt x="1393" y="575"/>
                  <a:pt x="1398" y="575"/>
                  <a:pt x="1398" y="575"/>
                </a:cubicBezTo>
                <a:cubicBezTo>
                  <a:pt x="1398" y="575"/>
                  <a:pt x="1400" y="576"/>
                  <a:pt x="1400" y="576"/>
                </a:cubicBezTo>
                <a:cubicBezTo>
                  <a:pt x="1400" y="576"/>
                  <a:pt x="1400" y="577"/>
                  <a:pt x="1401" y="576"/>
                </a:cubicBezTo>
                <a:cubicBezTo>
                  <a:pt x="1402" y="576"/>
                  <a:pt x="1403" y="576"/>
                  <a:pt x="1404" y="576"/>
                </a:cubicBezTo>
                <a:cubicBezTo>
                  <a:pt x="1404" y="576"/>
                  <a:pt x="1404" y="576"/>
                  <a:pt x="1404" y="575"/>
                </a:cubicBezTo>
                <a:cubicBezTo>
                  <a:pt x="1406" y="575"/>
                  <a:pt x="1405" y="575"/>
                  <a:pt x="1406" y="574"/>
                </a:cubicBezTo>
                <a:cubicBezTo>
                  <a:pt x="1406" y="573"/>
                  <a:pt x="1407" y="573"/>
                  <a:pt x="1407" y="572"/>
                </a:cubicBezTo>
                <a:cubicBezTo>
                  <a:pt x="1408" y="572"/>
                  <a:pt x="1408" y="572"/>
                  <a:pt x="1409" y="570"/>
                </a:cubicBezTo>
                <a:cubicBezTo>
                  <a:pt x="1409" y="570"/>
                  <a:pt x="1409" y="569"/>
                  <a:pt x="1409" y="569"/>
                </a:cubicBezTo>
                <a:cubicBezTo>
                  <a:pt x="1408" y="568"/>
                  <a:pt x="1408" y="568"/>
                  <a:pt x="1408" y="568"/>
                </a:cubicBezTo>
                <a:cubicBezTo>
                  <a:pt x="1407" y="568"/>
                  <a:pt x="1407" y="569"/>
                  <a:pt x="1407" y="570"/>
                </a:cubicBezTo>
                <a:cubicBezTo>
                  <a:pt x="1405" y="570"/>
                  <a:pt x="1405" y="570"/>
                  <a:pt x="1405" y="571"/>
                </a:cubicBezTo>
                <a:cubicBezTo>
                  <a:pt x="1405" y="571"/>
                  <a:pt x="1404" y="572"/>
                  <a:pt x="1403" y="572"/>
                </a:cubicBezTo>
                <a:cubicBezTo>
                  <a:pt x="1403" y="572"/>
                  <a:pt x="1403" y="572"/>
                  <a:pt x="1403" y="572"/>
                </a:cubicBezTo>
                <a:cubicBezTo>
                  <a:pt x="1403" y="572"/>
                  <a:pt x="1403" y="572"/>
                  <a:pt x="1402" y="572"/>
                </a:cubicBezTo>
                <a:cubicBezTo>
                  <a:pt x="1402" y="572"/>
                  <a:pt x="1402" y="572"/>
                  <a:pt x="1402" y="572"/>
                </a:cubicBezTo>
                <a:cubicBezTo>
                  <a:pt x="1400" y="573"/>
                  <a:pt x="1398" y="572"/>
                  <a:pt x="1396" y="573"/>
                </a:cubicBezTo>
                <a:cubicBezTo>
                  <a:pt x="1396" y="572"/>
                  <a:pt x="1395" y="572"/>
                  <a:pt x="1395" y="572"/>
                </a:cubicBezTo>
                <a:cubicBezTo>
                  <a:pt x="1394" y="572"/>
                  <a:pt x="1393" y="573"/>
                  <a:pt x="1392" y="572"/>
                </a:cubicBezTo>
                <a:cubicBezTo>
                  <a:pt x="1392" y="572"/>
                  <a:pt x="1391" y="572"/>
                  <a:pt x="1391" y="572"/>
                </a:cubicBezTo>
                <a:cubicBezTo>
                  <a:pt x="1391" y="571"/>
                  <a:pt x="1391" y="571"/>
                  <a:pt x="1391" y="571"/>
                </a:cubicBezTo>
                <a:cubicBezTo>
                  <a:pt x="1390" y="571"/>
                  <a:pt x="1390" y="571"/>
                  <a:pt x="1389" y="571"/>
                </a:cubicBezTo>
                <a:cubicBezTo>
                  <a:pt x="1388" y="571"/>
                  <a:pt x="1386" y="571"/>
                  <a:pt x="1386" y="572"/>
                </a:cubicBezTo>
                <a:cubicBezTo>
                  <a:pt x="1385" y="572"/>
                  <a:pt x="1385" y="572"/>
                  <a:pt x="1384" y="573"/>
                </a:cubicBezTo>
                <a:cubicBezTo>
                  <a:pt x="1384" y="573"/>
                  <a:pt x="1383" y="575"/>
                  <a:pt x="1383" y="575"/>
                </a:cubicBezTo>
                <a:cubicBezTo>
                  <a:pt x="1383" y="575"/>
                  <a:pt x="1383" y="575"/>
                  <a:pt x="1383" y="576"/>
                </a:cubicBezTo>
                <a:cubicBezTo>
                  <a:pt x="1383" y="576"/>
                  <a:pt x="1383" y="576"/>
                  <a:pt x="1383" y="576"/>
                </a:cubicBezTo>
                <a:cubicBezTo>
                  <a:pt x="1383" y="577"/>
                  <a:pt x="1383" y="577"/>
                  <a:pt x="1383" y="577"/>
                </a:cubicBezTo>
                <a:cubicBezTo>
                  <a:pt x="1383" y="578"/>
                  <a:pt x="1383" y="579"/>
                  <a:pt x="1383" y="580"/>
                </a:cubicBezTo>
                <a:cubicBezTo>
                  <a:pt x="1383" y="581"/>
                  <a:pt x="1383" y="583"/>
                  <a:pt x="1382" y="583"/>
                </a:cubicBezTo>
                <a:cubicBezTo>
                  <a:pt x="1382" y="583"/>
                  <a:pt x="1382" y="583"/>
                  <a:pt x="1382" y="583"/>
                </a:cubicBezTo>
                <a:close/>
                <a:moveTo>
                  <a:pt x="1279" y="569"/>
                </a:moveTo>
                <a:cubicBezTo>
                  <a:pt x="1279" y="567"/>
                  <a:pt x="1278" y="568"/>
                  <a:pt x="1278" y="568"/>
                </a:cubicBezTo>
                <a:cubicBezTo>
                  <a:pt x="1277" y="568"/>
                  <a:pt x="1278" y="569"/>
                  <a:pt x="1278" y="569"/>
                </a:cubicBezTo>
                <a:cubicBezTo>
                  <a:pt x="1278" y="569"/>
                  <a:pt x="1279" y="570"/>
                  <a:pt x="1279" y="570"/>
                </a:cubicBezTo>
                <a:cubicBezTo>
                  <a:pt x="1279" y="570"/>
                  <a:pt x="1279" y="570"/>
                  <a:pt x="1279" y="571"/>
                </a:cubicBezTo>
                <a:cubicBezTo>
                  <a:pt x="1280" y="571"/>
                  <a:pt x="1281" y="574"/>
                  <a:pt x="1281" y="572"/>
                </a:cubicBezTo>
                <a:cubicBezTo>
                  <a:pt x="1281" y="572"/>
                  <a:pt x="1281" y="571"/>
                  <a:pt x="1281" y="570"/>
                </a:cubicBezTo>
                <a:cubicBezTo>
                  <a:pt x="1280" y="570"/>
                  <a:pt x="1280" y="569"/>
                  <a:pt x="1279" y="569"/>
                </a:cubicBezTo>
                <a:close/>
                <a:moveTo>
                  <a:pt x="1302" y="567"/>
                </a:moveTo>
                <a:cubicBezTo>
                  <a:pt x="1302" y="568"/>
                  <a:pt x="1301" y="568"/>
                  <a:pt x="1302" y="568"/>
                </a:cubicBezTo>
                <a:cubicBezTo>
                  <a:pt x="1303" y="569"/>
                  <a:pt x="1303" y="569"/>
                  <a:pt x="1303" y="569"/>
                </a:cubicBezTo>
                <a:cubicBezTo>
                  <a:pt x="1303" y="568"/>
                  <a:pt x="1303" y="568"/>
                  <a:pt x="1302" y="567"/>
                </a:cubicBezTo>
                <a:close/>
                <a:moveTo>
                  <a:pt x="1299" y="567"/>
                </a:moveTo>
                <a:cubicBezTo>
                  <a:pt x="1299" y="566"/>
                  <a:pt x="1300" y="564"/>
                  <a:pt x="1299" y="565"/>
                </a:cubicBezTo>
                <a:cubicBezTo>
                  <a:pt x="1298" y="566"/>
                  <a:pt x="1299" y="567"/>
                  <a:pt x="1299" y="567"/>
                </a:cubicBezTo>
                <a:close/>
                <a:moveTo>
                  <a:pt x="1419" y="570"/>
                </a:moveTo>
                <a:cubicBezTo>
                  <a:pt x="1419" y="571"/>
                  <a:pt x="1419" y="572"/>
                  <a:pt x="1421" y="572"/>
                </a:cubicBezTo>
                <a:cubicBezTo>
                  <a:pt x="1421" y="573"/>
                  <a:pt x="1421" y="573"/>
                  <a:pt x="1420" y="573"/>
                </a:cubicBezTo>
                <a:cubicBezTo>
                  <a:pt x="1420" y="574"/>
                  <a:pt x="1420" y="575"/>
                  <a:pt x="1420" y="576"/>
                </a:cubicBezTo>
                <a:cubicBezTo>
                  <a:pt x="1419" y="576"/>
                  <a:pt x="1420" y="576"/>
                  <a:pt x="1419" y="577"/>
                </a:cubicBezTo>
                <a:cubicBezTo>
                  <a:pt x="1420" y="577"/>
                  <a:pt x="1420" y="578"/>
                  <a:pt x="1420" y="578"/>
                </a:cubicBezTo>
                <a:cubicBezTo>
                  <a:pt x="1420" y="579"/>
                  <a:pt x="1420" y="578"/>
                  <a:pt x="1421" y="578"/>
                </a:cubicBezTo>
                <a:cubicBezTo>
                  <a:pt x="1421" y="579"/>
                  <a:pt x="1420" y="579"/>
                  <a:pt x="1421" y="579"/>
                </a:cubicBezTo>
                <a:cubicBezTo>
                  <a:pt x="1421" y="579"/>
                  <a:pt x="1421" y="580"/>
                  <a:pt x="1422" y="580"/>
                </a:cubicBezTo>
                <a:cubicBezTo>
                  <a:pt x="1422" y="580"/>
                  <a:pt x="1423" y="581"/>
                  <a:pt x="1423" y="581"/>
                </a:cubicBezTo>
                <a:cubicBezTo>
                  <a:pt x="1423" y="580"/>
                  <a:pt x="1423" y="580"/>
                  <a:pt x="1422" y="579"/>
                </a:cubicBezTo>
                <a:cubicBezTo>
                  <a:pt x="1422" y="579"/>
                  <a:pt x="1422" y="580"/>
                  <a:pt x="1422" y="579"/>
                </a:cubicBezTo>
                <a:cubicBezTo>
                  <a:pt x="1421" y="578"/>
                  <a:pt x="1420" y="576"/>
                  <a:pt x="1421" y="575"/>
                </a:cubicBezTo>
                <a:cubicBezTo>
                  <a:pt x="1422" y="574"/>
                  <a:pt x="1423" y="575"/>
                  <a:pt x="1424" y="575"/>
                </a:cubicBezTo>
                <a:cubicBezTo>
                  <a:pt x="1425" y="576"/>
                  <a:pt x="1425" y="576"/>
                  <a:pt x="1426" y="576"/>
                </a:cubicBezTo>
                <a:cubicBezTo>
                  <a:pt x="1426" y="576"/>
                  <a:pt x="1425" y="573"/>
                  <a:pt x="1425" y="573"/>
                </a:cubicBezTo>
                <a:cubicBezTo>
                  <a:pt x="1424" y="573"/>
                  <a:pt x="1424" y="573"/>
                  <a:pt x="1423" y="573"/>
                </a:cubicBezTo>
                <a:cubicBezTo>
                  <a:pt x="1424" y="572"/>
                  <a:pt x="1425" y="572"/>
                  <a:pt x="1426" y="571"/>
                </a:cubicBezTo>
                <a:cubicBezTo>
                  <a:pt x="1426" y="570"/>
                  <a:pt x="1425" y="570"/>
                  <a:pt x="1424" y="569"/>
                </a:cubicBezTo>
                <a:cubicBezTo>
                  <a:pt x="1424" y="570"/>
                  <a:pt x="1423" y="571"/>
                  <a:pt x="1423" y="571"/>
                </a:cubicBezTo>
                <a:cubicBezTo>
                  <a:pt x="1423" y="572"/>
                  <a:pt x="1423" y="572"/>
                  <a:pt x="1422" y="572"/>
                </a:cubicBezTo>
                <a:cubicBezTo>
                  <a:pt x="1422" y="571"/>
                  <a:pt x="1422" y="568"/>
                  <a:pt x="1423" y="568"/>
                </a:cubicBezTo>
                <a:cubicBezTo>
                  <a:pt x="1422" y="568"/>
                  <a:pt x="1421" y="567"/>
                  <a:pt x="1422" y="566"/>
                </a:cubicBezTo>
                <a:cubicBezTo>
                  <a:pt x="1423" y="566"/>
                  <a:pt x="1423" y="566"/>
                  <a:pt x="1423" y="565"/>
                </a:cubicBezTo>
                <a:cubicBezTo>
                  <a:pt x="1422" y="564"/>
                  <a:pt x="1422" y="565"/>
                  <a:pt x="1421" y="564"/>
                </a:cubicBezTo>
                <a:cubicBezTo>
                  <a:pt x="1421" y="565"/>
                  <a:pt x="1421" y="565"/>
                  <a:pt x="1421" y="565"/>
                </a:cubicBezTo>
                <a:cubicBezTo>
                  <a:pt x="1420" y="566"/>
                  <a:pt x="1420" y="565"/>
                  <a:pt x="1420" y="566"/>
                </a:cubicBezTo>
                <a:cubicBezTo>
                  <a:pt x="1420" y="565"/>
                  <a:pt x="1420" y="567"/>
                  <a:pt x="1420" y="566"/>
                </a:cubicBezTo>
                <a:cubicBezTo>
                  <a:pt x="1420" y="567"/>
                  <a:pt x="1419" y="570"/>
                  <a:pt x="1419" y="570"/>
                </a:cubicBezTo>
                <a:cubicBezTo>
                  <a:pt x="1419" y="571"/>
                  <a:pt x="1419" y="570"/>
                  <a:pt x="1419" y="570"/>
                </a:cubicBezTo>
                <a:close/>
                <a:moveTo>
                  <a:pt x="578" y="563"/>
                </a:moveTo>
                <a:cubicBezTo>
                  <a:pt x="578" y="563"/>
                  <a:pt x="578" y="563"/>
                  <a:pt x="578" y="563"/>
                </a:cubicBezTo>
                <a:cubicBezTo>
                  <a:pt x="578" y="563"/>
                  <a:pt x="578" y="563"/>
                  <a:pt x="578" y="563"/>
                </a:cubicBezTo>
                <a:cubicBezTo>
                  <a:pt x="578" y="563"/>
                  <a:pt x="578" y="563"/>
                  <a:pt x="578" y="563"/>
                </a:cubicBezTo>
                <a:close/>
                <a:moveTo>
                  <a:pt x="1424" y="562"/>
                </a:moveTo>
                <a:cubicBezTo>
                  <a:pt x="1424" y="563"/>
                  <a:pt x="1424" y="563"/>
                  <a:pt x="1424" y="564"/>
                </a:cubicBezTo>
                <a:cubicBezTo>
                  <a:pt x="1424" y="565"/>
                  <a:pt x="1424" y="564"/>
                  <a:pt x="1424" y="565"/>
                </a:cubicBezTo>
                <a:cubicBezTo>
                  <a:pt x="1425" y="566"/>
                  <a:pt x="1424" y="566"/>
                  <a:pt x="1425" y="566"/>
                </a:cubicBezTo>
                <a:cubicBezTo>
                  <a:pt x="1426" y="566"/>
                  <a:pt x="1426" y="566"/>
                  <a:pt x="1426" y="566"/>
                </a:cubicBezTo>
                <a:cubicBezTo>
                  <a:pt x="1426" y="565"/>
                  <a:pt x="1426" y="565"/>
                  <a:pt x="1426" y="564"/>
                </a:cubicBezTo>
                <a:cubicBezTo>
                  <a:pt x="1426" y="562"/>
                  <a:pt x="1426" y="564"/>
                  <a:pt x="1425" y="563"/>
                </a:cubicBezTo>
                <a:cubicBezTo>
                  <a:pt x="1425" y="563"/>
                  <a:pt x="1425" y="562"/>
                  <a:pt x="1424" y="562"/>
                </a:cubicBezTo>
                <a:close/>
                <a:moveTo>
                  <a:pt x="1273" y="562"/>
                </a:moveTo>
                <a:cubicBezTo>
                  <a:pt x="1273" y="562"/>
                  <a:pt x="1272" y="561"/>
                  <a:pt x="1271" y="561"/>
                </a:cubicBezTo>
                <a:cubicBezTo>
                  <a:pt x="1271" y="561"/>
                  <a:pt x="1272" y="562"/>
                  <a:pt x="1273" y="562"/>
                </a:cubicBezTo>
                <a:close/>
                <a:moveTo>
                  <a:pt x="857" y="555"/>
                </a:moveTo>
                <a:cubicBezTo>
                  <a:pt x="856" y="556"/>
                  <a:pt x="855" y="556"/>
                  <a:pt x="857" y="557"/>
                </a:cubicBezTo>
                <a:cubicBezTo>
                  <a:pt x="858" y="556"/>
                  <a:pt x="858" y="555"/>
                  <a:pt x="858" y="555"/>
                </a:cubicBezTo>
                <a:cubicBezTo>
                  <a:pt x="857" y="555"/>
                  <a:pt x="857" y="555"/>
                  <a:pt x="857" y="555"/>
                </a:cubicBezTo>
                <a:cubicBezTo>
                  <a:pt x="857" y="555"/>
                  <a:pt x="857" y="555"/>
                  <a:pt x="857" y="555"/>
                </a:cubicBezTo>
                <a:close/>
                <a:moveTo>
                  <a:pt x="1328" y="554"/>
                </a:moveTo>
                <a:cubicBezTo>
                  <a:pt x="1328" y="555"/>
                  <a:pt x="1328" y="555"/>
                  <a:pt x="1328" y="556"/>
                </a:cubicBezTo>
                <a:cubicBezTo>
                  <a:pt x="1329" y="556"/>
                  <a:pt x="1330" y="555"/>
                  <a:pt x="1329" y="554"/>
                </a:cubicBezTo>
                <a:cubicBezTo>
                  <a:pt x="1330" y="554"/>
                  <a:pt x="1329" y="554"/>
                  <a:pt x="1329" y="554"/>
                </a:cubicBezTo>
                <a:cubicBezTo>
                  <a:pt x="1329" y="554"/>
                  <a:pt x="1328" y="554"/>
                  <a:pt x="1328" y="554"/>
                </a:cubicBezTo>
                <a:close/>
                <a:moveTo>
                  <a:pt x="1313" y="606"/>
                </a:moveTo>
                <a:cubicBezTo>
                  <a:pt x="1313" y="606"/>
                  <a:pt x="1313" y="606"/>
                  <a:pt x="1313" y="606"/>
                </a:cubicBezTo>
                <a:cubicBezTo>
                  <a:pt x="1314" y="606"/>
                  <a:pt x="1315" y="607"/>
                  <a:pt x="1316" y="607"/>
                </a:cubicBezTo>
                <a:cubicBezTo>
                  <a:pt x="1316" y="607"/>
                  <a:pt x="1316" y="606"/>
                  <a:pt x="1316" y="606"/>
                </a:cubicBezTo>
                <a:cubicBezTo>
                  <a:pt x="1317" y="606"/>
                  <a:pt x="1318" y="607"/>
                  <a:pt x="1318" y="607"/>
                </a:cubicBezTo>
                <a:cubicBezTo>
                  <a:pt x="1319" y="606"/>
                  <a:pt x="1319" y="607"/>
                  <a:pt x="1319" y="606"/>
                </a:cubicBezTo>
                <a:cubicBezTo>
                  <a:pt x="1319" y="605"/>
                  <a:pt x="1319" y="603"/>
                  <a:pt x="1318" y="602"/>
                </a:cubicBezTo>
                <a:cubicBezTo>
                  <a:pt x="1319" y="602"/>
                  <a:pt x="1319" y="601"/>
                  <a:pt x="1318" y="601"/>
                </a:cubicBezTo>
                <a:cubicBezTo>
                  <a:pt x="1319" y="601"/>
                  <a:pt x="1319" y="598"/>
                  <a:pt x="1319" y="597"/>
                </a:cubicBezTo>
                <a:cubicBezTo>
                  <a:pt x="1319" y="597"/>
                  <a:pt x="1321" y="596"/>
                  <a:pt x="1320" y="595"/>
                </a:cubicBezTo>
                <a:cubicBezTo>
                  <a:pt x="1319" y="594"/>
                  <a:pt x="1318" y="594"/>
                  <a:pt x="1318" y="594"/>
                </a:cubicBezTo>
                <a:cubicBezTo>
                  <a:pt x="1318" y="594"/>
                  <a:pt x="1319" y="593"/>
                  <a:pt x="1318" y="593"/>
                </a:cubicBezTo>
                <a:cubicBezTo>
                  <a:pt x="1318" y="593"/>
                  <a:pt x="1318" y="592"/>
                  <a:pt x="1318" y="591"/>
                </a:cubicBezTo>
                <a:cubicBezTo>
                  <a:pt x="1318" y="589"/>
                  <a:pt x="1315" y="591"/>
                  <a:pt x="1315" y="590"/>
                </a:cubicBezTo>
                <a:cubicBezTo>
                  <a:pt x="1314" y="590"/>
                  <a:pt x="1314" y="591"/>
                  <a:pt x="1314" y="590"/>
                </a:cubicBezTo>
                <a:cubicBezTo>
                  <a:pt x="1314" y="589"/>
                  <a:pt x="1314" y="590"/>
                  <a:pt x="1314" y="589"/>
                </a:cubicBezTo>
                <a:cubicBezTo>
                  <a:pt x="1314" y="588"/>
                  <a:pt x="1313" y="587"/>
                  <a:pt x="1312" y="587"/>
                </a:cubicBezTo>
                <a:cubicBezTo>
                  <a:pt x="1313" y="586"/>
                  <a:pt x="1313" y="585"/>
                  <a:pt x="1313" y="584"/>
                </a:cubicBezTo>
                <a:cubicBezTo>
                  <a:pt x="1312" y="584"/>
                  <a:pt x="1310" y="584"/>
                  <a:pt x="1310" y="583"/>
                </a:cubicBezTo>
                <a:cubicBezTo>
                  <a:pt x="1310" y="583"/>
                  <a:pt x="1309" y="583"/>
                  <a:pt x="1309" y="584"/>
                </a:cubicBezTo>
                <a:cubicBezTo>
                  <a:pt x="1309" y="584"/>
                  <a:pt x="1309" y="583"/>
                  <a:pt x="1308" y="583"/>
                </a:cubicBezTo>
                <a:cubicBezTo>
                  <a:pt x="1307" y="583"/>
                  <a:pt x="1307" y="582"/>
                  <a:pt x="1307" y="581"/>
                </a:cubicBezTo>
                <a:cubicBezTo>
                  <a:pt x="1307" y="581"/>
                  <a:pt x="1307" y="580"/>
                  <a:pt x="1307" y="580"/>
                </a:cubicBezTo>
                <a:cubicBezTo>
                  <a:pt x="1308" y="579"/>
                  <a:pt x="1309" y="579"/>
                  <a:pt x="1309" y="578"/>
                </a:cubicBezTo>
                <a:cubicBezTo>
                  <a:pt x="1309" y="578"/>
                  <a:pt x="1308" y="576"/>
                  <a:pt x="1308" y="576"/>
                </a:cubicBezTo>
                <a:cubicBezTo>
                  <a:pt x="1308" y="576"/>
                  <a:pt x="1308" y="575"/>
                  <a:pt x="1308" y="575"/>
                </a:cubicBezTo>
                <a:cubicBezTo>
                  <a:pt x="1308" y="575"/>
                  <a:pt x="1308" y="575"/>
                  <a:pt x="1307" y="575"/>
                </a:cubicBezTo>
                <a:cubicBezTo>
                  <a:pt x="1307" y="575"/>
                  <a:pt x="1307" y="574"/>
                  <a:pt x="1307" y="574"/>
                </a:cubicBezTo>
                <a:cubicBezTo>
                  <a:pt x="1307" y="573"/>
                  <a:pt x="1306" y="573"/>
                  <a:pt x="1305" y="573"/>
                </a:cubicBezTo>
                <a:cubicBezTo>
                  <a:pt x="1305" y="572"/>
                  <a:pt x="1306" y="572"/>
                  <a:pt x="1306" y="572"/>
                </a:cubicBezTo>
                <a:cubicBezTo>
                  <a:pt x="1306" y="571"/>
                  <a:pt x="1306" y="571"/>
                  <a:pt x="1305" y="571"/>
                </a:cubicBezTo>
                <a:cubicBezTo>
                  <a:pt x="1305" y="570"/>
                  <a:pt x="1305" y="570"/>
                  <a:pt x="1305" y="571"/>
                </a:cubicBezTo>
                <a:cubicBezTo>
                  <a:pt x="1304" y="572"/>
                  <a:pt x="1304" y="572"/>
                  <a:pt x="1304" y="572"/>
                </a:cubicBezTo>
                <a:cubicBezTo>
                  <a:pt x="1304" y="572"/>
                  <a:pt x="1303" y="572"/>
                  <a:pt x="1303" y="572"/>
                </a:cubicBezTo>
                <a:cubicBezTo>
                  <a:pt x="1302" y="572"/>
                  <a:pt x="1302" y="572"/>
                  <a:pt x="1302" y="572"/>
                </a:cubicBezTo>
                <a:cubicBezTo>
                  <a:pt x="1302" y="571"/>
                  <a:pt x="1301" y="571"/>
                  <a:pt x="1301" y="571"/>
                </a:cubicBezTo>
                <a:cubicBezTo>
                  <a:pt x="1301" y="570"/>
                  <a:pt x="1301" y="570"/>
                  <a:pt x="1301" y="569"/>
                </a:cubicBezTo>
                <a:cubicBezTo>
                  <a:pt x="1300" y="568"/>
                  <a:pt x="1299" y="568"/>
                  <a:pt x="1298" y="567"/>
                </a:cubicBezTo>
                <a:cubicBezTo>
                  <a:pt x="1298" y="567"/>
                  <a:pt x="1298" y="566"/>
                  <a:pt x="1297" y="565"/>
                </a:cubicBezTo>
                <a:cubicBezTo>
                  <a:pt x="1296" y="564"/>
                  <a:pt x="1296" y="564"/>
                  <a:pt x="1296" y="566"/>
                </a:cubicBezTo>
                <a:cubicBezTo>
                  <a:pt x="1295" y="565"/>
                  <a:pt x="1293" y="563"/>
                  <a:pt x="1293" y="562"/>
                </a:cubicBezTo>
                <a:cubicBezTo>
                  <a:pt x="1293" y="561"/>
                  <a:pt x="1293" y="561"/>
                  <a:pt x="1293" y="560"/>
                </a:cubicBezTo>
                <a:cubicBezTo>
                  <a:pt x="1293" y="560"/>
                  <a:pt x="1291" y="560"/>
                  <a:pt x="1291" y="560"/>
                </a:cubicBezTo>
                <a:cubicBezTo>
                  <a:pt x="1291" y="559"/>
                  <a:pt x="1292" y="557"/>
                  <a:pt x="1290" y="557"/>
                </a:cubicBezTo>
                <a:cubicBezTo>
                  <a:pt x="1290" y="557"/>
                  <a:pt x="1289" y="557"/>
                  <a:pt x="1289" y="557"/>
                </a:cubicBezTo>
                <a:cubicBezTo>
                  <a:pt x="1289" y="556"/>
                  <a:pt x="1288" y="557"/>
                  <a:pt x="1288" y="557"/>
                </a:cubicBezTo>
                <a:cubicBezTo>
                  <a:pt x="1288" y="556"/>
                  <a:pt x="1288" y="556"/>
                  <a:pt x="1287" y="556"/>
                </a:cubicBezTo>
                <a:cubicBezTo>
                  <a:pt x="1287" y="555"/>
                  <a:pt x="1286" y="555"/>
                  <a:pt x="1286" y="555"/>
                </a:cubicBezTo>
                <a:cubicBezTo>
                  <a:pt x="1286" y="554"/>
                  <a:pt x="1286" y="554"/>
                  <a:pt x="1285" y="553"/>
                </a:cubicBezTo>
                <a:cubicBezTo>
                  <a:pt x="1285" y="553"/>
                  <a:pt x="1285" y="553"/>
                  <a:pt x="1285" y="553"/>
                </a:cubicBezTo>
                <a:cubicBezTo>
                  <a:pt x="1284" y="552"/>
                  <a:pt x="1284" y="551"/>
                  <a:pt x="1283" y="551"/>
                </a:cubicBezTo>
                <a:cubicBezTo>
                  <a:pt x="1282" y="551"/>
                  <a:pt x="1282" y="550"/>
                  <a:pt x="1282" y="549"/>
                </a:cubicBezTo>
                <a:cubicBezTo>
                  <a:pt x="1282" y="549"/>
                  <a:pt x="1281" y="548"/>
                  <a:pt x="1281" y="548"/>
                </a:cubicBezTo>
                <a:cubicBezTo>
                  <a:pt x="1281" y="547"/>
                  <a:pt x="1281" y="548"/>
                  <a:pt x="1280" y="548"/>
                </a:cubicBezTo>
                <a:cubicBezTo>
                  <a:pt x="1280" y="547"/>
                  <a:pt x="1280" y="547"/>
                  <a:pt x="1280" y="547"/>
                </a:cubicBezTo>
                <a:cubicBezTo>
                  <a:pt x="1280" y="546"/>
                  <a:pt x="1279" y="546"/>
                  <a:pt x="1278" y="546"/>
                </a:cubicBezTo>
                <a:cubicBezTo>
                  <a:pt x="1277" y="546"/>
                  <a:pt x="1276" y="546"/>
                  <a:pt x="1275" y="546"/>
                </a:cubicBezTo>
                <a:cubicBezTo>
                  <a:pt x="1275" y="546"/>
                  <a:pt x="1275" y="546"/>
                  <a:pt x="1275" y="546"/>
                </a:cubicBezTo>
                <a:cubicBezTo>
                  <a:pt x="1275" y="546"/>
                  <a:pt x="1273" y="547"/>
                  <a:pt x="1273" y="546"/>
                </a:cubicBezTo>
                <a:cubicBezTo>
                  <a:pt x="1273" y="546"/>
                  <a:pt x="1273" y="546"/>
                  <a:pt x="1273" y="546"/>
                </a:cubicBezTo>
                <a:cubicBezTo>
                  <a:pt x="1273" y="546"/>
                  <a:pt x="1272" y="545"/>
                  <a:pt x="1272" y="545"/>
                </a:cubicBezTo>
                <a:cubicBezTo>
                  <a:pt x="1271" y="544"/>
                  <a:pt x="1270" y="544"/>
                  <a:pt x="1269" y="544"/>
                </a:cubicBezTo>
                <a:cubicBezTo>
                  <a:pt x="1267" y="544"/>
                  <a:pt x="1268" y="544"/>
                  <a:pt x="1268" y="545"/>
                </a:cubicBezTo>
                <a:cubicBezTo>
                  <a:pt x="1268" y="546"/>
                  <a:pt x="1268" y="547"/>
                  <a:pt x="1268" y="547"/>
                </a:cubicBezTo>
                <a:cubicBezTo>
                  <a:pt x="1268" y="548"/>
                  <a:pt x="1268" y="548"/>
                  <a:pt x="1268" y="548"/>
                </a:cubicBezTo>
                <a:cubicBezTo>
                  <a:pt x="1268" y="549"/>
                  <a:pt x="1269" y="548"/>
                  <a:pt x="1269" y="549"/>
                </a:cubicBezTo>
                <a:cubicBezTo>
                  <a:pt x="1269" y="549"/>
                  <a:pt x="1269" y="549"/>
                  <a:pt x="1269" y="549"/>
                </a:cubicBezTo>
                <a:cubicBezTo>
                  <a:pt x="1269" y="550"/>
                  <a:pt x="1269" y="549"/>
                  <a:pt x="1269" y="549"/>
                </a:cubicBezTo>
                <a:cubicBezTo>
                  <a:pt x="1269" y="550"/>
                  <a:pt x="1269" y="550"/>
                  <a:pt x="1270" y="551"/>
                </a:cubicBezTo>
                <a:cubicBezTo>
                  <a:pt x="1270" y="551"/>
                  <a:pt x="1270" y="551"/>
                  <a:pt x="1270" y="552"/>
                </a:cubicBezTo>
                <a:cubicBezTo>
                  <a:pt x="1270" y="552"/>
                  <a:pt x="1271" y="552"/>
                  <a:pt x="1271" y="552"/>
                </a:cubicBezTo>
                <a:cubicBezTo>
                  <a:pt x="1272" y="553"/>
                  <a:pt x="1270" y="552"/>
                  <a:pt x="1272" y="553"/>
                </a:cubicBezTo>
                <a:cubicBezTo>
                  <a:pt x="1273" y="553"/>
                  <a:pt x="1272" y="553"/>
                  <a:pt x="1272" y="554"/>
                </a:cubicBezTo>
                <a:cubicBezTo>
                  <a:pt x="1272" y="554"/>
                  <a:pt x="1274" y="556"/>
                  <a:pt x="1274" y="556"/>
                </a:cubicBezTo>
                <a:cubicBezTo>
                  <a:pt x="1274" y="556"/>
                  <a:pt x="1275" y="555"/>
                  <a:pt x="1275" y="556"/>
                </a:cubicBezTo>
                <a:cubicBezTo>
                  <a:pt x="1275" y="556"/>
                  <a:pt x="1275" y="556"/>
                  <a:pt x="1275" y="556"/>
                </a:cubicBezTo>
                <a:cubicBezTo>
                  <a:pt x="1276" y="556"/>
                  <a:pt x="1276" y="556"/>
                  <a:pt x="1276" y="557"/>
                </a:cubicBezTo>
                <a:cubicBezTo>
                  <a:pt x="1276" y="557"/>
                  <a:pt x="1276" y="558"/>
                  <a:pt x="1277" y="558"/>
                </a:cubicBezTo>
                <a:cubicBezTo>
                  <a:pt x="1277" y="559"/>
                  <a:pt x="1279" y="560"/>
                  <a:pt x="1279" y="560"/>
                </a:cubicBezTo>
                <a:cubicBezTo>
                  <a:pt x="1279" y="561"/>
                  <a:pt x="1279" y="560"/>
                  <a:pt x="1279" y="561"/>
                </a:cubicBezTo>
                <a:cubicBezTo>
                  <a:pt x="1279" y="561"/>
                  <a:pt x="1280" y="562"/>
                  <a:pt x="1280" y="562"/>
                </a:cubicBezTo>
                <a:cubicBezTo>
                  <a:pt x="1280" y="563"/>
                  <a:pt x="1280" y="564"/>
                  <a:pt x="1280" y="565"/>
                </a:cubicBezTo>
                <a:cubicBezTo>
                  <a:pt x="1282" y="565"/>
                  <a:pt x="1286" y="566"/>
                  <a:pt x="1286" y="568"/>
                </a:cubicBezTo>
                <a:cubicBezTo>
                  <a:pt x="1285" y="569"/>
                  <a:pt x="1285" y="570"/>
                  <a:pt x="1285" y="570"/>
                </a:cubicBezTo>
                <a:cubicBezTo>
                  <a:pt x="1286" y="572"/>
                  <a:pt x="1286" y="570"/>
                  <a:pt x="1286" y="571"/>
                </a:cubicBezTo>
                <a:cubicBezTo>
                  <a:pt x="1286" y="571"/>
                  <a:pt x="1286" y="572"/>
                  <a:pt x="1286" y="573"/>
                </a:cubicBezTo>
                <a:cubicBezTo>
                  <a:pt x="1286" y="573"/>
                  <a:pt x="1287" y="573"/>
                  <a:pt x="1287" y="573"/>
                </a:cubicBezTo>
                <a:cubicBezTo>
                  <a:pt x="1287" y="574"/>
                  <a:pt x="1287" y="574"/>
                  <a:pt x="1287" y="574"/>
                </a:cubicBezTo>
                <a:cubicBezTo>
                  <a:pt x="1287" y="575"/>
                  <a:pt x="1287" y="575"/>
                  <a:pt x="1288" y="575"/>
                </a:cubicBezTo>
                <a:cubicBezTo>
                  <a:pt x="1288" y="576"/>
                  <a:pt x="1288" y="576"/>
                  <a:pt x="1288" y="576"/>
                </a:cubicBezTo>
                <a:cubicBezTo>
                  <a:pt x="1289" y="576"/>
                  <a:pt x="1289" y="576"/>
                  <a:pt x="1289" y="577"/>
                </a:cubicBezTo>
                <a:cubicBezTo>
                  <a:pt x="1290" y="578"/>
                  <a:pt x="1290" y="578"/>
                  <a:pt x="1290" y="579"/>
                </a:cubicBezTo>
                <a:cubicBezTo>
                  <a:pt x="1290" y="579"/>
                  <a:pt x="1292" y="580"/>
                  <a:pt x="1292" y="580"/>
                </a:cubicBezTo>
                <a:cubicBezTo>
                  <a:pt x="1292" y="580"/>
                  <a:pt x="1293" y="580"/>
                  <a:pt x="1293" y="581"/>
                </a:cubicBezTo>
                <a:cubicBezTo>
                  <a:pt x="1293" y="582"/>
                  <a:pt x="1294" y="582"/>
                  <a:pt x="1294" y="583"/>
                </a:cubicBezTo>
                <a:cubicBezTo>
                  <a:pt x="1294" y="583"/>
                  <a:pt x="1294" y="584"/>
                  <a:pt x="1294" y="584"/>
                </a:cubicBezTo>
                <a:cubicBezTo>
                  <a:pt x="1295" y="585"/>
                  <a:pt x="1294" y="582"/>
                  <a:pt x="1295" y="585"/>
                </a:cubicBezTo>
                <a:cubicBezTo>
                  <a:pt x="1295" y="587"/>
                  <a:pt x="1295" y="585"/>
                  <a:pt x="1295" y="585"/>
                </a:cubicBezTo>
                <a:cubicBezTo>
                  <a:pt x="1296" y="586"/>
                  <a:pt x="1296" y="586"/>
                  <a:pt x="1296" y="587"/>
                </a:cubicBezTo>
                <a:cubicBezTo>
                  <a:pt x="1297" y="587"/>
                  <a:pt x="1297" y="587"/>
                  <a:pt x="1297" y="587"/>
                </a:cubicBezTo>
                <a:cubicBezTo>
                  <a:pt x="1297" y="588"/>
                  <a:pt x="1297" y="588"/>
                  <a:pt x="1297" y="589"/>
                </a:cubicBezTo>
                <a:cubicBezTo>
                  <a:pt x="1297" y="590"/>
                  <a:pt x="1298" y="590"/>
                  <a:pt x="1298" y="590"/>
                </a:cubicBezTo>
                <a:cubicBezTo>
                  <a:pt x="1298" y="591"/>
                  <a:pt x="1298" y="591"/>
                  <a:pt x="1298" y="592"/>
                </a:cubicBezTo>
                <a:cubicBezTo>
                  <a:pt x="1298" y="592"/>
                  <a:pt x="1298" y="592"/>
                  <a:pt x="1298" y="592"/>
                </a:cubicBezTo>
                <a:cubicBezTo>
                  <a:pt x="1298" y="593"/>
                  <a:pt x="1299" y="592"/>
                  <a:pt x="1299" y="592"/>
                </a:cubicBezTo>
                <a:cubicBezTo>
                  <a:pt x="1299" y="593"/>
                  <a:pt x="1299" y="594"/>
                  <a:pt x="1299" y="594"/>
                </a:cubicBezTo>
                <a:cubicBezTo>
                  <a:pt x="1300" y="595"/>
                  <a:pt x="1300" y="595"/>
                  <a:pt x="1300" y="595"/>
                </a:cubicBezTo>
                <a:cubicBezTo>
                  <a:pt x="1301" y="595"/>
                  <a:pt x="1301" y="597"/>
                  <a:pt x="1301" y="597"/>
                </a:cubicBezTo>
                <a:cubicBezTo>
                  <a:pt x="1302" y="598"/>
                  <a:pt x="1302" y="598"/>
                  <a:pt x="1302" y="599"/>
                </a:cubicBezTo>
                <a:cubicBezTo>
                  <a:pt x="1302" y="599"/>
                  <a:pt x="1302" y="599"/>
                  <a:pt x="1302" y="599"/>
                </a:cubicBezTo>
                <a:cubicBezTo>
                  <a:pt x="1302" y="599"/>
                  <a:pt x="1302" y="600"/>
                  <a:pt x="1303" y="600"/>
                </a:cubicBezTo>
                <a:cubicBezTo>
                  <a:pt x="1303" y="600"/>
                  <a:pt x="1303" y="601"/>
                  <a:pt x="1303" y="601"/>
                </a:cubicBezTo>
                <a:cubicBezTo>
                  <a:pt x="1304" y="602"/>
                  <a:pt x="1303" y="603"/>
                  <a:pt x="1304" y="603"/>
                </a:cubicBezTo>
                <a:cubicBezTo>
                  <a:pt x="1306" y="604"/>
                  <a:pt x="1306" y="604"/>
                  <a:pt x="1307" y="605"/>
                </a:cubicBezTo>
                <a:cubicBezTo>
                  <a:pt x="1307" y="605"/>
                  <a:pt x="1308" y="605"/>
                  <a:pt x="1308" y="605"/>
                </a:cubicBezTo>
                <a:cubicBezTo>
                  <a:pt x="1309" y="605"/>
                  <a:pt x="1309" y="606"/>
                  <a:pt x="1309" y="606"/>
                </a:cubicBezTo>
                <a:cubicBezTo>
                  <a:pt x="1310" y="606"/>
                  <a:pt x="1310" y="606"/>
                  <a:pt x="1310" y="606"/>
                </a:cubicBezTo>
                <a:cubicBezTo>
                  <a:pt x="1311" y="608"/>
                  <a:pt x="1312" y="608"/>
                  <a:pt x="1314" y="608"/>
                </a:cubicBezTo>
                <a:cubicBezTo>
                  <a:pt x="1314" y="607"/>
                  <a:pt x="1313" y="607"/>
                  <a:pt x="1313" y="606"/>
                </a:cubicBezTo>
                <a:close/>
                <a:moveTo>
                  <a:pt x="1393" y="540"/>
                </a:moveTo>
                <a:cubicBezTo>
                  <a:pt x="1394" y="540"/>
                  <a:pt x="1393" y="540"/>
                  <a:pt x="1393" y="540"/>
                </a:cubicBezTo>
                <a:cubicBezTo>
                  <a:pt x="1393" y="540"/>
                  <a:pt x="1393" y="540"/>
                  <a:pt x="1393" y="540"/>
                </a:cubicBezTo>
                <a:close/>
                <a:moveTo>
                  <a:pt x="1344" y="569"/>
                </a:moveTo>
                <a:cubicBezTo>
                  <a:pt x="1344" y="569"/>
                  <a:pt x="1344" y="569"/>
                  <a:pt x="1344" y="569"/>
                </a:cubicBezTo>
                <a:cubicBezTo>
                  <a:pt x="1344" y="569"/>
                  <a:pt x="1344" y="569"/>
                  <a:pt x="1344" y="569"/>
                </a:cubicBezTo>
                <a:cubicBezTo>
                  <a:pt x="1344" y="569"/>
                  <a:pt x="1344" y="569"/>
                  <a:pt x="1344" y="569"/>
                </a:cubicBezTo>
                <a:close/>
                <a:moveTo>
                  <a:pt x="1332" y="573"/>
                </a:moveTo>
                <a:cubicBezTo>
                  <a:pt x="1332" y="573"/>
                  <a:pt x="1332" y="574"/>
                  <a:pt x="1332" y="575"/>
                </a:cubicBezTo>
                <a:cubicBezTo>
                  <a:pt x="1333" y="575"/>
                  <a:pt x="1332" y="575"/>
                  <a:pt x="1332" y="576"/>
                </a:cubicBezTo>
                <a:cubicBezTo>
                  <a:pt x="1332" y="576"/>
                  <a:pt x="1333" y="577"/>
                  <a:pt x="1333" y="577"/>
                </a:cubicBezTo>
                <a:cubicBezTo>
                  <a:pt x="1334" y="578"/>
                  <a:pt x="1334" y="579"/>
                  <a:pt x="1334" y="579"/>
                </a:cubicBezTo>
                <a:cubicBezTo>
                  <a:pt x="1333" y="579"/>
                  <a:pt x="1334" y="581"/>
                  <a:pt x="1334" y="581"/>
                </a:cubicBezTo>
                <a:cubicBezTo>
                  <a:pt x="1335" y="582"/>
                  <a:pt x="1334" y="582"/>
                  <a:pt x="1335" y="583"/>
                </a:cubicBezTo>
                <a:cubicBezTo>
                  <a:pt x="1336" y="583"/>
                  <a:pt x="1335" y="584"/>
                  <a:pt x="1335" y="585"/>
                </a:cubicBezTo>
                <a:cubicBezTo>
                  <a:pt x="1335" y="585"/>
                  <a:pt x="1336" y="585"/>
                  <a:pt x="1336" y="584"/>
                </a:cubicBezTo>
                <a:cubicBezTo>
                  <a:pt x="1337" y="584"/>
                  <a:pt x="1337" y="584"/>
                  <a:pt x="1338" y="585"/>
                </a:cubicBezTo>
                <a:cubicBezTo>
                  <a:pt x="1338" y="585"/>
                  <a:pt x="1338" y="586"/>
                  <a:pt x="1338" y="586"/>
                </a:cubicBezTo>
                <a:cubicBezTo>
                  <a:pt x="1339" y="586"/>
                  <a:pt x="1339" y="588"/>
                  <a:pt x="1339" y="588"/>
                </a:cubicBezTo>
                <a:cubicBezTo>
                  <a:pt x="1339" y="589"/>
                  <a:pt x="1339" y="590"/>
                  <a:pt x="1339" y="590"/>
                </a:cubicBezTo>
                <a:cubicBezTo>
                  <a:pt x="1340" y="590"/>
                  <a:pt x="1340" y="591"/>
                  <a:pt x="1340" y="591"/>
                </a:cubicBezTo>
                <a:cubicBezTo>
                  <a:pt x="1340" y="592"/>
                  <a:pt x="1340" y="593"/>
                  <a:pt x="1340" y="593"/>
                </a:cubicBezTo>
                <a:cubicBezTo>
                  <a:pt x="1340" y="594"/>
                  <a:pt x="1341" y="594"/>
                  <a:pt x="1342" y="594"/>
                </a:cubicBezTo>
                <a:cubicBezTo>
                  <a:pt x="1343" y="595"/>
                  <a:pt x="1344" y="595"/>
                  <a:pt x="1345" y="594"/>
                </a:cubicBezTo>
                <a:cubicBezTo>
                  <a:pt x="1345" y="593"/>
                  <a:pt x="1346" y="594"/>
                  <a:pt x="1346" y="594"/>
                </a:cubicBezTo>
                <a:cubicBezTo>
                  <a:pt x="1348" y="595"/>
                  <a:pt x="1348" y="594"/>
                  <a:pt x="1348" y="595"/>
                </a:cubicBezTo>
                <a:cubicBezTo>
                  <a:pt x="1348" y="597"/>
                  <a:pt x="1350" y="596"/>
                  <a:pt x="1351" y="596"/>
                </a:cubicBezTo>
                <a:cubicBezTo>
                  <a:pt x="1351" y="596"/>
                  <a:pt x="1352" y="596"/>
                  <a:pt x="1352" y="596"/>
                </a:cubicBezTo>
                <a:cubicBezTo>
                  <a:pt x="1353" y="596"/>
                  <a:pt x="1353" y="595"/>
                  <a:pt x="1354" y="595"/>
                </a:cubicBezTo>
                <a:cubicBezTo>
                  <a:pt x="1355" y="595"/>
                  <a:pt x="1355" y="596"/>
                  <a:pt x="1356" y="596"/>
                </a:cubicBezTo>
                <a:cubicBezTo>
                  <a:pt x="1356" y="597"/>
                  <a:pt x="1358" y="596"/>
                  <a:pt x="1358" y="595"/>
                </a:cubicBezTo>
                <a:cubicBezTo>
                  <a:pt x="1359" y="596"/>
                  <a:pt x="1359" y="596"/>
                  <a:pt x="1360" y="596"/>
                </a:cubicBezTo>
                <a:cubicBezTo>
                  <a:pt x="1361" y="596"/>
                  <a:pt x="1360" y="598"/>
                  <a:pt x="1362" y="598"/>
                </a:cubicBezTo>
                <a:cubicBezTo>
                  <a:pt x="1363" y="597"/>
                  <a:pt x="1362" y="597"/>
                  <a:pt x="1363" y="597"/>
                </a:cubicBezTo>
                <a:cubicBezTo>
                  <a:pt x="1363" y="597"/>
                  <a:pt x="1363" y="597"/>
                  <a:pt x="1363" y="597"/>
                </a:cubicBezTo>
                <a:cubicBezTo>
                  <a:pt x="1363" y="597"/>
                  <a:pt x="1365" y="597"/>
                  <a:pt x="1365" y="596"/>
                </a:cubicBezTo>
                <a:cubicBezTo>
                  <a:pt x="1365" y="596"/>
                  <a:pt x="1366" y="596"/>
                  <a:pt x="1367" y="596"/>
                </a:cubicBezTo>
                <a:cubicBezTo>
                  <a:pt x="1367" y="596"/>
                  <a:pt x="1367" y="595"/>
                  <a:pt x="1367" y="595"/>
                </a:cubicBezTo>
                <a:cubicBezTo>
                  <a:pt x="1368" y="595"/>
                  <a:pt x="1368" y="594"/>
                  <a:pt x="1368" y="594"/>
                </a:cubicBezTo>
                <a:cubicBezTo>
                  <a:pt x="1368" y="593"/>
                  <a:pt x="1369" y="593"/>
                  <a:pt x="1369" y="593"/>
                </a:cubicBezTo>
                <a:cubicBezTo>
                  <a:pt x="1369" y="592"/>
                  <a:pt x="1369" y="593"/>
                  <a:pt x="1369" y="592"/>
                </a:cubicBezTo>
                <a:cubicBezTo>
                  <a:pt x="1369" y="592"/>
                  <a:pt x="1370" y="592"/>
                  <a:pt x="1370" y="591"/>
                </a:cubicBezTo>
                <a:cubicBezTo>
                  <a:pt x="1370" y="591"/>
                  <a:pt x="1371" y="590"/>
                  <a:pt x="1372" y="590"/>
                </a:cubicBezTo>
                <a:cubicBezTo>
                  <a:pt x="1372" y="589"/>
                  <a:pt x="1371" y="588"/>
                  <a:pt x="1370" y="588"/>
                </a:cubicBezTo>
                <a:cubicBezTo>
                  <a:pt x="1370" y="587"/>
                  <a:pt x="1370" y="587"/>
                  <a:pt x="1371" y="586"/>
                </a:cubicBezTo>
                <a:cubicBezTo>
                  <a:pt x="1371" y="586"/>
                  <a:pt x="1372" y="586"/>
                  <a:pt x="1372" y="585"/>
                </a:cubicBezTo>
                <a:cubicBezTo>
                  <a:pt x="1373" y="584"/>
                  <a:pt x="1374" y="584"/>
                  <a:pt x="1373" y="583"/>
                </a:cubicBezTo>
                <a:cubicBezTo>
                  <a:pt x="1373" y="582"/>
                  <a:pt x="1373" y="582"/>
                  <a:pt x="1372" y="581"/>
                </a:cubicBezTo>
                <a:cubicBezTo>
                  <a:pt x="1372" y="581"/>
                  <a:pt x="1373" y="581"/>
                  <a:pt x="1373" y="581"/>
                </a:cubicBezTo>
                <a:cubicBezTo>
                  <a:pt x="1373" y="581"/>
                  <a:pt x="1373" y="580"/>
                  <a:pt x="1373" y="580"/>
                </a:cubicBezTo>
                <a:cubicBezTo>
                  <a:pt x="1373" y="580"/>
                  <a:pt x="1374" y="580"/>
                  <a:pt x="1374" y="580"/>
                </a:cubicBezTo>
                <a:cubicBezTo>
                  <a:pt x="1374" y="579"/>
                  <a:pt x="1374" y="579"/>
                  <a:pt x="1374" y="579"/>
                </a:cubicBezTo>
                <a:cubicBezTo>
                  <a:pt x="1374" y="579"/>
                  <a:pt x="1375" y="578"/>
                  <a:pt x="1374" y="578"/>
                </a:cubicBezTo>
                <a:cubicBezTo>
                  <a:pt x="1373" y="578"/>
                  <a:pt x="1374" y="577"/>
                  <a:pt x="1374" y="576"/>
                </a:cubicBezTo>
                <a:cubicBezTo>
                  <a:pt x="1373" y="576"/>
                  <a:pt x="1374" y="574"/>
                  <a:pt x="1374" y="574"/>
                </a:cubicBezTo>
                <a:cubicBezTo>
                  <a:pt x="1376" y="573"/>
                  <a:pt x="1378" y="572"/>
                  <a:pt x="1380" y="572"/>
                </a:cubicBezTo>
                <a:cubicBezTo>
                  <a:pt x="1379" y="571"/>
                  <a:pt x="1379" y="571"/>
                  <a:pt x="1378" y="571"/>
                </a:cubicBezTo>
                <a:cubicBezTo>
                  <a:pt x="1377" y="570"/>
                  <a:pt x="1377" y="570"/>
                  <a:pt x="1376" y="569"/>
                </a:cubicBezTo>
                <a:cubicBezTo>
                  <a:pt x="1376" y="569"/>
                  <a:pt x="1375" y="569"/>
                  <a:pt x="1375" y="568"/>
                </a:cubicBezTo>
                <a:cubicBezTo>
                  <a:pt x="1375" y="568"/>
                  <a:pt x="1375" y="568"/>
                  <a:pt x="1374" y="568"/>
                </a:cubicBezTo>
                <a:cubicBezTo>
                  <a:pt x="1375" y="567"/>
                  <a:pt x="1375" y="565"/>
                  <a:pt x="1375" y="565"/>
                </a:cubicBezTo>
                <a:cubicBezTo>
                  <a:pt x="1376" y="565"/>
                  <a:pt x="1375" y="565"/>
                  <a:pt x="1375" y="565"/>
                </a:cubicBezTo>
                <a:cubicBezTo>
                  <a:pt x="1375" y="564"/>
                  <a:pt x="1376" y="564"/>
                  <a:pt x="1374" y="563"/>
                </a:cubicBezTo>
                <a:cubicBezTo>
                  <a:pt x="1374" y="563"/>
                  <a:pt x="1375" y="562"/>
                  <a:pt x="1374" y="561"/>
                </a:cubicBezTo>
                <a:cubicBezTo>
                  <a:pt x="1375" y="562"/>
                  <a:pt x="1374" y="561"/>
                  <a:pt x="1374" y="561"/>
                </a:cubicBezTo>
                <a:cubicBezTo>
                  <a:pt x="1374" y="561"/>
                  <a:pt x="1373" y="560"/>
                  <a:pt x="1373" y="560"/>
                </a:cubicBezTo>
                <a:cubicBezTo>
                  <a:pt x="1373" y="559"/>
                  <a:pt x="1373" y="559"/>
                  <a:pt x="1373" y="559"/>
                </a:cubicBezTo>
                <a:cubicBezTo>
                  <a:pt x="1373" y="558"/>
                  <a:pt x="1373" y="559"/>
                  <a:pt x="1373" y="558"/>
                </a:cubicBezTo>
                <a:cubicBezTo>
                  <a:pt x="1374" y="558"/>
                  <a:pt x="1375" y="556"/>
                  <a:pt x="1373" y="556"/>
                </a:cubicBezTo>
                <a:cubicBezTo>
                  <a:pt x="1372" y="556"/>
                  <a:pt x="1373" y="556"/>
                  <a:pt x="1373" y="555"/>
                </a:cubicBezTo>
                <a:cubicBezTo>
                  <a:pt x="1373" y="555"/>
                  <a:pt x="1373" y="555"/>
                  <a:pt x="1373" y="555"/>
                </a:cubicBezTo>
                <a:cubicBezTo>
                  <a:pt x="1373" y="554"/>
                  <a:pt x="1373" y="554"/>
                  <a:pt x="1374" y="554"/>
                </a:cubicBezTo>
                <a:cubicBezTo>
                  <a:pt x="1374" y="554"/>
                  <a:pt x="1375" y="554"/>
                  <a:pt x="1375" y="555"/>
                </a:cubicBezTo>
                <a:cubicBezTo>
                  <a:pt x="1377" y="554"/>
                  <a:pt x="1376" y="554"/>
                  <a:pt x="1377" y="553"/>
                </a:cubicBezTo>
                <a:cubicBezTo>
                  <a:pt x="1378" y="553"/>
                  <a:pt x="1378" y="552"/>
                  <a:pt x="1378" y="552"/>
                </a:cubicBezTo>
                <a:cubicBezTo>
                  <a:pt x="1377" y="552"/>
                  <a:pt x="1377" y="552"/>
                  <a:pt x="1377" y="551"/>
                </a:cubicBezTo>
                <a:cubicBezTo>
                  <a:pt x="1377" y="551"/>
                  <a:pt x="1376" y="550"/>
                  <a:pt x="1377" y="550"/>
                </a:cubicBezTo>
                <a:cubicBezTo>
                  <a:pt x="1377" y="550"/>
                  <a:pt x="1377" y="550"/>
                  <a:pt x="1377" y="550"/>
                </a:cubicBezTo>
                <a:cubicBezTo>
                  <a:pt x="1377" y="550"/>
                  <a:pt x="1378" y="550"/>
                  <a:pt x="1378" y="550"/>
                </a:cubicBezTo>
                <a:cubicBezTo>
                  <a:pt x="1378" y="550"/>
                  <a:pt x="1378" y="550"/>
                  <a:pt x="1378" y="550"/>
                </a:cubicBezTo>
                <a:cubicBezTo>
                  <a:pt x="1378" y="550"/>
                  <a:pt x="1379" y="550"/>
                  <a:pt x="1379" y="550"/>
                </a:cubicBezTo>
                <a:cubicBezTo>
                  <a:pt x="1380" y="550"/>
                  <a:pt x="1380" y="549"/>
                  <a:pt x="1381" y="549"/>
                </a:cubicBezTo>
                <a:cubicBezTo>
                  <a:pt x="1381" y="549"/>
                  <a:pt x="1381" y="549"/>
                  <a:pt x="1381" y="548"/>
                </a:cubicBezTo>
                <a:cubicBezTo>
                  <a:pt x="1381" y="547"/>
                  <a:pt x="1381" y="548"/>
                  <a:pt x="1380" y="548"/>
                </a:cubicBezTo>
                <a:cubicBezTo>
                  <a:pt x="1380" y="547"/>
                  <a:pt x="1380" y="547"/>
                  <a:pt x="1380" y="546"/>
                </a:cubicBezTo>
                <a:cubicBezTo>
                  <a:pt x="1380" y="545"/>
                  <a:pt x="1378" y="545"/>
                  <a:pt x="1377" y="546"/>
                </a:cubicBezTo>
                <a:cubicBezTo>
                  <a:pt x="1377" y="545"/>
                  <a:pt x="1377" y="544"/>
                  <a:pt x="1377" y="544"/>
                </a:cubicBezTo>
                <a:cubicBezTo>
                  <a:pt x="1376" y="544"/>
                  <a:pt x="1376" y="544"/>
                  <a:pt x="1376" y="544"/>
                </a:cubicBezTo>
                <a:cubicBezTo>
                  <a:pt x="1376" y="543"/>
                  <a:pt x="1376" y="542"/>
                  <a:pt x="1376" y="542"/>
                </a:cubicBezTo>
                <a:cubicBezTo>
                  <a:pt x="1376" y="541"/>
                  <a:pt x="1375" y="540"/>
                  <a:pt x="1375" y="540"/>
                </a:cubicBezTo>
                <a:cubicBezTo>
                  <a:pt x="1375" y="540"/>
                  <a:pt x="1374" y="540"/>
                  <a:pt x="1374" y="540"/>
                </a:cubicBezTo>
                <a:cubicBezTo>
                  <a:pt x="1374" y="540"/>
                  <a:pt x="1374" y="539"/>
                  <a:pt x="1374" y="539"/>
                </a:cubicBezTo>
                <a:cubicBezTo>
                  <a:pt x="1373" y="539"/>
                  <a:pt x="1373" y="539"/>
                  <a:pt x="1373" y="540"/>
                </a:cubicBezTo>
                <a:cubicBezTo>
                  <a:pt x="1373" y="540"/>
                  <a:pt x="1372" y="540"/>
                  <a:pt x="1372" y="540"/>
                </a:cubicBezTo>
                <a:cubicBezTo>
                  <a:pt x="1371" y="540"/>
                  <a:pt x="1371" y="538"/>
                  <a:pt x="1370" y="538"/>
                </a:cubicBezTo>
                <a:cubicBezTo>
                  <a:pt x="1370" y="539"/>
                  <a:pt x="1370" y="539"/>
                  <a:pt x="1370" y="539"/>
                </a:cubicBezTo>
                <a:cubicBezTo>
                  <a:pt x="1370" y="540"/>
                  <a:pt x="1370" y="540"/>
                  <a:pt x="1370" y="541"/>
                </a:cubicBezTo>
                <a:cubicBezTo>
                  <a:pt x="1370" y="541"/>
                  <a:pt x="1369" y="541"/>
                  <a:pt x="1369" y="541"/>
                </a:cubicBezTo>
                <a:cubicBezTo>
                  <a:pt x="1369" y="541"/>
                  <a:pt x="1369" y="541"/>
                  <a:pt x="1369" y="541"/>
                </a:cubicBezTo>
                <a:cubicBezTo>
                  <a:pt x="1369" y="542"/>
                  <a:pt x="1369" y="541"/>
                  <a:pt x="1369" y="542"/>
                </a:cubicBezTo>
                <a:cubicBezTo>
                  <a:pt x="1369" y="542"/>
                  <a:pt x="1369" y="542"/>
                  <a:pt x="1369" y="542"/>
                </a:cubicBezTo>
                <a:cubicBezTo>
                  <a:pt x="1368" y="543"/>
                  <a:pt x="1369" y="543"/>
                  <a:pt x="1368" y="543"/>
                </a:cubicBezTo>
                <a:cubicBezTo>
                  <a:pt x="1367" y="544"/>
                  <a:pt x="1368" y="544"/>
                  <a:pt x="1367" y="544"/>
                </a:cubicBezTo>
                <a:cubicBezTo>
                  <a:pt x="1367" y="545"/>
                  <a:pt x="1366" y="545"/>
                  <a:pt x="1366" y="545"/>
                </a:cubicBezTo>
                <a:cubicBezTo>
                  <a:pt x="1365" y="546"/>
                  <a:pt x="1365" y="546"/>
                  <a:pt x="1364" y="547"/>
                </a:cubicBezTo>
                <a:cubicBezTo>
                  <a:pt x="1365" y="547"/>
                  <a:pt x="1365" y="547"/>
                  <a:pt x="1365" y="548"/>
                </a:cubicBezTo>
                <a:cubicBezTo>
                  <a:pt x="1365" y="548"/>
                  <a:pt x="1365" y="549"/>
                  <a:pt x="1366" y="549"/>
                </a:cubicBezTo>
                <a:cubicBezTo>
                  <a:pt x="1365" y="550"/>
                  <a:pt x="1364" y="551"/>
                  <a:pt x="1363" y="551"/>
                </a:cubicBezTo>
                <a:cubicBezTo>
                  <a:pt x="1362" y="551"/>
                  <a:pt x="1361" y="552"/>
                  <a:pt x="1361" y="553"/>
                </a:cubicBezTo>
                <a:cubicBezTo>
                  <a:pt x="1360" y="553"/>
                  <a:pt x="1359" y="553"/>
                  <a:pt x="1358" y="553"/>
                </a:cubicBezTo>
                <a:cubicBezTo>
                  <a:pt x="1357" y="553"/>
                  <a:pt x="1358" y="554"/>
                  <a:pt x="1358" y="554"/>
                </a:cubicBezTo>
                <a:cubicBezTo>
                  <a:pt x="1358" y="554"/>
                  <a:pt x="1357" y="554"/>
                  <a:pt x="1357" y="555"/>
                </a:cubicBezTo>
                <a:cubicBezTo>
                  <a:pt x="1357" y="555"/>
                  <a:pt x="1357" y="555"/>
                  <a:pt x="1357" y="555"/>
                </a:cubicBezTo>
                <a:cubicBezTo>
                  <a:pt x="1356" y="555"/>
                  <a:pt x="1357" y="556"/>
                  <a:pt x="1357" y="556"/>
                </a:cubicBezTo>
                <a:cubicBezTo>
                  <a:pt x="1356" y="556"/>
                  <a:pt x="1356" y="556"/>
                  <a:pt x="1356" y="556"/>
                </a:cubicBezTo>
                <a:cubicBezTo>
                  <a:pt x="1356" y="556"/>
                  <a:pt x="1356" y="556"/>
                  <a:pt x="1356" y="557"/>
                </a:cubicBezTo>
                <a:cubicBezTo>
                  <a:pt x="1356" y="557"/>
                  <a:pt x="1355" y="558"/>
                  <a:pt x="1355" y="558"/>
                </a:cubicBezTo>
                <a:cubicBezTo>
                  <a:pt x="1355" y="558"/>
                  <a:pt x="1355" y="558"/>
                  <a:pt x="1355" y="558"/>
                </a:cubicBezTo>
                <a:cubicBezTo>
                  <a:pt x="1354" y="559"/>
                  <a:pt x="1354" y="560"/>
                  <a:pt x="1354" y="560"/>
                </a:cubicBezTo>
                <a:cubicBezTo>
                  <a:pt x="1354" y="561"/>
                  <a:pt x="1351" y="560"/>
                  <a:pt x="1351" y="560"/>
                </a:cubicBezTo>
                <a:cubicBezTo>
                  <a:pt x="1351" y="560"/>
                  <a:pt x="1351" y="561"/>
                  <a:pt x="1350" y="561"/>
                </a:cubicBezTo>
                <a:cubicBezTo>
                  <a:pt x="1350" y="561"/>
                  <a:pt x="1350" y="561"/>
                  <a:pt x="1349" y="561"/>
                </a:cubicBezTo>
                <a:cubicBezTo>
                  <a:pt x="1349" y="561"/>
                  <a:pt x="1349" y="561"/>
                  <a:pt x="1349" y="561"/>
                </a:cubicBezTo>
                <a:cubicBezTo>
                  <a:pt x="1348" y="561"/>
                  <a:pt x="1347" y="561"/>
                  <a:pt x="1346" y="562"/>
                </a:cubicBezTo>
                <a:cubicBezTo>
                  <a:pt x="1346" y="562"/>
                  <a:pt x="1345" y="563"/>
                  <a:pt x="1345" y="563"/>
                </a:cubicBezTo>
                <a:cubicBezTo>
                  <a:pt x="1344" y="563"/>
                  <a:pt x="1345" y="565"/>
                  <a:pt x="1345" y="565"/>
                </a:cubicBezTo>
                <a:cubicBezTo>
                  <a:pt x="1344" y="565"/>
                  <a:pt x="1344" y="567"/>
                  <a:pt x="1344" y="567"/>
                </a:cubicBezTo>
                <a:cubicBezTo>
                  <a:pt x="1344" y="568"/>
                  <a:pt x="1343" y="567"/>
                  <a:pt x="1343" y="568"/>
                </a:cubicBezTo>
                <a:cubicBezTo>
                  <a:pt x="1343" y="568"/>
                  <a:pt x="1343" y="568"/>
                  <a:pt x="1343" y="569"/>
                </a:cubicBezTo>
                <a:cubicBezTo>
                  <a:pt x="1343" y="569"/>
                  <a:pt x="1341" y="569"/>
                  <a:pt x="1341" y="568"/>
                </a:cubicBezTo>
                <a:cubicBezTo>
                  <a:pt x="1341" y="567"/>
                  <a:pt x="1341" y="567"/>
                  <a:pt x="1340" y="567"/>
                </a:cubicBezTo>
                <a:cubicBezTo>
                  <a:pt x="1340" y="567"/>
                  <a:pt x="1339" y="567"/>
                  <a:pt x="1338" y="567"/>
                </a:cubicBezTo>
                <a:cubicBezTo>
                  <a:pt x="1338" y="567"/>
                  <a:pt x="1338" y="567"/>
                  <a:pt x="1337" y="566"/>
                </a:cubicBezTo>
                <a:cubicBezTo>
                  <a:pt x="1337" y="566"/>
                  <a:pt x="1337" y="566"/>
                  <a:pt x="1336" y="566"/>
                </a:cubicBezTo>
                <a:cubicBezTo>
                  <a:pt x="1335" y="565"/>
                  <a:pt x="1336" y="566"/>
                  <a:pt x="1335" y="567"/>
                </a:cubicBezTo>
                <a:cubicBezTo>
                  <a:pt x="1336" y="567"/>
                  <a:pt x="1335" y="568"/>
                  <a:pt x="1335" y="567"/>
                </a:cubicBezTo>
                <a:cubicBezTo>
                  <a:pt x="1334" y="568"/>
                  <a:pt x="1334" y="568"/>
                  <a:pt x="1334" y="569"/>
                </a:cubicBezTo>
                <a:cubicBezTo>
                  <a:pt x="1334" y="569"/>
                  <a:pt x="1333" y="571"/>
                  <a:pt x="1332" y="571"/>
                </a:cubicBezTo>
                <a:cubicBezTo>
                  <a:pt x="1332" y="572"/>
                  <a:pt x="1333" y="573"/>
                  <a:pt x="1332" y="573"/>
                </a:cubicBezTo>
                <a:cubicBezTo>
                  <a:pt x="1332" y="573"/>
                  <a:pt x="1332" y="573"/>
                  <a:pt x="1332" y="573"/>
                </a:cubicBezTo>
                <a:close/>
                <a:moveTo>
                  <a:pt x="1262" y="538"/>
                </a:moveTo>
                <a:cubicBezTo>
                  <a:pt x="1263" y="538"/>
                  <a:pt x="1263" y="538"/>
                  <a:pt x="1263" y="537"/>
                </a:cubicBezTo>
                <a:cubicBezTo>
                  <a:pt x="1263" y="537"/>
                  <a:pt x="1262" y="537"/>
                  <a:pt x="1262" y="537"/>
                </a:cubicBezTo>
                <a:cubicBezTo>
                  <a:pt x="1262" y="538"/>
                  <a:pt x="1262" y="538"/>
                  <a:pt x="1262" y="538"/>
                </a:cubicBezTo>
                <a:close/>
                <a:moveTo>
                  <a:pt x="755" y="535"/>
                </a:moveTo>
                <a:cubicBezTo>
                  <a:pt x="755" y="535"/>
                  <a:pt x="755" y="535"/>
                  <a:pt x="755" y="535"/>
                </a:cubicBezTo>
                <a:cubicBezTo>
                  <a:pt x="755" y="535"/>
                  <a:pt x="755" y="535"/>
                  <a:pt x="755" y="535"/>
                </a:cubicBezTo>
                <a:cubicBezTo>
                  <a:pt x="755" y="534"/>
                  <a:pt x="755" y="534"/>
                  <a:pt x="754" y="534"/>
                </a:cubicBezTo>
                <a:cubicBezTo>
                  <a:pt x="754" y="535"/>
                  <a:pt x="754" y="534"/>
                  <a:pt x="755" y="535"/>
                </a:cubicBezTo>
                <a:close/>
                <a:moveTo>
                  <a:pt x="436" y="534"/>
                </a:moveTo>
                <a:cubicBezTo>
                  <a:pt x="436" y="534"/>
                  <a:pt x="436" y="534"/>
                  <a:pt x="436" y="534"/>
                </a:cubicBezTo>
                <a:cubicBezTo>
                  <a:pt x="436" y="534"/>
                  <a:pt x="436" y="534"/>
                  <a:pt x="436" y="534"/>
                </a:cubicBezTo>
                <a:close/>
                <a:moveTo>
                  <a:pt x="436" y="534"/>
                </a:moveTo>
                <a:cubicBezTo>
                  <a:pt x="436" y="534"/>
                  <a:pt x="436" y="534"/>
                  <a:pt x="435" y="534"/>
                </a:cubicBezTo>
                <a:cubicBezTo>
                  <a:pt x="435" y="534"/>
                  <a:pt x="435" y="534"/>
                  <a:pt x="435" y="535"/>
                </a:cubicBezTo>
                <a:cubicBezTo>
                  <a:pt x="435" y="535"/>
                  <a:pt x="435" y="535"/>
                  <a:pt x="436" y="534"/>
                </a:cubicBezTo>
                <a:cubicBezTo>
                  <a:pt x="436" y="534"/>
                  <a:pt x="436" y="534"/>
                  <a:pt x="436" y="534"/>
                </a:cubicBezTo>
                <a:close/>
                <a:moveTo>
                  <a:pt x="428" y="534"/>
                </a:moveTo>
                <a:cubicBezTo>
                  <a:pt x="428" y="535"/>
                  <a:pt x="428" y="535"/>
                  <a:pt x="429" y="535"/>
                </a:cubicBezTo>
                <a:cubicBezTo>
                  <a:pt x="429" y="534"/>
                  <a:pt x="429" y="534"/>
                  <a:pt x="428" y="534"/>
                </a:cubicBezTo>
                <a:cubicBezTo>
                  <a:pt x="428" y="535"/>
                  <a:pt x="428" y="534"/>
                  <a:pt x="428" y="534"/>
                </a:cubicBezTo>
                <a:close/>
                <a:moveTo>
                  <a:pt x="530" y="527"/>
                </a:moveTo>
                <a:cubicBezTo>
                  <a:pt x="530" y="527"/>
                  <a:pt x="529" y="527"/>
                  <a:pt x="529" y="526"/>
                </a:cubicBezTo>
                <a:cubicBezTo>
                  <a:pt x="528" y="528"/>
                  <a:pt x="530" y="527"/>
                  <a:pt x="530" y="527"/>
                </a:cubicBezTo>
                <a:cubicBezTo>
                  <a:pt x="529" y="527"/>
                  <a:pt x="530" y="527"/>
                  <a:pt x="530" y="527"/>
                </a:cubicBezTo>
                <a:close/>
                <a:moveTo>
                  <a:pt x="1410" y="525"/>
                </a:moveTo>
                <a:cubicBezTo>
                  <a:pt x="1410" y="526"/>
                  <a:pt x="1410" y="526"/>
                  <a:pt x="1410" y="526"/>
                </a:cubicBezTo>
                <a:cubicBezTo>
                  <a:pt x="1410" y="527"/>
                  <a:pt x="1410" y="526"/>
                  <a:pt x="1410" y="527"/>
                </a:cubicBezTo>
                <a:cubicBezTo>
                  <a:pt x="1410" y="527"/>
                  <a:pt x="1410" y="527"/>
                  <a:pt x="1410" y="528"/>
                </a:cubicBezTo>
                <a:cubicBezTo>
                  <a:pt x="1410" y="528"/>
                  <a:pt x="1410" y="528"/>
                  <a:pt x="1409" y="528"/>
                </a:cubicBezTo>
                <a:cubicBezTo>
                  <a:pt x="1409" y="528"/>
                  <a:pt x="1408" y="528"/>
                  <a:pt x="1408" y="528"/>
                </a:cubicBezTo>
                <a:cubicBezTo>
                  <a:pt x="1408" y="528"/>
                  <a:pt x="1408" y="528"/>
                  <a:pt x="1408" y="528"/>
                </a:cubicBezTo>
                <a:cubicBezTo>
                  <a:pt x="1407" y="529"/>
                  <a:pt x="1407" y="529"/>
                  <a:pt x="1407" y="530"/>
                </a:cubicBezTo>
                <a:cubicBezTo>
                  <a:pt x="1407" y="531"/>
                  <a:pt x="1405" y="530"/>
                  <a:pt x="1405" y="530"/>
                </a:cubicBezTo>
                <a:cubicBezTo>
                  <a:pt x="1403" y="530"/>
                  <a:pt x="1404" y="530"/>
                  <a:pt x="1404" y="531"/>
                </a:cubicBezTo>
                <a:cubicBezTo>
                  <a:pt x="1403" y="531"/>
                  <a:pt x="1402" y="531"/>
                  <a:pt x="1401" y="532"/>
                </a:cubicBezTo>
                <a:cubicBezTo>
                  <a:pt x="1401" y="531"/>
                  <a:pt x="1401" y="530"/>
                  <a:pt x="1401" y="530"/>
                </a:cubicBezTo>
                <a:cubicBezTo>
                  <a:pt x="1401" y="529"/>
                  <a:pt x="1401" y="530"/>
                  <a:pt x="1401" y="529"/>
                </a:cubicBezTo>
                <a:cubicBezTo>
                  <a:pt x="1400" y="530"/>
                  <a:pt x="1398" y="529"/>
                  <a:pt x="1398" y="531"/>
                </a:cubicBezTo>
                <a:cubicBezTo>
                  <a:pt x="1398" y="533"/>
                  <a:pt x="1393" y="531"/>
                  <a:pt x="1394" y="534"/>
                </a:cubicBezTo>
                <a:cubicBezTo>
                  <a:pt x="1395" y="535"/>
                  <a:pt x="1394" y="535"/>
                  <a:pt x="1394" y="535"/>
                </a:cubicBezTo>
                <a:cubicBezTo>
                  <a:pt x="1394" y="536"/>
                  <a:pt x="1394" y="536"/>
                  <a:pt x="1393" y="537"/>
                </a:cubicBezTo>
                <a:cubicBezTo>
                  <a:pt x="1393" y="537"/>
                  <a:pt x="1393" y="538"/>
                  <a:pt x="1393" y="538"/>
                </a:cubicBezTo>
                <a:cubicBezTo>
                  <a:pt x="1394" y="538"/>
                  <a:pt x="1394" y="538"/>
                  <a:pt x="1395" y="537"/>
                </a:cubicBezTo>
                <a:cubicBezTo>
                  <a:pt x="1395" y="536"/>
                  <a:pt x="1395" y="536"/>
                  <a:pt x="1395" y="535"/>
                </a:cubicBezTo>
                <a:cubicBezTo>
                  <a:pt x="1396" y="535"/>
                  <a:pt x="1396" y="535"/>
                  <a:pt x="1397" y="535"/>
                </a:cubicBezTo>
                <a:cubicBezTo>
                  <a:pt x="1397" y="535"/>
                  <a:pt x="1397" y="536"/>
                  <a:pt x="1398" y="536"/>
                </a:cubicBezTo>
                <a:cubicBezTo>
                  <a:pt x="1398" y="536"/>
                  <a:pt x="1399" y="536"/>
                  <a:pt x="1399" y="536"/>
                </a:cubicBezTo>
                <a:cubicBezTo>
                  <a:pt x="1400" y="536"/>
                  <a:pt x="1400" y="536"/>
                  <a:pt x="1401" y="536"/>
                </a:cubicBezTo>
                <a:cubicBezTo>
                  <a:pt x="1401" y="536"/>
                  <a:pt x="1401" y="536"/>
                  <a:pt x="1401" y="535"/>
                </a:cubicBezTo>
                <a:cubicBezTo>
                  <a:pt x="1401" y="536"/>
                  <a:pt x="1402" y="535"/>
                  <a:pt x="1402" y="536"/>
                </a:cubicBezTo>
                <a:cubicBezTo>
                  <a:pt x="1402" y="536"/>
                  <a:pt x="1402" y="536"/>
                  <a:pt x="1402" y="536"/>
                </a:cubicBezTo>
                <a:cubicBezTo>
                  <a:pt x="1403" y="536"/>
                  <a:pt x="1403" y="536"/>
                  <a:pt x="1403" y="536"/>
                </a:cubicBezTo>
                <a:cubicBezTo>
                  <a:pt x="1403" y="537"/>
                  <a:pt x="1404" y="536"/>
                  <a:pt x="1404" y="537"/>
                </a:cubicBezTo>
                <a:cubicBezTo>
                  <a:pt x="1404" y="537"/>
                  <a:pt x="1404" y="537"/>
                  <a:pt x="1404" y="537"/>
                </a:cubicBezTo>
                <a:cubicBezTo>
                  <a:pt x="1404" y="538"/>
                  <a:pt x="1403" y="537"/>
                  <a:pt x="1403" y="538"/>
                </a:cubicBezTo>
                <a:cubicBezTo>
                  <a:pt x="1403" y="538"/>
                  <a:pt x="1403" y="538"/>
                  <a:pt x="1402" y="539"/>
                </a:cubicBezTo>
                <a:cubicBezTo>
                  <a:pt x="1402" y="539"/>
                  <a:pt x="1402" y="540"/>
                  <a:pt x="1402" y="540"/>
                </a:cubicBezTo>
                <a:cubicBezTo>
                  <a:pt x="1402" y="541"/>
                  <a:pt x="1402" y="542"/>
                  <a:pt x="1403" y="543"/>
                </a:cubicBezTo>
                <a:cubicBezTo>
                  <a:pt x="1404" y="543"/>
                  <a:pt x="1404" y="543"/>
                  <a:pt x="1405" y="543"/>
                </a:cubicBezTo>
                <a:cubicBezTo>
                  <a:pt x="1405" y="544"/>
                  <a:pt x="1405" y="545"/>
                  <a:pt x="1406" y="545"/>
                </a:cubicBezTo>
                <a:cubicBezTo>
                  <a:pt x="1407" y="545"/>
                  <a:pt x="1408" y="544"/>
                  <a:pt x="1409" y="544"/>
                </a:cubicBezTo>
                <a:cubicBezTo>
                  <a:pt x="1409" y="545"/>
                  <a:pt x="1408" y="546"/>
                  <a:pt x="1409" y="546"/>
                </a:cubicBezTo>
                <a:cubicBezTo>
                  <a:pt x="1410" y="546"/>
                  <a:pt x="1411" y="544"/>
                  <a:pt x="1411" y="543"/>
                </a:cubicBezTo>
                <a:cubicBezTo>
                  <a:pt x="1411" y="543"/>
                  <a:pt x="1411" y="543"/>
                  <a:pt x="1411" y="543"/>
                </a:cubicBezTo>
                <a:cubicBezTo>
                  <a:pt x="1411" y="543"/>
                  <a:pt x="1411" y="542"/>
                  <a:pt x="1411" y="542"/>
                </a:cubicBezTo>
                <a:cubicBezTo>
                  <a:pt x="1411" y="542"/>
                  <a:pt x="1410" y="542"/>
                  <a:pt x="1410" y="542"/>
                </a:cubicBezTo>
                <a:cubicBezTo>
                  <a:pt x="1410" y="541"/>
                  <a:pt x="1410" y="541"/>
                  <a:pt x="1410" y="540"/>
                </a:cubicBezTo>
                <a:cubicBezTo>
                  <a:pt x="1410" y="540"/>
                  <a:pt x="1411" y="540"/>
                  <a:pt x="1411" y="540"/>
                </a:cubicBezTo>
                <a:cubicBezTo>
                  <a:pt x="1411" y="540"/>
                  <a:pt x="1412" y="540"/>
                  <a:pt x="1412" y="540"/>
                </a:cubicBezTo>
                <a:cubicBezTo>
                  <a:pt x="1412" y="541"/>
                  <a:pt x="1412" y="542"/>
                  <a:pt x="1412" y="542"/>
                </a:cubicBezTo>
                <a:cubicBezTo>
                  <a:pt x="1412" y="541"/>
                  <a:pt x="1412" y="540"/>
                  <a:pt x="1411" y="539"/>
                </a:cubicBezTo>
                <a:cubicBezTo>
                  <a:pt x="1411" y="538"/>
                  <a:pt x="1412" y="537"/>
                  <a:pt x="1413" y="536"/>
                </a:cubicBezTo>
                <a:cubicBezTo>
                  <a:pt x="1413" y="536"/>
                  <a:pt x="1413" y="536"/>
                  <a:pt x="1413" y="536"/>
                </a:cubicBezTo>
                <a:cubicBezTo>
                  <a:pt x="1413" y="535"/>
                  <a:pt x="1413" y="536"/>
                  <a:pt x="1414" y="535"/>
                </a:cubicBezTo>
                <a:cubicBezTo>
                  <a:pt x="1414" y="535"/>
                  <a:pt x="1414" y="534"/>
                  <a:pt x="1415" y="534"/>
                </a:cubicBezTo>
                <a:cubicBezTo>
                  <a:pt x="1415" y="532"/>
                  <a:pt x="1414" y="530"/>
                  <a:pt x="1414" y="528"/>
                </a:cubicBezTo>
                <a:cubicBezTo>
                  <a:pt x="1413" y="527"/>
                  <a:pt x="1413" y="526"/>
                  <a:pt x="1413" y="525"/>
                </a:cubicBezTo>
                <a:cubicBezTo>
                  <a:pt x="1412" y="525"/>
                  <a:pt x="1411" y="525"/>
                  <a:pt x="1410" y="525"/>
                </a:cubicBezTo>
                <a:close/>
                <a:moveTo>
                  <a:pt x="1203" y="533"/>
                </a:moveTo>
                <a:cubicBezTo>
                  <a:pt x="1201" y="533"/>
                  <a:pt x="1201" y="532"/>
                  <a:pt x="1201" y="531"/>
                </a:cubicBezTo>
                <a:cubicBezTo>
                  <a:pt x="1201" y="530"/>
                  <a:pt x="1200" y="530"/>
                  <a:pt x="1200" y="529"/>
                </a:cubicBezTo>
                <a:cubicBezTo>
                  <a:pt x="1200" y="529"/>
                  <a:pt x="1199" y="529"/>
                  <a:pt x="1199" y="528"/>
                </a:cubicBezTo>
                <a:cubicBezTo>
                  <a:pt x="1199" y="527"/>
                  <a:pt x="1197" y="527"/>
                  <a:pt x="1197" y="527"/>
                </a:cubicBezTo>
                <a:cubicBezTo>
                  <a:pt x="1197" y="526"/>
                  <a:pt x="1197" y="526"/>
                  <a:pt x="1197" y="525"/>
                </a:cubicBezTo>
                <a:cubicBezTo>
                  <a:pt x="1197" y="525"/>
                  <a:pt x="1197" y="524"/>
                  <a:pt x="1196" y="524"/>
                </a:cubicBezTo>
                <a:cubicBezTo>
                  <a:pt x="1196" y="524"/>
                  <a:pt x="1196" y="523"/>
                  <a:pt x="1196" y="523"/>
                </a:cubicBezTo>
                <a:cubicBezTo>
                  <a:pt x="1196" y="523"/>
                  <a:pt x="1195" y="523"/>
                  <a:pt x="1195" y="523"/>
                </a:cubicBezTo>
                <a:cubicBezTo>
                  <a:pt x="1194" y="523"/>
                  <a:pt x="1194" y="524"/>
                  <a:pt x="1194" y="525"/>
                </a:cubicBezTo>
                <a:cubicBezTo>
                  <a:pt x="1195" y="525"/>
                  <a:pt x="1195" y="526"/>
                  <a:pt x="1195" y="527"/>
                </a:cubicBezTo>
                <a:cubicBezTo>
                  <a:pt x="1194" y="527"/>
                  <a:pt x="1194" y="528"/>
                  <a:pt x="1194" y="529"/>
                </a:cubicBezTo>
                <a:cubicBezTo>
                  <a:pt x="1194" y="529"/>
                  <a:pt x="1194" y="531"/>
                  <a:pt x="1194" y="531"/>
                </a:cubicBezTo>
                <a:cubicBezTo>
                  <a:pt x="1194" y="531"/>
                  <a:pt x="1193" y="532"/>
                  <a:pt x="1193" y="532"/>
                </a:cubicBezTo>
                <a:cubicBezTo>
                  <a:pt x="1192" y="533"/>
                  <a:pt x="1193" y="533"/>
                  <a:pt x="1193" y="534"/>
                </a:cubicBezTo>
                <a:cubicBezTo>
                  <a:pt x="1193" y="534"/>
                  <a:pt x="1193" y="534"/>
                  <a:pt x="1193" y="534"/>
                </a:cubicBezTo>
                <a:cubicBezTo>
                  <a:pt x="1193" y="534"/>
                  <a:pt x="1193" y="535"/>
                  <a:pt x="1193" y="535"/>
                </a:cubicBezTo>
                <a:cubicBezTo>
                  <a:pt x="1194" y="535"/>
                  <a:pt x="1194" y="537"/>
                  <a:pt x="1194" y="538"/>
                </a:cubicBezTo>
                <a:cubicBezTo>
                  <a:pt x="1194" y="539"/>
                  <a:pt x="1194" y="540"/>
                  <a:pt x="1194" y="541"/>
                </a:cubicBezTo>
                <a:cubicBezTo>
                  <a:pt x="1194" y="542"/>
                  <a:pt x="1194" y="542"/>
                  <a:pt x="1195" y="542"/>
                </a:cubicBezTo>
                <a:cubicBezTo>
                  <a:pt x="1196" y="543"/>
                  <a:pt x="1196" y="544"/>
                  <a:pt x="1196" y="544"/>
                </a:cubicBezTo>
                <a:cubicBezTo>
                  <a:pt x="1197" y="544"/>
                  <a:pt x="1197" y="544"/>
                  <a:pt x="1199" y="544"/>
                </a:cubicBezTo>
                <a:cubicBezTo>
                  <a:pt x="1199" y="543"/>
                  <a:pt x="1200" y="543"/>
                  <a:pt x="1200" y="543"/>
                </a:cubicBezTo>
                <a:cubicBezTo>
                  <a:pt x="1201" y="543"/>
                  <a:pt x="1200" y="542"/>
                  <a:pt x="1201" y="542"/>
                </a:cubicBezTo>
                <a:cubicBezTo>
                  <a:pt x="1202" y="542"/>
                  <a:pt x="1201" y="542"/>
                  <a:pt x="1201" y="542"/>
                </a:cubicBezTo>
                <a:cubicBezTo>
                  <a:pt x="1202" y="541"/>
                  <a:pt x="1203" y="541"/>
                  <a:pt x="1203" y="540"/>
                </a:cubicBezTo>
                <a:cubicBezTo>
                  <a:pt x="1203" y="539"/>
                  <a:pt x="1203" y="538"/>
                  <a:pt x="1203" y="537"/>
                </a:cubicBezTo>
                <a:cubicBezTo>
                  <a:pt x="1204" y="536"/>
                  <a:pt x="1204" y="536"/>
                  <a:pt x="1203" y="535"/>
                </a:cubicBezTo>
                <a:cubicBezTo>
                  <a:pt x="1203" y="535"/>
                  <a:pt x="1203" y="534"/>
                  <a:pt x="1203" y="533"/>
                </a:cubicBezTo>
                <a:cubicBezTo>
                  <a:pt x="1202" y="533"/>
                  <a:pt x="1203" y="533"/>
                  <a:pt x="1203" y="533"/>
                </a:cubicBezTo>
                <a:close/>
                <a:moveTo>
                  <a:pt x="1403" y="522"/>
                </a:moveTo>
                <a:cubicBezTo>
                  <a:pt x="1404" y="522"/>
                  <a:pt x="1405" y="523"/>
                  <a:pt x="1406" y="523"/>
                </a:cubicBezTo>
                <a:cubicBezTo>
                  <a:pt x="1407" y="522"/>
                  <a:pt x="1407" y="522"/>
                  <a:pt x="1407" y="521"/>
                </a:cubicBezTo>
                <a:cubicBezTo>
                  <a:pt x="1406" y="520"/>
                  <a:pt x="1405" y="520"/>
                  <a:pt x="1404" y="521"/>
                </a:cubicBezTo>
                <a:cubicBezTo>
                  <a:pt x="1403" y="521"/>
                  <a:pt x="1403" y="521"/>
                  <a:pt x="1403" y="522"/>
                </a:cubicBezTo>
                <a:cubicBezTo>
                  <a:pt x="1404" y="522"/>
                  <a:pt x="1403" y="522"/>
                  <a:pt x="1403" y="522"/>
                </a:cubicBezTo>
                <a:close/>
                <a:moveTo>
                  <a:pt x="1397" y="518"/>
                </a:moveTo>
                <a:cubicBezTo>
                  <a:pt x="1397" y="518"/>
                  <a:pt x="1397" y="518"/>
                  <a:pt x="1396" y="519"/>
                </a:cubicBezTo>
                <a:cubicBezTo>
                  <a:pt x="1397" y="519"/>
                  <a:pt x="1397" y="519"/>
                  <a:pt x="1397" y="519"/>
                </a:cubicBezTo>
                <a:cubicBezTo>
                  <a:pt x="1397" y="518"/>
                  <a:pt x="1397" y="518"/>
                  <a:pt x="1397" y="518"/>
                </a:cubicBezTo>
                <a:close/>
                <a:moveTo>
                  <a:pt x="1257" y="518"/>
                </a:moveTo>
                <a:cubicBezTo>
                  <a:pt x="1257" y="518"/>
                  <a:pt x="1257" y="518"/>
                  <a:pt x="1257" y="519"/>
                </a:cubicBezTo>
                <a:cubicBezTo>
                  <a:pt x="1257" y="518"/>
                  <a:pt x="1257" y="518"/>
                  <a:pt x="1258" y="518"/>
                </a:cubicBezTo>
                <a:cubicBezTo>
                  <a:pt x="1257" y="518"/>
                  <a:pt x="1258" y="518"/>
                  <a:pt x="1257" y="518"/>
                </a:cubicBezTo>
                <a:close/>
                <a:moveTo>
                  <a:pt x="1398" y="520"/>
                </a:moveTo>
                <a:cubicBezTo>
                  <a:pt x="1397" y="520"/>
                  <a:pt x="1397" y="520"/>
                  <a:pt x="1396" y="520"/>
                </a:cubicBezTo>
                <a:cubicBezTo>
                  <a:pt x="1395" y="521"/>
                  <a:pt x="1395" y="520"/>
                  <a:pt x="1395" y="522"/>
                </a:cubicBezTo>
                <a:cubicBezTo>
                  <a:pt x="1395" y="522"/>
                  <a:pt x="1395" y="522"/>
                  <a:pt x="1395" y="523"/>
                </a:cubicBezTo>
                <a:cubicBezTo>
                  <a:pt x="1396" y="523"/>
                  <a:pt x="1396" y="524"/>
                  <a:pt x="1396" y="524"/>
                </a:cubicBezTo>
                <a:cubicBezTo>
                  <a:pt x="1397" y="524"/>
                  <a:pt x="1397" y="524"/>
                  <a:pt x="1397" y="524"/>
                </a:cubicBezTo>
                <a:cubicBezTo>
                  <a:pt x="1397" y="524"/>
                  <a:pt x="1398" y="524"/>
                  <a:pt x="1398" y="524"/>
                </a:cubicBezTo>
                <a:cubicBezTo>
                  <a:pt x="1398" y="525"/>
                  <a:pt x="1398" y="525"/>
                  <a:pt x="1399" y="525"/>
                </a:cubicBezTo>
                <a:cubicBezTo>
                  <a:pt x="1400" y="525"/>
                  <a:pt x="1399" y="524"/>
                  <a:pt x="1399" y="524"/>
                </a:cubicBezTo>
                <a:cubicBezTo>
                  <a:pt x="1399" y="522"/>
                  <a:pt x="1399" y="521"/>
                  <a:pt x="1400" y="520"/>
                </a:cubicBezTo>
                <a:cubicBezTo>
                  <a:pt x="1400" y="520"/>
                  <a:pt x="1400" y="519"/>
                  <a:pt x="1400" y="519"/>
                </a:cubicBezTo>
                <a:cubicBezTo>
                  <a:pt x="1400" y="519"/>
                  <a:pt x="1401" y="518"/>
                  <a:pt x="1401" y="518"/>
                </a:cubicBezTo>
                <a:cubicBezTo>
                  <a:pt x="1401" y="518"/>
                  <a:pt x="1401" y="517"/>
                  <a:pt x="1401" y="517"/>
                </a:cubicBezTo>
                <a:cubicBezTo>
                  <a:pt x="1401" y="517"/>
                  <a:pt x="1401" y="516"/>
                  <a:pt x="1400" y="516"/>
                </a:cubicBezTo>
                <a:cubicBezTo>
                  <a:pt x="1400" y="516"/>
                  <a:pt x="1399" y="516"/>
                  <a:pt x="1399" y="516"/>
                </a:cubicBezTo>
                <a:cubicBezTo>
                  <a:pt x="1398" y="517"/>
                  <a:pt x="1399" y="519"/>
                  <a:pt x="1398" y="520"/>
                </a:cubicBezTo>
                <a:close/>
                <a:moveTo>
                  <a:pt x="527" y="516"/>
                </a:moveTo>
                <a:cubicBezTo>
                  <a:pt x="527" y="516"/>
                  <a:pt x="526" y="516"/>
                  <a:pt x="526" y="516"/>
                </a:cubicBezTo>
                <a:cubicBezTo>
                  <a:pt x="525" y="516"/>
                  <a:pt x="525" y="516"/>
                  <a:pt x="525" y="516"/>
                </a:cubicBezTo>
                <a:cubicBezTo>
                  <a:pt x="525" y="517"/>
                  <a:pt x="525" y="518"/>
                  <a:pt x="525" y="519"/>
                </a:cubicBezTo>
                <a:cubicBezTo>
                  <a:pt x="525" y="519"/>
                  <a:pt x="526" y="520"/>
                  <a:pt x="527" y="519"/>
                </a:cubicBezTo>
                <a:cubicBezTo>
                  <a:pt x="527" y="519"/>
                  <a:pt x="528" y="519"/>
                  <a:pt x="527" y="518"/>
                </a:cubicBezTo>
                <a:cubicBezTo>
                  <a:pt x="527" y="517"/>
                  <a:pt x="527" y="517"/>
                  <a:pt x="527" y="516"/>
                </a:cubicBezTo>
                <a:close/>
                <a:moveTo>
                  <a:pt x="1404" y="519"/>
                </a:moveTo>
                <a:cubicBezTo>
                  <a:pt x="1404" y="518"/>
                  <a:pt x="1404" y="517"/>
                  <a:pt x="1404" y="516"/>
                </a:cubicBezTo>
                <a:cubicBezTo>
                  <a:pt x="1404" y="515"/>
                  <a:pt x="1403" y="515"/>
                  <a:pt x="1403" y="515"/>
                </a:cubicBezTo>
                <a:cubicBezTo>
                  <a:pt x="1403" y="516"/>
                  <a:pt x="1403" y="516"/>
                  <a:pt x="1403" y="516"/>
                </a:cubicBezTo>
                <a:cubicBezTo>
                  <a:pt x="1403" y="517"/>
                  <a:pt x="1402" y="517"/>
                  <a:pt x="1402" y="518"/>
                </a:cubicBezTo>
                <a:cubicBezTo>
                  <a:pt x="1402" y="518"/>
                  <a:pt x="1402" y="518"/>
                  <a:pt x="1402" y="519"/>
                </a:cubicBezTo>
                <a:cubicBezTo>
                  <a:pt x="1401" y="519"/>
                  <a:pt x="1401" y="519"/>
                  <a:pt x="1401" y="520"/>
                </a:cubicBezTo>
                <a:cubicBezTo>
                  <a:pt x="1400" y="521"/>
                  <a:pt x="1400" y="522"/>
                  <a:pt x="1400" y="523"/>
                </a:cubicBezTo>
                <a:cubicBezTo>
                  <a:pt x="1401" y="523"/>
                  <a:pt x="1402" y="522"/>
                  <a:pt x="1402" y="521"/>
                </a:cubicBezTo>
                <a:cubicBezTo>
                  <a:pt x="1402" y="520"/>
                  <a:pt x="1403" y="519"/>
                  <a:pt x="1404" y="519"/>
                </a:cubicBezTo>
                <a:cubicBezTo>
                  <a:pt x="1404" y="519"/>
                  <a:pt x="1404" y="519"/>
                  <a:pt x="1404" y="519"/>
                </a:cubicBezTo>
                <a:close/>
                <a:moveTo>
                  <a:pt x="514" y="515"/>
                </a:moveTo>
                <a:cubicBezTo>
                  <a:pt x="516" y="515"/>
                  <a:pt x="513" y="514"/>
                  <a:pt x="514" y="515"/>
                </a:cubicBezTo>
                <a:cubicBezTo>
                  <a:pt x="514" y="515"/>
                  <a:pt x="514" y="515"/>
                  <a:pt x="514" y="515"/>
                </a:cubicBezTo>
                <a:close/>
                <a:moveTo>
                  <a:pt x="1378" y="521"/>
                </a:moveTo>
                <a:cubicBezTo>
                  <a:pt x="1378" y="521"/>
                  <a:pt x="1377" y="522"/>
                  <a:pt x="1377" y="523"/>
                </a:cubicBezTo>
                <a:cubicBezTo>
                  <a:pt x="1376" y="524"/>
                  <a:pt x="1376" y="524"/>
                  <a:pt x="1375" y="524"/>
                </a:cubicBezTo>
                <a:cubicBezTo>
                  <a:pt x="1375" y="525"/>
                  <a:pt x="1376" y="525"/>
                  <a:pt x="1375" y="526"/>
                </a:cubicBezTo>
                <a:cubicBezTo>
                  <a:pt x="1374" y="526"/>
                  <a:pt x="1373" y="526"/>
                  <a:pt x="1373" y="526"/>
                </a:cubicBezTo>
                <a:cubicBezTo>
                  <a:pt x="1373" y="527"/>
                  <a:pt x="1372" y="526"/>
                  <a:pt x="1372" y="527"/>
                </a:cubicBezTo>
                <a:cubicBezTo>
                  <a:pt x="1372" y="527"/>
                  <a:pt x="1371" y="528"/>
                  <a:pt x="1371" y="528"/>
                </a:cubicBezTo>
                <a:cubicBezTo>
                  <a:pt x="1371" y="529"/>
                  <a:pt x="1370" y="530"/>
                  <a:pt x="1370" y="530"/>
                </a:cubicBezTo>
                <a:cubicBezTo>
                  <a:pt x="1371" y="531"/>
                  <a:pt x="1371" y="529"/>
                  <a:pt x="1372" y="529"/>
                </a:cubicBezTo>
                <a:cubicBezTo>
                  <a:pt x="1372" y="529"/>
                  <a:pt x="1372" y="529"/>
                  <a:pt x="1373" y="529"/>
                </a:cubicBezTo>
                <a:cubicBezTo>
                  <a:pt x="1373" y="529"/>
                  <a:pt x="1374" y="528"/>
                  <a:pt x="1374" y="528"/>
                </a:cubicBezTo>
                <a:cubicBezTo>
                  <a:pt x="1375" y="528"/>
                  <a:pt x="1374" y="528"/>
                  <a:pt x="1375" y="528"/>
                </a:cubicBezTo>
                <a:cubicBezTo>
                  <a:pt x="1375" y="528"/>
                  <a:pt x="1375" y="527"/>
                  <a:pt x="1376" y="527"/>
                </a:cubicBezTo>
                <a:cubicBezTo>
                  <a:pt x="1376" y="527"/>
                  <a:pt x="1376" y="527"/>
                  <a:pt x="1377" y="527"/>
                </a:cubicBezTo>
                <a:cubicBezTo>
                  <a:pt x="1377" y="525"/>
                  <a:pt x="1378" y="524"/>
                  <a:pt x="1379" y="522"/>
                </a:cubicBezTo>
                <a:cubicBezTo>
                  <a:pt x="1379" y="522"/>
                  <a:pt x="1381" y="521"/>
                  <a:pt x="1381" y="521"/>
                </a:cubicBezTo>
                <a:cubicBezTo>
                  <a:pt x="1381" y="520"/>
                  <a:pt x="1381" y="520"/>
                  <a:pt x="1382" y="519"/>
                </a:cubicBezTo>
                <a:cubicBezTo>
                  <a:pt x="1383" y="519"/>
                  <a:pt x="1383" y="519"/>
                  <a:pt x="1383" y="519"/>
                </a:cubicBezTo>
                <a:cubicBezTo>
                  <a:pt x="1383" y="518"/>
                  <a:pt x="1382" y="516"/>
                  <a:pt x="1383" y="516"/>
                </a:cubicBezTo>
                <a:cubicBezTo>
                  <a:pt x="1382" y="515"/>
                  <a:pt x="1382" y="515"/>
                  <a:pt x="1382" y="514"/>
                </a:cubicBezTo>
                <a:cubicBezTo>
                  <a:pt x="1381" y="514"/>
                  <a:pt x="1381" y="514"/>
                  <a:pt x="1381" y="515"/>
                </a:cubicBezTo>
                <a:cubicBezTo>
                  <a:pt x="1381" y="515"/>
                  <a:pt x="1381" y="516"/>
                  <a:pt x="1381" y="516"/>
                </a:cubicBezTo>
                <a:cubicBezTo>
                  <a:pt x="1380" y="516"/>
                  <a:pt x="1380" y="518"/>
                  <a:pt x="1379" y="518"/>
                </a:cubicBezTo>
                <a:cubicBezTo>
                  <a:pt x="1379" y="519"/>
                  <a:pt x="1379" y="518"/>
                  <a:pt x="1379" y="519"/>
                </a:cubicBezTo>
                <a:cubicBezTo>
                  <a:pt x="1379" y="519"/>
                  <a:pt x="1379" y="519"/>
                  <a:pt x="1379" y="520"/>
                </a:cubicBezTo>
                <a:cubicBezTo>
                  <a:pt x="1379" y="520"/>
                  <a:pt x="1378" y="520"/>
                  <a:pt x="1378" y="521"/>
                </a:cubicBezTo>
                <a:cubicBezTo>
                  <a:pt x="1378" y="521"/>
                  <a:pt x="1378" y="521"/>
                  <a:pt x="1378" y="521"/>
                </a:cubicBezTo>
                <a:close/>
                <a:moveTo>
                  <a:pt x="1409" y="514"/>
                </a:moveTo>
                <a:cubicBezTo>
                  <a:pt x="1408" y="514"/>
                  <a:pt x="1407" y="514"/>
                  <a:pt x="1406" y="514"/>
                </a:cubicBezTo>
                <a:cubicBezTo>
                  <a:pt x="1406" y="515"/>
                  <a:pt x="1406" y="515"/>
                  <a:pt x="1408" y="515"/>
                </a:cubicBezTo>
                <a:cubicBezTo>
                  <a:pt x="1408" y="515"/>
                  <a:pt x="1408" y="515"/>
                  <a:pt x="1408" y="516"/>
                </a:cubicBezTo>
                <a:cubicBezTo>
                  <a:pt x="1408" y="516"/>
                  <a:pt x="1408" y="516"/>
                  <a:pt x="1407" y="516"/>
                </a:cubicBezTo>
                <a:cubicBezTo>
                  <a:pt x="1407" y="517"/>
                  <a:pt x="1408" y="518"/>
                  <a:pt x="1408" y="519"/>
                </a:cubicBezTo>
                <a:cubicBezTo>
                  <a:pt x="1408" y="519"/>
                  <a:pt x="1409" y="520"/>
                  <a:pt x="1409" y="520"/>
                </a:cubicBezTo>
                <a:cubicBezTo>
                  <a:pt x="1409" y="521"/>
                  <a:pt x="1410" y="520"/>
                  <a:pt x="1410" y="520"/>
                </a:cubicBezTo>
                <a:cubicBezTo>
                  <a:pt x="1410" y="521"/>
                  <a:pt x="1411" y="520"/>
                  <a:pt x="1411" y="520"/>
                </a:cubicBezTo>
                <a:cubicBezTo>
                  <a:pt x="1411" y="520"/>
                  <a:pt x="1410" y="520"/>
                  <a:pt x="1410" y="520"/>
                </a:cubicBezTo>
                <a:cubicBezTo>
                  <a:pt x="1410" y="519"/>
                  <a:pt x="1410" y="518"/>
                  <a:pt x="1410" y="518"/>
                </a:cubicBezTo>
                <a:cubicBezTo>
                  <a:pt x="1410" y="518"/>
                  <a:pt x="1410" y="518"/>
                  <a:pt x="1410" y="518"/>
                </a:cubicBezTo>
                <a:cubicBezTo>
                  <a:pt x="1410" y="517"/>
                  <a:pt x="1410" y="517"/>
                  <a:pt x="1410" y="517"/>
                </a:cubicBezTo>
                <a:cubicBezTo>
                  <a:pt x="1409" y="516"/>
                  <a:pt x="1409" y="516"/>
                  <a:pt x="1410" y="515"/>
                </a:cubicBezTo>
                <a:cubicBezTo>
                  <a:pt x="1410" y="514"/>
                  <a:pt x="1409" y="515"/>
                  <a:pt x="1409" y="514"/>
                </a:cubicBezTo>
                <a:cubicBezTo>
                  <a:pt x="1408" y="514"/>
                  <a:pt x="1409" y="514"/>
                  <a:pt x="1409" y="514"/>
                </a:cubicBezTo>
                <a:close/>
                <a:moveTo>
                  <a:pt x="1393" y="519"/>
                </a:moveTo>
                <a:cubicBezTo>
                  <a:pt x="1394" y="519"/>
                  <a:pt x="1395" y="518"/>
                  <a:pt x="1395" y="518"/>
                </a:cubicBezTo>
                <a:cubicBezTo>
                  <a:pt x="1396" y="517"/>
                  <a:pt x="1397" y="517"/>
                  <a:pt x="1397" y="517"/>
                </a:cubicBezTo>
                <a:cubicBezTo>
                  <a:pt x="1397" y="517"/>
                  <a:pt x="1398" y="516"/>
                  <a:pt x="1398" y="516"/>
                </a:cubicBezTo>
                <a:cubicBezTo>
                  <a:pt x="1398" y="515"/>
                  <a:pt x="1399" y="513"/>
                  <a:pt x="1398" y="513"/>
                </a:cubicBezTo>
                <a:cubicBezTo>
                  <a:pt x="1396" y="513"/>
                  <a:pt x="1395" y="512"/>
                  <a:pt x="1394" y="512"/>
                </a:cubicBezTo>
                <a:cubicBezTo>
                  <a:pt x="1394" y="514"/>
                  <a:pt x="1394" y="516"/>
                  <a:pt x="1393" y="517"/>
                </a:cubicBezTo>
                <a:cubicBezTo>
                  <a:pt x="1393" y="517"/>
                  <a:pt x="1393" y="518"/>
                  <a:pt x="1393" y="519"/>
                </a:cubicBezTo>
                <a:cubicBezTo>
                  <a:pt x="1395" y="518"/>
                  <a:pt x="1393" y="519"/>
                  <a:pt x="1393" y="519"/>
                </a:cubicBezTo>
                <a:close/>
                <a:moveTo>
                  <a:pt x="1258" y="512"/>
                </a:moveTo>
                <a:cubicBezTo>
                  <a:pt x="1259" y="513"/>
                  <a:pt x="1259" y="511"/>
                  <a:pt x="1258" y="511"/>
                </a:cubicBezTo>
                <a:cubicBezTo>
                  <a:pt x="1258" y="511"/>
                  <a:pt x="1258" y="511"/>
                  <a:pt x="1258" y="512"/>
                </a:cubicBezTo>
                <a:close/>
                <a:moveTo>
                  <a:pt x="1404" y="511"/>
                </a:moveTo>
                <a:cubicBezTo>
                  <a:pt x="1402" y="510"/>
                  <a:pt x="1401" y="509"/>
                  <a:pt x="1400" y="509"/>
                </a:cubicBezTo>
                <a:cubicBezTo>
                  <a:pt x="1400" y="510"/>
                  <a:pt x="1399" y="511"/>
                  <a:pt x="1400" y="511"/>
                </a:cubicBezTo>
                <a:cubicBezTo>
                  <a:pt x="1401" y="511"/>
                  <a:pt x="1403" y="511"/>
                  <a:pt x="1404" y="512"/>
                </a:cubicBezTo>
                <a:cubicBezTo>
                  <a:pt x="1404" y="511"/>
                  <a:pt x="1404" y="511"/>
                  <a:pt x="1404" y="511"/>
                </a:cubicBezTo>
                <a:cubicBezTo>
                  <a:pt x="1402" y="510"/>
                  <a:pt x="1404" y="511"/>
                  <a:pt x="1404" y="511"/>
                </a:cubicBezTo>
                <a:close/>
                <a:moveTo>
                  <a:pt x="1383" y="510"/>
                </a:moveTo>
                <a:cubicBezTo>
                  <a:pt x="1384" y="510"/>
                  <a:pt x="1384" y="510"/>
                  <a:pt x="1385" y="511"/>
                </a:cubicBezTo>
                <a:cubicBezTo>
                  <a:pt x="1385" y="510"/>
                  <a:pt x="1384" y="509"/>
                  <a:pt x="1383" y="509"/>
                </a:cubicBezTo>
                <a:cubicBezTo>
                  <a:pt x="1383" y="509"/>
                  <a:pt x="1383" y="509"/>
                  <a:pt x="1383" y="509"/>
                </a:cubicBezTo>
                <a:cubicBezTo>
                  <a:pt x="1383" y="510"/>
                  <a:pt x="1383" y="510"/>
                  <a:pt x="1383" y="510"/>
                </a:cubicBezTo>
                <a:cubicBezTo>
                  <a:pt x="1384" y="510"/>
                  <a:pt x="1383" y="510"/>
                  <a:pt x="1383" y="510"/>
                </a:cubicBezTo>
                <a:close/>
                <a:moveTo>
                  <a:pt x="1259" y="508"/>
                </a:moveTo>
                <a:cubicBezTo>
                  <a:pt x="1259" y="508"/>
                  <a:pt x="1259" y="507"/>
                  <a:pt x="1259" y="508"/>
                </a:cubicBezTo>
                <a:cubicBezTo>
                  <a:pt x="1259" y="509"/>
                  <a:pt x="1259" y="509"/>
                  <a:pt x="1260" y="509"/>
                </a:cubicBezTo>
                <a:cubicBezTo>
                  <a:pt x="1259" y="509"/>
                  <a:pt x="1260" y="509"/>
                  <a:pt x="1259" y="508"/>
                </a:cubicBezTo>
                <a:close/>
                <a:moveTo>
                  <a:pt x="1074" y="508"/>
                </a:moveTo>
                <a:cubicBezTo>
                  <a:pt x="1074" y="508"/>
                  <a:pt x="1073" y="508"/>
                  <a:pt x="1073" y="508"/>
                </a:cubicBezTo>
                <a:cubicBezTo>
                  <a:pt x="1073" y="508"/>
                  <a:pt x="1073" y="508"/>
                  <a:pt x="1073" y="508"/>
                </a:cubicBezTo>
                <a:cubicBezTo>
                  <a:pt x="1072" y="508"/>
                  <a:pt x="1071" y="508"/>
                  <a:pt x="1070" y="508"/>
                </a:cubicBezTo>
                <a:cubicBezTo>
                  <a:pt x="1071" y="508"/>
                  <a:pt x="1072" y="508"/>
                  <a:pt x="1072" y="509"/>
                </a:cubicBezTo>
                <a:cubicBezTo>
                  <a:pt x="1072" y="509"/>
                  <a:pt x="1073" y="509"/>
                  <a:pt x="1074" y="509"/>
                </a:cubicBezTo>
                <a:cubicBezTo>
                  <a:pt x="1075" y="509"/>
                  <a:pt x="1075" y="508"/>
                  <a:pt x="1074" y="508"/>
                </a:cubicBezTo>
                <a:cubicBezTo>
                  <a:pt x="1074" y="508"/>
                  <a:pt x="1074" y="508"/>
                  <a:pt x="1074" y="508"/>
                </a:cubicBezTo>
                <a:close/>
                <a:moveTo>
                  <a:pt x="1395" y="508"/>
                </a:moveTo>
                <a:cubicBezTo>
                  <a:pt x="1395" y="507"/>
                  <a:pt x="1394" y="507"/>
                  <a:pt x="1393" y="507"/>
                </a:cubicBezTo>
                <a:cubicBezTo>
                  <a:pt x="1393" y="508"/>
                  <a:pt x="1394" y="508"/>
                  <a:pt x="1395" y="508"/>
                </a:cubicBezTo>
                <a:close/>
                <a:moveTo>
                  <a:pt x="1409" y="506"/>
                </a:moveTo>
                <a:cubicBezTo>
                  <a:pt x="1408" y="506"/>
                  <a:pt x="1407" y="506"/>
                  <a:pt x="1406" y="506"/>
                </a:cubicBezTo>
                <a:cubicBezTo>
                  <a:pt x="1405" y="507"/>
                  <a:pt x="1406" y="508"/>
                  <a:pt x="1405" y="507"/>
                </a:cubicBezTo>
                <a:cubicBezTo>
                  <a:pt x="1405" y="508"/>
                  <a:pt x="1406" y="509"/>
                  <a:pt x="1406" y="509"/>
                </a:cubicBezTo>
                <a:cubicBezTo>
                  <a:pt x="1406" y="510"/>
                  <a:pt x="1406" y="510"/>
                  <a:pt x="1407" y="510"/>
                </a:cubicBezTo>
                <a:cubicBezTo>
                  <a:pt x="1407" y="511"/>
                  <a:pt x="1407" y="511"/>
                  <a:pt x="1407" y="511"/>
                </a:cubicBezTo>
                <a:cubicBezTo>
                  <a:pt x="1408" y="511"/>
                  <a:pt x="1408" y="512"/>
                  <a:pt x="1408" y="513"/>
                </a:cubicBezTo>
                <a:cubicBezTo>
                  <a:pt x="1408" y="513"/>
                  <a:pt x="1408" y="513"/>
                  <a:pt x="1409" y="513"/>
                </a:cubicBezTo>
                <a:cubicBezTo>
                  <a:pt x="1409" y="513"/>
                  <a:pt x="1409" y="513"/>
                  <a:pt x="1409" y="513"/>
                </a:cubicBezTo>
                <a:cubicBezTo>
                  <a:pt x="1410" y="513"/>
                  <a:pt x="1410" y="513"/>
                  <a:pt x="1410" y="514"/>
                </a:cubicBezTo>
                <a:cubicBezTo>
                  <a:pt x="1410" y="514"/>
                  <a:pt x="1410" y="514"/>
                  <a:pt x="1410" y="514"/>
                </a:cubicBezTo>
                <a:cubicBezTo>
                  <a:pt x="1411" y="514"/>
                  <a:pt x="1411" y="515"/>
                  <a:pt x="1412" y="515"/>
                </a:cubicBezTo>
                <a:cubicBezTo>
                  <a:pt x="1412" y="514"/>
                  <a:pt x="1411" y="513"/>
                  <a:pt x="1411" y="513"/>
                </a:cubicBezTo>
                <a:cubicBezTo>
                  <a:pt x="1410" y="513"/>
                  <a:pt x="1411" y="512"/>
                  <a:pt x="1410" y="512"/>
                </a:cubicBezTo>
                <a:cubicBezTo>
                  <a:pt x="1409" y="512"/>
                  <a:pt x="1410" y="508"/>
                  <a:pt x="1410" y="507"/>
                </a:cubicBezTo>
                <a:cubicBezTo>
                  <a:pt x="1409" y="508"/>
                  <a:pt x="1409" y="507"/>
                  <a:pt x="1409" y="506"/>
                </a:cubicBezTo>
                <a:cubicBezTo>
                  <a:pt x="1407" y="506"/>
                  <a:pt x="1409" y="506"/>
                  <a:pt x="1409" y="506"/>
                </a:cubicBezTo>
                <a:close/>
                <a:moveTo>
                  <a:pt x="1259" y="506"/>
                </a:moveTo>
                <a:cubicBezTo>
                  <a:pt x="1259" y="506"/>
                  <a:pt x="1259" y="506"/>
                  <a:pt x="1259" y="506"/>
                </a:cubicBezTo>
                <a:cubicBezTo>
                  <a:pt x="1259" y="506"/>
                  <a:pt x="1259" y="506"/>
                  <a:pt x="1259" y="506"/>
                </a:cubicBezTo>
                <a:close/>
                <a:moveTo>
                  <a:pt x="533" y="504"/>
                </a:moveTo>
                <a:cubicBezTo>
                  <a:pt x="534" y="504"/>
                  <a:pt x="533" y="503"/>
                  <a:pt x="533" y="502"/>
                </a:cubicBezTo>
                <a:cubicBezTo>
                  <a:pt x="533" y="503"/>
                  <a:pt x="533" y="503"/>
                  <a:pt x="533" y="504"/>
                </a:cubicBezTo>
                <a:close/>
                <a:moveTo>
                  <a:pt x="1392" y="508"/>
                </a:moveTo>
                <a:cubicBezTo>
                  <a:pt x="1392" y="506"/>
                  <a:pt x="1391" y="504"/>
                  <a:pt x="1390" y="502"/>
                </a:cubicBezTo>
                <a:cubicBezTo>
                  <a:pt x="1389" y="502"/>
                  <a:pt x="1384" y="501"/>
                  <a:pt x="1385" y="502"/>
                </a:cubicBezTo>
                <a:cubicBezTo>
                  <a:pt x="1386" y="502"/>
                  <a:pt x="1387" y="502"/>
                  <a:pt x="1387" y="503"/>
                </a:cubicBezTo>
                <a:cubicBezTo>
                  <a:pt x="1387" y="503"/>
                  <a:pt x="1387" y="503"/>
                  <a:pt x="1387" y="503"/>
                </a:cubicBezTo>
                <a:cubicBezTo>
                  <a:pt x="1388" y="504"/>
                  <a:pt x="1388" y="503"/>
                  <a:pt x="1388" y="504"/>
                </a:cubicBezTo>
                <a:cubicBezTo>
                  <a:pt x="1388" y="505"/>
                  <a:pt x="1388" y="505"/>
                  <a:pt x="1389" y="505"/>
                </a:cubicBezTo>
                <a:cubicBezTo>
                  <a:pt x="1389" y="505"/>
                  <a:pt x="1389" y="506"/>
                  <a:pt x="1389" y="506"/>
                </a:cubicBezTo>
                <a:cubicBezTo>
                  <a:pt x="1390" y="506"/>
                  <a:pt x="1390" y="506"/>
                  <a:pt x="1391" y="506"/>
                </a:cubicBezTo>
                <a:cubicBezTo>
                  <a:pt x="1390" y="507"/>
                  <a:pt x="1390" y="507"/>
                  <a:pt x="1390" y="508"/>
                </a:cubicBezTo>
                <a:cubicBezTo>
                  <a:pt x="1390" y="508"/>
                  <a:pt x="1391" y="508"/>
                  <a:pt x="1391" y="508"/>
                </a:cubicBezTo>
                <a:cubicBezTo>
                  <a:pt x="1391" y="508"/>
                  <a:pt x="1391" y="508"/>
                  <a:pt x="1392" y="508"/>
                </a:cubicBezTo>
                <a:cubicBezTo>
                  <a:pt x="1391" y="505"/>
                  <a:pt x="1392" y="508"/>
                  <a:pt x="1392" y="508"/>
                </a:cubicBezTo>
                <a:close/>
                <a:moveTo>
                  <a:pt x="1259" y="501"/>
                </a:moveTo>
                <a:cubicBezTo>
                  <a:pt x="1259" y="501"/>
                  <a:pt x="1259" y="502"/>
                  <a:pt x="1259" y="502"/>
                </a:cubicBezTo>
                <a:cubicBezTo>
                  <a:pt x="1260" y="502"/>
                  <a:pt x="1260" y="501"/>
                  <a:pt x="1259" y="501"/>
                </a:cubicBezTo>
                <a:cubicBezTo>
                  <a:pt x="1259" y="501"/>
                  <a:pt x="1259" y="501"/>
                  <a:pt x="1259" y="501"/>
                </a:cubicBezTo>
                <a:close/>
                <a:moveTo>
                  <a:pt x="1404" y="499"/>
                </a:moveTo>
                <a:cubicBezTo>
                  <a:pt x="1404" y="500"/>
                  <a:pt x="1404" y="501"/>
                  <a:pt x="1406" y="501"/>
                </a:cubicBezTo>
                <a:cubicBezTo>
                  <a:pt x="1405" y="500"/>
                  <a:pt x="1405" y="499"/>
                  <a:pt x="1404" y="499"/>
                </a:cubicBezTo>
                <a:close/>
                <a:moveTo>
                  <a:pt x="527" y="494"/>
                </a:moveTo>
                <a:cubicBezTo>
                  <a:pt x="527" y="494"/>
                  <a:pt x="527" y="494"/>
                  <a:pt x="526" y="494"/>
                </a:cubicBezTo>
                <a:cubicBezTo>
                  <a:pt x="527" y="495"/>
                  <a:pt x="527" y="496"/>
                  <a:pt x="528" y="496"/>
                </a:cubicBezTo>
                <a:cubicBezTo>
                  <a:pt x="528" y="495"/>
                  <a:pt x="528" y="495"/>
                  <a:pt x="527" y="494"/>
                </a:cubicBezTo>
                <a:close/>
                <a:moveTo>
                  <a:pt x="525" y="491"/>
                </a:moveTo>
                <a:cubicBezTo>
                  <a:pt x="526" y="491"/>
                  <a:pt x="525" y="490"/>
                  <a:pt x="525" y="490"/>
                </a:cubicBezTo>
                <a:cubicBezTo>
                  <a:pt x="525" y="489"/>
                  <a:pt x="525" y="489"/>
                  <a:pt x="524" y="489"/>
                </a:cubicBezTo>
                <a:cubicBezTo>
                  <a:pt x="524" y="490"/>
                  <a:pt x="524" y="491"/>
                  <a:pt x="525" y="491"/>
                </a:cubicBezTo>
                <a:cubicBezTo>
                  <a:pt x="526" y="490"/>
                  <a:pt x="525" y="491"/>
                  <a:pt x="525" y="491"/>
                </a:cubicBezTo>
                <a:close/>
                <a:moveTo>
                  <a:pt x="525" y="485"/>
                </a:moveTo>
                <a:cubicBezTo>
                  <a:pt x="524" y="485"/>
                  <a:pt x="524" y="485"/>
                  <a:pt x="523" y="485"/>
                </a:cubicBezTo>
                <a:cubicBezTo>
                  <a:pt x="523" y="486"/>
                  <a:pt x="523" y="486"/>
                  <a:pt x="524" y="486"/>
                </a:cubicBezTo>
                <a:cubicBezTo>
                  <a:pt x="525" y="485"/>
                  <a:pt x="526" y="485"/>
                  <a:pt x="525" y="485"/>
                </a:cubicBezTo>
                <a:close/>
                <a:moveTo>
                  <a:pt x="1383" y="486"/>
                </a:moveTo>
                <a:cubicBezTo>
                  <a:pt x="1383" y="486"/>
                  <a:pt x="1383" y="486"/>
                  <a:pt x="1383" y="486"/>
                </a:cubicBezTo>
                <a:cubicBezTo>
                  <a:pt x="1383" y="487"/>
                  <a:pt x="1383" y="488"/>
                  <a:pt x="1383" y="489"/>
                </a:cubicBezTo>
                <a:cubicBezTo>
                  <a:pt x="1384" y="489"/>
                  <a:pt x="1384" y="489"/>
                  <a:pt x="1384" y="489"/>
                </a:cubicBezTo>
                <a:cubicBezTo>
                  <a:pt x="1384" y="490"/>
                  <a:pt x="1384" y="489"/>
                  <a:pt x="1384" y="490"/>
                </a:cubicBezTo>
                <a:cubicBezTo>
                  <a:pt x="1384" y="490"/>
                  <a:pt x="1384" y="491"/>
                  <a:pt x="1384" y="491"/>
                </a:cubicBezTo>
                <a:cubicBezTo>
                  <a:pt x="1384" y="493"/>
                  <a:pt x="1385" y="494"/>
                  <a:pt x="1387" y="495"/>
                </a:cubicBezTo>
                <a:cubicBezTo>
                  <a:pt x="1387" y="495"/>
                  <a:pt x="1387" y="494"/>
                  <a:pt x="1387" y="494"/>
                </a:cubicBezTo>
                <a:cubicBezTo>
                  <a:pt x="1388" y="494"/>
                  <a:pt x="1388" y="493"/>
                  <a:pt x="1388" y="494"/>
                </a:cubicBezTo>
                <a:cubicBezTo>
                  <a:pt x="1388" y="495"/>
                  <a:pt x="1388" y="495"/>
                  <a:pt x="1388" y="496"/>
                </a:cubicBezTo>
                <a:cubicBezTo>
                  <a:pt x="1388" y="496"/>
                  <a:pt x="1387" y="497"/>
                  <a:pt x="1387" y="498"/>
                </a:cubicBezTo>
                <a:cubicBezTo>
                  <a:pt x="1388" y="498"/>
                  <a:pt x="1388" y="498"/>
                  <a:pt x="1388" y="498"/>
                </a:cubicBezTo>
                <a:cubicBezTo>
                  <a:pt x="1388" y="500"/>
                  <a:pt x="1388" y="498"/>
                  <a:pt x="1389" y="499"/>
                </a:cubicBezTo>
                <a:cubicBezTo>
                  <a:pt x="1389" y="500"/>
                  <a:pt x="1390" y="501"/>
                  <a:pt x="1390" y="501"/>
                </a:cubicBezTo>
                <a:cubicBezTo>
                  <a:pt x="1391" y="501"/>
                  <a:pt x="1392" y="501"/>
                  <a:pt x="1392" y="499"/>
                </a:cubicBezTo>
                <a:cubicBezTo>
                  <a:pt x="1393" y="499"/>
                  <a:pt x="1394" y="500"/>
                  <a:pt x="1395" y="500"/>
                </a:cubicBezTo>
                <a:cubicBezTo>
                  <a:pt x="1396" y="500"/>
                  <a:pt x="1396" y="501"/>
                  <a:pt x="1396" y="502"/>
                </a:cubicBezTo>
                <a:cubicBezTo>
                  <a:pt x="1397" y="502"/>
                  <a:pt x="1397" y="502"/>
                  <a:pt x="1398" y="502"/>
                </a:cubicBezTo>
                <a:cubicBezTo>
                  <a:pt x="1397" y="501"/>
                  <a:pt x="1397" y="501"/>
                  <a:pt x="1397" y="500"/>
                </a:cubicBezTo>
                <a:cubicBezTo>
                  <a:pt x="1397" y="499"/>
                  <a:pt x="1398" y="499"/>
                  <a:pt x="1398" y="499"/>
                </a:cubicBezTo>
                <a:cubicBezTo>
                  <a:pt x="1398" y="499"/>
                  <a:pt x="1398" y="501"/>
                  <a:pt x="1399" y="501"/>
                </a:cubicBezTo>
                <a:cubicBezTo>
                  <a:pt x="1399" y="501"/>
                  <a:pt x="1400" y="502"/>
                  <a:pt x="1400" y="502"/>
                </a:cubicBezTo>
                <a:cubicBezTo>
                  <a:pt x="1400" y="503"/>
                  <a:pt x="1400" y="504"/>
                  <a:pt x="1401" y="504"/>
                </a:cubicBezTo>
                <a:cubicBezTo>
                  <a:pt x="1402" y="504"/>
                  <a:pt x="1402" y="505"/>
                  <a:pt x="1403" y="506"/>
                </a:cubicBezTo>
                <a:cubicBezTo>
                  <a:pt x="1403" y="505"/>
                  <a:pt x="1403" y="505"/>
                  <a:pt x="1403" y="505"/>
                </a:cubicBezTo>
                <a:cubicBezTo>
                  <a:pt x="1403" y="504"/>
                  <a:pt x="1404" y="504"/>
                  <a:pt x="1404" y="504"/>
                </a:cubicBezTo>
                <a:cubicBezTo>
                  <a:pt x="1404" y="504"/>
                  <a:pt x="1404" y="503"/>
                  <a:pt x="1404" y="503"/>
                </a:cubicBezTo>
                <a:cubicBezTo>
                  <a:pt x="1403" y="503"/>
                  <a:pt x="1403" y="502"/>
                  <a:pt x="1403" y="502"/>
                </a:cubicBezTo>
                <a:cubicBezTo>
                  <a:pt x="1402" y="502"/>
                  <a:pt x="1402" y="502"/>
                  <a:pt x="1402" y="501"/>
                </a:cubicBezTo>
                <a:cubicBezTo>
                  <a:pt x="1402" y="500"/>
                  <a:pt x="1403" y="498"/>
                  <a:pt x="1401" y="498"/>
                </a:cubicBezTo>
                <a:cubicBezTo>
                  <a:pt x="1400" y="497"/>
                  <a:pt x="1400" y="500"/>
                  <a:pt x="1399" y="497"/>
                </a:cubicBezTo>
                <a:cubicBezTo>
                  <a:pt x="1400" y="498"/>
                  <a:pt x="1398" y="496"/>
                  <a:pt x="1398" y="496"/>
                </a:cubicBezTo>
                <a:cubicBezTo>
                  <a:pt x="1398" y="496"/>
                  <a:pt x="1398" y="497"/>
                  <a:pt x="1397" y="497"/>
                </a:cubicBezTo>
                <a:cubicBezTo>
                  <a:pt x="1397" y="497"/>
                  <a:pt x="1396" y="497"/>
                  <a:pt x="1396" y="497"/>
                </a:cubicBezTo>
                <a:cubicBezTo>
                  <a:pt x="1395" y="497"/>
                  <a:pt x="1395" y="497"/>
                  <a:pt x="1395" y="497"/>
                </a:cubicBezTo>
                <a:cubicBezTo>
                  <a:pt x="1395" y="498"/>
                  <a:pt x="1394" y="497"/>
                  <a:pt x="1394" y="498"/>
                </a:cubicBezTo>
                <a:cubicBezTo>
                  <a:pt x="1392" y="497"/>
                  <a:pt x="1392" y="497"/>
                  <a:pt x="1392" y="494"/>
                </a:cubicBezTo>
                <a:cubicBezTo>
                  <a:pt x="1392" y="494"/>
                  <a:pt x="1391" y="494"/>
                  <a:pt x="1391" y="493"/>
                </a:cubicBezTo>
                <a:cubicBezTo>
                  <a:pt x="1391" y="492"/>
                  <a:pt x="1392" y="491"/>
                  <a:pt x="1391" y="491"/>
                </a:cubicBezTo>
                <a:cubicBezTo>
                  <a:pt x="1391" y="490"/>
                  <a:pt x="1391" y="487"/>
                  <a:pt x="1392" y="487"/>
                </a:cubicBezTo>
                <a:cubicBezTo>
                  <a:pt x="1393" y="487"/>
                  <a:pt x="1393" y="487"/>
                  <a:pt x="1394" y="486"/>
                </a:cubicBezTo>
                <a:cubicBezTo>
                  <a:pt x="1394" y="486"/>
                  <a:pt x="1394" y="485"/>
                  <a:pt x="1394" y="485"/>
                </a:cubicBezTo>
                <a:cubicBezTo>
                  <a:pt x="1394" y="485"/>
                  <a:pt x="1394" y="485"/>
                  <a:pt x="1394" y="485"/>
                </a:cubicBezTo>
                <a:cubicBezTo>
                  <a:pt x="1394" y="483"/>
                  <a:pt x="1394" y="483"/>
                  <a:pt x="1396" y="484"/>
                </a:cubicBezTo>
                <a:cubicBezTo>
                  <a:pt x="1396" y="482"/>
                  <a:pt x="1397" y="482"/>
                  <a:pt x="1396" y="481"/>
                </a:cubicBezTo>
                <a:cubicBezTo>
                  <a:pt x="1396" y="480"/>
                  <a:pt x="1396" y="481"/>
                  <a:pt x="1396" y="480"/>
                </a:cubicBezTo>
                <a:cubicBezTo>
                  <a:pt x="1396" y="480"/>
                  <a:pt x="1396" y="480"/>
                  <a:pt x="1396" y="479"/>
                </a:cubicBezTo>
                <a:cubicBezTo>
                  <a:pt x="1396" y="478"/>
                  <a:pt x="1395" y="479"/>
                  <a:pt x="1395" y="478"/>
                </a:cubicBezTo>
                <a:cubicBezTo>
                  <a:pt x="1395" y="477"/>
                  <a:pt x="1395" y="476"/>
                  <a:pt x="1394" y="476"/>
                </a:cubicBezTo>
                <a:cubicBezTo>
                  <a:pt x="1394" y="476"/>
                  <a:pt x="1395" y="476"/>
                  <a:pt x="1395" y="476"/>
                </a:cubicBezTo>
                <a:cubicBezTo>
                  <a:pt x="1395" y="475"/>
                  <a:pt x="1395" y="475"/>
                  <a:pt x="1395" y="474"/>
                </a:cubicBezTo>
                <a:cubicBezTo>
                  <a:pt x="1395" y="474"/>
                  <a:pt x="1395" y="474"/>
                  <a:pt x="1395" y="474"/>
                </a:cubicBezTo>
                <a:cubicBezTo>
                  <a:pt x="1395" y="473"/>
                  <a:pt x="1395" y="473"/>
                  <a:pt x="1395" y="473"/>
                </a:cubicBezTo>
                <a:cubicBezTo>
                  <a:pt x="1395" y="472"/>
                  <a:pt x="1394" y="472"/>
                  <a:pt x="1394" y="473"/>
                </a:cubicBezTo>
                <a:cubicBezTo>
                  <a:pt x="1393" y="473"/>
                  <a:pt x="1392" y="474"/>
                  <a:pt x="1392" y="473"/>
                </a:cubicBezTo>
                <a:cubicBezTo>
                  <a:pt x="1391" y="473"/>
                  <a:pt x="1390" y="473"/>
                  <a:pt x="1390" y="472"/>
                </a:cubicBezTo>
                <a:cubicBezTo>
                  <a:pt x="1389" y="472"/>
                  <a:pt x="1388" y="472"/>
                  <a:pt x="1388" y="473"/>
                </a:cubicBezTo>
                <a:cubicBezTo>
                  <a:pt x="1388" y="473"/>
                  <a:pt x="1388" y="474"/>
                  <a:pt x="1388" y="474"/>
                </a:cubicBezTo>
                <a:cubicBezTo>
                  <a:pt x="1388" y="474"/>
                  <a:pt x="1387" y="474"/>
                  <a:pt x="1387" y="474"/>
                </a:cubicBezTo>
                <a:cubicBezTo>
                  <a:pt x="1387" y="475"/>
                  <a:pt x="1387" y="475"/>
                  <a:pt x="1388" y="475"/>
                </a:cubicBezTo>
                <a:cubicBezTo>
                  <a:pt x="1388" y="475"/>
                  <a:pt x="1387" y="475"/>
                  <a:pt x="1387" y="476"/>
                </a:cubicBezTo>
                <a:cubicBezTo>
                  <a:pt x="1387" y="476"/>
                  <a:pt x="1387" y="476"/>
                  <a:pt x="1387" y="476"/>
                </a:cubicBezTo>
                <a:cubicBezTo>
                  <a:pt x="1387" y="477"/>
                  <a:pt x="1387" y="476"/>
                  <a:pt x="1387" y="477"/>
                </a:cubicBezTo>
                <a:cubicBezTo>
                  <a:pt x="1387" y="478"/>
                  <a:pt x="1386" y="478"/>
                  <a:pt x="1386" y="480"/>
                </a:cubicBezTo>
                <a:cubicBezTo>
                  <a:pt x="1387" y="480"/>
                  <a:pt x="1386" y="481"/>
                  <a:pt x="1387" y="481"/>
                </a:cubicBezTo>
                <a:cubicBezTo>
                  <a:pt x="1387" y="481"/>
                  <a:pt x="1387" y="481"/>
                  <a:pt x="1387" y="481"/>
                </a:cubicBezTo>
                <a:cubicBezTo>
                  <a:pt x="1387" y="481"/>
                  <a:pt x="1387" y="482"/>
                  <a:pt x="1387" y="482"/>
                </a:cubicBezTo>
                <a:cubicBezTo>
                  <a:pt x="1387" y="483"/>
                  <a:pt x="1387" y="483"/>
                  <a:pt x="1386" y="483"/>
                </a:cubicBezTo>
                <a:cubicBezTo>
                  <a:pt x="1385" y="484"/>
                  <a:pt x="1386" y="485"/>
                  <a:pt x="1386" y="486"/>
                </a:cubicBezTo>
                <a:cubicBezTo>
                  <a:pt x="1386" y="486"/>
                  <a:pt x="1386" y="487"/>
                  <a:pt x="1385" y="487"/>
                </a:cubicBezTo>
                <a:cubicBezTo>
                  <a:pt x="1384" y="487"/>
                  <a:pt x="1384" y="486"/>
                  <a:pt x="1383" y="486"/>
                </a:cubicBezTo>
                <a:close/>
                <a:moveTo>
                  <a:pt x="506" y="472"/>
                </a:moveTo>
                <a:cubicBezTo>
                  <a:pt x="506" y="472"/>
                  <a:pt x="506" y="471"/>
                  <a:pt x="506" y="471"/>
                </a:cubicBezTo>
                <a:cubicBezTo>
                  <a:pt x="505" y="471"/>
                  <a:pt x="505" y="472"/>
                  <a:pt x="505" y="471"/>
                </a:cubicBezTo>
                <a:cubicBezTo>
                  <a:pt x="504" y="471"/>
                  <a:pt x="503" y="471"/>
                  <a:pt x="503" y="471"/>
                </a:cubicBezTo>
                <a:cubicBezTo>
                  <a:pt x="503" y="471"/>
                  <a:pt x="503" y="471"/>
                  <a:pt x="503" y="471"/>
                </a:cubicBezTo>
                <a:cubicBezTo>
                  <a:pt x="502" y="471"/>
                  <a:pt x="500" y="471"/>
                  <a:pt x="499" y="471"/>
                </a:cubicBezTo>
                <a:cubicBezTo>
                  <a:pt x="499" y="472"/>
                  <a:pt x="500" y="473"/>
                  <a:pt x="500" y="473"/>
                </a:cubicBezTo>
                <a:cubicBezTo>
                  <a:pt x="501" y="474"/>
                  <a:pt x="502" y="474"/>
                  <a:pt x="502" y="474"/>
                </a:cubicBezTo>
                <a:cubicBezTo>
                  <a:pt x="504" y="474"/>
                  <a:pt x="505" y="473"/>
                  <a:pt x="506" y="472"/>
                </a:cubicBezTo>
                <a:close/>
                <a:moveTo>
                  <a:pt x="452" y="474"/>
                </a:moveTo>
                <a:cubicBezTo>
                  <a:pt x="453" y="474"/>
                  <a:pt x="454" y="474"/>
                  <a:pt x="455" y="474"/>
                </a:cubicBezTo>
                <a:cubicBezTo>
                  <a:pt x="455" y="472"/>
                  <a:pt x="455" y="472"/>
                  <a:pt x="454" y="472"/>
                </a:cubicBezTo>
                <a:cubicBezTo>
                  <a:pt x="453" y="472"/>
                  <a:pt x="453" y="471"/>
                  <a:pt x="452" y="471"/>
                </a:cubicBezTo>
                <a:cubicBezTo>
                  <a:pt x="451" y="471"/>
                  <a:pt x="450" y="471"/>
                  <a:pt x="449" y="471"/>
                </a:cubicBezTo>
                <a:cubicBezTo>
                  <a:pt x="449" y="471"/>
                  <a:pt x="449" y="470"/>
                  <a:pt x="449" y="470"/>
                </a:cubicBezTo>
                <a:cubicBezTo>
                  <a:pt x="449" y="470"/>
                  <a:pt x="448" y="470"/>
                  <a:pt x="448" y="470"/>
                </a:cubicBezTo>
                <a:cubicBezTo>
                  <a:pt x="447" y="470"/>
                  <a:pt x="446" y="470"/>
                  <a:pt x="446" y="470"/>
                </a:cubicBezTo>
                <a:cubicBezTo>
                  <a:pt x="445" y="471"/>
                  <a:pt x="444" y="471"/>
                  <a:pt x="444" y="472"/>
                </a:cubicBezTo>
                <a:cubicBezTo>
                  <a:pt x="444" y="472"/>
                  <a:pt x="445" y="472"/>
                  <a:pt x="445" y="472"/>
                </a:cubicBezTo>
                <a:cubicBezTo>
                  <a:pt x="445" y="472"/>
                  <a:pt x="446" y="472"/>
                  <a:pt x="446" y="472"/>
                </a:cubicBezTo>
                <a:cubicBezTo>
                  <a:pt x="446" y="473"/>
                  <a:pt x="447" y="473"/>
                  <a:pt x="447" y="474"/>
                </a:cubicBezTo>
                <a:cubicBezTo>
                  <a:pt x="447" y="473"/>
                  <a:pt x="448" y="474"/>
                  <a:pt x="448" y="474"/>
                </a:cubicBezTo>
                <a:cubicBezTo>
                  <a:pt x="448" y="474"/>
                  <a:pt x="450" y="474"/>
                  <a:pt x="450" y="475"/>
                </a:cubicBezTo>
                <a:cubicBezTo>
                  <a:pt x="451" y="475"/>
                  <a:pt x="452" y="475"/>
                  <a:pt x="452" y="474"/>
                </a:cubicBezTo>
                <a:close/>
                <a:moveTo>
                  <a:pt x="1335" y="476"/>
                </a:moveTo>
                <a:cubicBezTo>
                  <a:pt x="1336" y="477"/>
                  <a:pt x="1336" y="477"/>
                  <a:pt x="1336" y="477"/>
                </a:cubicBezTo>
                <a:cubicBezTo>
                  <a:pt x="1337" y="477"/>
                  <a:pt x="1336" y="477"/>
                  <a:pt x="1337" y="477"/>
                </a:cubicBezTo>
                <a:cubicBezTo>
                  <a:pt x="1337" y="477"/>
                  <a:pt x="1337" y="477"/>
                  <a:pt x="1338" y="477"/>
                </a:cubicBezTo>
                <a:cubicBezTo>
                  <a:pt x="1338" y="477"/>
                  <a:pt x="1338" y="476"/>
                  <a:pt x="1338" y="476"/>
                </a:cubicBezTo>
                <a:cubicBezTo>
                  <a:pt x="1339" y="476"/>
                  <a:pt x="1340" y="476"/>
                  <a:pt x="1340" y="475"/>
                </a:cubicBezTo>
                <a:cubicBezTo>
                  <a:pt x="1340" y="474"/>
                  <a:pt x="1340" y="475"/>
                  <a:pt x="1341" y="475"/>
                </a:cubicBezTo>
                <a:cubicBezTo>
                  <a:pt x="1341" y="475"/>
                  <a:pt x="1342" y="474"/>
                  <a:pt x="1342" y="474"/>
                </a:cubicBezTo>
                <a:cubicBezTo>
                  <a:pt x="1342" y="473"/>
                  <a:pt x="1342" y="473"/>
                  <a:pt x="1342" y="472"/>
                </a:cubicBezTo>
                <a:cubicBezTo>
                  <a:pt x="1342" y="473"/>
                  <a:pt x="1342" y="472"/>
                  <a:pt x="1342" y="472"/>
                </a:cubicBezTo>
                <a:cubicBezTo>
                  <a:pt x="1342" y="472"/>
                  <a:pt x="1343" y="471"/>
                  <a:pt x="1343" y="471"/>
                </a:cubicBezTo>
                <a:cubicBezTo>
                  <a:pt x="1343" y="471"/>
                  <a:pt x="1343" y="469"/>
                  <a:pt x="1343" y="469"/>
                </a:cubicBezTo>
                <a:cubicBezTo>
                  <a:pt x="1343" y="469"/>
                  <a:pt x="1344" y="469"/>
                  <a:pt x="1344" y="469"/>
                </a:cubicBezTo>
                <a:cubicBezTo>
                  <a:pt x="1344" y="468"/>
                  <a:pt x="1345" y="469"/>
                  <a:pt x="1344" y="468"/>
                </a:cubicBezTo>
                <a:cubicBezTo>
                  <a:pt x="1344" y="467"/>
                  <a:pt x="1343" y="466"/>
                  <a:pt x="1343" y="466"/>
                </a:cubicBezTo>
                <a:cubicBezTo>
                  <a:pt x="1342" y="466"/>
                  <a:pt x="1339" y="466"/>
                  <a:pt x="1339" y="466"/>
                </a:cubicBezTo>
                <a:cubicBezTo>
                  <a:pt x="1339" y="466"/>
                  <a:pt x="1338" y="467"/>
                  <a:pt x="1337" y="467"/>
                </a:cubicBezTo>
                <a:cubicBezTo>
                  <a:pt x="1336" y="467"/>
                  <a:pt x="1335" y="467"/>
                  <a:pt x="1335" y="469"/>
                </a:cubicBezTo>
                <a:cubicBezTo>
                  <a:pt x="1335" y="469"/>
                  <a:pt x="1334" y="469"/>
                  <a:pt x="1333" y="469"/>
                </a:cubicBezTo>
                <a:cubicBezTo>
                  <a:pt x="1333" y="470"/>
                  <a:pt x="1333" y="470"/>
                  <a:pt x="1332" y="470"/>
                </a:cubicBezTo>
                <a:cubicBezTo>
                  <a:pt x="1330" y="470"/>
                  <a:pt x="1332" y="474"/>
                  <a:pt x="1332" y="475"/>
                </a:cubicBezTo>
                <a:cubicBezTo>
                  <a:pt x="1333" y="476"/>
                  <a:pt x="1334" y="476"/>
                  <a:pt x="1335" y="476"/>
                </a:cubicBezTo>
                <a:cubicBezTo>
                  <a:pt x="1336" y="477"/>
                  <a:pt x="1335" y="476"/>
                  <a:pt x="1335" y="476"/>
                </a:cubicBezTo>
                <a:close/>
                <a:moveTo>
                  <a:pt x="493" y="471"/>
                </a:moveTo>
                <a:cubicBezTo>
                  <a:pt x="493" y="470"/>
                  <a:pt x="492" y="469"/>
                  <a:pt x="492" y="468"/>
                </a:cubicBezTo>
                <a:cubicBezTo>
                  <a:pt x="491" y="468"/>
                  <a:pt x="491" y="467"/>
                  <a:pt x="490" y="467"/>
                </a:cubicBezTo>
                <a:cubicBezTo>
                  <a:pt x="489" y="468"/>
                  <a:pt x="488" y="468"/>
                  <a:pt x="487" y="467"/>
                </a:cubicBezTo>
                <a:cubicBezTo>
                  <a:pt x="487" y="467"/>
                  <a:pt x="487" y="467"/>
                  <a:pt x="487" y="467"/>
                </a:cubicBezTo>
                <a:cubicBezTo>
                  <a:pt x="487" y="467"/>
                  <a:pt x="486" y="467"/>
                  <a:pt x="486" y="467"/>
                </a:cubicBezTo>
                <a:cubicBezTo>
                  <a:pt x="486" y="466"/>
                  <a:pt x="485" y="466"/>
                  <a:pt x="485" y="465"/>
                </a:cubicBezTo>
                <a:cubicBezTo>
                  <a:pt x="485" y="466"/>
                  <a:pt x="484" y="465"/>
                  <a:pt x="484" y="465"/>
                </a:cubicBezTo>
                <a:cubicBezTo>
                  <a:pt x="483" y="465"/>
                  <a:pt x="483" y="465"/>
                  <a:pt x="482" y="465"/>
                </a:cubicBezTo>
                <a:cubicBezTo>
                  <a:pt x="482" y="465"/>
                  <a:pt x="481" y="464"/>
                  <a:pt x="481" y="463"/>
                </a:cubicBezTo>
                <a:cubicBezTo>
                  <a:pt x="481" y="464"/>
                  <a:pt x="480" y="464"/>
                  <a:pt x="479" y="464"/>
                </a:cubicBezTo>
                <a:cubicBezTo>
                  <a:pt x="479" y="462"/>
                  <a:pt x="478" y="464"/>
                  <a:pt x="478" y="464"/>
                </a:cubicBezTo>
                <a:cubicBezTo>
                  <a:pt x="477" y="464"/>
                  <a:pt x="477" y="464"/>
                  <a:pt x="477" y="465"/>
                </a:cubicBezTo>
                <a:cubicBezTo>
                  <a:pt x="476" y="465"/>
                  <a:pt x="475" y="464"/>
                  <a:pt x="474" y="464"/>
                </a:cubicBezTo>
                <a:cubicBezTo>
                  <a:pt x="474" y="464"/>
                  <a:pt x="474" y="465"/>
                  <a:pt x="474" y="464"/>
                </a:cubicBezTo>
                <a:cubicBezTo>
                  <a:pt x="474" y="464"/>
                  <a:pt x="473" y="463"/>
                  <a:pt x="473" y="463"/>
                </a:cubicBezTo>
                <a:cubicBezTo>
                  <a:pt x="472" y="463"/>
                  <a:pt x="471" y="463"/>
                  <a:pt x="470" y="463"/>
                </a:cubicBezTo>
                <a:cubicBezTo>
                  <a:pt x="471" y="464"/>
                  <a:pt x="472" y="464"/>
                  <a:pt x="472" y="465"/>
                </a:cubicBezTo>
                <a:cubicBezTo>
                  <a:pt x="472" y="466"/>
                  <a:pt x="472" y="468"/>
                  <a:pt x="472" y="468"/>
                </a:cubicBezTo>
                <a:cubicBezTo>
                  <a:pt x="472" y="468"/>
                  <a:pt x="473" y="469"/>
                  <a:pt x="473" y="469"/>
                </a:cubicBezTo>
                <a:cubicBezTo>
                  <a:pt x="473" y="470"/>
                  <a:pt x="474" y="469"/>
                  <a:pt x="474" y="470"/>
                </a:cubicBezTo>
                <a:cubicBezTo>
                  <a:pt x="474" y="471"/>
                  <a:pt x="474" y="472"/>
                  <a:pt x="473" y="471"/>
                </a:cubicBezTo>
                <a:cubicBezTo>
                  <a:pt x="473" y="471"/>
                  <a:pt x="472" y="471"/>
                  <a:pt x="472" y="471"/>
                </a:cubicBezTo>
                <a:cubicBezTo>
                  <a:pt x="472" y="470"/>
                  <a:pt x="469" y="471"/>
                  <a:pt x="469" y="470"/>
                </a:cubicBezTo>
                <a:cubicBezTo>
                  <a:pt x="468" y="470"/>
                  <a:pt x="468" y="470"/>
                  <a:pt x="467" y="470"/>
                </a:cubicBezTo>
                <a:cubicBezTo>
                  <a:pt x="466" y="471"/>
                  <a:pt x="467" y="470"/>
                  <a:pt x="466" y="470"/>
                </a:cubicBezTo>
                <a:cubicBezTo>
                  <a:pt x="466" y="470"/>
                  <a:pt x="465" y="470"/>
                  <a:pt x="465" y="470"/>
                </a:cubicBezTo>
                <a:cubicBezTo>
                  <a:pt x="465" y="469"/>
                  <a:pt x="465" y="470"/>
                  <a:pt x="465" y="470"/>
                </a:cubicBezTo>
                <a:cubicBezTo>
                  <a:pt x="464" y="470"/>
                  <a:pt x="463" y="470"/>
                  <a:pt x="463" y="471"/>
                </a:cubicBezTo>
                <a:cubicBezTo>
                  <a:pt x="464" y="471"/>
                  <a:pt x="464" y="471"/>
                  <a:pt x="464" y="472"/>
                </a:cubicBezTo>
                <a:cubicBezTo>
                  <a:pt x="464" y="472"/>
                  <a:pt x="464" y="472"/>
                  <a:pt x="465" y="472"/>
                </a:cubicBezTo>
                <a:cubicBezTo>
                  <a:pt x="466" y="472"/>
                  <a:pt x="465" y="472"/>
                  <a:pt x="465" y="472"/>
                </a:cubicBezTo>
                <a:cubicBezTo>
                  <a:pt x="466" y="473"/>
                  <a:pt x="467" y="472"/>
                  <a:pt x="469" y="472"/>
                </a:cubicBezTo>
                <a:cubicBezTo>
                  <a:pt x="469" y="472"/>
                  <a:pt x="470" y="472"/>
                  <a:pt x="471" y="472"/>
                </a:cubicBezTo>
                <a:cubicBezTo>
                  <a:pt x="472" y="472"/>
                  <a:pt x="474" y="472"/>
                  <a:pt x="475" y="472"/>
                </a:cubicBezTo>
                <a:cubicBezTo>
                  <a:pt x="476" y="472"/>
                  <a:pt x="476" y="472"/>
                  <a:pt x="477" y="472"/>
                </a:cubicBezTo>
                <a:cubicBezTo>
                  <a:pt x="477" y="472"/>
                  <a:pt x="477" y="473"/>
                  <a:pt x="477" y="473"/>
                </a:cubicBezTo>
                <a:cubicBezTo>
                  <a:pt x="478" y="473"/>
                  <a:pt x="478" y="475"/>
                  <a:pt x="478" y="475"/>
                </a:cubicBezTo>
                <a:cubicBezTo>
                  <a:pt x="478" y="475"/>
                  <a:pt x="479" y="474"/>
                  <a:pt x="479" y="474"/>
                </a:cubicBezTo>
                <a:cubicBezTo>
                  <a:pt x="480" y="474"/>
                  <a:pt x="480" y="473"/>
                  <a:pt x="480" y="473"/>
                </a:cubicBezTo>
                <a:cubicBezTo>
                  <a:pt x="480" y="472"/>
                  <a:pt x="480" y="471"/>
                  <a:pt x="480" y="471"/>
                </a:cubicBezTo>
                <a:cubicBezTo>
                  <a:pt x="481" y="471"/>
                  <a:pt x="486" y="474"/>
                  <a:pt x="486" y="471"/>
                </a:cubicBezTo>
                <a:cubicBezTo>
                  <a:pt x="487" y="471"/>
                  <a:pt x="489" y="471"/>
                  <a:pt x="490" y="471"/>
                </a:cubicBezTo>
                <a:cubicBezTo>
                  <a:pt x="490" y="471"/>
                  <a:pt x="490" y="471"/>
                  <a:pt x="491" y="471"/>
                </a:cubicBezTo>
                <a:cubicBezTo>
                  <a:pt x="491" y="471"/>
                  <a:pt x="492" y="471"/>
                  <a:pt x="493" y="471"/>
                </a:cubicBezTo>
                <a:cubicBezTo>
                  <a:pt x="493" y="469"/>
                  <a:pt x="493" y="471"/>
                  <a:pt x="493" y="471"/>
                </a:cubicBezTo>
                <a:close/>
                <a:moveTo>
                  <a:pt x="469" y="456"/>
                </a:moveTo>
                <a:cubicBezTo>
                  <a:pt x="469" y="456"/>
                  <a:pt x="469" y="456"/>
                  <a:pt x="468" y="456"/>
                </a:cubicBezTo>
                <a:cubicBezTo>
                  <a:pt x="469" y="456"/>
                  <a:pt x="468" y="456"/>
                  <a:pt x="469" y="456"/>
                </a:cubicBezTo>
                <a:close/>
                <a:moveTo>
                  <a:pt x="422" y="453"/>
                </a:moveTo>
                <a:cubicBezTo>
                  <a:pt x="422" y="454"/>
                  <a:pt x="423" y="454"/>
                  <a:pt x="424" y="454"/>
                </a:cubicBezTo>
                <a:cubicBezTo>
                  <a:pt x="425" y="453"/>
                  <a:pt x="425" y="453"/>
                  <a:pt x="425" y="452"/>
                </a:cubicBezTo>
                <a:cubicBezTo>
                  <a:pt x="426" y="452"/>
                  <a:pt x="426" y="451"/>
                  <a:pt x="426" y="451"/>
                </a:cubicBezTo>
                <a:cubicBezTo>
                  <a:pt x="426" y="450"/>
                  <a:pt x="425" y="450"/>
                  <a:pt x="424" y="450"/>
                </a:cubicBezTo>
                <a:cubicBezTo>
                  <a:pt x="423" y="450"/>
                  <a:pt x="423" y="450"/>
                  <a:pt x="423" y="451"/>
                </a:cubicBezTo>
                <a:cubicBezTo>
                  <a:pt x="423" y="451"/>
                  <a:pt x="424" y="451"/>
                  <a:pt x="424" y="451"/>
                </a:cubicBezTo>
                <a:cubicBezTo>
                  <a:pt x="424" y="452"/>
                  <a:pt x="424" y="453"/>
                  <a:pt x="422" y="453"/>
                </a:cubicBezTo>
                <a:close/>
                <a:moveTo>
                  <a:pt x="455" y="462"/>
                </a:moveTo>
                <a:cubicBezTo>
                  <a:pt x="457" y="462"/>
                  <a:pt x="460" y="463"/>
                  <a:pt x="462" y="462"/>
                </a:cubicBezTo>
                <a:cubicBezTo>
                  <a:pt x="462" y="462"/>
                  <a:pt x="461" y="462"/>
                  <a:pt x="462" y="462"/>
                </a:cubicBezTo>
                <a:cubicBezTo>
                  <a:pt x="462" y="462"/>
                  <a:pt x="462" y="462"/>
                  <a:pt x="462" y="462"/>
                </a:cubicBezTo>
                <a:cubicBezTo>
                  <a:pt x="462" y="462"/>
                  <a:pt x="464" y="461"/>
                  <a:pt x="464" y="461"/>
                </a:cubicBezTo>
                <a:cubicBezTo>
                  <a:pt x="464" y="461"/>
                  <a:pt x="464" y="460"/>
                  <a:pt x="464" y="460"/>
                </a:cubicBezTo>
                <a:cubicBezTo>
                  <a:pt x="463" y="460"/>
                  <a:pt x="463" y="459"/>
                  <a:pt x="462" y="459"/>
                </a:cubicBezTo>
                <a:cubicBezTo>
                  <a:pt x="461" y="459"/>
                  <a:pt x="460" y="459"/>
                  <a:pt x="460" y="459"/>
                </a:cubicBezTo>
                <a:cubicBezTo>
                  <a:pt x="459" y="459"/>
                  <a:pt x="458" y="458"/>
                  <a:pt x="458" y="458"/>
                </a:cubicBezTo>
                <a:cubicBezTo>
                  <a:pt x="458" y="458"/>
                  <a:pt x="458" y="457"/>
                  <a:pt x="458" y="456"/>
                </a:cubicBezTo>
                <a:cubicBezTo>
                  <a:pt x="458" y="456"/>
                  <a:pt x="457" y="456"/>
                  <a:pt x="457" y="456"/>
                </a:cubicBezTo>
                <a:cubicBezTo>
                  <a:pt x="457" y="455"/>
                  <a:pt x="455" y="456"/>
                  <a:pt x="455" y="456"/>
                </a:cubicBezTo>
                <a:cubicBezTo>
                  <a:pt x="455" y="456"/>
                  <a:pt x="453" y="455"/>
                  <a:pt x="453" y="455"/>
                </a:cubicBezTo>
                <a:cubicBezTo>
                  <a:pt x="453" y="455"/>
                  <a:pt x="453" y="455"/>
                  <a:pt x="453" y="455"/>
                </a:cubicBezTo>
                <a:cubicBezTo>
                  <a:pt x="453" y="454"/>
                  <a:pt x="453" y="455"/>
                  <a:pt x="452" y="454"/>
                </a:cubicBezTo>
                <a:cubicBezTo>
                  <a:pt x="452" y="454"/>
                  <a:pt x="452" y="454"/>
                  <a:pt x="452" y="453"/>
                </a:cubicBezTo>
                <a:cubicBezTo>
                  <a:pt x="451" y="454"/>
                  <a:pt x="451" y="454"/>
                  <a:pt x="451" y="453"/>
                </a:cubicBezTo>
                <a:cubicBezTo>
                  <a:pt x="450" y="453"/>
                  <a:pt x="450" y="451"/>
                  <a:pt x="449" y="451"/>
                </a:cubicBezTo>
                <a:cubicBezTo>
                  <a:pt x="449" y="451"/>
                  <a:pt x="448" y="451"/>
                  <a:pt x="447" y="451"/>
                </a:cubicBezTo>
                <a:cubicBezTo>
                  <a:pt x="447" y="451"/>
                  <a:pt x="447" y="451"/>
                  <a:pt x="447" y="451"/>
                </a:cubicBezTo>
                <a:cubicBezTo>
                  <a:pt x="447" y="450"/>
                  <a:pt x="447" y="451"/>
                  <a:pt x="447" y="451"/>
                </a:cubicBezTo>
                <a:cubicBezTo>
                  <a:pt x="446" y="450"/>
                  <a:pt x="446" y="450"/>
                  <a:pt x="446" y="450"/>
                </a:cubicBezTo>
                <a:cubicBezTo>
                  <a:pt x="445" y="450"/>
                  <a:pt x="445" y="450"/>
                  <a:pt x="445" y="450"/>
                </a:cubicBezTo>
                <a:cubicBezTo>
                  <a:pt x="443" y="450"/>
                  <a:pt x="443" y="449"/>
                  <a:pt x="441" y="449"/>
                </a:cubicBezTo>
                <a:cubicBezTo>
                  <a:pt x="441" y="449"/>
                  <a:pt x="441" y="449"/>
                  <a:pt x="441" y="449"/>
                </a:cubicBezTo>
                <a:cubicBezTo>
                  <a:pt x="440" y="448"/>
                  <a:pt x="440" y="448"/>
                  <a:pt x="440" y="448"/>
                </a:cubicBezTo>
                <a:cubicBezTo>
                  <a:pt x="440" y="447"/>
                  <a:pt x="440" y="446"/>
                  <a:pt x="439" y="446"/>
                </a:cubicBezTo>
                <a:cubicBezTo>
                  <a:pt x="438" y="446"/>
                  <a:pt x="437" y="446"/>
                  <a:pt x="437" y="446"/>
                </a:cubicBezTo>
                <a:cubicBezTo>
                  <a:pt x="436" y="446"/>
                  <a:pt x="436" y="445"/>
                  <a:pt x="436" y="444"/>
                </a:cubicBezTo>
                <a:cubicBezTo>
                  <a:pt x="435" y="445"/>
                  <a:pt x="434" y="445"/>
                  <a:pt x="433" y="445"/>
                </a:cubicBezTo>
                <a:cubicBezTo>
                  <a:pt x="434" y="444"/>
                  <a:pt x="431" y="444"/>
                  <a:pt x="431" y="444"/>
                </a:cubicBezTo>
                <a:cubicBezTo>
                  <a:pt x="431" y="445"/>
                  <a:pt x="430" y="445"/>
                  <a:pt x="429" y="445"/>
                </a:cubicBezTo>
                <a:cubicBezTo>
                  <a:pt x="429" y="444"/>
                  <a:pt x="429" y="444"/>
                  <a:pt x="429" y="444"/>
                </a:cubicBezTo>
                <a:cubicBezTo>
                  <a:pt x="428" y="444"/>
                  <a:pt x="427" y="444"/>
                  <a:pt x="427" y="444"/>
                </a:cubicBezTo>
                <a:cubicBezTo>
                  <a:pt x="426" y="444"/>
                  <a:pt x="426" y="444"/>
                  <a:pt x="426" y="444"/>
                </a:cubicBezTo>
                <a:cubicBezTo>
                  <a:pt x="425" y="444"/>
                  <a:pt x="424" y="444"/>
                  <a:pt x="424" y="444"/>
                </a:cubicBezTo>
                <a:cubicBezTo>
                  <a:pt x="424" y="444"/>
                  <a:pt x="424" y="444"/>
                  <a:pt x="423" y="444"/>
                </a:cubicBezTo>
                <a:cubicBezTo>
                  <a:pt x="423" y="444"/>
                  <a:pt x="423" y="444"/>
                  <a:pt x="423" y="444"/>
                </a:cubicBezTo>
                <a:cubicBezTo>
                  <a:pt x="423" y="445"/>
                  <a:pt x="422" y="444"/>
                  <a:pt x="422" y="444"/>
                </a:cubicBezTo>
                <a:cubicBezTo>
                  <a:pt x="422" y="445"/>
                  <a:pt x="421" y="445"/>
                  <a:pt x="421" y="445"/>
                </a:cubicBezTo>
                <a:cubicBezTo>
                  <a:pt x="420" y="445"/>
                  <a:pt x="420" y="445"/>
                  <a:pt x="420" y="446"/>
                </a:cubicBezTo>
                <a:cubicBezTo>
                  <a:pt x="420" y="446"/>
                  <a:pt x="420" y="446"/>
                  <a:pt x="420" y="446"/>
                </a:cubicBezTo>
                <a:cubicBezTo>
                  <a:pt x="419" y="446"/>
                  <a:pt x="420" y="446"/>
                  <a:pt x="419" y="446"/>
                </a:cubicBezTo>
                <a:cubicBezTo>
                  <a:pt x="419" y="447"/>
                  <a:pt x="418" y="447"/>
                  <a:pt x="417" y="448"/>
                </a:cubicBezTo>
                <a:cubicBezTo>
                  <a:pt x="417" y="449"/>
                  <a:pt x="417" y="449"/>
                  <a:pt x="417" y="450"/>
                </a:cubicBezTo>
                <a:cubicBezTo>
                  <a:pt x="417" y="450"/>
                  <a:pt x="416" y="450"/>
                  <a:pt x="416" y="450"/>
                </a:cubicBezTo>
                <a:cubicBezTo>
                  <a:pt x="416" y="452"/>
                  <a:pt x="417" y="451"/>
                  <a:pt x="418" y="451"/>
                </a:cubicBezTo>
                <a:cubicBezTo>
                  <a:pt x="419" y="451"/>
                  <a:pt x="420" y="451"/>
                  <a:pt x="420" y="450"/>
                </a:cubicBezTo>
                <a:cubicBezTo>
                  <a:pt x="420" y="450"/>
                  <a:pt x="419" y="449"/>
                  <a:pt x="420" y="449"/>
                </a:cubicBezTo>
                <a:cubicBezTo>
                  <a:pt x="420" y="449"/>
                  <a:pt x="421" y="449"/>
                  <a:pt x="421" y="449"/>
                </a:cubicBezTo>
                <a:cubicBezTo>
                  <a:pt x="422" y="448"/>
                  <a:pt x="422" y="448"/>
                  <a:pt x="422" y="447"/>
                </a:cubicBezTo>
                <a:cubicBezTo>
                  <a:pt x="423" y="447"/>
                  <a:pt x="424" y="447"/>
                  <a:pt x="424" y="446"/>
                </a:cubicBezTo>
                <a:cubicBezTo>
                  <a:pt x="424" y="445"/>
                  <a:pt x="426" y="446"/>
                  <a:pt x="427" y="446"/>
                </a:cubicBezTo>
                <a:cubicBezTo>
                  <a:pt x="428" y="446"/>
                  <a:pt x="429" y="446"/>
                  <a:pt x="429" y="447"/>
                </a:cubicBezTo>
                <a:cubicBezTo>
                  <a:pt x="429" y="448"/>
                  <a:pt x="430" y="448"/>
                  <a:pt x="431" y="448"/>
                </a:cubicBezTo>
                <a:cubicBezTo>
                  <a:pt x="431" y="448"/>
                  <a:pt x="431" y="449"/>
                  <a:pt x="431" y="449"/>
                </a:cubicBezTo>
                <a:cubicBezTo>
                  <a:pt x="431" y="449"/>
                  <a:pt x="432" y="449"/>
                  <a:pt x="432" y="449"/>
                </a:cubicBezTo>
                <a:cubicBezTo>
                  <a:pt x="433" y="449"/>
                  <a:pt x="433" y="449"/>
                  <a:pt x="434" y="449"/>
                </a:cubicBezTo>
                <a:cubicBezTo>
                  <a:pt x="434" y="449"/>
                  <a:pt x="434" y="450"/>
                  <a:pt x="435" y="450"/>
                </a:cubicBezTo>
                <a:cubicBezTo>
                  <a:pt x="435" y="450"/>
                  <a:pt x="436" y="450"/>
                  <a:pt x="436" y="451"/>
                </a:cubicBezTo>
                <a:cubicBezTo>
                  <a:pt x="436" y="451"/>
                  <a:pt x="436" y="451"/>
                  <a:pt x="437" y="452"/>
                </a:cubicBezTo>
                <a:cubicBezTo>
                  <a:pt x="437" y="452"/>
                  <a:pt x="437" y="452"/>
                  <a:pt x="437" y="452"/>
                </a:cubicBezTo>
                <a:cubicBezTo>
                  <a:pt x="438" y="452"/>
                  <a:pt x="438" y="452"/>
                  <a:pt x="439" y="453"/>
                </a:cubicBezTo>
                <a:cubicBezTo>
                  <a:pt x="440" y="454"/>
                  <a:pt x="443" y="453"/>
                  <a:pt x="444" y="453"/>
                </a:cubicBezTo>
                <a:cubicBezTo>
                  <a:pt x="444" y="454"/>
                  <a:pt x="444" y="454"/>
                  <a:pt x="444" y="455"/>
                </a:cubicBezTo>
                <a:cubicBezTo>
                  <a:pt x="444" y="455"/>
                  <a:pt x="444" y="455"/>
                  <a:pt x="445" y="456"/>
                </a:cubicBezTo>
                <a:cubicBezTo>
                  <a:pt x="446" y="458"/>
                  <a:pt x="448" y="459"/>
                  <a:pt x="450" y="459"/>
                </a:cubicBezTo>
                <a:cubicBezTo>
                  <a:pt x="450" y="460"/>
                  <a:pt x="450" y="460"/>
                  <a:pt x="450" y="461"/>
                </a:cubicBezTo>
                <a:cubicBezTo>
                  <a:pt x="450" y="462"/>
                  <a:pt x="450" y="461"/>
                  <a:pt x="449" y="462"/>
                </a:cubicBezTo>
                <a:cubicBezTo>
                  <a:pt x="448" y="462"/>
                  <a:pt x="448" y="462"/>
                  <a:pt x="448" y="463"/>
                </a:cubicBezTo>
                <a:cubicBezTo>
                  <a:pt x="449" y="463"/>
                  <a:pt x="455" y="463"/>
                  <a:pt x="455" y="462"/>
                </a:cubicBezTo>
                <a:cubicBezTo>
                  <a:pt x="457" y="462"/>
                  <a:pt x="455" y="462"/>
                  <a:pt x="455" y="462"/>
                </a:cubicBezTo>
                <a:close/>
                <a:moveTo>
                  <a:pt x="447" y="437"/>
                </a:moveTo>
                <a:cubicBezTo>
                  <a:pt x="446" y="436"/>
                  <a:pt x="446" y="435"/>
                  <a:pt x="446" y="435"/>
                </a:cubicBezTo>
                <a:cubicBezTo>
                  <a:pt x="445" y="435"/>
                  <a:pt x="445" y="435"/>
                  <a:pt x="444" y="435"/>
                </a:cubicBezTo>
                <a:cubicBezTo>
                  <a:pt x="444" y="436"/>
                  <a:pt x="444" y="436"/>
                  <a:pt x="444" y="437"/>
                </a:cubicBezTo>
                <a:cubicBezTo>
                  <a:pt x="445" y="438"/>
                  <a:pt x="446" y="438"/>
                  <a:pt x="447" y="438"/>
                </a:cubicBezTo>
                <a:cubicBezTo>
                  <a:pt x="447" y="437"/>
                  <a:pt x="447" y="437"/>
                  <a:pt x="447" y="437"/>
                </a:cubicBezTo>
                <a:close/>
                <a:moveTo>
                  <a:pt x="1388" y="442"/>
                </a:moveTo>
                <a:cubicBezTo>
                  <a:pt x="1387" y="443"/>
                  <a:pt x="1387" y="443"/>
                  <a:pt x="1387" y="444"/>
                </a:cubicBezTo>
                <a:cubicBezTo>
                  <a:pt x="1387" y="445"/>
                  <a:pt x="1387" y="444"/>
                  <a:pt x="1387" y="445"/>
                </a:cubicBezTo>
                <a:cubicBezTo>
                  <a:pt x="1386" y="445"/>
                  <a:pt x="1387" y="446"/>
                  <a:pt x="1387" y="446"/>
                </a:cubicBezTo>
                <a:cubicBezTo>
                  <a:pt x="1387" y="447"/>
                  <a:pt x="1387" y="448"/>
                  <a:pt x="1387" y="449"/>
                </a:cubicBezTo>
                <a:cubicBezTo>
                  <a:pt x="1387" y="450"/>
                  <a:pt x="1387" y="449"/>
                  <a:pt x="1388" y="450"/>
                </a:cubicBezTo>
                <a:cubicBezTo>
                  <a:pt x="1389" y="450"/>
                  <a:pt x="1389" y="451"/>
                  <a:pt x="1390" y="452"/>
                </a:cubicBezTo>
                <a:cubicBezTo>
                  <a:pt x="1390" y="451"/>
                  <a:pt x="1390" y="451"/>
                  <a:pt x="1390" y="451"/>
                </a:cubicBezTo>
                <a:cubicBezTo>
                  <a:pt x="1390" y="450"/>
                  <a:pt x="1391" y="451"/>
                  <a:pt x="1391" y="451"/>
                </a:cubicBezTo>
                <a:cubicBezTo>
                  <a:pt x="1391" y="449"/>
                  <a:pt x="1391" y="449"/>
                  <a:pt x="1392" y="449"/>
                </a:cubicBezTo>
                <a:cubicBezTo>
                  <a:pt x="1393" y="448"/>
                  <a:pt x="1392" y="447"/>
                  <a:pt x="1392" y="447"/>
                </a:cubicBezTo>
                <a:cubicBezTo>
                  <a:pt x="1392" y="447"/>
                  <a:pt x="1393" y="447"/>
                  <a:pt x="1393" y="447"/>
                </a:cubicBezTo>
                <a:cubicBezTo>
                  <a:pt x="1393" y="447"/>
                  <a:pt x="1393" y="446"/>
                  <a:pt x="1393" y="446"/>
                </a:cubicBezTo>
                <a:cubicBezTo>
                  <a:pt x="1393" y="446"/>
                  <a:pt x="1393" y="446"/>
                  <a:pt x="1393" y="446"/>
                </a:cubicBezTo>
                <a:cubicBezTo>
                  <a:pt x="1393" y="445"/>
                  <a:pt x="1393" y="444"/>
                  <a:pt x="1393" y="443"/>
                </a:cubicBezTo>
                <a:cubicBezTo>
                  <a:pt x="1393" y="442"/>
                  <a:pt x="1394" y="441"/>
                  <a:pt x="1394" y="440"/>
                </a:cubicBezTo>
                <a:cubicBezTo>
                  <a:pt x="1394" y="439"/>
                  <a:pt x="1395" y="438"/>
                  <a:pt x="1395" y="436"/>
                </a:cubicBezTo>
                <a:cubicBezTo>
                  <a:pt x="1396" y="435"/>
                  <a:pt x="1395" y="435"/>
                  <a:pt x="1395" y="434"/>
                </a:cubicBezTo>
                <a:cubicBezTo>
                  <a:pt x="1394" y="433"/>
                  <a:pt x="1394" y="433"/>
                  <a:pt x="1393" y="433"/>
                </a:cubicBezTo>
                <a:cubicBezTo>
                  <a:pt x="1393" y="433"/>
                  <a:pt x="1392" y="434"/>
                  <a:pt x="1392" y="434"/>
                </a:cubicBezTo>
                <a:cubicBezTo>
                  <a:pt x="1392" y="435"/>
                  <a:pt x="1392" y="435"/>
                  <a:pt x="1392" y="436"/>
                </a:cubicBezTo>
                <a:cubicBezTo>
                  <a:pt x="1392" y="436"/>
                  <a:pt x="1391" y="436"/>
                  <a:pt x="1391" y="436"/>
                </a:cubicBezTo>
                <a:cubicBezTo>
                  <a:pt x="1391" y="436"/>
                  <a:pt x="1391" y="437"/>
                  <a:pt x="1391" y="437"/>
                </a:cubicBezTo>
                <a:cubicBezTo>
                  <a:pt x="1391" y="437"/>
                  <a:pt x="1391" y="437"/>
                  <a:pt x="1391" y="437"/>
                </a:cubicBezTo>
                <a:cubicBezTo>
                  <a:pt x="1391" y="437"/>
                  <a:pt x="1390" y="438"/>
                  <a:pt x="1390" y="438"/>
                </a:cubicBezTo>
                <a:cubicBezTo>
                  <a:pt x="1389" y="439"/>
                  <a:pt x="1389" y="438"/>
                  <a:pt x="1389" y="439"/>
                </a:cubicBezTo>
                <a:cubicBezTo>
                  <a:pt x="1389" y="439"/>
                  <a:pt x="1389" y="440"/>
                  <a:pt x="1389" y="440"/>
                </a:cubicBezTo>
                <a:cubicBezTo>
                  <a:pt x="1389" y="440"/>
                  <a:pt x="1388" y="441"/>
                  <a:pt x="1389" y="442"/>
                </a:cubicBezTo>
                <a:cubicBezTo>
                  <a:pt x="1388" y="442"/>
                  <a:pt x="1388" y="442"/>
                  <a:pt x="1388" y="442"/>
                </a:cubicBezTo>
                <a:cubicBezTo>
                  <a:pt x="1388" y="443"/>
                  <a:pt x="1388" y="442"/>
                  <a:pt x="1388" y="442"/>
                </a:cubicBezTo>
                <a:close/>
                <a:moveTo>
                  <a:pt x="1422" y="425"/>
                </a:moveTo>
                <a:cubicBezTo>
                  <a:pt x="1422" y="426"/>
                  <a:pt x="1422" y="426"/>
                  <a:pt x="1422" y="426"/>
                </a:cubicBezTo>
                <a:cubicBezTo>
                  <a:pt x="1423" y="426"/>
                  <a:pt x="1424" y="425"/>
                  <a:pt x="1425" y="424"/>
                </a:cubicBezTo>
                <a:cubicBezTo>
                  <a:pt x="1424" y="424"/>
                  <a:pt x="1423" y="425"/>
                  <a:pt x="1423" y="425"/>
                </a:cubicBezTo>
                <a:cubicBezTo>
                  <a:pt x="1423" y="425"/>
                  <a:pt x="1423" y="425"/>
                  <a:pt x="1422" y="425"/>
                </a:cubicBezTo>
                <a:close/>
                <a:moveTo>
                  <a:pt x="1420" y="425"/>
                </a:moveTo>
                <a:cubicBezTo>
                  <a:pt x="1420" y="424"/>
                  <a:pt x="1420" y="423"/>
                  <a:pt x="1419" y="423"/>
                </a:cubicBezTo>
                <a:cubicBezTo>
                  <a:pt x="1418" y="424"/>
                  <a:pt x="1420" y="425"/>
                  <a:pt x="1420" y="425"/>
                </a:cubicBezTo>
                <a:close/>
                <a:moveTo>
                  <a:pt x="742" y="417"/>
                </a:moveTo>
                <a:cubicBezTo>
                  <a:pt x="742" y="418"/>
                  <a:pt x="742" y="418"/>
                  <a:pt x="742" y="418"/>
                </a:cubicBezTo>
                <a:cubicBezTo>
                  <a:pt x="742" y="419"/>
                  <a:pt x="742" y="420"/>
                  <a:pt x="743" y="420"/>
                </a:cubicBezTo>
                <a:cubicBezTo>
                  <a:pt x="744" y="420"/>
                  <a:pt x="744" y="419"/>
                  <a:pt x="744" y="418"/>
                </a:cubicBezTo>
                <a:cubicBezTo>
                  <a:pt x="744" y="417"/>
                  <a:pt x="743" y="417"/>
                  <a:pt x="742" y="417"/>
                </a:cubicBezTo>
                <a:close/>
                <a:moveTo>
                  <a:pt x="1429" y="416"/>
                </a:moveTo>
                <a:cubicBezTo>
                  <a:pt x="1429" y="416"/>
                  <a:pt x="1429" y="416"/>
                  <a:pt x="1429" y="416"/>
                </a:cubicBezTo>
                <a:cubicBezTo>
                  <a:pt x="1429" y="416"/>
                  <a:pt x="1429" y="416"/>
                  <a:pt x="1429" y="416"/>
                </a:cubicBezTo>
                <a:cubicBezTo>
                  <a:pt x="1429" y="416"/>
                  <a:pt x="1429" y="416"/>
                  <a:pt x="1429" y="416"/>
                </a:cubicBezTo>
                <a:close/>
                <a:moveTo>
                  <a:pt x="737" y="418"/>
                </a:moveTo>
                <a:cubicBezTo>
                  <a:pt x="738" y="418"/>
                  <a:pt x="738" y="418"/>
                  <a:pt x="738" y="417"/>
                </a:cubicBezTo>
                <a:cubicBezTo>
                  <a:pt x="738" y="417"/>
                  <a:pt x="738" y="417"/>
                  <a:pt x="739" y="417"/>
                </a:cubicBezTo>
                <a:cubicBezTo>
                  <a:pt x="739" y="416"/>
                  <a:pt x="740" y="416"/>
                  <a:pt x="740" y="416"/>
                </a:cubicBezTo>
                <a:cubicBezTo>
                  <a:pt x="739" y="416"/>
                  <a:pt x="738" y="416"/>
                  <a:pt x="738" y="416"/>
                </a:cubicBezTo>
                <a:cubicBezTo>
                  <a:pt x="737" y="416"/>
                  <a:pt x="737" y="416"/>
                  <a:pt x="737" y="417"/>
                </a:cubicBezTo>
                <a:cubicBezTo>
                  <a:pt x="737" y="418"/>
                  <a:pt x="737" y="418"/>
                  <a:pt x="737" y="418"/>
                </a:cubicBezTo>
                <a:cubicBezTo>
                  <a:pt x="738" y="418"/>
                  <a:pt x="737" y="418"/>
                  <a:pt x="737" y="418"/>
                </a:cubicBezTo>
                <a:close/>
                <a:moveTo>
                  <a:pt x="749" y="418"/>
                </a:moveTo>
                <a:cubicBezTo>
                  <a:pt x="749" y="418"/>
                  <a:pt x="749" y="418"/>
                  <a:pt x="749" y="418"/>
                </a:cubicBezTo>
                <a:cubicBezTo>
                  <a:pt x="751" y="418"/>
                  <a:pt x="751" y="417"/>
                  <a:pt x="751" y="415"/>
                </a:cubicBezTo>
                <a:cubicBezTo>
                  <a:pt x="751" y="415"/>
                  <a:pt x="751" y="416"/>
                  <a:pt x="751" y="415"/>
                </a:cubicBezTo>
                <a:cubicBezTo>
                  <a:pt x="751" y="415"/>
                  <a:pt x="751" y="415"/>
                  <a:pt x="750" y="415"/>
                </a:cubicBezTo>
                <a:cubicBezTo>
                  <a:pt x="751" y="415"/>
                  <a:pt x="750" y="417"/>
                  <a:pt x="749" y="418"/>
                </a:cubicBezTo>
                <a:close/>
                <a:moveTo>
                  <a:pt x="734" y="415"/>
                </a:moveTo>
                <a:cubicBezTo>
                  <a:pt x="734" y="415"/>
                  <a:pt x="734" y="415"/>
                  <a:pt x="735" y="415"/>
                </a:cubicBezTo>
                <a:cubicBezTo>
                  <a:pt x="734" y="415"/>
                  <a:pt x="734" y="415"/>
                  <a:pt x="734" y="414"/>
                </a:cubicBezTo>
                <a:cubicBezTo>
                  <a:pt x="734" y="415"/>
                  <a:pt x="734" y="415"/>
                  <a:pt x="734" y="415"/>
                </a:cubicBezTo>
                <a:close/>
                <a:moveTo>
                  <a:pt x="752" y="414"/>
                </a:moveTo>
                <a:cubicBezTo>
                  <a:pt x="752" y="414"/>
                  <a:pt x="753" y="414"/>
                  <a:pt x="753" y="413"/>
                </a:cubicBezTo>
                <a:cubicBezTo>
                  <a:pt x="752" y="412"/>
                  <a:pt x="752" y="413"/>
                  <a:pt x="752" y="414"/>
                </a:cubicBezTo>
                <a:close/>
                <a:moveTo>
                  <a:pt x="388" y="407"/>
                </a:moveTo>
                <a:cubicBezTo>
                  <a:pt x="388" y="408"/>
                  <a:pt x="387" y="409"/>
                  <a:pt x="388" y="409"/>
                </a:cubicBezTo>
                <a:cubicBezTo>
                  <a:pt x="388" y="409"/>
                  <a:pt x="390" y="410"/>
                  <a:pt x="390" y="409"/>
                </a:cubicBezTo>
                <a:cubicBezTo>
                  <a:pt x="390" y="408"/>
                  <a:pt x="390" y="407"/>
                  <a:pt x="388" y="407"/>
                </a:cubicBezTo>
                <a:cubicBezTo>
                  <a:pt x="387" y="409"/>
                  <a:pt x="388" y="407"/>
                  <a:pt x="388" y="407"/>
                </a:cubicBezTo>
                <a:close/>
                <a:moveTo>
                  <a:pt x="1435" y="404"/>
                </a:moveTo>
                <a:cubicBezTo>
                  <a:pt x="1435" y="404"/>
                  <a:pt x="1435" y="404"/>
                  <a:pt x="1434" y="404"/>
                </a:cubicBezTo>
                <a:cubicBezTo>
                  <a:pt x="1435" y="404"/>
                  <a:pt x="1435" y="404"/>
                  <a:pt x="1435" y="404"/>
                </a:cubicBezTo>
                <a:cubicBezTo>
                  <a:pt x="1435" y="404"/>
                  <a:pt x="1435" y="404"/>
                  <a:pt x="1435" y="404"/>
                </a:cubicBezTo>
                <a:close/>
                <a:moveTo>
                  <a:pt x="1438" y="403"/>
                </a:moveTo>
                <a:cubicBezTo>
                  <a:pt x="1438" y="403"/>
                  <a:pt x="1438" y="403"/>
                  <a:pt x="1438" y="403"/>
                </a:cubicBezTo>
                <a:cubicBezTo>
                  <a:pt x="1437" y="403"/>
                  <a:pt x="1437" y="403"/>
                  <a:pt x="1437" y="404"/>
                </a:cubicBezTo>
                <a:cubicBezTo>
                  <a:pt x="1438" y="404"/>
                  <a:pt x="1438" y="404"/>
                  <a:pt x="1438" y="403"/>
                </a:cubicBezTo>
                <a:close/>
                <a:moveTo>
                  <a:pt x="1394" y="398"/>
                </a:moveTo>
                <a:cubicBezTo>
                  <a:pt x="1394" y="397"/>
                  <a:pt x="1394" y="397"/>
                  <a:pt x="1393" y="397"/>
                </a:cubicBezTo>
                <a:cubicBezTo>
                  <a:pt x="1394" y="398"/>
                  <a:pt x="1394" y="398"/>
                  <a:pt x="1394" y="398"/>
                </a:cubicBezTo>
                <a:close/>
                <a:moveTo>
                  <a:pt x="1415" y="388"/>
                </a:moveTo>
                <a:cubicBezTo>
                  <a:pt x="1416" y="388"/>
                  <a:pt x="1416" y="388"/>
                  <a:pt x="1416" y="388"/>
                </a:cubicBezTo>
                <a:cubicBezTo>
                  <a:pt x="1417" y="388"/>
                  <a:pt x="1417" y="386"/>
                  <a:pt x="1417" y="386"/>
                </a:cubicBezTo>
                <a:cubicBezTo>
                  <a:pt x="1416" y="386"/>
                  <a:pt x="1416" y="387"/>
                  <a:pt x="1415" y="387"/>
                </a:cubicBezTo>
                <a:cubicBezTo>
                  <a:pt x="1415" y="387"/>
                  <a:pt x="1415" y="387"/>
                  <a:pt x="1415" y="388"/>
                </a:cubicBezTo>
                <a:close/>
                <a:moveTo>
                  <a:pt x="1431" y="385"/>
                </a:moveTo>
                <a:cubicBezTo>
                  <a:pt x="1431" y="386"/>
                  <a:pt x="1431" y="386"/>
                  <a:pt x="1430" y="386"/>
                </a:cubicBezTo>
                <a:cubicBezTo>
                  <a:pt x="1431" y="386"/>
                  <a:pt x="1431" y="386"/>
                  <a:pt x="1431" y="387"/>
                </a:cubicBezTo>
                <a:cubicBezTo>
                  <a:pt x="1431" y="387"/>
                  <a:pt x="1431" y="387"/>
                  <a:pt x="1431" y="388"/>
                </a:cubicBezTo>
                <a:cubicBezTo>
                  <a:pt x="1433" y="388"/>
                  <a:pt x="1433" y="389"/>
                  <a:pt x="1433" y="390"/>
                </a:cubicBezTo>
                <a:cubicBezTo>
                  <a:pt x="1432" y="391"/>
                  <a:pt x="1432" y="390"/>
                  <a:pt x="1432" y="390"/>
                </a:cubicBezTo>
                <a:cubicBezTo>
                  <a:pt x="1432" y="389"/>
                  <a:pt x="1432" y="389"/>
                  <a:pt x="1431" y="389"/>
                </a:cubicBezTo>
                <a:cubicBezTo>
                  <a:pt x="1431" y="390"/>
                  <a:pt x="1432" y="391"/>
                  <a:pt x="1432" y="392"/>
                </a:cubicBezTo>
                <a:cubicBezTo>
                  <a:pt x="1433" y="393"/>
                  <a:pt x="1433" y="392"/>
                  <a:pt x="1434" y="391"/>
                </a:cubicBezTo>
                <a:cubicBezTo>
                  <a:pt x="1434" y="392"/>
                  <a:pt x="1434" y="392"/>
                  <a:pt x="1434" y="392"/>
                </a:cubicBezTo>
                <a:cubicBezTo>
                  <a:pt x="1435" y="392"/>
                  <a:pt x="1435" y="392"/>
                  <a:pt x="1436" y="391"/>
                </a:cubicBezTo>
                <a:cubicBezTo>
                  <a:pt x="1435" y="390"/>
                  <a:pt x="1435" y="389"/>
                  <a:pt x="1434" y="388"/>
                </a:cubicBezTo>
                <a:cubicBezTo>
                  <a:pt x="1435" y="388"/>
                  <a:pt x="1435" y="388"/>
                  <a:pt x="1436" y="388"/>
                </a:cubicBezTo>
                <a:cubicBezTo>
                  <a:pt x="1436" y="389"/>
                  <a:pt x="1436" y="390"/>
                  <a:pt x="1436" y="391"/>
                </a:cubicBezTo>
                <a:cubicBezTo>
                  <a:pt x="1436" y="391"/>
                  <a:pt x="1436" y="392"/>
                  <a:pt x="1436" y="393"/>
                </a:cubicBezTo>
                <a:cubicBezTo>
                  <a:pt x="1435" y="393"/>
                  <a:pt x="1435" y="393"/>
                  <a:pt x="1434" y="393"/>
                </a:cubicBezTo>
                <a:cubicBezTo>
                  <a:pt x="1433" y="393"/>
                  <a:pt x="1434" y="393"/>
                  <a:pt x="1434" y="394"/>
                </a:cubicBezTo>
                <a:cubicBezTo>
                  <a:pt x="1434" y="394"/>
                  <a:pt x="1433" y="394"/>
                  <a:pt x="1433" y="394"/>
                </a:cubicBezTo>
                <a:cubicBezTo>
                  <a:pt x="1433" y="394"/>
                  <a:pt x="1433" y="394"/>
                  <a:pt x="1433" y="395"/>
                </a:cubicBezTo>
                <a:cubicBezTo>
                  <a:pt x="1433" y="395"/>
                  <a:pt x="1433" y="396"/>
                  <a:pt x="1433" y="397"/>
                </a:cubicBezTo>
                <a:cubicBezTo>
                  <a:pt x="1434" y="397"/>
                  <a:pt x="1434" y="398"/>
                  <a:pt x="1433" y="397"/>
                </a:cubicBezTo>
                <a:cubicBezTo>
                  <a:pt x="1433" y="399"/>
                  <a:pt x="1434" y="399"/>
                  <a:pt x="1435" y="399"/>
                </a:cubicBezTo>
                <a:cubicBezTo>
                  <a:pt x="1435" y="398"/>
                  <a:pt x="1435" y="397"/>
                  <a:pt x="1436" y="396"/>
                </a:cubicBezTo>
                <a:cubicBezTo>
                  <a:pt x="1436" y="398"/>
                  <a:pt x="1436" y="399"/>
                  <a:pt x="1436" y="400"/>
                </a:cubicBezTo>
                <a:cubicBezTo>
                  <a:pt x="1437" y="400"/>
                  <a:pt x="1438" y="400"/>
                  <a:pt x="1438" y="398"/>
                </a:cubicBezTo>
                <a:cubicBezTo>
                  <a:pt x="1439" y="397"/>
                  <a:pt x="1439" y="397"/>
                  <a:pt x="1439" y="396"/>
                </a:cubicBezTo>
                <a:cubicBezTo>
                  <a:pt x="1439" y="396"/>
                  <a:pt x="1439" y="396"/>
                  <a:pt x="1439" y="395"/>
                </a:cubicBezTo>
                <a:cubicBezTo>
                  <a:pt x="1439" y="395"/>
                  <a:pt x="1440" y="395"/>
                  <a:pt x="1440" y="395"/>
                </a:cubicBezTo>
                <a:cubicBezTo>
                  <a:pt x="1440" y="395"/>
                  <a:pt x="1440" y="394"/>
                  <a:pt x="1440" y="393"/>
                </a:cubicBezTo>
                <a:cubicBezTo>
                  <a:pt x="1440" y="393"/>
                  <a:pt x="1440" y="393"/>
                  <a:pt x="1440" y="393"/>
                </a:cubicBezTo>
                <a:cubicBezTo>
                  <a:pt x="1441" y="393"/>
                  <a:pt x="1440" y="391"/>
                  <a:pt x="1440" y="391"/>
                </a:cubicBezTo>
                <a:cubicBezTo>
                  <a:pt x="1440" y="391"/>
                  <a:pt x="1441" y="390"/>
                  <a:pt x="1441" y="391"/>
                </a:cubicBezTo>
                <a:cubicBezTo>
                  <a:pt x="1442" y="390"/>
                  <a:pt x="1442" y="390"/>
                  <a:pt x="1442" y="389"/>
                </a:cubicBezTo>
                <a:cubicBezTo>
                  <a:pt x="1442" y="389"/>
                  <a:pt x="1441" y="389"/>
                  <a:pt x="1441" y="389"/>
                </a:cubicBezTo>
                <a:cubicBezTo>
                  <a:pt x="1441" y="388"/>
                  <a:pt x="1441" y="387"/>
                  <a:pt x="1440" y="387"/>
                </a:cubicBezTo>
                <a:cubicBezTo>
                  <a:pt x="1440" y="387"/>
                  <a:pt x="1440" y="387"/>
                  <a:pt x="1440" y="387"/>
                </a:cubicBezTo>
                <a:cubicBezTo>
                  <a:pt x="1440" y="386"/>
                  <a:pt x="1441" y="385"/>
                  <a:pt x="1440" y="385"/>
                </a:cubicBezTo>
                <a:cubicBezTo>
                  <a:pt x="1440" y="384"/>
                  <a:pt x="1438" y="385"/>
                  <a:pt x="1438" y="385"/>
                </a:cubicBezTo>
                <a:cubicBezTo>
                  <a:pt x="1438" y="384"/>
                  <a:pt x="1438" y="383"/>
                  <a:pt x="1438" y="383"/>
                </a:cubicBezTo>
                <a:cubicBezTo>
                  <a:pt x="1437" y="383"/>
                  <a:pt x="1436" y="383"/>
                  <a:pt x="1436" y="382"/>
                </a:cubicBezTo>
                <a:cubicBezTo>
                  <a:pt x="1435" y="383"/>
                  <a:pt x="1435" y="383"/>
                  <a:pt x="1435" y="384"/>
                </a:cubicBezTo>
                <a:cubicBezTo>
                  <a:pt x="1434" y="384"/>
                  <a:pt x="1434" y="383"/>
                  <a:pt x="1434" y="385"/>
                </a:cubicBezTo>
                <a:cubicBezTo>
                  <a:pt x="1433" y="386"/>
                  <a:pt x="1433" y="385"/>
                  <a:pt x="1432" y="386"/>
                </a:cubicBezTo>
                <a:cubicBezTo>
                  <a:pt x="1432" y="385"/>
                  <a:pt x="1432" y="385"/>
                  <a:pt x="1431" y="385"/>
                </a:cubicBezTo>
                <a:close/>
                <a:moveTo>
                  <a:pt x="1455" y="381"/>
                </a:moveTo>
                <a:cubicBezTo>
                  <a:pt x="1454" y="381"/>
                  <a:pt x="1453" y="381"/>
                  <a:pt x="1454" y="381"/>
                </a:cubicBezTo>
                <a:cubicBezTo>
                  <a:pt x="1454" y="382"/>
                  <a:pt x="1455" y="381"/>
                  <a:pt x="1455" y="381"/>
                </a:cubicBezTo>
                <a:close/>
                <a:moveTo>
                  <a:pt x="1453" y="380"/>
                </a:moveTo>
                <a:cubicBezTo>
                  <a:pt x="1452" y="381"/>
                  <a:pt x="1451" y="381"/>
                  <a:pt x="1450" y="381"/>
                </a:cubicBezTo>
                <a:cubicBezTo>
                  <a:pt x="1450" y="381"/>
                  <a:pt x="1450" y="382"/>
                  <a:pt x="1450" y="382"/>
                </a:cubicBezTo>
                <a:cubicBezTo>
                  <a:pt x="1449" y="382"/>
                  <a:pt x="1448" y="383"/>
                  <a:pt x="1448" y="382"/>
                </a:cubicBezTo>
                <a:cubicBezTo>
                  <a:pt x="1447" y="382"/>
                  <a:pt x="1448" y="382"/>
                  <a:pt x="1447" y="382"/>
                </a:cubicBezTo>
                <a:cubicBezTo>
                  <a:pt x="1446" y="382"/>
                  <a:pt x="1446" y="383"/>
                  <a:pt x="1446" y="383"/>
                </a:cubicBezTo>
                <a:cubicBezTo>
                  <a:pt x="1445" y="385"/>
                  <a:pt x="1444" y="385"/>
                  <a:pt x="1443" y="387"/>
                </a:cubicBezTo>
                <a:cubicBezTo>
                  <a:pt x="1444" y="387"/>
                  <a:pt x="1444" y="386"/>
                  <a:pt x="1444" y="387"/>
                </a:cubicBezTo>
                <a:cubicBezTo>
                  <a:pt x="1444" y="388"/>
                  <a:pt x="1445" y="388"/>
                  <a:pt x="1445" y="388"/>
                </a:cubicBezTo>
                <a:cubicBezTo>
                  <a:pt x="1445" y="388"/>
                  <a:pt x="1444" y="389"/>
                  <a:pt x="1445" y="389"/>
                </a:cubicBezTo>
                <a:cubicBezTo>
                  <a:pt x="1445" y="389"/>
                  <a:pt x="1446" y="390"/>
                  <a:pt x="1445" y="390"/>
                </a:cubicBezTo>
                <a:cubicBezTo>
                  <a:pt x="1446" y="390"/>
                  <a:pt x="1447" y="391"/>
                  <a:pt x="1447" y="391"/>
                </a:cubicBezTo>
                <a:cubicBezTo>
                  <a:pt x="1448" y="391"/>
                  <a:pt x="1448" y="390"/>
                  <a:pt x="1448" y="389"/>
                </a:cubicBezTo>
                <a:cubicBezTo>
                  <a:pt x="1448" y="388"/>
                  <a:pt x="1448" y="387"/>
                  <a:pt x="1449" y="387"/>
                </a:cubicBezTo>
                <a:cubicBezTo>
                  <a:pt x="1449" y="387"/>
                  <a:pt x="1450" y="387"/>
                  <a:pt x="1450" y="387"/>
                </a:cubicBezTo>
                <a:cubicBezTo>
                  <a:pt x="1450" y="387"/>
                  <a:pt x="1450" y="387"/>
                  <a:pt x="1450" y="386"/>
                </a:cubicBezTo>
                <a:cubicBezTo>
                  <a:pt x="1450" y="386"/>
                  <a:pt x="1451" y="386"/>
                  <a:pt x="1451" y="386"/>
                </a:cubicBezTo>
                <a:cubicBezTo>
                  <a:pt x="1452" y="387"/>
                  <a:pt x="1451" y="387"/>
                  <a:pt x="1452" y="387"/>
                </a:cubicBezTo>
                <a:cubicBezTo>
                  <a:pt x="1453" y="387"/>
                  <a:pt x="1453" y="386"/>
                  <a:pt x="1454" y="385"/>
                </a:cubicBezTo>
                <a:cubicBezTo>
                  <a:pt x="1454" y="384"/>
                  <a:pt x="1455" y="385"/>
                  <a:pt x="1454" y="383"/>
                </a:cubicBezTo>
                <a:cubicBezTo>
                  <a:pt x="1454" y="382"/>
                  <a:pt x="1454" y="382"/>
                  <a:pt x="1453" y="382"/>
                </a:cubicBezTo>
                <a:cubicBezTo>
                  <a:pt x="1453" y="382"/>
                  <a:pt x="1453" y="381"/>
                  <a:pt x="1453" y="380"/>
                </a:cubicBezTo>
                <a:cubicBezTo>
                  <a:pt x="1452" y="381"/>
                  <a:pt x="1453" y="380"/>
                  <a:pt x="1453" y="380"/>
                </a:cubicBezTo>
                <a:close/>
                <a:moveTo>
                  <a:pt x="453" y="377"/>
                </a:moveTo>
                <a:cubicBezTo>
                  <a:pt x="453" y="376"/>
                  <a:pt x="452" y="377"/>
                  <a:pt x="451" y="377"/>
                </a:cubicBezTo>
                <a:cubicBezTo>
                  <a:pt x="452" y="378"/>
                  <a:pt x="452" y="377"/>
                  <a:pt x="453" y="377"/>
                </a:cubicBezTo>
                <a:close/>
                <a:moveTo>
                  <a:pt x="1449" y="375"/>
                </a:moveTo>
                <a:cubicBezTo>
                  <a:pt x="1450" y="375"/>
                  <a:pt x="1450" y="374"/>
                  <a:pt x="1450" y="374"/>
                </a:cubicBezTo>
                <a:cubicBezTo>
                  <a:pt x="1448" y="374"/>
                  <a:pt x="1448" y="374"/>
                  <a:pt x="1449" y="375"/>
                </a:cubicBezTo>
                <a:cubicBezTo>
                  <a:pt x="1450" y="375"/>
                  <a:pt x="1449" y="375"/>
                  <a:pt x="1449" y="375"/>
                </a:cubicBezTo>
                <a:close/>
                <a:moveTo>
                  <a:pt x="946" y="374"/>
                </a:moveTo>
                <a:cubicBezTo>
                  <a:pt x="946" y="374"/>
                  <a:pt x="946" y="374"/>
                  <a:pt x="947" y="374"/>
                </a:cubicBezTo>
                <a:cubicBezTo>
                  <a:pt x="947" y="374"/>
                  <a:pt x="947" y="374"/>
                  <a:pt x="946" y="374"/>
                </a:cubicBezTo>
                <a:close/>
                <a:moveTo>
                  <a:pt x="930" y="374"/>
                </a:moveTo>
                <a:cubicBezTo>
                  <a:pt x="929" y="374"/>
                  <a:pt x="928" y="375"/>
                  <a:pt x="929" y="375"/>
                </a:cubicBezTo>
                <a:cubicBezTo>
                  <a:pt x="930" y="376"/>
                  <a:pt x="932" y="376"/>
                  <a:pt x="933" y="376"/>
                </a:cubicBezTo>
                <a:cubicBezTo>
                  <a:pt x="934" y="376"/>
                  <a:pt x="934" y="377"/>
                  <a:pt x="935" y="377"/>
                </a:cubicBezTo>
                <a:cubicBezTo>
                  <a:pt x="935" y="377"/>
                  <a:pt x="935" y="378"/>
                  <a:pt x="936" y="378"/>
                </a:cubicBezTo>
                <a:cubicBezTo>
                  <a:pt x="936" y="378"/>
                  <a:pt x="937" y="378"/>
                  <a:pt x="937" y="378"/>
                </a:cubicBezTo>
                <a:cubicBezTo>
                  <a:pt x="938" y="378"/>
                  <a:pt x="937" y="377"/>
                  <a:pt x="938" y="377"/>
                </a:cubicBezTo>
                <a:cubicBezTo>
                  <a:pt x="938" y="377"/>
                  <a:pt x="938" y="377"/>
                  <a:pt x="938" y="377"/>
                </a:cubicBezTo>
                <a:cubicBezTo>
                  <a:pt x="939" y="377"/>
                  <a:pt x="938" y="377"/>
                  <a:pt x="939" y="377"/>
                </a:cubicBezTo>
                <a:cubicBezTo>
                  <a:pt x="940" y="378"/>
                  <a:pt x="941" y="377"/>
                  <a:pt x="942" y="377"/>
                </a:cubicBezTo>
                <a:cubicBezTo>
                  <a:pt x="943" y="376"/>
                  <a:pt x="943" y="376"/>
                  <a:pt x="942" y="376"/>
                </a:cubicBezTo>
                <a:cubicBezTo>
                  <a:pt x="941" y="376"/>
                  <a:pt x="941" y="376"/>
                  <a:pt x="941" y="375"/>
                </a:cubicBezTo>
                <a:cubicBezTo>
                  <a:pt x="939" y="375"/>
                  <a:pt x="938" y="375"/>
                  <a:pt x="937" y="375"/>
                </a:cubicBezTo>
                <a:cubicBezTo>
                  <a:pt x="936" y="374"/>
                  <a:pt x="934" y="375"/>
                  <a:pt x="932" y="375"/>
                </a:cubicBezTo>
                <a:cubicBezTo>
                  <a:pt x="932" y="374"/>
                  <a:pt x="932" y="374"/>
                  <a:pt x="931" y="374"/>
                </a:cubicBezTo>
                <a:cubicBezTo>
                  <a:pt x="930" y="374"/>
                  <a:pt x="932" y="373"/>
                  <a:pt x="930" y="373"/>
                </a:cubicBezTo>
                <a:cubicBezTo>
                  <a:pt x="930" y="374"/>
                  <a:pt x="930" y="374"/>
                  <a:pt x="930" y="374"/>
                </a:cubicBezTo>
                <a:close/>
                <a:moveTo>
                  <a:pt x="972" y="376"/>
                </a:moveTo>
                <a:cubicBezTo>
                  <a:pt x="971" y="376"/>
                  <a:pt x="971" y="376"/>
                  <a:pt x="971" y="377"/>
                </a:cubicBezTo>
                <a:cubicBezTo>
                  <a:pt x="971" y="377"/>
                  <a:pt x="971" y="378"/>
                  <a:pt x="972" y="378"/>
                </a:cubicBezTo>
                <a:cubicBezTo>
                  <a:pt x="972" y="378"/>
                  <a:pt x="973" y="379"/>
                  <a:pt x="973" y="379"/>
                </a:cubicBezTo>
                <a:cubicBezTo>
                  <a:pt x="974" y="379"/>
                  <a:pt x="974" y="379"/>
                  <a:pt x="975" y="379"/>
                </a:cubicBezTo>
                <a:cubicBezTo>
                  <a:pt x="976" y="379"/>
                  <a:pt x="977" y="379"/>
                  <a:pt x="977" y="378"/>
                </a:cubicBezTo>
                <a:cubicBezTo>
                  <a:pt x="978" y="377"/>
                  <a:pt x="978" y="378"/>
                  <a:pt x="979" y="377"/>
                </a:cubicBezTo>
                <a:cubicBezTo>
                  <a:pt x="979" y="377"/>
                  <a:pt x="979" y="376"/>
                  <a:pt x="979" y="376"/>
                </a:cubicBezTo>
                <a:cubicBezTo>
                  <a:pt x="979" y="376"/>
                  <a:pt x="979" y="376"/>
                  <a:pt x="979" y="375"/>
                </a:cubicBezTo>
                <a:cubicBezTo>
                  <a:pt x="979" y="375"/>
                  <a:pt x="979" y="375"/>
                  <a:pt x="979" y="375"/>
                </a:cubicBezTo>
                <a:cubicBezTo>
                  <a:pt x="979" y="375"/>
                  <a:pt x="979" y="375"/>
                  <a:pt x="979" y="375"/>
                </a:cubicBezTo>
                <a:cubicBezTo>
                  <a:pt x="980" y="374"/>
                  <a:pt x="980" y="374"/>
                  <a:pt x="981" y="374"/>
                </a:cubicBezTo>
                <a:cubicBezTo>
                  <a:pt x="981" y="374"/>
                  <a:pt x="982" y="373"/>
                  <a:pt x="982" y="372"/>
                </a:cubicBezTo>
                <a:cubicBezTo>
                  <a:pt x="982" y="373"/>
                  <a:pt x="981" y="373"/>
                  <a:pt x="980" y="373"/>
                </a:cubicBezTo>
                <a:cubicBezTo>
                  <a:pt x="980" y="374"/>
                  <a:pt x="979" y="374"/>
                  <a:pt x="978" y="374"/>
                </a:cubicBezTo>
                <a:cubicBezTo>
                  <a:pt x="978" y="374"/>
                  <a:pt x="978" y="375"/>
                  <a:pt x="978" y="375"/>
                </a:cubicBezTo>
                <a:cubicBezTo>
                  <a:pt x="978" y="375"/>
                  <a:pt x="977" y="375"/>
                  <a:pt x="977" y="375"/>
                </a:cubicBezTo>
                <a:cubicBezTo>
                  <a:pt x="976" y="375"/>
                  <a:pt x="976" y="375"/>
                  <a:pt x="976" y="375"/>
                </a:cubicBezTo>
                <a:cubicBezTo>
                  <a:pt x="975" y="375"/>
                  <a:pt x="976" y="375"/>
                  <a:pt x="975" y="375"/>
                </a:cubicBezTo>
                <a:cubicBezTo>
                  <a:pt x="975" y="374"/>
                  <a:pt x="975" y="375"/>
                  <a:pt x="974" y="375"/>
                </a:cubicBezTo>
                <a:cubicBezTo>
                  <a:pt x="974" y="375"/>
                  <a:pt x="974" y="375"/>
                  <a:pt x="975" y="376"/>
                </a:cubicBezTo>
                <a:cubicBezTo>
                  <a:pt x="974" y="376"/>
                  <a:pt x="972" y="375"/>
                  <a:pt x="972" y="376"/>
                </a:cubicBezTo>
                <a:cubicBezTo>
                  <a:pt x="971" y="376"/>
                  <a:pt x="972" y="376"/>
                  <a:pt x="972" y="376"/>
                </a:cubicBezTo>
                <a:close/>
                <a:moveTo>
                  <a:pt x="923" y="367"/>
                </a:moveTo>
                <a:cubicBezTo>
                  <a:pt x="923" y="367"/>
                  <a:pt x="923" y="369"/>
                  <a:pt x="924" y="368"/>
                </a:cubicBezTo>
                <a:cubicBezTo>
                  <a:pt x="925" y="368"/>
                  <a:pt x="924" y="367"/>
                  <a:pt x="923" y="367"/>
                </a:cubicBezTo>
                <a:close/>
                <a:moveTo>
                  <a:pt x="943" y="366"/>
                </a:moveTo>
                <a:cubicBezTo>
                  <a:pt x="943" y="365"/>
                  <a:pt x="942" y="365"/>
                  <a:pt x="942" y="366"/>
                </a:cubicBezTo>
                <a:cubicBezTo>
                  <a:pt x="942" y="366"/>
                  <a:pt x="942" y="366"/>
                  <a:pt x="943" y="366"/>
                </a:cubicBezTo>
                <a:close/>
                <a:moveTo>
                  <a:pt x="948" y="366"/>
                </a:moveTo>
                <a:cubicBezTo>
                  <a:pt x="948" y="365"/>
                  <a:pt x="948" y="366"/>
                  <a:pt x="947" y="366"/>
                </a:cubicBezTo>
                <a:cubicBezTo>
                  <a:pt x="947" y="366"/>
                  <a:pt x="947" y="366"/>
                  <a:pt x="948" y="366"/>
                </a:cubicBezTo>
                <a:cubicBezTo>
                  <a:pt x="948" y="365"/>
                  <a:pt x="948" y="366"/>
                  <a:pt x="948" y="366"/>
                </a:cubicBezTo>
                <a:close/>
                <a:moveTo>
                  <a:pt x="943" y="366"/>
                </a:moveTo>
                <a:cubicBezTo>
                  <a:pt x="945" y="366"/>
                  <a:pt x="943" y="365"/>
                  <a:pt x="943" y="366"/>
                </a:cubicBezTo>
                <a:close/>
                <a:moveTo>
                  <a:pt x="1415" y="365"/>
                </a:moveTo>
                <a:cubicBezTo>
                  <a:pt x="1415" y="365"/>
                  <a:pt x="1415" y="367"/>
                  <a:pt x="1416" y="366"/>
                </a:cubicBezTo>
                <a:cubicBezTo>
                  <a:pt x="1417" y="366"/>
                  <a:pt x="1416" y="365"/>
                  <a:pt x="1415" y="365"/>
                </a:cubicBezTo>
                <a:close/>
                <a:moveTo>
                  <a:pt x="942" y="361"/>
                </a:moveTo>
                <a:cubicBezTo>
                  <a:pt x="945" y="361"/>
                  <a:pt x="942" y="360"/>
                  <a:pt x="942" y="361"/>
                </a:cubicBezTo>
                <a:close/>
                <a:moveTo>
                  <a:pt x="458" y="358"/>
                </a:moveTo>
                <a:cubicBezTo>
                  <a:pt x="457" y="358"/>
                  <a:pt x="457" y="359"/>
                  <a:pt x="457" y="359"/>
                </a:cubicBezTo>
                <a:cubicBezTo>
                  <a:pt x="458" y="359"/>
                  <a:pt x="458" y="358"/>
                  <a:pt x="458" y="358"/>
                </a:cubicBezTo>
                <a:close/>
                <a:moveTo>
                  <a:pt x="878" y="358"/>
                </a:moveTo>
                <a:cubicBezTo>
                  <a:pt x="877" y="357"/>
                  <a:pt x="877" y="357"/>
                  <a:pt x="876" y="358"/>
                </a:cubicBezTo>
                <a:cubicBezTo>
                  <a:pt x="876" y="358"/>
                  <a:pt x="876" y="359"/>
                  <a:pt x="876" y="360"/>
                </a:cubicBezTo>
                <a:cubicBezTo>
                  <a:pt x="876" y="360"/>
                  <a:pt x="877" y="360"/>
                  <a:pt x="877" y="360"/>
                </a:cubicBezTo>
                <a:cubicBezTo>
                  <a:pt x="878" y="360"/>
                  <a:pt x="878" y="361"/>
                  <a:pt x="878" y="361"/>
                </a:cubicBezTo>
                <a:cubicBezTo>
                  <a:pt x="878" y="361"/>
                  <a:pt x="879" y="361"/>
                  <a:pt x="879" y="361"/>
                </a:cubicBezTo>
                <a:cubicBezTo>
                  <a:pt x="880" y="362"/>
                  <a:pt x="881" y="362"/>
                  <a:pt x="881" y="363"/>
                </a:cubicBezTo>
                <a:cubicBezTo>
                  <a:pt x="881" y="363"/>
                  <a:pt x="882" y="363"/>
                  <a:pt x="883" y="363"/>
                </a:cubicBezTo>
                <a:cubicBezTo>
                  <a:pt x="883" y="363"/>
                  <a:pt x="883" y="364"/>
                  <a:pt x="884" y="364"/>
                </a:cubicBezTo>
                <a:cubicBezTo>
                  <a:pt x="884" y="364"/>
                  <a:pt x="884" y="364"/>
                  <a:pt x="884" y="364"/>
                </a:cubicBezTo>
                <a:cubicBezTo>
                  <a:pt x="885" y="365"/>
                  <a:pt x="885" y="365"/>
                  <a:pt x="886" y="366"/>
                </a:cubicBezTo>
                <a:cubicBezTo>
                  <a:pt x="886" y="366"/>
                  <a:pt x="888" y="366"/>
                  <a:pt x="888" y="365"/>
                </a:cubicBezTo>
                <a:cubicBezTo>
                  <a:pt x="888" y="365"/>
                  <a:pt x="888" y="365"/>
                  <a:pt x="888" y="364"/>
                </a:cubicBezTo>
                <a:cubicBezTo>
                  <a:pt x="888" y="364"/>
                  <a:pt x="887" y="364"/>
                  <a:pt x="887" y="364"/>
                </a:cubicBezTo>
                <a:cubicBezTo>
                  <a:pt x="889" y="363"/>
                  <a:pt x="888" y="363"/>
                  <a:pt x="889" y="362"/>
                </a:cubicBezTo>
                <a:cubicBezTo>
                  <a:pt x="889" y="362"/>
                  <a:pt x="889" y="362"/>
                  <a:pt x="889" y="362"/>
                </a:cubicBezTo>
                <a:cubicBezTo>
                  <a:pt x="889" y="361"/>
                  <a:pt x="889" y="361"/>
                  <a:pt x="889" y="361"/>
                </a:cubicBezTo>
                <a:cubicBezTo>
                  <a:pt x="889" y="360"/>
                  <a:pt x="888" y="360"/>
                  <a:pt x="888" y="359"/>
                </a:cubicBezTo>
                <a:cubicBezTo>
                  <a:pt x="889" y="359"/>
                  <a:pt x="889" y="358"/>
                  <a:pt x="889" y="357"/>
                </a:cubicBezTo>
                <a:cubicBezTo>
                  <a:pt x="888" y="357"/>
                  <a:pt x="888" y="357"/>
                  <a:pt x="887" y="358"/>
                </a:cubicBezTo>
                <a:cubicBezTo>
                  <a:pt x="886" y="358"/>
                  <a:pt x="885" y="358"/>
                  <a:pt x="883" y="358"/>
                </a:cubicBezTo>
                <a:cubicBezTo>
                  <a:pt x="882" y="359"/>
                  <a:pt x="881" y="359"/>
                  <a:pt x="881" y="358"/>
                </a:cubicBezTo>
                <a:cubicBezTo>
                  <a:pt x="880" y="358"/>
                  <a:pt x="880" y="358"/>
                  <a:pt x="880" y="358"/>
                </a:cubicBezTo>
                <a:cubicBezTo>
                  <a:pt x="879" y="358"/>
                  <a:pt x="878" y="358"/>
                  <a:pt x="878" y="358"/>
                </a:cubicBezTo>
                <a:cubicBezTo>
                  <a:pt x="877" y="358"/>
                  <a:pt x="878" y="358"/>
                  <a:pt x="878" y="358"/>
                </a:cubicBezTo>
                <a:close/>
                <a:moveTo>
                  <a:pt x="915" y="358"/>
                </a:moveTo>
                <a:cubicBezTo>
                  <a:pt x="915" y="358"/>
                  <a:pt x="916" y="358"/>
                  <a:pt x="916" y="358"/>
                </a:cubicBezTo>
                <a:cubicBezTo>
                  <a:pt x="917" y="357"/>
                  <a:pt x="915" y="357"/>
                  <a:pt x="914" y="357"/>
                </a:cubicBezTo>
                <a:cubicBezTo>
                  <a:pt x="914" y="357"/>
                  <a:pt x="914" y="357"/>
                  <a:pt x="914" y="358"/>
                </a:cubicBezTo>
                <a:cubicBezTo>
                  <a:pt x="915" y="357"/>
                  <a:pt x="915" y="357"/>
                  <a:pt x="915" y="358"/>
                </a:cubicBezTo>
                <a:cubicBezTo>
                  <a:pt x="916" y="358"/>
                  <a:pt x="915" y="358"/>
                  <a:pt x="915" y="358"/>
                </a:cubicBezTo>
                <a:close/>
                <a:moveTo>
                  <a:pt x="941" y="356"/>
                </a:moveTo>
                <a:cubicBezTo>
                  <a:pt x="941" y="356"/>
                  <a:pt x="941" y="357"/>
                  <a:pt x="942" y="357"/>
                </a:cubicBezTo>
                <a:cubicBezTo>
                  <a:pt x="941" y="356"/>
                  <a:pt x="941" y="355"/>
                  <a:pt x="941" y="356"/>
                </a:cubicBezTo>
                <a:close/>
                <a:moveTo>
                  <a:pt x="944" y="351"/>
                </a:moveTo>
                <a:cubicBezTo>
                  <a:pt x="943" y="351"/>
                  <a:pt x="943" y="350"/>
                  <a:pt x="943" y="350"/>
                </a:cubicBezTo>
                <a:cubicBezTo>
                  <a:pt x="942" y="350"/>
                  <a:pt x="941" y="350"/>
                  <a:pt x="941" y="351"/>
                </a:cubicBezTo>
                <a:cubicBezTo>
                  <a:pt x="941" y="351"/>
                  <a:pt x="942" y="351"/>
                  <a:pt x="942" y="351"/>
                </a:cubicBezTo>
                <a:cubicBezTo>
                  <a:pt x="943" y="351"/>
                  <a:pt x="942" y="352"/>
                  <a:pt x="942" y="352"/>
                </a:cubicBezTo>
                <a:cubicBezTo>
                  <a:pt x="943" y="353"/>
                  <a:pt x="944" y="352"/>
                  <a:pt x="944" y="351"/>
                </a:cubicBezTo>
                <a:close/>
                <a:moveTo>
                  <a:pt x="823" y="350"/>
                </a:moveTo>
                <a:cubicBezTo>
                  <a:pt x="824" y="350"/>
                  <a:pt x="825" y="349"/>
                  <a:pt x="825" y="348"/>
                </a:cubicBezTo>
                <a:cubicBezTo>
                  <a:pt x="824" y="348"/>
                  <a:pt x="823" y="349"/>
                  <a:pt x="823" y="350"/>
                </a:cubicBezTo>
                <a:cubicBezTo>
                  <a:pt x="823" y="350"/>
                  <a:pt x="823" y="350"/>
                  <a:pt x="823" y="350"/>
                </a:cubicBezTo>
                <a:cubicBezTo>
                  <a:pt x="824" y="350"/>
                  <a:pt x="823" y="350"/>
                  <a:pt x="823" y="350"/>
                </a:cubicBezTo>
                <a:close/>
                <a:moveTo>
                  <a:pt x="1069" y="348"/>
                </a:moveTo>
                <a:cubicBezTo>
                  <a:pt x="1069" y="347"/>
                  <a:pt x="1068" y="349"/>
                  <a:pt x="1068" y="349"/>
                </a:cubicBezTo>
                <a:cubicBezTo>
                  <a:pt x="1069" y="349"/>
                  <a:pt x="1070" y="349"/>
                  <a:pt x="1069" y="348"/>
                </a:cubicBezTo>
                <a:close/>
                <a:moveTo>
                  <a:pt x="912" y="347"/>
                </a:moveTo>
                <a:cubicBezTo>
                  <a:pt x="912" y="348"/>
                  <a:pt x="912" y="348"/>
                  <a:pt x="912" y="348"/>
                </a:cubicBezTo>
                <a:cubicBezTo>
                  <a:pt x="912" y="348"/>
                  <a:pt x="913" y="348"/>
                  <a:pt x="913" y="348"/>
                </a:cubicBezTo>
                <a:cubicBezTo>
                  <a:pt x="913" y="348"/>
                  <a:pt x="912" y="348"/>
                  <a:pt x="912" y="348"/>
                </a:cubicBezTo>
                <a:cubicBezTo>
                  <a:pt x="912" y="347"/>
                  <a:pt x="912" y="347"/>
                  <a:pt x="912" y="347"/>
                </a:cubicBezTo>
                <a:close/>
                <a:moveTo>
                  <a:pt x="842" y="344"/>
                </a:moveTo>
                <a:cubicBezTo>
                  <a:pt x="841" y="344"/>
                  <a:pt x="840" y="344"/>
                  <a:pt x="840" y="345"/>
                </a:cubicBezTo>
                <a:cubicBezTo>
                  <a:pt x="840" y="346"/>
                  <a:pt x="841" y="346"/>
                  <a:pt x="842" y="346"/>
                </a:cubicBezTo>
                <a:cubicBezTo>
                  <a:pt x="842" y="346"/>
                  <a:pt x="842" y="345"/>
                  <a:pt x="842" y="344"/>
                </a:cubicBezTo>
                <a:cubicBezTo>
                  <a:pt x="840" y="344"/>
                  <a:pt x="842" y="344"/>
                  <a:pt x="842" y="344"/>
                </a:cubicBezTo>
                <a:close/>
                <a:moveTo>
                  <a:pt x="832" y="349"/>
                </a:moveTo>
                <a:cubicBezTo>
                  <a:pt x="833" y="349"/>
                  <a:pt x="833" y="349"/>
                  <a:pt x="833" y="348"/>
                </a:cubicBezTo>
                <a:cubicBezTo>
                  <a:pt x="834" y="348"/>
                  <a:pt x="836" y="347"/>
                  <a:pt x="835" y="346"/>
                </a:cubicBezTo>
                <a:cubicBezTo>
                  <a:pt x="835" y="346"/>
                  <a:pt x="834" y="346"/>
                  <a:pt x="834" y="346"/>
                </a:cubicBezTo>
                <a:cubicBezTo>
                  <a:pt x="834" y="345"/>
                  <a:pt x="834" y="345"/>
                  <a:pt x="833" y="344"/>
                </a:cubicBezTo>
                <a:cubicBezTo>
                  <a:pt x="833" y="345"/>
                  <a:pt x="832" y="345"/>
                  <a:pt x="832" y="345"/>
                </a:cubicBezTo>
                <a:cubicBezTo>
                  <a:pt x="832" y="345"/>
                  <a:pt x="832" y="345"/>
                  <a:pt x="832" y="345"/>
                </a:cubicBezTo>
                <a:cubicBezTo>
                  <a:pt x="832" y="346"/>
                  <a:pt x="832" y="346"/>
                  <a:pt x="832" y="347"/>
                </a:cubicBezTo>
                <a:cubicBezTo>
                  <a:pt x="831" y="347"/>
                  <a:pt x="832" y="348"/>
                  <a:pt x="832" y="349"/>
                </a:cubicBezTo>
                <a:close/>
                <a:moveTo>
                  <a:pt x="856" y="342"/>
                </a:moveTo>
                <a:cubicBezTo>
                  <a:pt x="858" y="343"/>
                  <a:pt x="857" y="347"/>
                  <a:pt x="857" y="349"/>
                </a:cubicBezTo>
                <a:cubicBezTo>
                  <a:pt x="858" y="349"/>
                  <a:pt x="858" y="349"/>
                  <a:pt x="858" y="350"/>
                </a:cubicBezTo>
                <a:cubicBezTo>
                  <a:pt x="858" y="351"/>
                  <a:pt x="858" y="350"/>
                  <a:pt x="858" y="350"/>
                </a:cubicBezTo>
                <a:cubicBezTo>
                  <a:pt x="858" y="351"/>
                  <a:pt x="858" y="351"/>
                  <a:pt x="859" y="351"/>
                </a:cubicBezTo>
                <a:cubicBezTo>
                  <a:pt x="860" y="351"/>
                  <a:pt x="860" y="351"/>
                  <a:pt x="860" y="352"/>
                </a:cubicBezTo>
                <a:cubicBezTo>
                  <a:pt x="860" y="352"/>
                  <a:pt x="861" y="352"/>
                  <a:pt x="861" y="351"/>
                </a:cubicBezTo>
                <a:cubicBezTo>
                  <a:pt x="861" y="351"/>
                  <a:pt x="861" y="351"/>
                  <a:pt x="862" y="351"/>
                </a:cubicBezTo>
                <a:cubicBezTo>
                  <a:pt x="862" y="351"/>
                  <a:pt x="863" y="349"/>
                  <a:pt x="863" y="349"/>
                </a:cubicBezTo>
                <a:cubicBezTo>
                  <a:pt x="863" y="347"/>
                  <a:pt x="863" y="346"/>
                  <a:pt x="863" y="345"/>
                </a:cubicBezTo>
                <a:cubicBezTo>
                  <a:pt x="863" y="344"/>
                  <a:pt x="864" y="343"/>
                  <a:pt x="864" y="341"/>
                </a:cubicBezTo>
                <a:cubicBezTo>
                  <a:pt x="864" y="340"/>
                  <a:pt x="862" y="340"/>
                  <a:pt x="862" y="339"/>
                </a:cubicBezTo>
                <a:cubicBezTo>
                  <a:pt x="862" y="339"/>
                  <a:pt x="862" y="338"/>
                  <a:pt x="862" y="338"/>
                </a:cubicBezTo>
                <a:cubicBezTo>
                  <a:pt x="862" y="338"/>
                  <a:pt x="861" y="337"/>
                  <a:pt x="861" y="337"/>
                </a:cubicBezTo>
                <a:cubicBezTo>
                  <a:pt x="860" y="338"/>
                  <a:pt x="860" y="338"/>
                  <a:pt x="860" y="338"/>
                </a:cubicBezTo>
                <a:cubicBezTo>
                  <a:pt x="859" y="339"/>
                  <a:pt x="859" y="338"/>
                  <a:pt x="859" y="339"/>
                </a:cubicBezTo>
                <a:cubicBezTo>
                  <a:pt x="858" y="340"/>
                  <a:pt x="858" y="339"/>
                  <a:pt x="857" y="340"/>
                </a:cubicBezTo>
                <a:cubicBezTo>
                  <a:pt x="857" y="340"/>
                  <a:pt x="857" y="340"/>
                  <a:pt x="856" y="340"/>
                </a:cubicBezTo>
                <a:cubicBezTo>
                  <a:pt x="856" y="341"/>
                  <a:pt x="856" y="341"/>
                  <a:pt x="856" y="341"/>
                </a:cubicBezTo>
                <a:cubicBezTo>
                  <a:pt x="856" y="342"/>
                  <a:pt x="856" y="341"/>
                  <a:pt x="856" y="342"/>
                </a:cubicBezTo>
                <a:cubicBezTo>
                  <a:pt x="856" y="342"/>
                  <a:pt x="856" y="342"/>
                  <a:pt x="856" y="342"/>
                </a:cubicBezTo>
                <a:close/>
                <a:moveTo>
                  <a:pt x="1449" y="376"/>
                </a:moveTo>
                <a:cubicBezTo>
                  <a:pt x="1449" y="377"/>
                  <a:pt x="1449" y="377"/>
                  <a:pt x="1449" y="377"/>
                </a:cubicBezTo>
                <a:cubicBezTo>
                  <a:pt x="1449" y="377"/>
                  <a:pt x="1449" y="378"/>
                  <a:pt x="1449" y="378"/>
                </a:cubicBezTo>
                <a:cubicBezTo>
                  <a:pt x="1449" y="378"/>
                  <a:pt x="1448" y="378"/>
                  <a:pt x="1448" y="378"/>
                </a:cubicBezTo>
                <a:cubicBezTo>
                  <a:pt x="1448" y="378"/>
                  <a:pt x="1448" y="378"/>
                  <a:pt x="1448" y="378"/>
                </a:cubicBezTo>
                <a:cubicBezTo>
                  <a:pt x="1448" y="378"/>
                  <a:pt x="1448" y="377"/>
                  <a:pt x="1448" y="377"/>
                </a:cubicBezTo>
                <a:cubicBezTo>
                  <a:pt x="1448" y="376"/>
                  <a:pt x="1448" y="377"/>
                  <a:pt x="1448" y="377"/>
                </a:cubicBezTo>
                <a:cubicBezTo>
                  <a:pt x="1448" y="376"/>
                  <a:pt x="1448" y="376"/>
                  <a:pt x="1448" y="376"/>
                </a:cubicBezTo>
                <a:cubicBezTo>
                  <a:pt x="1448" y="376"/>
                  <a:pt x="1449" y="376"/>
                  <a:pt x="1449" y="376"/>
                </a:cubicBezTo>
                <a:cubicBezTo>
                  <a:pt x="1449" y="377"/>
                  <a:pt x="1449" y="376"/>
                  <a:pt x="1449" y="376"/>
                </a:cubicBezTo>
                <a:close/>
                <a:moveTo>
                  <a:pt x="1446" y="375"/>
                </a:moveTo>
                <a:cubicBezTo>
                  <a:pt x="1446" y="376"/>
                  <a:pt x="1446" y="376"/>
                  <a:pt x="1445" y="377"/>
                </a:cubicBezTo>
                <a:cubicBezTo>
                  <a:pt x="1444" y="377"/>
                  <a:pt x="1443" y="378"/>
                  <a:pt x="1443" y="379"/>
                </a:cubicBezTo>
                <a:cubicBezTo>
                  <a:pt x="1442" y="380"/>
                  <a:pt x="1441" y="380"/>
                  <a:pt x="1440" y="380"/>
                </a:cubicBezTo>
                <a:cubicBezTo>
                  <a:pt x="1439" y="381"/>
                  <a:pt x="1438" y="381"/>
                  <a:pt x="1438" y="380"/>
                </a:cubicBezTo>
                <a:cubicBezTo>
                  <a:pt x="1437" y="379"/>
                  <a:pt x="1437" y="381"/>
                  <a:pt x="1437" y="381"/>
                </a:cubicBezTo>
                <a:cubicBezTo>
                  <a:pt x="1437" y="382"/>
                  <a:pt x="1437" y="382"/>
                  <a:pt x="1438" y="382"/>
                </a:cubicBezTo>
                <a:cubicBezTo>
                  <a:pt x="1439" y="382"/>
                  <a:pt x="1440" y="382"/>
                  <a:pt x="1441" y="382"/>
                </a:cubicBezTo>
                <a:cubicBezTo>
                  <a:pt x="1442" y="382"/>
                  <a:pt x="1442" y="382"/>
                  <a:pt x="1443" y="383"/>
                </a:cubicBezTo>
                <a:cubicBezTo>
                  <a:pt x="1444" y="383"/>
                  <a:pt x="1444" y="381"/>
                  <a:pt x="1444" y="381"/>
                </a:cubicBezTo>
                <a:cubicBezTo>
                  <a:pt x="1445" y="380"/>
                  <a:pt x="1446" y="381"/>
                  <a:pt x="1447" y="381"/>
                </a:cubicBezTo>
                <a:cubicBezTo>
                  <a:pt x="1446" y="381"/>
                  <a:pt x="1448" y="380"/>
                  <a:pt x="1448" y="380"/>
                </a:cubicBezTo>
                <a:cubicBezTo>
                  <a:pt x="1449" y="380"/>
                  <a:pt x="1449" y="381"/>
                  <a:pt x="1449" y="380"/>
                </a:cubicBezTo>
                <a:cubicBezTo>
                  <a:pt x="1449" y="380"/>
                  <a:pt x="1449" y="380"/>
                  <a:pt x="1450" y="380"/>
                </a:cubicBezTo>
                <a:cubicBezTo>
                  <a:pt x="1450" y="380"/>
                  <a:pt x="1451" y="380"/>
                  <a:pt x="1451" y="379"/>
                </a:cubicBezTo>
                <a:cubicBezTo>
                  <a:pt x="1451" y="379"/>
                  <a:pt x="1452" y="380"/>
                  <a:pt x="1452" y="380"/>
                </a:cubicBezTo>
                <a:cubicBezTo>
                  <a:pt x="1452" y="379"/>
                  <a:pt x="1454" y="380"/>
                  <a:pt x="1454" y="379"/>
                </a:cubicBezTo>
                <a:cubicBezTo>
                  <a:pt x="1454" y="379"/>
                  <a:pt x="1455" y="379"/>
                  <a:pt x="1456" y="379"/>
                </a:cubicBezTo>
                <a:cubicBezTo>
                  <a:pt x="1456" y="379"/>
                  <a:pt x="1457" y="379"/>
                  <a:pt x="1458" y="379"/>
                </a:cubicBezTo>
                <a:cubicBezTo>
                  <a:pt x="1457" y="380"/>
                  <a:pt x="1456" y="381"/>
                  <a:pt x="1456" y="381"/>
                </a:cubicBezTo>
                <a:cubicBezTo>
                  <a:pt x="1456" y="382"/>
                  <a:pt x="1456" y="382"/>
                  <a:pt x="1456" y="383"/>
                </a:cubicBezTo>
                <a:cubicBezTo>
                  <a:pt x="1456" y="383"/>
                  <a:pt x="1456" y="383"/>
                  <a:pt x="1456" y="383"/>
                </a:cubicBezTo>
                <a:cubicBezTo>
                  <a:pt x="1456" y="383"/>
                  <a:pt x="1456" y="383"/>
                  <a:pt x="1456" y="384"/>
                </a:cubicBezTo>
                <a:cubicBezTo>
                  <a:pt x="1456" y="384"/>
                  <a:pt x="1457" y="384"/>
                  <a:pt x="1457" y="385"/>
                </a:cubicBezTo>
                <a:cubicBezTo>
                  <a:pt x="1457" y="386"/>
                  <a:pt x="1458" y="386"/>
                  <a:pt x="1458" y="386"/>
                </a:cubicBezTo>
                <a:cubicBezTo>
                  <a:pt x="1459" y="386"/>
                  <a:pt x="1461" y="385"/>
                  <a:pt x="1462" y="384"/>
                </a:cubicBezTo>
                <a:cubicBezTo>
                  <a:pt x="1462" y="383"/>
                  <a:pt x="1462" y="383"/>
                  <a:pt x="1463" y="383"/>
                </a:cubicBezTo>
                <a:cubicBezTo>
                  <a:pt x="1463" y="382"/>
                  <a:pt x="1464" y="382"/>
                  <a:pt x="1464" y="382"/>
                </a:cubicBezTo>
                <a:cubicBezTo>
                  <a:pt x="1464" y="381"/>
                  <a:pt x="1464" y="381"/>
                  <a:pt x="1463" y="380"/>
                </a:cubicBezTo>
                <a:cubicBezTo>
                  <a:pt x="1463" y="380"/>
                  <a:pt x="1464" y="379"/>
                  <a:pt x="1464" y="379"/>
                </a:cubicBezTo>
                <a:cubicBezTo>
                  <a:pt x="1464" y="379"/>
                  <a:pt x="1465" y="379"/>
                  <a:pt x="1465" y="379"/>
                </a:cubicBezTo>
                <a:cubicBezTo>
                  <a:pt x="1466" y="379"/>
                  <a:pt x="1467" y="379"/>
                  <a:pt x="1467" y="379"/>
                </a:cubicBezTo>
                <a:cubicBezTo>
                  <a:pt x="1467" y="380"/>
                  <a:pt x="1467" y="380"/>
                  <a:pt x="1466" y="380"/>
                </a:cubicBezTo>
                <a:cubicBezTo>
                  <a:pt x="1467" y="381"/>
                  <a:pt x="1468" y="381"/>
                  <a:pt x="1468" y="380"/>
                </a:cubicBezTo>
                <a:cubicBezTo>
                  <a:pt x="1469" y="380"/>
                  <a:pt x="1469" y="379"/>
                  <a:pt x="1470" y="380"/>
                </a:cubicBezTo>
                <a:cubicBezTo>
                  <a:pt x="1470" y="380"/>
                  <a:pt x="1472" y="380"/>
                  <a:pt x="1472" y="379"/>
                </a:cubicBezTo>
                <a:cubicBezTo>
                  <a:pt x="1472" y="379"/>
                  <a:pt x="1474" y="378"/>
                  <a:pt x="1475" y="378"/>
                </a:cubicBezTo>
                <a:cubicBezTo>
                  <a:pt x="1475" y="379"/>
                  <a:pt x="1475" y="380"/>
                  <a:pt x="1475" y="380"/>
                </a:cubicBezTo>
                <a:cubicBezTo>
                  <a:pt x="1475" y="380"/>
                  <a:pt x="1475" y="380"/>
                  <a:pt x="1475" y="381"/>
                </a:cubicBezTo>
                <a:cubicBezTo>
                  <a:pt x="1476" y="381"/>
                  <a:pt x="1476" y="380"/>
                  <a:pt x="1476" y="380"/>
                </a:cubicBezTo>
                <a:cubicBezTo>
                  <a:pt x="1477" y="379"/>
                  <a:pt x="1476" y="377"/>
                  <a:pt x="1477" y="377"/>
                </a:cubicBezTo>
                <a:cubicBezTo>
                  <a:pt x="1478" y="377"/>
                  <a:pt x="1479" y="378"/>
                  <a:pt x="1479" y="376"/>
                </a:cubicBezTo>
                <a:cubicBezTo>
                  <a:pt x="1479" y="376"/>
                  <a:pt x="1479" y="375"/>
                  <a:pt x="1479" y="375"/>
                </a:cubicBezTo>
                <a:cubicBezTo>
                  <a:pt x="1479" y="375"/>
                  <a:pt x="1479" y="375"/>
                  <a:pt x="1479" y="375"/>
                </a:cubicBezTo>
                <a:cubicBezTo>
                  <a:pt x="1479" y="374"/>
                  <a:pt x="1479" y="374"/>
                  <a:pt x="1479" y="374"/>
                </a:cubicBezTo>
                <a:cubicBezTo>
                  <a:pt x="1479" y="373"/>
                  <a:pt x="1480" y="373"/>
                  <a:pt x="1481" y="372"/>
                </a:cubicBezTo>
                <a:cubicBezTo>
                  <a:pt x="1481" y="373"/>
                  <a:pt x="1481" y="373"/>
                  <a:pt x="1481" y="373"/>
                </a:cubicBezTo>
                <a:cubicBezTo>
                  <a:pt x="1481" y="373"/>
                  <a:pt x="1481" y="375"/>
                  <a:pt x="1480" y="375"/>
                </a:cubicBezTo>
                <a:cubicBezTo>
                  <a:pt x="1479" y="375"/>
                  <a:pt x="1480" y="377"/>
                  <a:pt x="1480" y="378"/>
                </a:cubicBezTo>
                <a:cubicBezTo>
                  <a:pt x="1482" y="378"/>
                  <a:pt x="1482" y="376"/>
                  <a:pt x="1483" y="375"/>
                </a:cubicBezTo>
                <a:cubicBezTo>
                  <a:pt x="1483" y="374"/>
                  <a:pt x="1485" y="373"/>
                  <a:pt x="1484" y="372"/>
                </a:cubicBezTo>
                <a:cubicBezTo>
                  <a:pt x="1482" y="371"/>
                  <a:pt x="1480" y="371"/>
                  <a:pt x="1483" y="371"/>
                </a:cubicBezTo>
                <a:cubicBezTo>
                  <a:pt x="1483" y="370"/>
                  <a:pt x="1483" y="370"/>
                  <a:pt x="1483" y="369"/>
                </a:cubicBezTo>
                <a:cubicBezTo>
                  <a:pt x="1483" y="369"/>
                  <a:pt x="1483" y="369"/>
                  <a:pt x="1483" y="369"/>
                </a:cubicBezTo>
                <a:cubicBezTo>
                  <a:pt x="1483" y="368"/>
                  <a:pt x="1483" y="368"/>
                  <a:pt x="1483" y="368"/>
                </a:cubicBezTo>
                <a:cubicBezTo>
                  <a:pt x="1483" y="367"/>
                  <a:pt x="1482" y="367"/>
                  <a:pt x="1482" y="367"/>
                </a:cubicBezTo>
                <a:cubicBezTo>
                  <a:pt x="1482" y="367"/>
                  <a:pt x="1483" y="367"/>
                  <a:pt x="1483" y="366"/>
                </a:cubicBezTo>
                <a:cubicBezTo>
                  <a:pt x="1483" y="366"/>
                  <a:pt x="1483" y="366"/>
                  <a:pt x="1483" y="366"/>
                </a:cubicBezTo>
                <a:cubicBezTo>
                  <a:pt x="1483" y="365"/>
                  <a:pt x="1483" y="364"/>
                  <a:pt x="1484" y="364"/>
                </a:cubicBezTo>
                <a:cubicBezTo>
                  <a:pt x="1484" y="364"/>
                  <a:pt x="1483" y="362"/>
                  <a:pt x="1484" y="362"/>
                </a:cubicBezTo>
                <a:cubicBezTo>
                  <a:pt x="1484" y="362"/>
                  <a:pt x="1484" y="361"/>
                  <a:pt x="1484" y="360"/>
                </a:cubicBezTo>
                <a:cubicBezTo>
                  <a:pt x="1484" y="359"/>
                  <a:pt x="1484" y="357"/>
                  <a:pt x="1484" y="356"/>
                </a:cubicBezTo>
                <a:cubicBezTo>
                  <a:pt x="1484" y="355"/>
                  <a:pt x="1484" y="355"/>
                  <a:pt x="1485" y="355"/>
                </a:cubicBezTo>
                <a:cubicBezTo>
                  <a:pt x="1485" y="355"/>
                  <a:pt x="1486" y="355"/>
                  <a:pt x="1486" y="355"/>
                </a:cubicBezTo>
                <a:cubicBezTo>
                  <a:pt x="1487" y="354"/>
                  <a:pt x="1487" y="354"/>
                  <a:pt x="1486" y="353"/>
                </a:cubicBezTo>
                <a:cubicBezTo>
                  <a:pt x="1488" y="353"/>
                  <a:pt x="1487" y="352"/>
                  <a:pt x="1488" y="351"/>
                </a:cubicBezTo>
                <a:cubicBezTo>
                  <a:pt x="1488" y="351"/>
                  <a:pt x="1489" y="350"/>
                  <a:pt x="1489" y="350"/>
                </a:cubicBezTo>
                <a:cubicBezTo>
                  <a:pt x="1489" y="349"/>
                  <a:pt x="1489" y="344"/>
                  <a:pt x="1488" y="344"/>
                </a:cubicBezTo>
                <a:cubicBezTo>
                  <a:pt x="1488" y="344"/>
                  <a:pt x="1488" y="343"/>
                  <a:pt x="1488" y="342"/>
                </a:cubicBezTo>
                <a:cubicBezTo>
                  <a:pt x="1487" y="342"/>
                  <a:pt x="1487" y="342"/>
                  <a:pt x="1487" y="342"/>
                </a:cubicBezTo>
                <a:cubicBezTo>
                  <a:pt x="1487" y="342"/>
                  <a:pt x="1487" y="342"/>
                  <a:pt x="1487" y="341"/>
                </a:cubicBezTo>
                <a:cubicBezTo>
                  <a:pt x="1487" y="341"/>
                  <a:pt x="1486" y="340"/>
                  <a:pt x="1486" y="340"/>
                </a:cubicBezTo>
                <a:cubicBezTo>
                  <a:pt x="1486" y="339"/>
                  <a:pt x="1484" y="339"/>
                  <a:pt x="1484" y="339"/>
                </a:cubicBezTo>
                <a:cubicBezTo>
                  <a:pt x="1483" y="339"/>
                  <a:pt x="1484" y="339"/>
                  <a:pt x="1483" y="339"/>
                </a:cubicBezTo>
                <a:cubicBezTo>
                  <a:pt x="1484" y="338"/>
                  <a:pt x="1483" y="338"/>
                  <a:pt x="1483" y="337"/>
                </a:cubicBezTo>
                <a:cubicBezTo>
                  <a:pt x="1482" y="337"/>
                  <a:pt x="1482" y="337"/>
                  <a:pt x="1481" y="337"/>
                </a:cubicBezTo>
                <a:cubicBezTo>
                  <a:pt x="1482" y="339"/>
                  <a:pt x="1482" y="340"/>
                  <a:pt x="1481" y="341"/>
                </a:cubicBezTo>
                <a:cubicBezTo>
                  <a:pt x="1480" y="341"/>
                  <a:pt x="1481" y="341"/>
                  <a:pt x="1480" y="341"/>
                </a:cubicBezTo>
                <a:cubicBezTo>
                  <a:pt x="1479" y="341"/>
                  <a:pt x="1479" y="342"/>
                  <a:pt x="1479" y="342"/>
                </a:cubicBezTo>
                <a:cubicBezTo>
                  <a:pt x="1480" y="342"/>
                  <a:pt x="1480" y="345"/>
                  <a:pt x="1480" y="345"/>
                </a:cubicBezTo>
                <a:cubicBezTo>
                  <a:pt x="1479" y="346"/>
                  <a:pt x="1479" y="346"/>
                  <a:pt x="1478" y="347"/>
                </a:cubicBezTo>
                <a:cubicBezTo>
                  <a:pt x="1478" y="347"/>
                  <a:pt x="1478" y="347"/>
                  <a:pt x="1478" y="347"/>
                </a:cubicBezTo>
                <a:cubicBezTo>
                  <a:pt x="1479" y="347"/>
                  <a:pt x="1480" y="347"/>
                  <a:pt x="1480" y="347"/>
                </a:cubicBezTo>
                <a:cubicBezTo>
                  <a:pt x="1480" y="347"/>
                  <a:pt x="1481" y="349"/>
                  <a:pt x="1479" y="350"/>
                </a:cubicBezTo>
                <a:cubicBezTo>
                  <a:pt x="1479" y="350"/>
                  <a:pt x="1479" y="350"/>
                  <a:pt x="1479" y="350"/>
                </a:cubicBezTo>
                <a:cubicBezTo>
                  <a:pt x="1479" y="351"/>
                  <a:pt x="1479" y="350"/>
                  <a:pt x="1479" y="351"/>
                </a:cubicBezTo>
                <a:cubicBezTo>
                  <a:pt x="1479" y="351"/>
                  <a:pt x="1479" y="352"/>
                  <a:pt x="1478" y="353"/>
                </a:cubicBezTo>
                <a:cubicBezTo>
                  <a:pt x="1478" y="354"/>
                  <a:pt x="1478" y="354"/>
                  <a:pt x="1477" y="354"/>
                </a:cubicBezTo>
                <a:cubicBezTo>
                  <a:pt x="1477" y="354"/>
                  <a:pt x="1477" y="355"/>
                  <a:pt x="1477" y="355"/>
                </a:cubicBezTo>
                <a:cubicBezTo>
                  <a:pt x="1477" y="355"/>
                  <a:pt x="1477" y="355"/>
                  <a:pt x="1477" y="355"/>
                </a:cubicBezTo>
                <a:cubicBezTo>
                  <a:pt x="1477" y="356"/>
                  <a:pt x="1477" y="356"/>
                  <a:pt x="1477" y="356"/>
                </a:cubicBezTo>
                <a:cubicBezTo>
                  <a:pt x="1477" y="357"/>
                  <a:pt x="1474" y="358"/>
                  <a:pt x="1474" y="359"/>
                </a:cubicBezTo>
                <a:cubicBezTo>
                  <a:pt x="1474" y="360"/>
                  <a:pt x="1472" y="360"/>
                  <a:pt x="1472" y="361"/>
                </a:cubicBezTo>
                <a:cubicBezTo>
                  <a:pt x="1472" y="361"/>
                  <a:pt x="1472" y="361"/>
                  <a:pt x="1472" y="362"/>
                </a:cubicBezTo>
                <a:cubicBezTo>
                  <a:pt x="1472" y="362"/>
                  <a:pt x="1472" y="362"/>
                  <a:pt x="1471" y="362"/>
                </a:cubicBezTo>
                <a:cubicBezTo>
                  <a:pt x="1471" y="362"/>
                  <a:pt x="1472" y="363"/>
                  <a:pt x="1471" y="363"/>
                </a:cubicBezTo>
                <a:cubicBezTo>
                  <a:pt x="1471" y="363"/>
                  <a:pt x="1471" y="363"/>
                  <a:pt x="1470" y="364"/>
                </a:cubicBezTo>
                <a:cubicBezTo>
                  <a:pt x="1470" y="365"/>
                  <a:pt x="1470" y="364"/>
                  <a:pt x="1469" y="364"/>
                </a:cubicBezTo>
                <a:cubicBezTo>
                  <a:pt x="1469" y="364"/>
                  <a:pt x="1469" y="364"/>
                  <a:pt x="1468" y="365"/>
                </a:cubicBezTo>
                <a:cubicBezTo>
                  <a:pt x="1466" y="365"/>
                  <a:pt x="1468" y="365"/>
                  <a:pt x="1467" y="365"/>
                </a:cubicBezTo>
                <a:cubicBezTo>
                  <a:pt x="1467" y="365"/>
                  <a:pt x="1467" y="365"/>
                  <a:pt x="1467" y="365"/>
                </a:cubicBezTo>
                <a:cubicBezTo>
                  <a:pt x="1467" y="366"/>
                  <a:pt x="1467" y="366"/>
                  <a:pt x="1466" y="366"/>
                </a:cubicBezTo>
                <a:cubicBezTo>
                  <a:pt x="1465" y="367"/>
                  <a:pt x="1465" y="366"/>
                  <a:pt x="1464" y="366"/>
                </a:cubicBezTo>
                <a:cubicBezTo>
                  <a:pt x="1464" y="366"/>
                  <a:pt x="1464" y="366"/>
                  <a:pt x="1464" y="366"/>
                </a:cubicBezTo>
                <a:cubicBezTo>
                  <a:pt x="1464" y="365"/>
                  <a:pt x="1464" y="365"/>
                  <a:pt x="1464" y="365"/>
                </a:cubicBezTo>
                <a:cubicBezTo>
                  <a:pt x="1464" y="365"/>
                  <a:pt x="1464" y="365"/>
                  <a:pt x="1464" y="364"/>
                </a:cubicBezTo>
                <a:cubicBezTo>
                  <a:pt x="1464" y="364"/>
                  <a:pt x="1464" y="364"/>
                  <a:pt x="1464" y="364"/>
                </a:cubicBezTo>
                <a:cubicBezTo>
                  <a:pt x="1465" y="363"/>
                  <a:pt x="1466" y="362"/>
                  <a:pt x="1466" y="361"/>
                </a:cubicBezTo>
                <a:cubicBezTo>
                  <a:pt x="1466" y="361"/>
                  <a:pt x="1463" y="363"/>
                  <a:pt x="1463" y="364"/>
                </a:cubicBezTo>
                <a:cubicBezTo>
                  <a:pt x="1463" y="365"/>
                  <a:pt x="1463" y="366"/>
                  <a:pt x="1463" y="367"/>
                </a:cubicBezTo>
                <a:cubicBezTo>
                  <a:pt x="1463" y="367"/>
                  <a:pt x="1462" y="367"/>
                  <a:pt x="1462" y="367"/>
                </a:cubicBezTo>
                <a:cubicBezTo>
                  <a:pt x="1462" y="367"/>
                  <a:pt x="1462" y="368"/>
                  <a:pt x="1462" y="368"/>
                </a:cubicBezTo>
                <a:cubicBezTo>
                  <a:pt x="1461" y="368"/>
                  <a:pt x="1461" y="370"/>
                  <a:pt x="1461" y="370"/>
                </a:cubicBezTo>
                <a:cubicBezTo>
                  <a:pt x="1460" y="370"/>
                  <a:pt x="1460" y="371"/>
                  <a:pt x="1460" y="371"/>
                </a:cubicBezTo>
                <a:cubicBezTo>
                  <a:pt x="1460" y="371"/>
                  <a:pt x="1460" y="372"/>
                  <a:pt x="1460" y="372"/>
                </a:cubicBezTo>
                <a:cubicBezTo>
                  <a:pt x="1460" y="372"/>
                  <a:pt x="1461" y="372"/>
                  <a:pt x="1461" y="372"/>
                </a:cubicBezTo>
                <a:cubicBezTo>
                  <a:pt x="1461" y="373"/>
                  <a:pt x="1460" y="373"/>
                  <a:pt x="1459" y="374"/>
                </a:cubicBezTo>
                <a:cubicBezTo>
                  <a:pt x="1459" y="375"/>
                  <a:pt x="1459" y="375"/>
                  <a:pt x="1457" y="374"/>
                </a:cubicBezTo>
                <a:cubicBezTo>
                  <a:pt x="1457" y="374"/>
                  <a:pt x="1457" y="374"/>
                  <a:pt x="1456" y="374"/>
                </a:cubicBezTo>
                <a:cubicBezTo>
                  <a:pt x="1456" y="374"/>
                  <a:pt x="1456" y="373"/>
                  <a:pt x="1456" y="373"/>
                </a:cubicBezTo>
                <a:cubicBezTo>
                  <a:pt x="1456" y="373"/>
                  <a:pt x="1455" y="373"/>
                  <a:pt x="1454" y="373"/>
                </a:cubicBezTo>
                <a:cubicBezTo>
                  <a:pt x="1453" y="373"/>
                  <a:pt x="1453" y="375"/>
                  <a:pt x="1452" y="375"/>
                </a:cubicBezTo>
                <a:cubicBezTo>
                  <a:pt x="1452" y="375"/>
                  <a:pt x="1451" y="375"/>
                  <a:pt x="1451" y="375"/>
                </a:cubicBezTo>
                <a:cubicBezTo>
                  <a:pt x="1449" y="375"/>
                  <a:pt x="1449" y="376"/>
                  <a:pt x="1448" y="376"/>
                </a:cubicBezTo>
                <a:cubicBezTo>
                  <a:pt x="1448" y="375"/>
                  <a:pt x="1448" y="375"/>
                  <a:pt x="1448" y="374"/>
                </a:cubicBezTo>
                <a:cubicBezTo>
                  <a:pt x="1447" y="374"/>
                  <a:pt x="1447" y="375"/>
                  <a:pt x="1446" y="375"/>
                </a:cubicBezTo>
                <a:cubicBezTo>
                  <a:pt x="1446" y="377"/>
                  <a:pt x="1446" y="375"/>
                  <a:pt x="1446" y="375"/>
                </a:cubicBezTo>
                <a:close/>
                <a:moveTo>
                  <a:pt x="471" y="337"/>
                </a:moveTo>
                <a:cubicBezTo>
                  <a:pt x="471" y="337"/>
                  <a:pt x="471" y="337"/>
                  <a:pt x="471" y="337"/>
                </a:cubicBezTo>
                <a:cubicBezTo>
                  <a:pt x="470" y="337"/>
                  <a:pt x="470" y="337"/>
                  <a:pt x="470" y="337"/>
                </a:cubicBezTo>
                <a:cubicBezTo>
                  <a:pt x="470" y="338"/>
                  <a:pt x="469" y="337"/>
                  <a:pt x="469" y="337"/>
                </a:cubicBezTo>
                <a:cubicBezTo>
                  <a:pt x="469" y="338"/>
                  <a:pt x="469" y="338"/>
                  <a:pt x="468" y="338"/>
                </a:cubicBezTo>
                <a:cubicBezTo>
                  <a:pt x="468" y="338"/>
                  <a:pt x="467" y="338"/>
                  <a:pt x="467" y="339"/>
                </a:cubicBezTo>
                <a:cubicBezTo>
                  <a:pt x="467" y="340"/>
                  <a:pt x="468" y="340"/>
                  <a:pt x="469" y="340"/>
                </a:cubicBezTo>
                <a:cubicBezTo>
                  <a:pt x="470" y="340"/>
                  <a:pt x="472" y="338"/>
                  <a:pt x="473" y="339"/>
                </a:cubicBezTo>
                <a:cubicBezTo>
                  <a:pt x="474" y="339"/>
                  <a:pt x="475" y="339"/>
                  <a:pt x="475" y="337"/>
                </a:cubicBezTo>
                <a:cubicBezTo>
                  <a:pt x="476" y="337"/>
                  <a:pt x="476" y="337"/>
                  <a:pt x="476" y="337"/>
                </a:cubicBezTo>
                <a:cubicBezTo>
                  <a:pt x="475" y="337"/>
                  <a:pt x="474" y="337"/>
                  <a:pt x="473" y="337"/>
                </a:cubicBezTo>
                <a:cubicBezTo>
                  <a:pt x="473" y="336"/>
                  <a:pt x="471" y="337"/>
                  <a:pt x="471" y="337"/>
                </a:cubicBezTo>
                <a:close/>
                <a:moveTo>
                  <a:pt x="1485" y="337"/>
                </a:moveTo>
                <a:cubicBezTo>
                  <a:pt x="1486" y="337"/>
                  <a:pt x="1486" y="337"/>
                  <a:pt x="1487" y="337"/>
                </a:cubicBezTo>
                <a:cubicBezTo>
                  <a:pt x="1487" y="337"/>
                  <a:pt x="1487" y="336"/>
                  <a:pt x="1487" y="336"/>
                </a:cubicBezTo>
                <a:cubicBezTo>
                  <a:pt x="1486" y="336"/>
                  <a:pt x="1485" y="336"/>
                  <a:pt x="1485" y="337"/>
                </a:cubicBezTo>
                <a:cubicBezTo>
                  <a:pt x="1486" y="337"/>
                  <a:pt x="1485" y="337"/>
                  <a:pt x="1485" y="337"/>
                </a:cubicBezTo>
                <a:close/>
                <a:moveTo>
                  <a:pt x="486" y="331"/>
                </a:moveTo>
                <a:cubicBezTo>
                  <a:pt x="485" y="331"/>
                  <a:pt x="484" y="331"/>
                  <a:pt x="484" y="332"/>
                </a:cubicBezTo>
                <a:cubicBezTo>
                  <a:pt x="485" y="331"/>
                  <a:pt x="486" y="332"/>
                  <a:pt x="486" y="331"/>
                </a:cubicBezTo>
                <a:cubicBezTo>
                  <a:pt x="485" y="331"/>
                  <a:pt x="486" y="331"/>
                  <a:pt x="486" y="331"/>
                </a:cubicBezTo>
                <a:close/>
                <a:moveTo>
                  <a:pt x="860" y="336"/>
                </a:moveTo>
                <a:cubicBezTo>
                  <a:pt x="861" y="337"/>
                  <a:pt x="862" y="333"/>
                  <a:pt x="862" y="332"/>
                </a:cubicBezTo>
                <a:cubicBezTo>
                  <a:pt x="862" y="331"/>
                  <a:pt x="862" y="332"/>
                  <a:pt x="862" y="331"/>
                </a:cubicBezTo>
                <a:cubicBezTo>
                  <a:pt x="863" y="331"/>
                  <a:pt x="863" y="330"/>
                  <a:pt x="863" y="330"/>
                </a:cubicBezTo>
                <a:cubicBezTo>
                  <a:pt x="862" y="330"/>
                  <a:pt x="862" y="330"/>
                  <a:pt x="862" y="330"/>
                </a:cubicBezTo>
                <a:cubicBezTo>
                  <a:pt x="862" y="329"/>
                  <a:pt x="862" y="329"/>
                  <a:pt x="862" y="328"/>
                </a:cubicBezTo>
                <a:cubicBezTo>
                  <a:pt x="862" y="327"/>
                  <a:pt x="862" y="325"/>
                  <a:pt x="861" y="325"/>
                </a:cubicBezTo>
                <a:cubicBezTo>
                  <a:pt x="861" y="325"/>
                  <a:pt x="859" y="328"/>
                  <a:pt x="859" y="328"/>
                </a:cubicBezTo>
                <a:cubicBezTo>
                  <a:pt x="858" y="328"/>
                  <a:pt x="857" y="328"/>
                  <a:pt x="857" y="330"/>
                </a:cubicBezTo>
                <a:cubicBezTo>
                  <a:pt x="857" y="330"/>
                  <a:pt x="857" y="331"/>
                  <a:pt x="857" y="331"/>
                </a:cubicBezTo>
                <a:cubicBezTo>
                  <a:pt x="858" y="331"/>
                  <a:pt x="857" y="334"/>
                  <a:pt x="857" y="334"/>
                </a:cubicBezTo>
                <a:cubicBezTo>
                  <a:pt x="858" y="335"/>
                  <a:pt x="859" y="336"/>
                  <a:pt x="860" y="336"/>
                </a:cubicBezTo>
                <a:cubicBezTo>
                  <a:pt x="860" y="336"/>
                  <a:pt x="860" y="336"/>
                  <a:pt x="860" y="336"/>
                </a:cubicBezTo>
                <a:close/>
                <a:moveTo>
                  <a:pt x="1513" y="323"/>
                </a:moveTo>
                <a:cubicBezTo>
                  <a:pt x="1513" y="323"/>
                  <a:pt x="1513" y="323"/>
                  <a:pt x="1513" y="323"/>
                </a:cubicBezTo>
                <a:cubicBezTo>
                  <a:pt x="1514" y="322"/>
                  <a:pt x="1514" y="323"/>
                  <a:pt x="1514" y="322"/>
                </a:cubicBezTo>
                <a:cubicBezTo>
                  <a:pt x="1514" y="322"/>
                  <a:pt x="1513" y="322"/>
                  <a:pt x="1512" y="322"/>
                </a:cubicBezTo>
                <a:cubicBezTo>
                  <a:pt x="1513" y="322"/>
                  <a:pt x="1512" y="322"/>
                  <a:pt x="1513" y="323"/>
                </a:cubicBezTo>
                <a:close/>
                <a:moveTo>
                  <a:pt x="1507" y="323"/>
                </a:moveTo>
                <a:cubicBezTo>
                  <a:pt x="1509" y="322"/>
                  <a:pt x="1508" y="322"/>
                  <a:pt x="1509" y="321"/>
                </a:cubicBezTo>
                <a:cubicBezTo>
                  <a:pt x="1510" y="319"/>
                  <a:pt x="1511" y="320"/>
                  <a:pt x="1512" y="318"/>
                </a:cubicBezTo>
                <a:cubicBezTo>
                  <a:pt x="1510" y="318"/>
                  <a:pt x="1510" y="318"/>
                  <a:pt x="1509" y="319"/>
                </a:cubicBezTo>
                <a:cubicBezTo>
                  <a:pt x="1509" y="320"/>
                  <a:pt x="1508" y="321"/>
                  <a:pt x="1507" y="323"/>
                </a:cubicBezTo>
                <a:cubicBezTo>
                  <a:pt x="1509" y="322"/>
                  <a:pt x="1507" y="323"/>
                  <a:pt x="1507" y="323"/>
                </a:cubicBezTo>
                <a:close/>
                <a:moveTo>
                  <a:pt x="526" y="310"/>
                </a:moveTo>
                <a:cubicBezTo>
                  <a:pt x="526" y="310"/>
                  <a:pt x="525" y="310"/>
                  <a:pt x="525" y="311"/>
                </a:cubicBezTo>
                <a:cubicBezTo>
                  <a:pt x="526" y="311"/>
                  <a:pt x="526" y="311"/>
                  <a:pt x="526" y="310"/>
                </a:cubicBezTo>
                <a:close/>
                <a:moveTo>
                  <a:pt x="430" y="311"/>
                </a:moveTo>
                <a:cubicBezTo>
                  <a:pt x="430" y="310"/>
                  <a:pt x="429" y="310"/>
                  <a:pt x="429" y="310"/>
                </a:cubicBezTo>
                <a:cubicBezTo>
                  <a:pt x="429" y="311"/>
                  <a:pt x="429" y="311"/>
                  <a:pt x="430" y="312"/>
                </a:cubicBezTo>
                <a:cubicBezTo>
                  <a:pt x="430" y="311"/>
                  <a:pt x="430" y="311"/>
                  <a:pt x="430" y="311"/>
                </a:cubicBezTo>
                <a:cubicBezTo>
                  <a:pt x="430" y="310"/>
                  <a:pt x="430" y="311"/>
                  <a:pt x="430" y="311"/>
                </a:cubicBezTo>
                <a:close/>
                <a:moveTo>
                  <a:pt x="1522" y="309"/>
                </a:moveTo>
                <a:cubicBezTo>
                  <a:pt x="1521" y="310"/>
                  <a:pt x="1520" y="315"/>
                  <a:pt x="1519" y="313"/>
                </a:cubicBezTo>
                <a:cubicBezTo>
                  <a:pt x="1519" y="312"/>
                  <a:pt x="1518" y="312"/>
                  <a:pt x="1518" y="313"/>
                </a:cubicBezTo>
                <a:cubicBezTo>
                  <a:pt x="1518" y="313"/>
                  <a:pt x="1518" y="314"/>
                  <a:pt x="1517" y="314"/>
                </a:cubicBezTo>
                <a:cubicBezTo>
                  <a:pt x="1516" y="314"/>
                  <a:pt x="1516" y="315"/>
                  <a:pt x="1515" y="315"/>
                </a:cubicBezTo>
                <a:cubicBezTo>
                  <a:pt x="1514" y="315"/>
                  <a:pt x="1515" y="316"/>
                  <a:pt x="1514" y="316"/>
                </a:cubicBezTo>
                <a:cubicBezTo>
                  <a:pt x="1513" y="316"/>
                  <a:pt x="1513" y="317"/>
                  <a:pt x="1514" y="317"/>
                </a:cubicBezTo>
                <a:cubicBezTo>
                  <a:pt x="1515" y="317"/>
                  <a:pt x="1516" y="315"/>
                  <a:pt x="1518" y="315"/>
                </a:cubicBezTo>
                <a:cubicBezTo>
                  <a:pt x="1519" y="315"/>
                  <a:pt x="1519" y="314"/>
                  <a:pt x="1519" y="314"/>
                </a:cubicBezTo>
                <a:cubicBezTo>
                  <a:pt x="1519" y="314"/>
                  <a:pt x="1520" y="314"/>
                  <a:pt x="1520" y="314"/>
                </a:cubicBezTo>
                <a:cubicBezTo>
                  <a:pt x="1520" y="313"/>
                  <a:pt x="1521" y="313"/>
                  <a:pt x="1521" y="313"/>
                </a:cubicBezTo>
                <a:cubicBezTo>
                  <a:pt x="1522" y="313"/>
                  <a:pt x="1521" y="313"/>
                  <a:pt x="1522" y="312"/>
                </a:cubicBezTo>
                <a:cubicBezTo>
                  <a:pt x="1522" y="312"/>
                  <a:pt x="1522" y="312"/>
                  <a:pt x="1522" y="311"/>
                </a:cubicBezTo>
                <a:cubicBezTo>
                  <a:pt x="1522" y="310"/>
                  <a:pt x="1522" y="310"/>
                  <a:pt x="1522" y="309"/>
                </a:cubicBezTo>
                <a:cubicBezTo>
                  <a:pt x="1521" y="311"/>
                  <a:pt x="1522" y="309"/>
                  <a:pt x="1522" y="309"/>
                </a:cubicBezTo>
                <a:close/>
                <a:moveTo>
                  <a:pt x="1479" y="328"/>
                </a:moveTo>
                <a:cubicBezTo>
                  <a:pt x="1479" y="329"/>
                  <a:pt x="1479" y="330"/>
                  <a:pt x="1480" y="331"/>
                </a:cubicBezTo>
                <a:cubicBezTo>
                  <a:pt x="1480" y="332"/>
                  <a:pt x="1481" y="331"/>
                  <a:pt x="1481" y="332"/>
                </a:cubicBezTo>
                <a:cubicBezTo>
                  <a:pt x="1481" y="333"/>
                  <a:pt x="1481" y="333"/>
                  <a:pt x="1481" y="334"/>
                </a:cubicBezTo>
                <a:cubicBezTo>
                  <a:pt x="1481" y="335"/>
                  <a:pt x="1481" y="335"/>
                  <a:pt x="1482" y="335"/>
                </a:cubicBezTo>
                <a:cubicBezTo>
                  <a:pt x="1482" y="334"/>
                  <a:pt x="1483" y="335"/>
                  <a:pt x="1483" y="334"/>
                </a:cubicBezTo>
                <a:cubicBezTo>
                  <a:pt x="1484" y="333"/>
                  <a:pt x="1484" y="334"/>
                  <a:pt x="1485" y="334"/>
                </a:cubicBezTo>
                <a:cubicBezTo>
                  <a:pt x="1486" y="334"/>
                  <a:pt x="1486" y="334"/>
                  <a:pt x="1486" y="333"/>
                </a:cubicBezTo>
                <a:cubicBezTo>
                  <a:pt x="1485" y="333"/>
                  <a:pt x="1485" y="332"/>
                  <a:pt x="1484" y="332"/>
                </a:cubicBezTo>
                <a:cubicBezTo>
                  <a:pt x="1484" y="332"/>
                  <a:pt x="1484" y="332"/>
                  <a:pt x="1484" y="332"/>
                </a:cubicBezTo>
                <a:cubicBezTo>
                  <a:pt x="1484" y="332"/>
                  <a:pt x="1483" y="331"/>
                  <a:pt x="1482" y="331"/>
                </a:cubicBezTo>
                <a:cubicBezTo>
                  <a:pt x="1482" y="331"/>
                  <a:pt x="1482" y="330"/>
                  <a:pt x="1482" y="330"/>
                </a:cubicBezTo>
                <a:cubicBezTo>
                  <a:pt x="1482" y="329"/>
                  <a:pt x="1484" y="330"/>
                  <a:pt x="1484" y="329"/>
                </a:cubicBezTo>
                <a:cubicBezTo>
                  <a:pt x="1484" y="328"/>
                  <a:pt x="1485" y="329"/>
                  <a:pt x="1485" y="329"/>
                </a:cubicBezTo>
                <a:cubicBezTo>
                  <a:pt x="1486" y="330"/>
                  <a:pt x="1486" y="329"/>
                  <a:pt x="1486" y="329"/>
                </a:cubicBezTo>
                <a:cubicBezTo>
                  <a:pt x="1487" y="329"/>
                  <a:pt x="1487" y="329"/>
                  <a:pt x="1488" y="329"/>
                </a:cubicBezTo>
                <a:cubicBezTo>
                  <a:pt x="1489" y="329"/>
                  <a:pt x="1490" y="330"/>
                  <a:pt x="1490" y="331"/>
                </a:cubicBezTo>
                <a:cubicBezTo>
                  <a:pt x="1491" y="332"/>
                  <a:pt x="1493" y="332"/>
                  <a:pt x="1495" y="332"/>
                </a:cubicBezTo>
                <a:cubicBezTo>
                  <a:pt x="1496" y="332"/>
                  <a:pt x="1496" y="328"/>
                  <a:pt x="1498" y="327"/>
                </a:cubicBezTo>
                <a:cubicBezTo>
                  <a:pt x="1499" y="327"/>
                  <a:pt x="1499" y="326"/>
                  <a:pt x="1501" y="326"/>
                </a:cubicBezTo>
                <a:cubicBezTo>
                  <a:pt x="1501" y="326"/>
                  <a:pt x="1502" y="327"/>
                  <a:pt x="1503" y="327"/>
                </a:cubicBezTo>
                <a:cubicBezTo>
                  <a:pt x="1503" y="326"/>
                  <a:pt x="1503" y="326"/>
                  <a:pt x="1505" y="326"/>
                </a:cubicBezTo>
                <a:cubicBezTo>
                  <a:pt x="1505" y="326"/>
                  <a:pt x="1506" y="325"/>
                  <a:pt x="1507" y="325"/>
                </a:cubicBezTo>
                <a:cubicBezTo>
                  <a:pt x="1507" y="324"/>
                  <a:pt x="1506" y="325"/>
                  <a:pt x="1506" y="324"/>
                </a:cubicBezTo>
                <a:cubicBezTo>
                  <a:pt x="1506" y="323"/>
                  <a:pt x="1505" y="323"/>
                  <a:pt x="1505" y="323"/>
                </a:cubicBezTo>
                <a:cubicBezTo>
                  <a:pt x="1505" y="322"/>
                  <a:pt x="1505" y="322"/>
                  <a:pt x="1505" y="321"/>
                </a:cubicBezTo>
                <a:cubicBezTo>
                  <a:pt x="1505" y="321"/>
                  <a:pt x="1504" y="321"/>
                  <a:pt x="1504" y="321"/>
                </a:cubicBezTo>
                <a:cubicBezTo>
                  <a:pt x="1503" y="321"/>
                  <a:pt x="1503" y="321"/>
                  <a:pt x="1502" y="321"/>
                </a:cubicBezTo>
                <a:cubicBezTo>
                  <a:pt x="1501" y="321"/>
                  <a:pt x="1501" y="319"/>
                  <a:pt x="1501" y="319"/>
                </a:cubicBezTo>
                <a:cubicBezTo>
                  <a:pt x="1500" y="319"/>
                  <a:pt x="1498" y="319"/>
                  <a:pt x="1498" y="320"/>
                </a:cubicBezTo>
                <a:cubicBezTo>
                  <a:pt x="1497" y="320"/>
                  <a:pt x="1497" y="320"/>
                  <a:pt x="1496" y="319"/>
                </a:cubicBezTo>
                <a:cubicBezTo>
                  <a:pt x="1495" y="319"/>
                  <a:pt x="1495" y="318"/>
                  <a:pt x="1494" y="317"/>
                </a:cubicBezTo>
                <a:cubicBezTo>
                  <a:pt x="1494" y="316"/>
                  <a:pt x="1493" y="315"/>
                  <a:pt x="1492" y="313"/>
                </a:cubicBezTo>
                <a:cubicBezTo>
                  <a:pt x="1492" y="313"/>
                  <a:pt x="1492" y="313"/>
                  <a:pt x="1492" y="313"/>
                </a:cubicBezTo>
                <a:cubicBezTo>
                  <a:pt x="1491" y="312"/>
                  <a:pt x="1491" y="313"/>
                  <a:pt x="1491" y="312"/>
                </a:cubicBezTo>
                <a:cubicBezTo>
                  <a:pt x="1490" y="311"/>
                  <a:pt x="1490" y="311"/>
                  <a:pt x="1489" y="310"/>
                </a:cubicBezTo>
                <a:cubicBezTo>
                  <a:pt x="1489" y="310"/>
                  <a:pt x="1489" y="310"/>
                  <a:pt x="1489" y="309"/>
                </a:cubicBezTo>
                <a:cubicBezTo>
                  <a:pt x="1487" y="310"/>
                  <a:pt x="1487" y="310"/>
                  <a:pt x="1486" y="312"/>
                </a:cubicBezTo>
                <a:cubicBezTo>
                  <a:pt x="1487" y="312"/>
                  <a:pt x="1488" y="313"/>
                  <a:pt x="1488" y="314"/>
                </a:cubicBezTo>
                <a:cubicBezTo>
                  <a:pt x="1489" y="315"/>
                  <a:pt x="1489" y="315"/>
                  <a:pt x="1489" y="316"/>
                </a:cubicBezTo>
                <a:cubicBezTo>
                  <a:pt x="1488" y="316"/>
                  <a:pt x="1488" y="317"/>
                  <a:pt x="1488" y="317"/>
                </a:cubicBezTo>
                <a:cubicBezTo>
                  <a:pt x="1488" y="318"/>
                  <a:pt x="1488" y="319"/>
                  <a:pt x="1488" y="319"/>
                </a:cubicBezTo>
                <a:cubicBezTo>
                  <a:pt x="1488" y="321"/>
                  <a:pt x="1486" y="321"/>
                  <a:pt x="1486" y="322"/>
                </a:cubicBezTo>
                <a:cubicBezTo>
                  <a:pt x="1487" y="323"/>
                  <a:pt x="1487" y="323"/>
                  <a:pt x="1487" y="324"/>
                </a:cubicBezTo>
                <a:cubicBezTo>
                  <a:pt x="1487" y="325"/>
                  <a:pt x="1487" y="325"/>
                  <a:pt x="1486" y="326"/>
                </a:cubicBezTo>
                <a:cubicBezTo>
                  <a:pt x="1485" y="326"/>
                  <a:pt x="1485" y="326"/>
                  <a:pt x="1484" y="325"/>
                </a:cubicBezTo>
                <a:cubicBezTo>
                  <a:pt x="1483" y="325"/>
                  <a:pt x="1483" y="324"/>
                  <a:pt x="1483" y="324"/>
                </a:cubicBezTo>
                <a:cubicBezTo>
                  <a:pt x="1482" y="324"/>
                  <a:pt x="1482" y="324"/>
                  <a:pt x="1482" y="324"/>
                </a:cubicBezTo>
                <a:cubicBezTo>
                  <a:pt x="1482" y="324"/>
                  <a:pt x="1482" y="324"/>
                  <a:pt x="1481" y="324"/>
                </a:cubicBezTo>
                <a:cubicBezTo>
                  <a:pt x="1482" y="324"/>
                  <a:pt x="1481" y="325"/>
                  <a:pt x="1481" y="324"/>
                </a:cubicBezTo>
                <a:cubicBezTo>
                  <a:pt x="1481" y="325"/>
                  <a:pt x="1482" y="325"/>
                  <a:pt x="1482" y="325"/>
                </a:cubicBezTo>
                <a:cubicBezTo>
                  <a:pt x="1482" y="326"/>
                  <a:pt x="1482" y="327"/>
                  <a:pt x="1481" y="327"/>
                </a:cubicBezTo>
                <a:cubicBezTo>
                  <a:pt x="1480" y="327"/>
                  <a:pt x="1480" y="328"/>
                  <a:pt x="1479" y="328"/>
                </a:cubicBezTo>
                <a:cubicBezTo>
                  <a:pt x="1479" y="330"/>
                  <a:pt x="1479" y="328"/>
                  <a:pt x="1479" y="328"/>
                </a:cubicBezTo>
                <a:close/>
                <a:moveTo>
                  <a:pt x="406" y="307"/>
                </a:moveTo>
                <a:cubicBezTo>
                  <a:pt x="406" y="306"/>
                  <a:pt x="406" y="307"/>
                  <a:pt x="406" y="306"/>
                </a:cubicBezTo>
                <a:cubicBezTo>
                  <a:pt x="406" y="307"/>
                  <a:pt x="406" y="307"/>
                  <a:pt x="406" y="308"/>
                </a:cubicBezTo>
                <a:cubicBezTo>
                  <a:pt x="406" y="308"/>
                  <a:pt x="407" y="307"/>
                  <a:pt x="406" y="307"/>
                </a:cubicBezTo>
                <a:cubicBezTo>
                  <a:pt x="406" y="306"/>
                  <a:pt x="406" y="307"/>
                  <a:pt x="406" y="307"/>
                </a:cubicBezTo>
                <a:close/>
                <a:moveTo>
                  <a:pt x="428" y="308"/>
                </a:moveTo>
                <a:cubicBezTo>
                  <a:pt x="428" y="308"/>
                  <a:pt x="428" y="308"/>
                  <a:pt x="428" y="308"/>
                </a:cubicBezTo>
                <a:cubicBezTo>
                  <a:pt x="426" y="307"/>
                  <a:pt x="425" y="306"/>
                  <a:pt x="422" y="306"/>
                </a:cubicBezTo>
                <a:cubicBezTo>
                  <a:pt x="422" y="308"/>
                  <a:pt x="427" y="308"/>
                  <a:pt x="428" y="308"/>
                </a:cubicBezTo>
                <a:close/>
                <a:moveTo>
                  <a:pt x="1526" y="309"/>
                </a:moveTo>
                <a:cubicBezTo>
                  <a:pt x="1526" y="309"/>
                  <a:pt x="1526" y="309"/>
                  <a:pt x="1526" y="310"/>
                </a:cubicBezTo>
                <a:cubicBezTo>
                  <a:pt x="1526" y="310"/>
                  <a:pt x="1526" y="310"/>
                  <a:pt x="1526" y="310"/>
                </a:cubicBezTo>
                <a:cubicBezTo>
                  <a:pt x="1527" y="310"/>
                  <a:pt x="1529" y="309"/>
                  <a:pt x="1529" y="308"/>
                </a:cubicBezTo>
                <a:cubicBezTo>
                  <a:pt x="1529" y="307"/>
                  <a:pt x="1530" y="306"/>
                  <a:pt x="1530" y="305"/>
                </a:cubicBezTo>
                <a:cubicBezTo>
                  <a:pt x="1529" y="306"/>
                  <a:pt x="1528" y="305"/>
                  <a:pt x="1528" y="306"/>
                </a:cubicBezTo>
                <a:cubicBezTo>
                  <a:pt x="1528" y="306"/>
                  <a:pt x="1528" y="307"/>
                  <a:pt x="1528" y="307"/>
                </a:cubicBezTo>
                <a:cubicBezTo>
                  <a:pt x="1527" y="307"/>
                  <a:pt x="1527" y="306"/>
                  <a:pt x="1527" y="307"/>
                </a:cubicBezTo>
                <a:cubicBezTo>
                  <a:pt x="1527" y="308"/>
                  <a:pt x="1527" y="308"/>
                  <a:pt x="1526" y="309"/>
                </a:cubicBezTo>
                <a:cubicBezTo>
                  <a:pt x="1526" y="309"/>
                  <a:pt x="1526" y="309"/>
                  <a:pt x="1526" y="309"/>
                </a:cubicBezTo>
                <a:close/>
                <a:moveTo>
                  <a:pt x="1105" y="306"/>
                </a:moveTo>
                <a:cubicBezTo>
                  <a:pt x="1106" y="306"/>
                  <a:pt x="1106" y="306"/>
                  <a:pt x="1105" y="305"/>
                </a:cubicBezTo>
                <a:cubicBezTo>
                  <a:pt x="1105" y="306"/>
                  <a:pt x="1105" y="306"/>
                  <a:pt x="1105" y="306"/>
                </a:cubicBezTo>
                <a:close/>
                <a:moveTo>
                  <a:pt x="420" y="306"/>
                </a:moveTo>
                <a:cubicBezTo>
                  <a:pt x="420" y="305"/>
                  <a:pt x="420" y="305"/>
                  <a:pt x="420" y="305"/>
                </a:cubicBezTo>
                <a:cubicBezTo>
                  <a:pt x="420" y="306"/>
                  <a:pt x="420" y="306"/>
                  <a:pt x="420" y="306"/>
                </a:cubicBezTo>
                <a:close/>
                <a:moveTo>
                  <a:pt x="534" y="306"/>
                </a:moveTo>
                <a:cubicBezTo>
                  <a:pt x="534" y="305"/>
                  <a:pt x="534" y="304"/>
                  <a:pt x="534" y="305"/>
                </a:cubicBezTo>
                <a:cubicBezTo>
                  <a:pt x="534" y="305"/>
                  <a:pt x="534" y="305"/>
                  <a:pt x="533" y="305"/>
                </a:cubicBezTo>
                <a:cubicBezTo>
                  <a:pt x="534" y="304"/>
                  <a:pt x="535" y="304"/>
                  <a:pt x="534" y="303"/>
                </a:cubicBezTo>
                <a:cubicBezTo>
                  <a:pt x="534" y="303"/>
                  <a:pt x="534" y="303"/>
                  <a:pt x="534" y="303"/>
                </a:cubicBezTo>
                <a:cubicBezTo>
                  <a:pt x="534" y="303"/>
                  <a:pt x="534" y="303"/>
                  <a:pt x="533" y="303"/>
                </a:cubicBezTo>
                <a:cubicBezTo>
                  <a:pt x="533" y="304"/>
                  <a:pt x="533" y="303"/>
                  <a:pt x="531" y="304"/>
                </a:cubicBezTo>
                <a:cubicBezTo>
                  <a:pt x="531" y="304"/>
                  <a:pt x="530" y="304"/>
                  <a:pt x="530" y="305"/>
                </a:cubicBezTo>
                <a:cubicBezTo>
                  <a:pt x="530" y="305"/>
                  <a:pt x="531" y="305"/>
                  <a:pt x="531" y="305"/>
                </a:cubicBezTo>
                <a:cubicBezTo>
                  <a:pt x="530" y="306"/>
                  <a:pt x="530" y="306"/>
                  <a:pt x="530" y="307"/>
                </a:cubicBezTo>
                <a:cubicBezTo>
                  <a:pt x="530" y="308"/>
                  <a:pt x="530" y="308"/>
                  <a:pt x="530" y="308"/>
                </a:cubicBezTo>
                <a:cubicBezTo>
                  <a:pt x="531" y="308"/>
                  <a:pt x="533" y="308"/>
                  <a:pt x="533" y="307"/>
                </a:cubicBezTo>
                <a:cubicBezTo>
                  <a:pt x="533" y="306"/>
                  <a:pt x="533" y="306"/>
                  <a:pt x="534" y="306"/>
                </a:cubicBezTo>
                <a:cubicBezTo>
                  <a:pt x="534" y="305"/>
                  <a:pt x="534" y="306"/>
                  <a:pt x="534" y="306"/>
                </a:cubicBezTo>
                <a:close/>
                <a:moveTo>
                  <a:pt x="1536" y="303"/>
                </a:moveTo>
                <a:cubicBezTo>
                  <a:pt x="1536" y="302"/>
                  <a:pt x="1536" y="302"/>
                  <a:pt x="1535" y="302"/>
                </a:cubicBezTo>
                <a:cubicBezTo>
                  <a:pt x="1535" y="302"/>
                  <a:pt x="1535" y="302"/>
                  <a:pt x="1536" y="303"/>
                </a:cubicBezTo>
                <a:close/>
                <a:moveTo>
                  <a:pt x="1536" y="302"/>
                </a:moveTo>
                <a:cubicBezTo>
                  <a:pt x="1536" y="303"/>
                  <a:pt x="1537" y="302"/>
                  <a:pt x="1537" y="301"/>
                </a:cubicBezTo>
                <a:cubicBezTo>
                  <a:pt x="1538" y="300"/>
                  <a:pt x="1538" y="301"/>
                  <a:pt x="1538" y="299"/>
                </a:cubicBezTo>
                <a:cubicBezTo>
                  <a:pt x="1536" y="300"/>
                  <a:pt x="1537" y="301"/>
                  <a:pt x="1536" y="302"/>
                </a:cubicBezTo>
                <a:close/>
                <a:moveTo>
                  <a:pt x="519" y="304"/>
                </a:moveTo>
                <a:cubicBezTo>
                  <a:pt x="520" y="305"/>
                  <a:pt x="521" y="305"/>
                  <a:pt x="522" y="304"/>
                </a:cubicBezTo>
                <a:cubicBezTo>
                  <a:pt x="521" y="304"/>
                  <a:pt x="521" y="303"/>
                  <a:pt x="521" y="302"/>
                </a:cubicBezTo>
                <a:cubicBezTo>
                  <a:pt x="521" y="302"/>
                  <a:pt x="521" y="302"/>
                  <a:pt x="521" y="302"/>
                </a:cubicBezTo>
                <a:cubicBezTo>
                  <a:pt x="520" y="302"/>
                  <a:pt x="518" y="302"/>
                  <a:pt x="516" y="302"/>
                </a:cubicBezTo>
                <a:cubicBezTo>
                  <a:pt x="516" y="302"/>
                  <a:pt x="517" y="301"/>
                  <a:pt x="516" y="301"/>
                </a:cubicBezTo>
                <a:cubicBezTo>
                  <a:pt x="515" y="301"/>
                  <a:pt x="516" y="302"/>
                  <a:pt x="516" y="302"/>
                </a:cubicBezTo>
                <a:cubicBezTo>
                  <a:pt x="515" y="302"/>
                  <a:pt x="515" y="302"/>
                  <a:pt x="514" y="302"/>
                </a:cubicBezTo>
                <a:cubicBezTo>
                  <a:pt x="514" y="302"/>
                  <a:pt x="514" y="302"/>
                  <a:pt x="514" y="301"/>
                </a:cubicBezTo>
                <a:cubicBezTo>
                  <a:pt x="514" y="301"/>
                  <a:pt x="513" y="301"/>
                  <a:pt x="513" y="301"/>
                </a:cubicBezTo>
                <a:cubicBezTo>
                  <a:pt x="513" y="300"/>
                  <a:pt x="514" y="299"/>
                  <a:pt x="514" y="298"/>
                </a:cubicBezTo>
                <a:cubicBezTo>
                  <a:pt x="512" y="298"/>
                  <a:pt x="513" y="298"/>
                  <a:pt x="513" y="299"/>
                </a:cubicBezTo>
                <a:cubicBezTo>
                  <a:pt x="512" y="300"/>
                  <a:pt x="512" y="300"/>
                  <a:pt x="512" y="300"/>
                </a:cubicBezTo>
                <a:cubicBezTo>
                  <a:pt x="512" y="300"/>
                  <a:pt x="512" y="301"/>
                  <a:pt x="511" y="300"/>
                </a:cubicBezTo>
                <a:cubicBezTo>
                  <a:pt x="512" y="302"/>
                  <a:pt x="512" y="302"/>
                  <a:pt x="513" y="302"/>
                </a:cubicBezTo>
                <a:cubicBezTo>
                  <a:pt x="514" y="302"/>
                  <a:pt x="513" y="303"/>
                  <a:pt x="514" y="303"/>
                </a:cubicBezTo>
                <a:cubicBezTo>
                  <a:pt x="515" y="303"/>
                  <a:pt x="515" y="303"/>
                  <a:pt x="516" y="303"/>
                </a:cubicBezTo>
                <a:cubicBezTo>
                  <a:pt x="516" y="304"/>
                  <a:pt x="517" y="304"/>
                  <a:pt x="517" y="304"/>
                </a:cubicBezTo>
                <a:cubicBezTo>
                  <a:pt x="518" y="304"/>
                  <a:pt x="518" y="303"/>
                  <a:pt x="518" y="303"/>
                </a:cubicBezTo>
                <a:cubicBezTo>
                  <a:pt x="519" y="303"/>
                  <a:pt x="519" y="303"/>
                  <a:pt x="520" y="303"/>
                </a:cubicBezTo>
                <a:cubicBezTo>
                  <a:pt x="520" y="303"/>
                  <a:pt x="520" y="303"/>
                  <a:pt x="519" y="304"/>
                </a:cubicBezTo>
                <a:cubicBezTo>
                  <a:pt x="519" y="304"/>
                  <a:pt x="519" y="304"/>
                  <a:pt x="519" y="304"/>
                </a:cubicBezTo>
                <a:close/>
                <a:moveTo>
                  <a:pt x="530" y="303"/>
                </a:moveTo>
                <a:cubicBezTo>
                  <a:pt x="529" y="303"/>
                  <a:pt x="529" y="303"/>
                  <a:pt x="529" y="303"/>
                </a:cubicBezTo>
                <a:cubicBezTo>
                  <a:pt x="529" y="302"/>
                  <a:pt x="530" y="302"/>
                  <a:pt x="530" y="301"/>
                </a:cubicBezTo>
                <a:cubicBezTo>
                  <a:pt x="530" y="300"/>
                  <a:pt x="530" y="300"/>
                  <a:pt x="530" y="300"/>
                </a:cubicBezTo>
                <a:cubicBezTo>
                  <a:pt x="531" y="300"/>
                  <a:pt x="530" y="299"/>
                  <a:pt x="531" y="299"/>
                </a:cubicBezTo>
                <a:cubicBezTo>
                  <a:pt x="531" y="299"/>
                  <a:pt x="533" y="299"/>
                  <a:pt x="533" y="299"/>
                </a:cubicBezTo>
                <a:cubicBezTo>
                  <a:pt x="533" y="299"/>
                  <a:pt x="533" y="298"/>
                  <a:pt x="534" y="298"/>
                </a:cubicBezTo>
                <a:cubicBezTo>
                  <a:pt x="534" y="298"/>
                  <a:pt x="534" y="298"/>
                  <a:pt x="534" y="297"/>
                </a:cubicBezTo>
                <a:cubicBezTo>
                  <a:pt x="533" y="297"/>
                  <a:pt x="532" y="298"/>
                  <a:pt x="531" y="298"/>
                </a:cubicBezTo>
                <a:cubicBezTo>
                  <a:pt x="530" y="299"/>
                  <a:pt x="530" y="298"/>
                  <a:pt x="529" y="298"/>
                </a:cubicBezTo>
                <a:cubicBezTo>
                  <a:pt x="529" y="298"/>
                  <a:pt x="529" y="299"/>
                  <a:pt x="528" y="299"/>
                </a:cubicBezTo>
                <a:cubicBezTo>
                  <a:pt x="527" y="300"/>
                  <a:pt x="528" y="300"/>
                  <a:pt x="528" y="301"/>
                </a:cubicBezTo>
                <a:cubicBezTo>
                  <a:pt x="527" y="301"/>
                  <a:pt x="527" y="302"/>
                  <a:pt x="527" y="301"/>
                </a:cubicBezTo>
                <a:cubicBezTo>
                  <a:pt x="526" y="302"/>
                  <a:pt x="527" y="302"/>
                  <a:pt x="526" y="302"/>
                </a:cubicBezTo>
                <a:cubicBezTo>
                  <a:pt x="525" y="303"/>
                  <a:pt x="526" y="303"/>
                  <a:pt x="526" y="304"/>
                </a:cubicBezTo>
                <a:cubicBezTo>
                  <a:pt x="525" y="304"/>
                  <a:pt x="525" y="304"/>
                  <a:pt x="525" y="305"/>
                </a:cubicBezTo>
                <a:cubicBezTo>
                  <a:pt x="525" y="305"/>
                  <a:pt x="525" y="306"/>
                  <a:pt x="525" y="307"/>
                </a:cubicBezTo>
                <a:cubicBezTo>
                  <a:pt x="525" y="307"/>
                  <a:pt x="526" y="308"/>
                  <a:pt x="527" y="308"/>
                </a:cubicBezTo>
                <a:cubicBezTo>
                  <a:pt x="527" y="308"/>
                  <a:pt x="527" y="308"/>
                  <a:pt x="527" y="308"/>
                </a:cubicBezTo>
                <a:cubicBezTo>
                  <a:pt x="528" y="308"/>
                  <a:pt x="528" y="308"/>
                  <a:pt x="528" y="308"/>
                </a:cubicBezTo>
                <a:cubicBezTo>
                  <a:pt x="528" y="308"/>
                  <a:pt x="528" y="308"/>
                  <a:pt x="527" y="308"/>
                </a:cubicBezTo>
                <a:cubicBezTo>
                  <a:pt x="527" y="307"/>
                  <a:pt x="528" y="306"/>
                  <a:pt x="528" y="305"/>
                </a:cubicBezTo>
                <a:cubicBezTo>
                  <a:pt x="529" y="304"/>
                  <a:pt x="529" y="304"/>
                  <a:pt x="530" y="303"/>
                </a:cubicBezTo>
                <a:close/>
                <a:moveTo>
                  <a:pt x="555" y="295"/>
                </a:moveTo>
                <a:cubicBezTo>
                  <a:pt x="555" y="296"/>
                  <a:pt x="555" y="297"/>
                  <a:pt x="556" y="298"/>
                </a:cubicBezTo>
                <a:cubicBezTo>
                  <a:pt x="556" y="297"/>
                  <a:pt x="556" y="294"/>
                  <a:pt x="555" y="295"/>
                </a:cubicBezTo>
                <a:cubicBezTo>
                  <a:pt x="555" y="296"/>
                  <a:pt x="555" y="295"/>
                  <a:pt x="555" y="295"/>
                </a:cubicBezTo>
                <a:close/>
                <a:moveTo>
                  <a:pt x="525" y="293"/>
                </a:moveTo>
                <a:cubicBezTo>
                  <a:pt x="525" y="293"/>
                  <a:pt x="523" y="293"/>
                  <a:pt x="523" y="294"/>
                </a:cubicBezTo>
                <a:cubicBezTo>
                  <a:pt x="524" y="294"/>
                  <a:pt x="526" y="293"/>
                  <a:pt x="525" y="293"/>
                </a:cubicBezTo>
                <a:cubicBezTo>
                  <a:pt x="524" y="293"/>
                  <a:pt x="525" y="293"/>
                  <a:pt x="525" y="293"/>
                </a:cubicBezTo>
                <a:close/>
                <a:moveTo>
                  <a:pt x="394" y="290"/>
                </a:moveTo>
                <a:cubicBezTo>
                  <a:pt x="394" y="289"/>
                  <a:pt x="394" y="289"/>
                  <a:pt x="394" y="289"/>
                </a:cubicBezTo>
                <a:cubicBezTo>
                  <a:pt x="394" y="289"/>
                  <a:pt x="393" y="289"/>
                  <a:pt x="393" y="289"/>
                </a:cubicBezTo>
                <a:cubicBezTo>
                  <a:pt x="393" y="289"/>
                  <a:pt x="393" y="289"/>
                  <a:pt x="394" y="290"/>
                </a:cubicBezTo>
                <a:close/>
                <a:moveTo>
                  <a:pt x="1548" y="288"/>
                </a:moveTo>
                <a:cubicBezTo>
                  <a:pt x="1547" y="288"/>
                  <a:pt x="1547" y="288"/>
                  <a:pt x="1548" y="288"/>
                </a:cubicBezTo>
                <a:cubicBezTo>
                  <a:pt x="1548" y="288"/>
                  <a:pt x="1548" y="288"/>
                  <a:pt x="1548" y="288"/>
                </a:cubicBezTo>
                <a:close/>
                <a:moveTo>
                  <a:pt x="399" y="286"/>
                </a:moveTo>
                <a:cubicBezTo>
                  <a:pt x="399" y="286"/>
                  <a:pt x="399" y="286"/>
                  <a:pt x="399" y="286"/>
                </a:cubicBezTo>
                <a:cubicBezTo>
                  <a:pt x="399" y="286"/>
                  <a:pt x="399" y="286"/>
                  <a:pt x="400" y="286"/>
                </a:cubicBezTo>
                <a:cubicBezTo>
                  <a:pt x="400" y="286"/>
                  <a:pt x="399" y="286"/>
                  <a:pt x="399" y="286"/>
                </a:cubicBezTo>
                <a:cubicBezTo>
                  <a:pt x="399" y="286"/>
                  <a:pt x="399" y="286"/>
                  <a:pt x="399" y="286"/>
                </a:cubicBezTo>
                <a:close/>
                <a:moveTo>
                  <a:pt x="1551" y="284"/>
                </a:moveTo>
                <a:cubicBezTo>
                  <a:pt x="1551" y="284"/>
                  <a:pt x="1551" y="283"/>
                  <a:pt x="1552" y="283"/>
                </a:cubicBezTo>
                <a:cubicBezTo>
                  <a:pt x="1551" y="283"/>
                  <a:pt x="1550" y="283"/>
                  <a:pt x="1551" y="284"/>
                </a:cubicBezTo>
                <a:cubicBezTo>
                  <a:pt x="1551" y="284"/>
                  <a:pt x="1551" y="284"/>
                  <a:pt x="1551" y="284"/>
                </a:cubicBezTo>
                <a:cubicBezTo>
                  <a:pt x="1551" y="284"/>
                  <a:pt x="1551" y="284"/>
                  <a:pt x="1551" y="284"/>
                </a:cubicBezTo>
                <a:close/>
                <a:moveTo>
                  <a:pt x="523" y="284"/>
                </a:moveTo>
                <a:cubicBezTo>
                  <a:pt x="523" y="283"/>
                  <a:pt x="522" y="282"/>
                  <a:pt x="522" y="282"/>
                </a:cubicBezTo>
                <a:cubicBezTo>
                  <a:pt x="521" y="282"/>
                  <a:pt x="521" y="282"/>
                  <a:pt x="520" y="282"/>
                </a:cubicBezTo>
                <a:cubicBezTo>
                  <a:pt x="520" y="281"/>
                  <a:pt x="520" y="281"/>
                  <a:pt x="519" y="281"/>
                </a:cubicBezTo>
                <a:cubicBezTo>
                  <a:pt x="519" y="279"/>
                  <a:pt x="518" y="280"/>
                  <a:pt x="516" y="279"/>
                </a:cubicBezTo>
                <a:cubicBezTo>
                  <a:pt x="514" y="279"/>
                  <a:pt x="513" y="278"/>
                  <a:pt x="511" y="278"/>
                </a:cubicBezTo>
                <a:cubicBezTo>
                  <a:pt x="511" y="279"/>
                  <a:pt x="510" y="279"/>
                  <a:pt x="512" y="279"/>
                </a:cubicBezTo>
                <a:cubicBezTo>
                  <a:pt x="513" y="279"/>
                  <a:pt x="515" y="281"/>
                  <a:pt x="515" y="282"/>
                </a:cubicBezTo>
                <a:cubicBezTo>
                  <a:pt x="515" y="283"/>
                  <a:pt x="516" y="283"/>
                  <a:pt x="517" y="283"/>
                </a:cubicBezTo>
                <a:cubicBezTo>
                  <a:pt x="518" y="283"/>
                  <a:pt x="518" y="283"/>
                  <a:pt x="519" y="284"/>
                </a:cubicBezTo>
                <a:cubicBezTo>
                  <a:pt x="519" y="284"/>
                  <a:pt x="520" y="284"/>
                  <a:pt x="521" y="284"/>
                </a:cubicBezTo>
                <a:cubicBezTo>
                  <a:pt x="521" y="285"/>
                  <a:pt x="522" y="285"/>
                  <a:pt x="523" y="285"/>
                </a:cubicBezTo>
                <a:cubicBezTo>
                  <a:pt x="523" y="285"/>
                  <a:pt x="523" y="284"/>
                  <a:pt x="523" y="284"/>
                </a:cubicBezTo>
                <a:close/>
                <a:moveTo>
                  <a:pt x="225" y="277"/>
                </a:moveTo>
                <a:cubicBezTo>
                  <a:pt x="225" y="277"/>
                  <a:pt x="225" y="277"/>
                  <a:pt x="225" y="277"/>
                </a:cubicBezTo>
                <a:cubicBezTo>
                  <a:pt x="225" y="278"/>
                  <a:pt x="225" y="279"/>
                  <a:pt x="227" y="279"/>
                </a:cubicBezTo>
                <a:cubicBezTo>
                  <a:pt x="226" y="278"/>
                  <a:pt x="225" y="277"/>
                  <a:pt x="225" y="277"/>
                </a:cubicBezTo>
                <a:close/>
                <a:moveTo>
                  <a:pt x="1558" y="276"/>
                </a:moveTo>
                <a:cubicBezTo>
                  <a:pt x="1558" y="276"/>
                  <a:pt x="1558" y="276"/>
                  <a:pt x="1558" y="276"/>
                </a:cubicBezTo>
                <a:cubicBezTo>
                  <a:pt x="1556" y="276"/>
                  <a:pt x="1555" y="277"/>
                  <a:pt x="1554" y="277"/>
                </a:cubicBezTo>
                <a:cubicBezTo>
                  <a:pt x="1554" y="278"/>
                  <a:pt x="1554" y="278"/>
                  <a:pt x="1554" y="279"/>
                </a:cubicBezTo>
                <a:cubicBezTo>
                  <a:pt x="1555" y="278"/>
                  <a:pt x="1556" y="278"/>
                  <a:pt x="1557" y="277"/>
                </a:cubicBezTo>
                <a:cubicBezTo>
                  <a:pt x="1557" y="277"/>
                  <a:pt x="1557" y="277"/>
                  <a:pt x="1558" y="276"/>
                </a:cubicBezTo>
                <a:close/>
                <a:moveTo>
                  <a:pt x="221" y="276"/>
                </a:moveTo>
                <a:cubicBezTo>
                  <a:pt x="221" y="275"/>
                  <a:pt x="219" y="275"/>
                  <a:pt x="221" y="276"/>
                </a:cubicBezTo>
                <a:close/>
                <a:moveTo>
                  <a:pt x="810" y="275"/>
                </a:moveTo>
                <a:cubicBezTo>
                  <a:pt x="811" y="274"/>
                  <a:pt x="809" y="274"/>
                  <a:pt x="809" y="275"/>
                </a:cubicBezTo>
                <a:cubicBezTo>
                  <a:pt x="810" y="275"/>
                  <a:pt x="810" y="275"/>
                  <a:pt x="810" y="275"/>
                </a:cubicBezTo>
                <a:close/>
                <a:moveTo>
                  <a:pt x="208" y="272"/>
                </a:moveTo>
                <a:cubicBezTo>
                  <a:pt x="207" y="272"/>
                  <a:pt x="205" y="272"/>
                  <a:pt x="206" y="274"/>
                </a:cubicBezTo>
                <a:cubicBezTo>
                  <a:pt x="207" y="274"/>
                  <a:pt x="207" y="274"/>
                  <a:pt x="207" y="274"/>
                </a:cubicBezTo>
                <a:cubicBezTo>
                  <a:pt x="207" y="275"/>
                  <a:pt x="207" y="275"/>
                  <a:pt x="207" y="275"/>
                </a:cubicBezTo>
                <a:cubicBezTo>
                  <a:pt x="207" y="276"/>
                  <a:pt x="208" y="277"/>
                  <a:pt x="208" y="278"/>
                </a:cubicBezTo>
                <a:cubicBezTo>
                  <a:pt x="209" y="278"/>
                  <a:pt x="209" y="277"/>
                  <a:pt x="210" y="277"/>
                </a:cubicBezTo>
                <a:cubicBezTo>
                  <a:pt x="210" y="277"/>
                  <a:pt x="210" y="276"/>
                  <a:pt x="210" y="276"/>
                </a:cubicBezTo>
                <a:cubicBezTo>
                  <a:pt x="210" y="277"/>
                  <a:pt x="211" y="277"/>
                  <a:pt x="211" y="278"/>
                </a:cubicBezTo>
                <a:cubicBezTo>
                  <a:pt x="211" y="278"/>
                  <a:pt x="212" y="278"/>
                  <a:pt x="212" y="277"/>
                </a:cubicBezTo>
                <a:cubicBezTo>
                  <a:pt x="212" y="277"/>
                  <a:pt x="213" y="277"/>
                  <a:pt x="213" y="277"/>
                </a:cubicBezTo>
                <a:cubicBezTo>
                  <a:pt x="214" y="277"/>
                  <a:pt x="215" y="277"/>
                  <a:pt x="215" y="278"/>
                </a:cubicBezTo>
                <a:cubicBezTo>
                  <a:pt x="215" y="279"/>
                  <a:pt x="215" y="279"/>
                  <a:pt x="214" y="280"/>
                </a:cubicBezTo>
                <a:cubicBezTo>
                  <a:pt x="215" y="280"/>
                  <a:pt x="214" y="280"/>
                  <a:pt x="215" y="280"/>
                </a:cubicBezTo>
                <a:cubicBezTo>
                  <a:pt x="215" y="280"/>
                  <a:pt x="216" y="280"/>
                  <a:pt x="217" y="280"/>
                </a:cubicBezTo>
                <a:cubicBezTo>
                  <a:pt x="217" y="280"/>
                  <a:pt x="217" y="280"/>
                  <a:pt x="218" y="280"/>
                </a:cubicBezTo>
                <a:cubicBezTo>
                  <a:pt x="218" y="280"/>
                  <a:pt x="218" y="281"/>
                  <a:pt x="218" y="281"/>
                </a:cubicBezTo>
                <a:cubicBezTo>
                  <a:pt x="219" y="281"/>
                  <a:pt x="219" y="281"/>
                  <a:pt x="219" y="281"/>
                </a:cubicBezTo>
                <a:cubicBezTo>
                  <a:pt x="219" y="281"/>
                  <a:pt x="219" y="282"/>
                  <a:pt x="219" y="282"/>
                </a:cubicBezTo>
                <a:cubicBezTo>
                  <a:pt x="219" y="282"/>
                  <a:pt x="221" y="282"/>
                  <a:pt x="221" y="283"/>
                </a:cubicBezTo>
                <a:cubicBezTo>
                  <a:pt x="221" y="283"/>
                  <a:pt x="221" y="283"/>
                  <a:pt x="222" y="282"/>
                </a:cubicBezTo>
                <a:cubicBezTo>
                  <a:pt x="222" y="283"/>
                  <a:pt x="222" y="283"/>
                  <a:pt x="222" y="284"/>
                </a:cubicBezTo>
                <a:cubicBezTo>
                  <a:pt x="221" y="284"/>
                  <a:pt x="222" y="285"/>
                  <a:pt x="223" y="285"/>
                </a:cubicBezTo>
                <a:cubicBezTo>
                  <a:pt x="223" y="286"/>
                  <a:pt x="224" y="285"/>
                  <a:pt x="224" y="286"/>
                </a:cubicBezTo>
                <a:cubicBezTo>
                  <a:pt x="225" y="286"/>
                  <a:pt x="225" y="286"/>
                  <a:pt x="226" y="286"/>
                </a:cubicBezTo>
                <a:cubicBezTo>
                  <a:pt x="226" y="287"/>
                  <a:pt x="228" y="287"/>
                  <a:pt x="229" y="287"/>
                </a:cubicBezTo>
                <a:cubicBezTo>
                  <a:pt x="229" y="287"/>
                  <a:pt x="230" y="287"/>
                  <a:pt x="230" y="287"/>
                </a:cubicBezTo>
                <a:cubicBezTo>
                  <a:pt x="230" y="288"/>
                  <a:pt x="231" y="287"/>
                  <a:pt x="231" y="287"/>
                </a:cubicBezTo>
                <a:cubicBezTo>
                  <a:pt x="231" y="288"/>
                  <a:pt x="232" y="288"/>
                  <a:pt x="233" y="288"/>
                </a:cubicBezTo>
                <a:cubicBezTo>
                  <a:pt x="233" y="287"/>
                  <a:pt x="233" y="285"/>
                  <a:pt x="232" y="285"/>
                </a:cubicBezTo>
                <a:cubicBezTo>
                  <a:pt x="232" y="285"/>
                  <a:pt x="230" y="284"/>
                  <a:pt x="230" y="284"/>
                </a:cubicBezTo>
                <a:cubicBezTo>
                  <a:pt x="230" y="283"/>
                  <a:pt x="230" y="283"/>
                  <a:pt x="230" y="283"/>
                </a:cubicBezTo>
                <a:cubicBezTo>
                  <a:pt x="230" y="283"/>
                  <a:pt x="229" y="283"/>
                  <a:pt x="229" y="282"/>
                </a:cubicBezTo>
                <a:cubicBezTo>
                  <a:pt x="228" y="281"/>
                  <a:pt x="228" y="281"/>
                  <a:pt x="226" y="280"/>
                </a:cubicBezTo>
                <a:cubicBezTo>
                  <a:pt x="226" y="280"/>
                  <a:pt x="222" y="279"/>
                  <a:pt x="222" y="279"/>
                </a:cubicBezTo>
                <a:cubicBezTo>
                  <a:pt x="222" y="278"/>
                  <a:pt x="222" y="278"/>
                  <a:pt x="222" y="277"/>
                </a:cubicBezTo>
                <a:cubicBezTo>
                  <a:pt x="222" y="277"/>
                  <a:pt x="221" y="277"/>
                  <a:pt x="221" y="277"/>
                </a:cubicBezTo>
                <a:cubicBezTo>
                  <a:pt x="221" y="276"/>
                  <a:pt x="219" y="275"/>
                  <a:pt x="219" y="275"/>
                </a:cubicBezTo>
                <a:cubicBezTo>
                  <a:pt x="219" y="274"/>
                  <a:pt x="217" y="274"/>
                  <a:pt x="216" y="274"/>
                </a:cubicBezTo>
                <a:cubicBezTo>
                  <a:pt x="215" y="274"/>
                  <a:pt x="215" y="274"/>
                  <a:pt x="214" y="274"/>
                </a:cubicBezTo>
                <a:cubicBezTo>
                  <a:pt x="214" y="274"/>
                  <a:pt x="214" y="274"/>
                  <a:pt x="213" y="274"/>
                </a:cubicBezTo>
                <a:cubicBezTo>
                  <a:pt x="213" y="274"/>
                  <a:pt x="213" y="274"/>
                  <a:pt x="213" y="273"/>
                </a:cubicBezTo>
                <a:cubicBezTo>
                  <a:pt x="212" y="273"/>
                  <a:pt x="211" y="273"/>
                  <a:pt x="210" y="273"/>
                </a:cubicBezTo>
                <a:cubicBezTo>
                  <a:pt x="209" y="272"/>
                  <a:pt x="209" y="272"/>
                  <a:pt x="209" y="272"/>
                </a:cubicBezTo>
                <a:cubicBezTo>
                  <a:pt x="208" y="272"/>
                  <a:pt x="208" y="272"/>
                  <a:pt x="208" y="272"/>
                </a:cubicBezTo>
                <a:cubicBezTo>
                  <a:pt x="207" y="272"/>
                  <a:pt x="208" y="272"/>
                  <a:pt x="208" y="272"/>
                </a:cubicBezTo>
                <a:close/>
                <a:moveTo>
                  <a:pt x="553" y="272"/>
                </a:moveTo>
                <a:cubicBezTo>
                  <a:pt x="553" y="271"/>
                  <a:pt x="553" y="271"/>
                  <a:pt x="552" y="271"/>
                </a:cubicBezTo>
                <a:cubicBezTo>
                  <a:pt x="553" y="272"/>
                  <a:pt x="553" y="272"/>
                  <a:pt x="553" y="272"/>
                </a:cubicBezTo>
                <a:close/>
                <a:moveTo>
                  <a:pt x="1664" y="270"/>
                </a:moveTo>
                <a:cubicBezTo>
                  <a:pt x="1664" y="271"/>
                  <a:pt x="1664" y="271"/>
                  <a:pt x="1665" y="271"/>
                </a:cubicBezTo>
                <a:cubicBezTo>
                  <a:pt x="1665" y="270"/>
                  <a:pt x="1665" y="270"/>
                  <a:pt x="1664" y="270"/>
                </a:cubicBezTo>
                <a:cubicBezTo>
                  <a:pt x="1664" y="270"/>
                  <a:pt x="1664" y="270"/>
                  <a:pt x="1664" y="270"/>
                </a:cubicBezTo>
                <a:close/>
                <a:moveTo>
                  <a:pt x="836" y="270"/>
                </a:moveTo>
                <a:cubicBezTo>
                  <a:pt x="836" y="268"/>
                  <a:pt x="835" y="269"/>
                  <a:pt x="834" y="268"/>
                </a:cubicBezTo>
                <a:cubicBezTo>
                  <a:pt x="834" y="270"/>
                  <a:pt x="835" y="270"/>
                  <a:pt x="836" y="270"/>
                </a:cubicBezTo>
                <a:cubicBezTo>
                  <a:pt x="836" y="269"/>
                  <a:pt x="836" y="270"/>
                  <a:pt x="836" y="270"/>
                </a:cubicBezTo>
                <a:close/>
                <a:moveTo>
                  <a:pt x="1683" y="268"/>
                </a:moveTo>
                <a:cubicBezTo>
                  <a:pt x="1683" y="268"/>
                  <a:pt x="1681" y="269"/>
                  <a:pt x="1682" y="269"/>
                </a:cubicBezTo>
                <a:cubicBezTo>
                  <a:pt x="1683" y="269"/>
                  <a:pt x="1683" y="269"/>
                  <a:pt x="1683" y="268"/>
                </a:cubicBezTo>
                <a:cubicBezTo>
                  <a:pt x="1683" y="268"/>
                  <a:pt x="1683" y="268"/>
                  <a:pt x="1683" y="268"/>
                </a:cubicBezTo>
                <a:cubicBezTo>
                  <a:pt x="1683" y="268"/>
                  <a:pt x="1683" y="268"/>
                  <a:pt x="1683" y="268"/>
                </a:cubicBezTo>
                <a:cubicBezTo>
                  <a:pt x="1683" y="268"/>
                  <a:pt x="1683" y="268"/>
                  <a:pt x="1683" y="268"/>
                </a:cubicBezTo>
                <a:close/>
                <a:moveTo>
                  <a:pt x="1679" y="269"/>
                </a:moveTo>
                <a:cubicBezTo>
                  <a:pt x="1679" y="269"/>
                  <a:pt x="1680" y="269"/>
                  <a:pt x="1681" y="269"/>
                </a:cubicBezTo>
                <a:cubicBezTo>
                  <a:pt x="1681" y="269"/>
                  <a:pt x="1680" y="268"/>
                  <a:pt x="1681" y="268"/>
                </a:cubicBezTo>
                <a:cubicBezTo>
                  <a:pt x="1680" y="268"/>
                  <a:pt x="1679" y="267"/>
                  <a:pt x="1678" y="267"/>
                </a:cubicBezTo>
                <a:cubicBezTo>
                  <a:pt x="1679" y="268"/>
                  <a:pt x="1679" y="269"/>
                  <a:pt x="1679" y="269"/>
                </a:cubicBezTo>
                <a:close/>
                <a:moveTo>
                  <a:pt x="553" y="266"/>
                </a:moveTo>
                <a:cubicBezTo>
                  <a:pt x="552" y="266"/>
                  <a:pt x="551" y="267"/>
                  <a:pt x="551" y="267"/>
                </a:cubicBezTo>
                <a:cubicBezTo>
                  <a:pt x="551" y="267"/>
                  <a:pt x="550" y="266"/>
                  <a:pt x="551" y="266"/>
                </a:cubicBezTo>
                <a:cubicBezTo>
                  <a:pt x="549" y="266"/>
                  <a:pt x="548" y="267"/>
                  <a:pt x="547" y="267"/>
                </a:cubicBezTo>
                <a:cubicBezTo>
                  <a:pt x="547" y="268"/>
                  <a:pt x="547" y="268"/>
                  <a:pt x="547" y="268"/>
                </a:cubicBezTo>
                <a:cubicBezTo>
                  <a:pt x="547" y="269"/>
                  <a:pt x="546" y="269"/>
                  <a:pt x="547" y="269"/>
                </a:cubicBezTo>
                <a:cubicBezTo>
                  <a:pt x="548" y="271"/>
                  <a:pt x="545" y="270"/>
                  <a:pt x="545" y="271"/>
                </a:cubicBezTo>
                <a:cubicBezTo>
                  <a:pt x="545" y="271"/>
                  <a:pt x="545" y="272"/>
                  <a:pt x="545" y="272"/>
                </a:cubicBezTo>
                <a:cubicBezTo>
                  <a:pt x="545" y="273"/>
                  <a:pt x="544" y="273"/>
                  <a:pt x="544" y="273"/>
                </a:cubicBezTo>
                <a:cubicBezTo>
                  <a:pt x="545" y="273"/>
                  <a:pt x="545" y="273"/>
                  <a:pt x="544" y="273"/>
                </a:cubicBezTo>
                <a:cubicBezTo>
                  <a:pt x="544" y="273"/>
                  <a:pt x="544" y="274"/>
                  <a:pt x="544" y="275"/>
                </a:cubicBezTo>
                <a:cubicBezTo>
                  <a:pt x="544" y="275"/>
                  <a:pt x="544" y="275"/>
                  <a:pt x="544" y="275"/>
                </a:cubicBezTo>
                <a:cubicBezTo>
                  <a:pt x="544" y="276"/>
                  <a:pt x="544" y="276"/>
                  <a:pt x="544" y="276"/>
                </a:cubicBezTo>
                <a:cubicBezTo>
                  <a:pt x="544" y="277"/>
                  <a:pt x="544" y="279"/>
                  <a:pt x="543" y="279"/>
                </a:cubicBezTo>
                <a:cubicBezTo>
                  <a:pt x="543" y="279"/>
                  <a:pt x="543" y="280"/>
                  <a:pt x="542" y="280"/>
                </a:cubicBezTo>
                <a:cubicBezTo>
                  <a:pt x="543" y="281"/>
                  <a:pt x="543" y="281"/>
                  <a:pt x="544" y="281"/>
                </a:cubicBezTo>
                <a:cubicBezTo>
                  <a:pt x="544" y="281"/>
                  <a:pt x="545" y="281"/>
                  <a:pt x="545" y="281"/>
                </a:cubicBezTo>
                <a:cubicBezTo>
                  <a:pt x="545" y="282"/>
                  <a:pt x="545" y="282"/>
                  <a:pt x="544" y="282"/>
                </a:cubicBezTo>
                <a:cubicBezTo>
                  <a:pt x="544" y="282"/>
                  <a:pt x="544" y="283"/>
                  <a:pt x="544" y="283"/>
                </a:cubicBezTo>
                <a:cubicBezTo>
                  <a:pt x="543" y="283"/>
                  <a:pt x="543" y="282"/>
                  <a:pt x="542" y="282"/>
                </a:cubicBezTo>
                <a:cubicBezTo>
                  <a:pt x="541" y="282"/>
                  <a:pt x="542" y="283"/>
                  <a:pt x="541" y="283"/>
                </a:cubicBezTo>
                <a:cubicBezTo>
                  <a:pt x="541" y="284"/>
                  <a:pt x="541" y="284"/>
                  <a:pt x="541" y="285"/>
                </a:cubicBezTo>
                <a:cubicBezTo>
                  <a:pt x="541" y="284"/>
                  <a:pt x="541" y="284"/>
                  <a:pt x="540" y="284"/>
                </a:cubicBezTo>
                <a:cubicBezTo>
                  <a:pt x="540" y="284"/>
                  <a:pt x="540" y="285"/>
                  <a:pt x="540" y="285"/>
                </a:cubicBezTo>
                <a:cubicBezTo>
                  <a:pt x="540" y="284"/>
                  <a:pt x="539" y="284"/>
                  <a:pt x="539" y="284"/>
                </a:cubicBezTo>
                <a:cubicBezTo>
                  <a:pt x="539" y="284"/>
                  <a:pt x="538" y="285"/>
                  <a:pt x="538" y="285"/>
                </a:cubicBezTo>
                <a:cubicBezTo>
                  <a:pt x="538" y="285"/>
                  <a:pt x="538" y="285"/>
                  <a:pt x="538" y="286"/>
                </a:cubicBezTo>
                <a:cubicBezTo>
                  <a:pt x="540" y="285"/>
                  <a:pt x="541" y="285"/>
                  <a:pt x="542" y="286"/>
                </a:cubicBezTo>
                <a:cubicBezTo>
                  <a:pt x="542" y="286"/>
                  <a:pt x="541" y="286"/>
                  <a:pt x="541" y="287"/>
                </a:cubicBezTo>
                <a:cubicBezTo>
                  <a:pt x="541" y="286"/>
                  <a:pt x="541" y="286"/>
                  <a:pt x="541" y="286"/>
                </a:cubicBezTo>
                <a:cubicBezTo>
                  <a:pt x="539" y="287"/>
                  <a:pt x="541" y="287"/>
                  <a:pt x="540" y="288"/>
                </a:cubicBezTo>
                <a:cubicBezTo>
                  <a:pt x="539" y="288"/>
                  <a:pt x="538" y="290"/>
                  <a:pt x="537" y="290"/>
                </a:cubicBezTo>
                <a:cubicBezTo>
                  <a:pt x="537" y="290"/>
                  <a:pt x="537" y="292"/>
                  <a:pt x="538" y="292"/>
                </a:cubicBezTo>
                <a:cubicBezTo>
                  <a:pt x="538" y="292"/>
                  <a:pt x="538" y="292"/>
                  <a:pt x="538" y="292"/>
                </a:cubicBezTo>
                <a:cubicBezTo>
                  <a:pt x="539" y="292"/>
                  <a:pt x="540" y="292"/>
                  <a:pt x="540" y="291"/>
                </a:cubicBezTo>
                <a:cubicBezTo>
                  <a:pt x="541" y="290"/>
                  <a:pt x="542" y="291"/>
                  <a:pt x="542" y="291"/>
                </a:cubicBezTo>
                <a:cubicBezTo>
                  <a:pt x="542" y="290"/>
                  <a:pt x="545" y="291"/>
                  <a:pt x="546" y="291"/>
                </a:cubicBezTo>
                <a:cubicBezTo>
                  <a:pt x="546" y="291"/>
                  <a:pt x="546" y="290"/>
                  <a:pt x="546" y="291"/>
                </a:cubicBezTo>
                <a:cubicBezTo>
                  <a:pt x="546" y="291"/>
                  <a:pt x="547" y="291"/>
                  <a:pt x="547" y="291"/>
                </a:cubicBezTo>
                <a:cubicBezTo>
                  <a:pt x="547" y="290"/>
                  <a:pt x="547" y="291"/>
                  <a:pt x="547" y="291"/>
                </a:cubicBezTo>
                <a:cubicBezTo>
                  <a:pt x="548" y="291"/>
                  <a:pt x="548" y="291"/>
                  <a:pt x="549" y="291"/>
                </a:cubicBezTo>
                <a:cubicBezTo>
                  <a:pt x="549" y="291"/>
                  <a:pt x="549" y="292"/>
                  <a:pt x="549" y="292"/>
                </a:cubicBezTo>
                <a:cubicBezTo>
                  <a:pt x="549" y="292"/>
                  <a:pt x="549" y="291"/>
                  <a:pt x="550" y="291"/>
                </a:cubicBezTo>
                <a:cubicBezTo>
                  <a:pt x="551" y="291"/>
                  <a:pt x="551" y="291"/>
                  <a:pt x="551" y="290"/>
                </a:cubicBezTo>
                <a:cubicBezTo>
                  <a:pt x="551" y="291"/>
                  <a:pt x="551" y="291"/>
                  <a:pt x="552" y="291"/>
                </a:cubicBezTo>
                <a:cubicBezTo>
                  <a:pt x="552" y="291"/>
                  <a:pt x="553" y="291"/>
                  <a:pt x="554" y="291"/>
                </a:cubicBezTo>
                <a:cubicBezTo>
                  <a:pt x="554" y="291"/>
                  <a:pt x="554" y="292"/>
                  <a:pt x="554" y="291"/>
                </a:cubicBezTo>
                <a:cubicBezTo>
                  <a:pt x="554" y="291"/>
                  <a:pt x="555" y="291"/>
                  <a:pt x="556" y="291"/>
                </a:cubicBezTo>
                <a:cubicBezTo>
                  <a:pt x="556" y="291"/>
                  <a:pt x="556" y="290"/>
                  <a:pt x="557" y="290"/>
                </a:cubicBezTo>
                <a:cubicBezTo>
                  <a:pt x="557" y="290"/>
                  <a:pt x="558" y="290"/>
                  <a:pt x="559" y="290"/>
                </a:cubicBezTo>
                <a:cubicBezTo>
                  <a:pt x="558" y="291"/>
                  <a:pt x="558" y="292"/>
                  <a:pt x="558" y="293"/>
                </a:cubicBezTo>
                <a:cubicBezTo>
                  <a:pt x="559" y="292"/>
                  <a:pt x="560" y="292"/>
                  <a:pt x="560" y="291"/>
                </a:cubicBezTo>
                <a:cubicBezTo>
                  <a:pt x="561" y="290"/>
                  <a:pt x="561" y="290"/>
                  <a:pt x="562" y="290"/>
                </a:cubicBezTo>
                <a:cubicBezTo>
                  <a:pt x="562" y="291"/>
                  <a:pt x="561" y="292"/>
                  <a:pt x="561" y="292"/>
                </a:cubicBezTo>
                <a:cubicBezTo>
                  <a:pt x="561" y="292"/>
                  <a:pt x="560" y="293"/>
                  <a:pt x="560" y="293"/>
                </a:cubicBezTo>
                <a:cubicBezTo>
                  <a:pt x="560" y="293"/>
                  <a:pt x="560" y="294"/>
                  <a:pt x="559" y="294"/>
                </a:cubicBezTo>
                <a:cubicBezTo>
                  <a:pt x="559" y="295"/>
                  <a:pt x="559" y="295"/>
                  <a:pt x="559" y="295"/>
                </a:cubicBezTo>
                <a:cubicBezTo>
                  <a:pt x="558" y="295"/>
                  <a:pt x="558" y="296"/>
                  <a:pt x="558" y="296"/>
                </a:cubicBezTo>
                <a:cubicBezTo>
                  <a:pt x="559" y="296"/>
                  <a:pt x="559" y="296"/>
                  <a:pt x="560" y="295"/>
                </a:cubicBezTo>
                <a:cubicBezTo>
                  <a:pt x="561" y="295"/>
                  <a:pt x="561" y="294"/>
                  <a:pt x="562" y="294"/>
                </a:cubicBezTo>
                <a:cubicBezTo>
                  <a:pt x="561" y="292"/>
                  <a:pt x="563" y="293"/>
                  <a:pt x="564" y="292"/>
                </a:cubicBezTo>
                <a:cubicBezTo>
                  <a:pt x="564" y="291"/>
                  <a:pt x="564" y="290"/>
                  <a:pt x="565" y="290"/>
                </a:cubicBezTo>
                <a:cubicBezTo>
                  <a:pt x="565" y="290"/>
                  <a:pt x="565" y="291"/>
                  <a:pt x="566" y="292"/>
                </a:cubicBezTo>
                <a:cubicBezTo>
                  <a:pt x="566" y="292"/>
                  <a:pt x="567" y="292"/>
                  <a:pt x="567" y="294"/>
                </a:cubicBezTo>
                <a:cubicBezTo>
                  <a:pt x="566" y="294"/>
                  <a:pt x="566" y="294"/>
                  <a:pt x="566" y="294"/>
                </a:cubicBezTo>
                <a:cubicBezTo>
                  <a:pt x="565" y="294"/>
                  <a:pt x="565" y="296"/>
                  <a:pt x="565" y="296"/>
                </a:cubicBezTo>
                <a:cubicBezTo>
                  <a:pt x="565" y="296"/>
                  <a:pt x="566" y="297"/>
                  <a:pt x="566" y="297"/>
                </a:cubicBezTo>
                <a:cubicBezTo>
                  <a:pt x="566" y="297"/>
                  <a:pt x="567" y="296"/>
                  <a:pt x="566" y="296"/>
                </a:cubicBezTo>
                <a:cubicBezTo>
                  <a:pt x="567" y="296"/>
                  <a:pt x="567" y="295"/>
                  <a:pt x="567" y="294"/>
                </a:cubicBezTo>
                <a:cubicBezTo>
                  <a:pt x="568" y="294"/>
                  <a:pt x="568" y="295"/>
                  <a:pt x="569" y="295"/>
                </a:cubicBezTo>
                <a:cubicBezTo>
                  <a:pt x="568" y="296"/>
                  <a:pt x="568" y="296"/>
                  <a:pt x="568" y="297"/>
                </a:cubicBezTo>
                <a:cubicBezTo>
                  <a:pt x="569" y="297"/>
                  <a:pt x="570" y="297"/>
                  <a:pt x="571" y="297"/>
                </a:cubicBezTo>
                <a:cubicBezTo>
                  <a:pt x="571" y="297"/>
                  <a:pt x="571" y="296"/>
                  <a:pt x="571" y="295"/>
                </a:cubicBezTo>
                <a:cubicBezTo>
                  <a:pt x="571" y="295"/>
                  <a:pt x="572" y="295"/>
                  <a:pt x="572" y="295"/>
                </a:cubicBezTo>
                <a:cubicBezTo>
                  <a:pt x="572" y="294"/>
                  <a:pt x="572" y="294"/>
                  <a:pt x="572" y="293"/>
                </a:cubicBezTo>
                <a:cubicBezTo>
                  <a:pt x="572" y="293"/>
                  <a:pt x="572" y="293"/>
                  <a:pt x="572" y="293"/>
                </a:cubicBezTo>
                <a:cubicBezTo>
                  <a:pt x="572" y="292"/>
                  <a:pt x="573" y="292"/>
                  <a:pt x="573" y="291"/>
                </a:cubicBezTo>
                <a:cubicBezTo>
                  <a:pt x="572" y="291"/>
                  <a:pt x="572" y="291"/>
                  <a:pt x="572" y="292"/>
                </a:cubicBezTo>
                <a:cubicBezTo>
                  <a:pt x="572" y="293"/>
                  <a:pt x="571" y="293"/>
                  <a:pt x="571" y="293"/>
                </a:cubicBezTo>
                <a:cubicBezTo>
                  <a:pt x="571" y="293"/>
                  <a:pt x="570" y="293"/>
                  <a:pt x="570" y="293"/>
                </a:cubicBezTo>
                <a:cubicBezTo>
                  <a:pt x="570" y="292"/>
                  <a:pt x="570" y="292"/>
                  <a:pt x="570" y="291"/>
                </a:cubicBezTo>
                <a:cubicBezTo>
                  <a:pt x="571" y="290"/>
                  <a:pt x="572" y="289"/>
                  <a:pt x="572" y="288"/>
                </a:cubicBezTo>
                <a:cubicBezTo>
                  <a:pt x="571" y="288"/>
                  <a:pt x="571" y="288"/>
                  <a:pt x="571" y="289"/>
                </a:cubicBezTo>
                <a:cubicBezTo>
                  <a:pt x="569" y="290"/>
                  <a:pt x="569" y="291"/>
                  <a:pt x="569" y="293"/>
                </a:cubicBezTo>
                <a:cubicBezTo>
                  <a:pt x="569" y="292"/>
                  <a:pt x="567" y="292"/>
                  <a:pt x="567" y="292"/>
                </a:cubicBezTo>
                <a:cubicBezTo>
                  <a:pt x="567" y="292"/>
                  <a:pt x="567" y="292"/>
                  <a:pt x="567" y="291"/>
                </a:cubicBezTo>
                <a:cubicBezTo>
                  <a:pt x="567" y="290"/>
                  <a:pt x="567" y="291"/>
                  <a:pt x="568" y="291"/>
                </a:cubicBezTo>
                <a:cubicBezTo>
                  <a:pt x="569" y="290"/>
                  <a:pt x="568" y="290"/>
                  <a:pt x="568" y="289"/>
                </a:cubicBezTo>
                <a:cubicBezTo>
                  <a:pt x="567" y="289"/>
                  <a:pt x="567" y="289"/>
                  <a:pt x="567" y="288"/>
                </a:cubicBezTo>
                <a:cubicBezTo>
                  <a:pt x="567" y="288"/>
                  <a:pt x="568" y="287"/>
                  <a:pt x="568" y="287"/>
                </a:cubicBezTo>
                <a:cubicBezTo>
                  <a:pt x="569" y="286"/>
                  <a:pt x="569" y="286"/>
                  <a:pt x="569" y="285"/>
                </a:cubicBezTo>
                <a:cubicBezTo>
                  <a:pt x="569" y="285"/>
                  <a:pt x="568" y="286"/>
                  <a:pt x="568" y="286"/>
                </a:cubicBezTo>
                <a:cubicBezTo>
                  <a:pt x="568" y="286"/>
                  <a:pt x="568" y="285"/>
                  <a:pt x="568" y="286"/>
                </a:cubicBezTo>
                <a:cubicBezTo>
                  <a:pt x="567" y="287"/>
                  <a:pt x="567" y="287"/>
                  <a:pt x="566" y="286"/>
                </a:cubicBezTo>
                <a:cubicBezTo>
                  <a:pt x="566" y="287"/>
                  <a:pt x="566" y="287"/>
                  <a:pt x="566" y="287"/>
                </a:cubicBezTo>
                <a:cubicBezTo>
                  <a:pt x="565" y="287"/>
                  <a:pt x="565" y="287"/>
                  <a:pt x="564" y="287"/>
                </a:cubicBezTo>
                <a:cubicBezTo>
                  <a:pt x="564" y="287"/>
                  <a:pt x="564" y="287"/>
                  <a:pt x="564" y="287"/>
                </a:cubicBezTo>
                <a:cubicBezTo>
                  <a:pt x="564" y="286"/>
                  <a:pt x="565" y="285"/>
                  <a:pt x="565" y="285"/>
                </a:cubicBezTo>
                <a:cubicBezTo>
                  <a:pt x="564" y="285"/>
                  <a:pt x="564" y="285"/>
                  <a:pt x="563" y="285"/>
                </a:cubicBezTo>
                <a:cubicBezTo>
                  <a:pt x="563" y="285"/>
                  <a:pt x="563" y="285"/>
                  <a:pt x="563" y="284"/>
                </a:cubicBezTo>
                <a:cubicBezTo>
                  <a:pt x="562" y="284"/>
                  <a:pt x="562" y="284"/>
                  <a:pt x="562" y="284"/>
                </a:cubicBezTo>
                <a:cubicBezTo>
                  <a:pt x="563" y="284"/>
                  <a:pt x="563" y="283"/>
                  <a:pt x="563" y="282"/>
                </a:cubicBezTo>
                <a:cubicBezTo>
                  <a:pt x="564" y="282"/>
                  <a:pt x="564" y="281"/>
                  <a:pt x="564" y="281"/>
                </a:cubicBezTo>
                <a:cubicBezTo>
                  <a:pt x="563" y="280"/>
                  <a:pt x="563" y="280"/>
                  <a:pt x="563" y="279"/>
                </a:cubicBezTo>
                <a:cubicBezTo>
                  <a:pt x="562" y="279"/>
                  <a:pt x="562" y="280"/>
                  <a:pt x="561" y="280"/>
                </a:cubicBezTo>
                <a:cubicBezTo>
                  <a:pt x="561" y="280"/>
                  <a:pt x="560" y="280"/>
                  <a:pt x="559" y="280"/>
                </a:cubicBezTo>
                <a:cubicBezTo>
                  <a:pt x="559" y="280"/>
                  <a:pt x="560" y="280"/>
                  <a:pt x="560" y="279"/>
                </a:cubicBezTo>
                <a:cubicBezTo>
                  <a:pt x="559" y="279"/>
                  <a:pt x="559" y="280"/>
                  <a:pt x="558" y="280"/>
                </a:cubicBezTo>
                <a:cubicBezTo>
                  <a:pt x="558" y="281"/>
                  <a:pt x="557" y="280"/>
                  <a:pt x="556" y="280"/>
                </a:cubicBezTo>
                <a:cubicBezTo>
                  <a:pt x="556" y="280"/>
                  <a:pt x="557" y="281"/>
                  <a:pt x="557" y="281"/>
                </a:cubicBezTo>
                <a:cubicBezTo>
                  <a:pt x="556" y="281"/>
                  <a:pt x="556" y="281"/>
                  <a:pt x="556" y="282"/>
                </a:cubicBezTo>
                <a:cubicBezTo>
                  <a:pt x="556" y="280"/>
                  <a:pt x="556" y="280"/>
                  <a:pt x="554" y="281"/>
                </a:cubicBezTo>
                <a:cubicBezTo>
                  <a:pt x="554" y="281"/>
                  <a:pt x="554" y="281"/>
                  <a:pt x="553" y="281"/>
                </a:cubicBezTo>
                <a:cubicBezTo>
                  <a:pt x="554" y="281"/>
                  <a:pt x="554" y="280"/>
                  <a:pt x="554" y="280"/>
                </a:cubicBezTo>
                <a:cubicBezTo>
                  <a:pt x="553" y="280"/>
                  <a:pt x="553" y="280"/>
                  <a:pt x="552" y="280"/>
                </a:cubicBezTo>
                <a:cubicBezTo>
                  <a:pt x="552" y="279"/>
                  <a:pt x="553" y="279"/>
                  <a:pt x="554" y="278"/>
                </a:cubicBezTo>
                <a:cubicBezTo>
                  <a:pt x="553" y="278"/>
                  <a:pt x="553" y="277"/>
                  <a:pt x="553" y="277"/>
                </a:cubicBezTo>
                <a:cubicBezTo>
                  <a:pt x="552" y="277"/>
                  <a:pt x="552" y="277"/>
                  <a:pt x="552" y="277"/>
                </a:cubicBezTo>
                <a:cubicBezTo>
                  <a:pt x="552" y="276"/>
                  <a:pt x="552" y="276"/>
                  <a:pt x="551" y="276"/>
                </a:cubicBezTo>
                <a:cubicBezTo>
                  <a:pt x="551" y="276"/>
                  <a:pt x="551" y="277"/>
                  <a:pt x="551" y="277"/>
                </a:cubicBezTo>
                <a:cubicBezTo>
                  <a:pt x="551" y="277"/>
                  <a:pt x="550" y="277"/>
                  <a:pt x="550" y="277"/>
                </a:cubicBezTo>
                <a:cubicBezTo>
                  <a:pt x="550" y="278"/>
                  <a:pt x="549" y="277"/>
                  <a:pt x="549" y="278"/>
                </a:cubicBezTo>
                <a:cubicBezTo>
                  <a:pt x="549" y="279"/>
                  <a:pt x="549" y="278"/>
                  <a:pt x="549" y="279"/>
                </a:cubicBezTo>
                <a:cubicBezTo>
                  <a:pt x="548" y="279"/>
                  <a:pt x="548" y="281"/>
                  <a:pt x="548" y="280"/>
                </a:cubicBezTo>
                <a:cubicBezTo>
                  <a:pt x="548" y="279"/>
                  <a:pt x="547" y="279"/>
                  <a:pt x="548" y="279"/>
                </a:cubicBezTo>
                <a:cubicBezTo>
                  <a:pt x="548" y="278"/>
                  <a:pt x="548" y="278"/>
                  <a:pt x="548" y="278"/>
                </a:cubicBezTo>
                <a:cubicBezTo>
                  <a:pt x="548" y="277"/>
                  <a:pt x="548" y="278"/>
                  <a:pt x="548" y="277"/>
                </a:cubicBezTo>
                <a:cubicBezTo>
                  <a:pt x="548" y="277"/>
                  <a:pt x="547" y="276"/>
                  <a:pt x="548" y="276"/>
                </a:cubicBezTo>
                <a:cubicBezTo>
                  <a:pt x="548" y="276"/>
                  <a:pt x="548" y="276"/>
                  <a:pt x="548" y="276"/>
                </a:cubicBezTo>
                <a:cubicBezTo>
                  <a:pt x="548" y="275"/>
                  <a:pt x="548" y="275"/>
                  <a:pt x="549" y="275"/>
                </a:cubicBezTo>
                <a:cubicBezTo>
                  <a:pt x="550" y="274"/>
                  <a:pt x="549" y="272"/>
                  <a:pt x="549" y="271"/>
                </a:cubicBezTo>
                <a:cubicBezTo>
                  <a:pt x="550" y="271"/>
                  <a:pt x="550" y="271"/>
                  <a:pt x="551" y="271"/>
                </a:cubicBezTo>
                <a:cubicBezTo>
                  <a:pt x="551" y="271"/>
                  <a:pt x="551" y="271"/>
                  <a:pt x="551" y="271"/>
                </a:cubicBezTo>
                <a:cubicBezTo>
                  <a:pt x="552" y="270"/>
                  <a:pt x="552" y="270"/>
                  <a:pt x="552" y="269"/>
                </a:cubicBezTo>
                <a:cubicBezTo>
                  <a:pt x="552" y="269"/>
                  <a:pt x="551" y="269"/>
                  <a:pt x="551" y="269"/>
                </a:cubicBezTo>
                <a:cubicBezTo>
                  <a:pt x="550" y="268"/>
                  <a:pt x="551" y="268"/>
                  <a:pt x="552" y="268"/>
                </a:cubicBezTo>
                <a:cubicBezTo>
                  <a:pt x="552" y="268"/>
                  <a:pt x="552" y="268"/>
                  <a:pt x="552" y="267"/>
                </a:cubicBezTo>
                <a:cubicBezTo>
                  <a:pt x="553" y="267"/>
                  <a:pt x="553" y="267"/>
                  <a:pt x="553" y="266"/>
                </a:cubicBezTo>
                <a:cubicBezTo>
                  <a:pt x="551" y="266"/>
                  <a:pt x="553" y="266"/>
                  <a:pt x="553" y="266"/>
                </a:cubicBezTo>
                <a:close/>
                <a:moveTo>
                  <a:pt x="1657" y="268"/>
                </a:moveTo>
                <a:cubicBezTo>
                  <a:pt x="1658" y="268"/>
                  <a:pt x="1658" y="267"/>
                  <a:pt x="1658" y="266"/>
                </a:cubicBezTo>
                <a:cubicBezTo>
                  <a:pt x="1657" y="267"/>
                  <a:pt x="1657" y="267"/>
                  <a:pt x="1657" y="268"/>
                </a:cubicBezTo>
                <a:cubicBezTo>
                  <a:pt x="1657" y="268"/>
                  <a:pt x="1657" y="268"/>
                  <a:pt x="1657" y="268"/>
                </a:cubicBezTo>
                <a:cubicBezTo>
                  <a:pt x="1658" y="267"/>
                  <a:pt x="1657" y="268"/>
                  <a:pt x="1657" y="268"/>
                </a:cubicBezTo>
                <a:close/>
                <a:moveTo>
                  <a:pt x="1693" y="267"/>
                </a:moveTo>
                <a:cubicBezTo>
                  <a:pt x="1694" y="267"/>
                  <a:pt x="1695" y="267"/>
                  <a:pt x="1696" y="267"/>
                </a:cubicBezTo>
                <a:cubicBezTo>
                  <a:pt x="1696" y="266"/>
                  <a:pt x="1696" y="266"/>
                  <a:pt x="1696" y="266"/>
                </a:cubicBezTo>
                <a:cubicBezTo>
                  <a:pt x="1697" y="266"/>
                  <a:pt x="1696" y="265"/>
                  <a:pt x="1696" y="264"/>
                </a:cubicBezTo>
                <a:cubicBezTo>
                  <a:pt x="1696" y="265"/>
                  <a:pt x="1695" y="265"/>
                  <a:pt x="1694" y="266"/>
                </a:cubicBezTo>
                <a:cubicBezTo>
                  <a:pt x="1693" y="266"/>
                  <a:pt x="1693" y="266"/>
                  <a:pt x="1693" y="267"/>
                </a:cubicBezTo>
                <a:close/>
                <a:moveTo>
                  <a:pt x="1713" y="264"/>
                </a:moveTo>
                <a:cubicBezTo>
                  <a:pt x="1712" y="264"/>
                  <a:pt x="1714" y="265"/>
                  <a:pt x="1714" y="264"/>
                </a:cubicBezTo>
                <a:cubicBezTo>
                  <a:pt x="1713" y="264"/>
                  <a:pt x="1713" y="264"/>
                  <a:pt x="1713" y="264"/>
                </a:cubicBezTo>
                <a:close/>
                <a:moveTo>
                  <a:pt x="207" y="263"/>
                </a:moveTo>
                <a:cubicBezTo>
                  <a:pt x="205" y="262"/>
                  <a:pt x="206" y="265"/>
                  <a:pt x="207" y="263"/>
                </a:cubicBezTo>
                <a:close/>
                <a:moveTo>
                  <a:pt x="204" y="261"/>
                </a:moveTo>
                <a:cubicBezTo>
                  <a:pt x="204" y="262"/>
                  <a:pt x="204" y="261"/>
                  <a:pt x="204" y="261"/>
                </a:cubicBezTo>
                <a:cubicBezTo>
                  <a:pt x="205" y="261"/>
                  <a:pt x="205" y="261"/>
                  <a:pt x="205" y="261"/>
                </a:cubicBezTo>
                <a:cubicBezTo>
                  <a:pt x="205" y="260"/>
                  <a:pt x="204" y="260"/>
                  <a:pt x="204" y="260"/>
                </a:cubicBezTo>
                <a:cubicBezTo>
                  <a:pt x="204" y="261"/>
                  <a:pt x="204" y="261"/>
                  <a:pt x="204" y="261"/>
                </a:cubicBezTo>
                <a:close/>
                <a:moveTo>
                  <a:pt x="1632" y="261"/>
                </a:moveTo>
                <a:cubicBezTo>
                  <a:pt x="1632" y="260"/>
                  <a:pt x="1632" y="261"/>
                  <a:pt x="1631" y="261"/>
                </a:cubicBezTo>
                <a:cubicBezTo>
                  <a:pt x="1630" y="260"/>
                  <a:pt x="1629" y="260"/>
                  <a:pt x="1628" y="260"/>
                </a:cubicBezTo>
                <a:cubicBezTo>
                  <a:pt x="1629" y="261"/>
                  <a:pt x="1629" y="260"/>
                  <a:pt x="1629" y="261"/>
                </a:cubicBezTo>
                <a:cubicBezTo>
                  <a:pt x="1629" y="261"/>
                  <a:pt x="1630" y="262"/>
                  <a:pt x="1630" y="262"/>
                </a:cubicBezTo>
                <a:cubicBezTo>
                  <a:pt x="1631" y="262"/>
                  <a:pt x="1631" y="261"/>
                  <a:pt x="1632" y="261"/>
                </a:cubicBezTo>
                <a:close/>
                <a:moveTo>
                  <a:pt x="4" y="260"/>
                </a:moveTo>
                <a:cubicBezTo>
                  <a:pt x="3" y="260"/>
                  <a:pt x="5" y="261"/>
                  <a:pt x="4" y="260"/>
                </a:cubicBezTo>
                <a:cubicBezTo>
                  <a:pt x="4" y="260"/>
                  <a:pt x="4" y="260"/>
                  <a:pt x="4" y="260"/>
                </a:cubicBezTo>
                <a:close/>
                <a:moveTo>
                  <a:pt x="1325" y="260"/>
                </a:moveTo>
                <a:cubicBezTo>
                  <a:pt x="1326" y="260"/>
                  <a:pt x="1326" y="258"/>
                  <a:pt x="1325" y="260"/>
                </a:cubicBezTo>
                <a:cubicBezTo>
                  <a:pt x="1325" y="260"/>
                  <a:pt x="1325" y="260"/>
                  <a:pt x="1325" y="260"/>
                </a:cubicBezTo>
                <a:close/>
                <a:moveTo>
                  <a:pt x="7" y="259"/>
                </a:moveTo>
                <a:cubicBezTo>
                  <a:pt x="7" y="259"/>
                  <a:pt x="7" y="259"/>
                  <a:pt x="8" y="259"/>
                </a:cubicBezTo>
                <a:cubicBezTo>
                  <a:pt x="7" y="259"/>
                  <a:pt x="7" y="259"/>
                  <a:pt x="7" y="259"/>
                </a:cubicBezTo>
                <a:cubicBezTo>
                  <a:pt x="7" y="259"/>
                  <a:pt x="7" y="259"/>
                  <a:pt x="7" y="259"/>
                </a:cubicBezTo>
                <a:close/>
                <a:moveTo>
                  <a:pt x="1724" y="258"/>
                </a:moveTo>
                <a:cubicBezTo>
                  <a:pt x="1725" y="259"/>
                  <a:pt x="1725" y="259"/>
                  <a:pt x="1723" y="259"/>
                </a:cubicBezTo>
                <a:cubicBezTo>
                  <a:pt x="1723" y="260"/>
                  <a:pt x="1722" y="263"/>
                  <a:pt x="1722" y="263"/>
                </a:cubicBezTo>
                <a:cubicBezTo>
                  <a:pt x="1722" y="263"/>
                  <a:pt x="1723" y="262"/>
                  <a:pt x="1723" y="262"/>
                </a:cubicBezTo>
                <a:cubicBezTo>
                  <a:pt x="1724" y="262"/>
                  <a:pt x="1724" y="262"/>
                  <a:pt x="1724" y="261"/>
                </a:cubicBezTo>
                <a:cubicBezTo>
                  <a:pt x="1724" y="261"/>
                  <a:pt x="1725" y="260"/>
                  <a:pt x="1725" y="259"/>
                </a:cubicBezTo>
                <a:cubicBezTo>
                  <a:pt x="1726" y="259"/>
                  <a:pt x="1727" y="258"/>
                  <a:pt x="1727" y="257"/>
                </a:cubicBezTo>
                <a:cubicBezTo>
                  <a:pt x="1726" y="257"/>
                  <a:pt x="1725" y="258"/>
                  <a:pt x="1724" y="258"/>
                </a:cubicBezTo>
                <a:cubicBezTo>
                  <a:pt x="1724" y="259"/>
                  <a:pt x="1724" y="258"/>
                  <a:pt x="1724" y="258"/>
                </a:cubicBezTo>
                <a:close/>
                <a:moveTo>
                  <a:pt x="429" y="258"/>
                </a:moveTo>
                <a:cubicBezTo>
                  <a:pt x="430" y="259"/>
                  <a:pt x="432" y="260"/>
                  <a:pt x="433" y="260"/>
                </a:cubicBezTo>
                <a:cubicBezTo>
                  <a:pt x="433" y="259"/>
                  <a:pt x="433" y="259"/>
                  <a:pt x="433" y="258"/>
                </a:cubicBezTo>
                <a:cubicBezTo>
                  <a:pt x="433" y="258"/>
                  <a:pt x="430" y="257"/>
                  <a:pt x="431" y="257"/>
                </a:cubicBezTo>
                <a:cubicBezTo>
                  <a:pt x="430" y="257"/>
                  <a:pt x="428" y="257"/>
                  <a:pt x="429" y="258"/>
                </a:cubicBezTo>
                <a:cubicBezTo>
                  <a:pt x="429" y="259"/>
                  <a:pt x="429" y="258"/>
                  <a:pt x="429" y="258"/>
                </a:cubicBezTo>
                <a:close/>
                <a:moveTo>
                  <a:pt x="1731" y="257"/>
                </a:moveTo>
                <a:cubicBezTo>
                  <a:pt x="1731" y="257"/>
                  <a:pt x="1731" y="257"/>
                  <a:pt x="1731" y="258"/>
                </a:cubicBezTo>
                <a:cubicBezTo>
                  <a:pt x="1730" y="258"/>
                  <a:pt x="1730" y="259"/>
                  <a:pt x="1729" y="259"/>
                </a:cubicBezTo>
                <a:cubicBezTo>
                  <a:pt x="1730" y="261"/>
                  <a:pt x="1733" y="258"/>
                  <a:pt x="1733" y="257"/>
                </a:cubicBezTo>
                <a:cubicBezTo>
                  <a:pt x="1732" y="256"/>
                  <a:pt x="1732" y="256"/>
                  <a:pt x="1731" y="257"/>
                </a:cubicBezTo>
                <a:cubicBezTo>
                  <a:pt x="1731" y="257"/>
                  <a:pt x="1731" y="257"/>
                  <a:pt x="1731" y="257"/>
                </a:cubicBezTo>
                <a:close/>
                <a:moveTo>
                  <a:pt x="847" y="256"/>
                </a:moveTo>
                <a:cubicBezTo>
                  <a:pt x="845" y="256"/>
                  <a:pt x="845" y="256"/>
                  <a:pt x="844" y="257"/>
                </a:cubicBezTo>
                <a:cubicBezTo>
                  <a:pt x="845" y="257"/>
                  <a:pt x="847" y="257"/>
                  <a:pt x="847" y="256"/>
                </a:cubicBezTo>
                <a:cubicBezTo>
                  <a:pt x="846" y="256"/>
                  <a:pt x="847" y="256"/>
                  <a:pt x="847" y="256"/>
                </a:cubicBezTo>
                <a:close/>
                <a:moveTo>
                  <a:pt x="200" y="256"/>
                </a:moveTo>
                <a:cubicBezTo>
                  <a:pt x="200" y="256"/>
                  <a:pt x="200" y="256"/>
                  <a:pt x="199" y="256"/>
                </a:cubicBezTo>
                <a:cubicBezTo>
                  <a:pt x="200" y="256"/>
                  <a:pt x="200" y="256"/>
                  <a:pt x="200" y="256"/>
                </a:cubicBezTo>
                <a:close/>
                <a:moveTo>
                  <a:pt x="192" y="259"/>
                </a:moveTo>
                <a:cubicBezTo>
                  <a:pt x="192" y="258"/>
                  <a:pt x="192" y="257"/>
                  <a:pt x="191" y="257"/>
                </a:cubicBezTo>
                <a:cubicBezTo>
                  <a:pt x="191" y="257"/>
                  <a:pt x="190" y="257"/>
                  <a:pt x="191" y="257"/>
                </a:cubicBezTo>
                <a:cubicBezTo>
                  <a:pt x="191" y="256"/>
                  <a:pt x="190" y="256"/>
                  <a:pt x="189" y="255"/>
                </a:cubicBezTo>
                <a:cubicBezTo>
                  <a:pt x="189" y="256"/>
                  <a:pt x="189" y="256"/>
                  <a:pt x="188" y="256"/>
                </a:cubicBezTo>
                <a:cubicBezTo>
                  <a:pt x="187" y="256"/>
                  <a:pt x="188" y="257"/>
                  <a:pt x="187" y="257"/>
                </a:cubicBezTo>
                <a:cubicBezTo>
                  <a:pt x="187" y="257"/>
                  <a:pt x="187" y="257"/>
                  <a:pt x="187" y="257"/>
                </a:cubicBezTo>
                <a:cubicBezTo>
                  <a:pt x="187" y="258"/>
                  <a:pt x="188" y="258"/>
                  <a:pt x="188" y="258"/>
                </a:cubicBezTo>
                <a:cubicBezTo>
                  <a:pt x="188" y="258"/>
                  <a:pt x="187" y="258"/>
                  <a:pt x="187" y="258"/>
                </a:cubicBezTo>
                <a:cubicBezTo>
                  <a:pt x="187" y="259"/>
                  <a:pt x="188" y="261"/>
                  <a:pt x="190" y="261"/>
                </a:cubicBezTo>
                <a:cubicBezTo>
                  <a:pt x="191" y="262"/>
                  <a:pt x="191" y="262"/>
                  <a:pt x="191" y="262"/>
                </a:cubicBezTo>
                <a:cubicBezTo>
                  <a:pt x="191" y="263"/>
                  <a:pt x="192" y="263"/>
                  <a:pt x="192" y="263"/>
                </a:cubicBezTo>
                <a:cubicBezTo>
                  <a:pt x="192" y="262"/>
                  <a:pt x="192" y="262"/>
                  <a:pt x="192" y="262"/>
                </a:cubicBezTo>
                <a:cubicBezTo>
                  <a:pt x="191" y="261"/>
                  <a:pt x="191" y="261"/>
                  <a:pt x="192" y="260"/>
                </a:cubicBezTo>
                <a:cubicBezTo>
                  <a:pt x="192" y="260"/>
                  <a:pt x="193" y="260"/>
                  <a:pt x="193" y="260"/>
                </a:cubicBezTo>
                <a:cubicBezTo>
                  <a:pt x="193" y="259"/>
                  <a:pt x="192" y="259"/>
                  <a:pt x="191" y="259"/>
                </a:cubicBezTo>
                <a:cubicBezTo>
                  <a:pt x="191" y="259"/>
                  <a:pt x="191" y="259"/>
                  <a:pt x="192" y="259"/>
                </a:cubicBezTo>
                <a:cubicBezTo>
                  <a:pt x="192" y="258"/>
                  <a:pt x="192" y="259"/>
                  <a:pt x="192" y="259"/>
                </a:cubicBezTo>
                <a:close/>
                <a:moveTo>
                  <a:pt x="15" y="255"/>
                </a:moveTo>
                <a:cubicBezTo>
                  <a:pt x="15" y="255"/>
                  <a:pt x="14" y="255"/>
                  <a:pt x="14" y="255"/>
                </a:cubicBezTo>
                <a:cubicBezTo>
                  <a:pt x="14" y="256"/>
                  <a:pt x="14" y="257"/>
                  <a:pt x="13" y="258"/>
                </a:cubicBezTo>
                <a:cubicBezTo>
                  <a:pt x="14" y="258"/>
                  <a:pt x="14" y="258"/>
                  <a:pt x="14" y="257"/>
                </a:cubicBezTo>
                <a:cubicBezTo>
                  <a:pt x="15" y="256"/>
                  <a:pt x="15" y="256"/>
                  <a:pt x="16" y="256"/>
                </a:cubicBezTo>
                <a:cubicBezTo>
                  <a:pt x="17" y="255"/>
                  <a:pt x="17" y="255"/>
                  <a:pt x="17" y="254"/>
                </a:cubicBezTo>
                <a:cubicBezTo>
                  <a:pt x="16" y="254"/>
                  <a:pt x="15" y="254"/>
                  <a:pt x="15" y="255"/>
                </a:cubicBezTo>
                <a:cubicBezTo>
                  <a:pt x="15" y="255"/>
                  <a:pt x="15" y="255"/>
                  <a:pt x="15" y="255"/>
                </a:cubicBezTo>
                <a:close/>
                <a:moveTo>
                  <a:pt x="1490" y="303"/>
                </a:moveTo>
                <a:cubicBezTo>
                  <a:pt x="1490" y="305"/>
                  <a:pt x="1490" y="305"/>
                  <a:pt x="1490" y="307"/>
                </a:cubicBezTo>
                <a:cubicBezTo>
                  <a:pt x="1490" y="307"/>
                  <a:pt x="1489" y="307"/>
                  <a:pt x="1489" y="307"/>
                </a:cubicBezTo>
                <a:cubicBezTo>
                  <a:pt x="1489" y="308"/>
                  <a:pt x="1490" y="307"/>
                  <a:pt x="1490" y="307"/>
                </a:cubicBezTo>
                <a:cubicBezTo>
                  <a:pt x="1491" y="307"/>
                  <a:pt x="1491" y="306"/>
                  <a:pt x="1491" y="305"/>
                </a:cubicBezTo>
                <a:cubicBezTo>
                  <a:pt x="1491" y="305"/>
                  <a:pt x="1492" y="304"/>
                  <a:pt x="1492" y="303"/>
                </a:cubicBezTo>
                <a:cubicBezTo>
                  <a:pt x="1492" y="303"/>
                  <a:pt x="1493" y="303"/>
                  <a:pt x="1493" y="303"/>
                </a:cubicBezTo>
                <a:cubicBezTo>
                  <a:pt x="1493" y="303"/>
                  <a:pt x="1494" y="304"/>
                  <a:pt x="1494" y="305"/>
                </a:cubicBezTo>
                <a:cubicBezTo>
                  <a:pt x="1495" y="305"/>
                  <a:pt x="1496" y="306"/>
                  <a:pt x="1496" y="307"/>
                </a:cubicBezTo>
                <a:cubicBezTo>
                  <a:pt x="1496" y="307"/>
                  <a:pt x="1496" y="308"/>
                  <a:pt x="1496" y="308"/>
                </a:cubicBezTo>
                <a:cubicBezTo>
                  <a:pt x="1497" y="308"/>
                  <a:pt x="1497" y="307"/>
                  <a:pt x="1497" y="306"/>
                </a:cubicBezTo>
                <a:cubicBezTo>
                  <a:pt x="1497" y="306"/>
                  <a:pt x="1497" y="306"/>
                  <a:pt x="1497" y="305"/>
                </a:cubicBezTo>
                <a:cubicBezTo>
                  <a:pt x="1497" y="305"/>
                  <a:pt x="1497" y="306"/>
                  <a:pt x="1497" y="305"/>
                </a:cubicBezTo>
                <a:cubicBezTo>
                  <a:pt x="1497" y="305"/>
                  <a:pt x="1497" y="303"/>
                  <a:pt x="1497" y="303"/>
                </a:cubicBezTo>
                <a:cubicBezTo>
                  <a:pt x="1496" y="303"/>
                  <a:pt x="1496" y="303"/>
                  <a:pt x="1496" y="303"/>
                </a:cubicBezTo>
                <a:cubicBezTo>
                  <a:pt x="1495" y="303"/>
                  <a:pt x="1495" y="302"/>
                  <a:pt x="1495" y="302"/>
                </a:cubicBezTo>
                <a:cubicBezTo>
                  <a:pt x="1495" y="301"/>
                  <a:pt x="1495" y="301"/>
                  <a:pt x="1495" y="300"/>
                </a:cubicBezTo>
                <a:cubicBezTo>
                  <a:pt x="1495" y="300"/>
                  <a:pt x="1495" y="300"/>
                  <a:pt x="1494" y="299"/>
                </a:cubicBezTo>
                <a:cubicBezTo>
                  <a:pt x="1494" y="299"/>
                  <a:pt x="1494" y="299"/>
                  <a:pt x="1494" y="299"/>
                </a:cubicBezTo>
                <a:cubicBezTo>
                  <a:pt x="1494" y="298"/>
                  <a:pt x="1494" y="298"/>
                  <a:pt x="1494" y="297"/>
                </a:cubicBezTo>
                <a:cubicBezTo>
                  <a:pt x="1494" y="297"/>
                  <a:pt x="1493" y="298"/>
                  <a:pt x="1493" y="297"/>
                </a:cubicBezTo>
                <a:cubicBezTo>
                  <a:pt x="1493" y="296"/>
                  <a:pt x="1494" y="296"/>
                  <a:pt x="1494" y="295"/>
                </a:cubicBezTo>
                <a:cubicBezTo>
                  <a:pt x="1494" y="294"/>
                  <a:pt x="1494" y="293"/>
                  <a:pt x="1494" y="292"/>
                </a:cubicBezTo>
                <a:cubicBezTo>
                  <a:pt x="1495" y="292"/>
                  <a:pt x="1495" y="292"/>
                  <a:pt x="1495" y="291"/>
                </a:cubicBezTo>
                <a:cubicBezTo>
                  <a:pt x="1495" y="290"/>
                  <a:pt x="1495" y="290"/>
                  <a:pt x="1495" y="289"/>
                </a:cubicBezTo>
                <a:cubicBezTo>
                  <a:pt x="1495" y="288"/>
                  <a:pt x="1495" y="288"/>
                  <a:pt x="1496" y="287"/>
                </a:cubicBezTo>
                <a:cubicBezTo>
                  <a:pt x="1496" y="286"/>
                  <a:pt x="1496" y="285"/>
                  <a:pt x="1497" y="285"/>
                </a:cubicBezTo>
                <a:cubicBezTo>
                  <a:pt x="1497" y="285"/>
                  <a:pt x="1497" y="285"/>
                  <a:pt x="1497" y="285"/>
                </a:cubicBezTo>
                <a:cubicBezTo>
                  <a:pt x="1497" y="284"/>
                  <a:pt x="1498" y="284"/>
                  <a:pt x="1499" y="284"/>
                </a:cubicBezTo>
                <a:cubicBezTo>
                  <a:pt x="1500" y="284"/>
                  <a:pt x="1500" y="285"/>
                  <a:pt x="1501" y="286"/>
                </a:cubicBezTo>
                <a:cubicBezTo>
                  <a:pt x="1502" y="287"/>
                  <a:pt x="1503" y="288"/>
                  <a:pt x="1503" y="286"/>
                </a:cubicBezTo>
                <a:cubicBezTo>
                  <a:pt x="1503" y="286"/>
                  <a:pt x="1502" y="285"/>
                  <a:pt x="1502" y="285"/>
                </a:cubicBezTo>
                <a:cubicBezTo>
                  <a:pt x="1501" y="285"/>
                  <a:pt x="1501" y="285"/>
                  <a:pt x="1501" y="284"/>
                </a:cubicBezTo>
                <a:cubicBezTo>
                  <a:pt x="1501" y="284"/>
                  <a:pt x="1501" y="283"/>
                  <a:pt x="1501" y="283"/>
                </a:cubicBezTo>
                <a:cubicBezTo>
                  <a:pt x="1500" y="283"/>
                  <a:pt x="1501" y="282"/>
                  <a:pt x="1500" y="282"/>
                </a:cubicBezTo>
                <a:cubicBezTo>
                  <a:pt x="1500" y="282"/>
                  <a:pt x="1500" y="283"/>
                  <a:pt x="1499" y="282"/>
                </a:cubicBezTo>
                <a:cubicBezTo>
                  <a:pt x="1499" y="281"/>
                  <a:pt x="1498" y="280"/>
                  <a:pt x="1497" y="280"/>
                </a:cubicBezTo>
                <a:cubicBezTo>
                  <a:pt x="1498" y="279"/>
                  <a:pt x="1497" y="278"/>
                  <a:pt x="1498" y="278"/>
                </a:cubicBezTo>
                <a:cubicBezTo>
                  <a:pt x="1498" y="277"/>
                  <a:pt x="1498" y="276"/>
                  <a:pt x="1498" y="275"/>
                </a:cubicBezTo>
                <a:cubicBezTo>
                  <a:pt x="1498" y="275"/>
                  <a:pt x="1498" y="275"/>
                  <a:pt x="1497" y="275"/>
                </a:cubicBezTo>
                <a:cubicBezTo>
                  <a:pt x="1497" y="274"/>
                  <a:pt x="1498" y="274"/>
                  <a:pt x="1497" y="274"/>
                </a:cubicBezTo>
                <a:cubicBezTo>
                  <a:pt x="1497" y="272"/>
                  <a:pt x="1497" y="270"/>
                  <a:pt x="1498" y="269"/>
                </a:cubicBezTo>
                <a:cubicBezTo>
                  <a:pt x="1498" y="269"/>
                  <a:pt x="1497" y="269"/>
                  <a:pt x="1497" y="269"/>
                </a:cubicBezTo>
                <a:cubicBezTo>
                  <a:pt x="1497" y="267"/>
                  <a:pt x="1498" y="266"/>
                  <a:pt x="1498" y="265"/>
                </a:cubicBezTo>
                <a:cubicBezTo>
                  <a:pt x="1498" y="264"/>
                  <a:pt x="1498" y="264"/>
                  <a:pt x="1498" y="263"/>
                </a:cubicBezTo>
                <a:cubicBezTo>
                  <a:pt x="1498" y="263"/>
                  <a:pt x="1498" y="263"/>
                  <a:pt x="1498" y="263"/>
                </a:cubicBezTo>
                <a:cubicBezTo>
                  <a:pt x="1498" y="263"/>
                  <a:pt x="1498" y="263"/>
                  <a:pt x="1498" y="262"/>
                </a:cubicBezTo>
                <a:cubicBezTo>
                  <a:pt x="1497" y="262"/>
                  <a:pt x="1497" y="262"/>
                  <a:pt x="1497" y="261"/>
                </a:cubicBezTo>
                <a:cubicBezTo>
                  <a:pt x="1497" y="261"/>
                  <a:pt x="1497" y="260"/>
                  <a:pt x="1496" y="260"/>
                </a:cubicBezTo>
                <a:cubicBezTo>
                  <a:pt x="1496" y="260"/>
                  <a:pt x="1497" y="260"/>
                  <a:pt x="1496" y="260"/>
                </a:cubicBezTo>
                <a:cubicBezTo>
                  <a:pt x="1496" y="260"/>
                  <a:pt x="1496" y="258"/>
                  <a:pt x="1496" y="258"/>
                </a:cubicBezTo>
                <a:cubicBezTo>
                  <a:pt x="1496" y="257"/>
                  <a:pt x="1496" y="257"/>
                  <a:pt x="1497" y="257"/>
                </a:cubicBezTo>
                <a:cubicBezTo>
                  <a:pt x="1497" y="256"/>
                  <a:pt x="1497" y="256"/>
                  <a:pt x="1497" y="255"/>
                </a:cubicBezTo>
                <a:cubicBezTo>
                  <a:pt x="1497" y="255"/>
                  <a:pt x="1497" y="255"/>
                  <a:pt x="1497" y="254"/>
                </a:cubicBezTo>
                <a:cubicBezTo>
                  <a:pt x="1497" y="254"/>
                  <a:pt x="1496" y="254"/>
                  <a:pt x="1496" y="254"/>
                </a:cubicBezTo>
                <a:cubicBezTo>
                  <a:pt x="1496" y="254"/>
                  <a:pt x="1496" y="254"/>
                  <a:pt x="1496" y="254"/>
                </a:cubicBezTo>
                <a:cubicBezTo>
                  <a:pt x="1496" y="254"/>
                  <a:pt x="1496" y="254"/>
                  <a:pt x="1496" y="253"/>
                </a:cubicBezTo>
                <a:cubicBezTo>
                  <a:pt x="1496" y="252"/>
                  <a:pt x="1496" y="251"/>
                  <a:pt x="1495" y="252"/>
                </a:cubicBezTo>
                <a:cubicBezTo>
                  <a:pt x="1494" y="254"/>
                  <a:pt x="1495" y="254"/>
                  <a:pt x="1493" y="254"/>
                </a:cubicBezTo>
                <a:cubicBezTo>
                  <a:pt x="1493" y="255"/>
                  <a:pt x="1493" y="256"/>
                  <a:pt x="1493" y="257"/>
                </a:cubicBezTo>
                <a:cubicBezTo>
                  <a:pt x="1494" y="257"/>
                  <a:pt x="1494" y="257"/>
                  <a:pt x="1494" y="258"/>
                </a:cubicBezTo>
                <a:cubicBezTo>
                  <a:pt x="1494" y="258"/>
                  <a:pt x="1494" y="258"/>
                  <a:pt x="1494" y="258"/>
                </a:cubicBezTo>
                <a:cubicBezTo>
                  <a:pt x="1494" y="259"/>
                  <a:pt x="1494" y="260"/>
                  <a:pt x="1493" y="260"/>
                </a:cubicBezTo>
                <a:cubicBezTo>
                  <a:pt x="1492" y="261"/>
                  <a:pt x="1491" y="261"/>
                  <a:pt x="1491" y="262"/>
                </a:cubicBezTo>
                <a:cubicBezTo>
                  <a:pt x="1491" y="263"/>
                  <a:pt x="1491" y="263"/>
                  <a:pt x="1491" y="263"/>
                </a:cubicBezTo>
                <a:cubicBezTo>
                  <a:pt x="1490" y="264"/>
                  <a:pt x="1490" y="265"/>
                  <a:pt x="1490" y="267"/>
                </a:cubicBezTo>
                <a:cubicBezTo>
                  <a:pt x="1489" y="266"/>
                  <a:pt x="1491" y="268"/>
                  <a:pt x="1490" y="268"/>
                </a:cubicBezTo>
                <a:cubicBezTo>
                  <a:pt x="1490" y="269"/>
                  <a:pt x="1490" y="270"/>
                  <a:pt x="1490" y="271"/>
                </a:cubicBezTo>
                <a:cubicBezTo>
                  <a:pt x="1490" y="271"/>
                  <a:pt x="1490" y="271"/>
                  <a:pt x="1490" y="271"/>
                </a:cubicBezTo>
                <a:cubicBezTo>
                  <a:pt x="1491" y="272"/>
                  <a:pt x="1490" y="272"/>
                  <a:pt x="1490" y="272"/>
                </a:cubicBezTo>
                <a:cubicBezTo>
                  <a:pt x="1491" y="272"/>
                  <a:pt x="1491" y="272"/>
                  <a:pt x="1491" y="273"/>
                </a:cubicBezTo>
                <a:cubicBezTo>
                  <a:pt x="1491" y="273"/>
                  <a:pt x="1491" y="274"/>
                  <a:pt x="1491" y="274"/>
                </a:cubicBezTo>
                <a:cubicBezTo>
                  <a:pt x="1491" y="275"/>
                  <a:pt x="1491" y="276"/>
                  <a:pt x="1491" y="277"/>
                </a:cubicBezTo>
                <a:cubicBezTo>
                  <a:pt x="1491" y="277"/>
                  <a:pt x="1491" y="281"/>
                  <a:pt x="1492" y="281"/>
                </a:cubicBezTo>
                <a:cubicBezTo>
                  <a:pt x="1491" y="281"/>
                  <a:pt x="1491" y="285"/>
                  <a:pt x="1491" y="286"/>
                </a:cubicBezTo>
                <a:cubicBezTo>
                  <a:pt x="1491" y="286"/>
                  <a:pt x="1491" y="285"/>
                  <a:pt x="1491" y="286"/>
                </a:cubicBezTo>
                <a:cubicBezTo>
                  <a:pt x="1491" y="287"/>
                  <a:pt x="1491" y="288"/>
                  <a:pt x="1491" y="288"/>
                </a:cubicBezTo>
                <a:cubicBezTo>
                  <a:pt x="1491" y="289"/>
                  <a:pt x="1491" y="290"/>
                  <a:pt x="1491" y="290"/>
                </a:cubicBezTo>
                <a:cubicBezTo>
                  <a:pt x="1490" y="290"/>
                  <a:pt x="1491" y="293"/>
                  <a:pt x="1491" y="293"/>
                </a:cubicBezTo>
                <a:cubicBezTo>
                  <a:pt x="1492" y="295"/>
                  <a:pt x="1491" y="297"/>
                  <a:pt x="1491" y="298"/>
                </a:cubicBezTo>
                <a:cubicBezTo>
                  <a:pt x="1491" y="299"/>
                  <a:pt x="1491" y="298"/>
                  <a:pt x="1491" y="299"/>
                </a:cubicBezTo>
                <a:cubicBezTo>
                  <a:pt x="1491" y="299"/>
                  <a:pt x="1490" y="299"/>
                  <a:pt x="1490" y="299"/>
                </a:cubicBezTo>
                <a:cubicBezTo>
                  <a:pt x="1490" y="300"/>
                  <a:pt x="1490" y="301"/>
                  <a:pt x="1491" y="301"/>
                </a:cubicBezTo>
                <a:cubicBezTo>
                  <a:pt x="1491" y="302"/>
                  <a:pt x="1491" y="303"/>
                  <a:pt x="1490" y="303"/>
                </a:cubicBezTo>
                <a:close/>
                <a:moveTo>
                  <a:pt x="23" y="252"/>
                </a:moveTo>
                <a:cubicBezTo>
                  <a:pt x="22" y="252"/>
                  <a:pt x="21" y="252"/>
                  <a:pt x="21" y="252"/>
                </a:cubicBezTo>
                <a:cubicBezTo>
                  <a:pt x="21" y="253"/>
                  <a:pt x="21" y="253"/>
                  <a:pt x="22" y="253"/>
                </a:cubicBezTo>
                <a:cubicBezTo>
                  <a:pt x="21" y="255"/>
                  <a:pt x="20" y="255"/>
                  <a:pt x="19" y="255"/>
                </a:cubicBezTo>
                <a:cubicBezTo>
                  <a:pt x="19" y="255"/>
                  <a:pt x="19" y="256"/>
                  <a:pt x="20" y="256"/>
                </a:cubicBezTo>
                <a:cubicBezTo>
                  <a:pt x="20" y="256"/>
                  <a:pt x="21" y="255"/>
                  <a:pt x="22" y="255"/>
                </a:cubicBezTo>
                <a:cubicBezTo>
                  <a:pt x="23" y="255"/>
                  <a:pt x="24" y="254"/>
                  <a:pt x="24" y="252"/>
                </a:cubicBezTo>
                <a:cubicBezTo>
                  <a:pt x="23" y="252"/>
                  <a:pt x="23" y="252"/>
                  <a:pt x="23" y="252"/>
                </a:cubicBezTo>
                <a:cubicBezTo>
                  <a:pt x="22" y="252"/>
                  <a:pt x="23" y="252"/>
                  <a:pt x="23" y="252"/>
                </a:cubicBezTo>
                <a:close/>
                <a:moveTo>
                  <a:pt x="196" y="251"/>
                </a:moveTo>
                <a:cubicBezTo>
                  <a:pt x="196" y="252"/>
                  <a:pt x="199" y="251"/>
                  <a:pt x="196" y="251"/>
                </a:cubicBezTo>
                <a:cubicBezTo>
                  <a:pt x="196" y="251"/>
                  <a:pt x="196" y="251"/>
                  <a:pt x="196" y="251"/>
                </a:cubicBezTo>
                <a:close/>
                <a:moveTo>
                  <a:pt x="188" y="256"/>
                </a:moveTo>
                <a:cubicBezTo>
                  <a:pt x="188" y="255"/>
                  <a:pt x="189" y="256"/>
                  <a:pt x="189" y="255"/>
                </a:cubicBezTo>
                <a:cubicBezTo>
                  <a:pt x="189" y="254"/>
                  <a:pt x="189" y="254"/>
                  <a:pt x="189" y="253"/>
                </a:cubicBezTo>
                <a:cubicBezTo>
                  <a:pt x="189" y="252"/>
                  <a:pt x="190" y="251"/>
                  <a:pt x="190" y="250"/>
                </a:cubicBezTo>
                <a:cubicBezTo>
                  <a:pt x="189" y="250"/>
                  <a:pt x="189" y="250"/>
                  <a:pt x="188" y="250"/>
                </a:cubicBezTo>
                <a:cubicBezTo>
                  <a:pt x="188" y="250"/>
                  <a:pt x="187" y="250"/>
                  <a:pt x="187" y="250"/>
                </a:cubicBezTo>
                <a:cubicBezTo>
                  <a:pt x="187" y="250"/>
                  <a:pt x="187" y="251"/>
                  <a:pt x="186" y="251"/>
                </a:cubicBezTo>
                <a:cubicBezTo>
                  <a:pt x="186" y="250"/>
                  <a:pt x="185" y="250"/>
                  <a:pt x="184" y="250"/>
                </a:cubicBezTo>
                <a:cubicBezTo>
                  <a:pt x="184" y="251"/>
                  <a:pt x="184" y="252"/>
                  <a:pt x="184" y="252"/>
                </a:cubicBezTo>
                <a:cubicBezTo>
                  <a:pt x="185" y="252"/>
                  <a:pt x="185" y="253"/>
                  <a:pt x="185" y="253"/>
                </a:cubicBezTo>
                <a:cubicBezTo>
                  <a:pt x="185" y="254"/>
                  <a:pt x="184" y="255"/>
                  <a:pt x="185" y="255"/>
                </a:cubicBezTo>
                <a:cubicBezTo>
                  <a:pt x="185" y="255"/>
                  <a:pt x="185" y="255"/>
                  <a:pt x="186" y="255"/>
                </a:cubicBezTo>
                <a:cubicBezTo>
                  <a:pt x="186" y="256"/>
                  <a:pt x="185" y="256"/>
                  <a:pt x="185" y="257"/>
                </a:cubicBezTo>
                <a:cubicBezTo>
                  <a:pt x="186" y="256"/>
                  <a:pt x="187" y="256"/>
                  <a:pt x="188" y="256"/>
                </a:cubicBezTo>
                <a:close/>
                <a:moveTo>
                  <a:pt x="1746" y="248"/>
                </a:moveTo>
                <a:cubicBezTo>
                  <a:pt x="1745" y="248"/>
                  <a:pt x="1742" y="248"/>
                  <a:pt x="1742" y="249"/>
                </a:cubicBezTo>
                <a:cubicBezTo>
                  <a:pt x="1741" y="250"/>
                  <a:pt x="1740" y="250"/>
                  <a:pt x="1740" y="252"/>
                </a:cubicBezTo>
                <a:cubicBezTo>
                  <a:pt x="1741" y="252"/>
                  <a:pt x="1742" y="252"/>
                  <a:pt x="1742" y="251"/>
                </a:cubicBezTo>
                <a:cubicBezTo>
                  <a:pt x="1742" y="250"/>
                  <a:pt x="1742" y="251"/>
                  <a:pt x="1743" y="251"/>
                </a:cubicBezTo>
                <a:cubicBezTo>
                  <a:pt x="1743" y="250"/>
                  <a:pt x="1743" y="250"/>
                  <a:pt x="1743" y="250"/>
                </a:cubicBezTo>
                <a:cubicBezTo>
                  <a:pt x="1744" y="250"/>
                  <a:pt x="1745" y="250"/>
                  <a:pt x="1745" y="250"/>
                </a:cubicBezTo>
                <a:cubicBezTo>
                  <a:pt x="1746" y="250"/>
                  <a:pt x="1746" y="250"/>
                  <a:pt x="1747" y="249"/>
                </a:cubicBezTo>
                <a:cubicBezTo>
                  <a:pt x="1749" y="249"/>
                  <a:pt x="1746" y="248"/>
                  <a:pt x="1746" y="248"/>
                </a:cubicBezTo>
                <a:cubicBezTo>
                  <a:pt x="1745" y="248"/>
                  <a:pt x="1746" y="248"/>
                  <a:pt x="1746" y="248"/>
                </a:cubicBezTo>
                <a:close/>
                <a:moveTo>
                  <a:pt x="1468" y="248"/>
                </a:moveTo>
                <a:cubicBezTo>
                  <a:pt x="1468" y="250"/>
                  <a:pt x="1468" y="249"/>
                  <a:pt x="1469" y="250"/>
                </a:cubicBezTo>
                <a:cubicBezTo>
                  <a:pt x="1470" y="250"/>
                  <a:pt x="1470" y="250"/>
                  <a:pt x="1471" y="250"/>
                </a:cubicBezTo>
                <a:cubicBezTo>
                  <a:pt x="1471" y="249"/>
                  <a:pt x="1471" y="249"/>
                  <a:pt x="1472" y="249"/>
                </a:cubicBezTo>
                <a:cubicBezTo>
                  <a:pt x="1472" y="248"/>
                  <a:pt x="1471" y="247"/>
                  <a:pt x="1470" y="247"/>
                </a:cubicBezTo>
                <a:cubicBezTo>
                  <a:pt x="1469" y="247"/>
                  <a:pt x="1469" y="248"/>
                  <a:pt x="1468" y="248"/>
                </a:cubicBezTo>
                <a:close/>
                <a:moveTo>
                  <a:pt x="1762" y="248"/>
                </a:moveTo>
                <a:cubicBezTo>
                  <a:pt x="1762" y="248"/>
                  <a:pt x="1763" y="249"/>
                  <a:pt x="1763" y="249"/>
                </a:cubicBezTo>
                <a:cubicBezTo>
                  <a:pt x="1763" y="249"/>
                  <a:pt x="1764" y="247"/>
                  <a:pt x="1764" y="246"/>
                </a:cubicBezTo>
                <a:cubicBezTo>
                  <a:pt x="1764" y="246"/>
                  <a:pt x="1764" y="246"/>
                  <a:pt x="1763" y="246"/>
                </a:cubicBezTo>
                <a:cubicBezTo>
                  <a:pt x="1763" y="246"/>
                  <a:pt x="1762" y="248"/>
                  <a:pt x="1762" y="248"/>
                </a:cubicBezTo>
                <a:cubicBezTo>
                  <a:pt x="1762" y="248"/>
                  <a:pt x="1762" y="248"/>
                  <a:pt x="1762" y="248"/>
                </a:cubicBezTo>
                <a:close/>
                <a:moveTo>
                  <a:pt x="871" y="250"/>
                </a:moveTo>
                <a:cubicBezTo>
                  <a:pt x="872" y="250"/>
                  <a:pt x="872" y="250"/>
                  <a:pt x="873" y="250"/>
                </a:cubicBezTo>
                <a:cubicBezTo>
                  <a:pt x="873" y="249"/>
                  <a:pt x="873" y="249"/>
                  <a:pt x="873" y="249"/>
                </a:cubicBezTo>
                <a:cubicBezTo>
                  <a:pt x="873" y="249"/>
                  <a:pt x="874" y="250"/>
                  <a:pt x="874" y="250"/>
                </a:cubicBezTo>
                <a:cubicBezTo>
                  <a:pt x="874" y="249"/>
                  <a:pt x="875" y="248"/>
                  <a:pt x="876" y="248"/>
                </a:cubicBezTo>
                <a:cubicBezTo>
                  <a:pt x="877" y="248"/>
                  <a:pt x="877" y="247"/>
                  <a:pt x="878" y="246"/>
                </a:cubicBezTo>
                <a:cubicBezTo>
                  <a:pt x="877" y="246"/>
                  <a:pt x="876" y="246"/>
                  <a:pt x="875" y="246"/>
                </a:cubicBezTo>
                <a:cubicBezTo>
                  <a:pt x="875" y="247"/>
                  <a:pt x="875" y="247"/>
                  <a:pt x="875" y="247"/>
                </a:cubicBezTo>
                <a:cubicBezTo>
                  <a:pt x="874" y="247"/>
                  <a:pt x="874" y="247"/>
                  <a:pt x="873" y="247"/>
                </a:cubicBezTo>
                <a:cubicBezTo>
                  <a:pt x="873" y="247"/>
                  <a:pt x="873" y="248"/>
                  <a:pt x="872" y="247"/>
                </a:cubicBezTo>
                <a:cubicBezTo>
                  <a:pt x="872" y="247"/>
                  <a:pt x="871" y="247"/>
                  <a:pt x="870" y="247"/>
                </a:cubicBezTo>
                <a:cubicBezTo>
                  <a:pt x="870" y="247"/>
                  <a:pt x="871" y="248"/>
                  <a:pt x="871" y="248"/>
                </a:cubicBezTo>
                <a:cubicBezTo>
                  <a:pt x="871" y="248"/>
                  <a:pt x="870" y="248"/>
                  <a:pt x="870" y="248"/>
                </a:cubicBezTo>
                <a:cubicBezTo>
                  <a:pt x="870" y="249"/>
                  <a:pt x="871" y="249"/>
                  <a:pt x="871" y="250"/>
                </a:cubicBezTo>
                <a:cubicBezTo>
                  <a:pt x="872" y="250"/>
                  <a:pt x="871" y="250"/>
                  <a:pt x="871" y="250"/>
                </a:cubicBezTo>
                <a:close/>
                <a:moveTo>
                  <a:pt x="1749" y="247"/>
                </a:moveTo>
                <a:cubicBezTo>
                  <a:pt x="1750" y="247"/>
                  <a:pt x="1750" y="247"/>
                  <a:pt x="1750" y="247"/>
                </a:cubicBezTo>
                <a:cubicBezTo>
                  <a:pt x="1750" y="247"/>
                  <a:pt x="1751" y="247"/>
                  <a:pt x="1751" y="247"/>
                </a:cubicBezTo>
                <a:cubicBezTo>
                  <a:pt x="1751" y="246"/>
                  <a:pt x="1751" y="246"/>
                  <a:pt x="1749" y="246"/>
                </a:cubicBezTo>
                <a:cubicBezTo>
                  <a:pt x="1749" y="246"/>
                  <a:pt x="1749" y="247"/>
                  <a:pt x="1749" y="247"/>
                </a:cubicBezTo>
                <a:cubicBezTo>
                  <a:pt x="1750" y="247"/>
                  <a:pt x="1749" y="247"/>
                  <a:pt x="1749" y="247"/>
                </a:cubicBezTo>
                <a:close/>
                <a:moveTo>
                  <a:pt x="868" y="249"/>
                </a:moveTo>
                <a:cubicBezTo>
                  <a:pt x="868" y="249"/>
                  <a:pt x="869" y="249"/>
                  <a:pt x="869" y="249"/>
                </a:cubicBezTo>
                <a:cubicBezTo>
                  <a:pt x="869" y="248"/>
                  <a:pt x="869" y="248"/>
                  <a:pt x="869" y="248"/>
                </a:cubicBezTo>
                <a:cubicBezTo>
                  <a:pt x="869" y="247"/>
                  <a:pt x="869" y="248"/>
                  <a:pt x="869" y="247"/>
                </a:cubicBezTo>
                <a:cubicBezTo>
                  <a:pt x="869" y="247"/>
                  <a:pt x="869" y="246"/>
                  <a:pt x="869" y="246"/>
                </a:cubicBezTo>
                <a:cubicBezTo>
                  <a:pt x="869" y="245"/>
                  <a:pt x="868" y="248"/>
                  <a:pt x="868" y="249"/>
                </a:cubicBezTo>
                <a:cubicBezTo>
                  <a:pt x="868" y="249"/>
                  <a:pt x="868" y="249"/>
                  <a:pt x="868" y="249"/>
                </a:cubicBezTo>
                <a:close/>
                <a:moveTo>
                  <a:pt x="1760" y="245"/>
                </a:moveTo>
                <a:cubicBezTo>
                  <a:pt x="1760" y="245"/>
                  <a:pt x="1760" y="245"/>
                  <a:pt x="1760" y="245"/>
                </a:cubicBezTo>
                <a:cubicBezTo>
                  <a:pt x="1760" y="246"/>
                  <a:pt x="1760" y="246"/>
                  <a:pt x="1761" y="246"/>
                </a:cubicBezTo>
                <a:cubicBezTo>
                  <a:pt x="1761" y="246"/>
                  <a:pt x="1762" y="246"/>
                  <a:pt x="1762" y="246"/>
                </a:cubicBezTo>
                <a:cubicBezTo>
                  <a:pt x="1762" y="245"/>
                  <a:pt x="1762" y="245"/>
                  <a:pt x="1761" y="245"/>
                </a:cubicBezTo>
                <a:cubicBezTo>
                  <a:pt x="1761" y="245"/>
                  <a:pt x="1760" y="245"/>
                  <a:pt x="1760" y="245"/>
                </a:cubicBezTo>
                <a:close/>
                <a:moveTo>
                  <a:pt x="43" y="244"/>
                </a:moveTo>
                <a:cubicBezTo>
                  <a:pt x="43" y="244"/>
                  <a:pt x="43" y="244"/>
                  <a:pt x="42" y="245"/>
                </a:cubicBezTo>
                <a:cubicBezTo>
                  <a:pt x="43" y="245"/>
                  <a:pt x="44" y="244"/>
                  <a:pt x="44" y="243"/>
                </a:cubicBezTo>
                <a:cubicBezTo>
                  <a:pt x="44" y="243"/>
                  <a:pt x="44" y="243"/>
                  <a:pt x="43" y="244"/>
                </a:cubicBezTo>
                <a:cubicBezTo>
                  <a:pt x="42" y="244"/>
                  <a:pt x="43" y="244"/>
                  <a:pt x="43" y="244"/>
                </a:cubicBezTo>
                <a:close/>
                <a:moveTo>
                  <a:pt x="38" y="243"/>
                </a:moveTo>
                <a:cubicBezTo>
                  <a:pt x="37" y="243"/>
                  <a:pt x="36" y="243"/>
                  <a:pt x="35" y="243"/>
                </a:cubicBezTo>
                <a:cubicBezTo>
                  <a:pt x="35" y="244"/>
                  <a:pt x="33" y="243"/>
                  <a:pt x="33" y="244"/>
                </a:cubicBezTo>
                <a:cubicBezTo>
                  <a:pt x="33" y="246"/>
                  <a:pt x="32" y="246"/>
                  <a:pt x="31" y="247"/>
                </a:cubicBezTo>
                <a:cubicBezTo>
                  <a:pt x="32" y="247"/>
                  <a:pt x="34" y="247"/>
                  <a:pt x="34" y="246"/>
                </a:cubicBezTo>
                <a:cubicBezTo>
                  <a:pt x="34" y="246"/>
                  <a:pt x="35" y="246"/>
                  <a:pt x="35" y="246"/>
                </a:cubicBezTo>
                <a:cubicBezTo>
                  <a:pt x="36" y="245"/>
                  <a:pt x="36" y="245"/>
                  <a:pt x="38" y="245"/>
                </a:cubicBezTo>
                <a:cubicBezTo>
                  <a:pt x="38" y="245"/>
                  <a:pt x="39" y="245"/>
                  <a:pt x="39" y="244"/>
                </a:cubicBezTo>
                <a:cubicBezTo>
                  <a:pt x="39" y="244"/>
                  <a:pt x="38" y="244"/>
                  <a:pt x="38" y="243"/>
                </a:cubicBezTo>
                <a:cubicBezTo>
                  <a:pt x="36" y="243"/>
                  <a:pt x="38" y="243"/>
                  <a:pt x="38" y="243"/>
                </a:cubicBezTo>
                <a:close/>
                <a:moveTo>
                  <a:pt x="889" y="245"/>
                </a:moveTo>
                <a:cubicBezTo>
                  <a:pt x="890" y="245"/>
                  <a:pt x="890" y="245"/>
                  <a:pt x="890" y="244"/>
                </a:cubicBezTo>
                <a:cubicBezTo>
                  <a:pt x="889" y="243"/>
                  <a:pt x="888" y="243"/>
                  <a:pt x="887" y="243"/>
                </a:cubicBezTo>
                <a:cubicBezTo>
                  <a:pt x="887" y="244"/>
                  <a:pt x="888" y="244"/>
                  <a:pt x="889" y="245"/>
                </a:cubicBezTo>
                <a:cubicBezTo>
                  <a:pt x="889" y="245"/>
                  <a:pt x="889" y="245"/>
                  <a:pt x="889" y="245"/>
                </a:cubicBezTo>
                <a:close/>
                <a:moveTo>
                  <a:pt x="774" y="261"/>
                </a:moveTo>
                <a:cubicBezTo>
                  <a:pt x="774" y="261"/>
                  <a:pt x="774" y="261"/>
                  <a:pt x="775" y="261"/>
                </a:cubicBezTo>
                <a:cubicBezTo>
                  <a:pt x="775" y="262"/>
                  <a:pt x="774" y="263"/>
                  <a:pt x="773" y="262"/>
                </a:cubicBezTo>
                <a:cubicBezTo>
                  <a:pt x="773" y="262"/>
                  <a:pt x="773" y="262"/>
                  <a:pt x="774" y="261"/>
                </a:cubicBezTo>
                <a:close/>
                <a:moveTo>
                  <a:pt x="769" y="267"/>
                </a:moveTo>
                <a:cubicBezTo>
                  <a:pt x="769" y="267"/>
                  <a:pt x="769" y="267"/>
                  <a:pt x="769" y="268"/>
                </a:cubicBezTo>
                <a:cubicBezTo>
                  <a:pt x="769" y="268"/>
                  <a:pt x="768" y="268"/>
                  <a:pt x="768" y="269"/>
                </a:cubicBezTo>
                <a:cubicBezTo>
                  <a:pt x="769" y="269"/>
                  <a:pt x="769" y="268"/>
                  <a:pt x="770" y="268"/>
                </a:cubicBezTo>
                <a:cubicBezTo>
                  <a:pt x="770" y="268"/>
                  <a:pt x="771" y="268"/>
                  <a:pt x="771" y="268"/>
                </a:cubicBezTo>
                <a:cubicBezTo>
                  <a:pt x="772" y="268"/>
                  <a:pt x="771" y="269"/>
                  <a:pt x="771" y="269"/>
                </a:cubicBezTo>
                <a:cubicBezTo>
                  <a:pt x="770" y="269"/>
                  <a:pt x="770" y="269"/>
                  <a:pt x="770" y="270"/>
                </a:cubicBezTo>
                <a:cubicBezTo>
                  <a:pt x="771" y="270"/>
                  <a:pt x="772" y="269"/>
                  <a:pt x="774" y="268"/>
                </a:cubicBezTo>
                <a:cubicBezTo>
                  <a:pt x="774" y="269"/>
                  <a:pt x="774" y="269"/>
                  <a:pt x="774" y="269"/>
                </a:cubicBezTo>
                <a:cubicBezTo>
                  <a:pt x="774" y="270"/>
                  <a:pt x="775" y="270"/>
                  <a:pt x="775" y="270"/>
                </a:cubicBezTo>
                <a:cubicBezTo>
                  <a:pt x="775" y="270"/>
                  <a:pt x="776" y="269"/>
                  <a:pt x="776" y="269"/>
                </a:cubicBezTo>
                <a:cubicBezTo>
                  <a:pt x="777" y="269"/>
                  <a:pt x="777" y="268"/>
                  <a:pt x="778" y="268"/>
                </a:cubicBezTo>
                <a:cubicBezTo>
                  <a:pt x="778" y="268"/>
                  <a:pt x="778" y="267"/>
                  <a:pt x="778" y="267"/>
                </a:cubicBezTo>
                <a:cubicBezTo>
                  <a:pt x="779" y="267"/>
                  <a:pt x="780" y="267"/>
                  <a:pt x="780" y="267"/>
                </a:cubicBezTo>
                <a:cubicBezTo>
                  <a:pt x="781" y="266"/>
                  <a:pt x="781" y="267"/>
                  <a:pt x="781" y="267"/>
                </a:cubicBezTo>
                <a:cubicBezTo>
                  <a:pt x="782" y="267"/>
                  <a:pt x="781" y="265"/>
                  <a:pt x="782" y="265"/>
                </a:cubicBezTo>
                <a:cubicBezTo>
                  <a:pt x="782" y="265"/>
                  <a:pt x="784" y="265"/>
                  <a:pt x="784" y="265"/>
                </a:cubicBezTo>
                <a:cubicBezTo>
                  <a:pt x="784" y="264"/>
                  <a:pt x="784" y="264"/>
                  <a:pt x="784" y="263"/>
                </a:cubicBezTo>
                <a:cubicBezTo>
                  <a:pt x="784" y="264"/>
                  <a:pt x="785" y="264"/>
                  <a:pt x="785" y="264"/>
                </a:cubicBezTo>
                <a:cubicBezTo>
                  <a:pt x="785" y="263"/>
                  <a:pt x="784" y="262"/>
                  <a:pt x="785" y="262"/>
                </a:cubicBezTo>
                <a:cubicBezTo>
                  <a:pt x="787" y="262"/>
                  <a:pt x="786" y="261"/>
                  <a:pt x="786" y="260"/>
                </a:cubicBezTo>
                <a:cubicBezTo>
                  <a:pt x="787" y="260"/>
                  <a:pt x="786" y="257"/>
                  <a:pt x="786" y="257"/>
                </a:cubicBezTo>
                <a:cubicBezTo>
                  <a:pt x="786" y="256"/>
                  <a:pt x="785" y="257"/>
                  <a:pt x="785" y="256"/>
                </a:cubicBezTo>
                <a:cubicBezTo>
                  <a:pt x="785" y="256"/>
                  <a:pt x="786" y="256"/>
                  <a:pt x="785" y="255"/>
                </a:cubicBezTo>
                <a:cubicBezTo>
                  <a:pt x="785" y="255"/>
                  <a:pt x="786" y="254"/>
                  <a:pt x="786" y="253"/>
                </a:cubicBezTo>
                <a:cubicBezTo>
                  <a:pt x="785" y="252"/>
                  <a:pt x="786" y="252"/>
                  <a:pt x="787" y="252"/>
                </a:cubicBezTo>
                <a:cubicBezTo>
                  <a:pt x="786" y="251"/>
                  <a:pt x="787" y="251"/>
                  <a:pt x="788" y="251"/>
                </a:cubicBezTo>
                <a:cubicBezTo>
                  <a:pt x="788" y="251"/>
                  <a:pt x="789" y="251"/>
                  <a:pt x="789" y="250"/>
                </a:cubicBezTo>
                <a:cubicBezTo>
                  <a:pt x="790" y="250"/>
                  <a:pt x="791" y="250"/>
                  <a:pt x="791" y="250"/>
                </a:cubicBezTo>
                <a:cubicBezTo>
                  <a:pt x="791" y="249"/>
                  <a:pt x="790" y="249"/>
                  <a:pt x="789" y="249"/>
                </a:cubicBezTo>
                <a:cubicBezTo>
                  <a:pt x="789" y="249"/>
                  <a:pt x="789" y="248"/>
                  <a:pt x="789" y="247"/>
                </a:cubicBezTo>
                <a:cubicBezTo>
                  <a:pt x="789" y="247"/>
                  <a:pt x="788" y="247"/>
                  <a:pt x="788" y="247"/>
                </a:cubicBezTo>
                <a:cubicBezTo>
                  <a:pt x="788" y="246"/>
                  <a:pt x="789" y="246"/>
                  <a:pt x="789" y="245"/>
                </a:cubicBezTo>
                <a:cubicBezTo>
                  <a:pt x="788" y="245"/>
                  <a:pt x="788" y="244"/>
                  <a:pt x="787" y="244"/>
                </a:cubicBezTo>
                <a:cubicBezTo>
                  <a:pt x="786" y="245"/>
                  <a:pt x="784" y="246"/>
                  <a:pt x="783" y="246"/>
                </a:cubicBezTo>
                <a:cubicBezTo>
                  <a:pt x="784" y="245"/>
                  <a:pt x="784" y="245"/>
                  <a:pt x="784" y="244"/>
                </a:cubicBezTo>
                <a:cubicBezTo>
                  <a:pt x="784" y="243"/>
                  <a:pt x="784" y="243"/>
                  <a:pt x="783" y="242"/>
                </a:cubicBezTo>
                <a:cubicBezTo>
                  <a:pt x="783" y="243"/>
                  <a:pt x="783" y="243"/>
                  <a:pt x="783" y="244"/>
                </a:cubicBezTo>
                <a:cubicBezTo>
                  <a:pt x="783" y="244"/>
                  <a:pt x="782" y="244"/>
                  <a:pt x="781" y="244"/>
                </a:cubicBezTo>
                <a:cubicBezTo>
                  <a:pt x="782" y="243"/>
                  <a:pt x="781" y="243"/>
                  <a:pt x="780" y="243"/>
                </a:cubicBezTo>
                <a:cubicBezTo>
                  <a:pt x="779" y="243"/>
                  <a:pt x="778" y="243"/>
                  <a:pt x="778" y="244"/>
                </a:cubicBezTo>
                <a:cubicBezTo>
                  <a:pt x="778" y="245"/>
                  <a:pt x="779" y="245"/>
                  <a:pt x="778" y="245"/>
                </a:cubicBezTo>
                <a:cubicBezTo>
                  <a:pt x="777" y="245"/>
                  <a:pt x="777" y="245"/>
                  <a:pt x="777" y="246"/>
                </a:cubicBezTo>
                <a:cubicBezTo>
                  <a:pt x="778" y="246"/>
                  <a:pt x="778" y="246"/>
                  <a:pt x="779" y="246"/>
                </a:cubicBezTo>
                <a:cubicBezTo>
                  <a:pt x="779" y="247"/>
                  <a:pt x="779" y="247"/>
                  <a:pt x="778" y="247"/>
                </a:cubicBezTo>
                <a:cubicBezTo>
                  <a:pt x="777" y="247"/>
                  <a:pt x="777" y="249"/>
                  <a:pt x="776" y="249"/>
                </a:cubicBezTo>
                <a:cubicBezTo>
                  <a:pt x="776" y="249"/>
                  <a:pt x="777" y="249"/>
                  <a:pt x="777" y="250"/>
                </a:cubicBezTo>
                <a:cubicBezTo>
                  <a:pt x="776" y="250"/>
                  <a:pt x="776" y="250"/>
                  <a:pt x="776" y="250"/>
                </a:cubicBezTo>
                <a:cubicBezTo>
                  <a:pt x="776" y="250"/>
                  <a:pt x="775" y="249"/>
                  <a:pt x="774" y="249"/>
                </a:cubicBezTo>
                <a:cubicBezTo>
                  <a:pt x="773" y="249"/>
                  <a:pt x="773" y="250"/>
                  <a:pt x="773" y="250"/>
                </a:cubicBezTo>
                <a:cubicBezTo>
                  <a:pt x="772" y="250"/>
                  <a:pt x="772" y="249"/>
                  <a:pt x="772" y="249"/>
                </a:cubicBezTo>
                <a:cubicBezTo>
                  <a:pt x="771" y="249"/>
                  <a:pt x="771" y="250"/>
                  <a:pt x="771" y="250"/>
                </a:cubicBezTo>
                <a:cubicBezTo>
                  <a:pt x="771" y="250"/>
                  <a:pt x="771" y="250"/>
                  <a:pt x="771" y="251"/>
                </a:cubicBezTo>
                <a:cubicBezTo>
                  <a:pt x="771" y="252"/>
                  <a:pt x="771" y="251"/>
                  <a:pt x="771" y="251"/>
                </a:cubicBezTo>
                <a:cubicBezTo>
                  <a:pt x="771" y="252"/>
                  <a:pt x="771" y="252"/>
                  <a:pt x="772" y="252"/>
                </a:cubicBezTo>
                <a:cubicBezTo>
                  <a:pt x="772" y="252"/>
                  <a:pt x="772" y="252"/>
                  <a:pt x="773" y="253"/>
                </a:cubicBezTo>
                <a:cubicBezTo>
                  <a:pt x="772" y="253"/>
                  <a:pt x="773" y="253"/>
                  <a:pt x="772" y="253"/>
                </a:cubicBezTo>
                <a:cubicBezTo>
                  <a:pt x="772" y="254"/>
                  <a:pt x="771" y="253"/>
                  <a:pt x="771" y="253"/>
                </a:cubicBezTo>
                <a:cubicBezTo>
                  <a:pt x="770" y="253"/>
                  <a:pt x="771" y="254"/>
                  <a:pt x="770" y="254"/>
                </a:cubicBezTo>
                <a:cubicBezTo>
                  <a:pt x="769" y="254"/>
                  <a:pt x="770" y="254"/>
                  <a:pt x="770" y="254"/>
                </a:cubicBezTo>
                <a:cubicBezTo>
                  <a:pt x="770" y="255"/>
                  <a:pt x="769" y="255"/>
                  <a:pt x="769" y="255"/>
                </a:cubicBezTo>
                <a:cubicBezTo>
                  <a:pt x="769" y="255"/>
                  <a:pt x="768" y="256"/>
                  <a:pt x="769" y="257"/>
                </a:cubicBezTo>
                <a:cubicBezTo>
                  <a:pt x="769" y="257"/>
                  <a:pt x="770" y="256"/>
                  <a:pt x="770" y="257"/>
                </a:cubicBezTo>
                <a:cubicBezTo>
                  <a:pt x="771" y="257"/>
                  <a:pt x="771" y="257"/>
                  <a:pt x="772" y="257"/>
                </a:cubicBezTo>
                <a:cubicBezTo>
                  <a:pt x="772" y="257"/>
                  <a:pt x="772" y="258"/>
                  <a:pt x="772" y="258"/>
                </a:cubicBezTo>
                <a:cubicBezTo>
                  <a:pt x="772" y="258"/>
                  <a:pt x="772" y="257"/>
                  <a:pt x="773" y="257"/>
                </a:cubicBezTo>
                <a:cubicBezTo>
                  <a:pt x="774" y="257"/>
                  <a:pt x="774" y="257"/>
                  <a:pt x="774" y="256"/>
                </a:cubicBezTo>
                <a:cubicBezTo>
                  <a:pt x="774" y="255"/>
                  <a:pt x="774" y="256"/>
                  <a:pt x="775" y="256"/>
                </a:cubicBezTo>
                <a:cubicBezTo>
                  <a:pt x="775" y="257"/>
                  <a:pt x="775" y="257"/>
                  <a:pt x="774" y="257"/>
                </a:cubicBezTo>
                <a:cubicBezTo>
                  <a:pt x="774" y="258"/>
                  <a:pt x="774" y="258"/>
                  <a:pt x="773" y="258"/>
                </a:cubicBezTo>
                <a:cubicBezTo>
                  <a:pt x="772" y="259"/>
                  <a:pt x="773" y="259"/>
                  <a:pt x="773" y="260"/>
                </a:cubicBezTo>
                <a:cubicBezTo>
                  <a:pt x="773" y="260"/>
                  <a:pt x="773" y="260"/>
                  <a:pt x="772" y="260"/>
                </a:cubicBezTo>
                <a:cubicBezTo>
                  <a:pt x="772" y="260"/>
                  <a:pt x="772" y="261"/>
                  <a:pt x="772" y="261"/>
                </a:cubicBezTo>
                <a:cubicBezTo>
                  <a:pt x="772" y="261"/>
                  <a:pt x="771" y="262"/>
                  <a:pt x="771" y="262"/>
                </a:cubicBezTo>
                <a:cubicBezTo>
                  <a:pt x="771" y="262"/>
                  <a:pt x="771" y="262"/>
                  <a:pt x="771" y="262"/>
                </a:cubicBezTo>
                <a:cubicBezTo>
                  <a:pt x="773" y="262"/>
                  <a:pt x="772" y="263"/>
                  <a:pt x="771" y="264"/>
                </a:cubicBezTo>
                <a:cubicBezTo>
                  <a:pt x="769" y="264"/>
                  <a:pt x="771" y="264"/>
                  <a:pt x="771" y="265"/>
                </a:cubicBezTo>
                <a:cubicBezTo>
                  <a:pt x="770" y="265"/>
                  <a:pt x="769" y="265"/>
                  <a:pt x="768" y="265"/>
                </a:cubicBezTo>
                <a:cubicBezTo>
                  <a:pt x="768" y="265"/>
                  <a:pt x="768" y="265"/>
                  <a:pt x="768" y="265"/>
                </a:cubicBezTo>
                <a:cubicBezTo>
                  <a:pt x="768" y="266"/>
                  <a:pt x="768" y="266"/>
                  <a:pt x="769" y="267"/>
                </a:cubicBezTo>
                <a:cubicBezTo>
                  <a:pt x="769" y="267"/>
                  <a:pt x="769" y="267"/>
                  <a:pt x="769" y="267"/>
                </a:cubicBezTo>
                <a:close/>
                <a:moveTo>
                  <a:pt x="866" y="245"/>
                </a:moveTo>
                <a:cubicBezTo>
                  <a:pt x="867" y="245"/>
                  <a:pt x="867" y="245"/>
                  <a:pt x="868" y="245"/>
                </a:cubicBezTo>
                <a:cubicBezTo>
                  <a:pt x="868" y="245"/>
                  <a:pt x="868" y="244"/>
                  <a:pt x="868" y="243"/>
                </a:cubicBezTo>
                <a:cubicBezTo>
                  <a:pt x="868" y="243"/>
                  <a:pt x="868" y="243"/>
                  <a:pt x="868" y="242"/>
                </a:cubicBezTo>
                <a:cubicBezTo>
                  <a:pt x="867" y="242"/>
                  <a:pt x="866" y="242"/>
                  <a:pt x="865" y="242"/>
                </a:cubicBezTo>
                <a:cubicBezTo>
                  <a:pt x="864" y="242"/>
                  <a:pt x="865" y="244"/>
                  <a:pt x="865" y="244"/>
                </a:cubicBezTo>
                <a:cubicBezTo>
                  <a:pt x="866" y="244"/>
                  <a:pt x="866" y="244"/>
                  <a:pt x="866" y="245"/>
                </a:cubicBezTo>
                <a:cubicBezTo>
                  <a:pt x="867" y="245"/>
                  <a:pt x="866" y="245"/>
                  <a:pt x="866" y="245"/>
                </a:cubicBezTo>
                <a:close/>
                <a:moveTo>
                  <a:pt x="187" y="242"/>
                </a:moveTo>
                <a:cubicBezTo>
                  <a:pt x="187" y="242"/>
                  <a:pt x="186" y="242"/>
                  <a:pt x="186" y="242"/>
                </a:cubicBezTo>
                <a:cubicBezTo>
                  <a:pt x="186" y="242"/>
                  <a:pt x="187" y="243"/>
                  <a:pt x="187" y="243"/>
                </a:cubicBezTo>
                <a:cubicBezTo>
                  <a:pt x="187" y="242"/>
                  <a:pt x="187" y="242"/>
                  <a:pt x="187" y="242"/>
                </a:cubicBezTo>
                <a:cubicBezTo>
                  <a:pt x="187" y="242"/>
                  <a:pt x="187" y="242"/>
                  <a:pt x="187" y="242"/>
                </a:cubicBezTo>
                <a:close/>
                <a:moveTo>
                  <a:pt x="54" y="244"/>
                </a:moveTo>
                <a:cubicBezTo>
                  <a:pt x="56" y="243"/>
                  <a:pt x="56" y="243"/>
                  <a:pt x="56" y="242"/>
                </a:cubicBezTo>
                <a:cubicBezTo>
                  <a:pt x="55" y="242"/>
                  <a:pt x="54" y="242"/>
                  <a:pt x="54" y="244"/>
                </a:cubicBezTo>
                <a:cubicBezTo>
                  <a:pt x="55" y="244"/>
                  <a:pt x="54" y="244"/>
                  <a:pt x="54" y="244"/>
                </a:cubicBezTo>
                <a:close/>
                <a:moveTo>
                  <a:pt x="916" y="241"/>
                </a:moveTo>
                <a:cubicBezTo>
                  <a:pt x="915" y="241"/>
                  <a:pt x="914" y="241"/>
                  <a:pt x="915" y="242"/>
                </a:cubicBezTo>
                <a:cubicBezTo>
                  <a:pt x="915" y="243"/>
                  <a:pt x="916" y="242"/>
                  <a:pt x="916" y="241"/>
                </a:cubicBezTo>
                <a:close/>
                <a:moveTo>
                  <a:pt x="790" y="242"/>
                </a:moveTo>
                <a:cubicBezTo>
                  <a:pt x="791" y="243"/>
                  <a:pt x="791" y="242"/>
                  <a:pt x="791" y="241"/>
                </a:cubicBezTo>
                <a:cubicBezTo>
                  <a:pt x="791" y="240"/>
                  <a:pt x="790" y="242"/>
                  <a:pt x="790" y="242"/>
                </a:cubicBezTo>
                <a:close/>
                <a:moveTo>
                  <a:pt x="787" y="241"/>
                </a:moveTo>
                <a:cubicBezTo>
                  <a:pt x="787" y="241"/>
                  <a:pt x="787" y="241"/>
                  <a:pt x="788" y="241"/>
                </a:cubicBezTo>
                <a:cubicBezTo>
                  <a:pt x="787" y="241"/>
                  <a:pt x="788" y="241"/>
                  <a:pt x="787" y="241"/>
                </a:cubicBezTo>
                <a:cubicBezTo>
                  <a:pt x="787" y="241"/>
                  <a:pt x="787" y="241"/>
                  <a:pt x="787" y="241"/>
                </a:cubicBezTo>
                <a:close/>
                <a:moveTo>
                  <a:pt x="53" y="240"/>
                </a:moveTo>
                <a:cubicBezTo>
                  <a:pt x="52" y="240"/>
                  <a:pt x="52" y="240"/>
                  <a:pt x="52" y="241"/>
                </a:cubicBezTo>
                <a:cubicBezTo>
                  <a:pt x="52" y="241"/>
                  <a:pt x="53" y="241"/>
                  <a:pt x="53" y="241"/>
                </a:cubicBezTo>
                <a:cubicBezTo>
                  <a:pt x="53" y="241"/>
                  <a:pt x="53" y="241"/>
                  <a:pt x="53" y="240"/>
                </a:cubicBezTo>
                <a:cubicBezTo>
                  <a:pt x="53" y="240"/>
                  <a:pt x="53" y="240"/>
                  <a:pt x="53" y="240"/>
                </a:cubicBezTo>
                <a:close/>
                <a:moveTo>
                  <a:pt x="1591" y="240"/>
                </a:moveTo>
                <a:cubicBezTo>
                  <a:pt x="1591" y="240"/>
                  <a:pt x="1591" y="240"/>
                  <a:pt x="1591" y="240"/>
                </a:cubicBezTo>
                <a:cubicBezTo>
                  <a:pt x="1591" y="240"/>
                  <a:pt x="1591" y="240"/>
                  <a:pt x="1591" y="240"/>
                </a:cubicBezTo>
                <a:close/>
                <a:moveTo>
                  <a:pt x="873" y="241"/>
                </a:moveTo>
                <a:cubicBezTo>
                  <a:pt x="873" y="241"/>
                  <a:pt x="872" y="241"/>
                  <a:pt x="872" y="240"/>
                </a:cubicBezTo>
                <a:cubicBezTo>
                  <a:pt x="872" y="239"/>
                  <a:pt x="872" y="239"/>
                  <a:pt x="871" y="239"/>
                </a:cubicBezTo>
                <a:cubicBezTo>
                  <a:pt x="871" y="239"/>
                  <a:pt x="870" y="239"/>
                  <a:pt x="870" y="240"/>
                </a:cubicBezTo>
                <a:cubicBezTo>
                  <a:pt x="870" y="241"/>
                  <a:pt x="870" y="241"/>
                  <a:pt x="869" y="241"/>
                </a:cubicBezTo>
                <a:cubicBezTo>
                  <a:pt x="869" y="242"/>
                  <a:pt x="869" y="242"/>
                  <a:pt x="870" y="242"/>
                </a:cubicBezTo>
                <a:cubicBezTo>
                  <a:pt x="871" y="243"/>
                  <a:pt x="870" y="244"/>
                  <a:pt x="870" y="245"/>
                </a:cubicBezTo>
                <a:cubicBezTo>
                  <a:pt x="870" y="245"/>
                  <a:pt x="872" y="245"/>
                  <a:pt x="872" y="245"/>
                </a:cubicBezTo>
                <a:cubicBezTo>
                  <a:pt x="872" y="244"/>
                  <a:pt x="872" y="244"/>
                  <a:pt x="873" y="244"/>
                </a:cubicBezTo>
                <a:cubicBezTo>
                  <a:pt x="873" y="244"/>
                  <a:pt x="873" y="245"/>
                  <a:pt x="873" y="244"/>
                </a:cubicBezTo>
                <a:cubicBezTo>
                  <a:pt x="873" y="245"/>
                  <a:pt x="873" y="246"/>
                  <a:pt x="873" y="246"/>
                </a:cubicBezTo>
                <a:cubicBezTo>
                  <a:pt x="874" y="246"/>
                  <a:pt x="875" y="246"/>
                  <a:pt x="875" y="245"/>
                </a:cubicBezTo>
                <a:cubicBezTo>
                  <a:pt x="875" y="244"/>
                  <a:pt x="875" y="244"/>
                  <a:pt x="876" y="244"/>
                </a:cubicBezTo>
                <a:cubicBezTo>
                  <a:pt x="878" y="243"/>
                  <a:pt x="876" y="242"/>
                  <a:pt x="875" y="242"/>
                </a:cubicBezTo>
                <a:cubicBezTo>
                  <a:pt x="876" y="241"/>
                  <a:pt x="876" y="241"/>
                  <a:pt x="877" y="241"/>
                </a:cubicBezTo>
                <a:cubicBezTo>
                  <a:pt x="877" y="240"/>
                  <a:pt x="877" y="239"/>
                  <a:pt x="876" y="239"/>
                </a:cubicBezTo>
                <a:cubicBezTo>
                  <a:pt x="876" y="238"/>
                  <a:pt x="876" y="237"/>
                  <a:pt x="876" y="237"/>
                </a:cubicBezTo>
                <a:cubicBezTo>
                  <a:pt x="875" y="237"/>
                  <a:pt x="874" y="237"/>
                  <a:pt x="874" y="237"/>
                </a:cubicBezTo>
                <a:cubicBezTo>
                  <a:pt x="873" y="237"/>
                  <a:pt x="873" y="238"/>
                  <a:pt x="873" y="238"/>
                </a:cubicBezTo>
                <a:cubicBezTo>
                  <a:pt x="873" y="238"/>
                  <a:pt x="873" y="239"/>
                  <a:pt x="873" y="239"/>
                </a:cubicBezTo>
                <a:cubicBezTo>
                  <a:pt x="873" y="239"/>
                  <a:pt x="874" y="239"/>
                  <a:pt x="874" y="240"/>
                </a:cubicBezTo>
                <a:cubicBezTo>
                  <a:pt x="873" y="240"/>
                  <a:pt x="873" y="240"/>
                  <a:pt x="873" y="241"/>
                </a:cubicBezTo>
                <a:close/>
                <a:moveTo>
                  <a:pt x="1763" y="237"/>
                </a:moveTo>
                <a:cubicBezTo>
                  <a:pt x="1762" y="238"/>
                  <a:pt x="1763" y="238"/>
                  <a:pt x="1762" y="239"/>
                </a:cubicBezTo>
                <a:cubicBezTo>
                  <a:pt x="1762" y="239"/>
                  <a:pt x="1762" y="240"/>
                  <a:pt x="1762" y="240"/>
                </a:cubicBezTo>
                <a:cubicBezTo>
                  <a:pt x="1762" y="240"/>
                  <a:pt x="1761" y="240"/>
                  <a:pt x="1760" y="241"/>
                </a:cubicBezTo>
                <a:cubicBezTo>
                  <a:pt x="1760" y="240"/>
                  <a:pt x="1760" y="240"/>
                  <a:pt x="1760" y="239"/>
                </a:cubicBezTo>
                <a:cubicBezTo>
                  <a:pt x="1759" y="239"/>
                  <a:pt x="1758" y="239"/>
                  <a:pt x="1758" y="240"/>
                </a:cubicBezTo>
                <a:cubicBezTo>
                  <a:pt x="1757" y="240"/>
                  <a:pt x="1758" y="240"/>
                  <a:pt x="1757" y="240"/>
                </a:cubicBezTo>
                <a:cubicBezTo>
                  <a:pt x="1757" y="240"/>
                  <a:pt x="1756" y="240"/>
                  <a:pt x="1756" y="240"/>
                </a:cubicBezTo>
                <a:cubicBezTo>
                  <a:pt x="1756" y="240"/>
                  <a:pt x="1755" y="241"/>
                  <a:pt x="1755" y="241"/>
                </a:cubicBezTo>
                <a:cubicBezTo>
                  <a:pt x="1755" y="241"/>
                  <a:pt x="1755" y="241"/>
                  <a:pt x="1755" y="241"/>
                </a:cubicBezTo>
                <a:cubicBezTo>
                  <a:pt x="1755" y="242"/>
                  <a:pt x="1754" y="241"/>
                  <a:pt x="1754" y="242"/>
                </a:cubicBezTo>
                <a:cubicBezTo>
                  <a:pt x="1754" y="243"/>
                  <a:pt x="1754" y="243"/>
                  <a:pt x="1753" y="243"/>
                </a:cubicBezTo>
                <a:cubicBezTo>
                  <a:pt x="1752" y="243"/>
                  <a:pt x="1753" y="243"/>
                  <a:pt x="1753" y="243"/>
                </a:cubicBezTo>
                <a:cubicBezTo>
                  <a:pt x="1752" y="243"/>
                  <a:pt x="1753" y="244"/>
                  <a:pt x="1752" y="244"/>
                </a:cubicBezTo>
                <a:cubicBezTo>
                  <a:pt x="1752" y="244"/>
                  <a:pt x="1752" y="246"/>
                  <a:pt x="1752" y="246"/>
                </a:cubicBezTo>
                <a:cubicBezTo>
                  <a:pt x="1753" y="246"/>
                  <a:pt x="1754" y="246"/>
                  <a:pt x="1754" y="245"/>
                </a:cubicBezTo>
                <a:cubicBezTo>
                  <a:pt x="1754" y="245"/>
                  <a:pt x="1754" y="245"/>
                  <a:pt x="1755" y="244"/>
                </a:cubicBezTo>
                <a:cubicBezTo>
                  <a:pt x="1755" y="244"/>
                  <a:pt x="1755" y="244"/>
                  <a:pt x="1755" y="243"/>
                </a:cubicBezTo>
                <a:cubicBezTo>
                  <a:pt x="1755" y="243"/>
                  <a:pt x="1755" y="244"/>
                  <a:pt x="1755" y="243"/>
                </a:cubicBezTo>
                <a:cubicBezTo>
                  <a:pt x="1755" y="243"/>
                  <a:pt x="1755" y="242"/>
                  <a:pt x="1755" y="242"/>
                </a:cubicBezTo>
                <a:cubicBezTo>
                  <a:pt x="1756" y="242"/>
                  <a:pt x="1757" y="243"/>
                  <a:pt x="1758" y="243"/>
                </a:cubicBezTo>
                <a:cubicBezTo>
                  <a:pt x="1759" y="243"/>
                  <a:pt x="1759" y="243"/>
                  <a:pt x="1760" y="242"/>
                </a:cubicBezTo>
                <a:cubicBezTo>
                  <a:pt x="1760" y="242"/>
                  <a:pt x="1761" y="242"/>
                  <a:pt x="1761" y="243"/>
                </a:cubicBezTo>
                <a:cubicBezTo>
                  <a:pt x="1762" y="242"/>
                  <a:pt x="1763" y="242"/>
                  <a:pt x="1764" y="241"/>
                </a:cubicBezTo>
                <a:cubicBezTo>
                  <a:pt x="1764" y="240"/>
                  <a:pt x="1764" y="241"/>
                  <a:pt x="1765" y="241"/>
                </a:cubicBezTo>
                <a:cubicBezTo>
                  <a:pt x="1765" y="241"/>
                  <a:pt x="1765" y="241"/>
                  <a:pt x="1765" y="240"/>
                </a:cubicBezTo>
                <a:cubicBezTo>
                  <a:pt x="1765" y="239"/>
                  <a:pt x="1765" y="238"/>
                  <a:pt x="1765" y="236"/>
                </a:cubicBezTo>
                <a:cubicBezTo>
                  <a:pt x="1764" y="237"/>
                  <a:pt x="1763" y="237"/>
                  <a:pt x="1763" y="237"/>
                </a:cubicBezTo>
                <a:cubicBezTo>
                  <a:pt x="1763" y="238"/>
                  <a:pt x="1763" y="237"/>
                  <a:pt x="1763" y="237"/>
                </a:cubicBezTo>
                <a:close/>
                <a:moveTo>
                  <a:pt x="789" y="239"/>
                </a:moveTo>
                <a:cubicBezTo>
                  <a:pt x="789" y="238"/>
                  <a:pt x="790" y="237"/>
                  <a:pt x="789" y="236"/>
                </a:cubicBezTo>
                <a:cubicBezTo>
                  <a:pt x="789" y="238"/>
                  <a:pt x="788" y="238"/>
                  <a:pt x="789" y="239"/>
                </a:cubicBezTo>
                <a:cubicBezTo>
                  <a:pt x="789" y="238"/>
                  <a:pt x="789" y="239"/>
                  <a:pt x="789" y="239"/>
                </a:cubicBezTo>
                <a:close/>
                <a:moveTo>
                  <a:pt x="786" y="237"/>
                </a:moveTo>
                <a:cubicBezTo>
                  <a:pt x="786" y="237"/>
                  <a:pt x="786" y="237"/>
                  <a:pt x="786" y="237"/>
                </a:cubicBezTo>
                <a:cubicBezTo>
                  <a:pt x="786" y="237"/>
                  <a:pt x="786" y="237"/>
                  <a:pt x="786" y="236"/>
                </a:cubicBezTo>
                <a:cubicBezTo>
                  <a:pt x="786" y="237"/>
                  <a:pt x="786" y="237"/>
                  <a:pt x="786" y="237"/>
                </a:cubicBezTo>
                <a:close/>
                <a:moveTo>
                  <a:pt x="439" y="235"/>
                </a:moveTo>
                <a:cubicBezTo>
                  <a:pt x="438" y="235"/>
                  <a:pt x="438" y="235"/>
                  <a:pt x="438" y="236"/>
                </a:cubicBezTo>
                <a:cubicBezTo>
                  <a:pt x="439" y="236"/>
                  <a:pt x="439" y="236"/>
                  <a:pt x="439" y="235"/>
                </a:cubicBezTo>
                <a:cubicBezTo>
                  <a:pt x="438" y="235"/>
                  <a:pt x="439" y="235"/>
                  <a:pt x="439" y="235"/>
                </a:cubicBezTo>
                <a:close/>
                <a:moveTo>
                  <a:pt x="180" y="235"/>
                </a:moveTo>
                <a:cubicBezTo>
                  <a:pt x="179" y="235"/>
                  <a:pt x="179" y="235"/>
                  <a:pt x="179" y="236"/>
                </a:cubicBezTo>
                <a:cubicBezTo>
                  <a:pt x="180" y="236"/>
                  <a:pt x="180" y="236"/>
                  <a:pt x="180" y="235"/>
                </a:cubicBezTo>
                <a:cubicBezTo>
                  <a:pt x="179" y="236"/>
                  <a:pt x="180" y="235"/>
                  <a:pt x="180" y="235"/>
                </a:cubicBezTo>
                <a:close/>
                <a:moveTo>
                  <a:pt x="188" y="234"/>
                </a:moveTo>
                <a:cubicBezTo>
                  <a:pt x="187" y="234"/>
                  <a:pt x="187" y="234"/>
                  <a:pt x="187" y="234"/>
                </a:cubicBezTo>
                <a:cubicBezTo>
                  <a:pt x="187" y="234"/>
                  <a:pt x="188" y="235"/>
                  <a:pt x="188" y="235"/>
                </a:cubicBezTo>
                <a:cubicBezTo>
                  <a:pt x="189" y="235"/>
                  <a:pt x="188" y="236"/>
                  <a:pt x="189" y="236"/>
                </a:cubicBezTo>
                <a:cubicBezTo>
                  <a:pt x="189" y="237"/>
                  <a:pt x="189" y="235"/>
                  <a:pt x="189" y="235"/>
                </a:cubicBezTo>
                <a:cubicBezTo>
                  <a:pt x="189" y="234"/>
                  <a:pt x="189" y="234"/>
                  <a:pt x="188" y="234"/>
                </a:cubicBezTo>
                <a:cubicBezTo>
                  <a:pt x="188" y="234"/>
                  <a:pt x="188" y="234"/>
                  <a:pt x="188" y="234"/>
                </a:cubicBezTo>
                <a:close/>
                <a:moveTo>
                  <a:pt x="788" y="233"/>
                </a:moveTo>
                <a:cubicBezTo>
                  <a:pt x="787" y="233"/>
                  <a:pt x="787" y="233"/>
                  <a:pt x="786" y="233"/>
                </a:cubicBezTo>
                <a:cubicBezTo>
                  <a:pt x="787" y="234"/>
                  <a:pt x="787" y="235"/>
                  <a:pt x="787" y="235"/>
                </a:cubicBezTo>
                <a:cubicBezTo>
                  <a:pt x="786" y="235"/>
                  <a:pt x="787" y="236"/>
                  <a:pt x="787" y="236"/>
                </a:cubicBezTo>
                <a:cubicBezTo>
                  <a:pt x="789" y="236"/>
                  <a:pt x="788" y="234"/>
                  <a:pt x="788" y="233"/>
                </a:cubicBezTo>
                <a:close/>
                <a:moveTo>
                  <a:pt x="192" y="242"/>
                </a:moveTo>
                <a:cubicBezTo>
                  <a:pt x="192" y="243"/>
                  <a:pt x="192" y="243"/>
                  <a:pt x="192" y="243"/>
                </a:cubicBezTo>
                <a:cubicBezTo>
                  <a:pt x="192" y="242"/>
                  <a:pt x="192" y="241"/>
                  <a:pt x="192" y="240"/>
                </a:cubicBezTo>
                <a:cubicBezTo>
                  <a:pt x="192" y="240"/>
                  <a:pt x="191" y="240"/>
                  <a:pt x="191" y="240"/>
                </a:cubicBezTo>
                <a:cubicBezTo>
                  <a:pt x="190" y="240"/>
                  <a:pt x="190" y="239"/>
                  <a:pt x="190" y="239"/>
                </a:cubicBezTo>
                <a:cubicBezTo>
                  <a:pt x="190" y="239"/>
                  <a:pt x="189" y="238"/>
                  <a:pt x="189" y="238"/>
                </a:cubicBezTo>
                <a:cubicBezTo>
                  <a:pt x="189" y="238"/>
                  <a:pt x="189" y="237"/>
                  <a:pt x="189" y="237"/>
                </a:cubicBezTo>
                <a:cubicBezTo>
                  <a:pt x="188" y="237"/>
                  <a:pt x="188" y="236"/>
                  <a:pt x="188" y="236"/>
                </a:cubicBezTo>
                <a:cubicBezTo>
                  <a:pt x="187" y="236"/>
                  <a:pt x="186" y="236"/>
                  <a:pt x="186" y="235"/>
                </a:cubicBezTo>
                <a:cubicBezTo>
                  <a:pt x="186" y="235"/>
                  <a:pt x="186" y="235"/>
                  <a:pt x="186" y="235"/>
                </a:cubicBezTo>
                <a:cubicBezTo>
                  <a:pt x="186" y="235"/>
                  <a:pt x="186" y="234"/>
                  <a:pt x="186" y="234"/>
                </a:cubicBezTo>
                <a:cubicBezTo>
                  <a:pt x="186" y="234"/>
                  <a:pt x="184" y="233"/>
                  <a:pt x="183" y="233"/>
                </a:cubicBezTo>
                <a:cubicBezTo>
                  <a:pt x="183" y="234"/>
                  <a:pt x="183" y="235"/>
                  <a:pt x="182" y="236"/>
                </a:cubicBezTo>
                <a:cubicBezTo>
                  <a:pt x="183" y="236"/>
                  <a:pt x="184" y="236"/>
                  <a:pt x="185" y="236"/>
                </a:cubicBezTo>
                <a:cubicBezTo>
                  <a:pt x="185" y="237"/>
                  <a:pt x="185" y="237"/>
                  <a:pt x="185" y="238"/>
                </a:cubicBezTo>
                <a:cubicBezTo>
                  <a:pt x="186" y="238"/>
                  <a:pt x="186" y="238"/>
                  <a:pt x="186" y="237"/>
                </a:cubicBezTo>
                <a:cubicBezTo>
                  <a:pt x="186" y="238"/>
                  <a:pt x="186" y="239"/>
                  <a:pt x="186" y="239"/>
                </a:cubicBezTo>
                <a:cubicBezTo>
                  <a:pt x="186" y="240"/>
                  <a:pt x="186" y="240"/>
                  <a:pt x="187" y="240"/>
                </a:cubicBezTo>
                <a:cubicBezTo>
                  <a:pt x="188" y="240"/>
                  <a:pt x="187" y="240"/>
                  <a:pt x="188" y="241"/>
                </a:cubicBezTo>
                <a:cubicBezTo>
                  <a:pt x="188" y="241"/>
                  <a:pt x="189" y="241"/>
                  <a:pt x="189" y="241"/>
                </a:cubicBezTo>
                <a:cubicBezTo>
                  <a:pt x="189" y="241"/>
                  <a:pt x="189" y="242"/>
                  <a:pt x="189" y="242"/>
                </a:cubicBezTo>
                <a:cubicBezTo>
                  <a:pt x="189" y="242"/>
                  <a:pt x="190" y="242"/>
                  <a:pt x="189" y="243"/>
                </a:cubicBezTo>
                <a:cubicBezTo>
                  <a:pt x="190" y="243"/>
                  <a:pt x="190" y="242"/>
                  <a:pt x="191" y="242"/>
                </a:cubicBezTo>
                <a:cubicBezTo>
                  <a:pt x="191" y="243"/>
                  <a:pt x="191" y="244"/>
                  <a:pt x="191" y="245"/>
                </a:cubicBezTo>
                <a:cubicBezTo>
                  <a:pt x="192" y="245"/>
                  <a:pt x="193" y="245"/>
                  <a:pt x="193" y="245"/>
                </a:cubicBezTo>
                <a:cubicBezTo>
                  <a:pt x="193" y="244"/>
                  <a:pt x="193" y="243"/>
                  <a:pt x="193" y="242"/>
                </a:cubicBezTo>
                <a:cubicBezTo>
                  <a:pt x="193" y="242"/>
                  <a:pt x="193" y="242"/>
                  <a:pt x="192" y="242"/>
                </a:cubicBezTo>
                <a:close/>
                <a:moveTo>
                  <a:pt x="186" y="233"/>
                </a:moveTo>
                <a:cubicBezTo>
                  <a:pt x="186" y="234"/>
                  <a:pt x="186" y="234"/>
                  <a:pt x="187" y="234"/>
                </a:cubicBezTo>
                <a:cubicBezTo>
                  <a:pt x="187" y="233"/>
                  <a:pt x="187" y="233"/>
                  <a:pt x="186" y="233"/>
                </a:cubicBezTo>
                <a:cubicBezTo>
                  <a:pt x="186" y="234"/>
                  <a:pt x="186" y="233"/>
                  <a:pt x="186" y="233"/>
                </a:cubicBezTo>
                <a:close/>
                <a:moveTo>
                  <a:pt x="437" y="234"/>
                </a:moveTo>
                <a:cubicBezTo>
                  <a:pt x="438" y="233"/>
                  <a:pt x="438" y="233"/>
                  <a:pt x="438" y="233"/>
                </a:cubicBezTo>
                <a:cubicBezTo>
                  <a:pt x="437" y="233"/>
                  <a:pt x="437" y="233"/>
                  <a:pt x="437" y="234"/>
                </a:cubicBezTo>
                <a:cubicBezTo>
                  <a:pt x="438" y="233"/>
                  <a:pt x="437" y="234"/>
                  <a:pt x="437" y="234"/>
                </a:cubicBezTo>
                <a:close/>
                <a:moveTo>
                  <a:pt x="189" y="233"/>
                </a:moveTo>
                <a:cubicBezTo>
                  <a:pt x="189" y="233"/>
                  <a:pt x="189" y="233"/>
                  <a:pt x="188" y="233"/>
                </a:cubicBezTo>
                <a:cubicBezTo>
                  <a:pt x="189" y="233"/>
                  <a:pt x="189" y="233"/>
                  <a:pt x="189" y="234"/>
                </a:cubicBezTo>
                <a:cubicBezTo>
                  <a:pt x="189" y="233"/>
                  <a:pt x="189" y="233"/>
                  <a:pt x="189" y="233"/>
                </a:cubicBezTo>
                <a:close/>
                <a:moveTo>
                  <a:pt x="859" y="231"/>
                </a:moveTo>
                <a:cubicBezTo>
                  <a:pt x="859" y="232"/>
                  <a:pt x="859" y="232"/>
                  <a:pt x="859" y="232"/>
                </a:cubicBezTo>
                <a:cubicBezTo>
                  <a:pt x="859" y="232"/>
                  <a:pt x="860" y="232"/>
                  <a:pt x="860" y="232"/>
                </a:cubicBezTo>
                <a:cubicBezTo>
                  <a:pt x="860" y="231"/>
                  <a:pt x="860" y="231"/>
                  <a:pt x="860" y="231"/>
                </a:cubicBezTo>
                <a:cubicBezTo>
                  <a:pt x="860" y="231"/>
                  <a:pt x="859" y="231"/>
                  <a:pt x="859" y="231"/>
                </a:cubicBezTo>
                <a:close/>
                <a:moveTo>
                  <a:pt x="441" y="234"/>
                </a:moveTo>
                <a:cubicBezTo>
                  <a:pt x="441" y="234"/>
                  <a:pt x="441" y="233"/>
                  <a:pt x="441" y="232"/>
                </a:cubicBezTo>
                <a:cubicBezTo>
                  <a:pt x="441" y="231"/>
                  <a:pt x="442" y="231"/>
                  <a:pt x="440" y="231"/>
                </a:cubicBezTo>
                <a:cubicBezTo>
                  <a:pt x="440" y="232"/>
                  <a:pt x="440" y="234"/>
                  <a:pt x="439" y="235"/>
                </a:cubicBezTo>
                <a:cubicBezTo>
                  <a:pt x="439" y="236"/>
                  <a:pt x="439" y="236"/>
                  <a:pt x="440" y="236"/>
                </a:cubicBezTo>
                <a:cubicBezTo>
                  <a:pt x="441" y="236"/>
                  <a:pt x="440" y="235"/>
                  <a:pt x="441" y="234"/>
                </a:cubicBezTo>
                <a:close/>
                <a:moveTo>
                  <a:pt x="439" y="230"/>
                </a:moveTo>
                <a:cubicBezTo>
                  <a:pt x="439" y="230"/>
                  <a:pt x="437" y="230"/>
                  <a:pt x="437" y="231"/>
                </a:cubicBezTo>
                <a:cubicBezTo>
                  <a:pt x="437" y="231"/>
                  <a:pt x="437" y="232"/>
                  <a:pt x="437" y="232"/>
                </a:cubicBezTo>
                <a:cubicBezTo>
                  <a:pt x="438" y="232"/>
                  <a:pt x="439" y="231"/>
                  <a:pt x="439" y="230"/>
                </a:cubicBezTo>
                <a:cubicBezTo>
                  <a:pt x="438" y="230"/>
                  <a:pt x="439" y="230"/>
                  <a:pt x="439" y="230"/>
                </a:cubicBezTo>
                <a:close/>
                <a:moveTo>
                  <a:pt x="185" y="231"/>
                </a:moveTo>
                <a:cubicBezTo>
                  <a:pt x="185" y="231"/>
                  <a:pt x="185" y="232"/>
                  <a:pt x="185" y="232"/>
                </a:cubicBezTo>
                <a:cubicBezTo>
                  <a:pt x="187" y="232"/>
                  <a:pt x="186" y="232"/>
                  <a:pt x="186" y="230"/>
                </a:cubicBezTo>
                <a:cubicBezTo>
                  <a:pt x="186" y="230"/>
                  <a:pt x="185" y="230"/>
                  <a:pt x="185" y="231"/>
                </a:cubicBezTo>
                <a:cubicBezTo>
                  <a:pt x="185" y="231"/>
                  <a:pt x="185" y="231"/>
                  <a:pt x="185" y="231"/>
                </a:cubicBezTo>
                <a:close/>
                <a:moveTo>
                  <a:pt x="781" y="228"/>
                </a:moveTo>
                <a:cubicBezTo>
                  <a:pt x="782" y="227"/>
                  <a:pt x="781" y="226"/>
                  <a:pt x="781" y="227"/>
                </a:cubicBezTo>
                <a:cubicBezTo>
                  <a:pt x="780" y="227"/>
                  <a:pt x="781" y="229"/>
                  <a:pt x="781" y="228"/>
                </a:cubicBezTo>
                <a:cubicBezTo>
                  <a:pt x="781" y="228"/>
                  <a:pt x="781" y="228"/>
                  <a:pt x="781" y="228"/>
                </a:cubicBezTo>
                <a:close/>
                <a:moveTo>
                  <a:pt x="88" y="228"/>
                </a:moveTo>
                <a:cubicBezTo>
                  <a:pt x="89" y="228"/>
                  <a:pt x="89" y="228"/>
                  <a:pt x="89" y="227"/>
                </a:cubicBezTo>
                <a:cubicBezTo>
                  <a:pt x="88" y="227"/>
                  <a:pt x="88" y="227"/>
                  <a:pt x="88" y="228"/>
                </a:cubicBezTo>
                <a:close/>
                <a:moveTo>
                  <a:pt x="171" y="227"/>
                </a:moveTo>
                <a:cubicBezTo>
                  <a:pt x="171" y="228"/>
                  <a:pt x="172" y="228"/>
                  <a:pt x="172" y="227"/>
                </a:cubicBezTo>
                <a:cubicBezTo>
                  <a:pt x="172" y="225"/>
                  <a:pt x="171" y="227"/>
                  <a:pt x="171" y="227"/>
                </a:cubicBezTo>
                <a:close/>
                <a:moveTo>
                  <a:pt x="787" y="228"/>
                </a:moveTo>
                <a:cubicBezTo>
                  <a:pt x="787" y="228"/>
                  <a:pt x="786" y="227"/>
                  <a:pt x="787" y="227"/>
                </a:cubicBezTo>
                <a:cubicBezTo>
                  <a:pt x="787" y="227"/>
                  <a:pt x="787" y="225"/>
                  <a:pt x="787" y="225"/>
                </a:cubicBezTo>
                <a:cubicBezTo>
                  <a:pt x="787" y="225"/>
                  <a:pt x="787" y="226"/>
                  <a:pt x="786" y="226"/>
                </a:cubicBezTo>
                <a:cubicBezTo>
                  <a:pt x="786" y="226"/>
                  <a:pt x="786" y="226"/>
                  <a:pt x="786" y="226"/>
                </a:cubicBezTo>
                <a:cubicBezTo>
                  <a:pt x="786" y="226"/>
                  <a:pt x="786" y="226"/>
                  <a:pt x="785" y="226"/>
                </a:cubicBezTo>
                <a:cubicBezTo>
                  <a:pt x="785" y="227"/>
                  <a:pt x="786" y="228"/>
                  <a:pt x="786" y="229"/>
                </a:cubicBezTo>
                <a:cubicBezTo>
                  <a:pt x="787" y="230"/>
                  <a:pt x="787" y="230"/>
                  <a:pt x="787" y="231"/>
                </a:cubicBezTo>
                <a:cubicBezTo>
                  <a:pt x="787" y="231"/>
                  <a:pt x="788" y="230"/>
                  <a:pt x="788" y="231"/>
                </a:cubicBezTo>
                <a:cubicBezTo>
                  <a:pt x="788" y="231"/>
                  <a:pt x="788" y="232"/>
                  <a:pt x="788" y="232"/>
                </a:cubicBezTo>
                <a:cubicBezTo>
                  <a:pt x="788" y="231"/>
                  <a:pt x="789" y="230"/>
                  <a:pt x="789" y="230"/>
                </a:cubicBezTo>
                <a:cubicBezTo>
                  <a:pt x="787" y="229"/>
                  <a:pt x="787" y="229"/>
                  <a:pt x="787" y="228"/>
                </a:cubicBezTo>
                <a:close/>
                <a:moveTo>
                  <a:pt x="781" y="225"/>
                </a:moveTo>
                <a:cubicBezTo>
                  <a:pt x="781" y="225"/>
                  <a:pt x="781" y="226"/>
                  <a:pt x="781" y="226"/>
                </a:cubicBezTo>
                <a:cubicBezTo>
                  <a:pt x="782" y="226"/>
                  <a:pt x="783" y="226"/>
                  <a:pt x="783" y="225"/>
                </a:cubicBezTo>
                <a:cubicBezTo>
                  <a:pt x="783" y="225"/>
                  <a:pt x="783" y="225"/>
                  <a:pt x="783" y="225"/>
                </a:cubicBezTo>
                <a:cubicBezTo>
                  <a:pt x="782" y="225"/>
                  <a:pt x="782" y="225"/>
                  <a:pt x="781" y="225"/>
                </a:cubicBezTo>
                <a:cubicBezTo>
                  <a:pt x="781" y="225"/>
                  <a:pt x="781" y="225"/>
                  <a:pt x="781" y="225"/>
                </a:cubicBezTo>
                <a:close/>
                <a:moveTo>
                  <a:pt x="181" y="232"/>
                </a:moveTo>
                <a:cubicBezTo>
                  <a:pt x="183" y="232"/>
                  <a:pt x="183" y="233"/>
                  <a:pt x="184" y="232"/>
                </a:cubicBezTo>
                <a:cubicBezTo>
                  <a:pt x="183" y="231"/>
                  <a:pt x="183" y="231"/>
                  <a:pt x="184" y="231"/>
                </a:cubicBezTo>
                <a:cubicBezTo>
                  <a:pt x="184" y="230"/>
                  <a:pt x="184" y="230"/>
                  <a:pt x="184" y="229"/>
                </a:cubicBezTo>
                <a:cubicBezTo>
                  <a:pt x="184" y="228"/>
                  <a:pt x="184" y="228"/>
                  <a:pt x="182" y="228"/>
                </a:cubicBezTo>
                <a:cubicBezTo>
                  <a:pt x="182" y="227"/>
                  <a:pt x="181" y="228"/>
                  <a:pt x="180" y="228"/>
                </a:cubicBezTo>
                <a:cubicBezTo>
                  <a:pt x="180" y="228"/>
                  <a:pt x="180" y="228"/>
                  <a:pt x="180" y="228"/>
                </a:cubicBezTo>
                <a:cubicBezTo>
                  <a:pt x="181" y="228"/>
                  <a:pt x="180" y="230"/>
                  <a:pt x="180" y="230"/>
                </a:cubicBezTo>
                <a:cubicBezTo>
                  <a:pt x="180" y="230"/>
                  <a:pt x="181" y="231"/>
                  <a:pt x="181" y="231"/>
                </a:cubicBezTo>
                <a:cubicBezTo>
                  <a:pt x="181" y="231"/>
                  <a:pt x="181" y="231"/>
                  <a:pt x="181" y="232"/>
                </a:cubicBezTo>
                <a:cubicBezTo>
                  <a:pt x="180" y="231"/>
                  <a:pt x="180" y="231"/>
                  <a:pt x="180" y="230"/>
                </a:cubicBezTo>
                <a:cubicBezTo>
                  <a:pt x="179" y="230"/>
                  <a:pt x="178" y="230"/>
                  <a:pt x="178" y="229"/>
                </a:cubicBezTo>
                <a:cubicBezTo>
                  <a:pt x="178" y="228"/>
                  <a:pt x="177" y="227"/>
                  <a:pt x="177" y="226"/>
                </a:cubicBezTo>
                <a:cubicBezTo>
                  <a:pt x="176" y="226"/>
                  <a:pt x="175" y="225"/>
                  <a:pt x="173" y="225"/>
                </a:cubicBezTo>
                <a:cubicBezTo>
                  <a:pt x="173" y="225"/>
                  <a:pt x="173" y="225"/>
                  <a:pt x="173" y="225"/>
                </a:cubicBezTo>
                <a:cubicBezTo>
                  <a:pt x="173" y="226"/>
                  <a:pt x="173" y="227"/>
                  <a:pt x="173" y="227"/>
                </a:cubicBezTo>
                <a:cubicBezTo>
                  <a:pt x="174" y="228"/>
                  <a:pt x="174" y="228"/>
                  <a:pt x="174" y="229"/>
                </a:cubicBezTo>
                <a:cubicBezTo>
                  <a:pt x="174" y="229"/>
                  <a:pt x="174" y="229"/>
                  <a:pt x="174" y="229"/>
                </a:cubicBezTo>
                <a:cubicBezTo>
                  <a:pt x="174" y="230"/>
                  <a:pt x="175" y="230"/>
                  <a:pt x="175" y="231"/>
                </a:cubicBezTo>
                <a:cubicBezTo>
                  <a:pt x="175" y="231"/>
                  <a:pt x="176" y="230"/>
                  <a:pt x="176" y="231"/>
                </a:cubicBezTo>
                <a:cubicBezTo>
                  <a:pt x="176" y="231"/>
                  <a:pt x="176" y="232"/>
                  <a:pt x="176" y="232"/>
                </a:cubicBezTo>
                <a:cubicBezTo>
                  <a:pt x="177" y="232"/>
                  <a:pt x="177" y="234"/>
                  <a:pt x="178" y="233"/>
                </a:cubicBezTo>
                <a:cubicBezTo>
                  <a:pt x="179" y="232"/>
                  <a:pt x="178" y="232"/>
                  <a:pt x="178" y="232"/>
                </a:cubicBezTo>
                <a:cubicBezTo>
                  <a:pt x="178" y="232"/>
                  <a:pt x="178" y="231"/>
                  <a:pt x="179" y="231"/>
                </a:cubicBezTo>
                <a:cubicBezTo>
                  <a:pt x="179" y="233"/>
                  <a:pt x="179" y="233"/>
                  <a:pt x="181" y="233"/>
                </a:cubicBezTo>
                <a:cubicBezTo>
                  <a:pt x="180" y="234"/>
                  <a:pt x="180" y="234"/>
                  <a:pt x="181" y="235"/>
                </a:cubicBezTo>
                <a:cubicBezTo>
                  <a:pt x="181" y="235"/>
                  <a:pt x="180" y="235"/>
                  <a:pt x="181" y="235"/>
                </a:cubicBezTo>
                <a:cubicBezTo>
                  <a:pt x="181" y="235"/>
                  <a:pt x="181" y="235"/>
                  <a:pt x="181" y="235"/>
                </a:cubicBezTo>
                <a:cubicBezTo>
                  <a:pt x="183" y="234"/>
                  <a:pt x="181" y="233"/>
                  <a:pt x="181" y="232"/>
                </a:cubicBezTo>
                <a:cubicBezTo>
                  <a:pt x="182" y="232"/>
                  <a:pt x="181" y="232"/>
                  <a:pt x="181" y="232"/>
                </a:cubicBezTo>
                <a:close/>
                <a:moveTo>
                  <a:pt x="908" y="225"/>
                </a:moveTo>
                <a:cubicBezTo>
                  <a:pt x="908" y="225"/>
                  <a:pt x="910" y="225"/>
                  <a:pt x="909" y="224"/>
                </a:cubicBezTo>
                <a:cubicBezTo>
                  <a:pt x="908" y="223"/>
                  <a:pt x="908" y="225"/>
                  <a:pt x="908" y="226"/>
                </a:cubicBezTo>
                <a:cubicBezTo>
                  <a:pt x="908" y="226"/>
                  <a:pt x="907" y="225"/>
                  <a:pt x="907" y="225"/>
                </a:cubicBezTo>
                <a:cubicBezTo>
                  <a:pt x="906" y="225"/>
                  <a:pt x="906" y="226"/>
                  <a:pt x="905" y="226"/>
                </a:cubicBezTo>
                <a:cubicBezTo>
                  <a:pt x="905" y="227"/>
                  <a:pt x="904" y="229"/>
                  <a:pt x="903" y="228"/>
                </a:cubicBezTo>
                <a:cubicBezTo>
                  <a:pt x="903" y="230"/>
                  <a:pt x="904" y="232"/>
                  <a:pt x="905" y="233"/>
                </a:cubicBezTo>
                <a:cubicBezTo>
                  <a:pt x="905" y="232"/>
                  <a:pt x="905" y="232"/>
                  <a:pt x="906" y="231"/>
                </a:cubicBezTo>
                <a:cubicBezTo>
                  <a:pt x="907" y="231"/>
                  <a:pt x="906" y="231"/>
                  <a:pt x="906" y="230"/>
                </a:cubicBezTo>
                <a:cubicBezTo>
                  <a:pt x="906" y="230"/>
                  <a:pt x="907" y="230"/>
                  <a:pt x="907" y="230"/>
                </a:cubicBezTo>
                <a:cubicBezTo>
                  <a:pt x="907" y="229"/>
                  <a:pt x="907" y="229"/>
                  <a:pt x="907" y="228"/>
                </a:cubicBezTo>
                <a:cubicBezTo>
                  <a:pt x="908" y="228"/>
                  <a:pt x="908" y="226"/>
                  <a:pt x="908" y="225"/>
                </a:cubicBezTo>
                <a:cubicBezTo>
                  <a:pt x="908" y="225"/>
                  <a:pt x="908" y="225"/>
                  <a:pt x="908" y="225"/>
                </a:cubicBezTo>
                <a:close/>
                <a:moveTo>
                  <a:pt x="922" y="224"/>
                </a:moveTo>
                <a:cubicBezTo>
                  <a:pt x="922" y="224"/>
                  <a:pt x="922" y="224"/>
                  <a:pt x="923" y="223"/>
                </a:cubicBezTo>
                <a:cubicBezTo>
                  <a:pt x="922" y="223"/>
                  <a:pt x="922" y="224"/>
                  <a:pt x="922" y="224"/>
                </a:cubicBezTo>
                <a:cubicBezTo>
                  <a:pt x="922" y="224"/>
                  <a:pt x="922" y="224"/>
                  <a:pt x="922" y="224"/>
                </a:cubicBezTo>
                <a:close/>
                <a:moveTo>
                  <a:pt x="181" y="223"/>
                </a:moveTo>
                <a:cubicBezTo>
                  <a:pt x="180" y="223"/>
                  <a:pt x="181" y="223"/>
                  <a:pt x="181" y="223"/>
                </a:cubicBezTo>
                <a:cubicBezTo>
                  <a:pt x="181" y="223"/>
                  <a:pt x="181" y="223"/>
                  <a:pt x="181" y="223"/>
                </a:cubicBezTo>
                <a:close/>
                <a:moveTo>
                  <a:pt x="92" y="222"/>
                </a:moveTo>
                <a:cubicBezTo>
                  <a:pt x="91" y="222"/>
                  <a:pt x="91" y="222"/>
                  <a:pt x="91" y="222"/>
                </a:cubicBezTo>
                <a:cubicBezTo>
                  <a:pt x="91" y="222"/>
                  <a:pt x="90" y="222"/>
                  <a:pt x="90" y="222"/>
                </a:cubicBezTo>
                <a:cubicBezTo>
                  <a:pt x="90" y="221"/>
                  <a:pt x="90" y="221"/>
                  <a:pt x="88" y="221"/>
                </a:cubicBezTo>
                <a:cubicBezTo>
                  <a:pt x="88" y="221"/>
                  <a:pt x="89" y="221"/>
                  <a:pt x="88" y="222"/>
                </a:cubicBezTo>
                <a:cubicBezTo>
                  <a:pt x="88" y="222"/>
                  <a:pt x="88" y="221"/>
                  <a:pt x="88" y="222"/>
                </a:cubicBezTo>
                <a:cubicBezTo>
                  <a:pt x="87" y="222"/>
                  <a:pt x="87" y="222"/>
                  <a:pt x="86" y="222"/>
                </a:cubicBezTo>
                <a:cubicBezTo>
                  <a:pt x="86" y="221"/>
                  <a:pt x="86" y="222"/>
                  <a:pt x="86" y="222"/>
                </a:cubicBezTo>
                <a:cubicBezTo>
                  <a:pt x="85" y="222"/>
                  <a:pt x="86" y="221"/>
                  <a:pt x="85" y="221"/>
                </a:cubicBezTo>
                <a:cubicBezTo>
                  <a:pt x="84" y="221"/>
                  <a:pt x="84" y="221"/>
                  <a:pt x="84" y="222"/>
                </a:cubicBezTo>
                <a:cubicBezTo>
                  <a:pt x="84" y="222"/>
                  <a:pt x="84" y="223"/>
                  <a:pt x="85" y="223"/>
                </a:cubicBezTo>
                <a:cubicBezTo>
                  <a:pt x="84" y="223"/>
                  <a:pt x="84" y="224"/>
                  <a:pt x="83" y="224"/>
                </a:cubicBezTo>
                <a:cubicBezTo>
                  <a:pt x="83" y="223"/>
                  <a:pt x="82" y="223"/>
                  <a:pt x="81" y="223"/>
                </a:cubicBezTo>
                <a:cubicBezTo>
                  <a:pt x="81" y="224"/>
                  <a:pt x="80" y="224"/>
                  <a:pt x="81" y="225"/>
                </a:cubicBezTo>
                <a:cubicBezTo>
                  <a:pt x="81" y="226"/>
                  <a:pt x="82" y="226"/>
                  <a:pt x="81" y="227"/>
                </a:cubicBezTo>
                <a:cubicBezTo>
                  <a:pt x="81" y="227"/>
                  <a:pt x="81" y="227"/>
                  <a:pt x="81" y="227"/>
                </a:cubicBezTo>
                <a:cubicBezTo>
                  <a:pt x="82" y="227"/>
                  <a:pt x="83" y="227"/>
                  <a:pt x="83" y="226"/>
                </a:cubicBezTo>
                <a:cubicBezTo>
                  <a:pt x="84" y="227"/>
                  <a:pt x="84" y="227"/>
                  <a:pt x="85" y="227"/>
                </a:cubicBezTo>
                <a:cubicBezTo>
                  <a:pt x="86" y="227"/>
                  <a:pt x="85" y="228"/>
                  <a:pt x="85" y="228"/>
                </a:cubicBezTo>
                <a:cubicBezTo>
                  <a:pt x="86" y="229"/>
                  <a:pt x="86" y="228"/>
                  <a:pt x="86" y="228"/>
                </a:cubicBezTo>
                <a:cubicBezTo>
                  <a:pt x="86" y="228"/>
                  <a:pt x="87" y="228"/>
                  <a:pt x="87" y="228"/>
                </a:cubicBezTo>
                <a:cubicBezTo>
                  <a:pt x="87" y="227"/>
                  <a:pt x="87" y="227"/>
                  <a:pt x="87" y="227"/>
                </a:cubicBezTo>
                <a:cubicBezTo>
                  <a:pt x="88" y="227"/>
                  <a:pt x="89" y="226"/>
                  <a:pt x="90" y="226"/>
                </a:cubicBezTo>
                <a:cubicBezTo>
                  <a:pt x="90" y="226"/>
                  <a:pt x="91" y="226"/>
                  <a:pt x="91" y="226"/>
                </a:cubicBezTo>
                <a:cubicBezTo>
                  <a:pt x="91" y="225"/>
                  <a:pt x="91" y="225"/>
                  <a:pt x="91" y="225"/>
                </a:cubicBezTo>
                <a:cubicBezTo>
                  <a:pt x="90" y="225"/>
                  <a:pt x="90" y="225"/>
                  <a:pt x="90" y="225"/>
                </a:cubicBezTo>
                <a:cubicBezTo>
                  <a:pt x="90" y="224"/>
                  <a:pt x="91" y="224"/>
                  <a:pt x="91" y="225"/>
                </a:cubicBezTo>
                <a:cubicBezTo>
                  <a:pt x="91" y="225"/>
                  <a:pt x="91" y="224"/>
                  <a:pt x="91" y="224"/>
                </a:cubicBezTo>
                <a:cubicBezTo>
                  <a:pt x="92" y="224"/>
                  <a:pt x="92" y="224"/>
                  <a:pt x="93" y="225"/>
                </a:cubicBezTo>
                <a:cubicBezTo>
                  <a:pt x="93" y="224"/>
                  <a:pt x="93" y="224"/>
                  <a:pt x="93" y="224"/>
                </a:cubicBezTo>
                <a:cubicBezTo>
                  <a:pt x="93" y="224"/>
                  <a:pt x="92" y="224"/>
                  <a:pt x="91" y="224"/>
                </a:cubicBezTo>
                <a:cubicBezTo>
                  <a:pt x="92" y="223"/>
                  <a:pt x="92" y="223"/>
                  <a:pt x="92" y="222"/>
                </a:cubicBezTo>
                <a:close/>
                <a:moveTo>
                  <a:pt x="167" y="221"/>
                </a:moveTo>
                <a:cubicBezTo>
                  <a:pt x="168" y="221"/>
                  <a:pt x="167" y="219"/>
                  <a:pt x="167" y="221"/>
                </a:cubicBezTo>
                <a:close/>
                <a:moveTo>
                  <a:pt x="178" y="225"/>
                </a:moveTo>
                <a:cubicBezTo>
                  <a:pt x="178" y="226"/>
                  <a:pt x="178" y="226"/>
                  <a:pt x="178" y="227"/>
                </a:cubicBezTo>
                <a:cubicBezTo>
                  <a:pt x="179" y="227"/>
                  <a:pt x="179" y="228"/>
                  <a:pt x="179" y="227"/>
                </a:cubicBezTo>
                <a:cubicBezTo>
                  <a:pt x="179" y="227"/>
                  <a:pt x="180" y="227"/>
                  <a:pt x="180" y="227"/>
                </a:cubicBezTo>
                <a:cubicBezTo>
                  <a:pt x="180" y="226"/>
                  <a:pt x="180" y="225"/>
                  <a:pt x="181" y="225"/>
                </a:cubicBezTo>
                <a:cubicBezTo>
                  <a:pt x="181" y="224"/>
                  <a:pt x="181" y="223"/>
                  <a:pt x="180" y="223"/>
                </a:cubicBezTo>
                <a:cubicBezTo>
                  <a:pt x="179" y="222"/>
                  <a:pt x="180" y="222"/>
                  <a:pt x="180" y="221"/>
                </a:cubicBezTo>
                <a:cubicBezTo>
                  <a:pt x="180" y="221"/>
                  <a:pt x="179" y="220"/>
                  <a:pt x="179" y="220"/>
                </a:cubicBezTo>
                <a:cubicBezTo>
                  <a:pt x="178" y="219"/>
                  <a:pt x="177" y="219"/>
                  <a:pt x="176" y="219"/>
                </a:cubicBezTo>
                <a:cubicBezTo>
                  <a:pt x="176" y="220"/>
                  <a:pt x="177" y="221"/>
                  <a:pt x="177" y="222"/>
                </a:cubicBezTo>
                <a:cubicBezTo>
                  <a:pt x="177" y="223"/>
                  <a:pt x="177" y="224"/>
                  <a:pt x="178" y="225"/>
                </a:cubicBezTo>
                <a:cubicBezTo>
                  <a:pt x="178" y="225"/>
                  <a:pt x="178" y="225"/>
                  <a:pt x="178" y="225"/>
                </a:cubicBezTo>
                <a:close/>
                <a:moveTo>
                  <a:pt x="89" y="219"/>
                </a:moveTo>
                <a:cubicBezTo>
                  <a:pt x="89" y="219"/>
                  <a:pt x="88" y="219"/>
                  <a:pt x="88" y="219"/>
                </a:cubicBezTo>
                <a:cubicBezTo>
                  <a:pt x="88" y="220"/>
                  <a:pt x="89" y="220"/>
                  <a:pt x="89" y="219"/>
                </a:cubicBezTo>
                <a:cubicBezTo>
                  <a:pt x="89" y="219"/>
                  <a:pt x="89" y="219"/>
                  <a:pt x="89" y="219"/>
                </a:cubicBezTo>
                <a:close/>
                <a:moveTo>
                  <a:pt x="921" y="219"/>
                </a:moveTo>
                <a:cubicBezTo>
                  <a:pt x="920" y="219"/>
                  <a:pt x="921" y="221"/>
                  <a:pt x="921" y="221"/>
                </a:cubicBezTo>
                <a:cubicBezTo>
                  <a:pt x="921" y="221"/>
                  <a:pt x="921" y="222"/>
                  <a:pt x="922" y="222"/>
                </a:cubicBezTo>
                <a:cubicBezTo>
                  <a:pt x="922" y="222"/>
                  <a:pt x="923" y="222"/>
                  <a:pt x="923" y="223"/>
                </a:cubicBezTo>
                <a:cubicBezTo>
                  <a:pt x="923" y="223"/>
                  <a:pt x="923" y="222"/>
                  <a:pt x="924" y="222"/>
                </a:cubicBezTo>
                <a:cubicBezTo>
                  <a:pt x="924" y="222"/>
                  <a:pt x="925" y="222"/>
                  <a:pt x="926" y="222"/>
                </a:cubicBezTo>
                <a:cubicBezTo>
                  <a:pt x="926" y="221"/>
                  <a:pt x="927" y="220"/>
                  <a:pt x="928" y="218"/>
                </a:cubicBezTo>
                <a:cubicBezTo>
                  <a:pt x="927" y="218"/>
                  <a:pt x="925" y="218"/>
                  <a:pt x="924" y="218"/>
                </a:cubicBezTo>
                <a:cubicBezTo>
                  <a:pt x="924" y="219"/>
                  <a:pt x="923" y="218"/>
                  <a:pt x="923" y="219"/>
                </a:cubicBezTo>
                <a:cubicBezTo>
                  <a:pt x="923" y="220"/>
                  <a:pt x="922" y="219"/>
                  <a:pt x="921" y="219"/>
                </a:cubicBezTo>
                <a:close/>
                <a:moveTo>
                  <a:pt x="785" y="223"/>
                </a:moveTo>
                <a:cubicBezTo>
                  <a:pt x="787" y="223"/>
                  <a:pt x="786" y="223"/>
                  <a:pt x="787" y="222"/>
                </a:cubicBezTo>
                <a:cubicBezTo>
                  <a:pt x="787" y="220"/>
                  <a:pt x="788" y="219"/>
                  <a:pt x="788" y="218"/>
                </a:cubicBezTo>
                <a:cubicBezTo>
                  <a:pt x="788" y="217"/>
                  <a:pt x="785" y="218"/>
                  <a:pt x="785" y="218"/>
                </a:cubicBezTo>
                <a:cubicBezTo>
                  <a:pt x="785" y="219"/>
                  <a:pt x="785" y="221"/>
                  <a:pt x="784" y="220"/>
                </a:cubicBezTo>
                <a:cubicBezTo>
                  <a:pt x="784" y="221"/>
                  <a:pt x="785" y="221"/>
                  <a:pt x="784" y="222"/>
                </a:cubicBezTo>
                <a:cubicBezTo>
                  <a:pt x="784" y="223"/>
                  <a:pt x="784" y="222"/>
                  <a:pt x="784" y="223"/>
                </a:cubicBezTo>
                <a:cubicBezTo>
                  <a:pt x="784" y="223"/>
                  <a:pt x="784" y="224"/>
                  <a:pt x="784" y="225"/>
                </a:cubicBezTo>
                <a:cubicBezTo>
                  <a:pt x="784" y="224"/>
                  <a:pt x="785" y="224"/>
                  <a:pt x="785" y="223"/>
                </a:cubicBezTo>
                <a:close/>
                <a:moveTo>
                  <a:pt x="790" y="228"/>
                </a:moveTo>
                <a:cubicBezTo>
                  <a:pt x="791" y="228"/>
                  <a:pt x="790" y="229"/>
                  <a:pt x="789" y="229"/>
                </a:cubicBezTo>
                <a:cubicBezTo>
                  <a:pt x="790" y="230"/>
                  <a:pt x="791" y="230"/>
                  <a:pt x="791" y="230"/>
                </a:cubicBezTo>
                <a:cubicBezTo>
                  <a:pt x="791" y="231"/>
                  <a:pt x="790" y="231"/>
                  <a:pt x="790" y="232"/>
                </a:cubicBezTo>
                <a:cubicBezTo>
                  <a:pt x="790" y="233"/>
                  <a:pt x="790" y="234"/>
                  <a:pt x="789" y="234"/>
                </a:cubicBezTo>
                <a:cubicBezTo>
                  <a:pt x="791" y="234"/>
                  <a:pt x="791" y="234"/>
                  <a:pt x="792" y="234"/>
                </a:cubicBezTo>
                <a:cubicBezTo>
                  <a:pt x="793" y="234"/>
                  <a:pt x="792" y="235"/>
                  <a:pt x="792" y="235"/>
                </a:cubicBezTo>
                <a:cubicBezTo>
                  <a:pt x="792" y="236"/>
                  <a:pt x="791" y="236"/>
                  <a:pt x="790" y="236"/>
                </a:cubicBezTo>
                <a:cubicBezTo>
                  <a:pt x="790" y="236"/>
                  <a:pt x="791" y="237"/>
                  <a:pt x="791" y="237"/>
                </a:cubicBezTo>
                <a:cubicBezTo>
                  <a:pt x="791" y="237"/>
                  <a:pt x="790" y="237"/>
                  <a:pt x="790" y="237"/>
                </a:cubicBezTo>
                <a:cubicBezTo>
                  <a:pt x="790" y="238"/>
                  <a:pt x="790" y="240"/>
                  <a:pt x="791" y="239"/>
                </a:cubicBezTo>
                <a:cubicBezTo>
                  <a:pt x="791" y="238"/>
                  <a:pt x="792" y="237"/>
                  <a:pt x="792" y="237"/>
                </a:cubicBezTo>
                <a:cubicBezTo>
                  <a:pt x="792" y="237"/>
                  <a:pt x="792" y="238"/>
                  <a:pt x="792" y="238"/>
                </a:cubicBezTo>
                <a:cubicBezTo>
                  <a:pt x="793" y="238"/>
                  <a:pt x="793" y="238"/>
                  <a:pt x="793" y="237"/>
                </a:cubicBezTo>
                <a:cubicBezTo>
                  <a:pt x="793" y="237"/>
                  <a:pt x="794" y="237"/>
                  <a:pt x="794" y="238"/>
                </a:cubicBezTo>
                <a:cubicBezTo>
                  <a:pt x="793" y="239"/>
                  <a:pt x="793" y="239"/>
                  <a:pt x="793" y="240"/>
                </a:cubicBezTo>
                <a:cubicBezTo>
                  <a:pt x="793" y="241"/>
                  <a:pt x="794" y="240"/>
                  <a:pt x="794" y="241"/>
                </a:cubicBezTo>
                <a:cubicBezTo>
                  <a:pt x="793" y="242"/>
                  <a:pt x="794" y="242"/>
                  <a:pt x="794" y="242"/>
                </a:cubicBezTo>
                <a:cubicBezTo>
                  <a:pt x="793" y="242"/>
                  <a:pt x="793" y="243"/>
                  <a:pt x="793" y="244"/>
                </a:cubicBezTo>
                <a:cubicBezTo>
                  <a:pt x="793" y="244"/>
                  <a:pt x="793" y="245"/>
                  <a:pt x="793" y="245"/>
                </a:cubicBezTo>
                <a:cubicBezTo>
                  <a:pt x="792" y="245"/>
                  <a:pt x="792" y="245"/>
                  <a:pt x="792" y="246"/>
                </a:cubicBezTo>
                <a:cubicBezTo>
                  <a:pt x="792" y="246"/>
                  <a:pt x="792" y="246"/>
                  <a:pt x="792" y="246"/>
                </a:cubicBezTo>
                <a:cubicBezTo>
                  <a:pt x="793" y="246"/>
                  <a:pt x="793" y="246"/>
                  <a:pt x="793" y="246"/>
                </a:cubicBezTo>
                <a:cubicBezTo>
                  <a:pt x="794" y="246"/>
                  <a:pt x="794" y="247"/>
                  <a:pt x="795" y="247"/>
                </a:cubicBezTo>
                <a:cubicBezTo>
                  <a:pt x="795" y="247"/>
                  <a:pt x="795" y="246"/>
                  <a:pt x="795" y="245"/>
                </a:cubicBezTo>
                <a:cubicBezTo>
                  <a:pt x="796" y="246"/>
                  <a:pt x="797" y="246"/>
                  <a:pt x="797" y="246"/>
                </a:cubicBezTo>
                <a:cubicBezTo>
                  <a:pt x="798" y="246"/>
                  <a:pt x="799" y="245"/>
                  <a:pt x="800" y="245"/>
                </a:cubicBezTo>
                <a:cubicBezTo>
                  <a:pt x="800" y="245"/>
                  <a:pt x="804" y="246"/>
                  <a:pt x="802" y="246"/>
                </a:cubicBezTo>
                <a:cubicBezTo>
                  <a:pt x="801" y="246"/>
                  <a:pt x="800" y="248"/>
                  <a:pt x="800" y="249"/>
                </a:cubicBezTo>
                <a:cubicBezTo>
                  <a:pt x="801" y="249"/>
                  <a:pt x="802" y="250"/>
                  <a:pt x="802" y="249"/>
                </a:cubicBezTo>
                <a:cubicBezTo>
                  <a:pt x="802" y="249"/>
                  <a:pt x="803" y="249"/>
                  <a:pt x="803" y="250"/>
                </a:cubicBezTo>
                <a:cubicBezTo>
                  <a:pt x="804" y="248"/>
                  <a:pt x="804" y="251"/>
                  <a:pt x="804" y="251"/>
                </a:cubicBezTo>
                <a:cubicBezTo>
                  <a:pt x="804" y="251"/>
                  <a:pt x="803" y="251"/>
                  <a:pt x="803" y="252"/>
                </a:cubicBezTo>
                <a:cubicBezTo>
                  <a:pt x="803" y="252"/>
                  <a:pt x="804" y="252"/>
                  <a:pt x="804" y="252"/>
                </a:cubicBezTo>
                <a:cubicBezTo>
                  <a:pt x="803" y="253"/>
                  <a:pt x="803" y="254"/>
                  <a:pt x="803" y="255"/>
                </a:cubicBezTo>
                <a:cubicBezTo>
                  <a:pt x="804" y="255"/>
                  <a:pt x="802" y="255"/>
                  <a:pt x="802" y="256"/>
                </a:cubicBezTo>
                <a:cubicBezTo>
                  <a:pt x="800" y="256"/>
                  <a:pt x="797" y="257"/>
                  <a:pt x="797" y="255"/>
                </a:cubicBezTo>
                <a:cubicBezTo>
                  <a:pt x="797" y="254"/>
                  <a:pt x="796" y="254"/>
                  <a:pt x="796" y="254"/>
                </a:cubicBezTo>
                <a:cubicBezTo>
                  <a:pt x="795" y="254"/>
                  <a:pt x="796" y="255"/>
                  <a:pt x="795" y="255"/>
                </a:cubicBezTo>
                <a:cubicBezTo>
                  <a:pt x="795" y="256"/>
                  <a:pt x="795" y="256"/>
                  <a:pt x="796" y="256"/>
                </a:cubicBezTo>
                <a:cubicBezTo>
                  <a:pt x="797" y="257"/>
                  <a:pt x="797" y="257"/>
                  <a:pt x="796" y="257"/>
                </a:cubicBezTo>
                <a:cubicBezTo>
                  <a:pt x="796" y="258"/>
                  <a:pt x="795" y="259"/>
                  <a:pt x="794" y="259"/>
                </a:cubicBezTo>
                <a:cubicBezTo>
                  <a:pt x="794" y="259"/>
                  <a:pt x="794" y="260"/>
                  <a:pt x="793" y="260"/>
                </a:cubicBezTo>
                <a:cubicBezTo>
                  <a:pt x="795" y="260"/>
                  <a:pt x="796" y="260"/>
                  <a:pt x="797" y="260"/>
                </a:cubicBezTo>
                <a:cubicBezTo>
                  <a:pt x="797" y="260"/>
                  <a:pt x="797" y="261"/>
                  <a:pt x="797" y="262"/>
                </a:cubicBezTo>
                <a:cubicBezTo>
                  <a:pt x="797" y="262"/>
                  <a:pt x="797" y="263"/>
                  <a:pt x="797" y="263"/>
                </a:cubicBezTo>
                <a:cubicBezTo>
                  <a:pt x="796" y="263"/>
                  <a:pt x="796" y="263"/>
                  <a:pt x="796" y="263"/>
                </a:cubicBezTo>
                <a:cubicBezTo>
                  <a:pt x="796" y="263"/>
                  <a:pt x="796" y="263"/>
                  <a:pt x="796" y="263"/>
                </a:cubicBezTo>
                <a:cubicBezTo>
                  <a:pt x="795" y="264"/>
                  <a:pt x="795" y="264"/>
                  <a:pt x="795" y="264"/>
                </a:cubicBezTo>
                <a:cubicBezTo>
                  <a:pt x="794" y="264"/>
                  <a:pt x="795" y="264"/>
                  <a:pt x="794" y="265"/>
                </a:cubicBezTo>
                <a:cubicBezTo>
                  <a:pt x="793" y="265"/>
                  <a:pt x="792" y="265"/>
                  <a:pt x="792" y="266"/>
                </a:cubicBezTo>
                <a:cubicBezTo>
                  <a:pt x="792" y="266"/>
                  <a:pt x="792" y="267"/>
                  <a:pt x="792" y="268"/>
                </a:cubicBezTo>
                <a:cubicBezTo>
                  <a:pt x="792" y="268"/>
                  <a:pt x="793" y="267"/>
                  <a:pt x="793" y="268"/>
                </a:cubicBezTo>
                <a:cubicBezTo>
                  <a:pt x="793" y="268"/>
                  <a:pt x="792" y="268"/>
                  <a:pt x="792" y="269"/>
                </a:cubicBezTo>
                <a:cubicBezTo>
                  <a:pt x="793" y="269"/>
                  <a:pt x="794" y="269"/>
                  <a:pt x="794" y="268"/>
                </a:cubicBezTo>
                <a:cubicBezTo>
                  <a:pt x="795" y="267"/>
                  <a:pt x="795" y="267"/>
                  <a:pt x="796" y="267"/>
                </a:cubicBezTo>
                <a:cubicBezTo>
                  <a:pt x="796" y="268"/>
                  <a:pt x="796" y="268"/>
                  <a:pt x="796" y="269"/>
                </a:cubicBezTo>
                <a:cubicBezTo>
                  <a:pt x="797" y="269"/>
                  <a:pt x="799" y="269"/>
                  <a:pt x="799" y="267"/>
                </a:cubicBezTo>
                <a:cubicBezTo>
                  <a:pt x="800" y="268"/>
                  <a:pt x="800" y="268"/>
                  <a:pt x="801" y="269"/>
                </a:cubicBezTo>
                <a:cubicBezTo>
                  <a:pt x="801" y="269"/>
                  <a:pt x="801" y="269"/>
                  <a:pt x="802" y="269"/>
                </a:cubicBezTo>
                <a:cubicBezTo>
                  <a:pt x="802" y="269"/>
                  <a:pt x="802" y="268"/>
                  <a:pt x="802" y="268"/>
                </a:cubicBezTo>
                <a:cubicBezTo>
                  <a:pt x="802" y="267"/>
                  <a:pt x="804" y="267"/>
                  <a:pt x="804" y="267"/>
                </a:cubicBezTo>
                <a:cubicBezTo>
                  <a:pt x="804" y="268"/>
                  <a:pt x="804" y="270"/>
                  <a:pt x="803" y="270"/>
                </a:cubicBezTo>
                <a:cubicBezTo>
                  <a:pt x="802" y="270"/>
                  <a:pt x="799" y="271"/>
                  <a:pt x="799" y="270"/>
                </a:cubicBezTo>
                <a:cubicBezTo>
                  <a:pt x="799" y="270"/>
                  <a:pt x="798" y="270"/>
                  <a:pt x="797" y="270"/>
                </a:cubicBezTo>
                <a:cubicBezTo>
                  <a:pt x="798" y="270"/>
                  <a:pt x="797" y="270"/>
                  <a:pt x="796" y="270"/>
                </a:cubicBezTo>
                <a:cubicBezTo>
                  <a:pt x="796" y="270"/>
                  <a:pt x="796" y="270"/>
                  <a:pt x="795" y="271"/>
                </a:cubicBezTo>
                <a:cubicBezTo>
                  <a:pt x="795" y="271"/>
                  <a:pt x="794" y="271"/>
                  <a:pt x="794" y="272"/>
                </a:cubicBezTo>
                <a:cubicBezTo>
                  <a:pt x="794" y="273"/>
                  <a:pt x="793" y="275"/>
                  <a:pt x="792" y="275"/>
                </a:cubicBezTo>
                <a:cubicBezTo>
                  <a:pt x="791" y="275"/>
                  <a:pt x="792" y="276"/>
                  <a:pt x="791" y="276"/>
                </a:cubicBezTo>
                <a:cubicBezTo>
                  <a:pt x="791" y="277"/>
                  <a:pt x="790" y="277"/>
                  <a:pt x="789" y="278"/>
                </a:cubicBezTo>
                <a:cubicBezTo>
                  <a:pt x="788" y="278"/>
                  <a:pt x="788" y="278"/>
                  <a:pt x="788" y="278"/>
                </a:cubicBezTo>
                <a:cubicBezTo>
                  <a:pt x="788" y="279"/>
                  <a:pt x="788" y="279"/>
                  <a:pt x="789" y="279"/>
                </a:cubicBezTo>
                <a:cubicBezTo>
                  <a:pt x="790" y="279"/>
                  <a:pt x="791" y="279"/>
                  <a:pt x="791" y="280"/>
                </a:cubicBezTo>
                <a:cubicBezTo>
                  <a:pt x="792" y="279"/>
                  <a:pt x="792" y="279"/>
                  <a:pt x="792" y="278"/>
                </a:cubicBezTo>
                <a:cubicBezTo>
                  <a:pt x="793" y="278"/>
                  <a:pt x="793" y="276"/>
                  <a:pt x="794" y="277"/>
                </a:cubicBezTo>
                <a:cubicBezTo>
                  <a:pt x="794" y="277"/>
                  <a:pt x="794" y="277"/>
                  <a:pt x="794" y="276"/>
                </a:cubicBezTo>
                <a:cubicBezTo>
                  <a:pt x="795" y="276"/>
                  <a:pt x="796" y="276"/>
                  <a:pt x="797" y="276"/>
                </a:cubicBezTo>
                <a:cubicBezTo>
                  <a:pt x="797" y="276"/>
                  <a:pt x="798" y="276"/>
                  <a:pt x="798" y="276"/>
                </a:cubicBezTo>
                <a:cubicBezTo>
                  <a:pt x="798" y="276"/>
                  <a:pt x="798" y="277"/>
                  <a:pt x="799" y="277"/>
                </a:cubicBezTo>
                <a:cubicBezTo>
                  <a:pt x="799" y="277"/>
                  <a:pt x="800" y="276"/>
                  <a:pt x="800" y="276"/>
                </a:cubicBezTo>
                <a:cubicBezTo>
                  <a:pt x="801" y="275"/>
                  <a:pt x="801" y="275"/>
                  <a:pt x="802" y="274"/>
                </a:cubicBezTo>
                <a:cubicBezTo>
                  <a:pt x="803" y="274"/>
                  <a:pt x="803" y="274"/>
                  <a:pt x="804" y="274"/>
                </a:cubicBezTo>
                <a:cubicBezTo>
                  <a:pt x="804" y="275"/>
                  <a:pt x="806" y="275"/>
                  <a:pt x="807" y="275"/>
                </a:cubicBezTo>
                <a:cubicBezTo>
                  <a:pt x="807" y="274"/>
                  <a:pt x="807" y="274"/>
                  <a:pt x="808" y="274"/>
                </a:cubicBezTo>
                <a:cubicBezTo>
                  <a:pt x="808" y="274"/>
                  <a:pt x="809" y="274"/>
                  <a:pt x="809" y="273"/>
                </a:cubicBezTo>
                <a:cubicBezTo>
                  <a:pt x="810" y="273"/>
                  <a:pt x="813" y="274"/>
                  <a:pt x="813" y="273"/>
                </a:cubicBezTo>
                <a:cubicBezTo>
                  <a:pt x="813" y="273"/>
                  <a:pt x="816" y="273"/>
                  <a:pt x="816" y="273"/>
                </a:cubicBezTo>
                <a:cubicBezTo>
                  <a:pt x="817" y="273"/>
                  <a:pt x="818" y="274"/>
                  <a:pt x="819" y="274"/>
                </a:cubicBezTo>
                <a:cubicBezTo>
                  <a:pt x="819" y="274"/>
                  <a:pt x="819" y="273"/>
                  <a:pt x="819" y="273"/>
                </a:cubicBezTo>
                <a:cubicBezTo>
                  <a:pt x="819" y="273"/>
                  <a:pt x="820" y="273"/>
                  <a:pt x="820" y="273"/>
                </a:cubicBezTo>
                <a:cubicBezTo>
                  <a:pt x="821" y="273"/>
                  <a:pt x="821" y="273"/>
                  <a:pt x="821" y="272"/>
                </a:cubicBezTo>
                <a:cubicBezTo>
                  <a:pt x="822" y="272"/>
                  <a:pt x="822" y="272"/>
                  <a:pt x="823" y="272"/>
                </a:cubicBezTo>
                <a:cubicBezTo>
                  <a:pt x="823" y="271"/>
                  <a:pt x="823" y="271"/>
                  <a:pt x="823" y="270"/>
                </a:cubicBezTo>
                <a:cubicBezTo>
                  <a:pt x="822" y="270"/>
                  <a:pt x="821" y="270"/>
                  <a:pt x="819" y="270"/>
                </a:cubicBezTo>
                <a:cubicBezTo>
                  <a:pt x="820" y="270"/>
                  <a:pt x="820" y="270"/>
                  <a:pt x="820" y="269"/>
                </a:cubicBezTo>
                <a:cubicBezTo>
                  <a:pt x="819" y="269"/>
                  <a:pt x="819" y="269"/>
                  <a:pt x="819" y="268"/>
                </a:cubicBezTo>
                <a:cubicBezTo>
                  <a:pt x="819" y="268"/>
                  <a:pt x="820" y="268"/>
                  <a:pt x="821" y="268"/>
                </a:cubicBezTo>
                <a:cubicBezTo>
                  <a:pt x="821" y="267"/>
                  <a:pt x="822" y="267"/>
                  <a:pt x="823" y="267"/>
                </a:cubicBezTo>
                <a:cubicBezTo>
                  <a:pt x="823" y="267"/>
                  <a:pt x="823" y="266"/>
                  <a:pt x="823" y="266"/>
                </a:cubicBezTo>
                <a:cubicBezTo>
                  <a:pt x="825" y="266"/>
                  <a:pt x="825" y="266"/>
                  <a:pt x="825" y="265"/>
                </a:cubicBezTo>
                <a:cubicBezTo>
                  <a:pt x="825" y="264"/>
                  <a:pt x="826" y="262"/>
                  <a:pt x="825" y="261"/>
                </a:cubicBezTo>
                <a:cubicBezTo>
                  <a:pt x="825" y="260"/>
                  <a:pt x="825" y="260"/>
                  <a:pt x="824" y="260"/>
                </a:cubicBezTo>
                <a:cubicBezTo>
                  <a:pt x="823" y="259"/>
                  <a:pt x="823" y="259"/>
                  <a:pt x="822" y="259"/>
                </a:cubicBezTo>
                <a:cubicBezTo>
                  <a:pt x="821" y="259"/>
                  <a:pt x="819" y="260"/>
                  <a:pt x="820" y="260"/>
                </a:cubicBezTo>
                <a:cubicBezTo>
                  <a:pt x="820" y="260"/>
                  <a:pt x="821" y="261"/>
                  <a:pt x="820" y="261"/>
                </a:cubicBezTo>
                <a:cubicBezTo>
                  <a:pt x="819" y="261"/>
                  <a:pt x="819" y="261"/>
                  <a:pt x="819" y="260"/>
                </a:cubicBezTo>
                <a:cubicBezTo>
                  <a:pt x="818" y="259"/>
                  <a:pt x="819" y="259"/>
                  <a:pt x="819" y="258"/>
                </a:cubicBezTo>
                <a:cubicBezTo>
                  <a:pt x="819" y="257"/>
                  <a:pt x="819" y="256"/>
                  <a:pt x="818" y="256"/>
                </a:cubicBezTo>
                <a:cubicBezTo>
                  <a:pt x="817" y="256"/>
                  <a:pt x="816" y="253"/>
                  <a:pt x="816" y="253"/>
                </a:cubicBezTo>
                <a:cubicBezTo>
                  <a:pt x="816" y="253"/>
                  <a:pt x="817" y="253"/>
                  <a:pt x="817" y="253"/>
                </a:cubicBezTo>
                <a:cubicBezTo>
                  <a:pt x="817" y="254"/>
                  <a:pt x="818" y="254"/>
                  <a:pt x="819" y="254"/>
                </a:cubicBezTo>
                <a:cubicBezTo>
                  <a:pt x="819" y="254"/>
                  <a:pt x="819" y="254"/>
                  <a:pt x="819" y="253"/>
                </a:cubicBezTo>
                <a:cubicBezTo>
                  <a:pt x="818" y="253"/>
                  <a:pt x="817" y="252"/>
                  <a:pt x="817" y="252"/>
                </a:cubicBezTo>
                <a:cubicBezTo>
                  <a:pt x="816" y="251"/>
                  <a:pt x="815" y="251"/>
                  <a:pt x="815" y="251"/>
                </a:cubicBezTo>
                <a:cubicBezTo>
                  <a:pt x="815" y="250"/>
                  <a:pt x="814" y="250"/>
                  <a:pt x="814" y="250"/>
                </a:cubicBezTo>
                <a:cubicBezTo>
                  <a:pt x="814" y="250"/>
                  <a:pt x="814" y="250"/>
                  <a:pt x="814" y="250"/>
                </a:cubicBezTo>
                <a:cubicBezTo>
                  <a:pt x="814" y="249"/>
                  <a:pt x="814" y="249"/>
                  <a:pt x="814" y="249"/>
                </a:cubicBezTo>
                <a:cubicBezTo>
                  <a:pt x="814" y="249"/>
                  <a:pt x="814" y="249"/>
                  <a:pt x="814" y="249"/>
                </a:cubicBezTo>
                <a:cubicBezTo>
                  <a:pt x="813" y="248"/>
                  <a:pt x="813" y="248"/>
                  <a:pt x="813" y="248"/>
                </a:cubicBezTo>
                <a:cubicBezTo>
                  <a:pt x="813" y="247"/>
                  <a:pt x="812" y="248"/>
                  <a:pt x="812" y="248"/>
                </a:cubicBezTo>
                <a:cubicBezTo>
                  <a:pt x="811" y="247"/>
                  <a:pt x="811" y="247"/>
                  <a:pt x="811" y="246"/>
                </a:cubicBezTo>
                <a:cubicBezTo>
                  <a:pt x="810" y="245"/>
                  <a:pt x="810" y="245"/>
                  <a:pt x="810" y="244"/>
                </a:cubicBezTo>
                <a:cubicBezTo>
                  <a:pt x="810" y="243"/>
                  <a:pt x="810" y="243"/>
                  <a:pt x="809" y="243"/>
                </a:cubicBezTo>
                <a:cubicBezTo>
                  <a:pt x="808" y="242"/>
                  <a:pt x="809" y="241"/>
                  <a:pt x="808" y="241"/>
                </a:cubicBezTo>
                <a:cubicBezTo>
                  <a:pt x="808" y="241"/>
                  <a:pt x="808" y="241"/>
                  <a:pt x="808" y="240"/>
                </a:cubicBezTo>
                <a:cubicBezTo>
                  <a:pt x="807" y="240"/>
                  <a:pt x="807" y="240"/>
                  <a:pt x="807" y="240"/>
                </a:cubicBezTo>
                <a:cubicBezTo>
                  <a:pt x="806" y="240"/>
                  <a:pt x="806" y="239"/>
                  <a:pt x="806" y="239"/>
                </a:cubicBezTo>
                <a:cubicBezTo>
                  <a:pt x="805" y="237"/>
                  <a:pt x="804" y="238"/>
                  <a:pt x="803" y="238"/>
                </a:cubicBezTo>
                <a:cubicBezTo>
                  <a:pt x="803" y="238"/>
                  <a:pt x="802" y="237"/>
                  <a:pt x="803" y="237"/>
                </a:cubicBezTo>
                <a:cubicBezTo>
                  <a:pt x="803" y="237"/>
                  <a:pt x="803" y="236"/>
                  <a:pt x="804" y="236"/>
                </a:cubicBezTo>
                <a:cubicBezTo>
                  <a:pt x="804" y="236"/>
                  <a:pt x="804" y="236"/>
                  <a:pt x="805" y="236"/>
                </a:cubicBezTo>
                <a:cubicBezTo>
                  <a:pt x="805" y="236"/>
                  <a:pt x="805" y="236"/>
                  <a:pt x="805" y="235"/>
                </a:cubicBezTo>
                <a:cubicBezTo>
                  <a:pt x="804" y="234"/>
                  <a:pt x="804" y="234"/>
                  <a:pt x="803" y="234"/>
                </a:cubicBezTo>
                <a:cubicBezTo>
                  <a:pt x="803" y="233"/>
                  <a:pt x="804" y="233"/>
                  <a:pt x="804" y="233"/>
                </a:cubicBezTo>
                <a:cubicBezTo>
                  <a:pt x="805" y="232"/>
                  <a:pt x="804" y="232"/>
                  <a:pt x="805" y="232"/>
                </a:cubicBezTo>
                <a:cubicBezTo>
                  <a:pt x="806" y="231"/>
                  <a:pt x="807" y="231"/>
                  <a:pt x="807" y="230"/>
                </a:cubicBezTo>
                <a:cubicBezTo>
                  <a:pt x="807" y="228"/>
                  <a:pt x="807" y="228"/>
                  <a:pt x="807" y="227"/>
                </a:cubicBezTo>
                <a:cubicBezTo>
                  <a:pt x="807" y="226"/>
                  <a:pt x="808" y="226"/>
                  <a:pt x="808" y="225"/>
                </a:cubicBezTo>
                <a:cubicBezTo>
                  <a:pt x="807" y="225"/>
                  <a:pt x="806" y="225"/>
                  <a:pt x="806" y="224"/>
                </a:cubicBezTo>
                <a:cubicBezTo>
                  <a:pt x="805" y="225"/>
                  <a:pt x="805" y="225"/>
                  <a:pt x="804" y="224"/>
                </a:cubicBezTo>
                <a:cubicBezTo>
                  <a:pt x="804" y="225"/>
                  <a:pt x="804" y="224"/>
                  <a:pt x="804" y="225"/>
                </a:cubicBezTo>
                <a:cubicBezTo>
                  <a:pt x="803" y="225"/>
                  <a:pt x="803" y="224"/>
                  <a:pt x="803" y="224"/>
                </a:cubicBezTo>
                <a:cubicBezTo>
                  <a:pt x="802" y="224"/>
                  <a:pt x="801" y="225"/>
                  <a:pt x="801" y="225"/>
                </a:cubicBezTo>
                <a:cubicBezTo>
                  <a:pt x="800" y="225"/>
                  <a:pt x="798" y="226"/>
                  <a:pt x="797" y="226"/>
                </a:cubicBezTo>
                <a:cubicBezTo>
                  <a:pt x="797" y="226"/>
                  <a:pt x="797" y="225"/>
                  <a:pt x="797" y="225"/>
                </a:cubicBezTo>
                <a:cubicBezTo>
                  <a:pt x="797" y="225"/>
                  <a:pt x="797" y="224"/>
                  <a:pt x="797" y="223"/>
                </a:cubicBezTo>
                <a:cubicBezTo>
                  <a:pt x="798" y="223"/>
                  <a:pt x="798" y="223"/>
                  <a:pt x="799" y="222"/>
                </a:cubicBezTo>
                <a:cubicBezTo>
                  <a:pt x="799" y="222"/>
                  <a:pt x="799" y="222"/>
                  <a:pt x="800" y="222"/>
                </a:cubicBezTo>
                <a:cubicBezTo>
                  <a:pt x="800" y="221"/>
                  <a:pt x="800" y="221"/>
                  <a:pt x="801" y="220"/>
                </a:cubicBezTo>
                <a:cubicBezTo>
                  <a:pt x="801" y="220"/>
                  <a:pt x="802" y="219"/>
                  <a:pt x="802" y="219"/>
                </a:cubicBezTo>
                <a:cubicBezTo>
                  <a:pt x="802" y="217"/>
                  <a:pt x="801" y="216"/>
                  <a:pt x="800" y="217"/>
                </a:cubicBezTo>
                <a:cubicBezTo>
                  <a:pt x="799" y="217"/>
                  <a:pt x="799" y="216"/>
                  <a:pt x="798" y="216"/>
                </a:cubicBezTo>
                <a:cubicBezTo>
                  <a:pt x="797" y="217"/>
                  <a:pt x="797" y="218"/>
                  <a:pt x="796" y="217"/>
                </a:cubicBezTo>
                <a:cubicBezTo>
                  <a:pt x="796" y="218"/>
                  <a:pt x="796" y="218"/>
                  <a:pt x="795" y="219"/>
                </a:cubicBezTo>
                <a:cubicBezTo>
                  <a:pt x="795" y="218"/>
                  <a:pt x="795" y="218"/>
                  <a:pt x="796" y="217"/>
                </a:cubicBezTo>
                <a:cubicBezTo>
                  <a:pt x="795" y="217"/>
                  <a:pt x="794" y="217"/>
                  <a:pt x="794" y="217"/>
                </a:cubicBezTo>
                <a:cubicBezTo>
                  <a:pt x="794" y="218"/>
                  <a:pt x="794" y="219"/>
                  <a:pt x="793" y="220"/>
                </a:cubicBezTo>
                <a:cubicBezTo>
                  <a:pt x="793" y="221"/>
                  <a:pt x="793" y="221"/>
                  <a:pt x="793" y="221"/>
                </a:cubicBezTo>
                <a:cubicBezTo>
                  <a:pt x="792" y="221"/>
                  <a:pt x="792" y="221"/>
                  <a:pt x="792" y="221"/>
                </a:cubicBezTo>
                <a:cubicBezTo>
                  <a:pt x="792" y="222"/>
                  <a:pt x="792" y="223"/>
                  <a:pt x="793" y="223"/>
                </a:cubicBezTo>
                <a:cubicBezTo>
                  <a:pt x="792" y="224"/>
                  <a:pt x="793" y="224"/>
                  <a:pt x="792" y="224"/>
                </a:cubicBezTo>
                <a:cubicBezTo>
                  <a:pt x="790" y="224"/>
                  <a:pt x="790" y="223"/>
                  <a:pt x="790" y="225"/>
                </a:cubicBezTo>
                <a:cubicBezTo>
                  <a:pt x="790" y="225"/>
                  <a:pt x="790" y="225"/>
                  <a:pt x="791" y="226"/>
                </a:cubicBezTo>
                <a:cubicBezTo>
                  <a:pt x="790" y="226"/>
                  <a:pt x="789" y="226"/>
                  <a:pt x="789" y="227"/>
                </a:cubicBezTo>
                <a:cubicBezTo>
                  <a:pt x="790" y="227"/>
                  <a:pt x="790" y="227"/>
                  <a:pt x="790" y="228"/>
                </a:cubicBezTo>
                <a:close/>
                <a:moveTo>
                  <a:pt x="92" y="217"/>
                </a:moveTo>
                <a:cubicBezTo>
                  <a:pt x="91" y="217"/>
                  <a:pt x="92" y="216"/>
                  <a:pt x="91" y="216"/>
                </a:cubicBezTo>
                <a:cubicBezTo>
                  <a:pt x="90" y="216"/>
                  <a:pt x="90" y="215"/>
                  <a:pt x="90" y="216"/>
                </a:cubicBezTo>
                <a:cubicBezTo>
                  <a:pt x="89" y="217"/>
                  <a:pt x="89" y="218"/>
                  <a:pt x="88" y="218"/>
                </a:cubicBezTo>
                <a:cubicBezTo>
                  <a:pt x="89" y="219"/>
                  <a:pt x="89" y="219"/>
                  <a:pt x="90" y="219"/>
                </a:cubicBezTo>
                <a:cubicBezTo>
                  <a:pt x="90" y="218"/>
                  <a:pt x="90" y="218"/>
                  <a:pt x="90" y="218"/>
                </a:cubicBezTo>
                <a:cubicBezTo>
                  <a:pt x="91" y="218"/>
                  <a:pt x="90" y="218"/>
                  <a:pt x="90" y="218"/>
                </a:cubicBezTo>
                <a:cubicBezTo>
                  <a:pt x="91" y="217"/>
                  <a:pt x="92" y="218"/>
                  <a:pt x="92" y="218"/>
                </a:cubicBezTo>
                <a:cubicBezTo>
                  <a:pt x="92" y="218"/>
                  <a:pt x="93" y="218"/>
                  <a:pt x="93" y="218"/>
                </a:cubicBezTo>
                <a:cubicBezTo>
                  <a:pt x="93" y="218"/>
                  <a:pt x="93" y="218"/>
                  <a:pt x="93" y="218"/>
                </a:cubicBezTo>
                <a:cubicBezTo>
                  <a:pt x="92" y="218"/>
                  <a:pt x="92" y="217"/>
                  <a:pt x="92" y="217"/>
                </a:cubicBezTo>
                <a:close/>
                <a:moveTo>
                  <a:pt x="1596" y="214"/>
                </a:moveTo>
                <a:cubicBezTo>
                  <a:pt x="1596" y="214"/>
                  <a:pt x="1594" y="215"/>
                  <a:pt x="1594" y="215"/>
                </a:cubicBezTo>
                <a:cubicBezTo>
                  <a:pt x="1594" y="215"/>
                  <a:pt x="1593" y="216"/>
                  <a:pt x="1593" y="216"/>
                </a:cubicBezTo>
                <a:cubicBezTo>
                  <a:pt x="1592" y="217"/>
                  <a:pt x="1592" y="218"/>
                  <a:pt x="1592" y="219"/>
                </a:cubicBezTo>
                <a:cubicBezTo>
                  <a:pt x="1592" y="219"/>
                  <a:pt x="1591" y="221"/>
                  <a:pt x="1592" y="221"/>
                </a:cubicBezTo>
                <a:cubicBezTo>
                  <a:pt x="1593" y="221"/>
                  <a:pt x="1592" y="221"/>
                  <a:pt x="1593" y="220"/>
                </a:cubicBezTo>
                <a:cubicBezTo>
                  <a:pt x="1594" y="220"/>
                  <a:pt x="1593" y="220"/>
                  <a:pt x="1594" y="219"/>
                </a:cubicBezTo>
                <a:cubicBezTo>
                  <a:pt x="1594" y="219"/>
                  <a:pt x="1594" y="219"/>
                  <a:pt x="1594" y="218"/>
                </a:cubicBezTo>
                <a:cubicBezTo>
                  <a:pt x="1595" y="218"/>
                  <a:pt x="1595" y="218"/>
                  <a:pt x="1596" y="217"/>
                </a:cubicBezTo>
                <a:cubicBezTo>
                  <a:pt x="1597" y="216"/>
                  <a:pt x="1596" y="215"/>
                  <a:pt x="1596" y="214"/>
                </a:cubicBezTo>
                <a:cubicBezTo>
                  <a:pt x="1595" y="214"/>
                  <a:pt x="1596" y="214"/>
                  <a:pt x="1596" y="214"/>
                </a:cubicBezTo>
                <a:close/>
                <a:moveTo>
                  <a:pt x="925" y="213"/>
                </a:moveTo>
                <a:cubicBezTo>
                  <a:pt x="925" y="214"/>
                  <a:pt x="924" y="215"/>
                  <a:pt x="924" y="214"/>
                </a:cubicBezTo>
                <a:cubicBezTo>
                  <a:pt x="923" y="214"/>
                  <a:pt x="923" y="215"/>
                  <a:pt x="923" y="215"/>
                </a:cubicBezTo>
                <a:cubicBezTo>
                  <a:pt x="924" y="215"/>
                  <a:pt x="924" y="216"/>
                  <a:pt x="924" y="217"/>
                </a:cubicBezTo>
                <a:cubicBezTo>
                  <a:pt x="925" y="217"/>
                  <a:pt x="925" y="215"/>
                  <a:pt x="926" y="215"/>
                </a:cubicBezTo>
                <a:cubicBezTo>
                  <a:pt x="926" y="215"/>
                  <a:pt x="926" y="214"/>
                  <a:pt x="926" y="214"/>
                </a:cubicBezTo>
                <a:cubicBezTo>
                  <a:pt x="925" y="213"/>
                  <a:pt x="925" y="213"/>
                  <a:pt x="925" y="213"/>
                </a:cubicBezTo>
                <a:cubicBezTo>
                  <a:pt x="925" y="214"/>
                  <a:pt x="925" y="213"/>
                  <a:pt x="925" y="213"/>
                </a:cubicBezTo>
                <a:close/>
                <a:moveTo>
                  <a:pt x="842" y="211"/>
                </a:moveTo>
                <a:cubicBezTo>
                  <a:pt x="842" y="211"/>
                  <a:pt x="842" y="211"/>
                  <a:pt x="842" y="211"/>
                </a:cubicBezTo>
                <a:cubicBezTo>
                  <a:pt x="842" y="211"/>
                  <a:pt x="842" y="211"/>
                  <a:pt x="842" y="210"/>
                </a:cubicBezTo>
                <a:cubicBezTo>
                  <a:pt x="842" y="211"/>
                  <a:pt x="842" y="211"/>
                  <a:pt x="842" y="211"/>
                </a:cubicBezTo>
                <a:close/>
                <a:moveTo>
                  <a:pt x="488" y="211"/>
                </a:moveTo>
                <a:cubicBezTo>
                  <a:pt x="488" y="211"/>
                  <a:pt x="489" y="211"/>
                  <a:pt x="489" y="211"/>
                </a:cubicBezTo>
                <a:cubicBezTo>
                  <a:pt x="489" y="210"/>
                  <a:pt x="489" y="210"/>
                  <a:pt x="488" y="210"/>
                </a:cubicBezTo>
                <a:cubicBezTo>
                  <a:pt x="488" y="210"/>
                  <a:pt x="488" y="211"/>
                  <a:pt x="488" y="211"/>
                </a:cubicBezTo>
                <a:close/>
                <a:moveTo>
                  <a:pt x="843" y="209"/>
                </a:moveTo>
                <a:cubicBezTo>
                  <a:pt x="842" y="209"/>
                  <a:pt x="842" y="209"/>
                  <a:pt x="842" y="210"/>
                </a:cubicBezTo>
                <a:cubicBezTo>
                  <a:pt x="843" y="210"/>
                  <a:pt x="843" y="209"/>
                  <a:pt x="843" y="209"/>
                </a:cubicBezTo>
                <a:close/>
                <a:moveTo>
                  <a:pt x="845" y="209"/>
                </a:moveTo>
                <a:cubicBezTo>
                  <a:pt x="845" y="208"/>
                  <a:pt x="845" y="209"/>
                  <a:pt x="844" y="208"/>
                </a:cubicBezTo>
                <a:cubicBezTo>
                  <a:pt x="844" y="209"/>
                  <a:pt x="844" y="209"/>
                  <a:pt x="845" y="209"/>
                </a:cubicBezTo>
                <a:close/>
                <a:moveTo>
                  <a:pt x="842" y="208"/>
                </a:moveTo>
                <a:cubicBezTo>
                  <a:pt x="843" y="208"/>
                  <a:pt x="842" y="208"/>
                  <a:pt x="842" y="208"/>
                </a:cubicBezTo>
                <a:cubicBezTo>
                  <a:pt x="842" y="208"/>
                  <a:pt x="842" y="208"/>
                  <a:pt x="842" y="208"/>
                </a:cubicBezTo>
                <a:close/>
                <a:moveTo>
                  <a:pt x="611" y="208"/>
                </a:moveTo>
                <a:cubicBezTo>
                  <a:pt x="612" y="208"/>
                  <a:pt x="609" y="207"/>
                  <a:pt x="609" y="208"/>
                </a:cubicBezTo>
                <a:cubicBezTo>
                  <a:pt x="608" y="209"/>
                  <a:pt x="611" y="209"/>
                  <a:pt x="611" y="208"/>
                </a:cubicBezTo>
                <a:close/>
                <a:moveTo>
                  <a:pt x="1736" y="207"/>
                </a:moveTo>
                <a:cubicBezTo>
                  <a:pt x="1735" y="207"/>
                  <a:pt x="1735" y="207"/>
                  <a:pt x="1735" y="207"/>
                </a:cubicBezTo>
                <a:cubicBezTo>
                  <a:pt x="1734" y="207"/>
                  <a:pt x="1734" y="207"/>
                  <a:pt x="1734" y="208"/>
                </a:cubicBezTo>
                <a:cubicBezTo>
                  <a:pt x="1734" y="208"/>
                  <a:pt x="1733" y="208"/>
                  <a:pt x="1733" y="208"/>
                </a:cubicBezTo>
                <a:cubicBezTo>
                  <a:pt x="1732" y="208"/>
                  <a:pt x="1731" y="208"/>
                  <a:pt x="1730" y="208"/>
                </a:cubicBezTo>
                <a:cubicBezTo>
                  <a:pt x="1730" y="209"/>
                  <a:pt x="1731" y="210"/>
                  <a:pt x="1732" y="210"/>
                </a:cubicBezTo>
                <a:cubicBezTo>
                  <a:pt x="1732" y="210"/>
                  <a:pt x="1734" y="211"/>
                  <a:pt x="1735" y="211"/>
                </a:cubicBezTo>
                <a:cubicBezTo>
                  <a:pt x="1735" y="211"/>
                  <a:pt x="1736" y="210"/>
                  <a:pt x="1736" y="210"/>
                </a:cubicBezTo>
                <a:cubicBezTo>
                  <a:pt x="1737" y="210"/>
                  <a:pt x="1738" y="210"/>
                  <a:pt x="1738" y="209"/>
                </a:cubicBezTo>
                <a:cubicBezTo>
                  <a:pt x="1738" y="208"/>
                  <a:pt x="1738" y="207"/>
                  <a:pt x="1737" y="207"/>
                </a:cubicBezTo>
                <a:cubicBezTo>
                  <a:pt x="1737" y="207"/>
                  <a:pt x="1736" y="207"/>
                  <a:pt x="1736" y="207"/>
                </a:cubicBezTo>
                <a:cubicBezTo>
                  <a:pt x="1735" y="207"/>
                  <a:pt x="1736" y="207"/>
                  <a:pt x="1736" y="207"/>
                </a:cubicBezTo>
                <a:close/>
                <a:moveTo>
                  <a:pt x="1709" y="206"/>
                </a:moveTo>
                <a:cubicBezTo>
                  <a:pt x="1708" y="206"/>
                  <a:pt x="1706" y="205"/>
                  <a:pt x="1705" y="205"/>
                </a:cubicBezTo>
                <a:cubicBezTo>
                  <a:pt x="1705" y="205"/>
                  <a:pt x="1705" y="206"/>
                  <a:pt x="1705" y="206"/>
                </a:cubicBezTo>
                <a:cubicBezTo>
                  <a:pt x="1704" y="207"/>
                  <a:pt x="1704" y="207"/>
                  <a:pt x="1704" y="208"/>
                </a:cubicBezTo>
                <a:cubicBezTo>
                  <a:pt x="1704" y="208"/>
                  <a:pt x="1704" y="208"/>
                  <a:pt x="1705" y="209"/>
                </a:cubicBezTo>
                <a:cubicBezTo>
                  <a:pt x="1705" y="209"/>
                  <a:pt x="1705" y="209"/>
                  <a:pt x="1705" y="210"/>
                </a:cubicBezTo>
                <a:cubicBezTo>
                  <a:pt x="1706" y="210"/>
                  <a:pt x="1706" y="210"/>
                  <a:pt x="1707" y="210"/>
                </a:cubicBezTo>
                <a:cubicBezTo>
                  <a:pt x="1708" y="209"/>
                  <a:pt x="1710" y="208"/>
                  <a:pt x="1710" y="208"/>
                </a:cubicBezTo>
                <a:cubicBezTo>
                  <a:pt x="1710" y="206"/>
                  <a:pt x="1710" y="207"/>
                  <a:pt x="1709" y="206"/>
                </a:cubicBezTo>
                <a:cubicBezTo>
                  <a:pt x="1707" y="206"/>
                  <a:pt x="1709" y="206"/>
                  <a:pt x="1709" y="206"/>
                </a:cubicBezTo>
                <a:close/>
                <a:moveTo>
                  <a:pt x="909" y="207"/>
                </a:moveTo>
                <a:cubicBezTo>
                  <a:pt x="910" y="207"/>
                  <a:pt x="912" y="207"/>
                  <a:pt x="912" y="208"/>
                </a:cubicBezTo>
                <a:cubicBezTo>
                  <a:pt x="913" y="207"/>
                  <a:pt x="914" y="206"/>
                  <a:pt x="912" y="205"/>
                </a:cubicBezTo>
                <a:cubicBezTo>
                  <a:pt x="912" y="205"/>
                  <a:pt x="912" y="205"/>
                  <a:pt x="912" y="205"/>
                </a:cubicBezTo>
                <a:cubicBezTo>
                  <a:pt x="912" y="205"/>
                  <a:pt x="912" y="205"/>
                  <a:pt x="911" y="205"/>
                </a:cubicBezTo>
                <a:cubicBezTo>
                  <a:pt x="911" y="205"/>
                  <a:pt x="911" y="204"/>
                  <a:pt x="910" y="204"/>
                </a:cubicBezTo>
                <a:cubicBezTo>
                  <a:pt x="910" y="205"/>
                  <a:pt x="911" y="206"/>
                  <a:pt x="911" y="206"/>
                </a:cubicBezTo>
                <a:cubicBezTo>
                  <a:pt x="910" y="206"/>
                  <a:pt x="910" y="206"/>
                  <a:pt x="909" y="207"/>
                </a:cubicBezTo>
                <a:cubicBezTo>
                  <a:pt x="911" y="207"/>
                  <a:pt x="909" y="207"/>
                  <a:pt x="909" y="207"/>
                </a:cubicBezTo>
                <a:close/>
                <a:moveTo>
                  <a:pt x="906" y="204"/>
                </a:moveTo>
                <a:cubicBezTo>
                  <a:pt x="907" y="204"/>
                  <a:pt x="906" y="203"/>
                  <a:pt x="906" y="204"/>
                </a:cubicBezTo>
                <a:cubicBezTo>
                  <a:pt x="906" y="204"/>
                  <a:pt x="906" y="204"/>
                  <a:pt x="906" y="204"/>
                </a:cubicBezTo>
                <a:close/>
                <a:moveTo>
                  <a:pt x="811" y="206"/>
                </a:moveTo>
                <a:cubicBezTo>
                  <a:pt x="812" y="206"/>
                  <a:pt x="811" y="207"/>
                  <a:pt x="811" y="208"/>
                </a:cubicBezTo>
                <a:cubicBezTo>
                  <a:pt x="813" y="207"/>
                  <a:pt x="812" y="207"/>
                  <a:pt x="812" y="206"/>
                </a:cubicBezTo>
                <a:cubicBezTo>
                  <a:pt x="812" y="206"/>
                  <a:pt x="812" y="206"/>
                  <a:pt x="812" y="206"/>
                </a:cubicBezTo>
                <a:cubicBezTo>
                  <a:pt x="813" y="205"/>
                  <a:pt x="812" y="205"/>
                  <a:pt x="812" y="205"/>
                </a:cubicBezTo>
                <a:cubicBezTo>
                  <a:pt x="812" y="204"/>
                  <a:pt x="812" y="204"/>
                  <a:pt x="812" y="203"/>
                </a:cubicBezTo>
                <a:cubicBezTo>
                  <a:pt x="812" y="203"/>
                  <a:pt x="811" y="204"/>
                  <a:pt x="811" y="205"/>
                </a:cubicBezTo>
                <a:cubicBezTo>
                  <a:pt x="811" y="205"/>
                  <a:pt x="811" y="205"/>
                  <a:pt x="810" y="206"/>
                </a:cubicBezTo>
                <a:cubicBezTo>
                  <a:pt x="810" y="206"/>
                  <a:pt x="810" y="206"/>
                  <a:pt x="810" y="207"/>
                </a:cubicBezTo>
                <a:cubicBezTo>
                  <a:pt x="811" y="207"/>
                  <a:pt x="811" y="207"/>
                  <a:pt x="811" y="206"/>
                </a:cubicBezTo>
                <a:close/>
                <a:moveTo>
                  <a:pt x="117" y="202"/>
                </a:moveTo>
                <a:cubicBezTo>
                  <a:pt x="117" y="203"/>
                  <a:pt x="117" y="204"/>
                  <a:pt x="116" y="204"/>
                </a:cubicBezTo>
                <a:cubicBezTo>
                  <a:pt x="116" y="205"/>
                  <a:pt x="115" y="205"/>
                  <a:pt x="116" y="206"/>
                </a:cubicBezTo>
                <a:cubicBezTo>
                  <a:pt x="116" y="205"/>
                  <a:pt x="117" y="204"/>
                  <a:pt x="118" y="204"/>
                </a:cubicBezTo>
                <a:cubicBezTo>
                  <a:pt x="118" y="203"/>
                  <a:pt x="118" y="202"/>
                  <a:pt x="117" y="202"/>
                </a:cubicBezTo>
                <a:cubicBezTo>
                  <a:pt x="117" y="204"/>
                  <a:pt x="117" y="202"/>
                  <a:pt x="117" y="202"/>
                </a:cubicBezTo>
                <a:close/>
                <a:moveTo>
                  <a:pt x="26" y="202"/>
                </a:moveTo>
                <a:cubicBezTo>
                  <a:pt x="26" y="203"/>
                  <a:pt x="25" y="202"/>
                  <a:pt x="25" y="203"/>
                </a:cubicBezTo>
                <a:cubicBezTo>
                  <a:pt x="24" y="203"/>
                  <a:pt x="24" y="203"/>
                  <a:pt x="24" y="204"/>
                </a:cubicBezTo>
                <a:cubicBezTo>
                  <a:pt x="24" y="204"/>
                  <a:pt x="23" y="203"/>
                  <a:pt x="23" y="203"/>
                </a:cubicBezTo>
                <a:cubicBezTo>
                  <a:pt x="22" y="203"/>
                  <a:pt x="21" y="203"/>
                  <a:pt x="21" y="204"/>
                </a:cubicBezTo>
                <a:cubicBezTo>
                  <a:pt x="21" y="205"/>
                  <a:pt x="25" y="207"/>
                  <a:pt x="26" y="206"/>
                </a:cubicBezTo>
                <a:cubicBezTo>
                  <a:pt x="27" y="206"/>
                  <a:pt x="27" y="206"/>
                  <a:pt x="27" y="206"/>
                </a:cubicBezTo>
                <a:cubicBezTo>
                  <a:pt x="28" y="206"/>
                  <a:pt x="28" y="205"/>
                  <a:pt x="28" y="205"/>
                </a:cubicBezTo>
                <a:cubicBezTo>
                  <a:pt x="29" y="205"/>
                  <a:pt x="29" y="205"/>
                  <a:pt x="29" y="205"/>
                </a:cubicBezTo>
                <a:cubicBezTo>
                  <a:pt x="29" y="204"/>
                  <a:pt x="29" y="202"/>
                  <a:pt x="29" y="202"/>
                </a:cubicBezTo>
                <a:cubicBezTo>
                  <a:pt x="28" y="202"/>
                  <a:pt x="27" y="202"/>
                  <a:pt x="26" y="202"/>
                </a:cubicBezTo>
                <a:cubicBezTo>
                  <a:pt x="26" y="202"/>
                  <a:pt x="26" y="202"/>
                  <a:pt x="26" y="202"/>
                </a:cubicBezTo>
                <a:close/>
                <a:moveTo>
                  <a:pt x="120" y="202"/>
                </a:moveTo>
                <a:cubicBezTo>
                  <a:pt x="121" y="202"/>
                  <a:pt x="121" y="202"/>
                  <a:pt x="120" y="201"/>
                </a:cubicBezTo>
                <a:cubicBezTo>
                  <a:pt x="120" y="202"/>
                  <a:pt x="120" y="202"/>
                  <a:pt x="120" y="202"/>
                </a:cubicBezTo>
                <a:close/>
                <a:moveTo>
                  <a:pt x="493" y="202"/>
                </a:moveTo>
                <a:cubicBezTo>
                  <a:pt x="494" y="202"/>
                  <a:pt x="494" y="202"/>
                  <a:pt x="494" y="202"/>
                </a:cubicBezTo>
                <a:cubicBezTo>
                  <a:pt x="495" y="202"/>
                  <a:pt x="495" y="201"/>
                  <a:pt x="495" y="201"/>
                </a:cubicBezTo>
                <a:cubicBezTo>
                  <a:pt x="494" y="201"/>
                  <a:pt x="493" y="201"/>
                  <a:pt x="493" y="201"/>
                </a:cubicBezTo>
                <a:cubicBezTo>
                  <a:pt x="493" y="201"/>
                  <a:pt x="493" y="202"/>
                  <a:pt x="493" y="202"/>
                </a:cubicBezTo>
                <a:close/>
                <a:moveTo>
                  <a:pt x="815" y="201"/>
                </a:moveTo>
                <a:cubicBezTo>
                  <a:pt x="815" y="201"/>
                  <a:pt x="815" y="202"/>
                  <a:pt x="815" y="201"/>
                </a:cubicBezTo>
                <a:cubicBezTo>
                  <a:pt x="815" y="201"/>
                  <a:pt x="815" y="201"/>
                  <a:pt x="815" y="201"/>
                </a:cubicBezTo>
                <a:close/>
                <a:moveTo>
                  <a:pt x="115" y="201"/>
                </a:moveTo>
                <a:cubicBezTo>
                  <a:pt x="115" y="201"/>
                  <a:pt x="115" y="201"/>
                  <a:pt x="115" y="201"/>
                </a:cubicBezTo>
                <a:cubicBezTo>
                  <a:pt x="116" y="201"/>
                  <a:pt x="116" y="201"/>
                  <a:pt x="116" y="201"/>
                </a:cubicBezTo>
                <a:cubicBezTo>
                  <a:pt x="116" y="201"/>
                  <a:pt x="116" y="201"/>
                  <a:pt x="115" y="201"/>
                </a:cubicBezTo>
                <a:close/>
                <a:moveTo>
                  <a:pt x="32" y="200"/>
                </a:moveTo>
                <a:cubicBezTo>
                  <a:pt x="34" y="201"/>
                  <a:pt x="34" y="201"/>
                  <a:pt x="35" y="200"/>
                </a:cubicBezTo>
                <a:cubicBezTo>
                  <a:pt x="36" y="200"/>
                  <a:pt x="35" y="199"/>
                  <a:pt x="35" y="198"/>
                </a:cubicBezTo>
                <a:cubicBezTo>
                  <a:pt x="34" y="198"/>
                  <a:pt x="34" y="198"/>
                  <a:pt x="33" y="198"/>
                </a:cubicBezTo>
                <a:cubicBezTo>
                  <a:pt x="32" y="197"/>
                  <a:pt x="32" y="198"/>
                  <a:pt x="31" y="199"/>
                </a:cubicBezTo>
                <a:cubicBezTo>
                  <a:pt x="32" y="199"/>
                  <a:pt x="32" y="200"/>
                  <a:pt x="32" y="200"/>
                </a:cubicBezTo>
                <a:cubicBezTo>
                  <a:pt x="33" y="201"/>
                  <a:pt x="32" y="200"/>
                  <a:pt x="32" y="200"/>
                </a:cubicBezTo>
                <a:close/>
                <a:moveTo>
                  <a:pt x="507" y="195"/>
                </a:moveTo>
                <a:cubicBezTo>
                  <a:pt x="508" y="195"/>
                  <a:pt x="509" y="195"/>
                  <a:pt x="509" y="194"/>
                </a:cubicBezTo>
                <a:cubicBezTo>
                  <a:pt x="508" y="194"/>
                  <a:pt x="507" y="194"/>
                  <a:pt x="507" y="194"/>
                </a:cubicBezTo>
                <a:cubicBezTo>
                  <a:pt x="507" y="194"/>
                  <a:pt x="507" y="195"/>
                  <a:pt x="507" y="195"/>
                </a:cubicBezTo>
                <a:cubicBezTo>
                  <a:pt x="509" y="195"/>
                  <a:pt x="507" y="195"/>
                  <a:pt x="507" y="195"/>
                </a:cubicBezTo>
                <a:close/>
                <a:moveTo>
                  <a:pt x="984" y="194"/>
                </a:moveTo>
                <a:cubicBezTo>
                  <a:pt x="984" y="195"/>
                  <a:pt x="985" y="193"/>
                  <a:pt x="984" y="193"/>
                </a:cubicBezTo>
                <a:cubicBezTo>
                  <a:pt x="984" y="194"/>
                  <a:pt x="984" y="194"/>
                  <a:pt x="984" y="194"/>
                </a:cubicBezTo>
                <a:close/>
                <a:moveTo>
                  <a:pt x="481" y="192"/>
                </a:moveTo>
                <a:cubicBezTo>
                  <a:pt x="481" y="192"/>
                  <a:pt x="482" y="192"/>
                  <a:pt x="482" y="192"/>
                </a:cubicBezTo>
                <a:cubicBezTo>
                  <a:pt x="484" y="191"/>
                  <a:pt x="481" y="190"/>
                  <a:pt x="480" y="190"/>
                </a:cubicBezTo>
                <a:cubicBezTo>
                  <a:pt x="480" y="191"/>
                  <a:pt x="481" y="191"/>
                  <a:pt x="481" y="192"/>
                </a:cubicBezTo>
                <a:close/>
                <a:moveTo>
                  <a:pt x="440" y="191"/>
                </a:moveTo>
                <a:cubicBezTo>
                  <a:pt x="440" y="191"/>
                  <a:pt x="440" y="191"/>
                  <a:pt x="440" y="191"/>
                </a:cubicBezTo>
                <a:cubicBezTo>
                  <a:pt x="439" y="191"/>
                  <a:pt x="440" y="189"/>
                  <a:pt x="440" y="188"/>
                </a:cubicBezTo>
                <a:cubicBezTo>
                  <a:pt x="439" y="189"/>
                  <a:pt x="437" y="191"/>
                  <a:pt x="437" y="192"/>
                </a:cubicBezTo>
                <a:cubicBezTo>
                  <a:pt x="437" y="193"/>
                  <a:pt x="438" y="192"/>
                  <a:pt x="438" y="193"/>
                </a:cubicBezTo>
                <a:cubicBezTo>
                  <a:pt x="439" y="194"/>
                  <a:pt x="440" y="192"/>
                  <a:pt x="440" y="191"/>
                </a:cubicBezTo>
                <a:close/>
                <a:moveTo>
                  <a:pt x="466" y="186"/>
                </a:moveTo>
                <a:cubicBezTo>
                  <a:pt x="465" y="186"/>
                  <a:pt x="466" y="186"/>
                  <a:pt x="465" y="186"/>
                </a:cubicBezTo>
                <a:cubicBezTo>
                  <a:pt x="465" y="186"/>
                  <a:pt x="466" y="186"/>
                  <a:pt x="466" y="186"/>
                </a:cubicBezTo>
                <a:cubicBezTo>
                  <a:pt x="466" y="185"/>
                  <a:pt x="466" y="186"/>
                  <a:pt x="466" y="185"/>
                </a:cubicBezTo>
                <a:cubicBezTo>
                  <a:pt x="466" y="185"/>
                  <a:pt x="466" y="185"/>
                  <a:pt x="466" y="186"/>
                </a:cubicBezTo>
                <a:cubicBezTo>
                  <a:pt x="465" y="186"/>
                  <a:pt x="466" y="186"/>
                  <a:pt x="466" y="186"/>
                </a:cubicBezTo>
                <a:close/>
                <a:moveTo>
                  <a:pt x="447" y="185"/>
                </a:moveTo>
                <a:cubicBezTo>
                  <a:pt x="447" y="185"/>
                  <a:pt x="447" y="185"/>
                  <a:pt x="447" y="185"/>
                </a:cubicBezTo>
                <a:cubicBezTo>
                  <a:pt x="448" y="186"/>
                  <a:pt x="448" y="186"/>
                  <a:pt x="449" y="186"/>
                </a:cubicBezTo>
                <a:cubicBezTo>
                  <a:pt x="449" y="185"/>
                  <a:pt x="448" y="184"/>
                  <a:pt x="447" y="185"/>
                </a:cubicBezTo>
                <a:cubicBezTo>
                  <a:pt x="447" y="185"/>
                  <a:pt x="447" y="185"/>
                  <a:pt x="447" y="185"/>
                </a:cubicBezTo>
                <a:close/>
                <a:moveTo>
                  <a:pt x="452" y="184"/>
                </a:moveTo>
                <a:cubicBezTo>
                  <a:pt x="452" y="185"/>
                  <a:pt x="452" y="185"/>
                  <a:pt x="452" y="186"/>
                </a:cubicBezTo>
                <a:cubicBezTo>
                  <a:pt x="452" y="186"/>
                  <a:pt x="453" y="186"/>
                  <a:pt x="453" y="186"/>
                </a:cubicBezTo>
                <a:cubicBezTo>
                  <a:pt x="453" y="186"/>
                  <a:pt x="453" y="186"/>
                  <a:pt x="453" y="185"/>
                </a:cubicBezTo>
                <a:cubicBezTo>
                  <a:pt x="453" y="184"/>
                  <a:pt x="453" y="184"/>
                  <a:pt x="452" y="184"/>
                </a:cubicBezTo>
                <a:cubicBezTo>
                  <a:pt x="452" y="185"/>
                  <a:pt x="452" y="184"/>
                  <a:pt x="452" y="184"/>
                </a:cubicBezTo>
                <a:close/>
                <a:moveTo>
                  <a:pt x="855" y="185"/>
                </a:moveTo>
                <a:cubicBezTo>
                  <a:pt x="855" y="185"/>
                  <a:pt x="855" y="184"/>
                  <a:pt x="854" y="184"/>
                </a:cubicBezTo>
                <a:cubicBezTo>
                  <a:pt x="854" y="184"/>
                  <a:pt x="854" y="184"/>
                  <a:pt x="855" y="185"/>
                </a:cubicBezTo>
                <a:close/>
                <a:moveTo>
                  <a:pt x="418" y="189"/>
                </a:moveTo>
                <a:cubicBezTo>
                  <a:pt x="420" y="188"/>
                  <a:pt x="422" y="188"/>
                  <a:pt x="423" y="186"/>
                </a:cubicBezTo>
                <a:cubicBezTo>
                  <a:pt x="423" y="185"/>
                  <a:pt x="425" y="185"/>
                  <a:pt x="425" y="185"/>
                </a:cubicBezTo>
                <a:cubicBezTo>
                  <a:pt x="425" y="184"/>
                  <a:pt x="425" y="184"/>
                  <a:pt x="424" y="184"/>
                </a:cubicBezTo>
                <a:cubicBezTo>
                  <a:pt x="424" y="184"/>
                  <a:pt x="423" y="184"/>
                  <a:pt x="423" y="184"/>
                </a:cubicBezTo>
                <a:cubicBezTo>
                  <a:pt x="423" y="185"/>
                  <a:pt x="422" y="185"/>
                  <a:pt x="421" y="186"/>
                </a:cubicBezTo>
                <a:cubicBezTo>
                  <a:pt x="420" y="186"/>
                  <a:pt x="420" y="187"/>
                  <a:pt x="419" y="187"/>
                </a:cubicBezTo>
                <a:cubicBezTo>
                  <a:pt x="419" y="187"/>
                  <a:pt x="417" y="187"/>
                  <a:pt x="417" y="187"/>
                </a:cubicBezTo>
                <a:cubicBezTo>
                  <a:pt x="417" y="188"/>
                  <a:pt x="415" y="189"/>
                  <a:pt x="415" y="190"/>
                </a:cubicBezTo>
                <a:cubicBezTo>
                  <a:pt x="415" y="190"/>
                  <a:pt x="416" y="189"/>
                  <a:pt x="416" y="190"/>
                </a:cubicBezTo>
                <a:cubicBezTo>
                  <a:pt x="417" y="190"/>
                  <a:pt x="418" y="190"/>
                  <a:pt x="418" y="189"/>
                </a:cubicBezTo>
                <a:cubicBezTo>
                  <a:pt x="419" y="189"/>
                  <a:pt x="418" y="189"/>
                  <a:pt x="418" y="189"/>
                </a:cubicBezTo>
                <a:close/>
                <a:moveTo>
                  <a:pt x="34" y="184"/>
                </a:moveTo>
                <a:cubicBezTo>
                  <a:pt x="35" y="184"/>
                  <a:pt x="34" y="184"/>
                  <a:pt x="35" y="184"/>
                </a:cubicBezTo>
                <a:cubicBezTo>
                  <a:pt x="34" y="183"/>
                  <a:pt x="34" y="183"/>
                  <a:pt x="33" y="183"/>
                </a:cubicBezTo>
                <a:cubicBezTo>
                  <a:pt x="33" y="183"/>
                  <a:pt x="32" y="183"/>
                  <a:pt x="32" y="184"/>
                </a:cubicBezTo>
                <a:cubicBezTo>
                  <a:pt x="33" y="184"/>
                  <a:pt x="34" y="184"/>
                  <a:pt x="34" y="184"/>
                </a:cubicBezTo>
                <a:cubicBezTo>
                  <a:pt x="35" y="184"/>
                  <a:pt x="34" y="184"/>
                  <a:pt x="34" y="184"/>
                </a:cubicBezTo>
                <a:close/>
                <a:moveTo>
                  <a:pt x="513" y="185"/>
                </a:moveTo>
                <a:cubicBezTo>
                  <a:pt x="514" y="185"/>
                  <a:pt x="515" y="185"/>
                  <a:pt x="515" y="184"/>
                </a:cubicBezTo>
                <a:cubicBezTo>
                  <a:pt x="515" y="183"/>
                  <a:pt x="515" y="183"/>
                  <a:pt x="515" y="182"/>
                </a:cubicBezTo>
                <a:cubicBezTo>
                  <a:pt x="514" y="183"/>
                  <a:pt x="512" y="182"/>
                  <a:pt x="511" y="182"/>
                </a:cubicBezTo>
                <a:cubicBezTo>
                  <a:pt x="512" y="183"/>
                  <a:pt x="511" y="183"/>
                  <a:pt x="510" y="183"/>
                </a:cubicBezTo>
                <a:cubicBezTo>
                  <a:pt x="510" y="183"/>
                  <a:pt x="510" y="184"/>
                  <a:pt x="511" y="184"/>
                </a:cubicBezTo>
                <a:cubicBezTo>
                  <a:pt x="512" y="184"/>
                  <a:pt x="511" y="184"/>
                  <a:pt x="511" y="185"/>
                </a:cubicBezTo>
                <a:cubicBezTo>
                  <a:pt x="511" y="186"/>
                  <a:pt x="513" y="185"/>
                  <a:pt x="513" y="185"/>
                </a:cubicBezTo>
                <a:cubicBezTo>
                  <a:pt x="514" y="185"/>
                  <a:pt x="513" y="185"/>
                  <a:pt x="513" y="185"/>
                </a:cubicBezTo>
                <a:close/>
                <a:moveTo>
                  <a:pt x="449" y="183"/>
                </a:moveTo>
                <a:cubicBezTo>
                  <a:pt x="448" y="183"/>
                  <a:pt x="448" y="182"/>
                  <a:pt x="448" y="182"/>
                </a:cubicBezTo>
                <a:cubicBezTo>
                  <a:pt x="447" y="182"/>
                  <a:pt x="447" y="182"/>
                  <a:pt x="447" y="183"/>
                </a:cubicBezTo>
                <a:cubicBezTo>
                  <a:pt x="448" y="183"/>
                  <a:pt x="448" y="183"/>
                  <a:pt x="448" y="184"/>
                </a:cubicBezTo>
                <a:cubicBezTo>
                  <a:pt x="449" y="183"/>
                  <a:pt x="449" y="183"/>
                  <a:pt x="449" y="183"/>
                </a:cubicBezTo>
                <a:close/>
                <a:moveTo>
                  <a:pt x="1722" y="188"/>
                </a:moveTo>
                <a:cubicBezTo>
                  <a:pt x="1723" y="188"/>
                  <a:pt x="1723" y="187"/>
                  <a:pt x="1723" y="187"/>
                </a:cubicBezTo>
                <a:cubicBezTo>
                  <a:pt x="1724" y="187"/>
                  <a:pt x="1724" y="187"/>
                  <a:pt x="1724" y="187"/>
                </a:cubicBezTo>
                <a:cubicBezTo>
                  <a:pt x="1724" y="187"/>
                  <a:pt x="1725" y="187"/>
                  <a:pt x="1725" y="187"/>
                </a:cubicBezTo>
                <a:cubicBezTo>
                  <a:pt x="1725" y="186"/>
                  <a:pt x="1723" y="186"/>
                  <a:pt x="1723" y="186"/>
                </a:cubicBezTo>
                <a:cubicBezTo>
                  <a:pt x="1722" y="186"/>
                  <a:pt x="1722" y="186"/>
                  <a:pt x="1721" y="186"/>
                </a:cubicBezTo>
                <a:cubicBezTo>
                  <a:pt x="1721" y="186"/>
                  <a:pt x="1721" y="185"/>
                  <a:pt x="1721" y="185"/>
                </a:cubicBezTo>
                <a:cubicBezTo>
                  <a:pt x="1720" y="185"/>
                  <a:pt x="1720" y="185"/>
                  <a:pt x="1720" y="184"/>
                </a:cubicBezTo>
                <a:cubicBezTo>
                  <a:pt x="1720" y="184"/>
                  <a:pt x="1719" y="183"/>
                  <a:pt x="1719" y="183"/>
                </a:cubicBezTo>
                <a:cubicBezTo>
                  <a:pt x="1718" y="182"/>
                  <a:pt x="1718" y="183"/>
                  <a:pt x="1717" y="182"/>
                </a:cubicBezTo>
                <a:cubicBezTo>
                  <a:pt x="1717" y="182"/>
                  <a:pt x="1717" y="182"/>
                  <a:pt x="1716" y="182"/>
                </a:cubicBezTo>
                <a:cubicBezTo>
                  <a:pt x="1716" y="182"/>
                  <a:pt x="1716" y="182"/>
                  <a:pt x="1716" y="183"/>
                </a:cubicBezTo>
                <a:cubicBezTo>
                  <a:pt x="1716" y="183"/>
                  <a:pt x="1713" y="184"/>
                  <a:pt x="1712" y="184"/>
                </a:cubicBezTo>
                <a:cubicBezTo>
                  <a:pt x="1711" y="184"/>
                  <a:pt x="1711" y="183"/>
                  <a:pt x="1711" y="182"/>
                </a:cubicBezTo>
                <a:cubicBezTo>
                  <a:pt x="1711" y="182"/>
                  <a:pt x="1711" y="182"/>
                  <a:pt x="1711" y="182"/>
                </a:cubicBezTo>
                <a:cubicBezTo>
                  <a:pt x="1710" y="182"/>
                  <a:pt x="1711" y="184"/>
                  <a:pt x="1711" y="184"/>
                </a:cubicBezTo>
                <a:cubicBezTo>
                  <a:pt x="1710" y="184"/>
                  <a:pt x="1710" y="184"/>
                  <a:pt x="1710" y="185"/>
                </a:cubicBezTo>
                <a:cubicBezTo>
                  <a:pt x="1710" y="186"/>
                  <a:pt x="1710" y="186"/>
                  <a:pt x="1712" y="186"/>
                </a:cubicBezTo>
                <a:cubicBezTo>
                  <a:pt x="1713" y="186"/>
                  <a:pt x="1717" y="183"/>
                  <a:pt x="1718" y="185"/>
                </a:cubicBezTo>
                <a:cubicBezTo>
                  <a:pt x="1718" y="186"/>
                  <a:pt x="1719" y="186"/>
                  <a:pt x="1719" y="186"/>
                </a:cubicBezTo>
                <a:cubicBezTo>
                  <a:pt x="1719" y="187"/>
                  <a:pt x="1720" y="188"/>
                  <a:pt x="1720" y="188"/>
                </a:cubicBezTo>
                <a:cubicBezTo>
                  <a:pt x="1721" y="188"/>
                  <a:pt x="1721" y="189"/>
                  <a:pt x="1721" y="189"/>
                </a:cubicBezTo>
                <a:cubicBezTo>
                  <a:pt x="1722" y="189"/>
                  <a:pt x="1722" y="189"/>
                  <a:pt x="1723" y="189"/>
                </a:cubicBezTo>
                <a:cubicBezTo>
                  <a:pt x="1723" y="189"/>
                  <a:pt x="1723" y="188"/>
                  <a:pt x="1722" y="188"/>
                </a:cubicBezTo>
                <a:cubicBezTo>
                  <a:pt x="1723" y="188"/>
                  <a:pt x="1722" y="188"/>
                  <a:pt x="1722" y="188"/>
                </a:cubicBezTo>
                <a:close/>
                <a:moveTo>
                  <a:pt x="861" y="179"/>
                </a:moveTo>
                <a:cubicBezTo>
                  <a:pt x="861" y="179"/>
                  <a:pt x="860" y="178"/>
                  <a:pt x="860" y="179"/>
                </a:cubicBezTo>
                <a:cubicBezTo>
                  <a:pt x="860" y="179"/>
                  <a:pt x="859" y="179"/>
                  <a:pt x="859" y="179"/>
                </a:cubicBezTo>
                <a:cubicBezTo>
                  <a:pt x="859" y="179"/>
                  <a:pt x="858" y="180"/>
                  <a:pt x="858" y="180"/>
                </a:cubicBezTo>
                <a:cubicBezTo>
                  <a:pt x="859" y="180"/>
                  <a:pt x="860" y="179"/>
                  <a:pt x="861" y="179"/>
                </a:cubicBezTo>
                <a:close/>
                <a:moveTo>
                  <a:pt x="466" y="178"/>
                </a:moveTo>
                <a:cubicBezTo>
                  <a:pt x="467" y="178"/>
                  <a:pt x="467" y="178"/>
                  <a:pt x="467" y="177"/>
                </a:cubicBezTo>
                <a:cubicBezTo>
                  <a:pt x="466" y="177"/>
                  <a:pt x="466" y="178"/>
                  <a:pt x="466" y="178"/>
                </a:cubicBezTo>
                <a:close/>
                <a:moveTo>
                  <a:pt x="13" y="180"/>
                </a:moveTo>
                <a:cubicBezTo>
                  <a:pt x="14" y="180"/>
                  <a:pt x="14" y="180"/>
                  <a:pt x="14" y="180"/>
                </a:cubicBezTo>
                <a:cubicBezTo>
                  <a:pt x="13" y="180"/>
                  <a:pt x="12" y="180"/>
                  <a:pt x="11" y="180"/>
                </a:cubicBezTo>
                <a:cubicBezTo>
                  <a:pt x="10" y="179"/>
                  <a:pt x="9" y="179"/>
                  <a:pt x="9" y="178"/>
                </a:cubicBezTo>
                <a:cubicBezTo>
                  <a:pt x="9" y="178"/>
                  <a:pt x="9" y="178"/>
                  <a:pt x="9" y="178"/>
                </a:cubicBezTo>
                <a:cubicBezTo>
                  <a:pt x="9" y="177"/>
                  <a:pt x="8" y="178"/>
                  <a:pt x="8" y="177"/>
                </a:cubicBezTo>
                <a:cubicBezTo>
                  <a:pt x="8" y="176"/>
                  <a:pt x="7" y="177"/>
                  <a:pt x="6" y="176"/>
                </a:cubicBezTo>
                <a:cubicBezTo>
                  <a:pt x="6" y="176"/>
                  <a:pt x="4" y="176"/>
                  <a:pt x="4" y="177"/>
                </a:cubicBezTo>
                <a:cubicBezTo>
                  <a:pt x="3" y="178"/>
                  <a:pt x="2" y="176"/>
                  <a:pt x="2" y="177"/>
                </a:cubicBezTo>
                <a:cubicBezTo>
                  <a:pt x="2" y="177"/>
                  <a:pt x="1" y="177"/>
                  <a:pt x="1" y="177"/>
                </a:cubicBezTo>
                <a:cubicBezTo>
                  <a:pt x="0" y="176"/>
                  <a:pt x="0" y="177"/>
                  <a:pt x="0" y="178"/>
                </a:cubicBezTo>
                <a:cubicBezTo>
                  <a:pt x="0" y="178"/>
                  <a:pt x="0" y="179"/>
                  <a:pt x="0" y="180"/>
                </a:cubicBezTo>
                <a:cubicBezTo>
                  <a:pt x="1" y="180"/>
                  <a:pt x="1" y="179"/>
                  <a:pt x="2" y="179"/>
                </a:cubicBezTo>
                <a:cubicBezTo>
                  <a:pt x="4" y="178"/>
                  <a:pt x="7" y="179"/>
                  <a:pt x="8" y="180"/>
                </a:cubicBezTo>
                <a:cubicBezTo>
                  <a:pt x="9" y="180"/>
                  <a:pt x="8" y="181"/>
                  <a:pt x="9" y="181"/>
                </a:cubicBezTo>
                <a:cubicBezTo>
                  <a:pt x="10" y="181"/>
                  <a:pt x="10" y="181"/>
                  <a:pt x="11" y="181"/>
                </a:cubicBezTo>
                <a:cubicBezTo>
                  <a:pt x="11" y="182"/>
                  <a:pt x="10" y="183"/>
                  <a:pt x="11" y="183"/>
                </a:cubicBezTo>
                <a:cubicBezTo>
                  <a:pt x="12" y="183"/>
                  <a:pt x="12" y="183"/>
                  <a:pt x="12" y="182"/>
                </a:cubicBezTo>
                <a:cubicBezTo>
                  <a:pt x="12" y="181"/>
                  <a:pt x="12" y="181"/>
                  <a:pt x="12" y="181"/>
                </a:cubicBezTo>
                <a:cubicBezTo>
                  <a:pt x="13" y="181"/>
                  <a:pt x="13" y="181"/>
                  <a:pt x="13" y="180"/>
                </a:cubicBezTo>
                <a:close/>
                <a:moveTo>
                  <a:pt x="506" y="169"/>
                </a:moveTo>
                <a:cubicBezTo>
                  <a:pt x="509" y="169"/>
                  <a:pt x="506" y="169"/>
                  <a:pt x="506" y="169"/>
                </a:cubicBezTo>
                <a:close/>
                <a:moveTo>
                  <a:pt x="934" y="167"/>
                </a:moveTo>
                <a:cubicBezTo>
                  <a:pt x="934" y="168"/>
                  <a:pt x="933" y="168"/>
                  <a:pt x="934" y="168"/>
                </a:cubicBezTo>
                <a:cubicBezTo>
                  <a:pt x="934" y="168"/>
                  <a:pt x="934" y="168"/>
                  <a:pt x="934" y="167"/>
                </a:cubicBezTo>
                <a:close/>
                <a:moveTo>
                  <a:pt x="426" y="181"/>
                </a:moveTo>
                <a:cubicBezTo>
                  <a:pt x="428" y="180"/>
                  <a:pt x="428" y="179"/>
                  <a:pt x="428" y="178"/>
                </a:cubicBezTo>
                <a:cubicBezTo>
                  <a:pt x="428" y="177"/>
                  <a:pt x="429" y="178"/>
                  <a:pt x="429" y="177"/>
                </a:cubicBezTo>
                <a:cubicBezTo>
                  <a:pt x="429" y="176"/>
                  <a:pt x="428" y="176"/>
                  <a:pt x="427" y="176"/>
                </a:cubicBezTo>
                <a:cubicBezTo>
                  <a:pt x="427" y="177"/>
                  <a:pt x="426" y="176"/>
                  <a:pt x="425" y="177"/>
                </a:cubicBezTo>
                <a:cubicBezTo>
                  <a:pt x="425" y="177"/>
                  <a:pt x="424" y="178"/>
                  <a:pt x="424" y="178"/>
                </a:cubicBezTo>
                <a:cubicBezTo>
                  <a:pt x="424" y="177"/>
                  <a:pt x="424" y="177"/>
                  <a:pt x="424" y="176"/>
                </a:cubicBezTo>
                <a:cubicBezTo>
                  <a:pt x="424" y="176"/>
                  <a:pt x="424" y="176"/>
                  <a:pt x="424" y="176"/>
                </a:cubicBezTo>
                <a:cubicBezTo>
                  <a:pt x="423" y="175"/>
                  <a:pt x="423" y="173"/>
                  <a:pt x="423" y="173"/>
                </a:cubicBezTo>
                <a:cubicBezTo>
                  <a:pt x="422" y="173"/>
                  <a:pt x="422" y="173"/>
                  <a:pt x="422" y="173"/>
                </a:cubicBezTo>
                <a:cubicBezTo>
                  <a:pt x="422" y="172"/>
                  <a:pt x="422" y="172"/>
                  <a:pt x="422" y="172"/>
                </a:cubicBezTo>
                <a:cubicBezTo>
                  <a:pt x="421" y="172"/>
                  <a:pt x="421" y="172"/>
                  <a:pt x="421" y="171"/>
                </a:cubicBezTo>
                <a:cubicBezTo>
                  <a:pt x="420" y="171"/>
                  <a:pt x="419" y="170"/>
                  <a:pt x="419" y="170"/>
                </a:cubicBezTo>
                <a:cubicBezTo>
                  <a:pt x="419" y="169"/>
                  <a:pt x="419" y="169"/>
                  <a:pt x="418" y="169"/>
                </a:cubicBezTo>
                <a:cubicBezTo>
                  <a:pt x="418" y="168"/>
                  <a:pt x="418" y="169"/>
                  <a:pt x="418" y="168"/>
                </a:cubicBezTo>
                <a:cubicBezTo>
                  <a:pt x="418" y="168"/>
                  <a:pt x="416" y="168"/>
                  <a:pt x="415" y="168"/>
                </a:cubicBezTo>
                <a:cubicBezTo>
                  <a:pt x="415" y="168"/>
                  <a:pt x="414" y="167"/>
                  <a:pt x="414" y="167"/>
                </a:cubicBezTo>
                <a:cubicBezTo>
                  <a:pt x="413" y="168"/>
                  <a:pt x="413" y="168"/>
                  <a:pt x="412" y="169"/>
                </a:cubicBezTo>
                <a:cubicBezTo>
                  <a:pt x="412" y="168"/>
                  <a:pt x="411" y="168"/>
                  <a:pt x="411" y="168"/>
                </a:cubicBezTo>
                <a:cubicBezTo>
                  <a:pt x="411" y="167"/>
                  <a:pt x="411" y="166"/>
                  <a:pt x="412" y="166"/>
                </a:cubicBezTo>
                <a:cubicBezTo>
                  <a:pt x="412" y="166"/>
                  <a:pt x="412" y="166"/>
                  <a:pt x="413" y="165"/>
                </a:cubicBezTo>
                <a:cubicBezTo>
                  <a:pt x="412" y="165"/>
                  <a:pt x="412" y="165"/>
                  <a:pt x="412" y="165"/>
                </a:cubicBezTo>
                <a:cubicBezTo>
                  <a:pt x="412" y="165"/>
                  <a:pt x="412" y="165"/>
                  <a:pt x="411" y="165"/>
                </a:cubicBezTo>
                <a:cubicBezTo>
                  <a:pt x="411" y="165"/>
                  <a:pt x="411" y="164"/>
                  <a:pt x="411" y="164"/>
                </a:cubicBezTo>
                <a:cubicBezTo>
                  <a:pt x="410" y="164"/>
                  <a:pt x="409" y="166"/>
                  <a:pt x="409" y="167"/>
                </a:cubicBezTo>
                <a:cubicBezTo>
                  <a:pt x="409" y="168"/>
                  <a:pt x="410" y="169"/>
                  <a:pt x="409" y="170"/>
                </a:cubicBezTo>
                <a:cubicBezTo>
                  <a:pt x="409" y="171"/>
                  <a:pt x="409" y="170"/>
                  <a:pt x="409" y="170"/>
                </a:cubicBezTo>
                <a:cubicBezTo>
                  <a:pt x="409" y="171"/>
                  <a:pt x="409" y="171"/>
                  <a:pt x="409" y="171"/>
                </a:cubicBezTo>
                <a:cubicBezTo>
                  <a:pt x="409" y="172"/>
                  <a:pt x="409" y="172"/>
                  <a:pt x="409" y="173"/>
                </a:cubicBezTo>
                <a:cubicBezTo>
                  <a:pt x="410" y="173"/>
                  <a:pt x="410" y="173"/>
                  <a:pt x="410" y="174"/>
                </a:cubicBezTo>
                <a:cubicBezTo>
                  <a:pt x="410" y="175"/>
                  <a:pt x="410" y="175"/>
                  <a:pt x="409" y="176"/>
                </a:cubicBezTo>
                <a:cubicBezTo>
                  <a:pt x="408" y="176"/>
                  <a:pt x="406" y="177"/>
                  <a:pt x="405" y="178"/>
                </a:cubicBezTo>
                <a:cubicBezTo>
                  <a:pt x="404" y="179"/>
                  <a:pt x="405" y="180"/>
                  <a:pt x="406" y="181"/>
                </a:cubicBezTo>
                <a:cubicBezTo>
                  <a:pt x="406" y="181"/>
                  <a:pt x="407" y="181"/>
                  <a:pt x="407" y="181"/>
                </a:cubicBezTo>
                <a:cubicBezTo>
                  <a:pt x="407" y="181"/>
                  <a:pt x="407" y="180"/>
                  <a:pt x="407" y="180"/>
                </a:cubicBezTo>
                <a:cubicBezTo>
                  <a:pt x="408" y="180"/>
                  <a:pt x="409" y="180"/>
                  <a:pt x="409" y="180"/>
                </a:cubicBezTo>
                <a:cubicBezTo>
                  <a:pt x="409" y="180"/>
                  <a:pt x="409" y="179"/>
                  <a:pt x="410" y="180"/>
                </a:cubicBezTo>
                <a:cubicBezTo>
                  <a:pt x="409" y="181"/>
                  <a:pt x="409" y="184"/>
                  <a:pt x="411" y="183"/>
                </a:cubicBezTo>
                <a:cubicBezTo>
                  <a:pt x="412" y="183"/>
                  <a:pt x="413" y="183"/>
                  <a:pt x="414" y="182"/>
                </a:cubicBezTo>
                <a:cubicBezTo>
                  <a:pt x="414" y="182"/>
                  <a:pt x="414" y="181"/>
                  <a:pt x="414" y="181"/>
                </a:cubicBezTo>
                <a:cubicBezTo>
                  <a:pt x="416" y="180"/>
                  <a:pt x="415" y="178"/>
                  <a:pt x="415" y="177"/>
                </a:cubicBezTo>
                <a:cubicBezTo>
                  <a:pt x="415" y="176"/>
                  <a:pt x="415" y="176"/>
                  <a:pt x="416" y="175"/>
                </a:cubicBezTo>
                <a:cubicBezTo>
                  <a:pt x="416" y="175"/>
                  <a:pt x="417" y="175"/>
                  <a:pt x="417" y="174"/>
                </a:cubicBezTo>
                <a:cubicBezTo>
                  <a:pt x="418" y="174"/>
                  <a:pt x="419" y="174"/>
                  <a:pt x="420" y="174"/>
                </a:cubicBezTo>
                <a:cubicBezTo>
                  <a:pt x="420" y="175"/>
                  <a:pt x="420" y="175"/>
                  <a:pt x="420" y="176"/>
                </a:cubicBezTo>
                <a:cubicBezTo>
                  <a:pt x="420" y="177"/>
                  <a:pt x="419" y="177"/>
                  <a:pt x="419" y="177"/>
                </a:cubicBezTo>
                <a:cubicBezTo>
                  <a:pt x="419" y="178"/>
                  <a:pt x="419" y="178"/>
                  <a:pt x="420" y="178"/>
                </a:cubicBezTo>
                <a:cubicBezTo>
                  <a:pt x="421" y="179"/>
                  <a:pt x="421" y="178"/>
                  <a:pt x="421" y="179"/>
                </a:cubicBezTo>
                <a:cubicBezTo>
                  <a:pt x="422" y="180"/>
                  <a:pt x="422" y="179"/>
                  <a:pt x="423" y="179"/>
                </a:cubicBezTo>
                <a:cubicBezTo>
                  <a:pt x="423" y="179"/>
                  <a:pt x="424" y="180"/>
                  <a:pt x="424" y="180"/>
                </a:cubicBezTo>
                <a:cubicBezTo>
                  <a:pt x="426" y="180"/>
                  <a:pt x="426" y="180"/>
                  <a:pt x="426" y="181"/>
                </a:cubicBezTo>
                <a:cubicBezTo>
                  <a:pt x="428" y="180"/>
                  <a:pt x="426" y="181"/>
                  <a:pt x="426" y="181"/>
                </a:cubicBezTo>
                <a:close/>
                <a:moveTo>
                  <a:pt x="883" y="164"/>
                </a:moveTo>
                <a:cubicBezTo>
                  <a:pt x="883" y="162"/>
                  <a:pt x="883" y="163"/>
                  <a:pt x="883" y="164"/>
                </a:cubicBezTo>
                <a:cubicBezTo>
                  <a:pt x="883" y="164"/>
                  <a:pt x="883" y="164"/>
                  <a:pt x="883" y="164"/>
                </a:cubicBezTo>
                <a:close/>
                <a:moveTo>
                  <a:pt x="413" y="164"/>
                </a:moveTo>
                <a:cubicBezTo>
                  <a:pt x="413" y="164"/>
                  <a:pt x="413" y="163"/>
                  <a:pt x="413" y="163"/>
                </a:cubicBezTo>
                <a:cubicBezTo>
                  <a:pt x="412" y="163"/>
                  <a:pt x="411" y="162"/>
                  <a:pt x="411" y="162"/>
                </a:cubicBezTo>
                <a:cubicBezTo>
                  <a:pt x="411" y="163"/>
                  <a:pt x="411" y="164"/>
                  <a:pt x="411" y="164"/>
                </a:cubicBezTo>
                <a:cubicBezTo>
                  <a:pt x="412" y="164"/>
                  <a:pt x="412" y="164"/>
                  <a:pt x="412" y="164"/>
                </a:cubicBezTo>
                <a:cubicBezTo>
                  <a:pt x="412" y="164"/>
                  <a:pt x="412" y="164"/>
                  <a:pt x="412" y="164"/>
                </a:cubicBezTo>
                <a:cubicBezTo>
                  <a:pt x="413" y="164"/>
                  <a:pt x="413" y="164"/>
                  <a:pt x="413" y="164"/>
                </a:cubicBezTo>
                <a:cubicBezTo>
                  <a:pt x="413" y="164"/>
                  <a:pt x="413" y="164"/>
                  <a:pt x="413" y="164"/>
                </a:cubicBezTo>
                <a:close/>
                <a:moveTo>
                  <a:pt x="732" y="178"/>
                </a:moveTo>
                <a:cubicBezTo>
                  <a:pt x="732" y="178"/>
                  <a:pt x="732" y="177"/>
                  <a:pt x="732" y="177"/>
                </a:cubicBezTo>
                <a:cubicBezTo>
                  <a:pt x="733" y="177"/>
                  <a:pt x="734" y="177"/>
                  <a:pt x="735" y="177"/>
                </a:cubicBezTo>
                <a:cubicBezTo>
                  <a:pt x="735" y="179"/>
                  <a:pt x="735" y="178"/>
                  <a:pt x="736" y="178"/>
                </a:cubicBezTo>
                <a:cubicBezTo>
                  <a:pt x="737" y="178"/>
                  <a:pt x="737" y="177"/>
                  <a:pt x="737" y="177"/>
                </a:cubicBezTo>
                <a:cubicBezTo>
                  <a:pt x="738" y="177"/>
                  <a:pt x="738" y="177"/>
                  <a:pt x="739" y="178"/>
                </a:cubicBezTo>
                <a:cubicBezTo>
                  <a:pt x="739" y="177"/>
                  <a:pt x="740" y="177"/>
                  <a:pt x="740" y="177"/>
                </a:cubicBezTo>
                <a:cubicBezTo>
                  <a:pt x="740" y="177"/>
                  <a:pt x="740" y="176"/>
                  <a:pt x="740" y="176"/>
                </a:cubicBezTo>
                <a:cubicBezTo>
                  <a:pt x="741" y="176"/>
                  <a:pt x="741" y="176"/>
                  <a:pt x="741" y="176"/>
                </a:cubicBezTo>
                <a:cubicBezTo>
                  <a:pt x="742" y="175"/>
                  <a:pt x="742" y="176"/>
                  <a:pt x="743" y="176"/>
                </a:cubicBezTo>
                <a:cubicBezTo>
                  <a:pt x="743" y="176"/>
                  <a:pt x="744" y="175"/>
                  <a:pt x="744" y="175"/>
                </a:cubicBezTo>
                <a:cubicBezTo>
                  <a:pt x="744" y="175"/>
                  <a:pt x="746" y="175"/>
                  <a:pt x="746" y="175"/>
                </a:cubicBezTo>
                <a:cubicBezTo>
                  <a:pt x="747" y="173"/>
                  <a:pt x="748" y="174"/>
                  <a:pt x="747" y="172"/>
                </a:cubicBezTo>
                <a:cubicBezTo>
                  <a:pt x="749" y="172"/>
                  <a:pt x="748" y="171"/>
                  <a:pt x="749" y="171"/>
                </a:cubicBezTo>
                <a:cubicBezTo>
                  <a:pt x="750" y="171"/>
                  <a:pt x="750" y="171"/>
                  <a:pt x="750" y="170"/>
                </a:cubicBezTo>
                <a:cubicBezTo>
                  <a:pt x="751" y="170"/>
                  <a:pt x="752" y="171"/>
                  <a:pt x="753" y="170"/>
                </a:cubicBezTo>
                <a:cubicBezTo>
                  <a:pt x="753" y="170"/>
                  <a:pt x="753" y="169"/>
                  <a:pt x="752" y="169"/>
                </a:cubicBezTo>
                <a:cubicBezTo>
                  <a:pt x="754" y="168"/>
                  <a:pt x="752" y="168"/>
                  <a:pt x="752" y="168"/>
                </a:cubicBezTo>
                <a:cubicBezTo>
                  <a:pt x="752" y="167"/>
                  <a:pt x="753" y="167"/>
                  <a:pt x="752" y="166"/>
                </a:cubicBezTo>
                <a:cubicBezTo>
                  <a:pt x="752" y="166"/>
                  <a:pt x="752" y="165"/>
                  <a:pt x="751" y="165"/>
                </a:cubicBezTo>
                <a:cubicBezTo>
                  <a:pt x="750" y="165"/>
                  <a:pt x="750" y="164"/>
                  <a:pt x="749" y="164"/>
                </a:cubicBezTo>
                <a:cubicBezTo>
                  <a:pt x="748" y="164"/>
                  <a:pt x="748" y="165"/>
                  <a:pt x="747" y="165"/>
                </a:cubicBezTo>
                <a:cubicBezTo>
                  <a:pt x="747" y="164"/>
                  <a:pt x="748" y="163"/>
                  <a:pt x="748" y="162"/>
                </a:cubicBezTo>
                <a:cubicBezTo>
                  <a:pt x="747" y="162"/>
                  <a:pt x="747" y="162"/>
                  <a:pt x="747" y="161"/>
                </a:cubicBezTo>
                <a:cubicBezTo>
                  <a:pt x="747" y="161"/>
                  <a:pt x="747" y="160"/>
                  <a:pt x="747" y="160"/>
                </a:cubicBezTo>
                <a:cubicBezTo>
                  <a:pt x="748" y="160"/>
                  <a:pt x="747" y="160"/>
                  <a:pt x="748" y="160"/>
                </a:cubicBezTo>
                <a:cubicBezTo>
                  <a:pt x="749" y="160"/>
                  <a:pt x="749" y="159"/>
                  <a:pt x="749" y="159"/>
                </a:cubicBezTo>
                <a:cubicBezTo>
                  <a:pt x="749" y="159"/>
                  <a:pt x="748" y="159"/>
                  <a:pt x="748" y="159"/>
                </a:cubicBezTo>
                <a:cubicBezTo>
                  <a:pt x="748" y="159"/>
                  <a:pt x="748" y="159"/>
                  <a:pt x="748" y="159"/>
                </a:cubicBezTo>
                <a:cubicBezTo>
                  <a:pt x="747" y="160"/>
                  <a:pt x="745" y="160"/>
                  <a:pt x="745" y="160"/>
                </a:cubicBezTo>
                <a:cubicBezTo>
                  <a:pt x="745" y="160"/>
                  <a:pt x="744" y="159"/>
                  <a:pt x="744" y="159"/>
                </a:cubicBezTo>
                <a:cubicBezTo>
                  <a:pt x="744" y="159"/>
                  <a:pt x="744" y="159"/>
                  <a:pt x="743" y="158"/>
                </a:cubicBezTo>
                <a:cubicBezTo>
                  <a:pt x="742" y="158"/>
                  <a:pt x="743" y="157"/>
                  <a:pt x="742" y="157"/>
                </a:cubicBezTo>
                <a:cubicBezTo>
                  <a:pt x="741" y="157"/>
                  <a:pt x="741" y="157"/>
                  <a:pt x="740" y="158"/>
                </a:cubicBezTo>
                <a:cubicBezTo>
                  <a:pt x="740" y="158"/>
                  <a:pt x="740" y="159"/>
                  <a:pt x="740" y="159"/>
                </a:cubicBezTo>
                <a:cubicBezTo>
                  <a:pt x="740" y="160"/>
                  <a:pt x="739" y="161"/>
                  <a:pt x="738" y="160"/>
                </a:cubicBezTo>
                <a:cubicBezTo>
                  <a:pt x="738" y="160"/>
                  <a:pt x="737" y="159"/>
                  <a:pt x="736" y="160"/>
                </a:cubicBezTo>
                <a:cubicBezTo>
                  <a:pt x="736" y="161"/>
                  <a:pt x="736" y="161"/>
                  <a:pt x="735" y="161"/>
                </a:cubicBezTo>
                <a:cubicBezTo>
                  <a:pt x="735" y="161"/>
                  <a:pt x="734" y="161"/>
                  <a:pt x="734" y="161"/>
                </a:cubicBezTo>
                <a:cubicBezTo>
                  <a:pt x="733" y="161"/>
                  <a:pt x="732" y="161"/>
                  <a:pt x="732" y="161"/>
                </a:cubicBezTo>
                <a:cubicBezTo>
                  <a:pt x="732" y="160"/>
                  <a:pt x="731" y="160"/>
                  <a:pt x="731" y="160"/>
                </a:cubicBezTo>
                <a:cubicBezTo>
                  <a:pt x="731" y="160"/>
                  <a:pt x="731" y="160"/>
                  <a:pt x="731" y="160"/>
                </a:cubicBezTo>
                <a:cubicBezTo>
                  <a:pt x="731" y="161"/>
                  <a:pt x="731" y="162"/>
                  <a:pt x="731" y="163"/>
                </a:cubicBezTo>
                <a:cubicBezTo>
                  <a:pt x="731" y="163"/>
                  <a:pt x="729" y="163"/>
                  <a:pt x="729" y="162"/>
                </a:cubicBezTo>
                <a:cubicBezTo>
                  <a:pt x="729" y="162"/>
                  <a:pt x="730" y="161"/>
                  <a:pt x="729" y="161"/>
                </a:cubicBezTo>
                <a:cubicBezTo>
                  <a:pt x="729" y="160"/>
                  <a:pt x="729" y="160"/>
                  <a:pt x="729" y="159"/>
                </a:cubicBezTo>
                <a:cubicBezTo>
                  <a:pt x="729" y="159"/>
                  <a:pt x="728" y="159"/>
                  <a:pt x="728" y="159"/>
                </a:cubicBezTo>
                <a:cubicBezTo>
                  <a:pt x="728" y="160"/>
                  <a:pt x="728" y="160"/>
                  <a:pt x="727" y="160"/>
                </a:cubicBezTo>
                <a:cubicBezTo>
                  <a:pt x="727" y="161"/>
                  <a:pt x="726" y="161"/>
                  <a:pt x="726" y="161"/>
                </a:cubicBezTo>
                <a:cubicBezTo>
                  <a:pt x="725" y="161"/>
                  <a:pt x="725" y="161"/>
                  <a:pt x="725" y="161"/>
                </a:cubicBezTo>
                <a:cubicBezTo>
                  <a:pt x="725" y="162"/>
                  <a:pt x="725" y="163"/>
                  <a:pt x="724" y="163"/>
                </a:cubicBezTo>
                <a:cubicBezTo>
                  <a:pt x="723" y="162"/>
                  <a:pt x="723" y="162"/>
                  <a:pt x="723" y="160"/>
                </a:cubicBezTo>
                <a:cubicBezTo>
                  <a:pt x="721" y="161"/>
                  <a:pt x="721" y="160"/>
                  <a:pt x="721" y="162"/>
                </a:cubicBezTo>
                <a:cubicBezTo>
                  <a:pt x="721" y="163"/>
                  <a:pt x="721" y="164"/>
                  <a:pt x="721" y="165"/>
                </a:cubicBezTo>
                <a:cubicBezTo>
                  <a:pt x="720" y="165"/>
                  <a:pt x="721" y="164"/>
                  <a:pt x="719" y="164"/>
                </a:cubicBezTo>
                <a:cubicBezTo>
                  <a:pt x="719" y="165"/>
                  <a:pt x="719" y="167"/>
                  <a:pt x="718" y="167"/>
                </a:cubicBezTo>
                <a:cubicBezTo>
                  <a:pt x="718" y="167"/>
                  <a:pt x="718" y="167"/>
                  <a:pt x="718" y="167"/>
                </a:cubicBezTo>
                <a:cubicBezTo>
                  <a:pt x="717" y="167"/>
                  <a:pt x="717" y="167"/>
                  <a:pt x="716" y="166"/>
                </a:cubicBezTo>
                <a:cubicBezTo>
                  <a:pt x="716" y="165"/>
                  <a:pt x="716" y="165"/>
                  <a:pt x="717" y="164"/>
                </a:cubicBezTo>
                <a:cubicBezTo>
                  <a:pt x="717" y="164"/>
                  <a:pt x="717" y="163"/>
                  <a:pt x="716" y="163"/>
                </a:cubicBezTo>
                <a:cubicBezTo>
                  <a:pt x="716" y="163"/>
                  <a:pt x="717" y="162"/>
                  <a:pt x="717" y="162"/>
                </a:cubicBezTo>
                <a:cubicBezTo>
                  <a:pt x="716" y="162"/>
                  <a:pt x="716" y="162"/>
                  <a:pt x="716" y="162"/>
                </a:cubicBezTo>
                <a:cubicBezTo>
                  <a:pt x="716" y="161"/>
                  <a:pt x="716" y="161"/>
                  <a:pt x="716" y="161"/>
                </a:cubicBezTo>
                <a:cubicBezTo>
                  <a:pt x="716" y="160"/>
                  <a:pt x="716" y="161"/>
                  <a:pt x="716" y="161"/>
                </a:cubicBezTo>
                <a:cubicBezTo>
                  <a:pt x="715" y="160"/>
                  <a:pt x="715" y="160"/>
                  <a:pt x="714" y="159"/>
                </a:cubicBezTo>
                <a:cubicBezTo>
                  <a:pt x="714" y="159"/>
                  <a:pt x="712" y="159"/>
                  <a:pt x="713" y="160"/>
                </a:cubicBezTo>
                <a:cubicBezTo>
                  <a:pt x="711" y="159"/>
                  <a:pt x="711" y="159"/>
                  <a:pt x="711" y="160"/>
                </a:cubicBezTo>
                <a:cubicBezTo>
                  <a:pt x="711" y="161"/>
                  <a:pt x="712" y="161"/>
                  <a:pt x="713" y="161"/>
                </a:cubicBezTo>
                <a:cubicBezTo>
                  <a:pt x="713" y="162"/>
                  <a:pt x="713" y="162"/>
                  <a:pt x="713" y="163"/>
                </a:cubicBezTo>
                <a:cubicBezTo>
                  <a:pt x="713" y="163"/>
                  <a:pt x="712" y="162"/>
                  <a:pt x="712" y="162"/>
                </a:cubicBezTo>
                <a:cubicBezTo>
                  <a:pt x="710" y="162"/>
                  <a:pt x="710" y="162"/>
                  <a:pt x="709" y="161"/>
                </a:cubicBezTo>
                <a:cubicBezTo>
                  <a:pt x="709" y="160"/>
                  <a:pt x="709" y="159"/>
                  <a:pt x="708" y="160"/>
                </a:cubicBezTo>
                <a:cubicBezTo>
                  <a:pt x="708" y="160"/>
                  <a:pt x="708" y="160"/>
                  <a:pt x="708" y="160"/>
                </a:cubicBezTo>
                <a:cubicBezTo>
                  <a:pt x="707" y="161"/>
                  <a:pt x="708" y="160"/>
                  <a:pt x="708" y="161"/>
                </a:cubicBezTo>
                <a:cubicBezTo>
                  <a:pt x="708" y="161"/>
                  <a:pt x="708" y="161"/>
                  <a:pt x="708" y="161"/>
                </a:cubicBezTo>
                <a:cubicBezTo>
                  <a:pt x="707" y="161"/>
                  <a:pt x="707" y="161"/>
                  <a:pt x="706" y="161"/>
                </a:cubicBezTo>
                <a:cubicBezTo>
                  <a:pt x="706" y="161"/>
                  <a:pt x="707" y="162"/>
                  <a:pt x="707" y="162"/>
                </a:cubicBezTo>
                <a:cubicBezTo>
                  <a:pt x="708" y="162"/>
                  <a:pt x="708" y="162"/>
                  <a:pt x="708" y="163"/>
                </a:cubicBezTo>
                <a:cubicBezTo>
                  <a:pt x="708" y="164"/>
                  <a:pt x="708" y="164"/>
                  <a:pt x="707" y="164"/>
                </a:cubicBezTo>
                <a:cubicBezTo>
                  <a:pt x="706" y="165"/>
                  <a:pt x="706" y="165"/>
                  <a:pt x="705" y="166"/>
                </a:cubicBezTo>
                <a:cubicBezTo>
                  <a:pt x="705" y="166"/>
                  <a:pt x="704" y="166"/>
                  <a:pt x="703" y="165"/>
                </a:cubicBezTo>
                <a:cubicBezTo>
                  <a:pt x="703" y="166"/>
                  <a:pt x="703" y="166"/>
                  <a:pt x="703" y="166"/>
                </a:cubicBezTo>
                <a:cubicBezTo>
                  <a:pt x="704" y="167"/>
                  <a:pt x="705" y="167"/>
                  <a:pt x="706" y="167"/>
                </a:cubicBezTo>
                <a:cubicBezTo>
                  <a:pt x="707" y="166"/>
                  <a:pt x="707" y="166"/>
                  <a:pt x="707" y="165"/>
                </a:cubicBezTo>
                <a:cubicBezTo>
                  <a:pt x="708" y="166"/>
                  <a:pt x="708" y="166"/>
                  <a:pt x="709" y="165"/>
                </a:cubicBezTo>
                <a:cubicBezTo>
                  <a:pt x="710" y="165"/>
                  <a:pt x="711" y="165"/>
                  <a:pt x="712" y="164"/>
                </a:cubicBezTo>
                <a:cubicBezTo>
                  <a:pt x="712" y="165"/>
                  <a:pt x="712" y="165"/>
                  <a:pt x="713" y="165"/>
                </a:cubicBezTo>
                <a:cubicBezTo>
                  <a:pt x="713" y="166"/>
                  <a:pt x="713" y="166"/>
                  <a:pt x="713" y="166"/>
                </a:cubicBezTo>
                <a:cubicBezTo>
                  <a:pt x="712" y="166"/>
                  <a:pt x="712" y="166"/>
                  <a:pt x="712" y="166"/>
                </a:cubicBezTo>
                <a:cubicBezTo>
                  <a:pt x="711" y="166"/>
                  <a:pt x="712" y="166"/>
                  <a:pt x="711" y="166"/>
                </a:cubicBezTo>
                <a:cubicBezTo>
                  <a:pt x="711" y="167"/>
                  <a:pt x="711" y="167"/>
                  <a:pt x="711" y="168"/>
                </a:cubicBezTo>
                <a:cubicBezTo>
                  <a:pt x="712" y="168"/>
                  <a:pt x="713" y="168"/>
                  <a:pt x="713" y="168"/>
                </a:cubicBezTo>
                <a:cubicBezTo>
                  <a:pt x="713" y="168"/>
                  <a:pt x="713" y="169"/>
                  <a:pt x="712" y="169"/>
                </a:cubicBezTo>
                <a:cubicBezTo>
                  <a:pt x="712" y="169"/>
                  <a:pt x="711" y="169"/>
                  <a:pt x="710" y="168"/>
                </a:cubicBezTo>
                <a:cubicBezTo>
                  <a:pt x="710" y="168"/>
                  <a:pt x="710" y="169"/>
                  <a:pt x="710" y="169"/>
                </a:cubicBezTo>
                <a:cubicBezTo>
                  <a:pt x="709" y="169"/>
                  <a:pt x="708" y="170"/>
                  <a:pt x="707" y="170"/>
                </a:cubicBezTo>
                <a:cubicBezTo>
                  <a:pt x="706" y="170"/>
                  <a:pt x="706" y="170"/>
                  <a:pt x="705" y="170"/>
                </a:cubicBezTo>
                <a:cubicBezTo>
                  <a:pt x="705" y="172"/>
                  <a:pt x="705" y="172"/>
                  <a:pt x="707" y="172"/>
                </a:cubicBezTo>
                <a:cubicBezTo>
                  <a:pt x="707" y="172"/>
                  <a:pt x="708" y="171"/>
                  <a:pt x="708" y="171"/>
                </a:cubicBezTo>
                <a:cubicBezTo>
                  <a:pt x="708" y="171"/>
                  <a:pt x="709" y="171"/>
                  <a:pt x="709" y="171"/>
                </a:cubicBezTo>
                <a:cubicBezTo>
                  <a:pt x="710" y="171"/>
                  <a:pt x="710" y="171"/>
                  <a:pt x="711" y="171"/>
                </a:cubicBezTo>
                <a:cubicBezTo>
                  <a:pt x="712" y="171"/>
                  <a:pt x="712" y="171"/>
                  <a:pt x="712" y="172"/>
                </a:cubicBezTo>
                <a:cubicBezTo>
                  <a:pt x="712" y="173"/>
                  <a:pt x="713" y="174"/>
                  <a:pt x="713" y="173"/>
                </a:cubicBezTo>
                <a:cubicBezTo>
                  <a:pt x="713" y="173"/>
                  <a:pt x="714" y="173"/>
                  <a:pt x="714" y="173"/>
                </a:cubicBezTo>
                <a:cubicBezTo>
                  <a:pt x="714" y="173"/>
                  <a:pt x="714" y="173"/>
                  <a:pt x="714" y="173"/>
                </a:cubicBezTo>
                <a:cubicBezTo>
                  <a:pt x="714" y="174"/>
                  <a:pt x="714" y="174"/>
                  <a:pt x="716" y="174"/>
                </a:cubicBezTo>
                <a:cubicBezTo>
                  <a:pt x="715" y="175"/>
                  <a:pt x="714" y="175"/>
                  <a:pt x="714" y="175"/>
                </a:cubicBezTo>
                <a:cubicBezTo>
                  <a:pt x="713" y="176"/>
                  <a:pt x="713" y="176"/>
                  <a:pt x="712" y="176"/>
                </a:cubicBezTo>
                <a:cubicBezTo>
                  <a:pt x="712" y="176"/>
                  <a:pt x="710" y="176"/>
                  <a:pt x="710" y="177"/>
                </a:cubicBezTo>
                <a:cubicBezTo>
                  <a:pt x="710" y="178"/>
                  <a:pt x="712" y="178"/>
                  <a:pt x="713" y="178"/>
                </a:cubicBezTo>
                <a:cubicBezTo>
                  <a:pt x="714" y="178"/>
                  <a:pt x="713" y="178"/>
                  <a:pt x="714" y="178"/>
                </a:cubicBezTo>
                <a:cubicBezTo>
                  <a:pt x="714" y="178"/>
                  <a:pt x="714" y="177"/>
                  <a:pt x="715" y="177"/>
                </a:cubicBezTo>
                <a:cubicBezTo>
                  <a:pt x="715" y="177"/>
                  <a:pt x="717" y="178"/>
                  <a:pt x="717" y="177"/>
                </a:cubicBezTo>
                <a:cubicBezTo>
                  <a:pt x="718" y="177"/>
                  <a:pt x="717" y="177"/>
                  <a:pt x="718" y="178"/>
                </a:cubicBezTo>
                <a:cubicBezTo>
                  <a:pt x="719" y="178"/>
                  <a:pt x="719" y="177"/>
                  <a:pt x="720" y="178"/>
                </a:cubicBezTo>
                <a:cubicBezTo>
                  <a:pt x="721" y="178"/>
                  <a:pt x="722" y="178"/>
                  <a:pt x="723" y="179"/>
                </a:cubicBezTo>
                <a:cubicBezTo>
                  <a:pt x="723" y="179"/>
                  <a:pt x="721" y="180"/>
                  <a:pt x="721" y="181"/>
                </a:cubicBezTo>
                <a:cubicBezTo>
                  <a:pt x="722" y="181"/>
                  <a:pt x="723" y="180"/>
                  <a:pt x="723" y="180"/>
                </a:cubicBezTo>
                <a:cubicBezTo>
                  <a:pt x="723" y="181"/>
                  <a:pt x="725" y="181"/>
                  <a:pt x="726" y="181"/>
                </a:cubicBezTo>
                <a:cubicBezTo>
                  <a:pt x="727" y="181"/>
                  <a:pt x="728" y="181"/>
                  <a:pt x="730" y="180"/>
                </a:cubicBezTo>
                <a:cubicBezTo>
                  <a:pt x="731" y="180"/>
                  <a:pt x="730" y="181"/>
                  <a:pt x="731" y="181"/>
                </a:cubicBezTo>
                <a:cubicBezTo>
                  <a:pt x="732" y="181"/>
                  <a:pt x="732" y="179"/>
                  <a:pt x="733" y="179"/>
                </a:cubicBezTo>
                <a:cubicBezTo>
                  <a:pt x="733" y="179"/>
                  <a:pt x="732" y="179"/>
                  <a:pt x="732" y="178"/>
                </a:cubicBezTo>
                <a:close/>
                <a:moveTo>
                  <a:pt x="416" y="158"/>
                </a:moveTo>
                <a:cubicBezTo>
                  <a:pt x="418" y="158"/>
                  <a:pt x="415" y="156"/>
                  <a:pt x="416" y="158"/>
                </a:cubicBezTo>
                <a:close/>
                <a:moveTo>
                  <a:pt x="711" y="157"/>
                </a:moveTo>
                <a:cubicBezTo>
                  <a:pt x="710" y="157"/>
                  <a:pt x="709" y="157"/>
                  <a:pt x="709" y="158"/>
                </a:cubicBezTo>
                <a:cubicBezTo>
                  <a:pt x="709" y="158"/>
                  <a:pt x="710" y="158"/>
                  <a:pt x="710" y="158"/>
                </a:cubicBezTo>
                <a:cubicBezTo>
                  <a:pt x="711" y="158"/>
                  <a:pt x="711" y="158"/>
                  <a:pt x="712" y="158"/>
                </a:cubicBezTo>
                <a:cubicBezTo>
                  <a:pt x="712" y="158"/>
                  <a:pt x="713" y="158"/>
                  <a:pt x="714" y="158"/>
                </a:cubicBezTo>
                <a:cubicBezTo>
                  <a:pt x="714" y="158"/>
                  <a:pt x="713" y="157"/>
                  <a:pt x="713" y="157"/>
                </a:cubicBezTo>
                <a:cubicBezTo>
                  <a:pt x="712" y="157"/>
                  <a:pt x="711" y="157"/>
                  <a:pt x="711" y="157"/>
                </a:cubicBezTo>
                <a:cubicBezTo>
                  <a:pt x="709" y="157"/>
                  <a:pt x="711" y="157"/>
                  <a:pt x="711" y="157"/>
                </a:cubicBezTo>
                <a:close/>
                <a:moveTo>
                  <a:pt x="44" y="155"/>
                </a:moveTo>
                <a:cubicBezTo>
                  <a:pt x="44" y="154"/>
                  <a:pt x="44" y="153"/>
                  <a:pt x="43" y="154"/>
                </a:cubicBezTo>
                <a:cubicBezTo>
                  <a:pt x="44" y="154"/>
                  <a:pt x="44" y="155"/>
                  <a:pt x="44" y="155"/>
                </a:cubicBezTo>
                <a:close/>
                <a:moveTo>
                  <a:pt x="406" y="149"/>
                </a:moveTo>
                <a:cubicBezTo>
                  <a:pt x="406" y="148"/>
                  <a:pt x="406" y="148"/>
                  <a:pt x="406" y="147"/>
                </a:cubicBezTo>
                <a:cubicBezTo>
                  <a:pt x="405" y="147"/>
                  <a:pt x="404" y="147"/>
                  <a:pt x="405" y="148"/>
                </a:cubicBezTo>
                <a:cubicBezTo>
                  <a:pt x="405" y="148"/>
                  <a:pt x="405" y="148"/>
                  <a:pt x="406" y="149"/>
                </a:cubicBezTo>
                <a:close/>
                <a:moveTo>
                  <a:pt x="1733" y="146"/>
                </a:moveTo>
                <a:cubicBezTo>
                  <a:pt x="1733" y="146"/>
                  <a:pt x="1733" y="146"/>
                  <a:pt x="1733" y="146"/>
                </a:cubicBezTo>
                <a:cubicBezTo>
                  <a:pt x="1733" y="146"/>
                  <a:pt x="1733" y="146"/>
                  <a:pt x="1733" y="146"/>
                </a:cubicBezTo>
                <a:cubicBezTo>
                  <a:pt x="1733" y="146"/>
                  <a:pt x="1733" y="146"/>
                  <a:pt x="1733" y="146"/>
                </a:cubicBezTo>
                <a:close/>
                <a:moveTo>
                  <a:pt x="884" y="146"/>
                </a:moveTo>
                <a:cubicBezTo>
                  <a:pt x="884" y="146"/>
                  <a:pt x="884" y="146"/>
                  <a:pt x="885" y="146"/>
                </a:cubicBezTo>
                <a:cubicBezTo>
                  <a:pt x="884" y="145"/>
                  <a:pt x="884" y="144"/>
                  <a:pt x="884" y="144"/>
                </a:cubicBezTo>
                <a:cubicBezTo>
                  <a:pt x="883" y="144"/>
                  <a:pt x="883" y="145"/>
                  <a:pt x="883" y="145"/>
                </a:cubicBezTo>
                <a:cubicBezTo>
                  <a:pt x="881" y="146"/>
                  <a:pt x="884" y="147"/>
                  <a:pt x="884" y="146"/>
                </a:cubicBezTo>
                <a:close/>
                <a:moveTo>
                  <a:pt x="346" y="144"/>
                </a:moveTo>
                <a:cubicBezTo>
                  <a:pt x="346" y="144"/>
                  <a:pt x="345" y="144"/>
                  <a:pt x="345" y="143"/>
                </a:cubicBezTo>
                <a:cubicBezTo>
                  <a:pt x="345" y="144"/>
                  <a:pt x="345" y="144"/>
                  <a:pt x="346" y="144"/>
                </a:cubicBezTo>
                <a:close/>
                <a:moveTo>
                  <a:pt x="464" y="145"/>
                </a:moveTo>
                <a:cubicBezTo>
                  <a:pt x="465" y="145"/>
                  <a:pt x="468" y="146"/>
                  <a:pt x="467" y="144"/>
                </a:cubicBezTo>
                <a:cubicBezTo>
                  <a:pt x="467" y="143"/>
                  <a:pt x="466" y="143"/>
                  <a:pt x="465" y="143"/>
                </a:cubicBezTo>
                <a:cubicBezTo>
                  <a:pt x="464" y="143"/>
                  <a:pt x="464" y="144"/>
                  <a:pt x="464" y="145"/>
                </a:cubicBezTo>
                <a:close/>
                <a:moveTo>
                  <a:pt x="889" y="143"/>
                </a:moveTo>
                <a:cubicBezTo>
                  <a:pt x="889" y="143"/>
                  <a:pt x="889" y="142"/>
                  <a:pt x="889" y="142"/>
                </a:cubicBezTo>
                <a:cubicBezTo>
                  <a:pt x="888" y="142"/>
                  <a:pt x="888" y="143"/>
                  <a:pt x="888" y="143"/>
                </a:cubicBezTo>
                <a:cubicBezTo>
                  <a:pt x="887" y="144"/>
                  <a:pt x="886" y="144"/>
                  <a:pt x="886" y="145"/>
                </a:cubicBezTo>
                <a:cubicBezTo>
                  <a:pt x="886" y="145"/>
                  <a:pt x="886" y="145"/>
                  <a:pt x="886" y="145"/>
                </a:cubicBezTo>
                <a:cubicBezTo>
                  <a:pt x="887" y="145"/>
                  <a:pt x="888" y="144"/>
                  <a:pt x="889" y="143"/>
                </a:cubicBezTo>
                <a:cubicBezTo>
                  <a:pt x="889" y="142"/>
                  <a:pt x="889" y="143"/>
                  <a:pt x="889" y="143"/>
                </a:cubicBezTo>
                <a:close/>
                <a:moveTo>
                  <a:pt x="24" y="142"/>
                </a:moveTo>
                <a:cubicBezTo>
                  <a:pt x="25" y="142"/>
                  <a:pt x="25" y="142"/>
                  <a:pt x="25" y="142"/>
                </a:cubicBezTo>
                <a:cubicBezTo>
                  <a:pt x="25" y="142"/>
                  <a:pt x="25" y="142"/>
                  <a:pt x="24" y="142"/>
                </a:cubicBezTo>
                <a:cubicBezTo>
                  <a:pt x="25" y="142"/>
                  <a:pt x="24" y="142"/>
                  <a:pt x="24" y="142"/>
                </a:cubicBezTo>
                <a:close/>
                <a:moveTo>
                  <a:pt x="455" y="146"/>
                </a:moveTo>
                <a:cubicBezTo>
                  <a:pt x="455" y="146"/>
                  <a:pt x="455" y="147"/>
                  <a:pt x="455" y="148"/>
                </a:cubicBezTo>
                <a:cubicBezTo>
                  <a:pt x="455" y="148"/>
                  <a:pt x="457" y="149"/>
                  <a:pt x="457" y="149"/>
                </a:cubicBezTo>
                <a:cubicBezTo>
                  <a:pt x="457" y="148"/>
                  <a:pt x="458" y="148"/>
                  <a:pt x="459" y="148"/>
                </a:cubicBezTo>
                <a:cubicBezTo>
                  <a:pt x="459" y="148"/>
                  <a:pt x="459" y="147"/>
                  <a:pt x="460" y="146"/>
                </a:cubicBezTo>
                <a:cubicBezTo>
                  <a:pt x="460" y="145"/>
                  <a:pt x="461" y="143"/>
                  <a:pt x="460" y="143"/>
                </a:cubicBezTo>
                <a:cubicBezTo>
                  <a:pt x="460" y="143"/>
                  <a:pt x="459" y="143"/>
                  <a:pt x="459" y="142"/>
                </a:cubicBezTo>
                <a:cubicBezTo>
                  <a:pt x="459" y="141"/>
                  <a:pt x="458" y="141"/>
                  <a:pt x="457" y="142"/>
                </a:cubicBezTo>
                <a:cubicBezTo>
                  <a:pt x="457" y="142"/>
                  <a:pt x="456" y="142"/>
                  <a:pt x="455" y="142"/>
                </a:cubicBezTo>
                <a:cubicBezTo>
                  <a:pt x="455" y="143"/>
                  <a:pt x="455" y="143"/>
                  <a:pt x="455" y="144"/>
                </a:cubicBezTo>
                <a:cubicBezTo>
                  <a:pt x="454" y="144"/>
                  <a:pt x="454" y="146"/>
                  <a:pt x="455" y="146"/>
                </a:cubicBezTo>
                <a:close/>
                <a:moveTo>
                  <a:pt x="343" y="143"/>
                </a:moveTo>
                <a:cubicBezTo>
                  <a:pt x="343" y="143"/>
                  <a:pt x="343" y="141"/>
                  <a:pt x="342" y="141"/>
                </a:cubicBezTo>
                <a:cubicBezTo>
                  <a:pt x="342" y="142"/>
                  <a:pt x="343" y="143"/>
                  <a:pt x="343" y="143"/>
                </a:cubicBezTo>
                <a:cubicBezTo>
                  <a:pt x="343" y="143"/>
                  <a:pt x="343" y="143"/>
                  <a:pt x="343" y="143"/>
                </a:cubicBezTo>
                <a:close/>
                <a:moveTo>
                  <a:pt x="1091" y="141"/>
                </a:moveTo>
                <a:cubicBezTo>
                  <a:pt x="1093" y="141"/>
                  <a:pt x="1091" y="140"/>
                  <a:pt x="1091" y="141"/>
                </a:cubicBezTo>
                <a:cubicBezTo>
                  <a:pt x="1092" y="141"/>
                  <a:pt x="1091" y="141"/>
                  <a:pt x="1091" y="141"/>
                </a:cubicBezTo>
                <a:close/>
                <a:moveTo>
                  <a:pt x="570" y="141"/>
                </a:moveTo>
                <a:cubicBezTo>
                  <a:pt x="570" y="141"/>
                  <a:pt x="570" y="141"/>
                  <a:pt x="570" y="141"/>
                </a:cubicBezTo>
                <a:cubicBezTo>
                  <a:pt x="570" y="141"/>
                  <a:pt x="570" y="141"/>
                  <a:pt x="570" y="141"/>
                </a:cubicBezTo>
                <a:cubicBezTo>
                  <a:pt x="570" y="141"/>
                  <a:pt x="570" y="141"/>
                  <a:pt x="570" y="141"/>
                </a:cubicBezTo>
                <a:close/>
                <a:moveTo>
                  <a:pt x="466" y="139"/>
                </a:moveTo>
                <a:cubicBezTo>
                  <a:pt x="466" y="139"/>
                  <a:pt x="466" y="140"/>
                  <a:pt x="466" y="141"/>
                </a:cubicBezTo>
                <a:cubicBezTo>
                  <a:pt x="466" y="142"/>
                  <a:pt x="466" y="141"/>
                  <a:pt x="467" y="141"/>
                </a:cubicBezTo>
                <a:cubicBezTo>
                  <a:pt x="467" y="140"/>
                  <a:pt x="467" y="139"/>
                  <a:pt x="466" y="139"/>
                </a:cubicBezTo>
                <a:cubicBezTo>
                  <a:pt x="466" y="140"/>
                  <a:pt x="466" y="139"/>
                  <a:pt x="466" y="139"/>
                </a:cubicBezTo>
                <a:close/>
                <a:moveTo>
                  <a:pt x="891" y="138"/>
                </a:moveTo>
                <a:cubicBezTo>
                  <a:pt x="890" y="138"/>
                  <a:pt x="889" y="139"/>
                  <a:pt x="889" y="139"/>
                </a:cubicBezTo>
                <a:cubicBezTo>
                  <a:pt x="889" y="139"/>
                  <a:pt x="888" y="139"/>
                  <a:pt x="889" y="140"/>
                </a:cubicBezTo>
                <a:cubicBezTo>
                  <a:pt x="889" y="140"/>
                  <a:pt x="890" y="140"/>
                  <a:pt x="891" y="140"/>
                </a:cubicBezTo>
                <a:cubicBezTo>
                  <a:pt x="891" y="139"/>
                  <a:pt x="891" y="139"/>
                  <a:pt x="891" y="138"/>
                </a:cubicBezTo>
                <a:cubicBezTo>
                  <a:pt x="890" y="138"/>
                  <a:pt x="891" y="138"/>
                  <a:pt x="891" y="138"/>
                </a:cubicBezTo>
                <a:close/>
                <a:moveTo>
                  <a:pt x="317" y="139"/>
                </a:moveTo>
                <a:cubicBezTo>
                  <a:pt x="317" y="139"/>
                  <a:pt x="318" y="140"/>
                  <a:pt x="319" y="140"/>
                </a:cubicBezTo>
                <a:cubicBezTo>
                  <a:pt x="320" y="140"/>
                  <a:pt x="320" y="140"/>
                  <a:pt x="320" y="139"/>
                </a:cubicBezTo>
                <a:cubicBezTo>
                  <a:pt x="320" y="139"/>
                  <a:pt x="320" y="139"/>
                  <a:pt x="320" y="138"/>
                </a:cubicBezTo>
                <a:cubicBezTo>
                  <a:pt x="319" y="138"/>
                  <a:pt x="318" y="139"/>
                  <a:pt x="317" y="139"/>
                </a:cubicBezTo>
                <a:cubicBezTo>
                  <a:pt x="317" y="139"/>
                  <a:pt x="317" y="139"/>
                  <a:pt x="317" y="139"/>
                </a:cubicBezTo>
                <a:close/>
                <a:moveTo>
                  <a:pt x="893" y="144"/>
                </a:moveTo>
                <a:cubicBezTo>
                  <a:pt x="893" y="143"/>
                  <a:pt x="893" y="142"/>
                  <a:pt x="894" y="143"/>
                </a:cubicBezTo>
                <a:cubicBezTo>
                  <a:pt x="894" y="144"/>
                  <a:pt x="895" y="142"/>
                  <a:pt x="896" y="142"/>
                </a:cubicBezTo>
                <a:cubicBezTo>
                  <a:pt x="897" y="142"/>
                  <a:pt x="897" y="141"/>
                  <a:pt x="897" y="140"/>
                </a:cubicBezTo>
                <a:cubicBezTo>
                  <a:pt x="898" y="139"/>
                  <a:pt x="897" y="139"/>
                  <a:pt x="897" y="138"/>
                </a:cubicBezTo>
                <a:cubicBezTo>
                  <a:pt x="896" y="138"/>
                  <a:pt x="895" y="138"/>
                  <a:pt x="895" y="139"/>
                </a:cubicBezTo>
                <a:cubicBezTo>
                  <a:pt x="895" y="140"/>
                  <a:pt x="895" y="140"/>
                  <a:pt x="894" y="140"/>
                </a:cubicBezTo>
                <a:cubicBezTo>
                  <a:pt x="894" y="140"/>
                  <a:pt x="894" y="138"/>
                  <a:pt x="894" y="138"/>
                </a:cubicBezTo>
                <a:cubicBezTo>
                  <a:pt x="894" y="137"/>
                  <a:pt x="893" y="137"/>
                  <a:pt x="893" y="137"/>
                </a:cubicBezTo>
                <a:cubicBezTo>
                  <a:pt x="893" y="138"/>
                  <a:pt x="892" y="140"/>
                  <a:pt x="892" y="141"/>
                </a:cubicBezTo>
                <a:cubicBezTo>
                  <a:pt x="891" y="141"/>
                  <a:pt x="890" y="142"/>
                  <a:pt x="890" y="143"/>
                </a:cubicBezTo>
                <a:cubicBezTo>
                  <a:pt x="891" y="143"/>
                  <a:pt x="892" y="142"/>
                  <a:pt x="892" y="143"/>
                </a:cubicBezTo>
                <a:cubicBezTo>
                  <a:pt x="892" y="144"/>
                  <a:pt x="891" y="144"/>
                  <a:pt x="893" y="144"/>
                </a:cubicBezTo>
                <a:close/>
                <a:moveTo>
                  <a:pt x="443" y="138"/>
                </a:moveTo>
                <a:cubicBezTo>
                  <a:pt x="442" y="138"/>
                  <a:pt x="441" y="137"/>
                  <a:pt x="440" y="137"/>
                </a:cubicBezTo>
                <a:cubicBezTo>
                  <a:pt x="440" y="138"/>
                  <a:pt x="440" y="138"/>
                  <a:pt x="440" y="139"/>
                </a:cubicBezTo>
                <a:cubicBezTo>
                  <a:pt x="441" y="139"/>
                  <a:pt x="442" y="139"/>
                  <a:pt x="443" y="139"/>
                </a:cubicBezTo>
                <a:cubicBezTo>
                  <a:pt x="443" y="139"/>
                  <a:pt x="443" y="138"/>
                  <a:pt x="443" y="138"/>
                </a:cubicBezTo>
                <a:cubicBezTo>
                  <a:pt x="441" y="138"/>
                  <a:pt x="443" y="138"/>
                  <a:pt x="443" y="138"/>
                </a:cubicBezTo>
                <a:close/>
                <a:moveTo>
                  <a:pt x="334" y="137"/>
                </a:moveTo>
                <a:cubicBezTo>
                  <a:pt x="335" y="137"/>
                  <a:pt x="334" y="136"/>
                  <a:pt x="334" y="136"/>
                </a:cubicBezTo>
                <a:cubicBezTo>
                  <a:pt x="334" y="136"/>
                  <a:pt x="332" y="137"/>
                  <a:pt x="332" y="137"/>
                </a:cubicBezTo>
                <a:cubicBezTo>
                  <a:pt x="332" y="138"/>
                  <a:pt x="332" y="138"/>
                  <a:pt x="332" y="138"/>
                </a:cubicBezTo>
                <a:cubicBezTo>
                  <a:pt x="333" y="138"/>
                  <a:pt x="334" y="138"/>
                  <a:pt x="334" y="137"/>
                </a:cubicBezTo>
                <a:close/>
                <a:moveTo>
                  <a:pt x="896" y="136"/>
                </a:moveTo>
                <a:cubicBezTo>
                  <a:pt x="897" y="137"/>
                  <a:pt x="897" y="134"/>
                  <a:pt x="896" y="136"/>
                </a:cubicBezTo>
                <a:close/>
                <a:moveTo>
                  <a:pt x="898" y="135"/>
                </a:moveTo>
                <a:cubicBezTo>
                  <a:pt x="898" y="134"/>
                  <a:pt x="897" y="135"/>
                  <a:pt x="897" y="135"/>
                </a:cubicBezTo>
                <a:cubicBezTo>
                  <a:pt x="897" y="135"/>
                  <a:pt x="898" y="135"/>
                  <a:pt x="898" y="135"/>
                </a:cubicBezTo>
                <a:close/>
                <a:moveTo>
                  <a:pt x="341" y="136"/>
                </a:moveTo>
                <a:cubicBezTo>
                  <a:pt x="341" y="136"/>
                  <a:pt x="341" y="135"/>
                  <a:pt x="341" y="134"/>
                </a:cubicBezTo>
                <a:cubicBezTo>
                  <a:pt x="341" y="134"/>
                  <a:pt x="341" y="134"/>
                  <a:pt x="341" y="134"/>
                </a:cubicBezTo>
                <a:cubicBezTo>
                  <a:pt x="340" y="135"/>
                  <a:pt x="339" y="135"/>
                  <a:pt x="338" y="135"/>
                </a:cubicBezTo>
                <a:cubicBezTo>
                  <a:pt x="338" y="135"/>
                  <a:pt x="338" y="136"/>
                  <a:pt x="339" y="136"/>
                </a:cubicBezTo>
                <a:cubicBezTo>
                  <a:pt x="339" y="136"/>
                  <a:pt x="339" y="136"/>
                  <a:pt x="339" y="136"/>
                </a:cubicBezTo>
                <a:cubicBezTo>
                  <a:pt x="339" y="136"/>
                  <a:pt x="340" y="136"/>
                  <a:pt x="341" y="136"/>
                </a:cubicBezTo>
                <a:cubicBezTo>
                  <a:pt x="341" y="136"/>
                  <a:pt x="341" y="136"/>
                  <a:pt x="341" y="136"/>
                </a:cubicBezTo>
                <a:close/>
                <a:moveTo>
                  <a:pt x="1581" y="134"/>
                </a:moveTo>
                <a:cubicBezTo>
                  <a:pt x="1581" y="133"/>
                  <a:pt x="1580" y="135"/>
                  <a:pt x="1582" y="135"/>
                </a:cubicBezTo>
                <a:cubicBezTo>
                  <a:pt x="1581" y="134"/>
                  <a:pt x="1581" y="134"/>
                  <a:pt x="1581" y="134"/>
                </a:cubicBezTo>
                <a:close/>
                <a:moveTo>
                  <a:pt x="1053" y="137"/>
                </a:moveTo>
                <a:cubicBezTo>
                  <a:pt x="1054" y="136"/>
                  <a:pt x="1055" y="135"/>
                  <a:pt x="1055" y="135"/>
                </a:cubicBezTo>
                <a:cubicBezTo>
                  <a:pt x="1055" y="134"/>
                  <a:pt x="1054" y="134"/>
                  <a:pt x="1054" y="133"/>
                </a:cubicBezTo>
                <a:cubicBezTo>
                  <a:pt x="1054" y="133"/>
                  <a:pt x="1053" y="133"/>
                  <a:pt x="1053" y="133"/>
                </a:cubicBezTo>
                <a:cubicBezTo>
                  <a:pt x="1053" y="132"/>
                  <a:pt x="1051" y="132"/>
                  <a:pt x="1051" y="132"/>
                </a:cubicBezTo>
                <a:cubicBezTo>
                  <a:pt x="1051" y="133"/>
                  <a:pt x="1050" y="133"/>
                  <a:pt x="1050" y="133"/>
                </a:cubicBezTo>
                <a:cubicBezTo>
                  <a:pt x="1049" y="134"/>
                  <a:pt x="1049" y="135"/>
                  <a:pt x="1049" y="136"/>
                </a:cubicBezTo>
                <a:cubicBezTo>
                  <a:pt x="1050" y="136"/>
                  <a:pt x="1049" y="137"/>
                  <a:pt x="1050" y="137"/>
                </a:cubicBezTo>
                <a:cubicBezTo>
                  <a:pt x="1050" y="138"/>
                  <a:pt x="1051" y="138"/>
                  <a:pt x="1051" y="138"/>
                </a:cubicBezTo>
                <a:cubicBezTo>
                  <a:pt x="1052" y="139"/>
                  <a:pt x="1052" y="139"/>
                  <a:pt x="1052" y="139"/>
                </a:cubicBezTo>
                <a:cubicBezTo>
                  <a:pt x="1053" y="139"/>
                  <a:pt x="1052" y="137"/>
                  <a:pt x="1053" y="137"/>
                </a:cubicBezTo>
                <a:cubicBezTo>
                  <a:pt x="1054" y="137"/>
                  <a:pt x="1053" y="137"/>
                  <a:pt x="1053" y="137"/>
                </a:cubicBezTo>
                <a:close/>
                <a:moveTo>
                  <a:pt x="444" y="133"/>
                </a:moveTo>
                <a:cubicBezTo>
                  <a:pt x="444" y="133"/>
                  <a:pt x="444" y="132"/>
                  <a:pt x="444" y="132"/>
                </a:cubicBezTo>
                <a:cubicBezTo>
                  <a:pt x="443" y="132"/>
                  <a:pt x="443" y="132"/>
                  <a:pt x="443" y="132"/>
                </a:cubicBezTo>
                <a:cubicBezTo>
                  <a:pt x="444" y="133"/>
                  <a:pt x="444" y="133"/>
                  <a:pt x="444" y="133"/>
                </a:cubicBezTo>
                <a:cubicBezTo>
                  <a:pt x="444" y="133"/>
                  <a:pt x="444" y="133"/>
                  <a:pt x="444" y="133"/>
                </a:cubicBezTo>
                <a:close/>
                <a:moveTo>
                  <a:pt x="339" y="133"/>
                </a:moveTo>
                <a:cubicBezTo>
                  <a:pt x="338" y="132"/>
                  <a:pt x="338" y="132"/>
                  <a:pt x="338" y="132"/>
                </a:cubicBezTo>
                <a:cubicBezTo>
                  <a:pt x="338" y="133"/>
                  <a:pt x="338" y="133"/>
                  <a:pt x="339" y="133"/>
                </a:cubicBezTo>
                <a:cubicBezTo>
                  <a:pt x="338" y="132"/>
                  <a:pt x="339" y="133"/>
                  <a:pt x="339" y="133"/>
                </a:cubicBezTo>
                <a:close/>
                <a:moveTo>
                  <a:pt x="899" y="137"/>
                </a:moveTo>
                <a:cubicBezTo>
                  <a:pt x="899" y="137"/>
                  <a:pt x="900" y="137"/>
                  <a:pt x="900" y="137"/>
                </a:cubicBezTo>
                <a:cubicBezTo>
                  <a:pt x="901" y="136"/>
                  <a:pt x="901" y="136"/>
                  <a:pt x="902" y="136"/>
                </a:cubicBezTo>
                <a:cubicBezTo>
                  <a:pt x="902" y="136"/>
                  <a:pt x="902" y="136"/>
                  <a:pt x="902" y="136"/>
                </a:cubicBezTo>
                <a:cubicBezTo>
                  <a:pt x="903" y="136"/>
                  <a:pt x="903" y="135"/>
                  <a:pt x="903" y="135"/>
                </a:cubicBezTo>
                <a:cubicBezTo>
                  <a:pt x="904" y="134"/>
                  <a:pt x="903" y="132"/>
                  <a:pt x="903" y="131"/>
                </a:cubicBezTo>
                <a:cubicBezTo>
                  <a:pt x="902" y="131"/>
                  <a:pt x="902" y="132"/>
                  <a:pt x="902" y="132"/>
                </a:cubicBezTo>
                <a:cubicBezTo>
                  <a:pt x="901" y="132"/>
                  <a:pt x="901" y="132"/>
                  <a:pt x="900" y="133"/>
                </a:cubicBezTo>
                <a:cubicBezTo>
                  <a:pt x="900" y="134"/>
                  <a:pt x="899" y="133"/>
                  <a:pt x="899" y="134"/>
                </a:cubicBezTo>
                <a:cubicBezTo>
                  <a:pt x="899" y="135"/>
                  <a:pt x="899" y="135"/>
                  <a:pt x="899" y="135"/>
                </a:cubicBezTo>
                <a:cubicBezTo>
                  <a:pt x="899" y="136"/>
                  <a:pt x="899" y="135"/>
                  <a:pt x="899" y="136"/>
                </a:cubicBezTo>
                <a:cubicBezTo>
                  <a:pt x="899" y="136"/>
                  <a:pt x="899" y="137"/>
                  <a:pt x="899" y="137"/>
                </a:cubicBezTo>
                <a:cubicBezTo>
                  <a:pt x="900" y="137"/>
                  <a:pt x="899" y="137"/>
                  <a:pt x="899" y="137"/>
                </a:cubicBezTo>
                <a:close/>
                <a:moveTo>
                  <a:pt x="457" y="133"/>
                </a:moveTo>
                <a:cubicBezTo>
                  <a:pt x="457" y="132"/>
                  <a:pt x="457" y="132"/>
                  <a:pt x="457" y="131"/>
                </a:cubicBezTo>
                <a:cubicBezTo>
                  <a:pt x="456" y="131"/>
                  <a:pt x="456" y="132"/>
                  <a:pt x="455" y="132"/>
                </a:cubicBezTo>
                <a:cubicBezTo>
                  <a:pt x="456" y="133"/>
                  <a:pt x="456" y="133"/>
                  <a:pt x="457" y="133"/>
                </a:cubicBezTo>
                <a:close/>
                <a:moveTo>
                  <a:pt x="1580" y="131"/>
                </a:moveTo>
                <a:cubicBezTo>
                  <a:pt x="1580" y="131"/>
                  <a:pt x="1580" y="132"/>
                  <a:pt x="1580" y="132"/>
                </a:cubicBezTo>
                <a:cubicBezTo>
                  <a:pt x="1580" y="131"/>
                  <a:pt x="1580" y="131"/>
                  <a:pt x="1580" y="131"/>
                </a:cubicBezTo>
                <a:close/>
                <a:moveTo>
                  <a:pt x="447" y="130"/>
                </a:moveTo>
                <a:cubicBezTo>
                  <a:pt x="445" y="130"/>
                  <a:pt x="445" y="130"/>
                  <a:pt x="445" y="131"/>
                </a:cubicBezTo>
                <a:cubicBezTo>
                  <a:pt x="445" y="131"/>
                  <a:pt x="445" y="131"/>
                  <a:pt x="445" y="132"/>
                </a:cubicBezTo>
                <a:cubicBezTo>
                  <a:pt x="446" y="131"/>
                  <a:pt x="447" y="131"/>
                  <a:pt x="447" y="130"/>
                </a:cubicBezTo>
                <a:close/>
                <a:moveTo>
                  <a:pt x="436" y="130"/>
                </a:moveTo>
                <a:cubicBezTo>
                  <a:pt x="436" y="130"/>
                  <a:pt x="436" y="130"/>
                  <a:pt x="436" y="130"/>
                </a:cubicBezTo>
                <a:cubicBezTo>
                  <a:pt x="436" y="130"/>
                  <a:pt x="436" y="130"/>
                  <a:pt x="436" y="129"/>
                </a:cubicBezTo>
                <a:cubicBezTo>
                  <a:pt x="436" y="130"/>
                  <a:pt x="436" y="130"/>
                  <a:pt x="436" y="130"/>
                </a:cubicBezTo>
                <a:close/>
                <a:moveTo>
                  <a:pt x="441" y="128"/>
                </a:moveTo>
                <a:cubicBezTo>
                  <a:pt x="441" y="129"/>
                  <a:pt x="440" y="129"/>
                  <a:pt x="439" y="129"/>
                </a:cubicBezTo>
                <a:cubicBezTo>
                  <a:pt x="438" y="129"/>
                  <a:pt x="437" y="129"/>
                  <a:pt x="436" y="129"/>
                </a:cubicBezTo>
                <a:cubicBezTo>
                  <a:pt x="436" y="129"/>
                  <a:pt x="437" y="131"/>
                  <a:pt x="437" y="131"/>
                </a:cubicBezTo>
                <a:cubicBezTo>
                  <a:pt x="438" y="130"/>
                  <a:pt x="439" y="131"/>
                  <a:pt x="439" y="132"/>
                </a:cubicBezTo>
                <a:cubicBezTo>
                  <a:pt x="441" y="131"/>
                  <a:pt x="443" y="130"/>
                  <a:pt x="444" y="128"/>
                </a:cubicBezTo>
                <a:cubicBezTo>
                  <a:pt x="443" y="128"/>
                  <a:pt x="442" y="128"/>
                  <a:pt x="441" y="128"/>
                </a:cubicBezTo>
                <a:cubicBezTo>
                  <a:pt x="441" y="128"/>
                  <a:pt x="441" y="128"/>
                  <a:pt x="441" y="128"/>
                </a:cubicBezTo>
                <a:close/>
                <a:moveTo>
                  <a:pt x="357" y="129"/>
                </a:moveTo>
                <a:cubicBezTo>
                  <a:pt x="357" y="129"/>
                  <a:pt x="357" y="129"/>
                  <a:pt x="356" y="129"/>
                </a:cubicBezTo>
                <a:cubicBezTo>
                  <a:pt x="356" y="129"/>
                  <a:pt x="356" y="129"/>
                  <a:pt x="355" y="129"/>
                </a:cubicBezTo>
                <a:cubicBezTo>
                  <a:pt x="355" y="129"/>
                  <a:pt x="355" y="128"/>
                  <a:pt x="354" y="128"/>
                </a:cubicBezTo>
                <a:cubicBezTo>
                  <a:pt x="354" y="128"/>
                  <a:pt x="353" y="129"/>
                  <a:pt x="353" y="129"/>
                </a:cubicBezTo>
                <a:cubicBezTo>
                  <a:pt x="353" y="129"/>
                  <a:pt x="353" y="128"/>
                  <a:pt x="353" y="128"/>
                </a:cubicBezTo>
                <a:cubicBezTo>
                  <a:pt x="352" y="128"/>
                  <a:pt x="351" y="128"/>
                  <a:pt x="351" y="129"/>
                </a:cubicBezTo>
                <a:cubicBezTo>
                  <a:pt x="351" y="129"/>
                  <a:pt x="351" y="130"/>
                  <a:pt x="351" y="130"/>
                </a:cubicBezTo>
                <a:cubicBezTo>
                  <a:pt x="350" y="130"/>
                  <a:pt x="350" y="129"/>
                  <a:pt x="350" y="129"/>
                </a:cubicBezTo>
                <a:cubicBezTo>
                  <a:pt x="349" y="129"/>
                  <a:pt x="349" y="129"/>
                  <a:pt x="349" y="130"/>
                </a:cubicBezTo>
                <a:cubicBezTo>
                  <a:pt x="348" y="131"/>
                  <a:pt x="348" y="132"/>
                  <a:pt x="348" y="132"/>
                </a:cubicBezTo>
                <a:cubicBezTo>
                  <a:pt x="348" y="134"/>
                  <a:pt x="347" y="134"/>
                  <a:pt x="345" y="134"/>
                </a:cubicBezTo>
                <a:cubicBezTo>
                  <a:pt x="344" y="135"/>
                  <a:pt x="345" y="136"/>
                  <a:pt x="346" y="136"/>
                </a:cubicBezTo>
                <a:cubicBezTo>
                  <a:pt x="346" y="136"/>
                  <a:pt x="347" y="136"/>
                  <a:pt x="347" y="136"/>
                </a:cubicBezTo>
                <a:cubicBezTo>
                  <a:pt x="347" y="136"/>
                  <a:pt x="347" y="137"/>
                  <a:pt x="347" y="137"/>
                </a:cubicBezTo>
                <a:cubicBezTo>
                  <a:pt x="348" y="137"/>
                  <a:pt x="347" y="137"/>
                  <a:pt x="347" y="137"/>
                </a:cubicBezTo>
                <a:cubicBezTo>
                  <a:pt x="348" y="137"/>
                  <a:pt x="348" y="137"/>
                  <a:pt x="349" y="137"/>
                </a:cubicBezTo>
                <a:cubicBezTo>
                  <a:pt x="349" y="137"/>
                  <a:pt x="349" y="136"/>
                  <a:pt x="349" y="136"/>
                </a:cubicBezTo>
                <a:cubicBezTo>
                  <a:pt x="350" y="136"/>
                  <a:pt x="350" y="136"/>
                  <a:pt x="350" y="136"/>
                </a:cubicBezTo>
                <a:cubicBezTo>
                  <a:pt x="350" y="137"/>
                  <a:pt x="351" y="137"/>
                  <a:pt x="350" y="137"/>
                </a:cubicBezTo>
                <a:cubicBezTo>
                  <a:pt x="350" y="138"/>
                  <a:pt x="350" y="138"/>
                  <a:pt x="351" y="138"/>
                </a:cubicBezTo>
                <a:cubicBezTo>
                  <a:pt x="352" y="138"/>
                  <a:pt x="352" y="139"/>
                  <a:pt x="352" y="139"/>
                </a:cubicBezTo>
                <a:cubicBezTo>
                  <a:pt x="352" y="139"/>
                  <a:pt x="353" y="140"/>
                  <a:pt x="353" y="140"/>
                </a:cubicBezTo>
                <a:cubicBezTo>
                  <a:pt x="353" y="141"/>
                  <a:pt x="354" y="140"/>
                  <a:pt x="354" y="140"/>
                </a:cubicBezTo>
                <a:cubicBezTo>
                  <a:pt x="354" y="140"/>
                  <a:pt x="354" y="140"/>
                  <a:pt x="354" y="140"/>
                </a:cubicBezTo>
                <a:cubicBezTo>
                  <a:pt x="354" y="140"/>
                  <a:pt x="355" y="140"/>
                  <a:pt x="355" y="140"/>
                </a:cubicBezTo>
                <a:cubicBezTo>
                  <a:pt x="356" y="140"/>
                  <a:pt x="356" y="140"/>
                  <a:pt x="356" y="140"/>
                </a:cubicBezTo>
                <a:cubicBezTo>
                  <a:pt x="356" y="139"/>
                  <a:pt x="356" y="139"/>
                  <a:pt x="356" y="138"/>
                </a:cubicBezTo>
                <a:cubicBezTo>
                  <a:pt x="356" y="138"/>
                  <a:pt x="357" y="138"/>
                  <a:pt x="357" y="139"/>
                </a:cubicBezTo>
                <a:cubicBezTo>
                  <a:pt x="358" y="139"/>
                  <a:pt x="359" y="139"/>
                  <a:pt x="360" y="139"/>
                </a:cubicBezTo>
                <a:cubicBezTo>
                  <a:pt x="360" y="137"/>
                  <a:pt x="361" y="138"/>
                  <a:pt x="362" y="138"/>
                </a:cubicBezTo>
                <a:cubicBezTo>
                  <a:pt x="363" y="138"/>
                  <a:pt x="363" y="138"/>
                  <a:pt x="363" y="137"/>
                </a:cubicBezTo>
                <a:cubicBezTo>
                  <a:pt x="363" y="137"/>
                  <a:pt x="363" y="137"/>
                  <a:pt x="363" y="137"/>
                </a:cubicBezTo>
                <a:cubicBezTo>
                  <a:pt x="363" y="137"/>
                  <a:pt x="362" y="137"/>
                  <a:pt x="362" y="137"/>
                </a:cubicBezTo>
                <a:cubicBezTo>
                  <a:pt x="362" y="137"/>
                  <a:pt x="362" y="136"/>
                  <a:pt x="362" y="136"/>
                </a:cubicBezTo>
                <a:cubicBezTo>
                  <a:pt x="361" y="136"/>
                  <a:pt x="361" y="133"/>
                  <a:pt x="361" y="132"/>
                </a:cubicBezTo>
                <a:cubicBezTo>
                  <a:pt x="361" y="132"/>
                  <a:pt x="361" y="132"/>
                  <a:pt x="360" y="132"/>
                </a:cubicBezTo>
                <a:cubicBezTo>
                  <a:pt x="360" y="132"/>
                  <a:pt x="360" y="131"/>
                  <a:pt x="359" y="131"/>
                </a:cubicBezTo>
                <a:cubicBezTo>
                  <a:pt x="359" y="130"/>
                  <a:pt x="358" y="130"/>
                  <a:pt x="358" y="130"/>
                </a:cubicBezTo>
                <a:cubicBezTo>
                  <a:pt x="358" y="129"/>
                  <a:pt x="358" y="129"/>
                  <a:pt x="357" y="129"/>
                </a:cubicBezTo>
                <a:close/>
                <a:moveTo>
                  <a:pt x="905" y="128"/>
                </a:moveTo>
                <a:cubicBezTo>
                  <a:pt x="905" y="128"/>
                  <a:pt x="905" y="129"/>
                  <a:pt x="904" y="129"/>
                </a:cubicBezTo>
                <a:cubicBezTo>
                  <a:pt x="904" y="130"/>
                  <a:pt x="904" y="131"/>
                  <a:pt x="905" y="131"/>
                </a:cubicBezTo>
                <a:cubicBezTo>
                  <a:pt x="906" y="130"/>
                  <a:pt x="906" y="130"/>
                  <a:pt x="906" y="130"/>
                </a:cubicBezTo>
                <a:cubicBezTo>
                  <a:pt x="906" y="130"/>
                  <a:pt x="906" y="130"/>
                  <a:pt x="907" y="130"/>
                </a:cubicBezTo>
                <a:cubicBezTo>
                  <a:pt x="907" y="130"/>
                  <a:pt x="907" y="130"/>
                  <a:pt x="907" y="129"/>
                </a:cubicBezTo>
                <a:cubicBezTo>
                  <a:pt x="907" y="129"/>
                  <a:pt x="907" y="129"/>
                  <a:pt x="907" y="129"/>
                </a:cubicBezTo>
                <a:cubicBezTo>
                  <a:pt x="907" y="129"/>
                  <a:pt x="907" y="128"/>
                  <a:pt x="908" y="128"/>
                </a:cubicBezTo>
                <a:cubicBezTo>
                  <a:pt x="907" y="128"/>
                  <a:pt x="907" y="128"/>
                  <a:pt x="907" y="127"/>
                </a:cubicBezTo>
                <a:cubicBezTo>
                  <a:pt x="906" y="128"/>
                  <a:pt x="906" y="128"/>
                  <a:pt x="905" y="128"/>
                </a:cubicBezTo>
                <a:close/>
                <a:moveTo>
                  <a:pt x="383" y="128"/>
                </a:moveTo>
                <a:cubicBezTo>
                  <a:pt x="383" y="128"/>
                  <a:pt x="383" y="128"/>
                  <a:pt x="383" y="128"/>
                </a:cubicBezTo>
                <a:cubicBezTo>
                  <a:pt x="383" y="127"/>
                  <a:pt x="383" y="127"/>
                  <a:pt x="383" y="127"/>
                </a:cubicBezTo>
                <a:cubicBezTo>
                  <a:pt x="383" y="127"/>
                  <a:pt x="383" y="128"/>
                  <a:pt x="383" y="128"/>
                </a:cubicBezTo>
                <a:close/>
                <a:moveTo>
                  <a:pt x="1618" y="131"/>
                </a:moveTo>
                <a:cubicBezTo>
                  <a:pt x="1619" y="130"/>
                  <a:pt x="1620" y="130"/>
                  <a:pt x="1621" y="129"/>
                </a:cubicBezTo>
                <a:cubicBezTo>
                  <a:pt x="1620" y="129"/>
                  <a:pt x="1619" y="128"/>
                  <a:pt x="1619" y="127"/>
                </a:cubicBezTo>
                <a:cubicBezTo>
                  <a:pt x="1618" y="127"/>
                  <a:pt x="1616" y="127"/>
                  <a:pt x="1616" y="128"/>
                </a:cubicBezTo>
                <a:cubicBezTo>
                  <a:pt x="1616" y="128"/>
                  <a:pt x="1616" y="129"/>
                  <a:pt x="1616" y="129"/>
                </a:cubicBezTo>
                <a:cubicBezTo>
                  <a:pt x="1617" y="130"/>
                  <a:pt x="1618" y="130"/>
                  <a:pt x="1618" y="131"/>
                </a:cubicBezTo>
                <a:cubicBezTo>
                  <a:pt x="1619" y="130"/>
                  <a:pt x="1618" y="131"/>
                  <a:pt x="1618" y="131"/>
                </a:cubicBezTo>
                <a:close/>
                <a:moveTo>
                  <a:pt x="409" y="130"/>
                </a:moveTo>
                <a:cubicBezTo>
                  <a:pt x="408" y="129"/>
                  <a:pt x="406" y="128"/>
                  <a:pt x="406" y="128"/>
                </a:cubicBezTo>
                <a:cubicBezTo>
                  <a:pt x="406" y="128"/>
                  <a:pt x="406" y="127"/>
                  <a:pt x="406" y="127"/>
                </a:cubicBezTo>
                <a:cubicBezTo>
                  <a:pt x="406" y="127"/>
                  <a:pt x="405" y="127"/>
                  <a:pt x="405" y="127"/>
                </a:cubicBezTo>
                <a:cubicBezTo>
                  <a:pt x="405" y="127"/>
                  <a:pt x="405" y="126"/>
                  <a:pt x="405" y="126"/>
                </a:cubicBezTo>
                <a:cubicBezTo>
                  <a:pt x="405" y="126"/>
                  <a:pt x="405" y="127"/>
                  <a:pt x="405" y="127"/>
                </a:cubicBezTo>
                <a:cubicBezTo>
                  <a:pt x="405" y="127"/>
                  <a:pt x="405" y="127"/>
                  <a:pt x="405" y="127"/>
                </a:cubicBezTo>
                <a:cubicBezTo>
                  <a:pt x="405" y="128"/>
                  <a:pt x="405" y="129"/>
                  <a:pt x="406" y="130"/>
                </a:cubicBezTo>
                <a:cubicBezTo>
                  <a:pt x="406" y="131"/>
                  <a:pt x="407" y="130"/>
                  <a:pt x="409" y="130"/>
                </a:cubicBezTo>
                <a:close/>
                <a:moveTo>
                  <a:pt x="1105" y="132"/>
                </a:moveTo>
                <a:cubicBezTo>
                  <a:pt x="1105" y="132"/>
                  <a:pt x="1105" y="132"/>
                  <a:pt x="1106" y="132"/>
                </a:cubicBezTo>
                <a:cubicBezTo>
                  <a:pt x="1105" y="131"/>
                  <a:pt x="1105" y="130"/>
                  <a:pt x="1104" y="129"/>
                </a:cubicBezTo>
                <a:cubicBezTo>
                  <a:pt x="1104" y="129"/>
                  <a:pt x="1103" y="129"/>
                  <a:pt x="1103" y="129"/>
                </a:cubicBezTo>
                <a:cubicBezTo>
                  <a:pt x="1102" y="129"/>
                  <a:pt x="1102" y="129"/>
                  <a:pt x="1102" y="128"/>
                </a:cubicBezTo>
                <a:cubicBezTo>
                  <a:pt x="1102" y="128"/>
                  <a:pt x="1101" y="128"/>
                  <a:pt x="1101" y="128"/>
                </a:cubicBezTo>
                <a:cubicBezTo>
                  <a:pt x="1100" y="128"/>
                  <a:pt x="1100" y="127"/>
                  <a:pt x="1099" y="127"/>
                </a:cubicBezTo>
                <a:cubicBezTo>
                  <a:pt x="1099" y="126"/>
                  <a:pt x="1098" y="125"/>
                  <a:pt x="1097" y="125"/>
                </a:cubicBezTo>
                <a:cubicBezTo>
                  <a:pt x="1096" y="125"/>
                  <a:pt x="1096" y="125"/>
                  <a:pt x="1096" y="126"/>
                </a:cubicBezTo>
                <a:cubicBezTo>
                  <a:pt x="1096" y="126"/>
                  <a:pt x="1096" y="126"/>
                  <a:pt x="1096" y="127"/>
                </a:cubicBezTo>
                <a:cubicBezTo>
                  <a:pt x="1096" y="127"/>
                  <a:pt x="1096" y="127"/>
                  <a:pt x="1095" y="127"/>
                </a:cubicBezTo>
                <a:cubicBezTo>
                  <a:pt x="1095" y="128"/>
                  <a:pt x="1096" y="131"/>
                  <a:pt x="1097" y="130"/>
                </a:cubicBezTo>
                <a:cubicBezTo>
                  <a:pt x="1097" y="130"/>
                  <a:pt x="1099" y="130"/>
                  <a:pt x="1100" y="130"/>
                </a:cubicBezTo>
                <a:cubicBezTo>
                  <a:pt x="1100" y="131"/>
                  <a:pt x="1100" y="131"/>
                  <a:pt x="1100" y="131"/>
                </a:cubicBezTo>
                <a:cubicBezTo>
                  <a:pt x="1100" y="131"/>
                  <a:pt x="1101" y="131"/>
                  <a:pt x="1101" y="131"/>
                </a:cubicBezTo>
                <a:cubicBezTo>
                  <a:pt x="1101" y="131"/>
                  <a:pt x="1100" y="132"/>
                  <a:pt x="1101" y="132"/>
                </a:cubicBezTo>
                <a:cubicBezTo>
                  <a:pt x="1102" y="132"/>
                  <a:pt x="1103" y="132"/>
                  <a:pt x="1103" y="132"/>
                </a:cubicBezTo>
                <a:cubicBezTo>
                  <a:pt x="1104" y="132"/>
                  <a:pt x="1105" y="132"/>
                  <a:pt x="1105" y="132"/>
                </a:cubicBezTo>
                <a:close/>
                <a:moveTo>
                  <a:pt x="910" y="125"/>
                </a:moveTo>
                <a:cubicBezTo>
                  <a:pt x="909" y="125"/>
                  <a:pt x="909" y="125"/>
                  <a:pt x="908" y="125"/>
                </a:cubicBezTo>
                <a:cubicBezTo>
                  <a:pt x="908" y="125"/>
                  <a:pt x="907" y="126"/>
                  <a:pt x="907" y="126"/>
                </a:cubicBezTo>
                <a:cubicBezTo>
                  <a:pt x="907" y="127"/>
                  <a:pt x="908" y="128"/>
                  <a:pt x="909" y="128"/>
                </a:cubicBezTo>
                <a:cubicBezTo>
                  <a:pt x="909" y="127"/>
                  <a:pt x="910" y="126"/>
                  <a:pt x="910" y="125"/>
                </a:cubicBezTo>
                <a:cubicBezTo>
                  <a:pt x="909" y="125"/>
                  <a:pt x="910" y="125"/>
                  <a:pt x="910" y="125"/>
                </a:cubicBezTo>
                <a:close/>
                <a:moveTo>
                  <a:pt x="408" y="125"/>
                </a:moveTo>
                <a:cubicBezTo>
                  <a:pt x="408" y="124"/>
                  <a:pt x="407" y="124"/>
                  <a:pt x="406" y="124"/>
                </a:cubicBezTo>
                <a:cubicBezTo>
                  <a:pt x="407" y="125"/>
                  <a:pt x="407" y="125"/>
                  <a:pt x="408" y="125"/>
                </a:cubicBezTo>
                <a:close/>
                <a:moveTo>
                  <a:pt x="1087" y="124"/>
                </a:moveTo>
                <a:cubicBezTo>
                  <a:pt x="1088" y="124"/>
                  <a:pt x="1088" y="124"/>
                  <a:pt x="1088" y="124"/>
                </a:cubicBezTo>
                <a:cubicBezTo>
                  <a:pt x="1089" y="123"/>
                  <a:pt x="1088" y="123"/>
                  <a:pt x="1087" y="123"/>
                </a:cubicBezTo>
                <a:cubicBezTo>
                  <a:pt x="1087" y="123"/>
                  <a:pt x="1087" y="124"/>
                  <a:pt x="1087" y="124"/>
                </a:cubicBezTo>
                <a:cubicBezTo>
                  <a:pt x="1088" y="124"/>
                  <a:pt x="1087" y="124"/>
                  <a:pt x="1087" y="124"/>
                </a:cubicBezTo>
                <a:close/>
                <a:moveTo>
                  <a:pt x="915" y="125"/>
                </a:moveTo>
                <a:cubicBezTo>
                  <a:pt x="916" y="124"/>
                  <a:pt x="916" y="124"/>
                  <a:pt x="916" y="123"/>
                </a:cubicBezTo>
                <a:cubicBezTo>
                  <a:pt x="914" y="123"/>
                  <a:pt x="914" y="125"/>
                  <a:pt x="915" y="125"/>
                </a:cubicBezTo>
                <a:cubicBezTo>
                  <a:pt x="916" y="124"/>
                  <a:pt x="915" y="125"/>
                  <a:pt x="915" y="125"/>
                </a:cubicBezTo>
                <a:close/>
                <a:moveTo>
                  <a:pt x="946" y="123"/>
                </a:moveTo>
                <a:cubicBezTo>
                  <a:pt x="946" y="123"/>
                  <a:pt x="946" y="123"/>
                  <a:pt x="945" y="123"/>
                </a:cubicBezTo>
                <a:cubicBezTo>
                  <a:pt x="945" y="123"/>
                  <a:pt x="945" y="123"/>
                  <a:pt x="946" y="123"/>
                </a:cubicBezTo>
                <a:cubicBezTo>
                  <a:pt x="945" y="123"/>
                  <a:pt x="946" y="123"/>
                  <a:pt x="946" y="123"/>
                </a:cubicBezTo>
                <a:close/>
                <a:moveTo>
                  <a:pt x="923" y="123"/>
                </a:moveTo>
                <a:cubicBezTo>
                  <a:pt x="924" y="123"/>
                  <a:pt x="926" y="123"/>
                  <a:pt x="925" y="123"/>
                </a:cubicBezTo>
                <a:cubicBezTo>
                  <a:pt x="924" y="122"/>
                  <a:pt x="923" y="122"/>
                  <a:pt x="923" y="123"/>
                </a:cubicBezTo>
                <a:close/>
                <a:moveTo>
                  <a:pt x="911" y="123"/>
                </a:moveTo>
                <a:cubicBezTo>
                  <a:pt x="911" y="123"/>
                  <a:pt x="911" y="124"/>
                  <a:pt x="912" y="125"/>
                </a:cubicBezTo>
                <a:cubicBezTo>
                  <a:pt x="912" y="125"/>
                  <a:pt x="912" y="125"/>
                  <a:pt x="913" y="125"/>
                </a:cubicBezTo>
                <a:cubicBezTo>
                  <a:pt x="913" y="124"/>
                  <a:pt x="912" y="123"/>
                  <a:pt x="911" y="123"/>
                </a:cubicBezTo>
                <a:cubicBezTo>
                  <a:pt x="911" y="124"/>
                  <a:pt x="911" y="123"/>
                  <a:pt x="911" y="123"/>
                </a:cubicBezTo>
                <a:close/>
                <a:moveTo>
                  <a:pt x="1529" y="123"/>
                </a:moveTo>
                <a:cubicBezTo>
                  <a:pt x="1529" y="123"/>
                  <a:pt x="1530" y="123"/>
                  <a:pt x="1530" y="122"/>
                </a:cubicBezTo>
                <a:cubicBezTo>
                  <a:pt x="1529" y="122"/>
                  <a:pt x="1529" y="122"/>
                  <a:pt x="1529" y="123"/>
                </a:cubicBezTo>
                <a:cubicBezTo>
                  <a:pt x="1530" y="123"/>
                  <a:pt x="1529" y="123"/>
                  <a:pt x="1529" y="123"/>
                </a:cubicBezTo>
                <a:close/>
                <a:moveTo>
                  <a:pt x="928" y="124"/>
                </a:moveTo>
                <a:cubicBezTo>
                  <a:pt x="928" y="124"/>
                  <a:pt x="928" y="124"/>
                  <a:pt x="928" y="124"/>
                </a:cubicBezTo>
                <a:cubicBezTo>
                  <a:pt x="929" y="123"/>
                  <a:pt x="929" y="122"/>
                  <a:pt x="930" y="121"/>
                </a:cubicBezTo>
                <a:cubicBezTo>
                  <a:pt x="928" y="121"/>
                  <a:pt x="928" y="121"/>
                  <a:pt x="927" y="121"/>
                </a:cubicBezTo>
                <a:cubicBezTo>
                  <a:pt x="926" y="122"/>
                  <a:pt x="927" y="121"/>
                  <a:pt x="926" y="122"/>
                </a:cubicBezTo>
                <a:cubicBezTo>
                  <a:pt x="926" y="123"/>
                  <a:pt x="927" y="123"/>
                  <a:pt x="928" y="124"/>
                </a:cubicBezTo>
                <a:cubicBezTo>
                  <a:pt x="928" y="124"/>
                  <a:pt x="928" y="124"/>
                  <a:pt x="928" y="124"/>
                </a:cubicBezTo>
                <a:close/>
                <a:moveTo>
                  <a:pt x="339" y="123"/>
                </a:moveTo>
                <a:cubicBezTo>
                  <a:pt x="339" y="122"/>
                  <a:pt x="340" y="121"/>
                  <a:pt x="340" y="120"/>
                </a:cubicBezTo>
                <a:cubicBezTo>
                  <a:pt x="339" y="120"/>
                  <a:pt x="339" y="120"/>
                  <a:pt x="339" y="121"/>
                </a:cubicBezTo>
                <a:cubicBezTo>
                  <a:pt x="339" y="121"/>
                  <a:pt x="338" y="121"/>
                  <a:pt x="338" y="122"/>
                </a:cubicBezTo>
                <a:cubicBezTo>
                  <a:pt x="338" y="122"/>
                  <a:pt x="338" y="123"/>
                  <a:pt x="338" y="123"/>
                </a:cubicBezTo>
                <a:cubicBezTo>
                  <a:pt x="338" y="123"/>
                  <a:pt x="339" y="123"/>
                  <a:pt x="339" y="123"/>
                </a:cubicBezTo>
                <a:cubicBezTo>
                  <a:pt x="339" y="121"/>
                  <a:pt x="339" y="123"/>
                  <a:pt x="339" y="123"/>
                </a:cubicBezTo>
                <a:close/>
                <a:moveTo>
                  <a:pt x="1533" y="120"/>
                </a:moveTo>
                <a:cubicBezTo>
                  <a:pt x="1533" y="120"/>
                  <a:pt x="1533" y="120"/>
                  <a:pt x="1533" y="119"/>
                </a:cubicBezTo>
                <a:cubicBezTo>
                  <a:pt x="1532" y="120"/>
                  <a:pt x="1531" y="121"/>
                  <a:pt x="1530" y="122"/>
                </a:cubicBezTo>
                <a:cubicBezTo>
                  <a:pt x="1531" y="122"/>
                  <a:pt x="1533" y="122"/>
                  <a:pt x="1533" y="121"/>
                </a:cubicBezTo>
                <a:cubicBezTo>
                  <a:pt x="1533" y="121"/>
                  <a:pt x="1533" y="120"/>
                  <a:pt x="1533" y="120"/>
                </a:cubicBezTo>
                <a:close/>
                <a:moveTo>
                  <a:pt x="692" y="122"/>
                </a:moveTo>
                <a:cubicBezTo>
                  <a:pt x="692" y="121"/>
                  <a:pt x="694" y="122"/>
                  <a:pt x="694" y="122"/>
                </a:cubicBezTo>
                <a:cubicBezTo>
                  <a:pt x="695" y="122"/>
                  <a:pt x="695" y="122"/>
                  <a:pt x="696" y="122"/>
                </a:cubicBezTo>
                <a:cubicBezTo>
                  <a:pt x="696" y="122"/>
                  <a:pt x="697" y="122"/>
                  <a:pt x="698" y="122"/>
                </a:cubicBezTo>
                <a:cubicBezTo>
                  <a:pt x="699" y="121"/>
                  <a:pt x="698" y="120"/>
                  <a:pt x="698" y="120"/>
                </a:cubicBezTo>
                <a:cubicBezTo>
                  <a:pt x="698" y="119"/>
                  <a:pt x="698" y="119"/>
                  <a:pt x="697" y="119"/>
                </a:cubicBezTo>
                <a:cubicBezTo>
                  <a:pt x="696" y="119"/>
                  <a:pt x="694" y="120"/>
                  <a:pt x="694" y="119"/>
                </a:cubicBezTo>
                <a:cubicBezTo>
                  <a:pt x="693" y="119"/>
                  <a:pt x="693" y="119"/>
                  <a:pt x="692" y="119"/>
                </a:cubicBezTo>
                <a:cubicBezTo>
                  <a:pt x="692" y="119"/>
                  <a:pt x="691" y="119"/>
                  <a:pt x="690" y="119"/>
                </a:cubicBezTo>
                <a:cubicBezTo>
                  <a:pt x="689" y="119"/>
                  <a:pt x="687" y="120"/>
                  <a:pt x="687" y="120"/>
                </a:cubicBezTo>
                <a:cubicBezTo>
                  <a:pt x="687" y="120"/>
                  <a:pt x="686" y="120"/>
                  <a:pt x="685" y="120"/>
                </a:cubicBezTo>
                <a:cubicBezTo>
                  <a:pt x="685" y="121"/>
                  <a:pt x="685" y="122"/>
                  <a:pt x="685" y="123"/>
                </a:cubicBezTo>
                <a:cubicBezTo>
                  <a:pt x="687" y="122"/>
                  <a:pt x="689" y="122"/>
                  <a:pt x="691" y="122"/>
                </a:cubicBezTo>
                <a:cubicBezTo>
                  <a:pt x="691" y="122"/>
                  <a:pt x="692" y="122"/>
                  <a:pt x="692" y="122"/>
                </a:cubicBezTo>
                <a:close/>
                <a:moveTo>
                  <a:pt x="1669" y="124"/>
                </a:moveTo>
                <a:cubicBezTo>
                  <a:pt x="1670" y="124"/>
                  <a:pt x="1670" y="124"/>
                  <a:pt x="1670" y="124"/>
                </a:cubicBezTo>
                <a:cubicBezTo>
                  <a:pt x="1671" y="124"/>
                  <a:pt x="1672" y="125"/>
                  <a:pt x="1673" y="125"/>
                </a:cubicBezTo>
                <a:cubicBezTo>
                  <a:pt x="1674" y="124"/>
                  <a:pt x="1674" y="124"/>
                  <a:pt x="1674" y="124"/>
                </a:cubicBezTo>
                <a:cubicBezTo>
                  <a:pt x="1675" y="124"/>
                  <a:pt x="1675" y="123"/>
                  <a:pt x="1675" y="123"/>
                </a:cubicBezTo>
                <a:cubicBezTo>
                  <a:pt x="1675" y="123"/>
                  <a:pt x="1676" y="123"/>
                  <a:pt x="1676" y="124"/>
                </a:cubicBezTo>
                <a:cubicBezTo>
                  <a:pt x="1676" y="124"/>
                  <a:pt x="1677" y="124"/>
                  <a:pt x="1678" y="124"/>
                </a:cubicBezTo>
                <a:cubicBezTo>
                  <a:pt x="1680" y="124"/>
                  <a:pt x="1681" y="124"/>
                  <a:pt x="1683" y="125"/>
                </a:cubicBezTo>
                <a:cubicBezTo>
                  <a:pt x="1684" y="124"/>
                  <a:pt x="1684" y="123"/>
                  <a:pt x="1684" y="122"/>
                </a:cubicBezTo>
                <a:cubicBezTo>
                  <a:pt x="1683" y="122"/>
                  <a:pt x="1682" y="121"/>
                  <a:pt x="1682" y="121"/>
                </a:cubicBezTo>
                <a:cubicBezTo>
                  <a:pt x="1681" y="121"/>
                  <a:pt x="1681" y="121"/>
                  <a:pt x="1680" y="121"/>
                </a:cubicBezTo>
                <a:cubicBezTo>
                  <a:pt x="1680" y="120"/>
                  <a:pt x="1680" y="120"/>
                  <a:pt x="1679" y="120"/>
                </a:cubicBezTo>
                <a:cubicBezTo>
                  <a:pt x="1679" y="120"/>
                  <a:pt x="1679" y="120"/>
                  <a:pt x="1679" y="120"/>
                </a:cubicBezTo>
                <a:cubicBezTo>
                  <a:pt x="1678" y="120"/>
                  <a:pt x="1678" y="120"/>
                  <a:pt x="1677" y="120"/>
                </a:cubicBezTo>
                <a:cubicBezTo>
                  <a:pt x="1677" y="120"/>
                  <a:pt x="1676" y="119"/>
                  <a:pt x="1676" y="119"/>
                </a:cubicBezTo>
                <a:cubicBezTo>
                  <a:pt x="1676" y="119"/>
                  <a:pt x="1675" y="119"/>
                  <a:pt x="1675" y="119"/>
                </a:cubicBezTo>
                <a:cubicBezTo>
                  <a:pt x="1674" y="117"/>
                  <a:pt x="1673" y="120"/>
                  <a:pt x="1672" y="120"/>
                </a:cubicBezTo>
                <a:cubicBezTo>
                  <a:pt x="1672" y="120"/>
                  <a:pt x="1671" y="120"/>
                  <a:pt x="1671" y="120"/>
                </a:cubicBezTo>
                <a:cubicBezTo>
                  <a:pt x="1671" y="120"/>
                  <a:pt x="1671" y="120"/>
                  <a:pt x="1671" y="120"/>
                </a:cubicBezTo>
                <a:cubicBezTo>
                  <a:pt x="1670" y="120"/>
                  <a:pt x="1670" y="120"/>
                  <a:pt x="1670" y="121"/>
                </a:cubicBezTo>
                <a:cubicBezTo>
                  <a:pt x="1669" y="122"/>
                  <a:pt x="1668" y="122"/>
                  <a:pt x="1668" y="123"/>
                </a:cubicBezTo>
                <a:cubicBezTo>
                  <a:pt x="1667" y="123"/>
                  <a:pt x="1667" y="124"/>
                  <a:pt x="1667" y="124"/>
                </a:cubicBezTo>
                <a:cubicBezTo>
                  <a:pt x="1668" y="124"/>
                  <a:pt x="1669" y="124"/>
                  <a:pt x="1669" y="124"/>
                </a:cubicBezTo>
                <a:close/>
                <a:moveTo>
                  <a:pt x="1540" y="122"/>
                </a:moveTo>
                <a:cubicBezTo>
                  <a:pt x="1540" y="122"/>
                  <a:pt x="1540" y="122"/>
                  <a:pt x="1541" y="122"/>
                </a:cubicBezTo>
                <a:cubicBezTo>
                  <a:pt x="1539" y="122"/>
                  <a:pt x="1539" y="121"/>
                  <a:pt x="1539" y="120"/>
                </a:cubicBezTo>
                <a:cubicBezTo>
                  <a:pt x="1539" y="119"/>
                  <a:pt x="1537" y="118"/>
                  <a:pt x="1536" y="118"/>
                </a:cubicBezTo>
                <a:cubicBezTo>
                  <a:pt x="1535" y="118"/>
                  <a:pt x="1535" y="118"/>
                  <a:pt x="1535" y="119"/>
                </a:cubicBezTo>
                <a:cubicBezTo>
                  <a:pt x="1535" y="121"/>
                  <a:pt x="1534" y="120"/>
                  <a:pt x="1534" y="121"/>
                </a:cubicBezTo>
                <a:cubicBezTo>
                  <a:pt x="1534" y="122"/>
                  <a:pt x="1533" y="123"/>
                  <a:pt x="1534" y="123"/>
                </a:cubicBezTo>
                <a:cubicBezTo>
                  <a:pt x="1536" y="123"/>
                  <a:pt x="1539" y="124"/>
                  <a:pt x="1540" y="122"/>
                </a:cubicBezTo>
                <a:close/>
                <a:moveTo>
                  <a:pt x="931" y="118"/>
                </a:moveTo>
                <a:cubicBezTo>
                  <a:pt x="931" y="118"/>
                  <a:pt x="932" y="119"/>
                  <a:pt x="932" y="119"/>
                </a:cubicBezTo>
                <a:cubicBezTo>
                  <a:pt x="932" y="119"/>
                  <a:pt x="933" y="119"/>
                  <a:pt x="933" y="119"/>
                </a:cubicBezTo>
                <a:cubicBezTo>
                  <a:pt x="932" y="118"/>
                  <a:pt x="932" y="119"/>
                  <a:pt x="932" y="118"/>
                </a:cubicBezTo>
                <a:cubicBezTo>
                  <a:pt x="932" y="118"/>
                  <a:pt x="932" y="118"/>
                  <a:pt x="931" y="118"/>
                </a:cubicBezTo>
                <a:cubicBezTo>
                  <a:pt x="932" y="118"/>
                  <a:pt x="931" y="118"/>
                  <a:pt x="931" y="118"/>
                </a:cubicBezTo>
                <a:close/>
                <a:moveTo>
                  <a:pt x="925" y="120"/>
                </a:moveTo>
                <a:cubicBezTo>
                  <a:pt x="926" y="120"/>
                  <a:pt x="926" y="119"/>
                  <a:pt x="926" y="118"/>
                </a:cubicBezTo>
                <a:cubicBezTo>
                  <a:pt x="925" y="118"/>
                  <a:pt x="925" y="118"/>
                  <a:pt x="924" y="119"/>
                </a:cubicBezTo>
                <a:cubicBezTo>
                  <a:pt x="924" y="120"/>
                  <a:pt x="922" y="119"/>
                  <a:pt x="922" y="119"/>
                </a:cubicBezTo>
                <a:cubicBezTo>
                  <a:pt x="921" y="119"/>
                  <a:pt x="921" y="119"/>
                  <a:pt x="921" y="120"/>
                </a:cubicBezTo>
                <a:cubicBezTo>
                  <a:pt x="921" y="121"/>
                  <a:pt x="921" y="120"/>
                  <a:pt x="920" y="120"/>
                </a:cubicBezTo>
                <a:cubicBezTo>
                  <a:pt x="920" y="121"/>
                  <a:pt x="921" y="121"/>
                  <a:pt x="921" y="122"/>
                </a:cubicBezTo>
                <a:cubicBezTo>
                  <a:pt x="921" y="122"/>
                  <a:pt x="922" y="121"/>
                  <a:pt x="923" y="121"/>
                </a:cubicBezTo>
                <a:cubicBezTo>
                  <a:pt x="923" y="121"/>
                  <a:pt x="924" y="121"/>
                  <a:pt x="923" y="121"/>
                </a:cubicBezTo>
                <a:cubicBezTo>
                  <a:pt x="924" y="121"/>
                  <a:pt x="925" y="121"/>
                  <a:pt x="925" y="120"/>
                </a:cubicBezTo>
                <a:cubicBezTo>
                  <a:pt x="926" y="120"/>
                  <a:pt x="925" y="120"/>
                  <a:pt x="925" y="120"/>
                </a:cubicBezTo>
                <a:close/>
                <a:moveTo>
                  <a:pt x="1530" y="119"/>
                </a:moveTo>
                <a:cubicBezTo>
                  <a:pt x="1532" y="120"/>
                  <a:pt x="1531" y="118"/>
                  <a:pt x="1532" y="118"/>
                </a:cubicBezTo>
                <a:cubicBezTo>
                  <a:pt x="1532" y="117"/>
                  <a:pt x="1532" y="117"/>
                  <a:pt x="1531" y="116"/>
                </a:cubicBezTo>
                <a:cubicBezTo>
                  <a:pt x="1531" y="117"/>
                  <a:pt x="1531" y="118"/>
                  <a:pt x="1530" y="118"/>
                </a:cubicBezTo>
                <a:cubicBezTo>
                  <a:pt x="1529" y="119"/>
                  <a:pt x="1529" y="119"/>
                  <a:pt x="1528" y="120"/>
                </a:cubicBezTo>
                <a:cubicBezTo>
                  <a:pt x="1527" y="120"/>
                  <a:pt x="1527" y="121"/>
                  <a:pt x="1526" y="121"/>
                </a:cubicBezTo>
                <a:cubicBezTo>
                  <a:pt x="1526" y="121"/>
                  <a:pt x="1525" y="123"/>
                  <a:pt x="1525" y="123"/>
                </a:cubicBezTo>
                <a:cubicBezTo>
                  <a:pt x="1526" y="123"/>
                  <a:pt x="1527" y="123"/>
                  <a:pt x="1528" y="122"/>
                </a:cubicBezTo>
                <a:cubicBezTo>
                  <a:pt x="1528" y="122"/>
                  <a:pt x="1529" y="121"/>
                  <a:pt x="1529" y="121"/>
                </a:cubicBezTo>
                <a:cubicBezTo>
                  <a:pt x="1529" y="120"/>
                  <a:pt x="1530" y="120"/>
                  <a:pt x="1530" y="119"/>
                </a:cubicBezTo>
                <a:close/>
                <a:moveTo>
                  <a:pt x="1530" y="116"/>
                </a:moveTo>
                <a:cubicBezTo>
                  <a:pt x="1530" y="117"/>
                  <a:pt x="1530" y="117"/>
                  <a:pt x="1530" y="118"/>
                </a:cubicBezTo>
                <a:cubicBezTo>
                  <a:pt x="1530" y="118"/>
                  <a:pt x="1530" y="117"/>
                  <a:pt x="1530" y="116"/>
                </a:cubicBezTo>
                <a:cubicBezTo>
                  <a:pt x="1530" y="116"/>
                  <a:pt x="1530" y="116"/>
                  <a:pt x="1530" y="116"/>
                </a:cubicBezTo>
                <a:cubicBezTo>
                  <a:pt x="1530" y="117"/>
                  <a:pt x="1530" y="116"/>
                  <a:pt x="1530" y="116"/>
                </a:cubicBezTo>
                <a:close/>
                <a:moveTo>
                  <a:pt x="940" y="119"/>
                </a:moveTo>
                <a:cubicBezTo>
                  <a:pt x="940" y="119"/>
                  <a:pt x="940" y="119"/>
                  <a:pt x="940" y="119"/>
                </a:cubicBezTo>
                <a:cubicBezTo>
                  <a:pt x="941" y="119"/>
                  <a:pt x="941" y="119"/>
                  <a:pt x="942" y="119"/>
                </a:cubicBezTo>
                <a:cubicBezTo>
                  <a:pt x="942" y="118"/>
                  <a:pt x="942" y="118"/>
                  <a:pt x="941" y="118"/>
                </a:cubicBezTo>
                <a:cubicBezTo>
                  <a:pt x="942" y="117"/>
                  <a:pt x="941" y="117"/>
                  <a:pt x="940" y="116"/>
                </a:cubicBezTo>
                <a:cubicBezTo>
                  <a:pt x="940" y="117"/>
                  <a:pt x="940" y="117"/>
                  <a:pt x="939" y="117"/>
                </a:cubicBezTo>
                <a:cubicBezTo>
                  <a:pt x="939" y="117"/>
                  <a:pt x="939" y="118"/>
                  <a:pt x="939" y="118"/>
                </a:cubicBezTo>
                <a:cubicBezTo>
                  <a:pt x="939" y="119"/>
                  <a:pt x="940" y="119"/>
                  <a:pt x="939" y="119"/>
                </a:cubicBezTo>
                <a:cubicBezTo>
                  <a:pt x="940" y="119"/>
                  <a:pt x="940" y="119"/>
                  <a:pt x="940" y="119"/>
                </a:cubicBezTo>
                <a:close/>
                <a:moveTo>
                  <a:pt x="570" y="116"/>
                </a:moveTo>
                <a:cubicBezTo>
                  <a:pt x="570" y="116"/>
                  <a:pt x="571" y="116"/>
                  <a:pt x="570" y="116"/>
                </a:cubicBezTo>
                <a:cubicBezTo>
                  <a:pt x="569" y="116"/>
                  <a:pt x="569" y="116"/>
                  <a:pt x="568" y="117"/>
                </a:cubicBezTo>
                <a:cubicBezTo>
                  <a:pt x="569" y="117"/>
                  <a:pt x="570" y="117"/>
                  <a:pt x="570" y="116"/>
                </a:cubicBezTo>
                <a:close/>
                <a:moveTo>
                  <a:pt x="564" y="115"/>
                </a:moveTo>
                <a:cubicBezTo>
                  <a:pt x="564" y="116"/>
                  <a:pt x="564" y="116"/>
                  <a:pt x="563" y="116"/>
                </a:cubicBezTo>
                <a:cubicBezTo>
                  <a:pt x="563" y="116"/>
                  <a:pt x="563" y="117"/>
                  <a:pt x="564" y="117"/>
                </a:cubicBezTo>
                <a:cubicBezTo>
                  <a:pt x="564" y="117"/>
                  <a:pt x="565" y="117"/>
                  <a:pt x="565" y="117"/>
                </a:cubicBezTo>
                <a:cubicBezTo>
                  <a:pt x="565" y="116"/>
                  <a:pt x="565" y="115"/>
                  <a:pt x="564" y="115"/>
                </a:cubicBezTo>
                <a:close/>
                <a:moveTo>
                  <a:pt x="473" y="115"/>
                </a:moveTo>
                <a:cubicBezTo>
                  <a:pt x="473" y="114"/>
                  <a:pt x="472" y="114"/>
                  <a:pt x="473" y="114"/>
                </a:cubicBezTo>
                <a:cubicBezTo>
                  <a:pt x="473" y="114"/>
                  <a:pt x="473" y="114"/>
                  <a:pt x="472" y="113"/>
                </a:cubicBezTo>
                <a:cubicBezTo>
                  <a:pt x="472" y="114"/>
                  <a:pt x="472" y="114"/>
                  <a:pt x="473" y="115"/>
                </a:cubicBezTo>
                <a:close/>
                <a:moveTo>
                  <a:pt x="1426" y="113"/>
                </a:moveTo>
                <a:cubicBezTo>
                  <a:pt x="1426" y="113"/>
                  <a:pt x="1426" y="113"/>
                  <a:pt x="1426" y="113"/>
                </a:cubicBezTo>
                <a:cubicBezTo>
                  <a:pt x="1426" y="112"/>
                  <a:pt x="1426" y="113"/>
                  <a:pt x="1425" y="113"/>
                </a:cubicBezTo>
                <a:cubicBezTo>
                  <a:pt x="1426" y="113"/>
                  <a:pt x="1426" y="113"/>
                  <a:pt x="1426" y="113"/>
                </a:cubicBezTo>
                <a:cubicBezTo>
                  <a:pt x="1426" y="113"/>
                  <a:pt x="1426" y="113"/>
                  <a:pt x="1426" y="113"/>
                </a:cubicBezTo>
                <a:close/>
                <a:moveTo>
                  <a:pt x="1423" y="113"/>
                </a:moveTo>
                <a:cubicBezTo>
                  <a:pt x="1425" y="113"/>
                  <a:pt x="1425" y="113"/>
                  <a:pt x="1425" y="112"/>
                </a:cubicBezTo>
                <a:cubicBezTo>
                  <a:pt x="1425" y="112"/>
                  <a:pt x="1424" y="112"/>
                  <a:pt x="1423" y="112"/>
                </a:cubicBezTo>
                <a:cubicBezTo>
                  <a:pt x="1423" y="112"/>
                  <a:pt x="1423" y="112"/>
                  <a:pt x="1423" y="113"/>
                </a:cubicBezTo>
                <a:cubicBezTo>
                  <a:pt x="1425" y="113"/>
                  <a:pt x="1423" y="113"/>
                  <a:pt x="1423" y="113"/>
                </a:cubicBezTo>
                <a:close/>
                <a:moveTo>
                  <a:pt x="1418" y="110"/>
                </a:moveTo>
                <a:cubicBezTo>
                  <a:pt x="1417" y="110"/>
                  <a:pt x="1417" y="110"/>
                  <a:pt x="1416" y="110"/>
                </a:cubicBezTo>
                <a:cubicBezTo>
                  <a:pt x="1417" y="112"/>
                  <a:pt x="1417" y="112"/>
                  <a:pt x="1418" y="112"/>
                </a:cubicBezTo>
                <a:cubicBezTo>
                  <a:pt x="1418" y="111"/>
                  <a:pt x="1418" y="110"/>
                  <a:pt x="1418" y="110"/>
                </a:cubicBezTo>
                <a:cubicBezTo>
                  <a:pt x="1417" y="110"/>
                  <a:pt x="1418" y="110"/>
                  <a:pt x="1418" y="110"/>
                </a:cubicBezTo>
                <a:close/>
                <a:moveTo>
                  <a:pt x="1423" y="110"/>
                </a:moveTo>
                <a:cubicBezTo>
                  <a:pt x="1423" y="111"/>
                  <a:pt x="1423" y="111"/>
                  <a:pt x="1424" y="111"/>
                </a:cubicBezTo>
                <a:cubicBezTo>
                  <a:pt x="1425" y="111"/>
                  <a:pt x="1425" y="111"/>
                  <a:pt x="1425" y="110"/>
                </a:cubicBezTo>
                <a:cubicBezTo>
                  <a:pt x="1425" y="110"/>
                  <a:pt x="1425" y="110"/>
                  <a:pt x="1425" y="109"/>
                </a:cubicBezTo>
                <a:cubicBezTo>
                  <a:pt x="1424" y="109"/>
                  <a:pt x="1423" y="109"/>
                  <a:pt x="1422" y="108"/>
                </a:cubicBezTo>
                <a:cubicBezTo>
                  <a:pt x="1422" y="109"/>
                  <a:pt x="1421" y="110"/>
                  <a:pt x="1421" y="110"/>
                </a:cubicBezTo>
                <a:cubicBezTo>
                  <a:pt x="1422" y="110"/>
                  <a:pt x="1422" y="110"/>
                  <a:pt x="1423" y="110"/>
                </a:cubicBezTo>
                <a:close/>
                <a:moveTo>
                  <a:pt x="1411" y="110"/>
                </a:moveTo>
                <a:cubicBezTo>
                  <a:pt x="1413" y="111"/>
                  <a:pt x="1414" y="111"/>
                  <a:pt x="1415" y="111"/>
                </a:cubicBezTo>
                <a:cubicBezTo>
                  <a:pt x="1415" y="110"/>
                  <a:pt x="1415" y="109"/>
                  <a:pt x="1414" y="109"/>
                </a:cubicBezTo>
                <a:cubicBezTo>
                  <a:pt x="1414" y="109"/>
                  <a:pt x="1414" y="109"/>
                  <a:pt x="1414" y="108"/>
                </a:cubicBezTo>
                <a:cubicBezTo>
                  <a:pt x="1414" y="108"/>
                  <a:pt x="1414" y="108"/>
                  <a:pt x="1414" y="109"/>
                </a:cubicBezTo>
                <a:cubicBezTo>
                  <a:pt x="1413" y="109"/>
                  <a:pt x="1411" y="109"/>
                  <a:pt x="1411" y="109"/>
                </a:cubicBezTo>
                <a:cubicBezTo>
                  <a:pt x="1411" y="110"/>
                  <a:pt x="1411" y="110"/>
                  <a:pt x="1411" y="110"/>
                </a:cubicBezTo>
                <a:cubicBezTo>
                  <a:pt x="1413" y="111"/>
                  <a:pt x="1411" y="110"/>
                  <a:pt x="1411" y="110"/>
                </a:cubicBezTo>
                <a:close/>
                <a:moveTo>
                  <a:pt x="1428" y="111"/>
                </a:moveTo>
                <a:cubicBezTo>
                  <a:pt x="1428" y="111"/>
                  <a:pt x="1429" y="111"/>
                  <a:pt x="1429" y="110"/>
                </a:cubicBezTo>
                <a:cubicBezTo>
                  <a:pt x="1429" y="109"/>
                  <a:pt x="1428" y="108"/>
                  <a:pt x="1427" y="108"/>
                </a:cubicBezTo>
                <a:cubicBezTo>
                  <a:pt x="1427" y="108"/>
                  <a:pt x="1427" y="109"/>
                  <a:pt x="1427" y="109"/>
                </a:cubicBezTo>
                <a:cubicBezTo>
                  <a:pt x="1427" y="109"/>
                  <a:pt x="1427" y="109"/>
                  <a:pt x="1427" y="109"/>
                </a:cubicBezTo>
                <a:cubicBezTo>
                  <a:pt x="1427" y="110"/>
                  <a:pt x="1427" y="110"/>
                  <a:pt x="1428" y="111"/>
                </a:cubicBezTo>
                <a:close/>
                <a:moveTo>
                  <a:pt x="1423" y="107"/>
                </a:moveTo>
                <a:cubicBezTo>
                  <a:pt x="1424" y="108"/>
                  <a:pt x="1424" y="108"/>
                  <a:pt x="1425" y="108"/>
                </a:cubicBezTo>
                <a:cubicBezTo>
                  <a:pt x="1425" y="107"/>
                  <a:pt x="1424" y="107"/>
                  <a:pt x="1423" y="107"/>
                </a:cubicBezTo>
                <a:cubicBezTo>
                  <a:pt x="1424" y="108"/>
                  <a:pt x="1423" y="107"/>
                  <a:pt x="1423" y="107"/>
                </a:cubicBezTo>
                <a:close/>
                <a:moveTo>
                  <a:pt x="1416" y="109"/>
                </a:moveTo>
                <a:cubicBezTo>
                  <a:pt x="1416" y="110"/>
                  <a:pt x="1417" y="109"/>
                  <a:pt x="1417" y="109"/>
                </a:cubicBezTo>
                <a:cubicBezTo>
                  <a:pt x="1417" y="108"/>
                  <a:pt x="1416" y="108"/>
                  <a:pt x="1416" y="107"/>
                </a:cubicBezTo>
                <a:cubicBezTo>
                  <a:pt x="1416" y="108"/>
                  <a:pt x="1415" y="108"/>
                  <a:pt x="1416" y="109"/>
                </a:cubicBezTo>
                <a:close/>
                <a:moveTo>
                  <a:pt x="1399" y="106"/>
                </a:moveTo>
                <a:cubicBezTo>
                  <a:pt x="1400" y="106"/>
                  <a:pt x="1401" y="107"/>
                  <a:pt x="1402" y="107"/>
                </a:cubicBezTo>
                <a:cubicBezTo>
                  <a:pt x="1402" y="105"/>
                  <a:pt x="1399" y="106"/>
                  <a:pt x="1399" y="106"/>
                </a:cubicBezTo>
                <a:cubicBezTo>
                  <a:pt x="1400" y="106"/>
                  <a:pt x="1399" y="106"/>
                  <a:pt x="1399" y="106"/>
                </a:cubicBezTo>
                <a:close/>
                <a:moveTo>
                  <a:pt x="1419" y="107"/>
                </a:moveTo>
                <a:cubicBezTo>
                  <a:pt x="1420" y="107"/>
                  <a:pt x="1421" y="106"/>
                  <a:pt x="1421" y="106"/>
                </a:cubicBezTo>
                <a:cubicBezTo>
                  <a:pt x="1420" y="106"/>
                  <a:pt x="1418" y="107"/>
                  <a:pt x="1418" y="108"/>
                </a:cubicBezTo>
                <a:cubicBezTo>
                  <a:pt x="1419" y="108"/>
                  <a:pt x="1419" y="108"/>
                  <a:pt x="1419" y="107"/>
                </a:cubicBezTo>
                <a:cubicBezTo>
                  <a:pt x="1420" y="107"/>
                  <a:pt x="1419" y="107"/>
                  <a:pt x="1419" y="107"/>
                </a:cubicBezTo>
                <a:close/>
                <a:moveTo>
                  <a:pt x="1186" y="109"/>
                </a:moveTo>
                <a:cubicBezTo>
                  <a:pt x="1186" y="110"/>
                  <a:pt x="1187" y="109"/>
                  <a:pt x="1188" y="108"/>
                </a:cubicBezTo>
                <a:cubicBezTo>
                  <a:pt x="1188" y="108"/>
                  <a:pt x="1188" y="108"/>
                  <a:pt x="1188" y="108"/>
                </a:cubicBezTo>
                <a:cubicBezTo>
                  <a:pt x="1188" y="108"/>
                  <a:pt x="1189" y="108"/>
                  <a:pt x="1189" y="108"/>
                </a:cubicBezTo>
                <a:cubicBezTo>
                  <a:pt x="1189" y="107"/>
                  <a:pt x="1190" y="109"/>
                  <a:pt x="1190" y="108"/>
                </a:cubicBezTo>
                <a:cubicBezTo>
                  <a:pt x="1190" y="108"/>
                  <a:pt x="1191" y="108"/>
                  <a:pt x="1191" y="108"/>
                </a:cubicBezTo>
                <a:cubicBezTo>
                  <a:pt x="1191" y="108"/>
                  <a:pt x="1192" y="107"/>
                  <a:pt x="1192" y="107"/>
                </a:cubicBezTo>
                <a:cubicBezTo>
                  <a:pt x="1192" y="106"/>
                  <a:pt x="1191" y="106"/>
                  <a:pt x="1190" y="106"/>
                </a:cubicBezTo>
                <a:cubicBezTo>
                  <a:pt x="1189" y="105"/>
                  <a:pt x="1191" y="105"/>
                  <a:pt x="1189" y="105"/>
                </a:cubicBezTo>
                <a:cubicBezTo>
                  <a:pt x="1188" y="105"/>
                  <a:pt x="1188" y="105"/>
                  <a:pt x="1188" y="106"/>
                </a:cubicBezTo>
                <a:cubicBezTo>
                  <a:pt x="1187" y="107"/>
                  <a:pt x="1185" y="107"/>
                  <a:pt x="1185" y="108"/>
                </a:cubicBezTo>
                <a:cubicBezTo>
                  <a:pt x="1185" y="109"/>
                  <a:pt x="1185" y="109"/>
                  <a:pt x="1186" y="109"/>
                </a:cubicBezTo>
                <a:cubicBezTo>
                  <a:pt x="1186" y="110"/>
                  <a:pt x="1186" y="109"/>
                  <a:pt x="1186" y="109"/>
                </a:cubicBezTo>
                <a:close/>
                <a:moveTo>
                  <a:pt x="1429" y="105"/>
                </a:moveTo>
                <a:cubicBezTo>
                  <a:pt x="1428" y="105"/>
                  <a:pt x="1427" y="105"/>
                  <a:pt x="1426" y="105"/>
                </a:cubicBezTo>
                <a:cubicBezTo>
                  <a:pt x="1425" y="105"/>
                  <a:pt x="1424" y="106"/>
                  <a:pt x="1425" y="106"/>
                </a:cubicBezTo>
                <a:cubicBezTo>
                  <a:pt x="1426" y="106"/>
                  <a:pt x="1427" y="106"/>
                  <a:pt x="1427" y="106"/>
                </a:cubicBezTo>
                <a:cubicBezTo>
                  <a:pt x="1429" y="106"/>
                  <a:pt x="1429" y="106"/>
                  <a:pt x="1429" y="105"/>
                </a:cubicBezTo>
                <a:cubicBezTo>
                  <a:pt x="1428" y="105"/>
                  <a:pt x="1429" y="105"/>
                  <a:pt x="1429" y="105"/>
                </a:cubicBezTo>
                <a:close/>
                <a:moveTo>
                  <a:pt x="1412" y="107"/>
                </a:moveTo>
                <a:cubicBezTo>
                  <a:pt x="1412" y="107"/>
                  <a:pt x="1412" y="107"/>
                  <a:pt x="1412" y="107"/>
                </a:cubicBezTo>
                <a:cubicBezTo>
                  <a:pt x="1412" y="107"/>
                  <a:pt x="1412" y="106"/>
                  <a:pt x="1412" y="106"/>
                </a:cubicBezTo>
                <a:cubicBezTo>
                  <a:pt x="1413" y="106"/>
                  <a:pt x="1414" y="106"/>
                  <a:pt x="1414" y="106"/>
                </a:cubicBezTo>
                <a:cubicBezTo>
                  <a:pt x="1414" y="105"/>
                  <a:pt x="1413" y="104"/>
                  <a:pt x="1412" y="104"/>
                </a:cubicBezTo>
                <a:cubicBezTo>
                  <a:pt x="1412" y="104"/>
                  <a:pt x="1412" y="105"/>
                  <a:pt x="1412" y="105"/>
                </a:cubicBezTo>
                <a:cubicBezTo>
                  <a:pt x="1411" y="105"/>
                  <a:pt x="1412" y="105"/>
                  <a:pt x="1412" y="106"/>
                </a:cubicBezTo>
                <a:cubicBezTo>
                  <a:pt x="1412" y="106"/>
                  <a:pt x="1412" y="106"/>
                  <a:pt x="1411" y="106"/>
                </a:cubicBezTo>
                <a:cubicBezTo>
                  <a:pt x="1412" y="106"/>
                  <a:pt x="1411" y="106"/>
                  <a:pt x="1412" y="107"/>
                </a:cubicBezTo>
                <a:close/>
                <a:moveTo>
                  <a:pt x="1425" y="104"/>
                </a:moveTo>
                <a:cubicBezTo>
                  <a:pt x="1424" y="104"/>
                  <a:pt x="1422" y="103"/>
                  <a:pt x="1422" y="105"/>
                </a:cubicBezTo>
                <a:cubicBezTo>
                  <a:pt x="1423" y="105"/>
                  <a:pt x="1425" y="105"/>
                  <a:pt x="1425" y="104"/>
                </a:cubicBezTo>
                <a:close/>
                <a:moveTo>
                  <a:pt x="1421" y="104"/>
                </a:moveTo>
                <a:cubicBezTo>
                  <a:pt x="1421" y="103"/>
                  <a:pt x="1421" y="103"/>
                  <a:pt x="1421" y="104"/>
                </a:cubicBezTo>
                <a:cubicBezTo>
                  <a:pt x="1421" y="104"/>
                  <a:pt x="1421" y="104"/>
                  <a:pt x="1421" y="104"/>
                </a:cubicBezTo>
                <a:close/>
                <a:moveTo>
                  <a:pt x="1403" y="104"/>
                </a:moveTo>
                <a:cubicBezTo>
                  <a:pt x="1403" y="104"/>
                  <a:pt x="1402" y="104"/>
                  <a:pt x="1402" y="105"/>
                </a:cubicBezTo>
                <a:cubicBezTo>
                  <a:pt x="1403" y="105"/>
                  <a:pt x="1403" y="105"/>
                  <a:pt x="1404" y="105"/>
                </a:cubicBezTo>
                <a:cubicBezTo>
                  <a:pt x="1404" y="104"/>
                  <a:pt x="1403" y="104"/>
                  <a:pt x="1403" y="104"/>
                </a:cubicBezTo>
                <a:cubicBezTo>
                  <a:pt x="1403" y="104"/>
                  <a:pt x="1403" y="104"/>
                  <a:pt x="1403" y="104"/>
                </a:cubicBezTo>
                <a:close/>
                <a:moveTo>
                  <a:pt x="1417" y="104"/>
                </a:moveTo>
                <a:cubicBezTo>
                  <a:pt x="1417" y="103"/>
                  <a:pt x="1417" y="103"/>
                  <a:pt x="1418" y="103"/>
                </a:cubicBezTo>
                <a:cubicBezTo>
                  <a:pt x="1417" y="103"/>
                  <a:pt x="1417" y="103"/>
                  <a:pt x="1417" y="103"/>
                </a:cubicBezTo>
                <a:cubicBezTo>
                  <a:pt x="1417" y="103"/>
                  <a:pt x="1417" y="103"/>
                  <a:pt x="1417" y="104"/>
                </a:cubicBezTo>
                <a:close/>
                <a:moveTo>
                  <a:pt x="1416" y="103"/>
                </a:moveTo>
                <a:cubicBezTo>
                  <a:pt x="1416" y="103"/>
                  <a:pt x="1415" y="103"/>
                  <a:pt x="1415" y="104"/>
                </a:cubicBezTo>
                <a:cubicBezTo>
                  <a:pt x="1415" y="104"/>
                  <a:pt x="1416" y="104"/>
                  <a:pt x="1416" y="103"/>
                </a:cubicBezTo>
                <a:cubicBezTo>
                  <a:pt x="1415" y="103"/>
                  <a:pt x="1416" y="103"/>
                  <a:pt x="1416" y="103"/>
                </a:cubicBezTo>
                <a:close/>
                <a:moveTo>
                  <a:pt x="1170" y="104"/>
                </a:moveTo>
                <a:cubicBezTo>
                  <a:pt x="1170" y="102"/>
                  <a:pt x="1170" y="102"/>
                  <a:pt x="1168" y="102"/>
                </a:cubicBezTo>
                <a:cubicBezTo>
                  <a:pt x="1168" y="103"/>
                  <a:pt x="1169" y="103"/>
                  <a:pt x="1170" y="104"/>
                </a:cubicBezTo>
                <a:cubicBezTo>
                  <a:pt x="1170" y="103"/>
                  <a:pt x="1170" y="104"/>
                  <a:pt x="1170" y="104"/>
                </a:cubicBezTo>
                <a:close/>
                <a:moveTo>
                  <a:pt x="1421" y="103"/>
                </a:moveTo>
                <a:cubicBezTo>
                  <a:pt x="1421" y="102"/>
                  <a:pt x="1421" y="101"/>
                  <a:pt x="1419" y="101"/>
                </a:cubicBezTo>
                <a:cubicBezTo>
                  <a:pt x="1419" y="101"/>
                  <a:pt x="1419" y="103"/>
                  <a:pt x="1419" y="103"/>
                </a:cubicBezTo>
                <a:cubicBezTo>
                  <a:pt x="1420" y="103"/>
                  <a:pt x="1420" y="103"/>
                  <a:pt x="1421" y="103"/>
                </a:cubicBezTo>
                <a:close/>
                <a:moveTo>
                  <a:pt x="357" y="100"/>
                </a:moveTo>
                <a:cubicBezTo>
                  <a:pt x="357" y="100"/>
                  <a:pt x="357" y="100"/>
                  <a:pt x="356" y="100"/>
                </a:cubicBezTo>
                <a:cubicBezTo>
                  <a:pt x="357" y="100"/>
                  <a:pt x="357" y="100"/>
                  <a:pt x="357" y="100"/>
                </a:cubicBezTo>
                <a:close/>
                <a:moveTo>
                  <a:pt x="1193" y="104"/>
                </a:moveTo>
                <a:cubicBezTo>
                  <a:pt x="1194" y="104"/>
                  <a:pt x="1195" y="104"/>
                  <a:pt x="1195" y="103"/>
                </a:cubicBezTo>
                <a:cubicBezTo>
                  <a:pt x="1196" y="102"/>
                  <a:pt x="1196" y="103"/>
                  <a:pt x="1196" y="102"/>
                </a:cubicBezTo>
                <a:cubicBezTo>
                  <a:pt x="1196" y="101"/>
                  <a:pt x="1196" y="101"/>
                  <a:pt x="1196" y="100"/>
                </a:cubicBezTo>
                <a:cubicBezTo>
                  <a:pt x="1195" y="100"/>
                  <a:pt x="1195" y="100"/>
                  <a:pt x="1195" y="100"/>
                </a:cubicBezTo>
                <a:cubicBezTo>
                  <a:pt x="1195" y="99"/>
                  <a:pt x="1195" y="99"/>
                  <a:pt x="1194" y="100"/>
                </a:cubicBezTo>
                <a:cubicBezTo>
                  <a:pt x="1193" y="100"/>
                  <a:pt x="1193" y="100"/>
                  <a:pt x="1192" y="101"/>
                </a:cubicBezTo>
                <a:cubicBezTo>
                  <a:pt x="1192" y="101"/>
                  <a:pt x="1191" y="101"/>
                  <a:pt x="1192" y="102"/>
                </a:cubicBezTo>
                <a:cubicBezTo>
                  <a:pt x="1192" y="103"/>
                  <a:pt x="1193" y="103"/>
                  <a:pt x="1193" y="104"/>
                </a:cubicBezTo>
                <a:close/>
                <a:moveTo>
                  <a:pt x="714" y="112"/>
                </a:moveTo>
                <a:cubicBezTo>
                  <a:pt x="714" y="112"/>
                  <a:pt x="717" y="112"/>
                  <a:pt x="717" y="112"/>
                </a:cubicBezTo>
                <a:cubicBezTo>
                  <a:pt x="717" y="111"/>
                  <a:pt x="717" y="111"/>
                  <a:pt x="717" y="111"/>
                </a:cubicBezTo>
                <a:cubicBezTo>
                  <a:pt x="716" y="110"/>
                  <a:pt x="715" y="110"/>
                  <a:pt x="714" y="110"/>
                </a:cubicBezTo>
                <a:cubicBezTo>
                  <a:pt x="715" y="109"/>
                  <a:pt x="716" y="109"/>
                  <a:pt x="716" y="108"/>
                </a:cubicBezTo>
                <a:cubicBezTo>
                  <a:pt x="714" y="108"/>
                  <a:pt x="711" y="107"/>
                  <a:pt x="711" y="106"/>
                </a:cubicBezTo>
                <a:cubicBezTo>
                  <a:pt x="712" y="106"/>
                  <a:pt x="713" y="106"/>
                  <a:pt x="713" y="107"/>
                </a:cubicBezTo>
                <a:cubicBezTo>
                  <a:pt x="714" y="107"/>
                  <a:pt x="715" y="106"/>
                  <a:pt x="716" y="106"/>
                </a:cubicBezTo>
                <a:cubicBezTo>
                  <a:pt x="715" y="105"/>
                  <a:pt x="716" y="106"/>
                  <a:pt x="716" y="104"/>
                </a:cubicBezTo>
                <a:cubicBezTo>
                  <a:pt x="715" y="104"/>
                  <a:pt x="713" y="103"/>
                  <a:pt x="712" y="103"/>
                </a:cubicBezTo>
                <a:cubicBezTo>
                  <a:pt x="711" y="104"/>
                  <a:pt x="711" y="104"/>
                  <a:pt x="711" y="104"/>
                </a:cubicBezTo>
                <a:cubicBezTo>
                  <a:pt x="710" y="104"/>
                  <a:pt x="710" y="104"/>
                  <a:pt x="710" y="104"/>
                </a:cubicBezTo>
                <a:cubicBezTo>
                  <a:pt x="709" y="104"/>
                  <a:pt x="709" y="104"/>
                  <a:pt x="710" y="104"/>
                </a:cubicBezTo>
                <a:cubicBezTo>
                  <a:pt x="710" y="103"/>
                  <a:pt x="711" y="103"/>
                  <a:pt x="711" y="103"/>
                </a:cubicBezTo>
                <a:cubicBezTo>
                  <a:pt x="712" y="103"/>
                  <a:pt x="712" y="103"/>
                  <a:pt x="713" y="102"/>
                </a:cubicBezTo>
                <a:cubicBezTo>
                  <a:pt x="711" y="102"/>
                  <a:pt x="710" y="102"/>
                  <a:pt x="709" y="102"/>
                </a:cubicBezTo>
                <a:cubicBezTo>
                  <a:pt x="709" y="101"/>
                  <a:pt x="709" y="101"/>
                  <a:pt x="710" y="100"/>
                </a:cubicBezTo>
                <a:cubicBezTo>
                  <a:pt x="708" y="100"/>
                  <a:pt x="707" y="100"/>
                  <a:pt x="706" y="99"/>
                </a:cubicBezTo>
                <a:cubicBezTo>
                  <a:pt x="705" y="99"/>
                  <a:pt x="704" y="98"/>
                  <a:pt x="703" y="99"/>
                </a:cubicBezTo>
                <a:cubicBezTo>
                  <a:pt x="702" y="99"/>
                  <a:pt x="702" y="99"/>
                  <a:pt x="702" y="99"/>
                </a:cubicBezTo>
                <a:cubicBezTo>
                  <a:pt x="700" y="99"/>
                  <a:pt x="701" y="100"/>
                  <a:pt x="699" y="100"/>
                </a:cubicBezTo>
                <a:cubicBezTo>
                  <a:pt x="700" y="101"/>
                  <a:pt x="701" y="102"/>
                  <a:pt x="700" y="102"/>
                </a:cubicBezTo>
                <a:cubicBezTo>
                  <a:pt x="700" y="102"/>
                  <a:pt x="699" y="102"/>
                  <a:pt x="699" y="102"/>
                </a:cubicBezTo>
                <a:cubicBezTo>
                  <a:pt x="698" y="101"/>
                  <a:pt x="697" y="101"/>
                  <a:pt x="696" y="101"/>
                </a:cubicBezTo>
                <a:cubicBezTo>
                  <a:pt x="696" y="101"/>
                  <a:pt x="695" y="101"/>
                  <a:pt x="694" y="101"/>
                </a:cubicBezTo>
                <a:cubicBezTo>
                  <a:pt x="693" y="102"/>
                  <a:pt x="693" y="103"/>
                  <a:pt x="693" y="104"/>
                </a:cubicBezTo>
                <a:cubicBezTo>
                  <a:pt x="693" y="104"/>
                  <a:pt x="694" y="104"/>
                  <a:pt x="695" y="104"/>
                </a:cubicBezTo>
                <a:cubicBezTo>
                  <a:pt x="695" y="104"/>
                  <a:pt x="695" y="105"/>
                  <a:pt x="695" y="105"/>
                </a:cubicBezTo>
                <a:cubicBezTo>
                  <a:pt x="695" y="106"/>
                  <a:pt x="696" y="106"/>
                  <a:pt x="696" y="105"/>
                </a:cubicBezTo>
                <a:cubicBezTo>
                  <a:pt x="697" y="105"/>
                  <a:pt x="697" y="105"/>
                  <a:pt x="698" y="105"/>
                </a:cubicBezTo>
                <a:cubicBezTo>
                  <a:pt x="698" y="104"/>
                  <a:pt x="699" y="104"/>
                  <a:pt x="700" y="104"/>
                </a:cubicBezTo>
                <a:cubicBezTo>
                  <a:pt x="701" y="104"/>
                  <a:pt x="701" y="103"/>
                  <a:pt x="701" y="102"/>
                </a:cubicBezTo>
                <a:cubicBezTo>
                  <a:pt x="702" y="102"/>
                  <a:pt x="702" y="102"/>
                  <a:pt x="703" y="103"/>
                </a:cubicBezTo>
                <a:cubicBezTo>
                  <a:pt x="703" y="104"/>
                  <a:pt x="704" y="103"/>
                  <a:pt x="704" y="104"/>
                </a:cubicBezTo>
                <a:cubicBezTo>
                  <a:pt x="704" y="103"/>
                  <a:pt x="706" y="104"/>
                  <a:pt x="707" y="104"/>
                </a:cubicBezTo>
                <a:cubicBezTo>
                  <a:pt x="708" y="104"/>
                  <a:pt x="707" y="105"/>
                  <a:pt x="706" y="105"/>
                </a:cubicBezTo>
                <a:cubicBezTo>
                  <a:pt x="706" y="106"/>
                  <a:pt x="706" y="105"/>
                  <a:pt x="707" y="106"/>
                </a:cubicBezTo>
                <a:cubicBezTo>
                  <a:pt x="707" y="106"/>
                  <a:pt x="706" y="107"/>
                  <a:pt x="707" y="107"/>
                </a:cubicBezTo>
                <a:cubicBezTo>
                  <a:pt x="707" y="108"/>
                  <a:pt x="707" y="108"/>
                  <a:pt x="707" y="108"/>
                </a:cubicBezTo>
                <a:cubicBezTo>
                  <a:pt x="707" y="108"/>
                  <a:pt x="708" y="109"/>
                  <a:pt x="708" y="109"/>
                </a:cubicBezTo>
                <a:cubicBezTo>
                  <a:pt x="708" y="109"/>
                  <a:pt x="709" y="109"/>
                  <a:pt x="709" y="109"/>
                </a:cubicBezTo>
                <a:cubicBezTo>
                  <a:pt x="709" y="109"/>
                  <a:pt x="709" y="110"/>
                  <a:pt x="710" y="110"/>
                </a:cubicBezTo>
                <a:cubicBezTo>
                  <a:pt x="711" y="110"/>
                  <a:pt x="711" y="110"/>
                  <a:pt x="711" y="110"/>
                </a:cubicBezTo>
                <a:cubicBezTo>
                  <a:pt x="712" y="110"/>
                  <a:pt x="712" y="110"/>
                  <a:pt x="712" y="111"/>
                </a:cubicBezTo>
                <a:cubicBezTo>
                  <a:pt x="712" y="111"/>
                  <a:pt x="713" y="111"/>
                  <a:pt x="713" y="111"/>
                </a:cubicBezTo>
                <a:cubicBezTo>
                  <a:pt x="713" y="111"/>
                  <a:pt x="713" y="111"/>
                  <a:pt x="713" y="112"/>
                </a:cubicBezTo>
                <a:cubicBezTo>
                  <a:pt x="714" y="112"/>
                  <a:pt x="714" y="112"/>
                  <a:pt x="714" y="112"/>
                </a:cubicBezTo>
                <a:close/>
                <a:moveTo>
                  <a:pt x="357" y="98"/>
                </a:moveTo>
                <a:cubicBezTo>
                  <a:pt x="357" y="98"/>
                  <a:pt x="358" y="99"/>
                  <a:pt x="358" y="98"/>
                </a:cubicBezTo>
                <a:cubicBezTo>
                  <a:pt x="358" y="97"/>
                  <a:pt x="357" y="97"/>
                  <a:pt x="356" y="97"/>
                </a:cubicBezTo>
                <a:cubicBezTo>
                  <a:pt x="356" y="98"/>
                  <a:pt x="356" y="98"/>
                  <a:pt x="357" y="98"/>
                </a:cubicBezTo>
                <a:close/>
                <a:moveTo>
                  <a:pt x="1153" y="100"/>
                </a:moveTo>
                <a:cubicBezTo>
                  <a:pt x="1154" y="100"/>
                  <a:pt x="1154" y="100"/>
                  <a:pt x="1155" y="100"/>
                </a:cubicBezTo>
                <a:cubicBezTo>
                  <a:pt x="1156" y="100"/>
                  <a:pt x="1155" y="100"/>
                  <a:pt x="1155" y="99"/>
                </a:cubicBezTo>
                <a:cubicBezTo>
                  <a:pt x="1156" y="99"/>
                  <a:pt x="1156" y="98"/>
                  <a:pt x="1156" y="98"/>
                </a:cubicBezTo>
                <a:cubicBezTo>
                  <a:pt x="1156" y="97"/>
                  <a:pt x="1156" y="97"/>
                  <a:pt x="1155" y="97"/>
                </a:cubicBezTo>
                <a:cubicBezTo>
                  <a:pt x="1154" y="96"/>
                  <a:pt x="1155" y="96"/>
                  <a:pt x="1154" y="96"/>
                </a:cubicBezTo>
                <a:cubicBezTo>
                  <a:pt x="1154" y="96"/>
                  <a:pt x="1153" y="96"/>
                  <a:pt x="1153" y="97"/>
                </a:cubicBezTo>
                <a:cubicBezTo>
                  <a:pt x="1152" y="97"/>
                  <a:pt x="1153" y="98"/>
                  <a:pt x="1153" y="99"/>
                </a:cubicBezTo>
                <a:cubicBezTo>
                  <a:pt x="1152" y="99"/>
                  <a:pt x="1152" y="99"/>
                  <a:pt x="1152" y="100"/>
                </a:cubicBezTo>
                <a:cubicBezTo>
                  <a:pt x="1151" y="100"/>
                  <a:pt x="1151" y="100"/>
                  <a:pt x="1151" y="101"/>
                </a:cubicBezTo>
                <a:cubicBezTo>
                  <a:pt x="1152" y="101"/>
                  <a:pt x="1153" y="101"/>
                  <a:pt x="1153" y="100"/>
                </a:cubicBezTo>
                <a:close/>
                <a:moveTo>
                  <a:pt x="313" y="101"/>
                </a:moveTo>
                <a:cubicBezTo>
                  <a:pt x="312" y="101"/>
                  <a:pt x="312" y="101"/>
                  <a:pt x="311" y="100"/>
                </a:cubicBezTo>
                <a:cubicBezTo>
                  <a:pt x="311" y="100"/>
                  <a:pt x="311" y="99"/>
                  <a:pt x="311" y="99"/>
                </a:cubicBezTo>
                <a:cubicBezTo>
                  <a:pt x="311" y="99"/>
                  <a:pt x="311" y="99"/>
                  <a:pt x="311" y="99"/>
                </a:cubicBezTo>
                <a:cubicBezTo>
                  <a:pt x="310" y="97"/>
                  <a:pt x="310" y="99"/>
                  <a:pt x="309" y="98"/>
                </a:cubicBezTo>
                <a:cubicBezTo>
                  <a:pt x="309" y="98"/>
                  <a:pt x="308" y="96"/>
                  <a:pt x="307" y="96"/>
                </a:cubicBezTo>
                <a:cubicBezTo>
                  <a:pt x="307" y="96"/>
                  <a:pt x="306" y="96"/>
                  <a:pt x="306" y="97"/>
                </a:cubicBezTo>
                <a:cubicBezTo>
                  <a:pt x="306" y="98"/>
                  <a:pt x="306" y="98"/>
                  <a:pt x="305" y="100"/>
                </a:cubicBezTo>
                <a:cubicBezTo>
                  <a:pt x="306" y="100"/>
                  <a:pt x="306" y="101"/>
                  <a:pt x="306" y="101"/>
                </a:cubicBezTo>
                <a:cubicBezTo>
                  <a:pt x="306" y="102"/>
                  <a:pt x="306" y="103"/>
                  <a:pt x="306" y="103"/>
                </a:cubicBezTo>
                <a:cubicBezTo>
                  <a:pt x="307" y="104"/>
                  <a:pt x="307" y="105"/>
                  <a:pt x="308" y="105"/>
                </a:cubicBezTo>
                <a:cubicBezTo>
                  <a:pt x="309" y="105"/>
                  <a:pt x="309" y="105"/>
                  <a:pt x="310" y="105"/>
                </a:cubicBezTo>
                <a:cubicBezTo>
                  <a:pt x="311" y="105"/>
                  <a:pt x="310" y="105"/>
                  <a:pt x="311" y="105"/>
                </a:cubicBezTo>
                <a:cubicBezTo>
                  <a:pt x="311" y="105"/>
                  <a:pt x="311" y="106"/>
                  <a:pt x="312" y="106"/>
                </a:cubicBezTo>
                <a:cubicBezTo>
                  <a:pt x="312" y="106"/>
                  <a:pt x="313" y="106"/>
                  <a:pt x="313" y="106"/>
                </a:cubicBezTo>
                <a:cubicBezTo>
                  <a:pt x="313" y="106"/>
                  <a:pt x="314" y="106"/>
                  <a:pt x="315" y="106"/>
                </a:cubicBezTo>
                <a:cubicBezTo>
                  <a:pt x="315" y="105"/>
                  <a:pt x="315" y="104"/>
                  <a:pt x="314" y="103"/>
                </a:cubicBezTo>
                <a:cubicBezTo>
                  <a:pt x="313" y="103"/>
                  <a:pt x="313" y="102"/>
                  <a:pt x="313" y="101"/>
                </a:cubicBezTo>
                <a:cubicBezTo>
                  <a:pt x="312" y="101"/>
                  <a:pt x="313" y="101"/>
                  <a:pt x="313" y="101"/>
                </a:cubicBezTo>
                <a:close/>
                <a:moveTo>
                  <a:pt x="339" y="131"/>
                </a:moveTo>
                <a:cubicBezTo>
                  <a:pt x="340" y="130"/>
                  <a:pt x="340" y="130"/>
                  <a:pt x="339" y="129"/>
                </a:cubicBezTo>
                <a:cubicBezTo>
                  <a:pt x="339" y="128"/>
                  <a:pt x="339" y="129"/>
                  <a:pt x="339" y="128"/>
                </a:cubicBezTo>
                <a:cubicBezTo>
                  <a:pt x="339" y="128"/>
                  <a:pt x="339" y="128"/>
                  <a:pt x="339" y="127"/>
                </a:cubicBezTo>
                <a:cubicBezTo>
                  <a:pt x="339" y="126"/>
                  <a:pt x="339" y="125"/>
                  <a:pt x="339" y="125"/>
                </a:cubicBezTo>
                <a:cubicBezTo>
                  <a:pt x="338" y="125"/>
                  <a:pt x="336" y="124"/>
                  <a:pt x="336" y="125"/>
                </a:cubicBezTo>
                <a:cubicBezTo>
                  <a:pt x="335" y="125"/>
                  <a:pt x="330" y="125"/>
                  <a:pt x="330" y="123"/>
                </a:cubicBezTo>
                <a:cubicBezTo>
                  <a:pt x="330" y="122"/>
                  <a:pt x="328" y="122"/>
                  <a:pt x="328" y="121"/>
                </a:cubicBezTo>
                <a:cubicBezTo>
                  <a:pt x="328" y="120"/>
                  <a:pt x="328" y="120"/>
                  <a:pt x="327" y="120"/>
                </a:cubicBezTo>
                <a:cubicBezTo>
                  <a:pt x="327" y="121"/>
                  <a:pt x="327" y="122"/>
                  <a:pt x="327" y="123"/>
                </a:cubicBezTo>
                <a:cubicBezTo>
                  <a:pt x="326" y="122"/>
                  <a:pt x="324" y="122"/>
                  <a:pt x="324" y="121"/>
                </a:cubicBezTo>
                <a:cubicBezTo>
                  <a:pt x="323" y="120"/>
                  <a:pt x="322" y="119"/>
                  <a:pt x="321" y="118"/>
                </a:cubicBezTo>
                <a:cubicBezTo>
                  <a:pt x="321" y="117"/>
                  <a:pt x="320" y="116"/>
                  <a:pt x="320" y="116"/>
                </a:cubicBezTo>
                <a:cubicBezTo>
                  <a:pt x="320" y="115"/>
                  <a:pt x="320" y="114"/>
                  <a:pt x="319" y="114"/>
                </a:cubicBezTo>
                <a:cubicBezTo>
                  <a:pt x="318" y="113"/>
                  <a:pt x="317" y="112"/>
                  <a:pt x="318" y="110"/>
                </a:cubicBezTo>
                <a:cubicBezTo>
                  <a:pt x="317" y="110"/>
                  <a:pt x="317" y="108"/>
                  <a:pt x="316" y="108"/>
                </a:cubicBezTo>
                <a:cubicBezTo>
                  <a:pt x="316" y="108"/>
                  <a:pt x="316" y="107"/>
                  <a:pt x="316" y="107"/>
                </a:cubicBezTo>
                <a:cubicBezTo>
                  <a:pt x="316" y="107"/>
                  <a:pt x="315" y="107"/>
                  <a:pt x="315" y="107"/>
                </a:cubicBezTo>
                <a:cubicBezTo>
                  <a:pt x="313" y="107"/>
                  <a:pt x="312" y="107"/>
                  <a:pt x="310" y="107"/>
                </a:cubicBezTo>
                <a:cubicBezTo>
                  <a:pt x="310" y="107"/>
                  <a:pt x="310" y="107"/>
                  <a:pt x="309" y="107"/>
                </a:cubicBezTo>
                <a:cubicBezTo>
                  <a:pt x="308" y="108"/>
                  <a:pt x="308" y="108"/>
                  <a:pt x="308" y="107"/>
                </a:cubicBezTo>
                <a:cubicBezTo>
                  <a:pt x="307" y="106"/>
                  <a:pt x="306" y="107"/>
                  <a:pt x="306" y="108"/>
                </a:cubicBezTo>
                <a:cubicBezTo>
                  <a:pt x="306" y="109"/>
                  <a:pt x="305" y="109"/>
                  <a:pt x="305" y="110"/>
                </a:cubicBezTo>
                <a:cubicBezTo>
                  <a:pt x="305" y="110"/>
                  <a:pt x="305" y="111"/>
                  <a:pt x="305" y="111"/>
                </a:cubicBezTo>
                <a:cubicBezTo>
                  <a:pt x="304" y="111"/>
                  <a:pt x="303" y="112"/>
                  <a:pt x="302" y="112"/>
                </a:cubicBezTo>
                <a:cubicBezTo>
                  <a:pt x="302" y="112"/>
                  <a:pt x="302" y="111"/>
                  <a:pt x="301" y="111"/>
                </a:cubicBezTo>
                <a:cubicBezTo>
                  <a:pt x="301" y="111"/>
                  <a:pt x="301" y="110"/>
                  <a:pt x="301" y="110"/>
                </a:cubicBezTo>
                <a:cubicBezTo>
                  <a:pt x="301" y="110"/>
                  <a:pt x="302" y="109"/>
                  <a:pt x="302" y="108"/>
                </a:cubicBezTo>
                <a:cubicBezTo>
                  <a:pt x="302" y="108"/>
                  <a:pt x="303" y="107"/>
                  <a:pt x="303" y="107"/>
                </a:cubicBezTo>
                <a:cubicBezTo>
                  <a:pt x="303" y="106"/>
                  <a:pt x="304" y="105"/>
                  <a:pt x="304" y="105"/>
                </a:cubicBezTo>
                <a:cubicBezTo>
                  <a:pt x="304" y="104"/>
                  <a:pt x="302" y="105"/>
                  <a:pt x="302" y="104"/>
                </a:cubicBezTo>
                <a:cubicBezTo>
                  <a:pt x="302" y="103"/>
                  <a:pt x="301" y="103"/>
                  <a:pt x="301" y="102"/>
                </a:cubicBezTo>
                <a:cubicBezTo>
                  <a:pt x="301" y="102"/>
                  <a:pt x="300" y="102"/>
                  <a:pt x="300" y="101"/>
                </a:cubicBezTo>
                <a:cubicBezTo>
                  <a:pt x="300" y="101"/>
                  <a:pt x="300" y="101"/>
                  <a:pt x="300" y="100"/>
                </a:cubicBezTo>
                <a:cubicBezTo>
                  <a:pt x="299" y="101"/>
                  <a:pt x="299" y="101"/>
                  <a:pt x="298" y="100"/>
                </a:cubicBezTo>
                <a:cubicBezTo>
                  <a:pt x="297" y="100"/>
                  <a:pt x="297" y="99"/>
                  <a:pt x="296" y="99"/>
                </a:cubicBezTo>
                <a:cubicBezTo>
                  <a:pt x="296" y="101"/>
                  <a:pt x="296" y="102"/>
                  <a:pt x="294" y="102"/>
                </a:cubicBezTo>
                <a:cubicBezTo>
                  <a:pt x="293" y="103"/>
                  <a:pt x="294" y="103"/>
                  <a:pt x="294" y="104"/>
                </a:cubicBezTo>
                <a:cubicBezTo>
                  <a:pt x="293" y="104"/>
                  <a:pt x="292" y="104"/>
                  <a:pt x="291" y="104"/>
                </a:cubicBezTo>
                <a:cubicBezTo>
                  <a:pt x="291" y="103"/>
                  <a:pt x="291" y="102"/>
                  <a:pt x="290" y="102"/>
                </a:cubicBezTo>
                <a:cubicBezTo>
                  <a:pt x="290" y="101"/>
                  <a:pt x="288" y="100"/>
                  <a:pt x="287" y="100"/>
                </a:cubicBezTo>
                <a:cubicBezTo>
                  <a:pt x="287" y="99"/>
                  <a:pt x="286" y="99"/>
                  <a:pt x="286" y="99"/>
                </a:cubicBezTo>
                <a:cubicBezTo>
                  <a:pt x="285" y="99"/>
                  <a:pt x="284" y="99"/>
                  <a:pt x="284" y="99"/>
                </a:cubicBezTo>
                <a:cubicBezTo>
                  <a:pt x="284" y="100"/>
                  <a:pt x="285" y="101"/>
                  <a:pt x="284" y="101"/>
                </a:cubicBezTo>
                <a:cubicBezTo>
                  <a:pt x="284" y="101"/>
                  <a:pt x="284" y="103"/>
                  <a:pt x="283" y="104"/>
                </a:cubicBezTo>
                <a:cubicBezTo>
                  <a:pt x="284" y="104"/>
                  <a:pt x="283" y="105"/>
                  <a:pt x="284" y="105"/>
                </a:cubicBezTo>
                <a:cubicBezTo>
                  <a:pt x="284" y="105"/>
                  <a:pt x="284" y="106"/>
                  <a:pt x="284" y="106"/>
                </a:cubicBezTo>
                <a:cubicBezTo>
                  <a:pt x="284" y="106"/>
                  <a:pt x="284" y="106"/>
                  <a:pt x="284" y="106"/>
                </a:cubicBezTo>
                <a:cubicBezTo>
                  <a:pt x="284" y="107"/>
                  <a:pt x="284" y="108"/>
                  <a:pt x="283" y="108"/>
                </a:cubicBezTo>
                <a:cubicBezTo>
                  <a:pt x="283" y="108"/>
                  <a:pt x="282" y="108"/>
                  <a:pt x="282" y="107"/>
                </a:cubicBezTo>
                <a:cubicBezTo>
                  <a:pt x="282" y="107"/>
                  <a:pt x="280" y="107"/>
                  <a:pt x="280" y="107"/>
                </a:cubicBezTo>
                <a:cubicBezTo>
                  <a:pt x="279" y="105"/>
                  <a:pt x="280" y="107"/>
                  <a:pt x="279" y="106"/>
                </a:cubicBezTo>
                <a:cubicBezTo>
                  <a:pt x="279" y="106"/>
                  <a:pt x="279" y="105"/>
                  <a:pt x="278" y="105"/>
                </a:cubicBezTo>
                <a:cubicBezTo>
                  <a:pt x="278" y="105"/>
                  <a:pt x="277" y="105"/>
                  <a:pt x="277" y="104"/>
                </a:cubicBezTo>
                <a:cubicBezTo>
                  <a:pt x="277" y="103"/>
                  <a:pt x="277" y="103"/>
                  <a:pt x="276" y="103"/>
                </a:cubicBezTo>
                <a:cubicBezTo>
                  <a:pt x="276" y="102"/>
                  <a:pt x="276" y="101"/>
                  <a:pt x="277" y="101"/>
                </a:cubicBezTo>
                <a:cubicBezTo>
                  <a:pt x="277" y="100"/>
                  <a:pt x="277" y="99"/>
                  <a:pt x="277" y="98"/>
                </a:cubicBezTo>
                <a:cubicBezTo>
                  <a:pt x="277" y="97"/>
                  <a:pt x="277" y="97"/>
                  <a:pt x="276" y="96"/>
                </a:cubicBezTo>
                <a:cubicBezTo>
                  <a:pt x="276" y="96"/>
                  <a:pt x="276" y="96"/>
                  <a:pt x="276" y="96"/>
                </a:cubicBezTo>
                <a:cubicBezTo>
                  <a:pt x="275" y="95"/>
                  <a:pt x="272" y="95"/>
                  <a:pt x="272" y="97"/>
                </a:cubicBezTo>
                <a:cubicBezTo>
                  <a:pt x="271" y="98"/>
                  <a:pt x="270" y="98"/>
                  <a:pt x="269" y="98"/>
                </a:cubicBezTo>
                <a:cubicBezTo>
                  <a:pt x="269" y="99"/>
                  <a:pt x="269" y="99"/>
                  <a:pt x="268" y="99"/>
                </a:cubicBezTo>
                <a:cubicBezTo>
                  <a:pt x="267" y="99"/>
                  <a:pt x="268" y="100"/>
                  <a:pt x="267" y="100"/>
                </a:cubicBezTo>
                <a:cubicBezTo>
                  <a:pt x="266" y="100"/>
                  <a:pt x="265" y="100"/>
                  <a:pt x="264" y="100"/>
                </a:cubicBezTo>
                <a:cubicBezTo>
                  <a:pt x="264" y="100"/>
                  <a:pt x="264" y="100"/>
                  <a:pt x="264" y="100"/>
                </a:cubicBezTo>
                <a:cubicBezTo>
                  <a:pt x="264" y="101"/>
                  <a:pt x="263" y="100"/>
                  <a:pt x="263" y="100"/>
                </a:cubicBezTo>
                <a:cubicBezTo>
                  <a:pt x="262" y="100"/>
                  <a:pt x="263" y="100"/>
                  <a:pt x="262" y="100"/>
                </a:cubicBezTo>
                <a:cubicBezTo>
                  <a:pt x="262" y="100"/>
                  <a:pt x="262" y="100"/>
                  <a:pt x="261" y="100"/>
                </a:cubicBezTo>
                <a:cubicBezTo>
                  <a:pt x="261" y="100"/>
                  <a:pt x="262" y="101"/>
                  <a:pt x="261" y="101"/>
                </a:cubicBezTo>
                <a:cubicBezTo>
                  <a:pt x="261" y="101"/>
                  <a:pt x="261" y="101"/>
                  <a:pt x="260" y="101"/>
                </a:cubicBezTo>
                <a:cubicBezTo>
                  <a:pt x="260" y="101"/>
                  <a:pt x="260" y="102"/>
                  <a:pt x="259" y="102"/>
                </a:cubicBezTo>
                <a:cubicBezTo>
                  <a:pt x="259" y="102"/>
                  <a:pt x="258" y="102"/>
                  <a:pt x="258" y="102"/>
                </a:cubicBezTo>
                <a:cubicBezTo>
                  <a:pt x="258" y="102"/>
                  <a:pt x="258" y="102"/>
                  <a:pt x="258" y="102"/>
                </a:cubicBezTo>
                <a:cubicBezTo>
                  <a:pt x="258" y="102"/>
                  <a:pt x="258" y="102"/>
                  <a:pt x="257" y="103"/>
                </a:cubicBezTo>
                <a:cubicBezTo>
                  <a:pt x="257" y="103"/>
                  <a:pt x="256" y="103"/>
                  <a:pt x="256" y="104"/>
                </a:cubicBezTo>
                <a:cubicBezTo>
                  <a:pt x="256" y="104"/>
                  <a:pt x="255" y="104"/>
                  <a:pt x="256" y="105"/>
                </a:cubicBezTo>
                <a:cubicBezTo>
                  <a:pt x="256" y="105"/>
                  <a:pt x="256" y="105"/>
                  <a:pt x="256" y="106"/>
                </a:cubicBezTo>
                <a:cubicBezTo>
                  <a:pt x="256" y="107"/>
                  <a:pt x="256" y="108"/>
                  <a:pt x="255" y="108"/>
                </a:cubicBezTo>
                <a:cubicBezTo>
                  <a:pt x="254" y="107"/>
                  <a:pt x="254" y="108"/>
                  <a:pt x="254" y="108"/>
                </a:cubicBezTo>
                <a:cubicBezTo>
                  <a:pt x="253" y="109"/>
                  <a:pt x="253" y="109"/>
                  <a:pt x="252" y="110"/>
                </a:cubicBezTo>
                <a:cubicBezTo>
                  <a:pt x="252" y="110"/>
                  <a:pt x="252" y="110"/>
                  <a:pt x="252" y="110"/>
                </a:cubicBezTo>
                <a:cubicBezTo>
                  <a:pt x="251" y="110"/>
                  <a:pt x="251" y="111"/>
                  <a:pt x="251" y="111"/>
                </a:cubicBezTo>
                <a:cubicBezTo>
                  <a:pt x="250" y="112"/>
                  <a:pt x="250" y="114"/>
                  <a:pt x="251" y="114"/>
                </a:cubicBezTo>
                <a:cubicBezTo>
                  <a:pt x="252" y="114"/>
                  <a:pt x="253" y="113"/>
                  <a:pt x="253" y="114"/>
                </a:cubicBezTo>
                <a:cubicBezTo>
                  <a:pt x="254" y="114"/>
                  <a:pt x="255" y="114"/>
                  <a:pt x="255" y="113"/>
                </a:cubicBezTo>
                <a:cubicBezTo>
                  <a:pt x="256" y="112"/>
                  <a:pt x="256" y="113"/>
                  <a:pt x="257" y="113"/>
                </a:cubicBezTo>
                <a:cubicBezTo>
                  <a:pt x="257" y="113"/>
                  <a:pt x="256" y="113"/>
                  <a:pt x="257" y="114"/>
                </a:cubicBezTo>
                <a:cubicBezTo>
                  <a:pt x="257" y="114"/>
                  <a:pt x="259" y="114"/>
                  <a:pt x="258" y="114"/>
                </a:cubicBezTo>
                <a:cubicBezTo>
                  <a:pt x="257" y="115"/>
                  <a:pt x="256" y="114"/>
                  <a:pt x="255" y="115"/>
                </a:cubicBezTo>
                <a:cubicBezTo>
                  <a:pt x="254" y="115"/>
                  <a:pt x="255" y="116"/>
                  <a:pt x="256" y="116"/>
                </a:cubicBezTo>
                <a:cubicBezTo>
                  <a:pt x="257" y="116"/>
                  <a:pt x="260" y="117"/>
                  <a:pt x="260" y="115"/>
                </a:cubicBezTo>
                <a:cubicBezTo>
                  <a:pt x="260" y="113"/>
                  <a:pt x="260" y="114"/>
                  <a:pt x="262" y="115"/>
                </a:cubicBezTo>
                <a:cubicBezTo>
                  <a:pt x="262" y="115"/>
                  <a:pt x="263" y="115"/>
                  <a:pt x="264" y="115"/>
                </a:cubicBezTo>
                <a:cubicBezTo>
                  <a:pt x="265" y="115"/>
                  <a:pt x="264" y="114"/>
                  <a:pt x="265" y="114"/>
                </a:cubicBezTo>
                <a:cubicBezTo>
                  <a:pt x="266" y="114"/>
                  <a:pt x="266" y="114"/>
                  <a:pt x="267" y="114"/>
                </a:cubicBezTo>
                <a:cubicBezTo>
                  <a:pt x="268" y="114"/>
                  <a:pt x="269" y="113"/>
                  <a:pt x="271" y="113"/>
                </a:cubicBezTo>
                <a:cubicBezTo>
                  <a:pt x="272" y="114"/>
                  <a:pt x="272" y="114"/>
                  <a:pt x="272" y="114"/>
                </a:cubicBezTo>
                <a:cubicBezTo>
                  <a:pt x="272" y="115"/>
                  <a:pt x="270" y="115"/>
                  <a:pt x="270" y="115"/>
                </a:cubicBezTo>
                <a:cubicBezTo>
                  <a:pt x="270" y="115"/>
                  <a:pt x="270" y="114"/>
                  <a:pt x="269" y="114"/>
                </a:cubicBezTo>
                <a:cubicBezTo>
                  <a:pt x="269" y="115"/>
                  <a:pt x="268" y="114"/>
                  <a:pt x="268" y="114"/>
                </a:cubicBezTo>
                <a:cubicBezTo>
                  <a:pt x="268" y="115"/>
                  <a:pt x="267" y="114"/>
                  <a:pt x="267" y="115"/>
                </a:cubicBezTo>
                <a:cubicBezTo>
                  <a:pt x="267" y="115"/>
                  <a:pt x="266" y="115"/>
                  <a:pt x="266" y="115"/>
                </a:cubicBezTo>
                <a:cubicBezTo>
                  <a:pt x="266" y="116"/>
                  <a:pt x="266" y="116"/>
                  <a:pt x="266" y="116"/>
                </a:cubicBezTo>
                <a:cubicBezTo>
                  <a:pt x="265" y="116"/>
                  <a:pt x="264" y="116"/>
                  <a:pt x="264" y="116"/>
                </a:cubicBezTo>
                <a:cubicBezTo>
                  <a:pt x="263" y="116"/>
                  <a:pt x="264" y="116"/>
                  <a:pt x="263" y="116"/>
                </a:cubicBezTo>
                <a:cubicBezTo>
                  <a:pt x="263" y="116"/>
                  <a:pt x="263" y="116"/>
                  <a:pt x="263" y="116"/>
                </a:cubicBezTo>
                <a:cubicBezTo>
                  <a:pt x="262" y="116"/>
                  <a:pt x="262" y="116"/>
                  <a:pt x="261" y="117"/>
                </a:cubicBezTo>
                <a:cubicBezTo>
                  <a:pt x="260" y="117"/>
                  <a:pt x="259" y="118"/>
                  <a:pt x="258" y="118"/>
                </a:cubicBezTo>
                <a:cubicBezTo>
                  <a:pt x="257" y="118"/>
                  <a:pt x="256" y="118"/>
                  <a:pt x="257" y="119"/>
                </a:cubicBezTo>
                <a:cubicBezTo>
                  <a:pt x="257" y="120"/>
                  <a:pt x="257" y="120"/>
                  <a:pt x="258" y="120"/>
                </a:cubicBezTo>
                <a:cubicBezTo>
                  <a:pt x="258" y="120"/>
                  <a:pt x="258" y="121"/>
                  <a:pt x="258" y="121"/>
                </a:cubicBezTo>
                <a:cubicBezTo>
                  <a:pt x="259" y="121"/>
                  <a:pt x="259" y="120"/>
                  <a:pt x="259" y="121"/>
                </a:cubicBezTo>
                <a:cubicBezTo>
                  <a:pt x="260" y="121"/>
                  <a:pt x="261" y="121"/>
                  <a:pt x="261" y="120"/>
                </a:cubicBezTo>
                <a:cubicBezTo>
                  <a:pt x="262" y="120"/>
                  <a:pt x="263" y="121"/>
                  <a:pt x="264" y="121"/>
                </a:cubicBezTo>
                <a:cubicBezTo>
                  <a:pt x="264" y="120"/>
                  <a:pt x="267" y="120"/>
                  <a:pt x="268" y="120"/>
                </a:cubicBezTo>
                <a:cubicBezTo>
                  <a:pt x="269" y="121"/>
                  <a:pt x="269" y="120"/>
                  <a:pt x="270" y="120"/>
                </a:cubicBezTo>
                <a:cubicBezTo>
                  <a:pt x="271" y="120"/>
                  <a:pt x="271" y="121"/>
                  <a:pt x="271" y="121"/>
                </a:cubicBezTo>
                <a:cubicBezTo>
                  <a:pt x="273" y="121"/>
                  <a:pt x="274" y="120"/>
                  <a:pt x="275" y="120"/>
                </a:cubicBezTo>
                <a:cubicBezTo>
                  <a:pt x="276" y="120"/>
                  <a:pt x="277" y="121"/>
                  <a:pt x="278" y="121"/>
                </a:cubicBezTo>
                <a:cubicBezTo>
                  <a:pt x="279" y="120"/>
                  <a:pt x="279" y="120"/>
                  <a:pt x="280" y="120"/>
                </a:cubicBezTo>
                <a:cubicBezTo>
                  <a:pt x="281" y="120"/>
                  <a:pt x="280" y="119"/>
                  <a:pt x="281" y="119"/>
                </a:cubicBezTo>
                <a:cubicBezTo>
                  <a:pt x="282" y="119"/>
                  <a:pt x="281" y="120"/>
                  <a:pt x="282" y="120"/>
                </a:cubicBezTo>
                <a:cubicBezTo>
                  <a:pt x="284" y="120"/>
                  <a:pt x="282" y="120"/>
                  <a:pt x="283" y="121"/>
                </a:cubicBezTo>
                <a:cubicBezTo>
                  <a:pt x="283" y="121"/>
                  <a:pt x="284" y="121"/>
                  <a:pt x="285" y="121"/>
                </a:cubicBezTo>
                <a:cubicBezTo>
                  <a:pt x="285" y="121"/>
                  <a:pt x="285" y="120"/>
                  <a:pt x="286" y="120"/>
                </a:cubicBezTo>
                <a:cubicBezTo>
                  <a:pt x="288" y="120"/>
                  <a:pt x="288" y="120"/>
                  <a:pt x="288" y="121"/>
                </a:cubicBezTo>
                <a:cubicBezTo>
                  <a:pt x="287" y="121"/>
                  <a:pt x="287" y="121"/>
                  <a:pt x="286" y="122"/>
                </a:cubicBezTo>
                <a:cubicBezTo>
                  <a:pt x="286" y="122"/>
                  <a:pt x="287" y="123"/>
                  <a:pt x="286" y="123"/>
                </a:cubicBezTo>
                <a:cubicBezTo>
                  <a:pt x="285" y="123"/>
                  <a:pt x="285" y="123"/>
                  <a:pt x="285" y="123"/>
                </a:cubicBezTo>
                <a:cubicBezTo>
                  <a:pt x="285" y="123"/>
                  <a:pt x="284" y="124"/>
                  <a:pt x="284" y="124"/>
                </a:cubicBezTo>
                <a:cubicBezTo>
                  <a:pt x="283" y="124"/>
                  <a:pt x="282" y="124"/>
                  <a:pt x="282" y="124"/>
                </a:cubicBezTo>
                <a:cubicBezTo>
                  <a:pt x="281" y="124"/>
                  <a:pt x="280" y="124"/>
                  <a:pt x="278" y="124"/>
                </a:cubicBezTo>
                <a:cubicBezTo>
                  <a:pt x="278" y="124"/>
                  <a:pt x="278" y="124"/>
                  <a:pt x="278" y="124"/>
                </a:cubicBezTo>
                <a:cubicBezTo>
                  <a:pt x="278" y="123"/>
                  <a:pt x="276" y="124"/>
                  <a:pt x="276" y="123"/>
                </a:cubicBezTo>
                <a:cubicBezTo>
                  <a:pt x="276" y="123"/>
                  <a:pt x="276" y="124"/>
                  <a:pt x="276" y="124"/>
                </a:cubicBezTo>
                <a:cubicBezTo>
                  <a:pt x="275" y="124"/>
                  <a:pt x="274" y="124"/>
                  <a:pt x="273" y="124"/>
                </a:cubicBezTo>
                <a:cubicBezTo>
                  <a:pt x="273" y="124"/>
                  <a:pt x="273" y="124"/>
                  <a:pt x="273" y="124"/>
                </a:cubicBezTo>
                <a:cubicBezTo>
                  <a:pt x="272" y="124"/>
                  <a:pt x="271" y="124"/>
                  <a:pt x="271" y="124"/>
                </a:cubicBezTo>
                <a:cubicBezTo>
                  <a:pt x="270" y="125"/>
                  <a:pt x="271" y="125"/>
                  <a:pt x="270" y="125"/>
                </a:cubicBezTo>
                <a:cubicBezTo>
                  <a:pt x="269" y="126"/>
                  <a:pt x="268" y="126"/>
                  <a:pt x="267" y="126"/>
                </a:cubicBezTo>
                <a:cubicBezTo>
                  <a:pt x="267" y="125"/>
                  <a:pt x="264" y="126"/>
                  <a:pt x="263" y="126"/>
                </a:cubicBezTo>
                <a:cubicBezTo>
                  <a:pt x="263" y="125"/>
                  <a:pt x="262" y="125"/>
                  <a:pt x="261" y="125"/>
                </a:cubicBezTo>
                <a:cubicBezTo>
                  <a:pt x="262" y="126"/>
                  <a:pt x="262" y="127"/>
                  <a:pt x="262" y="127"/>
                </a:cubicBezTo>
                <a:cubicBezTo>
                  <a:pt x="261" y="128"/>
                  <a:pt x="261" y="129"/>
                  <a:pt x="261" y="129"/>
                </a:cubicBezTo>
                <a:cubicBezTo>
                  <a:pt x="262" y="129"/>
                  <a:pt x="262" y="129"/>
                  <a:pt x="262" y="130"/>
                </a:cubicBezTo>
                <a:cubicBezTo>
                  <a:pt x="262" y="130"/>
                  <a:pt x="263" y="131"/>
                  <a:pt x="263" y="131"/>
                </a:cubicBezTo>
                <a:cubicBezTo>
                  <a:pt x="264" y="131"/>
                  <a:pt x="264" y="131"/>
                  <a:pt x="265" y="132"/>
                </a:cubicBezTo>
                <a:cubicBezTo>
                  <a:pt x="265" y="134"/>
                  <a:pt x="269" y="134"/>
                  <a:pt x="271" y="134"/>
                </a:cubicBezTo>
                <a:cubicBezTo>
                  <a:pt x="271" y="134"/>
                  <a:pt x="271" y="133"/>
                  <a:pt x="272" y="134"/>
                </a:cubicBezTo>
                <a:cubicBezTo>
                  <a:pt x="272" y="134"/>
                  <a:pt x="273" y="134"/>
                  <a:pt x="273" y="134"/>
                </a:cubicBezTo>
                <a:cubicBezTo>
                  <a:pt x="273" y="135"/>
                  <a:pt x="275" y="135"/>
                  <a:pt x="275" y="135"/>
                </a:cubicBezTo>
                <a:cubicBezTo>
                  <a:pt x="276" y="135"/>
                  <a:pt x="276" y="137"/>
                  <a:pt x="276" y="137"/>
                </a:cubicBezTo>
                <a:cubicBezTo>
                  <a:pt x="276" y="138"/>
                  <a:pt x="276" y="138"/>
                  <a:pt x="276" y="139"/>
                </a:cubicBezTo>
                <a:cubicBezTo>
                  <a:pt x="277" y="139"/>
                  <a:pt x="278" y="139"/>
                  <a:pt x="279" y="139"/>
                </a:cubicBezTo>
                <a:cubicBezTo>
                  <a:pt x="279" y="139"/>
                  <a:pt x="280" y="140"/>
                  <a:pt x="281" y="140"/>
                </a:cubicBezTo>
                <a:cubicBezTo>
                  <a:pt x="282" y="140"/>
                  <a:pt x="282" y="140"/>
                  <a:pt x="283" y="140"/>
                </a:cubicBezTo>
                <a:cubicBezTo>
                  <a:pt x="284" y="140"/>
                  <a:pt x="285" y="140"/>
                  <a:pt x="285" y="139"/>
                </a:cubicBezTo>
                <a:cubicBezTo>
                  <a:pt x="285" y="138"/>
                  <a:pt x="285" y="138"/>
                  <a:pt x="286" y="138"/>
                </a:cubicBezTo>
                <a:cubicBezTo>
                  <a:pt x="286" y="138"/>
                  <a:pt x="287" y="138"/>
                  <a:pt x="287" y="138"/>
                </a:cubicBezTo>
                <a:cubicBezTo>
                  <a:pt x="287" y="138"/>
                  <a:pt x="287" y="139"/>
                  <a:pt x="288" y="139"/>
                </a:cubicBezTo>
                <a:cubicBezTo>
                  <a:pt x="288" y="138"/>
                  <a:pt x="289" y="138"/>
                  <a:pt x="289" y="138"/>
                </a:cubicBezTo>
                <a:cubicBezTo>
                  <a:pt x="290" y="138"/>
                  <a:pt x="292" y="139"/>
                  <a:pt x="293" y="138"/>
                </a:cubicBezTo>
                <a:cubicBezTo>
                  <a:pt x="294" y="138"/>
                  <a:pt x="298" y="137"/>
                  <a:pt x="298" y="137"/>
                </a:cubicBezTo>
                <a:cubicBezTo>
                  <a:pt x="298" y="136"/>
                  <a:pt x="298" y="136"/>
                  <a:pt x="298" y="136"/>
                </a:cubicBezTo>
                <a:cubicBezTo>
                  <a:pt x="300" y="136"/>
                  <a:pt x="300" y="135"/>
                  <a:pt x="302" y="135"/>
                </a:cubicBezTo>
                <a:cubicBezTo>
                  <a:pt x="303" y="135"/>
                  <a:pt x="303" y="134"/>
                  <a:pt x="304" y="134"/>
                </a:cubicBezTo>
                <a:cubicBezTo>
                  <a:pt x="305" y="134"/>
                  <a:pt x="306" y="134"/>
                  <a:pt x="307" y="133"/>
                </a:cubicBezTo>
                <a:cubicBezTo>
                  <a:pt x="308" y="133"/>
                  <a:pt x="309" y="132"/>
                  <a:pt x="309" y="131"/>
                </a:cubicBezTo>
                <a:cubicBezTo>
                  <a:pt x="310" y="131"/>
                  <a:pt x="312" y="131"/>
                  <a:pt x="313" y="130"/>
                </a:cubicBezTo>
                <a:cubicBezTo>
                  <a:pt x="313" y="129"/>
                  <a:pt x="313" y="129"/>
                  <a:pt x="315" y="129"/>
                </a:cubicBezTo>
                <a:cubicBezTo>
                  <a:pt x="315" y="129"/>
                  <a:pt x="315" y="129"/>
                  <a:pt x="316" y="129"/>
                </a:cubicBezTo>
                <a:cubicBezTo>
                  <a:pt x="315" y="130"/>
                  <a:pt x="315" y="131"/>
                  <a:pt x="314" y="132"/>
                </a:cubicBezTo>
                <a:cubicBezTo>
                  <a:pt x="313" y="133"/>
                  <a:pt x="315" y="133"/>
                  <a:pt x="316" y="133"/>
                </a:cubicBezTo>
                <a:cubicBezTo>
                  <a:pt x="317" y="133"/>
                  <a:pt x="319" y="134"/>
                  <a:pt x="319" y="134"/>
                </a:cubicBezTo>
                <a:cubicBezTo>
                  <a:pt x="319" y="134"/>
                  <a:pt x="319" y="135"/>
                  <a:pt x="319" y="135"/>
                </a:cubicBezTo>
                <a:cubicBezTo>
                  <a:pt x="319" y="135"/>
                  <a:pt x="320" y="135"/>
                  <a:pt x="320" y="135"/>
                </a:cubicBezTo>
                <a:cubicBezTo>
                  <a:pt x="321" y="135"/>
                  <a:pt x="321" y="134"/>
                  <a:pt x="321" y="135"/>
                </a:cubicBezTo>
                <a:cubicBezTo>
                  <a:pt x="321" y="135"/>
                  <a:pt x="322" y="135"/>
                  <a:pt x="322" y="135"/>
                </a:cubicBezTo>
                <a:cubicBezTo>
                  <a:pt x="323" y="136"/>
                  <a:pt x="323" y="136"/>
                  <a:pt x="323" y="136"/>
                </a:cubicBezTo>
                <a:cubicBezTo>
                  <a:pt x="324" y="136"/>
                  <a:pt x="325" y="135"/>
                  <a:pt x="326" y="136"/>
                </a:cubicBezTo>
                <a:cubicBezTo>
                  <a:pt x="327" y="136"/>
                  <a:pt x="326" y="137"/>
                  <a:pt x="328" y="137"/>
                </a:cubicBezTo>
                <a:cubicBezTo>
                  <a:pt x="328" y="137"/>
                  <a:pt x="328" y="136"/>
                  <a:pt x="328" y="136"/>
                </a:cubicBezTo>
                <a:cubicBezTo>
                  <a:pt x="328" y="135"/>
                  <a:pt x="328" y="135"/>
                  <a:pt x="329" y="135"/>
                </a:cubicBezTo>
                <a:cubicBezTo>
                  <a:pt x="329" y="135"/>
                  <a:pt x="330" y="135"/>
                  <a:pt x="330" y="136"/>
                </a:cubicBezTo>
                <a:cubicBezTo>
                  <a:pt x="331" y="136"/>
                  <a:pt x="331" y="136"/>
                  <a:pt x="332" y="135"/>
                </a:cubicBezTo>
                <a:cubicBezTo>
                  <a:pt x="332" y="135"/>
                  <a:pt x="332" y="135"/>
                  <a:pt x="332" y="135"/>
                </a:cubicBezTo>
                <a:cubicBezTo>
                  <a:pt x="332" y="135"/>
                  <a:pt x="333" y="135"/>
                  <a:pt x="333" y="135"/>
                </a:cubicBezTo>
                <a:cubicBezTo>
                  <a:pt x="334" y="134"/>
                  <a:pt x="335" y="133"/>
                  <a:pt x="335" y="133"/>
                </a:cubicBezTo>
                <a:cubicBezTo>
                  <a:pt x="334" y="132"/>
                  <a:pt x="334" y="133"/>
                  <a:pt x="334" y="133"/>
                </a:cubicBezTo>
                <a:cubicBezTo>
                  <a:pt x="333" y="132"/>
                  <a:pt x="334" y="132"/>
                  <a:pt x="334" y="131"/>
                </a:cubicBezTo>
                <a:cubicBezTo>
                  <a:pt x="334" y="131"/>
                  <a:pt x="332" y="131"/>
                  <a:pt x="331" y="131"/>
                </a:cubicBezTo>
                <a:cubicBezTo>
                  <a:pt x="331" y="131"/>
                  <a:pt x="331" y="132"/>
                  <a:pt x="330" y="133"/>
                </a:cubicBezTo>
                <a:cubicBezTo>
                  <a:pt x="330" y="132"/>
                  <a:pt x="329" y="132"/>
                  <a:pt x="329" y="132"/>
                </a:cubicBezTo>
                <a:cubicBezTo>
                  <a:pt x="329" y="132"/>
                  <a:pt x="329" y="132"/>
                  <a:pt x="329" y="132"/>
                </a:cubicBezTo>
                <a:cubicBezTo>
                  <a:pt x="328" y="132"/>
                  <a:pt x="328" y="132"/>
                  <a:pt x="328" y="132"/>
                </a:cubicBezTo>
                <a:cubicBezTo>
                  <a:pt x="327" y="131"/>
                  <a:pt x="327" y="131"/>
                  <a:pt x="326" y="130"/>
                </a:cubicBezTo>
                <a:cubicBezTo>
                  <a:pt x="326" y="130"/>
                  <a:pt x="326" y="129"/>
                  <a:pt x="326" y="129"/>
                </a:cubicBezTo>
                <a:cubicBezTo>
                  <a:pt x="326" y="128"/>
                  <a:pt x="328" y="129"/>
                  <a:pt x="328" y="129"/>
                </a:cubicBezTo>
                <a:cubicBezTo>
                  <a:pt x="329" y="129"/>
                  <a:pt x="329" y="130"/>
                  <a:pt x="330" y="130"/>
                </a:cubicBezTo>
                <a:cubicBezTo>
                  <a:pt x="332" y="130"/>
                  <a:pt x="333" y="130"/>
                  <a:pt x="334" y="131"/>
                </a:cubicBezTo>
                <a:cubicBezTo>
                  <a:pt x="334" y="129"/>
                  <a:pt x="334" y="129"/>
                  <a:pt x="333" y="129"/>
                </a:cubicBezTo>
                <a:cubicBezTo>
                  <a:pt x="332" y="129"/>
                  <a:pt x="332" y="128"/>
                  <a:pt x="333" y="128"/>
                </a:cubicBezTo>
                <a:cubicBezTo>
                  <a:pt x="333" y="128"/>
                  <a:pt x="334" y="128"/>
                  <a:pt x="334" y="127"/>
                </a:cubicBezTo>
                <a:cubicBezTo>
                  <a:pt x="335" y="128"/>
                  <a:pt x="336" y="129"/>
                  <a:pt x="337" y="129"/>
                </a:cubicBezTo>
                <a:cubicBezTo>
                  <a:pt x="337" y="129"/>
                  <a:pt x="337" y="129"/>
                  <a:pt x="337" y="130"/>
                </a:cubicBezTo>
                <a:cubicBezTo>
                  <a:pt x="337" y="131"/>
                  <a:pt x="338" y="131"/>
                  <a:pt x="339" y="131"/>
                </a:cubicBezTo>
                <a:cubicBezTo>
                  <a:pt x="339" y="130"/>
                  <a:pt x="339" y="131"/>
                  <a:pt x="339" y="131"/>
                </a:cubicBezTo>
                <a:close/>
                <a:moveTo>
                  <a:pt x="1401" y="101"/>
                </a:moveTo>
                <a:cubicBezTo>
                  <a:pt x="1401" y="103"/>
                  <a:pt x="1401" y="103"/>
                  <a:pt x="1403" y="103"/>
                </a:cubicBezTo>
                <a:cubicBezTo>
                  <a:pt x="1403" y="103"/>
                  <a:pt x="1404" y="103"/>
                  <a:pt x="1405" y="103"/>
                </a:cubicBezTo>
                <a:cubicBezTo>
                  <a:pt x="1405" y="103"/>
                  <a:pt x="1406" y="104"/>
                  <a:pt x="1407" y="104"/>
                </a:cubicBezTo>
                <a:cubicBezTo>
                  <a:pt x="1407" y="105"/>
                  <a:pt x="1405" y="104"/>
                  <a:pt x="1405" y="105"/>
                </a:cubicBezTo>
                <a:cubicBezTo>
                  <a:pt x="1405" y="106"/>
                  <a:pt x="1406" y="107"/>
                  <a:pt x="1406" y="107"/>
                </a:cubicBezTo>
                <a:cubicBezTo>
                  <a:pt x="1407" y="106"/>
                  <a:pt x="1408" y="106"/>
                  <a:pt x="1408" y="106"/>
                </a:cubicBezTo>
                <a:cubicBezTo>
                  <a:pt x="1408" y="105"/>
                  <a:pt x="1408" y="105"/>
                  <a:pt x="1408" y="105"/>
                </a:cubicBezTo>
                <a:cubicBezTo>
                  <a:pt x="1409" y="105"/>
                  <a:pt x="1409" y="105"/>
                  <a:pt x="1410" y="104"/>
                </a:cubicBezTo>
                <a:cubicBezTo>
                  <a:pt x="1410" y="104"/>
                  <a:pt x="1411" y="104"/>
                  <a:pt x="1411" y="104"/>
                </a:cubicBezTo>
                <a:cubicBezTo>
                  <a:pt x="1412" y="104"/>
                  <a:pt x="1411" y="104"/>
                  <a:pt x="1411" y="104"/>
                </a:cubicBezTo>
                <a:cubicBezTo>
                  <a:pt x="1412" y="103"/>
                  <a:pt x="1412" y="103"/>
                  <a:pt x="1413" y="103"/>
                </a:cubicBezTo>
                <a:cubicBezTo>
                  <a:pt x="1415" y="103"/>
                  <a:pt x="1413" y="103"/>
                  <a:pt x="1414" y="103"/>
                </a:cubicBezTo>
                <a:cubicBezTo>
                  <a:pt x="1414" y="102"/>
                  <a:pt x="1414" y="102"/>
                  <a:pt x="1414" y="102"/>
                </a:cubicBezTo>
                <a:cubicBezTo>
                  <a:pt x="1415" y="102"/>
                  <a:pt x="1416" y="101"/>
                  <a:pt x="1416" y="100"/>
                </a:cubicBezTo>
                <a:cubicBezTo>
                  <a:pt x="1416" y="100"/>
                  <a:pt x="1416" y="99"/>
                  <a:pt x="1416" y="99"/>
                </a:cubicBezTo>
                <a:cubicBezTo>
                  <a:pt x="1416" y="99"/>
                  <a:pt x="1414" y="99"/>
                  <a:pt x="1413" y="99"/>
                </a:cubicBezTo>
                <a:cubicBezTo>
                  <a:pt x="1413" y="99"/>
                  <a:pt x="1412" y="98"/>
                  <a:pt x="1412" y="98"/>
                </a:cubicBezTo>
                <a:cubicBezTo>
                  <a:pt x="1412" y="97"/>
                  <a:pt x="1411" y="97"/>
                  <a:pt x="1410" y="97"/>
                </a:cubicBezTo>
                <a:cubicBezTo>
                  <a:pt x="1410" y="97"/>
                  <a:pt x="1409" y="97"/>
                  <a:pt x="1409" y="96"/>
                </a:cubicBezTo>
                <a:cubicBezTo>
                  <a:pt x="1409" y="96"/>
                  <a:pt x="1409" y="96"/>
                  <a:pt x="1408" y="96"/>
                </a:cubicBezTo>
                <a:cubicBezTo>
                  <a:pt x="1408" y="95"/>
                  <a:pt x="1408" y="95"/>
                  <a:pt x="1408" y="95"/>
                </a:cubicBezTo>
                <a:cubicBezTo>
                  <a:pt x="1407" y="95"/>
                  <a:pt x="1407" y="95"/>
                  <a:pt x="1406" y="95"/>
                </a:cubicBezTo>
                <a:cubicBezTo>
                  <a:pt x="1405" y="95"/>
                  <a:pt x="1403" y="96"/>
                  <a:pt x="1401" y="96"/>
                </a:cubicBezTo>
                <a:cubicBezTo>
                  <a:pt x="1401" y="96"/>
                  <a:pt x="1400" y="97"/>
                  <a:pt x="1400" y="97"/>
                </a:cubicBezTo>
                <a:cubicBezTo>
                  <a:pt x="1399" y="98"/>
                  <a:pt x="1400" y="98"/>
                  <a:pt x="1399" y="98"/>
                </a:cubicBezTo>
                <a:cubicBezTo>
                  <a:pt x="1399" y="99"/>
                  <a:pt x="1399" y="100"/>
                  <a:pt x="1399" y="100"/>
                </a:cubicBezTo>
                <a:cubicBezTo>
                  <a:pt x="1399" y="100"/>
                  <a:pt x="1399" y="100"/>
                  <a:pt x="1399" y="100"/>
                </a:cubicBezTo>
                <a:cubicBezTo>
                  <a:pt x="1399" y="101"/>
                  <a:pt x="1400" y="101"/>
                  <a:pt x="1401" y="101"/>
                </a:cubicBezTo>
                <a:close/>
                <a:moveTo>
                  <a:pt x="1481" y="99"/>
                </a:moveTo>
                <a:cubicBezTo>
                  <a:pt x="1481" y="101"/>
                  <a:pt x="1482" y="100"/>
                  <a:pt x="1484" y="100"/>
                </a:cubicBezTo>
                <a:cubicBezTo>
                  <a:pt x="1484" y="100"/>
                  <a:pt x="1484" y="100"/>
                  <a:pt x="1484" y="100"/>
                </a:cubicBezTo>
                <a:cubicBezTo>
                  <a:pt x="1484" y="101"/>
                  <a:pt x="1485" y="101"/>
                  <a:pt x="1486" y="101"/>
                </a:cubicBezTo>
                <a:cubicBezTo>
                  <a:pt x="1487" y="101"/>
                  <a:pt x="1488" y="101"/>
                  <a:pt x="1489" y="100"/>
                </a:cubicBezTo>
                <a:cubicBezTo>
                  <a:pt x="1489" y="101"/>
                  <a:pt x="1490" y="101"/>
                  <a:pt x="1490" y="101"/>
                </a:cubicBezTo>
                <a:cubicBezTo>
                  <a:pt x="1491" y="101"/>
                  <a:pt x="1490" y="101"/>
                  <a:pt x="1491" y="101"/>
                </a:cubicBezTo>
                <a:cubicBezTo>
                  <a:pt x="1491" y="101"/>
                  <a:pt x="1492" y="101"/>
                  <a:pt x="1492" y="101"/>
                </a:cubicBezTo>
                <a:cubicBezTo>
                  <a:pt x="1492" y="101"/>
                  <a:pt x="1492" y="102"/>
                  <a:pt x="1493" y="102"/>
                </a:cubicBezTo>
                <a:cubicBezTo>
                  <a:pt x="1494" y="102"/>
                  <a:pt x="1494" y="102"/>
                  <a:pt x="1495" y="102"/>
                </a:cubicBezTo>
                <a:cubicBezTo>
                  <a:pt x="1496" y="102"/>
                  <a:pt x="1496" y="102"/>
                  <a:pt x="1496" y="102"/>
                </a:cubicBezTo>
                <a:cubicBezTo>
                  <a:pt x="1497" y="102"/>
                  <a:pt x="1498" y="102"/>
                  <a:pt x="1498" y="102"/>
                </a:cubicBezTo>
                <a:cubicBezTo>
                  <a:pt x="1498" y="101"/>
                  <a:pt x="1498" y="101"/>
                  <a:pt x="1498" y="100"/>
                </a:cubicBezTo>
                <a:cubicBezTo>
                  <a:pt x="1498" y="100"/>
                  <a:pt x="1498" y="100"/>
                  <a:pt x="1498" y="100"/>
                </a:cubicBezTo>
                <a:cubicBezTo>
                  <a:pt x="1498" y="100"/>
                  <a:pt x="1498" y="99"/>
                  <a:pt x="1498" y="98"/>
                </a:cubicBezTo>
                <a:cubicBezTo>
                  <a:pt x="1498" y="98"/>
                  <a:pt x="1497" y="98"/>
                  <a:pt x="1496" y="97"/>
                </a:cubicBezTo>
                <a:cubicBezTo>
                  <a:pt x="1496" y="97"/>
                  <a:pt x="1497" y="97"/>
                  <a:pt x="1496" y="97"/>
                </a:cubicBezTo>
                <a:cubicBezTo>
                  <a:pt x="1495" y="97"/>
                  <a:pt x="1495" y="96"/>
                  <a:pt x="1494" y="95"/>
                </a:cubicBezTo>
                <a:cubicBezTo>
                  <a:pt x="1494" y="95"/>
                  <a:pt x="1494" y="96"/>
                  <a:pt x="1493" y="95"/>
                </a:cubicBezTo>
                <a:cubicBezTo>
                  <a:pt x="1493" y="94"/>
                  <a:pt x="1492" y="94"/>
                  <a:pt x="1491" y="94"/>
                </a:cubicBezTo>
                <a:cubicBezTo>
                  <a:pt x="1490" y="94"/>
                  <a:pt x="1491" y="94"/>
                  <a:pt x="1490" y="94"/>
                </a:cubicBezTo>
                <a:cubicBezTo>
                  <a:pt x="1489" y="94"/>
                  <a:pt x="1489" y="94"/>
                  <a:pt x="1489" y="94"/>
                </a:cubicBezTo>
                <a:cubicBezTo>
                  <a:pt x="1488" y="95"/>
                  <a:pt x="1488" y="95"/>
                  <a:pt x="1488" y="95"/>
                </a:cubicBezTo>
                <a:cubicBezTo>
                  <a:pt x="1487" y="95"/>
                  <a:pt x="1487" y="95"/>
                  <a:pt x="1487" y="95"/>
                </a:cubicBezTo>
                <a:cubicBezTo>
                  <a:pt x="1487" y="95"/>
                  <a:pt x="1487" y="95"/>
                  <a:pt x="1487" y="95"/>
                </a:cubicBezTo>
                <a:cubicBezTo>
                  <a:pt x="1487" y="95"/>
                  <a:pt x="1486" y="95"/>
                  <a:pt x="1486" y="95"/>
                </a:cubicBezTo>
                <a:cubicBezTo>
                  <a:pt x="1486" y="96"/>
                  <a:pt x="1486" y="96"/>
                  <a:pt x="1485" y="96"/>
                </a:cubicBezTo>
                <a:cubicBezTo>
                  <a:pt x="1485" y="96"/>
                  <a:pt x="1485" y="96"/>
                  <a:pt x="1485" y="97"/>
                </a:cubicBezTo>
                <a:cubicBezTo>
                  <a:pt x="1484" y="97"/>
                  <a:pt x="1484" y="98"/>
                  <a:pt x="1483" y="98"/>
                </a:cubicBezTo>
                <a:cubicBezTo>
                  <a:pt x="1483" y="99"/>
                  <a:pt x="1482" y="99"/>
                  <a:pt x="1481" y="99"/>
                </a:cubicBezTo>
                <a:cubicBezTo>
                  <a:pt x="1481" y="100"/>
                  <a:pt x="1481" y="99"/>
                  <a:pt x="1481" y="99"/>
                </a:cubicBezTo>
                <a:close/>
                <a:moveTo>
                  <a:pt x="480" y="167"/>
                </a:moveTo>
                <a:cubicBezTo>
                  <a:pt x="479" y="168"/>
                  <a:pt x="481" y="168"/>
                  <a:pt x="481" y="167"/>
                </a:cubicBezTo>
                <a:cubicBezTo>
                  <a:pt x="482" y="167"/>
                  <a:pt x="482" y="167"/>
                  <a:pt x="483" y="168"/>
                </a:cubicBezTo>
                <a:cubicBezTo>
                  <a:pt x="483" y="169"/>
                  <a:pt x="483" y="170"/>
                  <a:pt x="483" y="170"/>
                </a:cubicBezTo>
                <a:cubicBezTo>
                  <a:pt x="483" y="171"/>
                  <a:pt x="484" y="173"/>
                  <a:pt x="484" y="174"/>
                </a:cubicBezTo>
                <a:cubicBezTo>
                  <a:pt x="483" y="174"/>
                  <a:pt x="482" y="174"/>
                  <a:pt x="482" y="174"/>
                </a:cubicBezTo>
                <a:cubicBezTo>
                  <a:pt x="482" y="173"/>
                  <a:pt x="483" y="173"/>
                  <a:pt x="482" y="173"/>
                </a:cubicBezTo>
                <a:cubicBezTo>
                  <a:pt x="481" y="173"/>
                  <a:pt x="481" y="174"/>
                  <a:pt x="480" y="174"/>
                </a:cubicBezTo>
                <a:cubicBezTo>
                  <a:pt x="479" y="174"/>
                  <a:pt x="480" y="174"/>
                  <a:pt x="480" y="173"/>
                </a:cubicBezTo>
                <a:cubicBezTo>
                  <a:pt x="480" y="173"/>
                  <a:pt x="479" y="173"/>
                  <a:pt x="479" y="173"/>
                </a:cubicBezTo>
                <a:cubicBezTo>
                  <a:pt x="478" y="173"/>
                  <a:pt x="478" y="173"/>
                  <a:pt x="478" y="173"/>
                </a:cubicBezTo>
                <a:cubicBezTo>
                  <a:pt x="478" y="173"/>
                  <a:pt x="478" y="173"/>
                  <a:pt x="478" y="173"/>
                </a:cubicBezTo>
                <a:cubicBezTo>
                  <a:pt x="478" y="173"/>
                  <a:pt x="477" y="173"/>
                  <a:pt x="477" y="173"/>
                </a:cubicBezTo>
                <a:cubicBezTo>
                  <a:pt x="477" y="172"/>
                  <a:pt x="477" y="172"/>
                  <a:pt x="478" y="172"/>
                </a:cubicBezTo>
                <a:cubicBezTo>
                  <a:pt x="479" y="171"/>
                  <a:pt x="479" y="171"/>
                  <a:pt x="479" y="170"/>
                </a:cubicBezTo>
                <a:cubicBezTo>
                  <a:pt x="478" y="169"/>
                  <a:pt x="478" y="169"/>
                  <a:pt x="477" y="169"/>
                </a:cubicBezTo>
                <a:cubicBezTo>
                  <a:pt x="477" y="168"/>
                  <a:pt x="478" y="168"/>
                  <a:pt x="478" y="167"/>
                </a:cubicBezTo>
                <a:cubicBezTo>
                  <a:pt x="477" y="167"/>
                  <a:pt x="478" y="167"/>
                  <a:pt x="477" y="167"/>
                </a:cubicBezTo>
                <a:cubicBezTo>
                  <a:pt x="478" y="167"/>
                  <a:pt x="479" y="167"/>
                  <a:pt x="480" y="167"/>
                </a:cubicBezTo>
                <a:close/>
                <a:moveTo>
                  <a:pt x="480" y="152"/>
                </a:moveTo>
                <a:cubicBezTo>
                  <a:pt x="481" y="152"/>
                  <a:pt x="480" y="151"/>
                  <a:pt x="480" y="151"/>
                </a:cubicBezTo>
                <a:cubicBezTo>
                  <a:pt x="480" y="150"/>
                  <a:pt x="480" y="150"/>
                  <a:pt x="481" y="150"/>
                </a:cubicBezTo>
                <a:cubicBezTo>
                  <a:pt x="481" y="150"/>
                  <a:pt x="482" y="150"/>
                  <a:pt x="482" y="151"/>
                </a:cubicBezTo>
                <a:cubicBezTo>
                  <a:pt x="482" y="151"/>
                  <a:pt x="483" y="152"/>
                  <a:pt x="484" y="153"/>
                </a:cubicBezTo>
                <a:cubicBezTo>
                  <a:pt x="484" y="153"/>
                  <a:pt x="484" y="153"/>
                  <a:pt x="484" y="153"/>
                </a:cubicBezTo>
                <a:cubicBezTo>
                  <a:pt x="484" y="153"/>
                  <a:pt x="484" y="153"/>
                  <a:pt x="485" y="153"/>
                </a:cubicBezTo>
                <a:cubicBezTo>
                  <a:pt x="485" y="153"/>
                  <a:pt x="485" y="153"/>
                  <a:pt x="486" y="153"/>
                </a:cubicBezTo>
                <a:cubicBezTo>
                  <a:pt x="486" y="153"/>
                  <a:pt x="486" y="153"/>
                  <a:pt x="487" y="154"/>
                </a:cubicBezTo>
                <a:cubicBezTo>
                  <a:pt x="487" y="154"/>
                  <a:pt x="488" y="154"/>
                  <a:pt x="489" y="154"/>
                </a:cubicBezTo>
                <a:cubicBezTo>
                  <a:pt x="489" y="154"/>
                  <a:pt x="489" y="154"/>
                  <a:pt x="490" y="154"/>
                </a:cubicBezTo>
                <a:cubicBezTo>
                  <a:pt x="490" y="154"/>
                  <a:pt x="490" y="155"/>
                  <a:pt x="490" y="155"/>
                </a:cubicBezTo>
                <a:cubicBezTo>
                  <a:pt x="490" y="156"/>
                  <a:pt x="491" y="155"/>
                  <a:pt x="491" y="155"/>
                </a:cubicBezTo>
                <a:cubicBezTo>
                  <a:pt x="491" y="156"/>
                  <a:pt x="491" y="156"/>
                  <a:pt x="491" y="156"/>
                </a:cubicBezTo>
                <a:cubicBezTo>
                  <a:pt x="492" y="156"/>
                  <a:pt x="492" y="157"/>
                  <a:pt x="491" y="157"/>
                </a:cubicBezTo>
                <a:cubicBezTo>
                  <a:pt x="491" y="158"/>
                  <a:pt x="491" y="158"/>
                  <a:pt x="490" y="158"/>
                </a:cubicBezTo>
                <a:cubicBezTo>
                  <a:pt x="489" y="158"/>
                  <a:pt x="489" y="157"/>
                  <a:pt x="488" y="157"/>
                </a:cubicBezTo>
                <a:cubicBezTo>
                  <a:pt x="488" y="158"/>
                  <a:pt x="488" y="158"/>
                  <a:pt x="487" y="158"/>
                </a:cubicBezTo>
                <a:cubicBezTo>
                  <a:pt x="487" y="158"/>
                  <a:pt x="487" y="158"/>
                  <a:pt x="487" y="159"/>
                </a:cubicBezTo>
                <a:cubicBezTo>
                  <a:pt x="487" y="159"/>
                  <a:pt x="486" y="158"/>
                  <a:pt x="486" y="158"/>
                </a:cubicBezTo>
                <a:cubicBezTo>
                  <a:pt x="485" y="158"/>
                  <a:pt x="485" y="158"/>
                  <a:pt x="484" y="159"/>
                </a:cubicBezTo>
                <a:cubicBezTo>
                  <a:pt x="483" y="160"/>
                  <a:pt x="483" y="161"/>
                  <a:pt x="482" y="160"/>
                </a:cubicBezTo>
                <a:cubicBezTo>
                  <a:pt x="482" y="160"/>
                  <a:pt x="482" y="159"/>
                  <a:pt x="481" y="159"/>
                </a:cubicBezTo>
                <a:cubicBezTo>
                  <a:pt x="481" y="159"/>
                  <a:pt x="481" y="158"/>
                  <a:pt x="481" y="157"/>
                </a:cubicBezTo>
                <a:cubicBezTo>
                  <a:pt x="481" y="157"/>
                  <a:pt x="481" y="157"/>
                  <a:pt x="481" y="157"/>
                </a:cubicBezTo>
                <a:cubicBezTo>
                  <a:pt x="481" y="156"/>
                  <a:pt x="481" y="157"/>
                  <a:pt x="481" y="156"/>
                </a:cubicBezTo>
                <a:cubicBezTo>
                  <a:pt x="480" y="155"/>
                  <a:pt x="479" y="154"/>
                  <a:pt x="480" y="152"/>
                </a:cubicBezTo>
                <a:close/>
                <a:moveTo>
                  <a:pt x="482" y="121"/>
                </a:moveTo>
                <a:cubicBezTo>
                  <a:pt x="482" y="121"/>
                  <a:pt x="483" y="121"/>
                  <a:pt x="484" y="122"/>
                </a:cubicBezTo>
                <a:cubicBezTo>
                  <a:pt x="483" y="123"/>
                  <a:pt x="483" y="123"/>
                  <a:pt x="482" y="123"/>
                </a:cubicBezTo>
                <a:cubicBezTo>
                  <a:pt x="482" y="123"/>
                  <a:pt x="482" y="122"/>
                  <a:pt x="482" y="121"/>
                </a:cubicBezTo>
                <a:cubicBezTo>
                  <a:pt x="482" y="121"/>
                  <a:pt x="482" y="121"/>
                  <a:pt x="482" y="121"/>
                </a:cubicBezTo>
                <a:close/>
                <a:moveTo>
                  <a:pt x="485" y="125"/>
                </a:moveTo>
                <a:cubicBezTo>
                  <a:pt x="486" y="125"/>
                  <a:pt x="486" y="124"/>
                  <a:pt x="486" y="125"/>
                </a:cubicBezTo>
                <a:cubicBezTo>
                  <a:pt x="486" y="126"/>
                  <a:pt x="486" y="126"/>
                  <a:pt x="485" y="126"/>
                </a:cubicBezTo>
                <a:cubicBezTo>
                  <a:pt x="485" y="125"/>
                  <a:pt x="485" y="125"/>
                  <a:pt x="485" y="125"/>
                </a:cubicBezTo>
                <a:cubicBezTo>
                  <a:pt x="486" y="125"/>
                  <a:pt x="485" y="125"/>
                  <a:pt x="485" y="125"/>
                </a:cubicBezTo>
                <a:close/>
                <a:moveTo>
                  <a:pt x="489" y="127"/>
                </a:moveTo>
                <a:cubicBezTo>
                  <a:pt x="490" y="129"/>
                  <a:pt x="490" y="128"/>
                  <a:pt x="488" y="128"/>
                </a:cubicBezTo>
                <a:cubicBezTo>
                  <a:pt x="488" y="128"/>
                  <a:pt x="488" y="128"/>
                  <a:pt x="488" y="128"/>
                </a:cubicBezTo>
                <a:cubicBezTo>
                  <a:pt x="487" y="128"/>
                  <a:pt x="487" y="128"/>
                  <a:pt x="486" y="128"/>
                </a:cubicBezTo>
                <a:cubicBezTo>
                  <a:pt x="487" y="127"/>
                  <a:pt x="488" y="127"/>
                  <a:pt x="489" y="127"/>
                </a:cubicBezTo>
                <a:cubicBezTo>
                  <a:pt x="490" y="128"/>
                  <a:pt x="489" y="127"/>
                  <a:pt x="489" y="127"/>
                </a:cubicBezTo>
                <a:close/>
                <a:moveTo>
                  <a:pt x="506" y="174"/>
                </a:moveTo>
                <a:cubicBezTo>
                  <a:pt x="506" y="174"/>
                  <a:pt x="506" y="174"/>
                  <a:pt x="506" y="175"/>
                </a:cubicBezTo>
                <a:cubicBezTo>
                  <a:pt x="506" y="174"/>
                  <a:pt x="505" y="174"/>
                  <a:pt x="505" y="173"/>
                </a:cubicBezTo>
                <a:cubicBezTo>
                  <a:pt x="505" y="174"/>
                  <a:pt x="506" y="174"/>
                  <a:pt x="506" y="174"/>
                </a:cubicBezTo>
                <a:close/>
                <a:moveTo>
                  <a:pt x="476" y="120"/>
                </a:moveTo>
                <a:cubicBezTo>
                  <a:pt x="476" y="120"/>
                  <a:pt x="476" y="120"/>
                  <a:pt x="476" y="120"/>
                </a:cubicBezTo>
                <a:cubicBezTo>
                  <a:pt x="476" y="119"/>
                  <a:pt x="476" y="119"/>
                  <a:pt x="476" y="120"/>
                </a:cubicBezTo>
                <a:close/>
                <a:moveTo>
                  <a:pt x="444" y="110"/>
                </a:moveTo>
                <a:cubicBezTo>
                  <a:pt x="444" y="110"/>
                  <a:pt x="444" y="110"/>
                  <a:pt x="444" y="111"/>
                </a:cubicBezTo>
                <a:cubicBezTo>
                  <a:pt x="444" y="110"/>
                  <a:pt x="444" y="110"/>
                  <a:pt x="444" y="110"/>
                </a:cubicBezTo>
                <a:cubicBezTo>
                  <a:pt x="444" y="110"/>
                  <a:pt x="444" y="110"/>
                  <a:pt x="444" y="110"/>
                </a:cubicBezTo>
                <a:close/>
                <a:moveTo>
                  <a:pt x="478" y="117"/>
                </a:moveTo>
                <a:cubicBezTo>
                  <a:pt x="478" y="117"/>
                  <a:pt x="479" y="117"/>
                  <a:pt x="480" y="117"/>
                </a:cubicBezTo>
                <a:cubicBezTo>
                  <a:pt x="481" y="116"/>
                  <a:pt x="479" y="115"/>
                  <a:pt x="478" y="115"/>
                </a:cubicBezTo>
                <a:cubicBezTo>
                  <a:pt x="478" y="115"/>
                  <a:pt x="478" y="116"/>
                  <a:pt x="478" y="116"/>
                </a:cubicBezTo>
                <a:cubicBezTo>
                  <a:pt x="477" y="115"/>
                  <a:pt x="477" y="114"/>
                  <a:pt x="476" y="113"/>
                </a:cubicBezTo>
                <a:cubicBezTo>
                  <a:pt x="476" y="113"/>
                  <a:pt x="475" y="113"/>
                  <a:pt x="474" y="113"/>
                </a:cubicBezTo>
                <a:cubicBezTo>
                  <a:pt x="474" y="114"/>
                  <a:pt x="474" y="114"/>
                  <a:pt x="473" y="114"/>
                </a:cubicBezTo>
                <a:cubicBezTo>
                  <a:pt x="473" y="115"/>
                  <a:pt x="474" y="116"/>
                  <a:pt x="474" y="116"/>
                </a:cubicBezTo>
                <a:cubicBezTo>
                  <a:pt x="474" y="116"/>
                  <a:pt x="473" y="117"/>
                  <a:pt x="473" y="117"/>
                </a:cubicBezTo>
                <a:cubicBezTo>
                  <a:pt x="473" y="117"/>
                  <a:pt x="473" y="116"/>
                  <a:pt x="473" y="116"/>
                </a:cubicBezTo>
                <a:cubicBezTo>
                  <a:pt x="473" y="115"/>
                  <a:pt x="472" y="115"/>
                  <a:pt x="472" y="115"/>
                </a:cubicBezTo>
                <a:cubicBezTo>
                  <a:pt x="472" y="116"/>
                  <a:pt x="471" y="115"/>
                  <a:pt x="471" y="116"/>
                </a:cubicBezTo>
                <a:cubicBezTo>
                  <a:pt x="471" y="116"/>
                  <a:pt x="471" y="117"/>
                  <a:pt x="471" y="116"/>
                </a:cubicBezTo>
                <a:cubicBezTo>
                  <a:pt x="470" y="116"/>
                  <a:pt x="472" y="114"/>
                  <a:pt x="470" y="114"/>
                </a:cubicBezTo>
                <a:cubicBezTo>
                  <a:pt x="470" y="114"/>
                  <a:pt x="470" y="113"/>
                  <a:pt x="470" y="113"/>
                </a:cubicBezTo>
                <a:cubicBezTo>
                  <a:pt x="469" y="113"/>
                  <a:pt x="469" y="113"/>
                  <a:pt x="469" y="114"/>
                </a:cubicBezTo>
                <a:cubicBezTo>
                  <a:pt x="469" y="114"/>
                  <a:pt x="468" y="115"/>
                  <a:pt x="468" y="116"/>
                </a:cubicBezTo>
                <a:cubicBezTo>
                  <a:pt x="467" y="116"/>
                  <a:pt x="467" y="115"/>
                  <a:pt x="466" y="115"/>
                </a:cubicBezTo>
                <a:cubicBezTo>
                  <a:pt x="467" y="115"/>
                  <a:pt x="467" y="114"/>
                  <a:pt x="467" y="114"/>
                </a:cubicBezTo>
                <a:cubicBezTo>
                  <a:pt x="467" y="114"/>
                  <a:pt x="466" y="114"/>
                  <a:pt x="466" y="114"/>
                </a:cubicBezTo>
                <a:cubicBezTo>
                  <a:pt x="465" y="113"/>
                  <a:pt x="466" y="113"/>
                  <a:pt x="465" y="113"/>
                </a:cubicBezTo>
                <a:cubicBezTo>
                  <a:pt x="466" y="112"/>
                  <a:pt x="468" y="112"/>
                  <a:pt x="468" y="111"/>
                </a:cubicBezTo>
                <a:cubicBezTo>
                  <a:pt x="468" y="111"/>
                  <a:pt x="468" y="110"/>
                  <a:pt x="468" y="109"/>
                </a:cubicBezTo>
                <a:cubicBezTo>
                  <a:pt x="468" y="109"/>
                  <a:pt x="467" y="108"/>
                  <a:pt x="467" y="108"/>
                </a:cubicBezTo>
                <a:cubicBezTo>
                  <a:pt x="467" y="108"/>
                  <a:pt x="466" y="108"/>
                  <a:pt x="465" y="108"/>
                </a:cubicBezTo>
                <a:cubicBezTo>
                  <a:pt x="465" y="108"/>
                  <a:pt x="465" y="107"/>
                  <a:pt x="465" y="108"/>
                </a:cubicBezTo>
                <a:cubicBezTo>
                  <a:pt x="465" y="107"/>
                  <a:pt x="466" y="107"/>
                  <a:pt x="466" y="107"/>
                </a:cubicBezTo>
                <a:cubicBezTo>
                  <a:pt x="466" y="107"/>
                  <a:pt x="466" y="106"/>
                  <a:pt x="466" y="105"/>
                </a:cubicBezTo>
                <a:cubicBezTo>
                  <a:pt x="466" y="105"/>
                  <a:pt x="465" y="106"/>
                  <a:pt x="465" y="105"/>
                </a:cubicBezTo>
                <a:cubicBezTo>
                  <a:pt x="465" y="104"/>
                  <a:pt x="465" y="104"/>
                  <a:pt x="464" y="104"/>
                </a:cubicBezTo>
                <a:cubicBezTo>
                  <a:pt x="464" y="104"/>
                  <a:pt x="464" y="104"/>
                  <a:pt x="464" y="104"/>
                </a:cubicBezTo>
                <a:cubicBezTo>
                  <a:pt x="464" y="104"/>
                  <a:pt x="463" y="104"/>
                  <a:pt x="463" y="104"/>
                </a:cubicBezTo>
                <a:cubicBezTo>
                  <a:pt x="462" y="104"/>
                  <a:pt x="462" y="104"/>
                  <a:pt x="462" y="104"/>
                </a:cubicBezTo>
                <a:cubicBezTo>
                  <a:pt x="461" y="104"/>
                  <a:pt x="460" y="104"/>
                  <a:pt x="460" y="105"/>
                </a:cubicBezTo>
                <a:cubicBezTo>
                  <a:pt x="459" y="105"/>
                  <a:pt x="458" y="105"/>
                  <a:pt x="458" y="105"/>
                </a:cubicBezTo>
                <a:cubicBezTo>
                  <a:pt x="458" y="104"/>
                  <a:pt x="457" y="105"/>
                  <a:pt x="457" y="104"/>
                </a:cubicBezTo>
                <a:cubicBezTo>
                  <a:pt x="457" y="104"/>
                  <a:pt x="455" y="104"/>
                  <a:pt x="454" y="104"/>
                </a:cubicBezTo>
                <a:cubicBezTo>
                  <a:pt x="454" y="104"/>
                  <a:pt x="454" y="103"/>
                  <a:pt x="454" y="103"/>
                </a:cubicBezTo>
                <a:cubicBezTo>
                  <a:pt x="453" y="103"/>
                  <a:pt x="452" y="103"/>
                  <a:pt x="451" y="103"/>
                </a:cubicBezTo>
                <a:cubicBezTo>
                  <a:pt x="451" y="102"/>
                  <a:pt x="450" y="102"/>
                  <a:pt x="449" y="102"/>
                </a:cubicBezTo>
                <a:cubicBezTo>
                  <a:pt x="448" y="102"/>
                  <a:pt x="447" y="102"/>
                  <a:pt x="446" y="101"/>
                </a:cubicBezTo>
                <a:cubicBezTo>
                  <a:pt x="446" y="102"/>
                  <a:pt x="442" y="102"/>
                  <a:pt x="443" y="104"/>
                </a:cubicBezTo>
                <a:cubicBezTo>
                  <a:pt x="444" y="104"/>
                  <a:pt x="444" y="104"/>
                  <a:pt x="444" y="104"/>
                </a:cubicBezTo>
                <a:cubicBezTo>
                  <a:pt x="445" y="104"/>
                  <a:pt x="446" y="105"/>
                  <a:pt x="446" y="105"/>
                </a:cubicBezTo>
                <a:cubicBezTo>
                  <a:pt x="447" y="105"/>
                  <a:pt x="447" y="105"/>
                  <a:pt x="448" y="106"/>
                </a:cubicBezTo>
                <a:cubicBezTo>
                  <a:pt x="448" y="106"/>
                  <a:pt x="450" y="107"/>
                  <a:pt x="450" y="107"/>
                </a:cubicBezTo>
                <a:cubicBezTo>
                  <a:pt x="449" y="108"/>
                  <a:pt x="449" y="107"/>
                  <a:pt x="448" y="107"/>
                </a:cubicBezTo>
                <a:cubicBezTo>
                  <a:pt x="448" y="107"/>
                  <a:pt x="449" y="107"/>
                  <a:pt x="448" y="107"/>
                </a:cubicBezTo>
                <a:cubicBezTo>
                  <a:pt x="447" y="107"/>
                  <a:pt x="446" y="107"/>
                  <a:pt x="446" y="107"/>
                </a:cubicBezTo>
                <a:cubicBezTo>
                  <a:pt x="444" y="106"/>
                  <a:pt x="444" y="105"/>
                  <a:pt x="443" y="106"/>
                </a:cubicBezTo>
                <a:cubicBezTo>
                  <a:pt x="443" y="107"/>
                  <a:pt x="443" y="108"/>
                  <a:pt x="444" y="109"/>
                </a:cubicBezTo>
                <a:cubicBezTo>
                  <a:pt x="443" y="109"/>
                  <a:pt x="443" y="108"/>
                  <a:pt x="442" y="108"/>
                </a:cubicBezTo>
                <a:cubicBezTo>
                  <a:pt x="442" y="109"/>
                  <a:pt x="442" y="109"/>
                  <a:pt x="441" y="109"/>
                </a:cubicBezTo>
                <a:cubicBezTo>
                  <a:pt x="441" y="110"/>
                  <a:pt x="441" y="110"/>
                  <a:pt x="442" y="110"/>
                </a:cubicBezTo>
                <a:cubicBezTo>
                  <a:pt x="442" y="111"/>
                  <a:pt x="442" y="111"/>
                  <a:pt x="442" y="112"/>
                </a:cubicBezTo>
                <a:cubicBezTo>
                  <a:pt x="441" y="111"/>
                  <a:pt x="440" y="111"/>
                  <a:pt x="440" y="110"/>
                </a:cubicBezTo>
                <a:cubicBezTo>
                  <a:pt x="440" y="109"/>
                  <a:pt x="441" y="110"/>
                  <a:pt x="441" y="109"/>
                </a:cubicBezTo>
                <a:cubicBezTo>
                  <a:pt x="441" y="108"/>
                  <a:pt x="441" y="107"/>
                  <a:pt x="441" y="106"/>
                </a:cubicBezTo>
                <a:cubicBezTo>
                  <a:pt x="441" y="106"/>
                  <a:pt x="441" y="106"/>
                  <a:pt x="441" y="106"/>
                </a:cubicBezTo>
                <a:cubicBezTo>
                  <a:pt x="440" y="106"/>
                  <a:pt x="439" y="107"/>
                  <a:pt x="437" y="107"/>
                </a:cubicBezTo>
                <a:cubicBezTo>
                  <a:pt x="437" y="107"/>
                  <a:pt x="437" y="107"/>
                  <a:pt x="437" y="106"/>
                </a:cubicBezTo>
                <a:cubicBezTo>
                  <a:pt x="438" y="107"/>
                  <a:pt x="438" y="106"/>
                  <a:pt x="437" y="106"/>
                </a:cubicBezTo>
                <a:cubicBezTo>
                  <a:pt x="437" y="105"/>
                  <a:pt x="436" y="105"/>
                  <a:pt x="436" y="106"/>
                </a:cubicBezTo>
                <a:cubicBezTo>
                  <a:pt x="435" y="106"/>
                  <a:pt x="436" y="106"/>
                  <a:pt x="435" y="106"/>
                </a:cubicBezTo>
                <a:cubicBezTo>
                  <a:pt x="435" y="106"/>
                  <a:pt x="435" y="106"/>
                  <a:pt x="435" y="106"/>
                </a:cubicBezTo>
                <a:cubicBezTo>
                  <a:pt x="435" y="107"/>
                  <a:pt x="434" y="106"/>
                  <a:pt x="434" y="107"/>
                </a:cubicBezTo>
                <a:cubicBezTo>
                  <a:pt x="434" y="108"/>
                  <a:pt x="433" y="108"/>
                  <a:pt x="432" y="108"/>
                </a:cubicBezTo>
                <a:cubicBezTo>
                  <a:pt x="433" y="108"/>
                  <a:pt x="433" y="109"/>
                  <a:pt x="433" y="109"/>
                </a:cubicBezTo>
                <a:cubicBezTo>
                  <a:pt x="434" y="110"/>
                  <a:pt x="434" y="111"/>
                  <a:pt x="433" y="111"/>
                </a:cubicBezTo>
                <a:cubicBezTo>
                  <a:pt x="432" y="111"/>
                  <a:pt x="431" y="112"/>
                  <a:pt x="431" y="110"/>
                </a:cubicBezTo>
                <a:cubicBezTo>
                  <a:pt x="430" y="110"/>
                  <a:pt x="429" y="111"/>
                  <a:pt x="429" y="110"/>
                </a:cubicBezTo>
                <a:cubicBezTo>
                  <a:pt x="430" y="110"/>
                  <a:pt x="431" y="110"/>
                  <a:pt x="431" y="110"/>
                </a:cubicBezTo>
                <a:cubicBezTo>
                  <a:pt x="431" y="109"/>
                  <a:pt x="431" y="107"/>
                  <a:pt x="432" y="107"/>
                </a:cubicBezTo>
                <a:cubicBezTo>
                  <a:pt x="432" y="106"/>
                  <a:pt x="431" y="107"/>
                  <a:pt x="431" y="107"/>
                </a:cubicBezTo>
                <a:cubicBezTo>
                  <a:pt x="431" y="106"/>
                  <a:pt x="431" y="105"/>
                  <a:pt x="431" y="104"/>
                </a:cubicBezTo>
                <a:cubicBezTo>
                  <a:pt x="431" y="103"/>
                  <a:pt x="429" y="102"/>
                  <a:pt x="429" y="102"/>
                </a:cubicBezTo>
                <a:cubicBezTo>
                  <a:pt x="429" y="101"/>
                  <a:pt x="429" y="99"/>
                  <a:pt x="430" y="99"/>
                </a:cubicBezTo>
                <a:cubicBezTo>
                  <a:pt x="431" y="99"/>
                  <a:pt x="431" y="98"/>
                  <a:pt x="430" y="98"/>
                </a:cubicBezTo>
                <a:cubicBezTo>
                  <a:pt x="430" y="98"/>
                  <a:pt x="430" y="98"/>
                  <a:pt x="430" y="97"/>
                </a:cubicBezTo>
                <a:cubicBezTo>
                  <a:pt x="431" y="97"/>
                  <a:pt x="431" y="96"/>
                  <a:pt x="431" y="95"/>
                </a:cubicBezTo>
                <a:cubicBezTo>
                  <a:pt x="432" y="94"/>
                  <a:pt x="425" y="93"/>
                  <a:pt x="425" y="93"/>
                </a:cubicBezTo>
                <a:cubicBezTo>
                  <a:pt x="425" y="94"/>
                  <a:pt x="421" y="94"/>
                  <a:pt x="421" y="95"/>
                </a:cubicBezTo>
                <a:cubicBezTo>
                  <a:pt x="421" y="95"/>
                  <a:pt x="421" y="95"/>
                  <a:pt x="421" y="95"/>
                </a:cubicBezTo>
                <a:cubicBezTo>
                  <a:pt x="421" y="96"/>
                  <a:pt x="420" y="96"/>
                  <a:pt x="419" y="96"/>
                </a:cubicBezTo>
                <a:cubicBezTo>
                  <a:pt x="418" y="96"/>
                  <a:pt x="418" y="96"/>
                  <a:pt x="418" y="97"/>
                </a:cubicBezTo>
                <a:cubicBezTo>
                  <a:pt x="416" y="97"/>
                  <a:pt x="417" y="97"/>
                  <a:pt x="415" y="97"/>
                </a:cubicBezTo>
                <a:cubicBezTo>
                  <a:pt x="415" y="98"/>
                  <a:pt x="416" y="98"/>
                  <a:pt x="416" y="98"/>
                </a:cubicBezTo>
                <a:cubicBezTo>
                  <a:pt x="415" y="99"/>
                  <a:pt x="415" y="99"/>
                  <a:pt x="415" y="100"/>
                </a:cubicBezTo>
                <a:cubicBezTo>
                  <a:pt x="415" y="100"/>
                  <a:pt x="416" y="100"/>
                  <a:pt x="416" y="100"/>
                </a:cubicBezTo>
                <a:cubicBezTo>
                  <a:pt x="415" y="100"/>
                  <a:pt x="414" y="100"/>
                  <a:pt x="413" y="100"/>
                </a:cubicBezTo>
                <a:cubicBezTo>
                  <a:pt x="413" y="100"/>
                  <a:pt x="413" y="100"/>
                  <a:pt x="413" y="100"/>
                </a:cubicBezTo>
                <a:cubicBezTo>
                  <a:pt x="412" y="100"/>
                  <a:pt x="412" y="101"/>
                  <a:pt x="412" y="102"/>
                </a:cubicBezTo>
                <a:cubicBezTo>
                  <a:pt x="412" y="102"/>
                  <a:pt x="412" y="103"/>
                  <a:pt x="412" y="104"/>
                </a:cubicBezTo>
                <a:cubicBezTo>
                  <a:pt x="412" y="105"/>
                  <a:pt x="413" y="104"/>
                  <a:pt x="413" y="105"/>
                </a:cubicBezTo>
                <a:cubicBezTo>
                  <a:pt x="413" y="105"/>
                  <a:pt x="414" y="105"/>
                  <a:pt x="414" y="105"/>
                </a:cubicBezTo>
                <a:cubicBezTo>
                  <a:pt x="414" y="106"/>
                  <a:pt x="416" y="105"/>
                  <a:pt x="417" y="105"/>
                </a:cubicBezTo>
                <a:cubicBezTo>
                  <a:pt x="415" y="106"/>
                  <a:pt x="417" y="108"/>
                  <a:pt x="417" y="108"/>
                </a:cubicBezTo>
                <a:cubicBezTo>
                  <a:pt x="416" y="108"/>
                  <a:pt x="416" y="107"/>
                  <a:pt x="415" y="107"/>
                </a:cubicBezTo>
                <a:cubicBezTo>
                  <a:pt x="415" y="107"/>
                  <a:pt x="414" y="107"/>
                  <a:pt x="413" y="107"/>
                </a:cubicBezTo>
                <a:cubicBezTo>
                  <a:pt x="412" y="107"/>
                  <a:pt x="412" y="106"/>
                  <a:pt x="411" y="107"/>
                </a:cubicBezTo>
                <a:cubicBezTo>
                  <a:pt x="411" y="108"/>
                  <a:pt x="411" y="109"/>
                  <a:pt x="412" y="109"/>
                </a:cubicBezTo>
                <a:cubicBezTo>
                  <a:pt x="412" y="109"/>
                  <a:pt x="412" y="109"/>
                  <a:pt x="412" y="109"/>
                </a:cubicBezTo>
                <a:cubicBezTo>
                  <a:pt x="413" y="110"/>
                  <a:pt x="414" y="110"/>
                  <a:pt x="415" y="110"/>
                </a:cubicBezTo>
                <a:cubicBezTo>
                  <a:pt x="415" y="111"/>
                  <a:pt x="414" y="112"/>
                  <a:pt x="413" y="113"/>
                </a:cubicBezTo>
                <a:cubicBezTo>
                  <a:pt x="414" y="114"/>
                  <a:pt x="414" y="115"/>
                  <a:pt x="414" y="116"/>
                </a:cubicBezTo>
                <a:cubicBezTo>
                  <a:pt x="414" y="116"/>
                  <a:pt x="413" y="116"/>
                  <a:pt x="412" y="115"/>
                </a:cubicBezTo>
                <a:cubicBezTo>
                  <a:pt x="412" y="114"/>
                  <a:pt x="411" y="115"/>
                  <a:pt x="410" y="115"/>
                </a:cubicBezTo>
                <a:cubicBezTo>
                  <a:pt x="410" y="115"/>
                  <a:pt x="409" y="116"/>
                  <a:pt x="409" y="116"/>
                </a:cubicBezTo>
                <a:cubicBezTo>
                  <a:pt x="408" y="116"/>
                  <a:pt x="408" y="116"/>
                  <a:pt x="407" y="116"/>
                </a:cubicBezTo>
                <a:cubicBezTo>
                  <a:pt x="407" y="116"/>
                  <a:pt x="407" y="116"/>
                  <a:pt x="407" y="116"/>
                </a:cubicBezTo>
                <a:cubicBezTo>
                  <a:pt x="406" y="116"/>
                  <a:pt x="406" y="116"/>
                  <a:pt x="407" y="115"/>
                </a:cubicBezTo>
                <a:cubicBezTo>
                  <a:pt x="409" y="115"/>
                  <a:pt x="409" y="114"/>
                  <a:pt x="411" y="114"/>
                </a:cubicBezTo>
                <a:cubicBezTo>
                  <a:pt x="411" y="112"/>
                  <a:pt x="410" y="112"/>
                  <a:pt x="409" y="111"/>
                </a:cubicBezTo>
                <a:cubicBezTo>
                  <a:pt x="407" y="110"/>
                  <a:pt x="408" y="106"/>
                  <a:pt x="407" y="104"/>
                </a:cubicBezTo>
                <a:cubicBezTo>
                  <a:pt x="408" y="104"/>
                  <a:pt x="408" y="104"/>
                  <a:pt x="408" y="104"/>
                </a:cubicBezTo>
                <a:cubicBezTo>
                  <a:pt x="408" y="104"/>
                  <a:pt x="408" y="103"/>
                  <a:pt x="407" y="103"/>
                </a:cubicBezTo>
                <a:cubicBezTo>
                  <a:pt x="408" y="102"/>
                  <a:pt x="408" y="101"/>
                  <a:pt x="408" y="100"/>
                </a:cubicBezTo>
                <a:cubicBezTo>
                  <a:pt x="408" y="100"/>
                  <a:pt x="408" y="100"/>
                  <a:pt x="408" y="100"/>
                </a:cubicBezTo>
                <a:cubicBezTo>
                  <a:pt x="408" y="100"/>
                  <a:pt x="408" y="99"/>
                  <a:pt x="408" y="99"/>
                </a:cubicBezTo>
                <a:cubicBezTo>
                  <a:pt x="408" y="99"/>
                  <a:pt x="409" y="99"/>
                  <a:pt x="409" y="98"/>
                </a:cubicBezTo>
                <a:cubicBezTo>
                  <a:pt x="409" y="98"/>
                  <a:pt x="409" y="97"/>
                  <a:pt x="410" y="97"/>
                </a:cubicBezTo>
                <a:cubicBezTo>
                  <a:pt x="411" y="97"/>
                  <a:pt x="410" y="97"/>
                  <a:pt x="410" y="97"/>
                </a:cubicBezTo>
                <a:cubicBezTo>
                  <a:pt x="411" y="97"/>
                  <a:pt x="411" y="97"/>
                  <a:pt x="411" y="97"/>
                </a:cubicBezTo>
                <a:cubicBezTo>
                  <a:pt x="412" y="96"/>
                  <a:pt x="412" y="96"/>
                  <a:pt x="412" y="96"/>
                </a:cubicBezTo>
                <a:cubicBezTo>
                  <a:pt x="414" y="95"/>
                  <a:pt x="417" y="95"/>
                  <a:pt x="419" y="95"/>
                </a:cubicBezTo>
                <a:cubicBezTo>
                  <a:pt x="419" y="95"/>
                  <a:pt x="419" y="95"/>
                  <a:pt x="420" y="95"/>
                </a:cubicBezTo>
                <a:cubicBezTo>
                  <a:pt x="419" y="94"/>
                  <a:pt x="419" y="93"/>
                  <a:pt x="418" y="93"/>
                </a:cubicBezTo>
                <a:cubicBezTo>
                  <a:pt x="418" y="93"/>
                  <a:pt x="417" y="93"/>
                  <a:pt x="417" y="93"/>
                </a:cubicBezTo>
                <a:cubicBezTo>
                  <a:pt x="417" y="93"/>
                  <a:pt x="417" y="93"/>
                  <a:pt x="416" y="93"/>
                </a:cubicBezTo>
                <a:cubicBezTo>
                  <a:pt x="415" y="93"/>
                  <a:pt x="414" y="93"/>
                  <a:pt x="413" y="93"/>
                </a:cubicBezTo>
                <a:cubicBezTo>
                  <a:pt x="412" y="93"/>
                  <a:pt x="411" y="93"/>
                  <a:pt x="410" y="93"/>
                </a:cubicBezTo>
                <a:cubicBezTo>
                  <a:pt x="410" y="93"/>
                  <a:pt x="409" y="93"/>
                  <a:pt x="409" y="93"/>
                </a:cubicBezTo>
                <a:cubicBezTo>
                  <a:pt x="409" y="93"/>
                  <a:pt x="408" y="93"/>
                  <a:pt x="408" y="94"/>
                </a:cubicBezTo>
                <a:cubicBezTo>
                  <a:pt x="406" y="94"/>
                  <a:pt x="407" y="93"/>
                  <a:pt x="406" y="93"/>
                </a:cubicBezTo>
                <a:cubicBezTo>
                  <a:pt x="405" y="93"/>
                  <a:pt x="403" y="94"/>
                  <a:pt x="402" y="94"/>
                </a:cubicBezTo>
                <a:cubicBezTo>
                  <a:pt x="401" y="94"/>
                  <a:pt x="400" y="93"/>
                  <a:pt x="399" y="95"/>
                </a:cubicBezTo>
                <a:cubicBezTo>
                  <a:pt x="398" y="95"/>
                  <a:pt x="398" y="95"/>
                  <a:pt x="397" y="96"/>
                </a:cubicBezTo>
                <a:cubicBezTo>
                  <a:pt x="397" y="96"/>
                  <a:pt x="397" y="96"/>
                  <a:pt x="397" y="97"/>
                </a:cubicBezTo>
                <a:cubicBezTo>
                  <a:pt x="397" y="97"/>
                  <a:pt x="397" y="98"/>
                  <a:pt x="397" y="98"/>
                </a:cubicBezTo>
                <a:cubicBezTo>
                  <a:pt x="397" y="98"/>
                  <a:pt x="397" y="98"/>
                  <a:pt x="397" y="98"/>
                </a:cubicBezTo>
                <a:cubicBezTo>
                  <a:pt x="397" y="98"/>
                  <a:pt x="395" y="99"/>
                  <a:pt x="395" y="99"/>
                </a:cubicBezTo>
                <a:cubicBezTo>
                  <a:pt x="394" y="100"/>
                  <a:pt x="395" y="100"/>
                  <a:pt x="395" y="101"/>
                </a:cubicBezTo>
                <a:cubicBezTo>
                  <a:pt x="395" y="101"/>
                  <a:pt x="394" y="102"/>
                  <a:pt x="394" y="102"/>
                </a:cubicBezTo>
                <a:cubicBezTo>
                  <a:pt x="394" y="103"/>
                  <a:pt x="392" y="103"/>
                  <a:pt x="392" y="104"/>
                </a:cubicBezTo>
                <a:cubicBezTo>
                  <a:pt x="392" y="105"/>
                  <a:pt x="392" y="105"/>
                  <a:pt x="391" y="105"/>
                </a:cubicBezTo>
                <a:cubicBezTo>
                  <a:pt x="390" y="106"/>
                  <a:pt x="391" y="106"/>
                  <a:pt x="391" y="107"/>
                </a:cubicBezTo>
                <a:cubicBezTo>
                  <a:pt x="391" y="108"/>
                  <a:pt x="392" y="108"/>
                  <a:pt x="391" y="108"/>
                </a:cubicBezTo>
                <a:cubicBezTo>
                  <a:pt x="390" y="109"/>
                  <a:pt x="391" y="109"/>
                  <a:pt x="390" y="109"/>
                </a:cubicBezTo>
                <a:cubicBezTo>
                  <a:pt x="389" y="110"/>
                  <a:pt x="390" y="110"/>
                  <a:pt x="390" y="110"/>
                </a:cubicBezTo>
                <a:cubicBezTo>
                  <a:pt x="389" y="110"/>
                  <a:pt x="389" y="110"/>
                  <a:pt x="389" y="110"/>
                </a:cubicBezTo>
                <a:cubicBezTo>
                  <a:pt x="389" y="110"/>
                  <a:pt x="389" y="111"/>
                  <a:pt x="389" y="111"/>
                </a:cubicBezTo>
                <a:cubicBezTo>
                  <a:pt x="389" y="112"/>
                  <a:pt x="391" y="112"/>
                  <a:pt x="392" y="112"/>
                </a:cubicBezTo>
                <a:cubicBezTo>
                  <a:pt x="392" y="113"/>
                  <a:pt x="393" y="113"/>
                  <a:pt x="393" y="113"/>
                </a:cubicBezTo>
                <a:cubicBezTo>
                  <a:pt x="393" y="114"/>
                  <a:pt x="393" y="114"/>
                  <a:pt x="392" y="114"/>
                </a:cubicBezTo>
                <a:cubicBezTo>
                  <a:pt x="392" y="114"/>
                  <a:pt x="393" y="115"/>
                  <a:pt x="393" y="115"/>
                </a:cubicBezTo>
                <a:cubicBezTo>
                  <a:pt x="394" y="116"/>
                  <a:pt x="394" y="116"/>
                  <a:pt x="395" y="116"/>
                </a:cubicBezTo>
                <a:cubicBezTo>
                  <a:pt x="397" y="116"/>
                  <a:pt x="398" y="116"/>
                  <a:pt x="400" y="116"/>
                </a:cubicBezTo>
                <a:cubicBezTo>
                  <a:pt x="400" y="116"/>
                  <a:pt x="402" y="117"/>
                  <a:pt x="401" y="117"/>
                </a:cubicBezTo>
                <a:cubicBezTo>
                  <a:pt x="401" y="118"/>
                  <a:pt x="399" y="118"/>
                  <a:pt x="399" y="117"/>
                </a:cubicBezTo>
                <a:cubicBezTo>
                  <a:pt x="399" y="117"/>
                  <a:pt x="398" y="117"/>
                  <a:pt x="398" y="117"/>
                </a:cubicBezTo>
                <a:cubicBezTo>
                  <a:pt x="398" y="118"/>
                  <a:pt x="398" y="119"/>
                  <a:pt x="398" y="119"/>
                </a:cubicBezTo>
                <a:cubicBezTo>
                  <a:pt x="398" y="119"/>
                  <a:pt x="399" y="119"/>
                  <a:pt x="399" y="119"/>
                </a:cubicBezTo>
                <a:cubicBezTo>
                  <a:pt x="399" y="119"/>
                  <a:pt x="399" y="120"/>
                  <a:pt x="399" y="120"/>
                </a:cubicBezTo>
                <a:cubicBezTo>
                  <a:pt x="399" y="120"/>
                  <a:pt x="399" y="120"/>
                  <a:pt x="399" y="121"/>
                </a:cubicBezTo>
                <a:cubicBezTo>
                  <a:pt x="400" y="120"/>
                  <a:pt x="400" y="120"/>
                  <a:pt x="400" y="121"/>
                </a:cubicBezTo>
                <a:cubicBezTo>
                  <a:pt x="401" y="121"/>
                  <a:pt x="402" y="121"/>
                  <a:pt x="402" y="121"/>
                </a:cubicBezTo>
                <a:cubicBezTo>
                  <a:pt x="402" y="122"/>
                  <a:pt x="401" y="122"/>
                  <a:pt x="401" y="123"/>
                </a:cubicBezTo>
                <a:cubicBezTo>
                  <a:pt x="402" y="123"/>
                  <a:pt x="403" y="123"/>
                  <a:pt x="404" y="123"/>
                </a:cubicBezTo>
                <a:cubicBezTo>
                  <a:pt x="404" y="122"/>
                  <a:pt x="405" y="122"/>
                  <a:pt x="405" y="121"/>
                </a:cubicBezTo>
                <a:cubicBezTo>
                  <a:pt x="405" y="121"/>
                  <a:pt x="406" y="121"/>
                  <a:pt x="407" y="122"/>
                </a:cubicBezTo>
                <a:cubicBezTo>
                  <a:pt x="407" y="122"/>
                  <a:pt x="407" y="122"/>
                  <a:pt x="407" y="123"/>
                </a:cubicBezTo>
                <a:cubicBezTo>
                  <a:pt x="407" y="123"/>
                  <a:pt x="407" y="123"/>
                  <a:pt x="408" y="123"/>
                </a:cubicBezTo>
                <a:cubicBezTo>
                  <a:pt x="408" y="123"/>
                  <a:pt x="408" y="123"/>
                  <a:pt x="408" y="123"/>
                </a:cubicBezTo>
                <a:cubicBezTo>
                  <a:pt x="409" y="124"/>
                  <a:pt x="409" y="124"/>
                  <a:pt x="410" y="125"/>
                </a:cubicBezTo>
                <a:cubicBezTo>
                  <a:pt x="410" y="125"/>
                  <a:pt x="410" y="125"/>
                  <a:pt x="410" y="126"/>
                </a:cubicBezTo>
                <a:cubicBezTo>
                  <a:pt x="410" y="126"/>
                  <a:pt x="411" y="126"/>
                  <a:pt x="412" y="126"/>
                </a:cubicBezTo>
                <a:cubicBezTo>
                  <a:pt x="412" y="126"/>
                  <a:pt x="412" y="126"/>
                  <a:pt x="412" y="126"/>
                </a:cubicBezTo>
                <a:cubicBezTo>
                  <a:pt x="412" y="126"/>
                  <a:pt x="412" y="126"/>
                  <a:pt x="412" y="126"/>
                </a:cubicBezTo>
                <a:cubicBezTo>
                  <a:pt x="413" y="126"/>
                  <a:pt x="413" y="126"/>
                  <a:pt x="413" y="126"/>
                </a:cubicBezTo>
                <a:cubicBezTo>
                  <a:pt x="413" y="125"/>
                  <a:pt x="413" y="125"/>
                  <a:pt x="413" y="124"/>
                </a:cubicBezTo>
                <a:cubicBezTo>
                  <a:pt x="414" y="125"/>
                  <a:pt x="415" y="125"/>
                  <a:pt x="415" y="126"/>
                </a:cubicBezTo>
                <a:cubicBezTo>
                  <a:pt x="415" y="126"/>
                  <a:pt x="417" y="126"/>
                  <a:pt x="417" y="126"/>
                </a:cubicBezTo>
                <a:cubicBezTo>
                  <a:pt x="418" y="126"/>
                  <a:pt x="418" y="126"/>
                  <a:pt x="419" y="127"/>
                </a:cubicBezTo>
                <a:cubicBezTo>
                  <a:pt x="419" y="127"/>
                  <a:pt x="424" y="127"/>
                  <a:pt x="424" y="126"/>
                </a:cubicBezTo>
                <a:cubicBezTo>
                  <a:pt x="424" y="125"/>
                  <a:pt x="425" y="127"/>
                  <a:pt x="425" y="127"/>
                </a:cubicBezTo>
                <a:cubicBezTo>
                  <a:pt x="426" y="127"/>
                  <a:pt x="425" y="127"/>
                  <a:pt x="426" y="127"/>
                </a:cubicBezTo>
                <a:cubicBezTo>
                  <a:pt x="426" y="127"/>
                  <a:pt x="427" y="127"/>
                  <a:pt x="428" y="127"/>
                </a:cubicBezTo>
                <a:cubicBezTo>
                  <a:pt x="429" y="128"/>
                  <a:pt x="430" y="128"/>
                  <a:pt x="431" y="127"/>
                </a:cubicBezTo>
                <a:cubicBezTo>
                  <a:pt x="430" y="127"/>
                  <a:pt x="429" y="126"/>
                  <a:pt x="429" y="126"/>
                </a:cubicBezTo>
                <a:cubicBezTo>
                  <a:pt x="428" y="124"/>
                  <a:pt x="428" y="124"/>
                  <a:pt x="427" y="124"/>
                </a:cubicBezTo>
                <a:cubicBezTo>
                  <a:pt x="427" y="123"/>
                  <a:pt x="426" y="123"/>
                  <a:pt x="426" y="123"/>
                </a:cubicBezTo>
                <a:cubicBezTo>
                  <a:pt x="426" y="123"/>
                  <a:pt x="428" y="123"/>
                  <a:pt x="428" y="123"/>
                </a:cubicBezTo>
                <a:cubicBezTo>
                  <a:pt x="428" y="124"/>
                  <a:pt x="430" y="125"/>
                  <a:pt x="430" y="126"/>
                </a:cubicBezTo>
                <a:cubicBezTo>
                  <a:pt x="431" y="126"/>
                  <a:pt x="431" y="126"/>
                  <a:pt x="431" y="126"/>
                </a:cubicBezTo>
                <a:cubicBezTo>
                  <a:pt x="432" y="126"/>
                  <a:pt x="432" y="127"/>
                  <a:pt x="433" y="127"/>
                </a:cubicBezTo>
                <a:cubicBezTo>
                  <a:pt x="433" y="127"/>
                  <a:pt x="434" y="128"/>
                  <a:pt x="434" y="129"/>
                </a:cubicBezTo>
                <a:cubicBezTo>
                  <a:pt x="434" y="129"/>
                  <a:pt x="435" y="129"/>
                  <a:pt x="435" y="129"/>
                </a:cubicBezTo>
                <a:cubicBezTo>
                  <a:pt x="436" y="129"/>
                  <a:pt x="435" y="128"/>
                  <a:pt x="435" y="128"/>
                </a:cubicBezTo>
                <a:cubicBezTo>
                  <a:pt x="436" y="128"/>
                  <a:pt x="435" y="128"/>
                  <a:pt x="435" y="128"/>
                </a:cubicBezTo>
                <a:cubicBezTo>
                  <a:pt x="435" y="128"/>
                  <a:pt x="435" y="127"/>
                  <a:pt x="435" y="127"/>
                </a:cubicBezTo>
                <a:cubicBezTo>
                  <a:pt x="435" y="126"/>
                  <a:pt x="434" y="127"/>
                  <a:pt x="434" y="126"/>
                </a:cubicBezTo>
                <a:cubicBezTo>
                  <a:pt x="434" y="126"/>
                  <a:pt x="434" y="125"/>
                  <a:pt x="434" y="125"/>
                </a:cubicBezTo>
                <a:cubicBezTo>
                  <a:pt x="433" y="124"/>
                  <a:pt x="433" y="124"/>
                  <a:pt x="433" y="123"/>
                </a:cubicBezTo>
                <a:cubicBezTo>
                  <a:pt x="434" y="123"/>
                  <a:pt x="435" y="123"/>
                  <a:pt x="436" y="123"/>
                </a:cubicBezTo>
                <a:cubicBezTo>
                  <a:pt x="436" y="123"/>
                  <a:pt x="436" y="123"/>
                  <a:pt x="436" y="123"/>
                </a:cubicBezTo>
                <a:cubicBezTo>
                  <a:pt x="437" y="123"/>
                  <a:pt x="438" y="123"/>
                  <a:pt x="439" y="124"/>
                </a:cubicBezTo>
                <a:cubicBezTo>
                  <a:pt x="440" y="124"/>
                  <a:pt x="441" y="126"/>
                  <a:pt x="442" y="126"/>
                </a:cubicBezTo>
                <a:cubicBezTo>
                  <a:pt x="443" y="125"/>
                  <a:pt x="444" y="126"/>
                  <a:pt x="445" y="125"/>
                </a:cubicBezTo>
                <a:cubicBezTo>
                  <a:pt x="446" y="124"/>
                  <a:pt x="445" y="123"/>
                  <a:pt x="445" y="122"/>
                </a:cubicBezTo>
                <a:cubicBezTo>
                  <a:pt x="444" y="122"/>
                  <a:pt x="444" y="123"/>
                  <a:pt x="443" y="123"/>
                </a:cubicBezTo>
                <a:cubicBezTo>
                  <a:pt x="443" y="123"/>
                  <a:pt x="443" y="122"/>
                  <a:pt x="443" y="122"/>
                </a:cubicBezTo>
                <a:cubicBezTo>
                  <a:pt x="443" y="121"/>
                  <a:pt x="444" y="121"/>
                  <a:pt x="444" y="121"/>
                </a:cubicBezTo>
                <a:cubicBezTo>
                  <a:pt x="446" y="120"/>
                  <a:pt x="445" y="120"/>
                  <a:pt x="446" y="122"/>
                </a:cubicBezTo>
                <a:cubicBezTo>
                  <a:pt x="446" y="122"/>
                  <a:pt x="446" y="122"/>
                  <a:pt x="446" y="123"/>
                </a:cubicBezTo>
                <a:cubicBezTo>
                  <a:pt x="447" y="124"/>
                  <a:pt x="447" y="123"/>
                  <a:pt x="448" y="124"/>
                </a:cubicBezTo>
                <a:cubicBezTo>
                  <a:pt x="448" y="122"/>
                  <a:pt x="448" y="123"/>
                  <a:pt x="449" y="123"/>
                </a:cubicBezTo>
                <a:cubicBezTo>
                  <a:pt x="450" y="123"/>
                  <a:pt x="451" y="126"/>
                  <a:pt x="451" y="127"/>
                </a:cubicBezTo>
                <a:cubicBezTo>
                  <a:pt x="451" y="127"/>
                  <a:pt x="451" y="128"/>
                  <a:pt x="451" y="128"/>
                </a:cubicBezTo>
                <a:cubicBezTo>
                  <a:pt x="452" y="128"/>
                  <a:pt x="452" y="128"/>
                  <a:pt x="452" y="127"/>
                </a:cubicBezTo>
                <a:cubicBezTo>
                  <a:pt x="452" y="126"/>
                  <a:pt x="452" y="126"/>
                  <a:pt x="452" y="126"/>
                </a:cubicBezTo>
                <a:cubicBezTo>
                  <a:pt x="452" y="126"/>
                  <a:pt x="453" y="126"/>
                  <a:pt x="453" y="126"/>
                </a:cubicBezTo>
                <a:cubicBezTo>
                  <a:pt x="454" y="125"/>
                  <a:pt x="454" y="125"/>
                  <a:pt x="455" y="126"/>
                </a:cubicBezTo>
                <a:cubicBezTo>
                  <a:pt x="455" y="126"/>
                  <a:pt x="455" y="126"/>
                  <a:pt x="455" y="126"/>
                </a:cubicBezTo>
                <a:cubicBezTo>
                  <a:pt x="455" y="127"/>
                  <a:pt x="455" y="127"/>
                  <a:pt x="455" y="127"/>
                </a:cubicBezTo>
                <a:cubicBezTo>
                  <a:pt x="455" y="128"/>
                  <a:pt x="457" y="126"/>
                  <a:pt x="457" y="128"/>
                </a:cubicBezTo>
                <a:cubicBezTo>
                  <a:pt x="456" y="128"/>
                  <a:pt x="456" y="128"/>
                  <a:pt x="456" y="128"/>
                </a:cubicBezTo>
                <a:cubicBezTo>
                  <a:pt x="456" y="128"/>
                  <a:pt x="456" y="129"/>
                  <a:pt x="456" y="129"/>
                </a:cubicBezTo>
                <a:cubicBezTo>
                  <a:pt x="457" y="129"/>
                  <a:pt x="458" y="129"/>
                  <a:pt x="458" y="127"/>
                </a:cubicBezTo>
                <a:cubicBezTo>
                  <a:pt x="459" y="128"/>
                  <a:pt x="460" y="127"/>
                  <a:pt x="460" y="127"/>
                </a:cubicBezTo>
                <a:cubicBezTo>
                  <a:pt x="461" y="127"/>
                  <a:pt x="461" y="128"/>
                  <a:pt x="461" y="129"/>
                </a:cubicBezTo>
                <a:cubicBezTo>
                  <a:pt x="460" y="129"/>
                  <a:pt x="459" y="128"/>
                  <a:pt x="459" y="129"/>
                </a:cubicBezTo>
                <a:cubicBezTo>
                  <a:pt x="459" y="130"/>
                  <a:pt x="459" y="130"/>
                  <a:pt x="459" y="131"/>
                </a:cubicBezTo>
                <a:cubicBezTo>
                  <a:pt x="459" y="131"/>
                  <a:pt x="459" y="131"/>
                  <a:pt x="459" y="131"/>
                </a:cubicBezTo>
                <a:cubicBezTo>
                  <a:pt x="459" y="132"/>
                  <a:pt x="460" y="132"/>
                  <a:pt x="461" y="132"/>
                </a:cubicBezTo>
                <a:cubicBezTo>
                  <a:pt x="462" y="132"/>
                  <a:pt x="462" y="133"/>
                  <a:pt x="462" y="134"/>
                </a:cubicBezTo>
                <a:cubicBezTo>
                  <a:pt x="462" y="133"/>
                  <a:pt x="461" y="133"/>
                  <a:pt x="460" y="133"/>
                </a:cubicBezTo>
                <a:cubicBezTo>
                  <a:pt x="460" y="134"/>
                  <a:pt x="460" y="136"/>
                  <a:pt x="459" y="135"/>
                </a:cubicBezTo>
                <a:cubicBezTo>
                  <a:pt x="459" y="137"/>
                  <a:pt x="459" y="137"/>
                  <a:pt x="461" y="137"/>
                </a:cubicBezTo>
                <a:cubicBezTo>
                  <a:pt x="461" y="137"/>
                  <a:pt x="461" y="139"/>
                  <a:pt x="461" y="139"/>
                </a:cubicBezTo>
                <a:cubicBezTo>
                  <a:pt x="462" y="139"/>
                  <a:pt x="463" y="139"/>
                  <a:pt x="463" y="138"/>
                </a:cubicBezTo>
                <a:cubicBezTo>
                  <a:pt x="464" y="138"/>
                  <a:pt x="464" y="138"/>
                  <a:pt x="464" y="137"/>
                </a:cubicBezTo>
                <a:cubicBezTo>
                  <a:pt x="464" y="137"/>
                  <a:pt x="465" y="137"/>
                  <a:pt x="465" y="137"/>
                </a:cubicBezTo>
                <a:cubicBezTo>
                  <a:pt x="465" y="136"/>
                  <a:pt x="466" y="136"/>
                  <a:pt x="466" y="135"/>
                </a:cubicBezTo>
                <a:cubicBezTo>
                  <a:pt x="467" y="136"/>
                  <a:pt x="467" y="136"/>
                  <a:pt x="468" y="135"/>
                </a:cubicBezTo>
                <a:cubicBezTo>
                  <a:pt x="468" y="135"/>
                  <a:pt x="468" y="135"/>
                  <a:pt x="469" y="134"/>
                </a:cubicBezTo>
                <a:cubicBezTo>
                  <a:pt x="469" y="135"/>
                  <a:pt x="469" y="136"/>
                  <a:pt x="469" y="136"/>
                </a:cubicBezTo>
                <a:cubicBezTo>
                  <a:pt x="469" y="137"/>
                  <a:pt x="468" y="137"/>
                  <a:pt x="468" y="137"/>
                </a:cubicBezTo>
                <a:cubicBezTo>
                  <a:pt x="467" y="138"/>
                  <a:pt x="468" y="139"/>
                  <a:pt x="468" y="139"/>
                </a:cubicBezTo>
                <a:cubicBezTo>
                  <a:pt x="468" y="141"/>
                  <a:pt x="470" y="139"/>
                  <a:pt x="470" y="141"/>
                </a:cubicBezTo>
                <a:cubicBezTo>
                  <a:pt x="471" y="142"/>
                  <a:pt x="471" y="142"/>
                  <a:pt x="473" y="142"/>
                </a:cubicBezTo>
                <a:cubicBezTo>
                  <a:pt x="472" y="143"/>
                  <a:pt x="472" y="143"/>
                  <a:pt x="472" y="144"/>
                </a:cubicBezTo>
                <a:cubicBezTo>
                  <a:pt x="472" y="144"/>
                  <a:pt x="473" y="144"/>
                  <a:pt x="473" y="144"/>
                </a:cubicBezTo>
                <a:cubicBezTo>
                  <a:pt x="473" y="145"/>
                  <a:pt x="472" y="146"/>
                  <a:pt x="473" y="146"/>
                </a:cubicBezTo>
                <a:cubicBezTo>
                  <a:pt x="473" y="147"/>
                  <a:pt x="473" y="148"/>
                  <a:pt x="474" y="148"/>
                </a:cubicBezTo>
                <a:cubicBezTo>
                  <a:pt x="474" y="148"/>
                  <a:pt x="474" y="149"/>
                  <a:pt x="474" y="150"/>
                </a:cubicBezTo>
                <a:cubicBezTo>
                  <a:pt x="474" y="150"/>
                  <a:pt x="473" y="149"/>
                  <a:pt x="473" y="149"/>
                </a:cubicBezTo>
                <a:cubicBezTo>
                  <a:pt x="473" y="150"/>
                  <a:pt x="472" y="150"/>
                  <a:pt x="472" y="150"/>
                </a:cubicBezTo>
                <a:cubicBezTo>
                  <a:pt x="471" y="150"/>
                  <a:pt x="472" y="151"/>
                  <a:pt x="471" y="151"/>
                </a:cubicBezTo>
                <a:cubicBezTo>
                  <a:pt x="470" y="153"/>
                  <a:pt x="473" y="153"/>
                  <a:pt x="474" y="154"/>
                </a:cubicBezTo>
                <a:cubicBezTo>
                  <a:pt x="473" y="154"/>
                  <a:pt x="472" y="155"/>
                  <a:pt x="472" y="154"/>
                </a:cubicBezTo>
                <a:cubicBezTo>
                  <a:pt x="472" y="154"/>
                  <a:pt x="471" y="154"/>
                  <a:pt x="471" y="154"/>
                </a:cubicBezTo>
                <a:cubicBezTo>
                  <a:pt x="470" y="154"/>
                  <a:pt x="471" y="155"/>
                  <a:pt x="471" y="155"/>
                </a:cubicBezTo>
                <a:cubicBezTo>
                  <a:pt x="470" y="155"/>
                  <a:pt x="470" y="156"/>
                  <a:pt x="469" y="156"/>
                </a:cubicBezTo>
                <a:cubicBezTo>
                  <a:pt x="469" y="156"/>
                  <a:pt x="469" y="157"/>
                  <a:pt x="469" y="157"/>
                </a:cubicBezTo>
                <a:cubicBezTo>
                  <a:pt x="468" y="157"/>
                  <a:pt x="469" y="157"/>
                  <a:pt x="469" y="158"/>
                </a:cubicBezTo>
                <a:cubicBezTo>
                  <a:pt x="469" y="158"/>
                  <a:pt x="468" y="158"/>
                  <a:pt x="468" y="158"/>
                </a:cubicBezTo>
                <a:cubicBezTo>
                  <a:pt x="468" y="159"/>
                  <a:pt x="468" y="159"/>
                  <a:pt x="467" y="159"/>
                </a:cubicBezTo>
                <a:cubicBezTo>
                  <a:pt x="467" y="159"/>
                  <a:pt x="467" y="159"/>
                  <a:pt x="467" y="159"/>
                </a:cubicBezTo>
                <a:cubicBezTo>
                  <a:pt x="467" y="159"/>
                  <a:pt x="466" y="160"/>
                  <a:pt x="465" y="160"/>
                </a:cubicBezTo>
                <a:cubicBezTo>
                  <a:pt x="465" y="161"/>
                  <a:pt x="466" y="161"/>
                  <a:pt x="467" y="162"/>
                </a:cubicBezTo>
                <a:cubicBezTo>
                  <a:pt x="467" y="163"/>
                  <a:pt x="468" y="162"/>
                  <a:pt x="468" y="163"/>
                </a:cubicBezTo>
                <a:cubicBezTo>
                  <a:pt x="469" y="164"/>
                  <a:pt x="469" y="165"/>
                  <a:pt x="470" y="166"/>
                </a:cubicBezTo>
                <a:cubicBezTo>
                  <a:pt x="470" y="166"/>
                  <a:pt x="471" y="167"/>
                  <a:pt x="471" y="167"/>
                </a:cubicBezTo>
                <a:cubicBezTo>
                  <a:pt x="472" y="168"/>
                  <a:pt x="471" y="168"/>
                  <a:pt x="470" y="169"/>
                </a:cubicBezTo>
                <a:cubicBezTo>
                  <a:pt x="470" y="168"/>
                  <a:pt x="468" y="169"/>
                  <a:pt x="468" y="169"/>
                </a:cubicBezTo>
                <a:cubicBezTo>
                  <a:pt x="467" y="169"/>
                  <a:pt x="464" y="169"/>
                  <a:pt x="464" y="170"/>
                </a:cubicBezTo>
                <a:cubicBezTo>
                  <a:pt x="464" y="170"/>
                  <a:pt x="462" y="170"/>
                  <a:pt x="462" y="169"/>
                </a:cubicBezTo>
                <a:cubicBezTo>
                  <a:pt x="462" y="169"/>
                  <a:pt x="460" y="169"/>
                  <a:pt x="461" y="170"/>
                </a:cubicBezTo>
                <a:cubicBezTo>
                  <a:pt x="460" y="170"/>
                  <a:pt x="459" y="170"/>
                  <a:pt x="459" y="169"/>
                </a:cubicBezTo>
                <a:cubicBezTo>
                  <a:pt x="458" y="170"/>
                  <a:pt x="458" y="169"/>
                  <a:pt x="458" y="170"/>
                </a:cubicBezTo>
                <a:cubicBezTo>
                  <a:pt x="458" y="171"/>
                  <a:pt x="457" y="170"/>
                  <a:pt x="457" y="170"/>
                </a:cubicBezTo>
                <a:cubicBezTo>
                  <a:pt x="456" y="170"/>
                  <a:pt x="456" y="170"/>
                  <a:pt x="456" y="171"/>
                </a:cubicBezTo>
                <a:cubicBezTo>
                  <a:pt x="455" y="171"/>
                  <a:pt x="453" y="171"/>
                  <a:pt x="454" y="170"/>
                </a:cubicBezTo>
                <a:cubicBezTo>
                  <a:pt x="453" y="170"/>
                  <a:pt x="453" y="171"/>
                  <a:pt x="453" y="171"/>
                </a:cubicBezTo>
                <a:cubicBezTo>
                  <a:pt x="452" y="171"/>
                  <a:pt x="452" y="170"/>
                  <a:pt x="452" y="170"/>
                </a:cubicBezTo>
                <a:cubicBezTo>
                  <a:pt x="451" y="170"/>
                  <a:pt x="449" y="170"/>
                  <a:pt x="449" y="171"/>
                </a:cubicBezTo>
                <a:cubicBezTo>
                  <a:pt x="449" y="171"/>
                  <a:pt x="449" y="172"/>
                  <a:pt x="449" y="172"/>
                </a:cubicBezTo>
                <a:cubicBezTo>
                  <a:pt x="448" y="173"/>
                  <a:pt x="448" y="174"/>
                  <a:pt x="448" y="175"/>
                </a:cubicBezTo>
                <a:cubicBezTo>
                  <a:pt x="448" y="175"/>
                  <a:pt x="448" y="175"/>
                  <a:pt x="448" y="175"/>
                </a:cubicBezTo>
                <a:cubicBezTo>
                  <a:pt x="448" y="176"/>
                  <a:pt x="448" y="176"/>
                  <a:pt x="447" y="177"/>
                </a:cubicBezTo>
                <a:cubicBezTo>
                  <a:pt x="446" y="178"/>
                  <a:pt x="447" y="178"/>
                  <a:pt x="448" y="179"/>
                </a:cubicBezTo>
                <a:cubicBezTo>
                  <a:pt x="448" y="180"/>
                  <a:pt x="448" y="180"/>
                  <a:pt x="449" y="180"/>
                </a:cubicBezTo>
                <a:cubicBezTo>
                  <a:pt x="449" y="180"/>
                  <a:pt x="450" y="180"/>
                  <a:pt x="450" y="181"/>
                </a:cubicBezTo>
                <a:cubicBezTo>
                  <a:pt x="450" y="181"/>
                  <a:pt x="450" y="181"/>
                  <a:pt x="451" y="180"/>
                </a:cubicBezTo>
                <a:cubicBezTo>
                  <a:pt x="452" y="180"/>
                  <a:pt x="451" y="181"/>
                  <a:pt x="452" y="181"/>
                </a:cubicBezTo>
                <a:cubicBezTo>
                  <a:pt x="453" y="181"/>
                  <a:pt x="455" y="181"/>
                  <a:pt x="455" y="180"/>
                </a:cubicBezTo>
                <a:cubicBezTo>
                  <a:pt x="455" y="179"/>
                  <a:pt x="457" y="180"/>
                  <a:pt x="457" y="179"/>
                </a:cubicBezTo>
                <a:cubicBezTo>
                  <a:pt x="457" y="178"/>
                  <a:pt x="457" y="179"/>
                  <a:pt x="458" y="178"/>
                </a:cubicBezTo>
                <a:cubicBezTo>
                  <a:pt x="459" y="177"/>
                  <a:pt x="459" y="176"/>
                  <a:pt x="460" y="178"/>
                </a:cubicBezTo>
                <a:cubicBezTo>
                  <a:pt x="461" y="178"/>
                  <a:pt x="461" y="178"/>
                  <a:pt x="461" y="179"/>
                </a:cubicBezTo>
                <a:cubicBezTo>
                  <a:pt x="462" y="179"/>
                  <a:pt x="462" y="178"/>
                  <a:pt x="463" y="178"/>
                </a:cubicBezTo>
                <a:cubicBezTo>
                  <a:pt x="464" y="177"/>
                  <a:pt x="462" y="176"/>
                  <a:pt x="462" y="176"/>
                </a:cubicBezTo>
                <a:cubicBezTo>
                  <a:pt x="461" y="176"/>
                  <a:pt x="461" y="176"/>
                  <a:pt x="461" y="175"/>
                </a:cubicBezTo>
                <a:cubicBezTo>
                  <a:pt x="461" y="175"/>
                  <a:pt x="461" y="175"/>
                  <a:pt x="462" y="175"/>
                </a:cubicBezTo>
                <a:cubicBezTo>
                  <a:pt x="462" y="174"/>
                  <a:pt x="462" y="174"/>
                  <a:pt x="463" y="174"/>
                </a:cubicBezTo>
                <a:cubicBezTo>
                  <a:pt x="463" y="174"/>
                  <a:pt x="463" y="175"/>
                  <a:pt x="463" y="176"/>
                </a:cubicBezTo>
                <a:cubicBezTo>
                  <a:pt x="463" y="176"/>
                  <a:pt x="464" y="176"/>
                  <a:pt x="464" y="176"/>
                </a:cubicBezTo>
                <a:cubicBezTo>
                  <a:pt x="465" y="177"/>
                  <a:pt x="465" y="176"/>
                  <a:pt x="466" y="176"/>
                </a:cubicBezTo>
                <a:cubicBezTo>
                  <a:pt x="466" y="176"/>
                  <a:pt x="465" y="175"/>
                  <a:pt x="465" y="175"/>
                </a:cubicBezTo>
                <a:cubicBezTo>
                  <a:pt x="465" y="175"/>
                  <a:pt x="466" y="175"/>
                  <a:pt x="466" y="175"/>
                </a:cubicBezTo>
                <a:cubicBezTo>
                  <a:pt x="466" y="175"/>
                  <a:pt x="466" y="176"/>
                  <a:pt x="466" y="176"/>
                </a:cubicBezTo>
                <a:cubicBezTo>
                  <a:pt x="466" y="176"/>
                  <a:pt x="467" y="176"/>
                  <a:pt x="467" y="177"/>
                </a:cubicBezTo>
                <a:cubicBezTo>
                  <a:pt x="468" y="177"/>
                  <a:pt x="468" y="178"/>
                  <a:pt x="468" y="178"/>
                </a:cubicBezTo>
                <a:cubicBezTo>
                  <a:pt x="468" y="178"/>
                  <a:pt x="469" y="177"/>
                  <a:pt x="469" y="177"/>
                </a:cubicBezTo>
                <a:cubicBezTo>
                  <a:pt x="469" y="177"/>
                  <a:pt x="470" y="177"/>
                  <a:pt x="470" y="177"/>
                </a:cubicBezTo>
                <a:cubicBezTo>
                  <a:pt x="471" y="177"/>
                  <a:pt x="470" y="178"/>
                  <a:pt x="471" y="179"/>
                </a:cubicBezTo>
                <a:cubicBezTo>
                  <a:pt x="472" y="179"/>
                  <a:pt x="472" y="180"/>
                  <a:pt x="472" y="180"/>
                </a:cubicBezTo>
                <a:cubicBezTo>
                  <a:pt x="472" y="181"/>
                  <a:pt x="472" y="181"/>
                  <a:pt x="473" y="181"/>
                </a:cubicBezTo>
                <a:cubicBezTo>
                  <a:pt x="474" y="181"/>
                  <a:pt x="474" y="181"/>
                  <a:pt x="474" y="182"/>
                </a:cubicBezTo>
                <a:cubicBezTo>
                  <a:pt x="474" y="183"/>
                  <a:pt x="474" y="184"/>
                  <a:pt x="474" y="185"/>
                </a:cubicBezTo>
                <a:cubicBezTo>
                  <a:pt x="475" y="185"/>
                  <a:pt x="475" y="185"/>
                  <a:pt x="475" y="184"/>
                </a:cubicBezTo>
                <a:cubicBezTo>
                  <a:pt x="476" y="184"/>
                  <a:pt x="476" y="185"/>
                  <a:pt x="476" y="186"/>
                </a:cubicBezTo>
                <a:cubicBezTo>
                  <a:pt x="477" y="185"/>
                  <a:pt x="477" y="186"/>
                  <a:pt x="477" y="184"/>
                </a:cubicBezTo>
                <a:cubicBezTo>
                  <a:pt x="478" y="184"/>
                  <a:pt x="478" y="185"/>
                  <a:pt x="479" y="185"/>
                </a:cubicBezTo>
                <a:cubicBezTo>
                  <a:pt x="479" y="185"/>
                  <a:pt x="480" y="185"/>
                  <a:pt x="480" y="185"/>
                </a:cubicBezTo>
                <a:cubicBezTo>
                  <a:pt x="480" y="186"/>
                  <a:pt x="480" y="187"/>
                  <a:pt x="479" y="187"/>
                </a:cubicBezTo>
                <a:cubicBezTo>
                  <a:pt x="478" y="187"/>
                  <a:pt x="477" y="187"/>
                  <a:pt x="476" y="188"/>
                </a:cubicBezTo>
                <a:cubicBezTo>
                  <a:pt x="477" y="188"/>
                  <a:pt x="479" y="188"/>
                  <a:pt x="480" y="189"/>
                </a:cubicBezTo>
                <a:cubicBezTo>
                  <a:pt x="480" y="190"/>
                  <a:pt x="481" y="188"/>
                  <a:pt x="482" y="189"/>
                </a:cubicBezTo>
                <a:cubicBezTo>
                  <a:pt x="482" y="190"/>
                  <a:pt x="484" y="190"/>
                  <a:pt x="485" y="189"/>
                </a:cubicBezTo>
                <a:cubicBezTo>
                  <a:pt x="486" y="189"/>
                  <a:pt x="486" y="188"/>
                  <a:pt x="486" y="188"/>
                </a:cubicBezTo>
                <a:cubicBezTo>
                  <a:pt x="487" y="188"/>
                  <a:pt x="487" y="188"/>
                  <a:pt x="487" y="189"/>
                </a:cubicBezTo>
                <a:cubicBezTo>
                  <a:pt x="488" y="188"/>
                  <a:pt x="491" y="189"/>
                  <a:pt x="491" y="189"/>
                </a:cubicBezTo>
                <a:cubicBezTo>
                  <a:pt x="492" y="189"/>
                  <a:pt x="492" y="189"/>
                  <a:pt x="493" y="188"/>
                </a:cubicBezTo>
                <a:cubicBezTo>
                  <a:pt x="493" y="189"/>
                  <a:pt x="493" y="189"/>
                  <a:pt x="494" y="189"/>
                </a:cubicBezTo>
                <a:cubicBezTo>
                  <a:pt x="494" y="189"/>
                  <a:pt x="495" y="189"/>
                  <a:pt x="495" y="189"/>
                </a:cubicBezTo>
                <a:cubicBezTo>
                  <a:pt x="496" y="189"/>
                  <a:pt x="497" y="189"/>
                  <a:pt x="498" y="189"/>
                </a:cubicBezTo>
                <a:cubicBezTo>
                  <a:pt x="498" y="190"/>
                  <a:pt x="499" y="190"/>
                  <a:pt x="500" y="190"/>
                </a:cubicBezTo>
                <a:cubicBezTo>
                  <a:pt x="500" y="190"/>
                  <a:pt x="500" y="190"/>
                  <a:pt x="500" y="190"/>
                </a:cubicBezTo>
                <a:cubicBezTo>
                  <a:pt x="501" y="190"/>
                  <a:pt x="501" y="190"/>
                  <a:pt x="501" y="190"/>
                </a:cubicBezTo>
                <a:cubicBezTo>
                  <a:pt x="501" y="190"/>
                  <a:pt x="502" y="190"/>
                  <a:pt x="502" y="190"/>
                </a:cubicBezTo>
                <a:cubicBezTo>
                  <a:pt x="502" y="191"/>
                  <a:pt x="503" y="191"/>
                  <a:pt x="504" y="191"/>
                </a:cubicBezTo>
                <a:cubicBezTo>
                  <a:pt x="505" y="191"/>
                  <a:pt x="505" y="191"/>
                  <a:pt x="505" y="190"/>
                </a:cubicBezTo>
                <a:cubicBezTo>
                  <a:pt x="505" y="189"/>
                  <a:pt x="505" y="188"/>
                  <a:pt x="506" y="188"/>
                </a:cubicBezTo>
                <a:cubicBezTo>
                  <a:pt x="504" y="187"/>
                  <a:pt x="502" y="187"/>
                  <a:pt x="501" y="187"/>
                </a:cubicBezTo>
                <a:cubicBezTo>
                  <a:pt x="501" y="186"/>
                  <a:pt x="501" y="186"/>
                  <a:pt x="501" y="185"/>
                </a:cubicBezTo>
                <a:cubicBezTo>
                  <a:pt x="501" y="185"/>
                  <a:pt x="500" y="185"/>
                  <a:pt x="500" y="185"/>
                </a:cubicBezTo>
                <a:cubicBezTo>
                  <a:pt x="500" y="185"/>
                  <a:pt x="501" y="185"/>
                  <a:pt x="500" y="184"/>
                </a:cubicBezTo>
                <a:cubicBezTo>
                  <a:pt x="499" y="184"/>
                  <a:pt x="497" y="183"/>
                  <a:pt x="496" y="184"/>
                </a:cubicBezTo>
                <a:cubicBezTo>
                  <a:pt x="495" y="184"/>
                  <a:pt x="496" y="184"/>
                  <a:pt x="496" y="183"/>
                </a:cubicBezTo>
                <a:cubicBezTo>
                  <a:pt x="494" y="183"/>
                  <a:pt x="493" y="182"/>
                  <a:pt x="492" y="181"/>
                </a:cubicBezTo>
                <a:cubicBezTo>
                  <a:pt x="491" y="180"/>
                  <a:pt x="491" y="180"/>
                  <a:pt x="490" y="179"/>
                </a:cubicBezTo>
                <a:cubicBezTo>
                  <a:pt x="489" y="179"/>
                  <a:pt x="489" y="178"/>
                  <a:pt x="489" y="178"/>
                </a:cubicBezTo>
                <a:cubicBezTo>
                  <a:pt x="489" y="178"/>
                  <a:pt x="489" y="178"/>
                  <a:pt x="489" y="178"/>
                </a:cubicBezTo>
                <a:cubicBezTo>
                  <a:pt x="489" y="177"/>
                  <a:pt x="490" y="177"/>
                  <a:pt x="491" y="177"/>
                </a:cubicBezTo>
                <a:cubicBezTo>
                  <a:pt x="491" y="178"/>
                  <a:pt x="494" y="178"/>
                  <a:pt x="494" y="178"/>
                </a:cubicBezTo>
                <a:cubicBezTo>
                  <a:pt x="495" y="178"/>
                  <a:pt x="495" y="179"/>
                  <a:pt x="496" y="179"/>
                </a:cubicBezTo>
                <a:cubicBezTo>
                  <a:pt x="496" y="178"/>
                  <a:pt x="496" y="178"/>
                  <a:pt x="495" y="177"/>
                </a:cubicBezTo>
                <a:cubicBezTo>
                  <a:pt x="497" y="177"/>
                  <a:pt x="498" y="179"/>
                  <a:pt x="500" y="179"/>
                </a:cubicBezTo>
                <a:cubicBezTo>
                  <a:pt x="500" y="179"/>
                  <a:pt x="502" y="178"/>
                  <a:pt x="503" y="178"/>
                </a:cubicBezTo>
                <a:cubicBezTo>
                  <a:pt x="503" y="178"/>
                  <a:pt x="503" y="179"/>
                  <a:pt x="503" y="179"/>
                </a:cubicBezTo>
                <a:cubicBezTo>
                  <a:pt x="503" y="179"/>
                  <a:pt x="503" y="179"/>
                  <a:pt x="504" y="179"/>
                </a:cubicBezTo>
                <a:cubicBezTo>
                  <a:pt x="505" y="179"/>
                  <a:pt x="504" y="179"/>
                  <a:pt x="504" y="180"/>
                </a:cubicBezTo>
                <a:cubicBezTo>
                  <a:pt x="505" y="180"/>
                  <a:pt x="505" y="180"/>
                  <a:pt x="506" y="179"/>
                </a:cubicBezTo>
                <a:cubicBezTo>
                  <a:pt x="506" y="180"/>
                  <a:pt x="506" y="180"/>
                  <a:pt x="507" y="180"/>
                </a:cubicBezTo>
                <a:cubicBezTo>
                  <a:pt x="507" y="181"/>
                  <a:pt x="507" y="180"/>
                  <a:pt x="507" y="181"/>
                </a:cubicBezTo>
                <a:cubicBezTo>
                  <a:pt x="507" y="181"/>
                  <a:pt x="507" y="181"/>
                  <a:pt x="507" y="182"/>
                </a:cubicBezTo>
                <a:cubicBezTo>
                  <a:pt x="508" y="182"/>
                  <a:pt x="508" y="182"/>
                  <a:pt x="509" y="182"/>
                </a:cubicBezTo>
                <a:cubicBezTo>
                  <a:pt x="509" y="182"/>
                  <a:pt x="510" y="181"/>
                  <a:pt x="509" y="181"/>
                </a:cubicBezTo>
                <a:cubicBezTo>
                  <a:pt x="509" y="181"/>
                  <a:pt x="509" y="181"/>
                  <a:pt x="508" y="181"/>
                </a:cubicBezTo>
                <a:cubicBezTo>
                  <a:pt x="508" y="181"/>
                  <a:pt x="508" y="180"/>
                  <a:pt x="507" y="179"/>
                </a:cubicBezTo>
                <a:cubicBezTo>
                  <a:pt x="507" y="178"/>
                  <a:pt x="506" y="179"/>
                  <a:pt x="506" y="179"/>
                </a:cubicBezTo>
                <a:cubicBezTo>
                  <a:pt x="505" y="178"/>
                  <a:pt x="506" y="178"/>
                  <a:pt x="506" y="178"/>
                </a:cubicBezTo>
                <a:cubicBezTo>
                  <a:pt x="507" y="178"/>
                  <a:pt x="507" y="178"/>
                  <a:pt x="508" y="178"/>
                </a:cubicBezTo>
                <a:cubicBezTo>
                  <a:pt x="508" y="177"/>
                  <a:pt x="507" y="176"/>
                  <a:pt x="507" y="175"/>
                </a:cubicBezTo>
                <a:cubicBezTo>
                  <a:pt x="508" y="175"/>
                  <a:pt x="508" y="175"/>
                  <a:pt x="509" y="176"/>
                </a:cubicBezTo>
                <a:cubicBezTo>
                  <a:pt x="509" y="175"/>
                  <a:pt x="509" y="174"/>
                  <a:pt x="510" y="174"/>
                </a:cubicBezTo>
                <a:cubicBezTo>
                  <a:pt x="509" y="174"/>
                  <a:pt x="508" y="172"/>
                  <a:pt x="508" y="172"/>
                </a:cubicBezTo>
                <a:cubicBezTo>
                  <a:pt x="508" y="171"/>
                  <a:pt x="508" y="171"/>
                  <a:pt x="507" y="170"/>
                </a:cubicBezTo>
                <a:cubicBezTo>
                  <a:pt x="506" y="171"/>
                  <a:pt x="507" y="172"/>
                  <a:pt x="507" y="172"/>
                </a:cubicBezTo>
                <a:cubicBezTo>
                  <a:pt x="506" y="172"/>
                  <a:pt x="506" y="172"/>
                  <a:pt x="506" y="171"/>
                </a:cubicBezTo>
                <a:cubicBezTo>
                  <a:pt x="506" y="170"/>
                  <a:pt x="504" y="171"/>
                  <a:pt x="505" y="171"/>
                </a:cubicBezTo>
                <a:cubicBezTo>
                  <a:pt x="503" y="171"/>
                  <a:pt x="505" y="170"/>
                  <a:pt x="504" y="170"/>
                </a:cubicBezTo>
                <a:cubicBezTo>
                  <a:pt x="503" y="170"/>
                  <a:pt x="503" y="169"/>
                  <a:pt x="502" y="169"/>
                </a:cubicBezTo>
                <a:cubicBezTo>
                  <a:pt x="502" y="169"/>
                  <a:pt x="502" y="169"/>
                  <a:pt x="501" y="169"/>
                </a:cubicBezTo>
                <a:cubicBezTo>
                  <a:pt x="500" y="169"/>
                  <a:pt x="500" y="168"/>
                  <a:pt x="500" y="168"/>
                </a:cubicBezTo>
                <a:cubicBezTo>
                  <a:pt x="500" y="167"/>
                  <a:pt x="499" y="167"/>
                  <a:pt x="499" y="167"/>
                </a:cubicBezTo>
                <a:cubicBezTo>
                  <a:pt x="499" y="166"/>
                  <a:pt x="499" y="165"/>
                  <a:pt x="498" y="165"/>
                </a:cubicBezTo>
                <a:cubicBezTo>
                  <a:pt x="498" y="165"/>
                  <a:pt x="498" y="163"/>
                  <a:pt x="498" y="163"/>
                </a:cubicBezTo>
                <a:cubicBezTo>
                  <a:pt x="497" y="163"/>
                  <a:pt x="498" y="163"/>
                  <a:pt x="497" y="163"/>
                </a:cubicBezTo>
                <a:cubicBezTo>
                  <a:pt x="497" y="163"/>
                  <a:pt x="496" y="164"/>
                  <a:pt x="496" y="164"/>
                </a:cubicBezTo>
                <a:cubicBezTo>
                  <a:pt x="495" y="163"/>
                  <a:pt x="495" y="163"/>
                  <a:pt x="495" y="162"/>
                </a:cubicBezTo>
                <a:cubicBezTo>
                  <a:pt x="494" y="162"/>
                  <a:pt x="494" y="162"/>
                  <a:pt x="494" y="161"/>
                </a:cubicBezTo>
                <a:cubicBezTo>
                  <a:pt x="494" y="161"/>
                  <a:pt x="494" y="161"/>
                  <a:pt x="494" y="161"/>
                </a:cubicBezTo>
                <a:cubicBezTo>
                  <a:pt x="494" y="161"/>
                  <a:pt x="494" y="160"/>
                  <a:pt x="494" y="160"/>
                </a:cubicBezTo>
                <a:cubicBezTo>
                  <a:pt x="494" y="160"/>
                  <a:pt x="494" y="160"/>
                  <a:pt x="495" y="160"/>
                </a:cubicBezTo>
                <a:cubicBezTo>
                  <a:pt x="495" y="159"/>
                  <a:pt x="495" y="160"/>
                  <a:pt x="496" y="161"/>
                </a:cubicBezTo>
                <a:cubicBezTo>
                  <a:pt x="496" y="161"/>
                  <a:pt x="497" y="161"/>
                  <a:pt x="497" y="161"/>
                </a:cubicBezTo>
                <a:cubicBezTo>
                  <a:pt x="497" y="160"/>
                  <a:pt x="497" y="160"/>
                  <a:pt x="497" y="160"/>
                </a:cubicBezTo>
                <a:cubicBezTo>
                  <a:pt x="497" y="159"/>
                  <a:pt x="497" y="159"/>
                  <a:pt x="496" y="158"/>
                </a:cubicBezTo>
                <a:cubicBezTo>
                  <a:pt x="496" y="158"/>
                  <a:pt x="496" y="158"/>
                  <a:pt x="496" y="158"/>
                </a:cubicBezTo>
                <a:cubicBezTo>
                  <a:pt x="496" y="157"/>
                  <a:pt x="496" y="157"/>
                  <a:pt x="496" y="156"/>
                </a:cubicBezTo>
                <a:cubicBezTo>
                  <a:pt x="496" y="156"/>
                  <a:pt x="495" y="156"/>
                  <a:pt x="495" y="156"/>
                </a:cubicBezTo>
                <a:cubicBezTo>
                  <a:pt x="495" y="155"/>
                  <a:pt x="496" y="156"/>
                  <a:pt x="496" y="156"/>
                </a:cubicBezTo>
                <a:cubicBezTo>
                  <a:pt x="497" y="157"/>
                  <a:pt x="497" y="158"/>
                  <a:pt x="497" y="158"/>
                </a:cubicBezTo>
                <a:cubicBezTo>
                  <a:pt x="497" y="158"/>
                  <a:pt x="498" y="158"/>
                  <a:pt x="498" y="158"/>
                </a:cubicBezTo>
                <a:cubicBezTo>
                  <a:pt x="498" y="158"/>
                  <a:pt x="498" y="157"/>
                  <a:pt x="498" y="157"/>
                </a:cubicBezTo>
                <a:cubicBezTo>
                  <a:pt x="498" y="157"/>
                  <a:pt x="498" y="156"/>
                  <a:pt x="498" y="155"/>
                </a:cubicBezTo>
                <a:cubicBezTo>
                  <a:pt x="498" y="155"/>
                  <a:pt x="497" y="155"/>
                  <a:pt x="497" y="155"/>
                </a:cubicBezTo>
                <a:cubicBezTo>
                  <a:pt x="498" y="155"/>
                  <a:pt x="499" y="155"/>
                  <a:pt x="499" y="155"/>
                </a:cubicBezTo>
                <a:cubicBezTo>
                  <a:pt x="499" y="155"/>
                  <a:pt x="500" y="155"/>
                  <a:pt x="500" y="155"/>
                </a:cubicBezTo>
                <a:cubicBezTo>
                  <a:pt x="500" y="156"/>
                  <a:pt x="499" y="157"/>
                  <a:pt x="501" y="157"/>
                </a:cubicBezTo>
                <a:cubicBezTo>
                  <a:pt x="501" y="158"/>
                  <a:pt x="501" y="158"/>
                  <a:pt x="501" y="159"/>
                </a:cubicBezTo>
                <a:cubicBezTo>
                  <a:pt x="502" y="159"/>
                  <a:pt x="501" y="160"/>
                  <a:pt x="502" y="160"/>
                </a:cubicBezTo>
                <a:cubicBezTo>
                  <a:pt x="502" y="160"/>
                  <a:pt x="503" y="160"/>
                  <a:pt x="503" y="160"/>
                </a:cubicBezTo>
                <a:cubicBezTo>
                  <a:pt x="503" y="161"/>
                  <a:pt x="504" y="160"/>
                  <a:pt x="504" y="160"/>
                </a:cubicBezTo>
                <a:cubicBezTo>
                  <a:pt x="504" y="160"/>
                  <a:pt x="504" y="161"/>
                  <a:pt x="504" y="161"/>
                </a:cubicBezTo>
                <a:cubicBezTo>
                  <a:pt x="505" y="161"/>
                  <a:pt x="505" y="161"/>
                  <a:pt x="506" y="161"/>
                </a:cubicBezTo>
                <a:cubicBezTo>
                  <a:pt x="507" y="161"/>
                  <a:pt x="506" y="161"/>
                  <a:pt x="507" y="161"/>
                </a:cubicBezTo>
                <a:cubicBezTo>
                  <a:pt x="507" y="161"/>
                  <a:pt x="508" y="160"/>
                  <a:pt x="508" y="160"/>
                </a:cubicBezTo>
                <a:cubicBezTo>
                  <a:pt x="508" y="161"/>
                  <a:pt x="508" y="161"/>
                  <a:pt x="507" y="162"/>
                </a:cubicBezTo>
                <a:cubicBezTo>
                  <a:pt x="506" y="162"/>
                  <a:pt x="506" y="162"/>
                  <a:pt x="507" y="162"/>
                </a:cubicBezTo>
                <a:cubicBezTo>
                  <a:pt x="507" y="162"/>
                  <a:pt x="508" y="163"/>
                  <a:pt x="508" y="162"/>
                </a:cubicBezTo>
                <a:cubicBezTo>
                  <a:pt x="508" y="162"/>
                  <a:pt x="509" y="162"/>
                  <a:pt x="509" y="162"/>
                </a:cubicBezTo>
                <a:cubicBezTo>
                  <a:pt x="509" y="163"/>
                  <a:pt x="509" y="163"/>
                  <a:pt x="508" y="163"/>
                </a:cubicBezTo>
                <a:cubicBezTo>
                  <a:pt x="509" y="163"/>
                  <a:pt x="510" y="163"/>
                  <a:pt x="511" y="163"/>
                </a:cubicBezTo>
                <a:cubicBezTo>
                  <a:pt x="511" y="164"/>
                  <a:pt x="510" y="164"/>
                  <a:pt x="510" y="165"/>
                </a:cubicBezTo>
                <a:cubicBezTo>
                  <a:pt x="511" y="165"/>
                  <a:pt x="512" y="165"/>
                  <a:pt x="513" y="165"/>
                </a:cubicBezTo>
                <a:cubicBezTo>
                  <a:pt x="514" y="166"/>
                  <a:pt x="511" y="165"/>
                  <a:pt x="511" y="166"/>
                </a:cubicBezTo>
                <a:cubicBezTo>
                  <a:pt x="511" y="167"/>
                  <a:pt x="512" y="168"/>
                  <a:pt x="513" y="167"/>
                </a:cubicBezTo>
                <a:cubicBezTo>
                  <a:pt x="514" y="166"/>
                  <a:pt x="513" y="167"/>
                  <a:pt x="514" y="167"/>
                </a:cubicBezTo>
                <a:cubicBezTo>
                  <a:pt x="514" y="168"/>
                  <a:pt x="514" y="167"/>
                  <a:pt x="514" y="168"/>
                </a:cubicBezTo>
                <a:cubicBezTo>
                  <a:pt x="514" y="168"/>
                  <a:pt x="515" y="168"/>
                  <a:pt x="515" y="168"/>
                </a:cubicBezTo>
                <a:cubicBezTo>
                  <a:pt x="515" y="168"/>
                  <a:pt x="516" y="168"/>
                  <a:pt x="516" y="168"/>
                </a:cubicBezTo>
                <a:cubicBezTo>
                  <a:pt x="516" y="169"/>
                  <a:pt x="517" y="169"/>
                  <a:pt x="517" y="169"/>
                </a:cubicBezTo>
                <a:cubicBezTo>
                  <a:pt x="518" y="169"/>
                  <a:pt x="517" y="168"/>
                  <a:pt x="518" y="168"/>
                </a:cubicBezTo>
                <a:cubicBezTo>
                  <a:pt x="518" y="168"/>
                  <a:pt x="518" y="168"/>
                  <a:pt x="518" y="168"/>
                </a:cubicBezTo>
                <a:cubicBezTo>
                  <a:pt x="519" y="168"/>
                  <a:pt x="519" y="167"/>
                  <a:pt x="519" y="167"/>
                </a:cubicBezTo>
                <a:cubicBezTo>
                  <a:pt x="518" y="167"/>
                  <a:pt x="518" y="165"/>
                  <a:pt x="518" y="165"/>
                </a:cubicBezTo>
                <a:cubicBezTo>
                  <a:pt x="518" y="164"/>
                  <a:pt x="517" y="164"/>
                  <a:pt x="516" y="164"/>
                </a:cubicBezTo>
                <a:cubicBezTo>
                  <a:pt x="517" y="163"/>
                  <a:pt x="517" y="162"/>
                  <a:pt x="517" y="162"/>
                </a:cubicBezTo>
                <a:cubicBezTo>
                  <a:pt x="518" y="162"/>
                  <a:pt x="517" y="163"/>
                  <a:pt x="518" y="163"/>
                </a:cubicBezTo>
                <a:cubicBezTo>
                  <a:pt x="519" y="163"/>
                  <a:pt x="520" y="164"/>
                  <a:pt x="519" y="163"/>
                </a:cubicBezTo>
                <a:cubicBezTo>
                  <a:pt x="520" y="163"/>
                  <a:pt x="521" y="163"/>
                  <a:pt x="521" y="163"/>
                </a:cubicBezTo>
                <a:cubicBezTo>
                  <a:pt x="521" y="162"/>
                  <a:pt x="521" y="162"/>
                  <a:pt x="520" y="162"/>
                </a:cubicBezTo>
                <a:cubicBezTo>
                  <a:pt x="520" y="161"/>
                  <a:pt x="520" y="161"/>
                  <a:pt x="520" y="160"/>
                </a:cubicBezTo>
                <a:cubicBezTo>
                  <a:pt x="520" y="161"/>
                  <a:pt x="521" y="161"/>
                  <a:pt x="521" y="161"/>
                </a:cubicBezTo>
                <a:cubicBezTo>
                  <a:pt x="521" y="160"/>
                  <a:pt x="520" y="160"/>
                  <a:pt x="521" y="159"/>
                </a:cubicBezTo>
                <a:cubicBezTo>
                  <a:pt x="521" y="158"/>
                  <a:pt x="521" y="158"/>
                  <a:pt x="522" y="158"/>
                </a:cubicBezTo>
                <a:cubicBezTo>
                  <a:pt x="522" y="158"/>
                  <a:pt x="523" y="158"/>
                  <a:pt x="523" y="158"/>
                </a:cubicBezTo>
                <a:cubicBezTo>
                  <a:pt x="524" y="157"/>
                  <a:pt x="523" y="156"/>
                  <a:pt x="522" y="156"/>
                </a:cubicBezTo>
                <a:cubicBezTo>
                  <a:pt x="523" y="155"/>
                  <a:pt x="523" y="155"/>
                  <a:pt x="524" y="155"/>
                </a:cubicBezTo>
                <a:cubicBezTo>
                  <a:pt x="524" y="155"/>
                  <a:pt x="525" y="156"/>
                  <a:pt x="525" y="156"/>
                </a:cubicBezTo>
                <a:cubicBezTo>
                  <a:pt x="525" y="158"/>
                  <a:pt x="526" y="157"/>
                  <a:pt x="527" y="157"/>
                </a:cubicBezTo>
                <a:cubicBezTo>
                  <a:pt x="527" y="156"/>
                  <a:pt x="526" y="156"/>
                  <a:pt x="526" y="156"/>
                </a:cubicBezTo>
                <a:cubicBezTo>
                  <a:pt x="527" y="155"/>
                  <a:pt x="526" y="154"/>
                  <a:pt x="526" y="154"/>
                </a:cubicBezTo>
                <a:cubicBezTo>
                  <a:pt x="526" y="154"/>
                  <a:pt x="527" y="154"/>
                  <a:pt x="528" y="154"/>
                </a:cubicBezTo>
                <a:cubicBezTo>
                  <a:pt x="528" y="154"/>
                  <a:pt x="529" y="153"/>
                  <a:pt x="528" y="153"/>
                </a:cubicBezTo>
                <a:cubicBezTo>
                  <a:pt x="527" y="152"/>
                  <a:pt x="527" y="151"/>
                  <a:pt x="526" y="150"/>
                </a:cubicBezTo>
                <a:cubicBezTo>
                  <a:pt x="525" y="150"/>
                  <a:pt x="524" y="150"/>
                  <a:pt x="524" y="149"/>
                </a:cubicBezTo>
                <a:cubicBezTo>
                  <a:pt x="523" y="149"/>
                  <a:pt x="524" y="150"/>
                  <a:pt x="524" y="151"/>
                </a:cubicBezTo>
                <a:cubicBezTo>
                  <a:pt x="523" y="151"/>
                  <a:pt x="523" y="151"/>
                  <a:pt x="522" y="151"/>
                </a:cubicBezTo>
                <a:cubicBezTo>
                  <a:pt x="522" y="151"/>
                  <a:pt x="522" y="152"/>
                  <a:pt x="521" y="152"/>
                </a:cubicBezTo>
                <a:cubicBezTo>
                  <a:pt x="521" y="152"/>
                  <a:pt x="521" y="151"/>
                  <a:pt x="521" y="151"/>
                </a:cubicBezTo>
                <a:cubicBezTo>
                  <a:pt x="520" y="151"/>
                  <a:pt x="521" y="151"/>
                  <a:pt x="520" y="151"/>
                </a:cubicBezTo>
                <a:cubicBezTo>
                  <a:pt x="520" y="151"/>
                  <a:pt x="520" y="151"/>
                  <a:pt x="520" y="152"/>
                </a:cubicBezTo>
                <a:cubicBezTo>
                  <a:pt x="520" y="153"/>
                  <a:pt x="520" y="153"/>
                  <a:pt x="519" y="153"/>
                </a:cubicBezTo>
                <a:cubicBezTo>
                  <a:pt x="519" y="152"/>
                  <a:pt x="519" y="151"/>
                  <a:pt x="519" y="151"/>
                </a:cubicBezTo>
                <a:cubicBezTo>
                  <a:pt x="519" y="150"/>
                  <a:pt x="520" y="150"/>
                  <a:pt x="520" y="149"/>
                </a:cubicBezTo>
                <a:cubicBezTo>
                  <a:pt x="519" y="150"/>
                  <a:pt x="519" y="149"/>
                  <a:pt x="518" y="149"/>
                </a:cubicBezTo>
                <a:cubicBezTo>
                  <a:pt x="518" y="150"/>
                  <a:pt x="518" y="150"/>
                  <a:pt x="518" y="151"/>
                </a:cubicBezTo>
                <a:cubicBezTo>
                  <a:pt x="518" y="152"/>
                  <a:pt x="517" y="152"/>
                  <a:pt x="517" y="151"/>
                </a:cubicBezTo>
                <a:cubicBezTo>
                  <a:pt x="517" y="151"/>
                  <a:pt x="517" y="151"/>
                  <a:pt x="516" y="151"/>
                </a:cubicBezTo>
                <a:cubicBezTo>
                  <a:pt x="516" y="150"/>
                  <a:pt x="515" y="150"/>
                  <a:pt x="514" y="151"/>
                </a:cubicBezTo>
                <a:cubicBezTo>
                  <a:pt x="514" y="150"/>
                  <a:pt x="514" y="150"/>
                  <a:pt x="514" y="150"/>
                </a:cubicBezTo>
                <a:cubicBezTo>
                  <a:pt x="513" y="150"/>
                  <a:pt x="513" y="150"/>
                  <a:pt x="512" y="150"/>
                </a:cubicBezTo>
                <a:cubicBezTo>
                  <a:pt x="512" y="150"/>
                  <a:pt x="512" y="150"/>
                  <a:pt x="512" y="150"/>
                </a:cubicBezTo>
                <a:cubicBezTo>
                  <a:pt x="512" y="149"/>
                  <a:pt x="512" y="149"/>
                  <a:pt x="513" y="149"/>
                </a:cubicBezTo>
                <a:cubicBezTo>
                  <a:pt x="513" y="149"/>
                  <a:pt x="514" y="148"/>
                  <a:pt x="513" y="148"/>
                </a:cubicBezTo>
                <a:cubicBezTo>
                  <a:pt x="513" y="148"/>
                  <a:pt x="513" y="147"/>
                  <a:pt x="513" y="147"/>
                </a:cubicBezTo>
                <a:cubicBezTo>
                  <a:pt x="513" y="147"/>
                  <a:pt x="513" y="147"/>
                  <a:pt x="512" y="146"/>
                </a:cubicBezTo>
                <a:cubicBezTo>
                  <a:pt x="512" y="146"/>
                  <a:pt x="512" y="146"/>
                  <a:pt x="511" y="146"/>
                </a:cubicBezTo>
                <a:cubicBezTo>
                  <a:pt x="511" y="146"/>
                  <a:pt x="511" y="145"/>
                  <a:pt x="511" y="145"/>
                </a:cubicBezTo>
                <a:cubicBezTo>
                  <a:pt x="510" y="145"/>
                  <a:pt x="510" y="145"/>
                  <a:pt x="510" y="146"/>
                </a:cubicBezTo>
                <a:cubicBezTo>
                  <a:pt x="510" y="147"/>
                  <a:pt x="510" y="148"/>
                  <a:pt x="509" y="148"/>
                </a:cubicBezTo>
                <a:cubicBezTo>
                  <a:pt x="509" y="147"/>
                  <a:pt x="509" y="147"/>
                  <a:pt x="509" y="146"/>
                </a:cubicBezTo>
                <a:cubicBezTo>
                  <a:pt x="509" y="146"/>
                  <a:pt x="508" y="146"/>
                  <a:pt x="509" y="145"/>
                </a:cubicBezTo>
                <a:cubicBezTo>
                  <a:pt x="510" y="144"/>
                  <a:pt x="510" y="144"/>
                  <a:pt x="509" y="143"/>
                </a:cubicBezTo>
                <a:cubicBezTo>
                  <a:pt x="508" y="144"/>
                  <a:pt x="508" y="144"/>
                  <a:pt x="507" y="144"/>
                </a:cubicBezTo>
                <a:cubicBezTo>
                  <a:pt x="507" y="145"/>
                  <a:pt x="507" y="146"/>
                  <a:pt x="507" y="146"/>
                </a:cubicBezTo>
                <a:cubicBezTo>
                  <a:pt x="507" y="146"/>
                  <a:pt x="506" y="147"/>
                  <a:pt x="506" y="146"/>
                </a:cubicBezTo>
                <a:cubicBezTo>
                  <a:pt x="506" y="146"/>
                  <a:pt x="506" y="145"/>
                  <a:pt x="506" y="145"/>
                </a:cubicBezTo>
                <a:cubicBezTo>
                  <a:pt x="506" y="145"/>
                  <a:pt x="506" y="144"/>
                  <a:pt x="506" y="144"/>
                </a:cubicBezTo>
                <a:cubicBezTo>
                  <a:pt x="505" y="144"/>
                  <a:pt x="505" y="148"/>
                  <a:pt x="504" y="146"/>
                </a:cubicBezTo>
                <a:cubicBezTo>
                  <a:pt x="504" y="145"/>
                  <a:pt x="503" y="146"/>
                  <a:pt x="503" y="146"/>
                </a:cubicBezTo>
                <a:cubicBezTo>
                  <a:pt x="502" y="147"/>
                  <a:pt x="503" y="147"/>
                  <a:pt x="501" y="147"/>
                </a:cubicBezTo>
                <a:cubicBezTo>
                  <a:pt x="502" y="146"/>
                  <a:pt x="502" y="145"/>
                  <a:pt x="503" y="144"/>
                </a:cubicBezTo>
                <a:cubicBezTo>
                  <a:pt x="502" y="144"/>
                  <a:pt x="502" y="144"/>
                  <a:pt x="501" y="144"/>
                </a:cubicBezTo>
                <a:cubicBezTo>
                  <a:pt x="501" y="144"/>
                  <a:pt x="501" y="144"/>
                  <a:pt x="501" y="145"/>
                </a:cubicBezTo>
                <a:cubicBezTo>
                  <a:pt x="501" y="145"/>
                  <a:pt x="501" y="145"/>
                  <a:pt x="501" y="145"/>
                </a:cubicBezTo>
                <a:cubicBezTo>
                  <a:pt x="501" y="143"/>
                  <a:pt x="501" y="144"/>
                  <a:pt x="500" y="144"/>
                </a:cubicBezTo>
                <a:cubicBezTo>
                  <a:pt x="499" y="143"/>
                  <a:pt x="501" y="143"/>
                  <a:pt x="499" y="143"/>
                </a:cubicBezTo>
                <a:cubicBezTo>
                  <a:pt x="499" y="143"/>
                  <a:pt x="499" y="143"/>
                  <a:pt x="498" y="143"/>
                </a:cubicBezTo>
                <a:cubicBezTo>
                  <a:pt x="498" y="142"/>
                  <a:pt x="499" y="142"/>
                  <a:pt x="499" y="141"/>
                </a:cubicBezTo>
                <a:cubicBezTo>
                  <a:pt x="499" y="141"/>
                  <a:pt x="499" y="141"/>
                  <a:pt x="498" y="141"/>
                </a:cubicBezTo>
                <a:cubicBezTo>
                  <a:pt x="497" y="141"/>
                  <a:pt x="497" y="141"/>
                  <a:pt x="497" y="142"/>
                </a:cubicBezTo>
                <a:cubicBezTo>
                  <a:pt x="496" y="142"/>
                  <a:pt x="497" y="140"/>
                  <a:pt x="497" y="140"/>
                </a:cubicBezTo>
                <a:cubicBezTo>
                  <a:pt x="496" y="139"/>
                  <a:pt x="495" y="140"/>
                  <a:pt x="494" y="140"/>
                </a:cubicBezTo>
                <a:cubicBezTo>
                  <a:pt x="493" y="140"/>
                  <a:pt x="493" y="139"/>
                  <a:pt x="492" y="139"/>
                </a:cubicBezTo>
                <a:cubicBezTo>
                  <a:pt x="493" y="137"/>
                  <a:pt x="490" y="139"/>
                  <a:pt x="491" y="137"/>
                </a:cubicBezTo>
                <a:cubicBezTo>
                  <a:pt x="492" y="138"/>
                  <a:pt x="493" y="138"/>
                  <a:pt x="494" y="137"/>
                </a:cubicBezTo>
                <a:cubicBezTo>
                  <a:pt x="495" y="137"/>
                  <a:pt x="495" y="135"/>
                  <a:pt x="496" y="136"/>
                </a:cubicBezTo>
                <a:cubicBezTo>
                  <a:pt x="495" y="135"/>
                  <a:pt x="495" y="134"/>
                  <a:pt x="494" y="134"/>
                </a:cubicBezTo>
                <a:cubicBezTo>
                  <a:pt x="494" y="133"/>
                  <a:pt x="493" y="133"/>
                  <a:pt x="493" y="132"/>
                </a:cubicBezTo>
                <a:cubicBezTo>
                  <a:pt x="494" y="132"/>
                  <a:pt x="494" y="132"/>
                  <a:pt x="495" y="133"/>
                </a:cubicBezTo>
                <a:cubicBezTo>
                  <a:pt x="495" y="133"/>
                  <a:pt x="494" y="133"/>
                  <a:pt x="495" y="133"/>
                </a:cubicBezTo>
                <a:cubicBezTo>
                  <a:pt x="496" y="133"/>
                  <a:pt x="497" y="133"/>
                  <a:pt x="499" y="133"/>
                </a:cubicBezTo>
                <a:cubicBezTo>
                  <a:pt x="499" y="133"/>
                  <a:pt x="499" y="133"/>
                  <a:pt x="499" y="133"/>
                </a:cubicBezTo>
                <a:cubicBezTo>
                  <a:pt x="499" y="132"/>
                  <a:pt x="498" y="131"/>
                  <a:pt x="496" y="131"/>
                </a:cubicBezTo>
                <a:cubicBezTo>
                  <a:pt x="496" y="131"/>
                  <a:pt x="496" y="131"/>
                  <a:pt x="496" y="131"/>
                </a:cubicBezTo>
                <a:cubicBezTo>
                  <a:pt x="496" y="131"/>
                  <a:pt x="495" y="131"/>
                  <a:pt x="495" y="130"/>
                </a:cubicBezTo>
                <a:cubicBezTo>
                  <a:pt x="495" y="130"/>
                  <a:pt x="493" y="130"/>
                  <a:pt x="493" y="130"/>
                </a:cubicBezTo>
                <a:cubicBezTo>
                  <a:pt x="493" y="130"/>
                  <a:pt x="493" y="131"/>
                  <a:pt x="493" y="131"/>
                </a:cubicBezTo>
                <a:cubicBezTo>
                  <a:pt x="493" y="131"/>
                  <a:pt x="492" y="130"/>
                  <a:pt x="492" y="130"/>
                </a:cubicBezTo>
                <a:cubicBezTo>
                  <a:pt x="492" y="129"/>
                  <a:pt x="492" y="129"/>
                  <a:pt x="491" y="129"/>
                </a:cubicBezTo>
                <a:cubicBezTo>
                  <a:pt x="491" y="129"/>
                  <a:pt x="491" y="128"/>
                  <a:pt x="491" y="128"/>
                </a:cubicBezTo>
                <a:cubicBezTo>
                  <a:pt x="492" y="128"/>
                  <a:pt x="493" y="128"/>
                  <a:pt x="494" y="128"/>
                </a:cubicBezTo>
                <a:cubicBezTo>
                  <a:pt x="494" y="128"/>
                  <a:pt x="494" y="128"/>
                  <a:pt x="495" y="128"/>
                </a:cubicBezTo>
                <a:cubicBezTo>
                  <a:pt x="495" y="127"/>
                  <a:pt x="496" y="128"/>
                  <a:pt x="496" y="127"/>
                </a:cubicBezTo>
                <a:cubicBezTo>
                  <a:pt x="496" y="127"/>
                  <a:pt x="496" y="126"/>
                  <a:pt x="497" y="126"/>
                </a:cubicBezTo>
                <a:cubicBezTo>
                  <a:pt x="497" y="124"/>
                  <a:pt x="496" y="124"/>
                  <a:pt x="494" y="123"/>
                </a:cubicBezTo>
                <a:cubicBezTo>
                  <a:pt x="494" y="122"/>
                  <a:pt x="493" y="123"/>
                  <a:pt x="493" y="123"/>
                </a:cubicBezTo>
                <a:cubicBezTo>
                  <a:pt x="493" y="124"/>
                  <a:pt x="493" y="124"/>
                  <a:pt x="493" y="125"/>
                </a:cubicBezTo>
                <a:cubicBezTo>
                  <a:pt x="492" y="126"/>
                  <a:pt x="492" y="125"/>
                  <a:pt x="491" y="126"/>
                </a:cubicBezTo>
                <a:cubicBezTo>
                  <a:pt x="491" y="124"/>
                  <a:pt x="491" y="124"/>
                  <a:pt x="489" y="124"/>
                </a:cubicBezTo>
                <a:cubicBezTo>
                  <a:pt x="489" y="124"/>
                  <a:pt x="488" y="124"/>
                  <a:pt x="489" y="123"/>
                </a:cubicBezTo>
                <a:cubicBezTo>
                  <a:pt x="489" y="123"/>
                  <a:pt x="490" y="123"/>
                  <a:pt x="490" y="122"/>
                </a:cubicBezTo>
                <a:cubicBezTo>
                  <a:pt x="491" y="122"/>
                  <a:pt x="491" y="122"/>
                  <a:pt x="492" y="122"/>
                </a:cubicBezTo>
                <a:cubicBezTo>
                  <a:pt x="492" y="121"/>
                  <a:pt x="490" y="122"/>
                  <a:pt x="489" y="120"/>
                </a:cubicBezTo>
                <a:cubicBezTo>
                  <a:pt x="489" y="119"/>
                  <a:pt x="489" y="119"/>
                  <a:pt x="488" y="119"/>
                </a:cubicBezTo>
                <a:cubicBezTo>
                  <a:pt x="487" y="119"/>
                  <a:pt x="487" y="119"/>
                  <a:pt x="486" y="120"/>
                </a:cubicBezTo>
                <a:cubicBezTo>
                  <a:pt x="485" y="120"/>
                  <a:pt x="486" y="121"/>
                  <a:pt x="485" y="121"/>
                </a:cubicBezTo>
                <a:cubicBezTo>
                  <a:pt x="484" y="121"/>
                  <a:pt x="484" y="121"/>
                  <a:pt x="484" y="121"/>
                </a:cubicBezTo>
                <a:cubicBezTo>
                  <a:pt x="484" y="120"/>
                  <a:pt x="485" y="120"/>
                  <a:pt x="486" y="119"/>
                </a:cubicBezTo>
                <a:cubicBezTo>
                  <a:pt x="485" y="119"/>
                  <a:pt x="484" y="119"/>
                  <a:pt x="483" y="119"/>
                </a:cubicBezTo>
                <a:cubicBezTo>
                  <a:pt x="483" y="120"/>
                  <a:pt x="482" y="121"/>
                  <a:pt x="482" y="121"/>
                </a:cubicBezTo>
                <a:cubicBezTo>
                  <a:pt x="481" y="121"/>
                  <a:pt x="481" y="121"/>
                  <a:pt x="481" y="120"/>
                </a:cubicBezTo>
                <a:cubicBezTo>
                  <a:pt x="481" y="120"/>
                  <a:pt x="481" y="119"/>
                  <a:pt x="481" y="119"/>
                </a:cubicBezTo>
                <a:cubicBezTo>
                  <a:pt x="482" y="119"/>
                  <a:pt x="482" y="119"/>
                  <a:pt x="483" y="118"/>
                </a:cubicBezTo>
                <a:cubicBezTo>
                  <a:pt x="484" y="118"/>
                  <a:pt x="484" y="117"/>
                  <a:pt x="483" y="117"/>
                </a:cubicBezTo>
                <a:cubicBezTo>
                  <a:pt x="482" y="117"/>
                  <a:pt x="482" y="117"/>
                  <a:pt x="481" y="117"/>
                </a:cubicBezTo>
                <a:cubicBezTo>
                  <a:pt x="481" y="117"/>
                  <a:pt x="481" y="117"/>
                  <a:pt x="481" y="116"/>
                </a:cubicBezTo>
                <a:cubicBezTo>
                  <a:pt x="481" y="116"/>
                  <a:pt x="481" y="117"/>
                  <a:pt x="480" y="117"/>
                </a:cubicBezTo>
                <a:cubicBezTo>
                  <a:pt x="480" y="117"/>
                  <a:pt x="481" y="117"/>
                  <a:pt x="481" y="118"/>
                </a:cubicBezTo>
                <a:cubicBezTo>
                  <a:pt x="480" y="118"/>
                  <a:pt x="480" y="118"/>
                  <a:pt x="480" y="118"/>
                </a:cubicBezTo>
                <a:cubicBezTo>
                  <a:pt x="479" y="118"/>
                  <a:pt x="480" y="119"/>
                  <a:pt x="479" y="119"/>
                </a:cubicBezTo>
                <a:cubicBezTo>
                  <a:pt x="479" y="118"/>
                  <a:pt x="479" y="118"/>
                  <a:pt x="479" y="118"/>
                </a:cubicBezTo>
                <a:cubicBezTo>
                  <a:pt x="478" y="118"/>
                  <a:pt x="478" y="118"/>
                  <a:pt x="477" y="118"/>
                </a:cubicBezTo>
                <a:cubicBezTo>
                  <a:pt x="478" y="117"/>
                  <a:pt x="478" y="118"/>
                  <a:pt x="478" y="117"/>
                </a:cubicBezTo>
                <a:close/>
                <a:moveTo>
                  <a:pt x="1482" y="92"/>
                </a:moveTo>
                <a:cubicBezTo>
                  <a:pt x="1482" y="93"/>
                  <a:pt x="1482" y="93"/>
                  <a:pt x="1482" y="94"/>
                </a:cubicBezTo>
                <a:cubicBezTo>
                  <a:pt x="1482" y="94"/>
                  <a:pt x="1483" y="94"/>
                  <a:pt x="1483" y="95"/>
                </a:cubicBezTo>
                <a:cubicBezTo>
                  <a:pt x="1483" y="95"/>
                  <a:pt x="1483" y="95"/>
                  <a:pt x="1484" y="94"/>
                </a:cubicBezTo>
                <a:cubicBezTo>
                  <a:pt x="1485" y="94"/>
                  <a:pt x="1484" y="93"/>
                  <a:pt x="1484" y="92"/>
                </a:cubicBezTo>
                <a:cubicBezTo>
                  <a:pt x="1484" y="92"/>
                  <a:pt x="1483" y="92"/>
                  <a:pt x="1482" y="92"/>
                </a:cubicBezTo>
                <a:cubicBezTo>
                  <a:pt x="1482" y="92"/>
                  <a:pt x="1482" y="92"/>
                  <a:pt x="1482" y="92"/>
                </a:cubicBezTo>
                <a:close/>
                <a:moveTo>
                  <a:pt x="1350" y="92"/>
                </a:moveTo>
                <a:cubicBezTo>
                  <a:pt x="1350" y="93"/>
                  <a:pt x="1349" y="94"/>
                  <a:pt x="1349" y="95"/>
                </a:cubicBezTo>
                <a:cubicBezTo>
                  <a:pt x="1350" y="95"/>
                  <a:pt x="1351" y="94"/>
                  <a:pt x="1352" y="94"/>
                </a:cubicBezTo>
                <a:cubicBezTo>
                  <a:pt x="1352" y="93"/>
                  <a:pt x="1353" y="92"/>
                  <a:pt x="1353" y="91"/>
                </a:cubicBezTo>
                <a:cubicBezTo>
                  <a:pt x="1353" y="91"/>
                  <a:pt x="1352" y="91"/>
                  <a:pt x="1352" y="91"/>
                </a:cubicBezTo>
                <a:cubicBezTo>
                  <a:pt x="1352" y="92"/>
                  <a:pt x="1351" y="92"/>
                  <a:pt x="1350" y="92"/>
                </a:cubicBezTo>
                <a:cubicBezTo>
                  <a:pt x="1350" y="93"/>
                  <a:pt x="1350" y="92"/>
                  <a:pt x="1350" y="92"/>
                </a:cubicBezTo>
                <a:close/>
                <a:moveTo>
                  <a:pt x="450" y="96"/>
                </a:moveTo>
                <a:cubicBezTo>
                  <a:pt x="450" y="95"/>
                  <a:pt x="450" y="95"/>
                  <a:pt x="450" y="95"/>
                </a:cubicBezTo>
                <a:cubicBezTo>
                  <a:pt x="450" y="92"/>
                  <a:pt x="450" y="95"/>
                  <a:pt x="450" y="94"/>
                </a:cubicBezTo>
                <a:cubicBezTo>
                  <a:pt x="449" y="93"/>
                  <a:pt x="450" y="92"/>
                  <a:pt x="449" y="92"/>
                </a:cubicBezTo>
                <a:cubicBezTo>
                  <a:pt x="448" y="92"/>
                  <a:pt x="448" y="92"/>
                  <a:pt x="448" y="92"/>
                </a:cubicBezTo>
                <a:cubicBezTo>
                  <a:pt x="448" y="92"/>
                  <a:pt x="448" y="92"/>
                  <a:pt x="448" y="92"/>
                </a:cubicBezTo>
                <a:cubicBezTo>
                  <a:pt x="447" y="92"/>
                  <a:pt x="447" y="92"/>
                  <a:pt x="446" y="91"/>
                </a:cubicBezTo>
                <a:cubicBezTo>
                  <a:pt x="446" y="92"/>
                  <a:pt x="446" y="92"/>
                  <a:pt x="446" y="92"/>
                </a:cubicBezTo>
                <a:cubicBezTo>
                  <a:pt x="445" y="92"/>
                  <a:pt x="445" y="92"/>
                  <a:pt x="445" y="92"/>
                </a:cubicBezTo>
                <a:cubicBezTo>
                  <a:pt x="444" y="92"/>
                  <a:pt x="445" y="92"/>
                  <a:pt x="444" y="92"/>
                </a:cubicBezTo>
                <a:cubicBezTo>
                  <a:pt x="444" y="92"/>
                  <a:pt x="444" y="92"/>
                  <a:pt x="443" y="92"/>
                </a:cubicBezTo>
                <a:cubicBezTo>
                  <a:pt x="443" y="92"/>
                  <a:pt x="443" y="92"/>
                  <a:pt x="443" y="92"/>
                </a:cubicBezTo>
                <a:cubicBezTo>
                  <a:pt x="443" y="93"/>
                  <a:pt x="442" y="92"/>
                  <a:pt x="442" y="93"/>
                </a:cubicBezTo>
                <a:cubicBezTo>
                  <a:pt x="442" y="93"/>
                  <a:pt x="441" y="94"/>
                  <a:pt x="441" y="93"/>
                </a:cubicBezTo>
                <a:cubicBezTo>
                  <a:pt x="441" y="93"/>
                  <a:pt x="440" y="93"/>
                  <a:pt x="440" y="93"/>
                </a:cubicBezTo>
                <a:cubicBezTo>
                  <a:pt x="440" y="93"/>
                  <a:pt x="440" y="93"/>
                  <a:pt x="440" y="92"/>
                </a:cubicBezTo>
                <a:cubicBezTo>
                  <a:pt x="440" y="92"/>
                  <a:pt x="438" y="92"/>
                  <a:pt x="438" y="92"/>
                </a:cubicBezTo>
                <a:cubicBezTo>
                  <a:pt x="437" y="92"/>
                  <a:pt x="437" y="92"/>
                  <a:pt x="436" y="92"/>
                </a:cubicBezTo>
                <a:cubicBezTo>
                  <a:pt x="436" y="93"/>
                  <a:pt x="436" y="93"/>
                  <a:pt x="435" y="93"/>
                </a:cubicBezTo>
                <a:cubicBezTo>
                  <a:pt x="434" y="93"/>
                  <a:pt x="435" y="93"/>
                  <a:pt x="435" y="93"/>
                </a:cubicBezTo>
                <a:cubicBezTo>
                  <a:pt x="434" y="94"/>
                  <a:pt x="434" y="93"/>
                  <a:pt x="433" y="94"/>
                </a:cubicBezTo>
                <a:cubicBezTo>
                  <a:pt x="433" y="94"/>
                  <a:pt x="432" y="95"/>
                  <a:pt x="432" y="95"/>
                </a:cubicBezTo>
                <a:cubicBezTo>
                  <a:pt x="431" y="96"/>
                  <a:pt x="432" y="96"/>
                  <a:pt x="432" y="96"/>
                </a:cubicBezTo>
                <a:cubicBezTo>
                  <a:pt x="432" y="96"/>
                  <a:pt x="431" y="96"/>
                  <a:pt x="431" y="97"/>
                </a:cubicBezTo>
                <a:cubicBezTo>
                  <a:pt x="432" y="98"/>
                  <a:pt x="432" y="98"/>
                  <a:pt x="431" y="99"/>
                </a:cubicBezTo>
                <a:cubicBezTo>
                  <a:pt x="431" y="99"/>
                  <a:pt x="431" y="100"/>
                  <a:pt x="431" y="100"/>
                </a:cubicBezTo>
                <a:cubicBezTo>
                  <a:pt x="430" y="100"/>
                  <a:pt x="431" y="101"/>
                  <a:pt x="431" y="101"/>
                </a:cubicBezTo>
                <a:cubicBezTo>
                  <a:pt x="431" y="102"/>
                  <a:pt x="432" y="103"/>
                  <a:pt x="433" y="104"/>
                </a:cubicBezTo>
                <a:cubicBezTo>
                  <a:pt x="434" y="104"/>
                  <a:pt x="435" y="104"/>
                  <a:pt x="436" y="103"/>
                </a:cubicBezTo>
                <a:cubicBezTo>
                  <a:pt x="437" y="102"/>
                  <a:pt x="437" y="103"/>
                  <a:pt x="438" y="103"/>
                </a:cubicBezTo>
                <a:cubicBezTo>
                  <a:pt x="440" y="103"/>
                  <a:pt x="441" y="103"/>
                  <a:pt x="442" y="103"/>
                </a:cubicBezTo>
                <a:cubicBezTo>
                  <a:pt x="442" y="103"/>
                  <a:pt x="442" y="103"/>
                  <a:pt x="442" y="103"/>
                </a:cubicBezTo>
                <a:cubicBezTo>
                  <a:pt x="443" y="103"/>
                  <a:pt x="443" y="102"/>
                  <a:pt x="443" y="102"/>
                </a:cubicBezTo>
                <a:cubicBezTo>
                  <a:pt x="443" y="102"/>
                  <a:pt x="444" y="102"/>
                  <a:pt x="444" y="102"/>
                </a:cubicBezTo>
                <a:cubicBezTo>
                  <a:pt x="444" y="102"/>
                  <a:pt x="445" y="100"/>
                  <a:pt x="445" y="100"/>
                </a:cubicBezTo>
                <a:cubicBezTo>
                  <a:pt x="446" y="100"/>
                  <a:pt x="447" y="101"/>
                  <a:pt x="447" y="100"/>
                </a:cubicBezTo>
                <a:cubicBezTo>
                  <a:pt x="449" y="99"/>
                  <a:pt x="448" y="100"/>
                  <a:pt x="450" y="100"/>
                </a:cubicBezTo>
                <a:cubicBezTo>
                  <a:pt x="451" y="100"/>
                  <a:pt x="452" y="99"/>
                  <a:pt x="452" y="98"/>
                </a:cubicBezTo>
                <a:cubicBezTo>
                  <a:pt x="452" y="97"/>
                  <a:pt x="451" y="98"/>
                  <a:pt x="451" y="97"/>
                </a:cubicBezTo>
                <a:cubicBezTo>
                  <a:pt x="451" y="96"/>
                  <a:pt x="451" y="97"/>
                  <a:pt x="451" y="96"/>
                </a:cubicBezTo>
                <a:cubicBezTo>
                  <a:pt x="451" y="96"/>
                  <a:pt x="451" y="96"/>
                  <a:pt x="450" y="96"/>
                </a:cubicBezTo>
                <a:cubicBezTo>
                  <a:pt x="450" y="95"/>
                  <a:pt x="450" y="96"/>
                  <a:pt x="450" y="96"/>
                </a:cubicBezTo>
                <a:close/>
                <a:moveTo>
                  <a:pt x="497" y="683"/>
                </a:moveTo>
                <a:cubicBezTo>
                  <a:pt x="496" y="682"/>
                  <a:pt x="495" y="681"/>
                  <a:pt x="495" y="680"/>
                </a:cubicBezTo>
                <a:cubicBezTo>
                  <a:pt x="496" y="680"/>
                  <a:pt x="496" y="680"/>
                  <a:pt x="496" y="681"/>
                </a:cubicBezTo>
                <a:cubicBezTo>
                  <a:pt x="496" y="681"/>
                  <a:pt x="496" y="682"/>
                  <a:pt x="496" y="682"/>
                </a:cubicBezTo>
                <a:cubicBezTo>
                  <a:pt x="496" y="682"/>
                  <a:pt x="497" y="682"/>
                  <a:pt x="497" y="683"/>
                </a:cubicBezTo>
                <a:cubicBezTo>
                  <a:pt x="496" y="683"/>
                  <a:pt x="497" y="683"/>
                  <a:pt x="497" y="683"/>
                </a:cubicBezTo>
                <a:close/>
                <a:moveTo>
                  <a:pt x="488" y="667"/>
                </a:moveTo>
                <a:cubicBezTo>
                  <a:pt x="488" y="667"/>
                  <a:pt x="488" y="667"/>
                  <a:pt x="488" y="667"/>
                </a:cubicBezTo>
                <a:cubicBezTo>
                  <a:pt x="487" y="667"/>
                  <a:pt x="487" y="666"/>
                  <a:pt x="486" y="666"/>
                </a:cubicBezTo>
                <a:cubicBezTo>
                  <a:pt x="486" y="666"/>
                  <a:pt x="485" y="665"/>
                  <a:pt x="485" y="665"/>
                </a:cubicBezTo>
                <a:cubicBezTo>
                  <a:pt x="484" y="664"/>
                  <a:pt x="484" y="664"/>
                  <a:pt x="483" y="665"/>
                </a:cubicBezTo>
                <a:cubicBezTo>
                  <a:pt x="483" y="664"/>
                  <a:pt x="483" y="664"/>
                  <a:pt x="483" y="663"/>
                </a:cubicBezTo>
                <a:cubicBezTo>
                  <a:pt x="483" y="662"/>
                  <a:pt x="483" y="662"/>
                  <a:pt x="484" y="662"/>
                </a:cubicBezTo>
                <a:cubicBezTo>
                  <a:pt x="485" y="661"/>
                  <a:pt x="484" y="662"/>
                  <a:pt x="485" y="662"/>
                </a:cubicBezTo>
                <a:cubicBezTo>
                  <a:pt x="485" y="662"/>
                  <a:pt x="485" y="663"/>
                  <a:pt x="485" y="663"/>
                </a:cubicBezTo>
                <a:cubicBezTo>
                  <a:pt x="486" y="663"/>
                  <a:pt x="485" y="664"/>
                  <a:pt x="485" y="664"/>
                </a:cubicBezTo>
                <a:cubicBezTo>
                  <a:pt x="485" y="665"/>
                  <a:pt x="486" y="665"/>
                  <a:pt x="487" y="665"/>
                </a:cubicBezTo>
                <a:cubicBezTo>
                  <a:pt x="487" y="665"/>
                  <a:pt x="487" y="665"/>
                  <a:pt x="488" y="666"/>
                </a:cubicBezTo>
                <a:cubicBezTo>
                  <a:pt x="488" y="666"/>
                  <a:pt x="488" y="666"/>
                  <a:pt x="488" y="667"/>
                </a:cubicBezTo>
                <a:close/>
                <a:moveTo>
                  <a:pt x="475" y="896"/>
                </a:moveTo>
                <a:cubicBezTo>
                  <a:pt x="474" y="896"/>
                  <a:pt x="474" y="896"/>
                  <a:pt x="474" y="895"/>
                </a:cubicBezTo>
                <a:cubicBezTo>
                  <a:pt x="474" y="895"/>
                  <a:pt x="475" y="895"/>
                  <a:pt x="475" y="894"/>
                </a:cubicBezTo>
                <a:cubicBezTo>
                  <a:pt x="475" y="893"/>
                  <a:pt x="475" y="893"/>
                  <a:pt x="476" y="893"/>
                </a:cubicBezTo>
                <a:cubicBezTo>
                  <a:pt x="476" y="893"/>
                  <a:pt x="475" y="893"/>
                  <a:pt x="476" y="893"/>
                </a:cubicBezTo>
                <a:cubicBezTo>
                  <a:pt x="476" y="893"/>
                  <a:pt x="476" y="893"/>
                  <a:pt x="476" y="893"/>
                </a:cubicBezTo>
                <a:cubicBezTo>
                  <a:pt x="478" y="894"/>
                  <a:pt x="476" y="895"/>
                  <a:pt x="475" y="896"/>
                </a:cubicBezTo>
                <a:close/>
                <a:moveTo>
                  <a:pt x="473" y="891"/>
                </a:moveTo>
                <a:cubicBezTo>
                  <a:pt x="474" y="892"/>
                  <a:pt x="475" y="892"/>
                  <a:pt x="476" y="892"/>
                </a:cubicBezTo>
                <a:cubicBezTo>
                  <a:pt x="475" y="893"/>
                  <a:pt x="473" y="892"/>
                  <a:pt x="473" y="891"/>
                </a:cubicBezTo>
                <a:cubicBezTo>
                  <a:pt x="473" y="892"/>
                  <a:pt x="473" y="891"/>
                  <a:pt x="473" y="891"/>
                </a:cubicBezTo>
                <a:close/>
                <a:moveTo>
                  <a:pt x="470" y="895"/>
                </a:moveTo>
                <a:cubicBezTo>
                  <a:pt x="470" y="894"/>
                  <a:pt x="471" y="893"/>
                  <a:pt x="472" y="893"/>
                </a:cubicBezTo>
                <a:cubicBezTo>
                  <a:pt x="472" y="894"/>
                  <a:pt x="472" y="894"/>
                  <a:pt x="472" y="895"/>
                </a:cubicBezTo>
                <a:cubicBezTo>
                  <a:pt x="471" y="895"/>
                  <a:pt x="471" y="895"/>
                  <a:pt x="470" y="895"/>
                </a:cubicBezTo>
                <a:cubicBezTo>
                  <a:pt x="470" y="894"/>
                  <a:pt x="470" y="895"/>
                  <a:pt x="470" y="895"/>
                </a:cubicBezTo>
                <a:close/>
                <a:moveTo>
                  <a:pt x="414" y="514"/>
                </a:moveTo>
                <a:cubicBezTo>
                  <a:pt x="413" y="514"/>
                  <a:pt x="412" y="513"/>
                  <a:pt x="411" y="513"/>
                </a:cubicBezTo>
                <a:cubicBezTo>
                  <a:pt x="410" y="513"/>
                  <a:pt x="410" y="513"/>
                  <a:pt x="410" y="512"/>
                </a:cubicBezTo>
                <a:cubicBezTo>
                  <a:pt x="409" y="512"/>
                  <a:pt x="409" y="510"/>
                  <a:pt x="408" y="511"/>
                </a:cubicBezTo>
                <a:cubicBezTo>
                  <a:pt x="408" y="510"/>
                  <a:pt x="408" y="509"/>
                  <a:pt x="409" y="508"/>
                </a:cubicBezTo>
                <a:cubicBezTo>
                  <a:pt x="409" y="508"/>
                  <a:pt x="410" y="509"/>
                  <a:pt x="410" y="509"/>
                </a:cubicBezTo>
                <a:cubicBezTo>
                  <a:pt x="411" y="511"/>
                  <a:pt x="412" y="509"/>
                  <a:pt x="412" y="511"/>
                </a:cubicBezTo>
                <a:cubicBezTo>
                  <a:pt x="412" y="511"/>
                  <a:pt x="413" y="512"/>
                  <a:pt x="413" y="512"/>
                </a:cubicBezTo>
                <a:cubicBezTo>
                  <a:pt x="414" y="513"/>
                  <a:pt x="414" y="513"/>
                  <a:pt x="414" y="514"/>
                </a:cubicBezTo>
                <a:cubicBezTo>
                  <a:pt x="412" y="513"/>
                  <a:pt x="414" y="514"/>
                  <a:pt x="414" y="514"/>
                </a:cubicBezTo>
                <a:close/>
                <a:moveTo>
                  <a:pt x="407" y="507"/>
                </a:moveTo>
                <a:cubicBezTo>
                  <a:pt x="406" y="507"/>
                  <a:pt x="405" y="506"/>
                  <a:pt x="405" y="505"/>
                </a:cubicBezTo>
                <a:cubicBezTo>
                  <a:pt x="406" y="505"/>
                  <a:pt x="407" y="505"/>
                  <a:pt x="407" y="506"/>
                </a:cubicBezTo>
                <a:cubicBezTo>
                  <a:pt x="408" y="506"/>
                  <a:pt x="407" y="507"/>
                  <a:pt x="407" y="507"/>
                </a:cubicBezTo>
                <a:cubicBezTo>
                  <a:pt x="406" y="507"/>
                  <a:pt x="407" y="507"/>
                  <a:pt x="407" y="507"/>
                </a:cubicBezTo>
                <a:close/>
                <a:moveTo>
                  <a:pt x="350" y="275"/>
                </a:moveTo>
                <a:cubicBezTo>
                  <a:pt x="349" y="275"/>
                  <a:pt x="349" y="275"/>
                  <a:pt x="348" y="275"/>
                </a:cubicBezTo>
                <a:cubicBezTo>
                  <a:pt x="348" y="275"/>
                  <a:pt x="347" y="272"/>
                  <a:pt x="347" y="271"/>
                </a:cubicBezTo>
                <a:cubicBezTo>
                  <a:pt x="347" y="270"/>
                  <a:pt x="347" y="270"/>
                  <a:pt x="347" y="269"/>
                </a:cubicBezTo>
                <a:cubicBezTo>
                  <a:pt x="346" y="269"/>
                  <a:pt x="346" y="269"/>
                  <a:pt x="346" y="268"/>
                </a:cubicBezTo>
                <a:cubicBezTo>
                  <a:pt x="345" y="268"/>
                  <a:pt x="345" y="268"/>
                  <a:pt x="345" y="267"/>
                </a:cubicBezTo>
                <a:cubicBezTo>
                  <a:pt x="345" y="267"/>
                  <a:pt x="344" y="267"/>
                  <a:pt x="344" y="267"/>
                </a:cubicBezTo>
                <a:cubicBezTo>
                  <a:pt x="343" y="266"/>
                  <a:pt x="343" y="264"/>
                  <a:pt x="344" y="264"/>
                </a:cubicBezTo>
                <a:cubicBezTo>
                  <a:pt x="345" y="263"/>
                  <a:pt x="346" y="265"/>
                  <a:pt x="346" y="266"/>
                </a:cubicBezTo>
                <a:cubicBezTo>
                  <a:pt x="346" y="266"/>
                  <a:pt x="347" y="266"/>
                  <a:pt x="347" y="266"/>
                </a:cubicBezTo>
                <a:cubicBezTo>
                  <a:pt x="347" y="266"/>
                  <a:pt x="347" y="267"/>
                  <a:pt x="348" y="268"/>
                </a:cubicBezTo>
                <a:cubicBezTo>
                  <a:pt x="348" y="269"/>
                  <a:pt x="348" y="269"/>
                  <a:pt x="349" y="269"/>
                </a:cubicBezTo>
                <a:cubicBezTo>
                  <a:pt x="349" y="269"/>
                  <a:pt x="349" y="270"/>
                  <a:pt x="349" y="271"/>
                </a:cubicBezTo>
                <a:cubicBezTo>
                  <a:pt x="349" y="272"/>
                  <a:pt x="350" y="272"/>
                  <a:pt x="351" y="273"/>
                </a:cubicBezTo>
                <a:cubicBezTo>
                  <a:pt x="351" y="274"/>
                  <a:pt x="350" y="274"/>
                  <a:pt x="350" y="275"/>
                </a:cubicBezTo>
                <a:close/>
                <a:moveTo>
                  <a:pt x="343" y="264"/>
                </a:moveTo>
                <a:cubicBezTo>
                  <a:pt x="342" y="264"/>
                  <a:pt x="341" y="264"/>
                  <a:pt x="341" y="264"/>
                </a:cubicBezTo>
                <a:cubicBezTo>
                  <a:pt x="341" y="264"/>
                  <a:pt x="340" y="263"/>
                  <a:pt x="340" y="263"/>
                </a:cubicBezTo>
                <a:cubicBezTo>
                  <a:pt x="340" y="262"/>
                  <a:pt x="340" y="262"/>
                  <a:pt x="340" y="261"/>
                </a:cubicBezTo>
                <a:cubicBezTo>
                  <a:pt x="341" y="260"/>
                  <a:pt x="340" y="260"/>
                  <a:pt x="340" y="259"/>
                </a:cubicBezTo>
                <a:cubicBezTo>
                  <a:pt x="340" y="257"/>
                  <a:pt x="339" y="258"/>
                  <a:pt x="339" y="257"/>
                </a:cubicBezTo>
                <a:cubicBezTo>
                  <a:pt x="338" y="256"/>
                  <a:pt x="338" y="256"/>
                  <a:pt x="337" y="256"/>
                </a:cubicBezTo>
                <a:cubicBezTo>
                  <a:pt x="337" y="256"/>
                  <a:pt x="337" y="256"/>
                  <a:pt x="337" y="255"/>
                </a:cubicBezTo>
                <a:cubicBezTo>
                  <a:pt x="338" y="255"/>
                  <a:pt x="339" y="255"/>
                  <a:pt x="340" y="255"/>
                </a:cubicBezTo>
                <a:cubicBezTo>
                  <a:pt x="340" y="254"/>
                  <a:pt x="339" y="253"/>
                  <a:pt x="340" y="253"/>
                </a:cubicBezTo>
                <a:cubicBezTo>
                  <a:pt x="341" y="254"/>
                  <a:pt x="341" y="255"/>
                  <a:pt x="341" y="255"/>
                </a:cubicBezTo>
                <a:cubicBezTo>
                  <a:pt x="341" y="256"/>
                  <a:pt x="342" y="256"/>
                  <a:pt x="342" y="256"/>
                </a:cubicBezTo>
                <a:cubicBezTo>
                  <a:pt x="343" y="257"/>
                  <a:pt x="343" y="258"/>
                  <a:pt x="343" y="259"/>
                </a:cubicBezTo>
                <a:cubicBezTo>
                  <a:pt x="343" y="260"/>
                  <a:pt x="342" y="262"/>
                  <a:pt x="343" y="264"/>
                </a:cubicBezTo>
                <a:cubicBezTo>
                  <a:pt x="341" y="264"/>
                  <a:pt x="343" y="264"/>
                  <a:pt x="343" y="264"/>
                </a:cubicBezTo>
                <a:close/>
                <a:moveTo>
                  <a:pt x="344" y="253"/>
                </a:moveTo>
                <a:cubicBezTo>
                  <a:pt x="344" y="253"/>
                  <a:pt x="344" y="253"/>
                  <a:pt x="344" y="253"/>
                </a:cubicBezTo>
                <a:cubicBezTo>
                  <a:pt x="345" y="252"/>
                  <a:pt x="345" y="252"/>
                  <a:pt x="345" y="251"/>
                </a:cubicBezTo>
                <a:cubicBezTo>
                  <a:pt x="346" y="251"/>
                  <a:pt x="346" y="249"/>
                  <a:pt x="346" y="249"/>
                </a:cubicBezTo>
                <a:cubicBezTo>
                  <a:pt x="347" y="249"/>
                  <a:pt x="348" y="249"/>
                  <a:pt x="349" y="249"/>
                </a:cubicBezTo>
                <a:cubicBezTo>
                  <a:pt x="349" y="248"/>
                  <a:pt x="349" y="248"/>
                  <a:pt x="349" y="247"/>
                </a:cubicBezTo>
                <a:cubicBezTo>
                  <a:pt x="349" y="247"/>
                  <a:pt x="349" y="246"/>
                  <a:pt x="350" y="246"/>
                </a:cubicBezTo>
                <a:cubicBezTo>
                  <a:pt x="350" y="247"/>
                  <a:pt x="350" y="248"/>
                  <a:pt x="350" y="248"/>
                </a:cubicBezTo>
                <a:cubicBezTo>
                  <a:pt x="350" y="248"/>
                  <a:pt x="351" y="248"/>
                  <a:pt x="351" y="248"/>
                </a:cubicBezTo>
                <a:cubicBezTo>
                  <a:pt x="351" y="249"/>
                  <a:pt x="350" y="250"/>
                  <a:pt x="350" y="251"/>
                </a:cubicBezTo>
                <a:cubicBezTo>
                  <a:pt x="351" y="251"/>
                  <a:pt x="351" y="252"/>
                  <a:pt x="351" y="252"/>
                </a:cubicBezTo>
                <a:cubicBezTo>
                  <a:pt x="351" y="252"/>
                  <a:pt x="351" y="252"/>
                  <a:pt x="351" y="252"/>
                </a:cubicBezTo>
                <a:cubicBezTo>
                  <a:pt x="351" y="253"/>
                  <a:pt x="351" y="254"/>
                  <a:pt x="352" y="254"/>
                </a:cubicBezTo>
                <a:cubicBezTo>
                  <a:pt x="352" y="255"/>
                  <a:pt x="352" y="255"/>
                  <a:pt x="352" y="256"/>
                </a:cubicBezTo>
                <a:cubicBezTo>
                  <a:pt x="352" y="256"/>
                  <a:pt x="353" y="256"/>
                  <a:pt x="353" y="257"/>
                </a:cubicBezTo>
                <a:cubicBezTo>
                  <a:pt x="353" y="257"/>
                  <a:pt x="353" y="257"/>
                  <a:pt x="353" y="257"/>
                </a:cubicBezTo>
                <a:cubicBezTo>
                  <a:pt x="353" y="258"/>
                  <a:pt x="353" y="258"/>
                  <a:pt x="354" y="258"/>
                </a:cubicBezTo>
                <a:cubicBezTo>
                  <a:pt x="354" y="258"/>
                  <a:pt x="354" y="259"/>
                  <a:pt x="354" y="259"/>
                </a:cubicBezTo>
                <a:cubicBezTo>
                  <a:pt x="356" y="260"/>
                  <a:pt x="355" y="260"/>
                  <a:pt x="355" y="261"/>
                </a:cubicBezTo>
                <a:cubicBezTo>
                  <a:pt x="355" y="261"/>
                  <a:pt x="355" y="261"/>
                  <a:pt x="355" y="262"/>
                </a:cubicBezTo>
                <a:cubicBezTo>
                  <a:pt x="355" y="262"/>
                  <a:pt x="355" y="262"/>
                  <a:pt x="356" y="262"/>
                </a:cubicBezTo>
                <a:cubicBezTo>
                  <a:pt x="356" y="262"/>
                  <a:pt x="356" y="263"/>
                  <a:pt x="356" y="264"/>
                </a:cubicBezTo>
                <a:cubicBezTo>
                  <a:pt x="356" y="264"/>
                  <a:pt x="357" y="264"/>
                  <a:pt x="357" y="264"/>
                </a:cubicBezTo>
                <a:cubicBezTo>
                  <a:pt x="357" y="265"/>
                  <a:pt x="357" y="265"/>
                  <a:pt x="358" y="266"/>
                </a:cubicBezTo>
                <a:cubicBezTo>
                  <a:pt x="359" y="266"/>
                  <a:pt x="359" y="266"/>
                  <a:pt x="360" y="266"/>
                </a:cubicBezTo>
                <a:cubicBezTo>
                  <a:pt x="360" y="267"/>
                  <a:pt x="360" y="268"/>
                  <a:pt x="359" y="268"/>
                </a:cubicBezTo>
                <a:cubicBezTo>
                  <a:pt x="359" y="269"/>
                  <a:pt x="359" y="269"/>
                  <a:pt x="359" y="270"/>
                </a:cubicBezTo>
                <a:cubicBezTo>
                  <a:pt x="359" y="271"/>
                  <a:pt x="359" y="270"/>
                  <a:pt x="360" y="270"/>
                </a:cubicBezTo>
                <a:cubicBezTo>
                  <a:pt x="360" y="271"/>
                  <a:pt x="360" y="271"/>
                  <a:pt x="360" y="272"/>
                </a:cubicBezTo>
                <a:cubicBezTo>
                  <a:pt x="360" y="272"/>
                  <a:pt x="360" y="272"/>
                  <a:pt x="360" y="272"/>
                </a:cubicBezTo>
                <a:cubicBezTo>
                  <a:pt x="360" y="272"/>
                  <a:pt x="358" y="272"/>
                  <a:pt x="358" y="272"/>
                </a:cubicBezTo>
                <a:cubicBezTo>
                  <a:pt x="358" y="273"/>
                  <a:pt x="359" y="273"/>
                  <a:pt x="358" y="273"/>
                </a:cubicBezTo>
                <a:cubicBezTo>
                  <a:pt x="356" y="273"/>
                  <a:pt x="357" y="273"/>
                  <a:pt x="356" y="272"/>
                </a:cubicBezTo>
                <a:cubicBezTo>
                  <a:pt x="356" y="271"/>
                  <a:pt x="355" y="269"/>
                  <a:pt x="356" y="269"/>
                </a:cubicBezTo>
                <a:cubicBezTo>
                  <a:pt x="356" y="268"/>
                  <a:pt x="356" y="268"/>
                  <a:pt x="356" y="268"/>
                </a:cubicBezTo>
                <a:cubicBezTo>
                  <a:pt x="356" y="268"/>
                  <a:pt x="356" y="267"/>
                  <a:pt x="356" y="266"/>
                </a:cubicBezTo>
                <a:cubicBezTo>
                  <a:pt x="356" y="266"/>
                  <a:pt x="353" y="266"/>
                  <a:pt x="355" y="266"/>
                </a:cubicBezTo>
                <a:cubicBezTo>
                  <a:pt x="355" y="265"/>
                  <a:pt x="355" y="264"/>
                  <a:pt x="354" y="264"/>
                </a:cubicBezTo>
                <a:cubicBezTo>
                  <a:pt x="352" y="264"/>
                  <a:pt x="352" y="264"/>
                  <a:pt x="352" y="262"/>
                </a:cubicBezTo>
                <a:cubicBezTo>
                  <a:pt x="352" y="262"/>
                  <a:pt x="353" y="262"/>
                  <a:pt x="353" y="261"/>
                </a:cubicBezTo>
                <a:cubicBezTo>
                  <a:pt x="352" y="261"/>
                  <a:pt x="352" y="261"/>
                  <a:pt x="352" y="260"/>
                </a:cubicBezTo>
                <a:cubicBezTo>
                  <a:pt x="351" y="260"/>
                  <a:pt x="351" y="261"/>
                  <a:pt x="350" y="260"/>
                </a:cubicBezTo>
                <a:cubicBezTo>
                  <a:pt x="349" y="259"/>
                  <a:pt x="349" y="259"/>
                  <a:pt x="348" y="258"/>
                </a:cubicBezTo>
                <a:cubicBezTo>
                  <a:pt x="347" y="258"/>
                  <a:pt x="345" y="257"/>
                  <a:pt x="346" y="256"/>
                </a:cubicBezTo>
                <a:cubicBezTo>
                  <a:pt x="346" y="255"/>
                  <a:pt x="347" y="255"/>
                  <a:pt x="347" y="255"/>
                </a:cubicBezTo>
                <a:cubicBezTo>
                  <a:pt x="347" y="255"/>
                  <a:pt x="345" y="255"/>
                  <a:pt x="345" y="255"/>
                </a:cubicBezTo>
                <a:cubicBezTo>
                  <a:pt x="345" y="255"/>
                  <a:pt x="344" y="253"/>
                  <a:pt x="344" y="253"/>
                </a:cubicBezTo>
                <a:close/>
                <a:moveTo>
                  <a:pt x="333" y="222"/>
                </a:moveTo>
                <a:cubicBezTo>
                  <a:pt x="332" y="222"/>
                  <a:pt x="333" y="222"/>
                  <a:pt x="333" y="223"/>
                </a:cubicBezTo>
                <a:cubicBezTo>
                  <a:pt x="332" y="224"/>
                  <a:pt x="331" y="223"/>
                  <a:pt x="332" y="225"/>
                </a:cubicBezTo>
                <a:cubicBezTo>
                  <a:pt x="332" y="225"/>
                  <a:pt x="333" y="225"/>
                  <a:pt x="332" y="226"/>
                </a:cubicBezTo>
                <a:cubicBezTo>
                  <a:pt x="332" y="226"/>
                  <a:pt x="331" y="226"/>
                  <a:pt x="331" y="227"/>
                </a:cubicBezTo>
                <a:cubicBezTo>
                  <a:pt x="331" y="227"/>
                  <a:pt x="332" y="228"/>
                  <a:pt x="331" y="228"/>
                </a:cubicBezTo>
                <a:cubicBezTo>
                  <a:pt x="330" y="228"/>
                  <a:pt x="331" y="230"/>
                  <a:pt x="330" y="230"/>
                </a:cubicBezTo>
                <a:cubicBezTo>
                  <a:pt x="330" y="231"/>
                  <a:pt x="329" y="231"/>
                  <a:pt x="328" y="231"/>
                </a:cubicBezTo>
                <a:cubicBezTo>
                  <a:pt x="328" y="231"/>
                  <a:pt x="328" y="230"/>
                  <a:pt x="328" y="230"/>
                </a:cubicBezTo>
                <a:cubicBezTo>
                  <a:pt x="328" y="230"/>
                  <a:pt x="328" y="228"/>
                  <a:pt x="328" y="228"/>
                </a:cubicBezTo>
                <a:cubicBezTo>
                  <a:pt x="328" y="226"/>
                  <a:pt x="327" y="226"/>
                  <a:pt x="327" y="225"/>
                </a:cubicBezTo>
                <a:cubicBezTo>
                  <a:pt x="328" y="225"/>
                  <a:pt x="328" y="225"/>
                  <a:pt x="328" y="225"/>
                </a:cubicBezTo>
                <a:cubicBezTo>
                  <a:pt x="328" y="224"/>
                  <a:pt x="328" y="224"/>
                  <a:pt x="329" y="223"/>
                </a:cubicBezTo>
                <a:cubicBezTo>
                  <a:pt x="329" y="223"/>
                  <a:pt x="329" y="223"/>
                  <a:pt x="329" y="222"/>
                </a:cubicBezTo>
                <a:cubicBezTo>
                  <a:pt x="329" y="221"/>
                  <a:pt x="330" y="222"/>
                  <a:pt x="330" y="221"/>
                </a:cubicBezTo>
                <a:cubicBezTo>
                  <a:pt x="330" y="220"/>
                  <a:pt x="331" y="220"/>
                  <a:pt x="332" y="220"/>
                </a:cubicBezTo>
                <a:cubicBezTo>
                  <a:pt x="332" y="221"/>
                  <a:pt x="332" y="221"/>
                  <a:pt x="334" y="221"/>
                </a:cubicBezTo>
                <a:cubicBezTo>
                  <a:pt x="333" y="221"/>
                  <a:pt x="333" y="222"/>
                  <a:pt x="333" y="222"/>
                </a:cubicBezTo>
                <a:close/>
                <a:moveTo>
                  <a:pt x="326" y="233"/>
                </a:moveTo>
                <a:cubicBezTo>
                  <a:pt x="326" y="234"/>
                  <a:pt x="325" y="233"/>
                  <a:pt x="325" y="233"/>
                </a:cubicBezTo>
                <a:cubicBezTo>
                  <a:pt x="325" y="233"/>
                  <a:pt x="325" y="232"/>
                  <a:pt x="325" y="232"/>
                </a:cubicBezTo>
                <a:cubicBezTo>
                  <a:pt x="325" y="232"/>
                  <a:pt x="325" y="232"/>
                  <a:pt x="325" y="232"/>
                </a:cubicBezTo>
                <a:cubicBezTo>
                  <a:pt x="326" y="232"/>
                  <a:pt x="326" y="232"/>
                  <a:pt x="327" y="232"/>
                </a:cubicBezTo>
                <a:cubicBezTo>
                  <a:pt x="326" y="232"/>
                  <a:pt x="326" y="233"/>
                  <a:pt x="326" y="233"/>
                </a:cubicBezTo>
                <a:close/>
                <a:moveTo>
                  <a:pt x="327" y="216"/>
                </a:moveTo>
                <a:cubicBezTo>
                  <a:pt x="328" y="217"/>
                  <a:pt x="328" y="217"/>
                  <a:pt x="328" y="218"/>
                </a:cubicBezTo>
                <a:cubicBezTo>
                  <a:pt x="327" y="219"/>
                  <a:pt x="327" y="221"/>
                  <a:pt x="326" y="219"/>
                </a:cubicBezTo>
                <a:cubicBezTo>
                  <a:pt x="326" y="219"/>
                  <a:pt x="325" y="218"/>
                  <a:pt x="325" y="218"/>
                </a:cubicBezTo>
                <a:cubicBezTo>
                  <a:pt x="325" y="217"/>
                  <a:pt x="327" y="217"/>
                  <a:pt x="327" y="216"/>
                </a:cubicBezTo>
                <a:cubicBezTo>
                  <a:pt x="327" y="216"/>
                  <a:pt x="327" y="216"/>
                  <a:pt x="327" y="216"/>
                </a:cubicBezTo>
                <a:close/>
                <a:moveTo>
                  <a:pt x="306" y="208"/>
                </a:moveTo>
                <a:cubicBezTo>
                  <a:pt x="306" y="207"/>
                  <a:pt x="305" y="208"/>
                  <a:pt x="304" y="208"/>
                </a:cubicBezTo>
                <a:cubicBezTo>
                  <a:pt x="303" y="210"/>
                  <a:pt x="303" y="209"/>
                  <a:pt x="302" y="210"/>
                </a:cubicBezTo>
                <a:cubicBezTo>
                  <a:pt x="301" y="210"/>
                  <a:pt x="300" y="210"/>
                  <a:pt x="300" y="211"/>
                </a:cubicBezTo>
                <a:cubicBezTo>
                  <a:pt x="299" y="211"/>
                  <a:pt x="299" y="212"/>
                  <a:pt x="298" y="212"/>
                </a:cubicBezTo>
                <a:cubicBezTo>
                  <a:pt x="298" y="212"/>
                  <a:pt x="298" y="212"/>
                  <a:pt x="298" y="212"/>
                </a:cubicBezTo>
                <a:cubicBezTo>
                  <a:pt x="297" y="212"/>
                  <a:pt x="297" y="213"/>
                  <a:pt x="296" y="213"/>
                </a:cubicBezTo>
                <a:cubicBezTo>
                  <a:pt x="296" y="213"/>
                  <a:pt x="295" y="214"/>
                  <a:pt x="294" y="214"/>
                </a:cubicBezTo>
                <a:cubicBezTo>
                  <a:pt x="293" y="215"/>
                  <a:pt x="293" y="216"/>
                  <a:pt x="292" y="216"/>
                </a:cubicBezTo>
                <a:cubicBezTo>
                  <a:pt x="292" y="217"/>
                  <a:pt x="292" y="218"/>
                  <a:pt x="292" y="218"/>
                </a:cubicBezTo>
                <a:cubicBezTo>
                  <a:pt x="291" y="218"/>
                  <a:pt x="290" y="218"/>
                  <a:pt x="289" y="218"/>
                </a:cubicBezTo>
                <a:cubicBezTo>
                  <a:pt x="289" y="218"/>
                  <a:pt x="289" y="217"/>
                  <a:pt x="288" y="217"/>
                </a:cubicBezTo>
                <a:cubicBezTo>
                  <a:pt x="288" y="217"/>
                  <a:pt x="288" y="216"/>
                  <a:pt x="288" y="216"/>
                </a:cubicBezTo>
                <a:cubicBezTo>
                  <a:pt x="288" y="216"/>
                  <a:pt x="290" y="215"/>
                  <a:pt x="290" y="215"/>
                </a:cubicBezTo>
                <a:cubicBezTo>
                  <a:pt x="291" y="213"/>
                  <a:pt x="291" y="213"/>
                  <a:pt x="293" y="212"/>
                </a:cubicBezTo>
                <a:cubicBezTo>
                  <a:pt x="293" y="212"/>
                  <a:pt x="295" y="210"/>
                  <a:pt x="295" y="210"/>
                </a:cubicBezTo>
                <a:cubicBezTo>
                  <a:pt x="295" y="208"/>
                  <a:pt x="296" y="208"/>
                  <a:pt x="297" y="207"/>
                </a:cubicBezTo>
                <a:cubicBezTo>
                  <a:pt x="298" y="207"/>
                  <a:pt x="299" y="207"/>
                  <a:pt x="300" y="208"/>
                </a:cubicBezTo>
                <a:cubicBezTo>
                  <a:pt x="300" y="208"/>
                  <a:pt x="300" y="209"/>
                  <a:pt x="300" y="208"/>
                </a:cubicBezTo>
                <a:cubicBezTo>
                  <a:pt x="300" y="208"/>
                  <a:pt x="300" y="208"/>
                  <a:pt x="301" y="208"/>
                </a:cubicBezTo>
                <a:cubicBezTo>
                  <a:pt x="301" y="208"/>
                  <a:pt x="302" y="208"/>
                  <a:pt x="302" y="208"/>
                </a:cubicBezTo>
                <a:cubicBezTo>
                  <a:pt x="302" y="208"/>
                  <a:pt x="302" y="207"/>
                  <a:pt x="303" y="207"/>
                </a:cubicBezTo>
                <a:cubicBezTo>
                  <a:pt x="303" y="207"/>
                  <a:pt x="305" y="207"/>
                  <a:pt x="305" y="208"/>
                </a:cubicBezTo>
                <a:cubicBezTo>
                  <a:pt x="305" y="208"/>
                  <a:pt x="306" y="207"/>
                  <a:pt x="307" y="208"/>
                </a:cubicBezTo>
                <a:cubicBezTo>
                  <a:pt x="308" y="208"/>
                  <a:pt x="309" y="208"/>
                  <a:pt x="309" y="208"/>
                </a:cubicBezTo>
                <a:cubicBezTo>
                  <a:pt x="309" y="209"/>
                  <a:pt x="307" y="209"/>
                  <a:pt x="306" y="208"/>
                </a:cubicBezTo>
                <a:close/>
                <a:moveTo>
                  <a:pt x="287" y="188"/>
                </a:moveTo>
                <a:cubicBezTo>
                  <a:pt x="287" y="189"/>
                  <a:pt x="287" y="189"/>
                  <a:pt x="286" y="190"/>
                </a:cubicBezTo>
                <a:cubicBezTo>
                  <a:pt x="286" y="190"/>
                  <a:pt x="286" y="190"/>
                  <a:pt x="285" y="190"/>
                </a:cubicBezTo>
                <a:cubicBezTo>
                  <a:pt x="285" y="190"/>
                  <a:pt x="284" y="191"/>
                  <a:pt x="284" y="191"/>
                </a:cubicBezTo>
                <a:cubicBezTo>
                  <a:pt x="284" y="192"/>
                  <a:pt x="283" y="191"/>
                  <a:pt x="283" y="192"/>
                </a:cubicBezTo>
                <a:cubicBezTo>
                  <a:pt x="283" y="192"/>
                  <a:pt x="284" y="192"/>
                  <a:pt x="283" y="192"/>
                </a:cubicBezTo>
                <a:cubicBezTo>
                  <a:pt x="283" y="193"/>
                  <a:pt x="281" y="194"/>
                  <a:pt x="281" y="194"/>
                </a:cubicBezTo>
                <a:cubicBezTo>
                  <a:pt x="280" y="194"/>
                  <a:pt x="280" y="193"/>
                  <a:pt x="279" y="193"/>
                </a:cubicBezTo>
                <a:cubicBezTo>
                  <a:pt x="278" y="193"/>
                  <a:pt x="277" y="193"/>
                  <a:pt x="277" y="194"/>
                </a:cubicBezTo>
                <a:cubicBezTo>
                  <a:pt x="277" y="194"/>
                  <a:pt x="276" y="195"/>
                  <a:pt x="276" y="195"/>
                </a:cubicBezTo>
                <a:cubicBezTo>
                  <a:pt x="276" y="196"/>
                  <a:pt x="274" y="196"/>
                  <a:pt x="274" y="197"/>
                </a:cubicBezTo>
                <a:cubicBezTo>
                  <a:pt x="274" y="197"/>
                  <a:pt x="273" y="196"/>
                  <a:pt x="272" y="197"/>
                </a:cubicBezTo>
                <a:cubicBezTo>
                  <a:pt x="272" y="197"/>
                  <a:pt x="272" y="197"/>
                  <a:pt x="272" y="197"/>
                </a:cubicBezTo>
                <a:cubicBezTo>
                  <a:pt x="271" y="197"/>
                  <a:pt x="270" y="197"/>
                  <a:pt x="270" y="197"/>
                </a:cubicBezTo>
                <a:cubicBezTo>
                  <a:pt x="269" y="197"/>
                  <a:pt x="269" y="197"/>
                  <a:pt x="268" y="197"/>
                </a:cubicBezTo>
                <a:cubicBezTo>
                  <a:pt x="268" y="197"/>
                  <a:pt x="266" y="198"/>
                  <a:pt x="266" y="198"/>
                </a:cubicBezTo>
                <a:cubicBezTo>
                  <a:pt x="266" y="198"/>
                  <a:pt x="266" y="197"/>
                  <a:pt x="265" y="197"/>
                </a:cubicBezTo>
                <a:cubicBezTo>
                  <a:pt x="264" y="197"/>
                  <a:pt x="265" y="197"/>
                  <a:pt x="264" y="196"/>
                </a:cubicBezTo>
                <a:cubicBezTo>
                  <a:pt x="264" y="195"/>
                  <a:pt x="264" y="195"/>
                  <a:pt x="263" y="195"/>
                </a:cubicBezTo>
                <a:cubicBezTo>
                  <a:pt x="263" y="195"/>
                  <a:pt x="262" y="195"/>
                  <a:pt x="262" y="195"/>
                </a:cubicBezTo>
                <a:cubicBezTo>
                  <a:pt x="262" y="195"/>
                  <a:pt x="260" y="194"/>
                  <a:pt x="260" y="194"/>
                </a:cubicBezTo>
                <a:cubicBezTo>
                  <a:pt x="260" y="194"/>
                  <a:pt x="259" y="193"/>
                  <a:pt x="259" y="193"/>
                </a:cubicBezTo>
                <a:cubicBezTo>
                  <a:pt x="258" y="193"/>
                  <a:pt x="258" y="193"/>
                  <a:pt x="258" y="192"/>
                </a:cubicBezTo>
                <a:cubicBezTo>
                  <a:pt x="259" y="192"/>
                  <a:pt x="259" y="192"/>
                  <a:pt x="260" y="192"/>
                </a:cubicBezTo>
                <a:cubicBezTo>
                  <a:pt x="260" y="193"/>
                  <a:pt x="260" y="193"/>
                  <a:pt x="260" y="193"/>
                </a:cubicBezTo>
                <a:cubicBezTo>
                  <a:pt x="261" y="193"/>
                  <a:pt x="262" y="192"/>
                  <a:pt x="262" y="193"/>
                </a:cubicBezTo>
                <a:cubicBezTo>
                  <a:pt x="264" y="193"/>
                  <a:pt x="266" y="191"/>
                  <a:pt x="268" y="190"/>
                </a:cubicBezTo>
                <a:cubicBezTo>
                  <a:pt x="269" y="190"/>
                  <a:pt x="269" y="189"/>
                  <a:pt x="270" y="189"/>
                </a:cubicBezTo>
                <a:cubicBezTo>
                  <a:pt x="271" y="189"/>
                  <a:pt x="272" y="189"/>
                  <a:pt x="272" y="189"/>
                </a:cubicBezTo>
                <a:cubicBezTo>
                  <a:pt x="273" y="188"/>
                  <a:pt x="273" y="188"/>
                  <a:pt x="272" y="187"/>
                </a:cubicBezTo>
                <a:cubicBezTo>
                  <a:pt x="272" y="187"/>
                  <a:pt x="272" y="187"/>
                  <a:pt x="271" y="187"/>
                </a:cubicBezTo>
                <a:cubicBezTo>
                  <a:pt x="271" y="186"/>
                  <a:pt x="270" y="186"/>
                  <a:pt x="270" y="185"/>
                </a:cubicBezTo>
                <a:cubicBezTo>
                  <a:pt x="270" y="185"/>
                  <a:pt x="270" y="184"/>
                  <a:pt x="270" y="184"/>
                </a:cubicBezTo>
                <a:cubicBezTo>
                  <a:pt x="269" y="184"/>
                  <a:pt x="270" y="184"/>
                  <a:pt x="270" y="184"/>
                </a:cubicBezTo>
                <a:cubicBezTo>
                  <a:pt x="269" y="183"/>
                  <a:pt x="269" y="184"/>
                  <a:pt x="269" y="183"/>
                </a:cubicBezTo>
                <a:cubicBezTo>
                  <a:pt x="269" y="183"/>
                  <a:pt x="269" y="183"/>
                  <a:pt x="269" y="182"/>
                </a:cubicBezTo>
                <a:cubicBezTo>
                  <a:pt x="269" y="182"/>
                  <a:pt x="268" y="181"/>
                  <a:pt x="267" y="180"/>
                </a:cubicBezTo>
                <a:cubicBezTo>
                  <a:pt x="268" y="180"/>
                  <a:pt x="268" y="180"/>
                  <a:pt x="269" y="180"/>
                </a:cubicBezTo>
                <a:cubicBezTo>
                  <a:pt x="269" y="180"/>
                  <a:pt x="269" y="181"/>
                  <a:pt x="270" y="181"/>
                </a:cubicBezTo>
                <a:cubicBezTo>
                  <a:pt x="270" y="181"/>
                  <a:pt x="270" y="181"/>
                  <a:pt x="271" y="181"/>
                </a:cubicBezTo>
                <a:cubicBezTo>
                  <a:pt x="271" y="181"/>
                  <a:pt x="271" y="181"/>
                  <a:pt x="272" y="181"/>
                </a:cubicBezTo>
                <a:cubicBezTo>
                  <a:pt x="272" y="182"/>
                  <a:pt x="271" y="182"/>
                  <a:pt x="272" y="182"/>
                </a:cubicBezTo>
                <a:cubicBezTo>
                  <a:pt x="274" y="182"/>
                  <a:pt x="274" y="182"/>
                  <a:pt x="274" y="183"/>
                </a:cubicBezTo>
                <a:cubicBezTo>
                  <a:pt x="273" y="183"/>
                  <a:pt x="273" y="185"/>
                  <a:pt x="274" y="185"/>
                </a:cubicBezTo>
                <a:cubicBezTo>
                  <a:pt x="274" y="185"/>
                  <a:pt x="274" y="186"/>
                  <a:pt x="274" y="186"/>
                </a:cubicBezTo>
                <a:cubicBezTo>
                  <a:pt x="275" y="187"/>
                  <a:pt x="275" y="187"/>
                  <a:pt x="276" y="187"/>
                </a:cubicBezTo>
                <a:cubicBezTo>
                  <a:pt x="278" y="187"/>
                  <a:pt x="280" y="187"/>
                  <a:pt x="282" y="187"/>
                </a:cubicBezTo>
                <a:cubicBezTo>
                  <a:pt x="283" y="187"/>
                  <a:pt x="283" y="187"/>
                  <a:pt x="284" y="186"/>
                </a:cubicBezTo>
                <a:cubicBezTo>
                  <a:pt x="285" y="186"/>
                  <a:pt x="285" y="186"/>
                  <a:pt x="286" y="185"/>
                </a:cubicBezTo>
                <a:cubicBezTo>
                  <a:pt x="286" y="185"/>
                  <a:pt x="286" y="185"/>
                  <a:pt x="286" y="185"/>
                </a:cubicBezTo>
                <a:cubicBezTo>
                  <a:pt x="286" y="184"/>
                  <a:pt x="286" y="184"/>
                  <a:pt x="287" y="184"/>
                </a:cubicBezTo>
                <a:cubicBezTo>
                  <a:pt x="288" y="183"/>
                  <a:pt x="289" y="183"/>
                  <a:pt x="290" y="182"/>
                </a:cubicBezTo>
                <a:cubicBezTo>
                  <a:pt x="290" y="181"/>
                  <a:pt x="291" y="181"/>
                  <a:pt x="291" y="181"/>
                </a:cubicBezTo>
                <a:cubicBezTo>
                  <a:pt x="292" y="181"/>
                  <a:pt x="291" y="180"/>
                  <a:pt x="292" y="180"/>
                </a:cubicBezTo>
                <a:cubicBezTo>
                  <a:pt x="292" y="180"/>
                  <a:pt x="293" y="180"/>
                  <a:pt x="293" y="180"/>
                </a:cubicBezTo>
                <a:cubicBezTo>
                  <a:pt x="294" y="180"/>
                  <a:pt x="293" y="180"/>
                  <a:pt x="294" y="180"/>
                </a:cubicBezTo>
                <a:cubicBezTo>
                  <a:pt x="295" y="180"/>
                  <a:pt x="298" y="180"/>
                  <a:pt x="298" y="181"/>
                </a:cubicBezTo>
                <a:cubicBezTo>
                  <a:pt x="297" y="181"/>
                  <a:pt x="296" y="181"/>
                  <a:pt x="295" y="180"/>
                </a:cubicBezTo>
                <a:cubicBezTo>
                  <a:pt x="295" y="181"/>
                  <a:pt x="296" y="182"/>
                  <a:pt x="296" y="182"/>
                </a:cubicBezTo>
                <a:cubicBezTo>
                  <a:pt x="295" y="182"/>
                  <a:pt x="294" y="182"/>
                  <a:pt x="294" y="184"/>
                </a:cubicBezTo>
                <a:cubicBezTo>
                  <a:pt x="294" y="184"/>
                  <a:pt x="294" y="184"/>
                  <a:pt x="293" y="184"/>
                </a:cubicBezTo>
                <a:cubicBezTo>
                  <a:pt x="293" y="184"/>
                  <a:pt x="292" y="184"/>
                  <a:pt x="292" y="185"/>
                </a:cubicBezTo>
                <a:cubicBezTo>
                  <a:pt x="292" y="185"/>
                  <a:pt x="292" y="185"/>
                  <a:pt x="291" y="186"/>
                </a:cubicBezTo>
                <a:cubicBezTo>
                  <a:pt x="291" y="186"/>
                  <a:pt x="290" y="187"/>
                  <a:pt x="290" y="187"/>
                </a:cubicBezTo>
                <a:cubicBezTo>
                  <a:pt x="289" y="187"/>
                  <a:pt x="289" y="187"/>
                  <a:pt x="289" y="187"/>
                </a:cubicBezTo>
                <a:cubicBezTo>
                  <a:pt x="288" y="187"/>
                  <a:pt x="288" y="187"/>
                  <a:pt x="288" y="188"/>
                </a:cubicBezTo>
                <a:cubicBezTo>
                  <a:pt x="287" y="188"/>
                  <a:pt x="287" y="188"/>
                  <a:pt x="287" y="188"/>
                </a:cubicBezTo>
                <a:close/>
                <a:moveTo>
                  <a:pt x="283" y="336"/>
                </a:moveTo>
                <a:cubicBezTo>
                  <a:pt x="282" y="336"/>
                  <a:pt x="281" y="334"/>
                  <a:pt x="280" y="333"/>
                </a:cubicBezTo>
                <a:cubicBezTo>
                  <a:pt x="280" y="333"/>
                  <a:pt x="279" y="333"/>
                  <a:pt x="280" y="332"/>
                </a:cubicBezTo>
                <a:cubicBezTo>
                  <a:pt x="280" y="331"/>
                  <a:pt x="280" y="330"/>
                  <a:pt x="280" y="330"/>
                </a:cubicBezTo>
                <a:cubicBezTo>
                  <a:pt x="281" y="330"/>
                  <a:pt x="280" y="332"/>
                  <a:pt x="281" y="332"/>
                </a:cubicBezTo>
                <a:cubicBezTo>
                  <a:pt x="282" y="332"/>
                  <a:pt x="282" y="332"/>
                  <a:pt x="282" y="332"/>
                </a:cubicBezTo>
                <a:cubicBezTo>
                  <a:pt x="283" y="332"/>
                  <a:pt x="283" y="331"/>
                  <a:pt x="283" y="331"/>
                </a:cubicBezTo>
                <a:cubicBezTo>
                  <a:pt x="283" y="332"/>
                  <a:pt x="283" y="333"/>
                  <a:pt x="284" y="333"/>
                </a:cubicBezTo>
                <a:cubicBezTo>
                  <a:pt x="285" y="334"/>
                  <a:pt x="284" y="335"/>
                  <a:pt x="283" y="336"/>
                </a:cubicBezTo>
                <a:close/>
                <a:moveTo>
                  <a:pt x="257" y="163"/>
                </a:moveTo>
                <a:cubicBezTo>
                  <a:pt x="256" y="165"/>
                  <a:pt x="254" y="164"/>
                  <a:pt x="252" y="164"/>
                </a:cubicBezTo>
                <a:cubicBezTo>
                  <a:pt x="252" y="164"/>
                  <a:pt x="252" y="164"/>
                  <a:pt x="252" y="164"/>
                </a:cubicBezTo>
                <a:cubicBezTo>
                  <a:pt x="251" y="163"/>
                  <a:pt x="251" y="163"/>
                  <a:pt x="250" y="163"/>
                </a:cubicBezTo>
                <a:cubicBezTo>
                  <a:pt x="250" y="163"/>
                  <a:pt x="249" y="164"/>
                  <a:pt x="249" y="164"/>
                </a:cubicBezTo>
                <a:cubicBezTo>
                  <a:pt x="249" y="165"/>
                  <a:pt x="249" y="165"/>
                  <a:pt x="251" y="166"/>
                </a:cubicBezTo>
                <a:cubicBezTo>
                  <a:pt x="251" y="166"/>
                  <a:pt x="252" y="167"/>
                  <a:pt x="253" y="167"/>
                </a:cubicBezTo>
                <a:cubicBezTo>
                  <a:pt x="254" y="167"/>
                  <a:pt x="253" y="167"/>
                  <a:pt x="253" y="168"/>
                </a:cubicBezTo>
                <a:cubicBezTo>
                  <a:pt x="253" y="168"/>
                  <a:pt x="253" y="167"/>
                  <a:pt x="252" y="167"/>
                </a:cubicBezTo>
                <a:cubicBezTo>
                  <a:pt x="251" y="167"/>
                  <a:pt x="251" y="167"/>
                  <a:pt x="251" y="167"/>
                </a:cubicBezTo>
                <a:cubicBezTo>
                  <a:pt x="249" y="167"/>
                  <a:pt x="247" y="168"/>
                  <a:pt x="245" y="168"/>
                </a:cubicBezTo>
                <a:cubicBezTo>
                  <a:pt x="245" y="168"/>
                  <a:pt x="244" y="168"/>
                  <a:pt x="244" y="169"/>
                </a:cubicBezTo>
                <a:cubicBezTo>
                  <a:pt x="244" y="169"/>
                  <a:pt x="244" y="169"/>
                  <a:pt x="243" y="169"/>
                </a:cubicBezTo>
                <a:cubicBezTo>
                  <a:pt x="242" y="170"/>
                  <a:pt x="242" y="170"/>
                  <a:pt x="242" y="171"/>
                </a:cubicBezTo>
                <a:cubicBezTo>
                  <a:pt x="242" y="171"/>
                  <a:pt x="241" y="171"/>
                  <a:pt x="241" y="171"/>
                </a:cubicBezTo>
                <a:cubicBezTo>
                  <a:pt x="241" y="170"/>
                  <a:pt x="241" y="170"/>
                  <a:pt x="241" y="169"/>
                </a:cubicBezTo>
                <a:cubicBezTo>
                  <a:pt x="241" y="169"/>
                  <a:pt x="242" y="169"/>
                  <a:pt x="242" y="169"/>
                </a:cubicBezTo>
                <a:cubicBezTo>
                  <a:pt x="242" y="169"/>
                  <a:pt x="243" y="169"/>
                  <a:pt x="243" y="168"/>
                </a:cubicBezTo>
                <a:cubicBezTo>
                  <a:pt x="243" y="168"/>
                  <a:pt x="244" y="168"/>
                  <a:pt x="244" y="167"/>
                </a:cubicBezTo>
                <a:cubicBezTo>
                  <a:pt x="245" y="167"/>
                  <a:pt x="248" y="166"/>
                  <a:pt x="248" y="166"/>
                </a:cubicBezTo>
                <a:cubicBezTo>
                  <a:pt x="248" y="165"/>
                  <a:pt x="246" y="165"/>
                  <a:pt x="245" y="165"/>
                </a:cubicBezTo>
                <a:cubicBezTo>
                  <a:pt x="245" y="165"/>
                  <a:pt x="244" y="165"/>
                  <a:pt x="243" y="165"/>
                </a:cubicBezTo>
                <a:cubicBezTo>
                  <a:pt x="243" y="165"/>
                  <a:pt x="243" y="165"/>
                  <a:pt x="243" y="165"/>
                </a:cubicBezTo>
                <a:cubicBezTo>
                  <a:pt x="242" y="166"/>
                  <a:pt x="241" y="166"/>
                  <a:pt x="241" y="167"/>
                </a:cubicBezTo>
                <a:cubicBezTo>
                  <a:pt x="241" y="167"/>
                  <a:pt x="241" y="167"/>
                  <a:pt x="240" y="168"/>
                </a:cubicBezTo>
                <a:cubicBezTo>
                  <a:pt x="240" y="168"/>
                  <a:pt x="240" y="169"/>
                  <a:pt x="240" y="169"/>
                </a:cubicBezTo>
                <a:cubicBezTo>
                  <a:pt x="240" y="170"/>
                  <a:pt x="239" y="170"/>
                  <a:pt x="239" y="170"/>
                </a:cubicBezTo>
                <a:cubicBezTo>
                  <a:pt x="238" y="170"/>
                  <a:pt x="237" y="170"/>
                  <a:pt x="235" y="169"/>
                </a:cubicBezTo>
                <a:cubicBezTo>
                  <a:pt x="234" y="169"/>
                  <a:pt x="234" y="169"/>
                  <a:pt x="234" y="168"/>
                </a:cubicBezTo>
                <a:cubicBezTo>
                  <a:pt x="233" y="168"/>
                  <a:pt x="232" y="168"/>
                  <a:pt x="233" y="167"/>
                </a:cubicBezTo>
                <a:cubicBezTo>
                  <a:pt x="233" y="167"/>
                  <a:pt x="233" y="167"/>
                  <a:pt x="234" y="167"/>
                </a:cubicBezTo>
                <a:cubicBezTo>
                  <a:pt x="234" y="165"/>
                  <a:pt x="233" y="165"/>
                  <a:pt x="234" y="164"/>
                </a:cubicBezTo>
                <a:cubicBezTo>
                  <a:pt x="234" y="164"/>
                  <a:pt x="236" y="163"/>
                  <a:pt x="236" y="163"/>
                </a:cubicBezTo>
                <a:cubicBezTo>
                  <a:pt x="236" y="162"/>
                  <a:pt x="236" y="162"/>
                  <a:pt x="236" y="161"/>
                </a:cubicBezTo>
                <a:cubicBezTo>
                  <a:pt x="235" y="161"/>
                  <a:pt x="234" y="160"/>
                  <a:pt x="234" y="159"/>
                </a:cubicBezTo>
                <a:cubicBezTo>
                  <a:pt x="236" y="159"/>
                  <a:pt x="238" y="160"/>
                  <a:pt x="240" y="160"/>
                </a:cubicBezTo>
                <a:cubicBezTo>
                  <a:pt x="240" y="160"/>
                  <a:pt x="240" y="159"/>
                  <a:pt x="240" y="159"/>
                </a:cubicBezTo>
                <a:cubicBezTo>
                  <a:pt x="240" y="158"/>
                  <a:pt x="239" y="160"/>
                  <a:pt x="239" y="158"/>
                </a:cubicBezTo>
                <a:cubicBezTo>
                  <a:pt x="238" y="157"/>
                  <a:pt x="238" y="157"/>
                  <a:pt x="236" y="157"/>
                </a:cubicBezTo>
                <a:cubicBezTo>
                  <a:pt x="236" y="157"/>
                  <a:pt x="235" y="157"/>
                  <a:pt x="234" y="157"/>
                </a:cubicBezTo>
                <a:cubicBezTo>
                  <a:pt x="234" y="157"/>
                  <a:pt x="234" y="156"/>
                  <a:pt x="234" y="156"/>
                </a:cubicBezTo>
                <a:cubicBezTo>
                  <a:pt x="233" y="156"/>
                  <a:pt x="233" y="156"/>
                  <a:pt x="232" y="156"/>
                </a:cubicBezTo>
                <a:cubicBezTo>
                  <a:pt x="232" y="156"/>
                  <a:pt x="232" y="156"/>
                  <a:pt x="232" y="156"/>
                </a:cubicBezTo>
                <a:cubicBezTo>
                  <a:pt x="231" y="156"/>
                  <a:pt x="231" y="156"/>
                  <a:pt x="230" y="156"/>
                </a:cubicBezTo>
                <a:cubicBezTo>
                  <a:pt x="230" y="157"/>
                  <a:pt x="229" y="156"/>
                  <a:pt x="228" y="156"/>
                </a:cubicBezTo>
                <a:cubicBezTo>
                  <a:pt x="228" y="156"/>
                  <a:pt x="228" y="155"/>
                  <a:pt x="228" y="155"/>
                </a:cubicBezTo>
                <a:cubicBezTo>
                  <a:pt x="229" y="155"/>
                  <a:pt x="230" y="155"/>
                  <a:pt x="231" y="155"/>
                </a:cubicBezTo>
                <a:cubicBezTo>
                  <a:pt x="232" y="154"/>
                  <a:pt x="232" y="154"/>
                  <a:pt x="233" y="154"/>
                </a:cubicBezTo>
                <a:cubicBezTo>
                  <a:pt x="233" y="154"/>
                  <a:pt x="234" y="155"/>
                  <a:pt x="235" y="155"/>
                </a:cubicBezTo>
                <a:cubicBezTo>
                  <a:pt x="235" y="155"/>
                  <a:pt x="237" y="154"/>
                  <a:pt x="237" y="154"/>
                </a:cubicBezTo>
                <a:cubicBezTo>
                  <a:pt x="237" y="154"/>
                  <a:pt x="238" y="154"/>
                  <a:pt x="239" y="154"/>
                </a:cubicBezTo>
                <a:cubicBezTo>
                  <a:pt x="240" y="154"/>
                  <a:pt x="239" y="153"/>
                  <a:pt x="240" y="153"/>
                </a:cubicBezTo>
                <a:cubicBezTo>
                  <a:pt x="240" y="153"/>
                  <a:pt x="241" y="153"/>
                  <a:pt x="241" y="153"/>
                </a:cubicBezTo>
                <a:cubicBezTo>
                  <a:pt x="241" y="153"/>
                  <a:pt x="245" y="152"/>
                  <a:pt x="245" y="152"/>
                </a:cubicBezTo>
                <a:cubicBezTo>
                  <a:pt x="246" y="152"/>
                  <a:pt x="246" y="152"/>
                  <a:pt x="247" y="152"/>
                </a:cubicBezTo>
                <a:cubicBezTo>
                  <a:pt x="247" y="152"/>
                  <a:pt x="248" y="152"/>
                  <a:pt x="248" y="152"/>
                </a:cubicBezTo>
                <a:cubicBezTo>
                  <a:pt x="249" y="152"/>
                  <a:pt x="249" y="152"/>
                  <a:pt x="249" y="152"/>
                </a:cubicBezTo>
                <a:cubicBezTo>
                  <a:pt x="250" y="152"/>
                  <a:pt x="250" y="153"/>
                  <a:pt x="251" y="153"/>
                </a:cubicBezTo>
                <a:cubicBezTo>
                  <a:pt x="251" y="153"/>
                  <a:pt x="253" y="153"/>
                  <a:pt x="253" y="154"/>
                </a:cubicBezTo>
                <a:cubicBezTo>
                  <a:pt x="252" y="154"/>
                  <a:pt x="251" y="154"/>
                  <a:pt x="250" y="154"/>
                </a:cubicBezTo>
                <a:cubicBezTo>
                  <a:pt x="249" y="154"/>
                  <a:pt x="248" y="154"/>
                  <a:pt x="248" y="155"/>
                </a:cubicBezTo>
                <a:cubicBezTo>
                  <a:pt x="247" y="155"/>
                  <a:pt x="247" y="155"/>
                  <a:pt x="246" y="155"/>
                </a:cubicBezTo>
                <a:cubicBezTo>
                  <a:pt x="247" y="156"/>
                  <a:pt x="247" y="156"/>
                  <a:pt x="248" y="156"/>
                </a:cubicBezTo>
                <a:cubicBezTo>
                  <a:pt x="249" y="156"/>
                  <a:pt x="250" y="157"/>
                  <a:pt x="251" y="157"/>
                </a:cubicBezTo>
                <a:cubicBezTo>
                  <a:pt x="252" y="157"/>
                  <a:pt x="253" y="158"/>
                  <a:pt x="254" y="158"/>
                </a:cubicBezTo>
                <a:cubicBezTo>
                  <a:pt x="255" y="158"/>
                  <a:pt x="256" y="158"/>
                  <a:pt x="257" y="157"/>
                </a:cubicBezTo>
                <a:cubicBezTo>
                  <a:pt x="258" y="157"/>
                  <a:pt x="258" y="157"/>
                  <a:pt x="259" y="158"/>
                </a:cubicBezTo>
                <a:cubicBezTo>
                  <a:pt x="259" y="159"/>
                  <a:pt x="258" y="160"/>
                  <a:pt x="258" y="161"/>
                </a:cubicBezTo>
                <a:cubicBezTo>
                  <a:pt x="257" y="161"/>
                  <a:pt x="257" y="161"/>
                  <a:pt x="257" y="162"/>
                </a:cubicBezTo>
                <a:cubicBezTo>
                  <a:pt x="257" y="162"/>
                  <a:pt x="258" y="163"/>
                  <a:pt x="258" y="163"/>
                </a:cubicBezTo>
                <a:cubicBezTo>
                  <a:pt x="258" y="163"/>
                  <a:pt x="257" y="163"/>
                  <a:pt x="257" y="163"/>
                </a:cubicBezTo>
                <a:cubicBezTo>
                  <a:pt x="257" y="164"/>
                  <a:pt x="257" y="163"/>
                  <a:pt x="257" y="163"/>
                </a:cubicBezTo>
                <a:close/>
                <a:moveTo>
                  <a:pt x="257" y="180"/>
                </a:moveTo>
                <a:cubicBezTo>
                  <a:pt x="257" y="181"/>
                  <a:pt x="255" y="180"/>
                  <a:pt x="255" y="180"/>
                </a:cubicBezTo>
                <a:cubicBezTo>
                  <a:pt x="253" y="180"/>
                  <a:pt x="252" y="182"/>
                  <a:pt x="251" y="182"/>
                </a:cubicBezTo>
                <a:cubicBezTo>
                  <a:pt x="250" y="182"/>
                  <a:pt x="250" y="182"/>
                  <a:pt x="250" y="181"/>
                </a:cubicBezTo>
                <a:cubicBezTo>
                  <a:pt x="250" y="181"/>
                  <a:pt x="250" y="181"/>
                  <a:pt x="249" y="181"/>
                </a:cubicBezTo>
                <a:cubicBezTo>
                  <a:pt x="249" y="181"/>
                  <a:pt x="248" y="181"/>
                  <a:pt x="248" y="181"/>
                </a:cubicBezTo>
                <a:cubicBezTo>
                  <a:pt x="247" y="181"/>
                  <a:pt x="247" y="180"/>
                  <a:pt x="247" y="180"/>
                </a:cubicBezTo>
                <a:cubicBezTo>
                  <a:pt x="247" y="180"/>
                  <a:pt x="246" y="181"/>
                  <a:pt x="245" y="181"/>
                </a:cubicBezTo>
                <a:cubicBezTo>
                  <a:pt x="245" y="180"/>
                  <a:pt x="244" y="180"/>
                  <a:pt x="244" y="180"/>
                </a:cubicBezTo>
                <a:cubicBezTo>
                  <a:pt x="243" y="180"/>
                  <a:pt x="244" y="180"/>
                  <a:pt x="244" y="180"/>
                </a:cubicBezTo>
                <a:cubicBezTo>
                  <a:pt x="245" y="180"/>
                  <a:pt x="246" y="179"/>
                  <a:pt x="247" y="179"/>
                </a:cubicBezTo>
                <a:cubicBezTo>
                  <a:pt x="248" y="179"/>
                  <a:pt x="247" y="178"/>
                  <a:pt x="248" y="178"/>
                </a:cubicBezTo>
                <a:cubicBezTo>
                  <a:pt x="249" y="178"/>
                  <a:pt x="250" y="178"/>
                  <a:pt x="251" y="178"/>
                </a:cubicBezTo>
                <a:cubicBezTo>
                  <a:pt x="252" y="178"/>
                  <a:pt x="252" y="178"/>
                  <a:pt x="252" y="179"/>
                </a:cubicBezTo>
                <a:cubicBezTo>
                  <a:pt x="252" y="179"/>
                  <a:pt x="252" y="180"/>
                  <a:pt x="252" y="180"/>
                </a:cubicBezTo>
                <a:cubicBezTo>
                  <a:pt x="254" y="180"/>
                  <a:pt x="256" y="179"/>
                  <a:pt x="257" y="179"/>
                </a:cubicBezTo>
                <a:cubicBezTo>
                  <a:pt x="257" y="180"/>
                  <a:pt x="257" y="180"/>
                  <a:pt x="257" y="180"/>
                </a:cubicBezTo>
                <a:close/>
                <a:moveTo>
                  <a:pt x="235" y="295"/>
                </a:moveTo>
                <a:cubicBezTo>
                  <a:pt x="234" y="295"/>
                  <a:pt x="234" y="296"/>
                  <a:pt x="233" y="296"/>
                </a:cubicBezTo>
                <a:cubicBezTo>
                  <a:pt x="233" y="297"/>
                  <a:pt x="233" y="297"/>
                  <a:pt x="232" y="297"/>
                </a:cubicBezTo>
                <a:cubicBezTo>
                  <a:pt x="232" y="296"/>
                  <a:pt x="233" y="295"/>
                  <a:pt x="234" y="295"/>
                </a:cubicBezTo>
                <a:cubicBezTo>
                  <a:pt x="235" y="295"/>
                  <a:pt x="235" y="295"/>
                  <a:pt x="235" y="295"/>
                </a:cubicBezTo>
                <a:cubicBezTo>
                  <a:pt x="234" y="295"/>
                  <a:pt x="235" y="295"/>
                  <a:pt x="235" y="295"/>
                </a:cubicBezTo>
                <a:close/>
                <a:moveTo>
                  <a:pt x="205" y="253"/>
                </a:moveTo>
                <a:cubicBezTo>
                  <a:pt x="204" y="253"/>
                  <a:pt x="205" y="252"/>
                  <a:pt x="205" y="253"/>
                </a:cubicBezTo>
                <a:close/>
                <a:moveTo>
                  <a:pt x="196" y="133"/>
                </a:moveTo>
                <a:cubicBezTo>
                  <a:pt x="194" y="133"/>
                  <a:pt x="196" y="131"/>
                  <a:pt x="196" y="133"/>
                </a:cubicBezTo>
                <a:close/>
                <a:moveTo>
                  <a:pt x="174" y="212"/>
                </a:moveTo>
                <a:cubicBezTo>
                  <a:pt x="174" y="212"/>
                  <a:pt x="173" y="212"/>
                  <a:pt x="173" y="212"/>
                </a:cubicBezTo>
                <a:cubicBezTo>
                  <a:pt x="173" y="211"/>
                  <a:pt x="173" y="211"/>
                  <a:pt x="174" y="211"/>
                </a:cubicBezTo>
                <a:cubicBezTo>
                  <a:pt x="174" y="211"/>
                  <a:pt x="174" y="210"/>
                  <a:pt x="174" y="211"/>
                </a:cubicBezTo>
                <a:cubicBezTo>
                  <a:pt x="174" y="211"/>
                  <a:pt x="174" y="211"/>
                  <a:pt x="174" y="212"/>
                </a:cubicBezTo>
                <a:close/>
                <a:moveTo>
                  <a:pt x="171" y="217"/>
                </a:moveTo>
                <a:cubicBezTo>
                  <a:pt x="171" y="217"/>
                  <a:pt x="171" y="217"/>
                  <a:pt x="171" y="217"/>
                </a:cubicBezTo>
                <a:cubicBezTo>
                  <a:pt x="171" y="216"/>
                  <a:pt x="170" y="216"/>
                  <a:pt x="170" y="216"/>
                </a:cubicBezTo>
                <a:cubicBezTo>
                  <a:pt x="170" y="215"/>
                  <a:pt x="169" y="215"/>
                  <a:pt x="169" y="215"/>
                </a:cubicBezTo>
                <a:cubicBezTo>
                  <a:pt x="168" y="215"/>
                  <a:pt x="168" y="215"/>
                  <a:pt x="167" y="215"/>
                </a:cubicBezTo>
                <a:cubicBezTo>
                  <a:pt x="167" y="215"/>
                  <a:pt x="167" y="214"/>
                  <a:pt x="167" y="213"/>
                </a:cubicBezTo>
                <a:cubicBezTo>
                  <a:pt x="167" y="213"/>
                  <a:pt x="167" y="213"/>
                  <a:pt x="167" y="213"/>
                </a:cubicBezTo>
                <a:cubicBezTo>
                  <a:pt x="168" y="213"/>
                  <a:pt x="170" y="213"/>
                  <a:pt x="170" y="214"/>
                </a:cubicBezTo>
                <a:cubicBezTo>
                  <a:pt x="170" y="215"/>
                  <a:pt x="171" y="216"/>
                  <a:pt x="171" y="217"/>
                </a:cubicBezTo>
                <a:close/>
                <a:moveTo>
                  <a:pt x="65" y="211"/>
                </a:moveTo>
                <a:cubicBezTo>
                  <a:pt x="65" y="211"/>
                  <a:pt x="65" y="212"/>
                  <a:pt x="65" y="210"/>
                </a:cubicBezTo>
                <a:cubicBezTo>
                  <a:pt x="65" y="211"/>
                  <a:pt x="65" y="211"/>
                  <a:pt x="65" y="211"/>
                </a:cubicBezTo>
                <a:close/>
                <a:moveTo>
                  <a:pt x="366" y="105"/>
                </a:moveTo>
                <a:cubicBezTo>
                  <a:pt x="366" y="104"/>
                  <a:pt x="366" y="104"/>
                  <a:pt x="366" y="103"/>
                </a:cubicBezTo>
                <a:cubicBezTo>
                  <a:pt x="367" y="103"/>
                  <a:pt x="367" y="103"/>
                  <a:pt x="368" y="104"/>
                </a:cubicBezTo>
                <a:cubicBezTo>
                  <a:pt x="368" y="104"/>
                  <a:pt x="367" y="104"/>
                  <a:pt x="366" y="105"/>
                </a:cubicBezTo>
                <a:cubicBezTo>
                  <a:pt x="366" y="104"/>
                  <a:pt x="366" y="105"/>
                  <a:pt x="366" y="105"/>
                </a:cubicBezTo>
                <a:close/>
                <a:moveTo>
                  <a:pt x="381" y="298"/>
                </a:moveTo>
                <a:cubicBezTo>
                  <a:pt x="381" y="298"/>
                  <a:pt x="382" y="298"/>
                  <a:pt x="382" y="297"/>
                </a:cubicBezTo>
                <a:cubicBezTo>
                  <a:pt x="382" y="297"/>
                  <a:pt x="382" y="297"/>
                  <a:pt x="382" y="296"/>
                </a:cubicBezTo>
                <a:cubicBezTo>
                  <a:pt x="383" y="296"/>
                  <a:pt x="383" y="296"/>
                  <a:pt x="384" y="296"/>
                </a:cubicBezTo>
                <a:cubicBezTo>
                  <a:pt x="384" y="295"/>
                  <a:pt x="385" y="295"/>
                  <a:pt x="385" y="295"/>
                </a:cubicBezTo>
                <a:cubicBezTo>
                  <a:pt x="386" y="295"/>
                  <a:pt x="386" y="294"/>
                  <a:pt x="387" y="294"/>
                </a:cubicBezTo>
                <a:cubicBezTo>
                  <a:pt x="387" y="293"/>
                  <a:pt x="388" y="293"/>
                  <a:pt x="388" y="293"/>
                </a:cubicBezTo>
                <a:cubicBezTo>
                  <a:pt x="389" y="293"/>
                  <a:pt x="388" y="293"/>
                  <a:pt x="389" y="293"/>
                </a:cubicBezTo>
                <a:cubicBezTo>
                  <a:pt x="390" y="292"/>
                  <a:pt x="390" y="291"/>
                  <a:pt x="391" y="291"/>
                </a:cubicBezTo>
                <a:cubicBezTo>
                  <a:pt x="391" y="291"/>
                  <a:pt x="391" y="292"/>
                  <a:pt x="392" y="291"/>
                </a:cubicBezTo>
                <a:cubicBezTo>
                  <a:pt x="392" y="290"/>
                  <a:pt x="392" y="290"/>
                  <a:pt x="392" y="290"/>
                </a:cubicBezTo>
                <a:cubicBezTo>
                  <a:pt x="393" y="290"/>
                  <a:pt x="392" y="289"/>
                  <a:pt x="392" y="289"/>
                </a:cubicBezTo>
                <a:cubicBezTo>
                  <a:pt x="392" y="288"/>
                  <a:pt x="393" y="288"/>
                  <a:pt x="393" y="288"/>
                </a:cubicBezTo>
                <a:cubicBezTo>
                  <a:pt x="393" y="288"/>
                  <a:pt x="394" y="288"/>
                  <a:pt x="395" y="288"/>
                </a:cubicBezTo>
                <a:cubicBezTo>
                  <a:pt x="395" y="287"/>
                  <a:pt x="396" y="288"/>
                  <a:pt x="396" y="287"/>
                </a:cubicBezTo>
                <a:cubicBezTo>
                  <a:pt x="396" y="286"/>
                  <a:pt x="396" y="286"/>
                  <a:pt x="397" y="286"/>
                </a:cubicBezTo>
                <a:cubicBezTo>
                  <a:pt x="397" y="286"/>
                  <a:pt x="397" y="287"/>
                  <a:pt x="397" y="287"/>
                </a:cubicBezTo>
                <a:cubicBezTo>
                  <a:pt x="397" y="287"/>
                  <a:pt x="397" y="287"/>
                  <a:pt x="398" y="287"/>
                </a:cubicBezTo>
                <a:cubicBezTo>
                  <a:pt x="398" y="286"/>
                  <a:pt x="398" y="287"/>
                  <a:pt x="398" y="286"/>
                </a:cubicBezTo>
                <a:cubicBezTo>
                  <a:pt x="397" y="285"/>
                  <a:pt x="398" y="285"/>
                  <a:pt x="398" y="285"/>
                </a:cubicBezTo>
                <a:cubicBezTo>
                  <a:pt x="399" y="285"/>
                  <a:pt x="400" y="285"/>
                  <a:pt x="401" y="285"/>
                </a:cubicBezTo>
                <a:cubicBezTo>
                  <a:pt x="401" y="285"/>
                  <a:pt x="402" y="285"/>
                  <a:pt x="402" y="285"/>
                </a:cubicBezTo>
                <a:cubicBezTo>
                  <a:pt x="403" y="285"/>
                  <a:pt x="403" y="286"/>
                  <a:pt x="404" y="285"/>
                </a:cubicBezTo>
                <a:cubicBezTo>
                  <a:pt x="404" y="285"/>
                  <a:pt x="405" y="285"/>
                  <a:pt x="405" y="285"/>
                </a:cubicBezTo>
                <a:cubicBezTo>
                  <a:pt x="405" y="286"/>
                  <a:pt x="405" y="286"/>
                  <a:pt x="406" y="287"/>
                </a:cubicBezTo>
                <a:cubicBezTo>
                  <a:pt x="406" y="287"/>
                  <a:pt x="406" y="287"/>
                  <a:pt x="406" y="287"/>
                </a:cubicBezTo>
                <a:cubicBezTo>
                  <a:pt x="406" y="287"/>
                  <a:pt x="406" y="288"/>
                  <a:pt x="406" y="288"/>
                </a:cubicBezTo>
                <a:cubicBezTo>
                  <a:pt x="406" y="289"/>
                  <a:pt x="406" y="288"/>
                  <a:pt x="406" y="289"/>
                </a:cubicBezTo>
                <a:cubicBezTo>
                  <a:pt x="406" y="289"/>
                  <a:pt x="406" y="289"/>
                  <a:pt x="407" y="289"/>
                </a:cubicBezTo>
                <a:cubicBezTo>
                  <a:pt x="408" y="290"/>
                  <a:pt x="408" y="291"/>
                  <a:pt x="409" y="291"/>
                </a:cubicBezTo>
                <a:cubicBezTo>
                  <a:pt x="409" y="292"/>
                  <a:pt x="407" y="291"/>
                  <a:pt x="409" y="292"/>
                </a:cubicBezTo>
                <a:cubicBezTo>
                  <a:pt x="410" y="292"/>
                  <a:pt x="410" y="292"/>
                  <a:pt x="411" y="292"/>
                </a:cubicBezTo>
                <a:cubicBezTo>
                  <a:pt x="411" y="291"/>
                  <a:pt x="413" y="292"/>
                  <a:pt x="413" y="293"/>
                </a:cubicBezTo>
                <a:cubicBezTo>
                  <a:pt x="412" y="294"/>
                  <a:pt x="413" y="295"/>
                  <a:pt x="415" y="296"/>
                </a:cubicBezTo>
                <a:cubicBezTo>
                  <a:pt x="414" y="296"/>
                  <a:pt x="414" y="296"/>
                  <a:pt x="414" y="297"/>
                </a:cubicBezTo>
                <a:cubicBezTo>
                  <a:pt x="414" y="298"/>
                  <a:pt x="414" y="298"/>
                  <a:pt x="415" y="298"/>
                </a:cubicBezTo>
                <a:cubicBezTo>
                  <a:pt x="415" y="299"/>
                  <a:pt x="415" y="300"/>
                  <a:pt x="415" y="300"/>
                </a:cubicBezTo>
                <a:cubicBezTo>
                  <a:pt x="415" y="302"/>
                  <a:pt x="416" y="301"/>
                  <a:pt x="417" y="301"/>
                </a:cubicBezTo>
                <a:cubicBezTo>
                  <a:pt x="418" y="302"/>
                  <a:pt x="418" y="303"/>
                  <a:pt x="419" y="303"/>
                </a:cubicBezTo>
                <a:cubicBezTo>
                  <a:pt x="420" y="303"/>
                  <a:pt x="420" y="304"/>
                  <a:pt x="420" y="303"/>
                </a:cubicBezTo>
                <a:cubicBezTo>
                  <a:pt x="420" y="303"/>
                  <a:pt x="421" y="304"/>
                  <a:pt x="421" y="304"/>
                </a:cubicBezTo>
                <a:cubicBezTo>
                  <a:pt x="421" y="304"/>
                  <a:pt x="424" y="303"/>
                  <a:pt x="424" y="304"/>
                </a:cubicBezTo>
                <a:cubicBezTo>
                  <a:pt x="424" y="304"/>
                  <a:pt x="424" y="304"/>
                  <a:pt x="424" y="304"/>
                </a:cubicBezTo>
                <a:cubicBezTo>
                  <a:pt x="425" y="304"/>
                  <a:pt x="424" y="304"/>
                  <a:pt x="425" y="304"/>
                </a:cubicBezTo>
                <a:cubicBezTo>
                  <a:pt x="425" y="304"/>
                  <a:pt x="426" y="304"/>
                  <a:pt x="426" y="304"/>
                </a:cubicBezTo>
                <a:cubicBezTo>
                  <a:pt x="427" y="304"/>
                  <a:pt x="427" y="304"/>
                  <a:pt x="428" y="305"/>
                </a:cubicBezTo>
                <a:cubicBezTo>
                  <a:pt x="429" y="306"/>
                  <a:pt x="430" y="305"/>
                  <a:pt x="431" y="305"/>
                </a:cubicBezTo>
                <a:cubicBezTo>
                  <a:pt x="432" y="305"/>
                  <a:pt x="432" y="305"/>
                  <a:pt x="433" y="305"/>
                </a:cubicBezTo>
                <a:cubicBezTo>
                  <a:pt x="433" y="305"/>
                  <a:pt x="433" y="305"/>
                  <a:pt x="433" y="305"/>
                </a:cubicBezTo>
                <a:cubicBezTo>
                  <a:pt x="433" y="306"/>
                  <a:pt x="433" y="306"/>
                  <a:pt x="433" y="306"/>
                </a:cubicBezTo>
                <a:cubicBezTo>
                  <a:pt x="434" y="306"/>
                  <a:pt x="434" y="306"/>
                  <a:pt x="434" y="306"/>
                </a:cubicBezTo>
                <a:cubicBezTo>
                  <a:pt x="434" y="306"/>
                  <a:pt x="435" y="307"/>
                  <a:pt x="435" y="307"/>
                </a:cubicBezTo>
                <a:cubicBezTo>
                  <a:pt x="435" y="307"/>
                  <a:pt x="435" y="307"/>
                  <a:pt x="435" y="307"/>
                </a:cubicBezTo>
                <a:cubicBezTo>
                  <a:pt x="435" y="308"/>
                  <a:pt x="436" y="307"/>
                  <a:pt x="437" y="307"/>
                </a:cubicBezTo>
                <a:cubicBezTo>
                  <a:pt x="437" y="309"/>
                  <a:pt x="437" y="310"/>
                  <a:pt x="437" y="311"/>
                </a:cubicBezTo>
                <a:cubicBezTo>
                  <a:pt x="438" y="312"/>
                  <a:pt x="438" y="312"/>
                  <a:pt x="439" y="312"/>
                </a:cubicBezTo>
                <a:cubicBezTo>
                  <a:pt x="439" y="312"/>
                  <a:pt x="438" y="313"/>
                  <a:pt x="438" y="314"/>
                </a:cubicBezTo>
                <a:cubicBezTo>
                  <a:pt x="438" y="313"/>
                  <a:pt x="437" y="313"/>
                  <a:pt x="436" y="314"/>
                </a:cubicBezTo>
                <a:cubicBezTo>
                  <a:pt x="436" y="314"/>
                  <a:pt x="437" y="315"/>
                  <a:pt x="437" y="315"/>
                </a:cubicBezTo>
                <a:cubicBezTo>
                  <a:pt x="437" y="315"/>
                  <a:pt x="437" y="316"/>
                  <a:pt x="436" y="316"/>
                </a:cubicBezTo>
                <a:cubicBezTo>
                  <a:pt x="436" y="316"/>
                  <a:pt x="435" y="316"/>
                  <a:pt x="435" y="315"/>
                </a:cubicBezTo>
                <a:cubicBezTo>
                  <a:pt x="435" y="314"/>
                  <a:pt x="433" y="315"/>
                  <a:pt x="433" y="314"/>
                </a:cubicBezTo>
                <a:cubicBezTo>
                  <a:pt x="433" y="314"/>
                  <a:pt x="432" y="314"/>
                  <a:pt x="432" y="314"/>
                </a:cubicBezTo>
                <a:cubicBezTo>
                  <a:pt x="432" y="313"/>
                  <a:pt x="432" y="314"/>
                  <a:pt x="432" y="313"/>
                </a:cubicBezTo>
                <a:cubicBezTo>
                  <a:pt x="431" y="312"/>
                  <a:pt x="431" y="314"/>
                  <a:pt x="430" y="314"/>
                </a:cubicBezTo>
                <a:cubicBezTo>
                  <a:pt x="430" y="314"/>
                  <a:pt x="429" y="315"/>
                  <a:pt x="429" y="316"/>
                </a:cubicBezTo>
                <a:cubicBezTo>
                  <a:pt x="429" y="315"/>
                  <a:pt x="428" y="316"/>
                  <a:pt x="428" y="316"/>
                </a:cubicBezTo>
                <a:cubicBezTo>
                  <a:pt x="428" y="317"/>
                  <a:pt x="428" y="318"/>
                  <a:pt x="428" y="319"/>
                </a:cubicBezTo>
                <a:cubicBezTo>
                  <a:pt x="428" y="319"/>
                  <a:pt x="428" y="319"/>
                  <a:pt x="428" y="319"/>
                </a:cubicBezTo>
                <a:cubicBezTo>
                  <a:pt x="428" y="320"/>
                  <a:pt x="428" y="321"/>
                  <a:pt x="428" y="323"/>
                </a:cubicBezTo>
                <a:cubicBezTo>
                  <a:pt x="427" y="323"/>
                  <a:pt x="426" y="323"/>
                  <a:pt x="425" y="324"/>
                </a:cubicBezTo>
                <a:cubicBezTo>
                  <a:pt x="424" y="323"/>
                  <a:pt x="424" y="319"/>
                  <a:pt x="423" y="318"/>
                </a:cubicBezTo>
                <a:cubicBezTo>
                  <a:pt x="422" y="318"/>
                  <a:pt x="422" y="318"/>
                  <a:pt x="421" y="318"/>
                </a:cubicBezTo>
                <a:cubicBezTo>
                  <a:pt x="421" y="318"/>
                  <a:pt x="421" y="318"/>
                  <a:pt x="420" y="319"/>
                </a:cubicBezTo>
                <a:cubicBezTo>
                  <a:pt x="420" y="319"/>
                  <a:pt x="419" y="320"/>
                  <a:pt x="418" y="320"/>
                </a:cubicBezTo>
                <a:cubicBezTo>
                  <a:pt x="417" y="319"/>
                  <a:pt x="420" y="316"/>
                  <a:pt x="420" y="315"/>
                </a:cubicBezTo>
                <a:cubicBezTo>
                  <a:pt x="421" y="313"/>
                  <a:pt x="420" y="313"/>
                  <a:pt x="420" y="312"/>
                </a:cubicBezTo>
                <a:cubicBezTo>
                  <a:pt x="420" y="311"/>
                  <a:pt x="419" y="312"/>
                  <a:pt x="419" y="311"/>
                </a:cubicBezTo>
                <a:cubicBezTo>
                  <a:pt x="419" y="311"/>
                  <a:pt x="420" y="310"/>
                  <a:pt x="420" y="310"/>
                </a:cubicBezTo>
                <a:cubicBezTo>
                  <a:pt x="419" y="310"/>
                  <a:pt x="419" y="309"/>
                  <a:pt x="419" y="309"/>
                </a:cubicBezTo>
                <a:cubicBezTo>
                  <a:pt x="418" y="308"/>
                  <a:pt x="418" y="308"/>
                  <a:pt x="417" y="308"/>
                </a:cubicBezTo>
                <a:cubicBezTo>
                  <a:pt x="417" y="308"/>
                  <a:pt x="416" y="308"/>
                  <a:pt x="416" y="308"/>
                </a:cubicBezTo>
                <a:cubicBezTo>
                  <a:pt x="415" y="307"/>
                  <a:pt x="415" y="306"/>
                  <a:pt x="414" y="307"/>
                </a:cubicBezTo>
                <a:cubicBezTo>
                  <a:pt x="413" y="307"/>
                  <a:pt x="413" y="307"/>
                  <a:pt x="413" y="308"/>
                </a:cubicBezTo>
                <a:cubicBezTo>
                  <a:pt x="413" y="309"/>
                  <a:pt x="413" y="309"/>
                  <a:pt x="412" y="309"/>
                </a:cubicBezTo>
                <a:cubicBezTo>
                  <a:pt x="411" y="309"/>
                  <a:pt x="410" y="310"/>
                  <a:pt x="410" y="311"/>
                </a:cubicBezTo>
                <a:cubicBezTo>
                  <a:pt x="410" y="312"/>
                  <a:pt x="409" y="311"/>
                  <a:pt x="408" y="311"/>
                </a:cubicBezTo>
                <a:cubicBezTo>
                  <a:pt x="407" y="311"/>
                  <a:pt x="407" y="315"/>
                  <a:pt x="407" y="316"/>
                </a:cubicBezTo>
                <a:cubicBezTo>
                  <a:pt x="407" y="317"/>
                  <a:pt x="407" y="316"/>
                  <a:pt x="406" y="317"/>
                </a:cubicBezTo>
                <a:cubicBezTo>
                  <a:pt x="405" y="317"/>
                  <a:pt x="406" y="319"/>
                  <a:pt x="406" y="320"/>
                </a:cubicBezTo>
                <a:cubicBezTo>
                  <a:pt x="406" y="321"/>
                  <a:pt x="406" y="321"/>
                  <a:pt x="406" y="322"/>
                </a:cubicBezTo>
                <a:cubicBezTo>
                  <a:pt x="406" y="324"/>
                  <a:pt x="406" y="322"/>
                  <a:pt x="406" y="322"/>
                </a:cubicBezTo>
                <a:cubicBezTo>
                  <a:pt x="406" y="322"/>
                  <a:pt x="406" y="323"/>
                  <a:pt x="406" y="323"/>
                </a:cubicBezTo>
                <a:cubicBezTo>
                  <a:pt x="406" y="323"/>
                  <a:pt x="407" y="323"/>
                  <a:pt x="407" y="323"/>
                </a:cubicBezTo>
                <a:cubicBezTo>
                  <a:pt x="407" y="325"/>
                  <a:pt x="407" y="326"/>
                  <a:pt x="406" y="327"/>
                </a:cubicBezTo>
                <a:cubicBezTo>
                  <a:pt x="405" y="329"/>
                  <a:pt x="405" y="329"/>
                  <a:pt x="405" y="330"/>
                </a:cubicBezTo>
                <a:cubicBezTo>
                  <a:pt x="405" y="331"/>
                  <a:pt x="403" y="332"/>
                  <a:pt x="402" y="332"/>
                </a:cubicBezTo>
                <a:cubicBezTo>
                  <a:pt x="400" y="332"/>
                  <a:pt x="400" y="330"/>
                  <a:pt x="400" y="328"/>
                </a:cubicBezTo>
                <a:cubicBezTo>
                  <a:pt x="400" y="328"/>
                  <a:pt x="399" y="328"/>
                  <a:pt x="399" y="328"/>
                </a:cubicBezTo>
                <a:cubicBezTo>
                  <a:pt x="399" y="327"/>
                  <a:pt x="399" y="326"/>
                  <a:pt x="399" y="326"/>
                </a:cubicBezTo>
                <a:cubicBezTo>
                  <a:pt x="399" y="326"/>
                  <a:pt x="399" y="326"/>
                  <a:pt x="399" y="326"/>
                </a:cubicBezTo>
                <a:cubicBezTo>
                  <a:pt x="399" y="325"/>
                  <a:pt x="399" y="325"/>
                  <a:pt x="399" y="325"/>
                </a:cubicBezTo>
                <a:cubicBezTo>
                  <a:pt x="399" y="324"/>
                  <a:pt x="399" y="325"/>
                  <a:pt x="399" y="325"/>
                </a:cubicBezTo>
                <a:cubicBezTo>
                  <a:pt x="399" y="324"/>
                  <a:pt x="399" y="324"/>
                  <a:pt x="399" y="323"/>
                </a:cubicBezTo>
                <a:cubicBezTo>
                  <a:pt x="399" y="322"/>
                  <a:pt x="400" y="324"/>
                  <a:pt x="399" y="322"/>
                </a:cubicBezTo>
                <a:cubicBezTo>
                  <a:pt x="400" y="322"/>
                  <a:pt x="399" y="321"/>
                  <a:pt x="399" y="321"/>
                </a:cubicBezTo>
                <a:cubicBezTo>
                  <a:pt x="400" y="321"/>
                  <a:pt x="400" y="318"/>
                  <a:pt x="400" y="318"/>
                </a:cubicBezTo>
                <a:cubicBezTo>
                  <a:pt x="400" y="318"/>
                  <a:pt x="400" y="318"/>
                  <a:pt x="400" y="318"/>
                </a:cubicBezTo>
                <a:cubicBezTo>
                  <a:pt x="400" y="317"/>
                  <a:pt x="401" y="317"/>
                  <a:pt x="401" y="316"/>
                </a:cubicBezTo>
                <a:cubicBezTo>
                  <a:pt x="402" y="314"/>
                  <a:pt x="402" y="313"/>
                  <a:pt x="402" y="311"/>
                </a:cubicBezTo>
                <a:cubicBezTo>
                  <a:pt x="401" y="311"/>
                  <a:pt x="401" y="312"/>
                  <a:pt x="400" y="313"/>
                </a:cubicBezTo>
                <a:cubicBezTo>
                  <a:pt x="400" y="314"/>
                  <a:pt x="400" y="315"/>
                  <a:pt x="398" y="315"/>
                </a:cubicBezTo>
                <a:cubicBezTo>
                  <a:pt x="398" y="313"/>
                  <a:pt x="399" y="313"/>
                  <a:pt x="400" y="312"/>
                </a:cubicBezTo>
                <a:cubicBezTo>
                  <a:pt x="401" y="311"/>
                  <a:pt x="401" y="311"/>
                  <a:pt x="401" y="310"/>
                </a:cubicBezTo>
                <a:cubicBezTo>
                  <a:pt x="401" y="309"/>
                  <a:pt x="401" y="310"/>
                  <a:pt x="401" y="309"/>
                </a:cubicBezTo>
                <a:cubicBezTo>
                  <a:pt x="402" y="308"/>
                  <a:pt x="402" y="308"/>
                  <a:pt x="402" y="307"/>
                </a:cubicBezTo>
                <a:cubicBezTo>
                  <a:pt x="402" y="307"/>
                  <a:pt x="402" y="307"/>
                  <a:pt x="402" y="307"/>
                </a:cubicBezTo>
                <a:cubicBezTo>
                  <a:pt x="403" y="307"/>
                  <a:pt x="403" y="307"/>
                  <a:pt x="403" y="306"/>
                </a:cubicBezTo>
                <a:cubicBezTo>
                  <a:pt x="404" y="305"/>
                  <a:pt x="404" y="307"/>
                  <a:pt x="404" y="307"/>
                </a:cubicBezTo>
                <a:cubicBezTo>
                  <a:pt x="406" y="307"/>
                  <a:pt x="404" y="306"/>
                  <a:pt x="406" y="305"/>
                </a:cubicBezTo>
                <a:cubicBezTo>
                  <a:pt x="407" y="305"/>
                  <a:pt x="408" y="306"/>
                  <a:pt x="409" y="305"/>
                </a:cubicBezTo>
                <a:cubicBezTo>
                  <a:pt x="409" y="305"/>
                  <a:pt x="409" y="305"/>
                  <a:pt x="409" y="305"/>
                </a:cubicBezTo>
                <a:cubicBezTo>
                  <a:pt x="410" y="304"/>
                  <a:pt x="410" y="304"/>
                  <a:pt x="411" y="304"/>
                </a:cubicBezTo>
                <a:cubicBezTo>
                  <a:pt x="412" y="305"/>
                  <a:pt x="413" y="305"/>
                  <a:pt x="414" y="305"/>
                </a:cubicBezTo>
                <a:cubicBezTo>
                  <a:pt x="414" y="304"/>
                  <a:pt x="414" y="304"/>
                  <a:pt x="415" y="304"/>
                </a:cubicBezTo>
                <a:cubicBezTo>
                  <a:pt x="416" y="304"/>
                  <a:pt x="416" y="305"/>
                  <a:pt x="416" y="305"/>
                </a:cubicBezTo>
                <a:cubicBezTo>
                  <a:pt x="416" y="305"/>
                  <a:pt x="417" y="305"/>
                  <a:pt x="417" y="305"/>
                </a:cubicBezTo>
                <a:cubicBezTo>
                  <a:pt x="417" y="304"/>
                  <a:pt x="417" y="304"/>
                  <a:pt x="416" y="303"/>
                </a:cubicBezTo>
                <a:cubicBezTo>
                  <a:pt x="416" y="302"/>
                  <a:pt x="416" y="302"/>
                  <a:pt x="415" y="302"/>
                </a:cubicBezTo>
                <a:cubicBezTo>
                  <a:pt x="414" y="302"/>
                  <a:pt x="413" y="302"/>
                  <a:pt x="413" y="303"/>
                </a:cubicBezTo>
                <a:cubicBezTo>
                  <a:pt x="413" y="301"/>
                  <a:pt x="413" y="300"/>
                  <a:pt x="412" y="299"/>
                </a:cubicBezTo>
                <a:cubicBezTo>
                  <a:pt x="411" y="300"/>
                  <a:pt x="411" y="300"/>
                  <a:pt x="409" y="301"/>
                </a:cubicBezTo>
                <a:cubicBezTo>
                  <a:pt x="408" y="301"/>
                  <a:pt x="407" y="301"/>
                  <a:pt x="407" y="302"/>
                </a:cubicBezTo>
                <a:cubicBezTo>
                  <a:pt x="406" y="302"/>
                  <a:pt x="404" y="302"/>
                  <a:pt x="404" y="302"/>
                </a:cubicBezTo>
                <a:cubicBezTo>
                  <a:pt x="403" y="302"/>
                  <a:pt x="403" y="302"/>
                  <a:pt x="402" y="302"/>
                </a:cubicBezTo>
                <a:cubicBezTo>
                  <a:pt x="401" y="302"/>
                  <a:pt x="401" y="302"/>
                  <a:pt x="401" y="301"/>
                </a:cubicBezTo>
                <a:cubicBezTo>
                  <a:pt x="401" y="300"/>
                  <a:pt x="400" y="300"/>
                  <a:pt x="400" y="298"/>
                </a:cubicBezTo>
                <a:cubicBezTo>
                  <a:pt x="398" y="298"/>
                  <a:pt x="397" y="299"/>
                  <a:pt x="396" y="299"/>
                </a:cubicBezTo>
                <a:cubicBezTo>
                  <a:pt x="396" y="299"/>
                  <a:pt x="396" y="299"/>
                  <a:pt x="395" y="299"/>
                </a:cubicBezTo>
                <a:cubicBezTo>
                  <a:pt x="396" y="298"/>
                  <a:pt x="396" y="297"/>
                  <a:pt x="396" y="297"/>
                </a:cubicBezTo>
                <a:cubicBezTo>
                  <a:pt x="397" y="297"/>
                  <a:pt x="396" y="297"/>
                  <a:pt x="397" y="297"/>
                </a:cubicBezTo>
                <a:cubicBezTo>
                  <a:pt x="398" y="297"/>
                  <a:pt x="398" y="296"/>
                  <a:pt x="399" y="296"/>
                </a:cubicBezTo>
                <a:cubicBezTo>
                  <a:pt x="399" y="294"/>
                  <a:pt x="399" y="294"/>
                  <a:pt x="397" y="295"/>
                </a:cubicBezTo>
                <a:cubicBezTo>
                  <a:pt x="397" y="295"/>
                  <a:pt x="396" y="296"/>
                  <a:pt x="395" y="296"/>
                </a:cubicBezTo>
                <a:cubicBezTo>
                  <a:pt x="394" y="296"/>
                  <a:pt x="395" y="296"/>
                  <a:pt x="394" y="297"/>
                </a:cubicBezTo>
                <a:cubicBezTo>
                  <a:pt x="394" y="297"/>
                  <a:pt x="394" y="297"/>
                  <a:pt x="394" y="297"/>
                </a:cubicBezTo>
                <a:cubicBezTo>
                  <a:pt x="393" y="298"/>
                  <a:pt x="393" y="298"/>
                  <a:pt x="392" y="299"/>
                </a:cubicBezTo>
                <a:cubicBezTo>
                  <a:pt x="391" y="299"/>
                  <a:pt x="391" y="299"/>
                  <a:pt x="390" y="299"/>
                </a:cubicBezTo>
                <a:cubicBezTo>
                  <a:pt x="389" y="299"/>
                  <a:pt x="389" y="299"/>
                  <a:pt x="388" y="300"/>
                </a:cubicBezTo>
                <a:cubicBezTo>
                  <a:pt x="388" y="301"/>
                  <a:pt x="387" y="300"/>
                  <a:pt x="387" y="300"/>
                </a:cubicBezTo>
                <a:cubicBezTo>
                  <a:pt x="386" y="300"/>
                  <a:pt x="386" y="301"/>
                  <a:pt x="386" y="300"/>
                </a:cubicBezTo>
                <a:cubicBezTo>
                  <a:pt x="386" y="299"/>
                  <a:pt x="385" y="300"/>
                  <a:pt x="385" y="299"/>
                </a:cubicBezTo>
                <a:cubicBezTo>
                  <a:pt x="384" y="299"/>
                  <a:pt x="382" y="299"/>
                  <a:pt x="381" y="299"/>
                </a:cubicBezTo>
                <a:cubicBezTo>
                  <a:pt x="381" y="299"/>
                  <a:pt x="380" y="299"/>
                  <a:pt x="380" y="299"/>
                </a:cubicBezTo>
                <a:cubicBezTo>
                  <a:pt x="380" y="299"/>
                  <a:pt x="380" y="298"/>
                  <a:pt x="381" y="298"/>
                </a:cubicBezTo>
                <a:close/>
                <a:moveTo>
                  <a:pt x="395" y="278"/>
                </a:moveTo>
                <a:cubicBezTo>
                  <a:pt x="395" y="277"/>
                  <a:pt x="395" y="277"/>
                  <a:pt x="396" y="276"/>
                </a:cubicBezTo>
                <a:cubicBezTo>
                  <a:pt x="397" y="275"/>
                  <a:pt x="398" y="276"/>
                  <a:pt x="399" y="277"/>
                </a:cubicBezTo>
                <a:cubicBezTo>
                  <a:pt x="399" y="278"/>
                  <a:pt x="399" y="278"/>
                  <a:pt x="400" y="279"/>
                </a:cubicBezTo>
                <a:cubicBezTo>
                  <a:pt x="400" y="279"/>
                  <a:pt x="400" y="280"/>
                  <a:pt x="400" y="280"/>
                </a:cubicBezTo>
                <a:cubicBezTo>
                  <a:pt x="400" y="281"/>
                  <a:pt x="400" y="281"/>
                  <a:pt x="399" y="281"/>
                </a:cubicBezTo>
                <a:cubicBezTo>
                  <a:pt x="398" y="281"/>
                  <a:pt x="398" y="281"/>
                  <a:pt x="398" y="281"/>
                </a:cubicBezTo>
                <a:cubicBezTo>
                  <a:pt x="398" y="280"/>
                  <a:pt x="397" y="281"/>
                  <a:pt x="396" y="281"/>
                </a:cubicBezTo>
                <a:cubicBezTo>
                  <a:pt x="396" y="280"/>
                  <a:pt x="396" y="280"/>
                  <a:pt x="396" y="279"/>
                </a:cubicBezTo>
                <a:cubicBezTo>
                  <a:pt x="395" y="279"/>
                  <a:pt x="396" y="280"/>
                  <a:pt x="396" y="280"/>
                </a:cubicBezTo>
                <a:cubicBezTo>
                  <a:pt x="395" y="281"/>
                  <a:pt x="395" y="280"/>
                  <a:pt x="395" y="279"/>
                </a:cubicBezTo>
                <a:cubicBezTo>
                  <a:pt x="395" y="279"/>
                  <a:pt x="395" y="278"/>
                  <a:pt x="395" y="278"/>
                </a:cubicBezTo>
                <a:close/>
                <a:moveTo>
                  <a:pt x="434" y="302"/>
                </a:moveTo>
                <a:cubicBezTo>
                  <a:pt x="434" y="302"/>
                  <a:pt x="436" y="302"/>
                  <a:pt x="436" y="302"/>
                </a:cubicBezTo>
                <a:cubicBezTo>
                  <a:pt x="437" y="302"/>
                  <a:pt x="437" y="302"/>
                  <a:pt x="438" y="302"/>
                </a:cubicBezTo>
                <a:cubicBezTo>
                  <a:pt x="438" y="302"/>
                  <a:pt x="438" y="304"/>
                  <a:pt x="437" y="304"/>
                </a:cubicBezTo>
                <a:cubicBezTo>
                  <a:pt x="436" y="304"/>
                  <a:pt x="437" y="303"/>
                  <a:pt x="436" y="303"/>
                </a:cubicBezTo>
                <a:cubicBezTo>
                  <a:pt x="435" y="303"/>
                  <a:pt x="433" y="303"/>
                  <a:pt x="434" y="302"/>
                </a:cubicBezTo>
                <a:close/>
                <a:moveTo>
                  <a:pt x="440" y="314"/>
                </a:moveTo>
                <a:cubicBezTo>
                  <a:pt x="441" y="314"/>
                  <a:pt x="440" y="315"/>
                  <a:pt x="440" y="315"/>
                </a:cubicBezTo>
                <a:cubicBezTo>
                  <a:pt x="440" y="316"/>
                  <a:pt x="439" y="318"/>
                  <a:pt x="439" y="317"/>
                </a:cubicBezTo>
                <a:cubicBezTo>
                  <a:pt x="438" y="316"/>
                  <a:pt x="439" y="315"/>
                  <a:pt x="440" y="314"/>
                </a:cubicBezTo>
                <a:close/>
                <a:moveTo>
                  <a:pt x="441" y="319"/>
                </a:moveTo>
                <a:cubicBezTo>
                  <a:pt x="443" y="319"/>
                  <a:pt x="445" y="319"/>
                  <a:pt x="447" y="319"/>
                </a:cubicBezTo>
                <a:cubicBezTo>
                  <a:pt x="448" y="319"/>
                  <a:pt x="448" y="320"/>
                  <a:pt x="449" y="320"/>
                </a:cubicBezTo>
                <a:cubicBezTo>
                  <a:pt x="449" y="320"/>
                  <a:pt x="449" y="320"/>
                  <a:pt x="449" y="320"/>
                </a:cubicBezTo>
                <a:cubicBezTo>
                  <a:pt x="450" y="320"/>
                  <a:pt x="450" y="320"/>
                  <a:pt x="450" y="319"/>
                </a:cubicBezTo>
                <a:cubicBezTo>
                  <a:pt x="451" y="319"/>
                  <a:pt x="451" y="319"/>
                  <a:pt x="451" y="318"/>
                </a:cubicBezTo>
                <a:cubicBezTo>
                  <a:pt x="451" y="319"/>
                  <a:pt x="450" y="319"/>
                  <a:pt x="449" y="319"/>
                </a:cubicBezTo>
                <a:cubicBezTo>
                  <a:pt x="449" y="319"/>
                  <a:pt x="449" y="318"/>
                  <a:pt x="449" y="318"/>
                </a:cubicBezTo>
                <a:cubicBezTo>
                  <a:pt x="448" y="318"/>
                  <a:pt x="448" y="318"/>
                  <a:pt x="448" y="318"/>
                </a:cubicBezTo>
                <a:cubicBezTo>
                  <a:pt x="445" y="316"/>
                  <a:pt x="449" y="317"/>
                  <a:pt x="450" y="316"/>
                </a:cubicBezTo>
                <a:cubicBezTo>
                  <a:pt x="450" y="317"/>
                  <a:pt x="452" y="317"/>
                  <a:pt x="452" y="317"/>
                </a:cubicBezTo>
                <a:cubicBezTo>
                  <a:pt x="453" y="317"/>
                  <a:pt x="453" y="317"/>
                  <a:pt x="454" y="316"/>
                </a:cubicBezTo>
                <a:cubicBezTo>
                  <a:pt x="455" y="316"/>
                  <a:pt x="456" y="314"/>
                  <a:pt x="457" y="314"/>
                </a:cubicBezTo>
                <a:cubicBezTo>
                  <a:pt x="457" y="315"/>
                  <a:pt x="457" y="316"/>
                  <a:pt x="457" y="316"/>
                </a:cubicBezTo>
                <a:cubicBezTo>
                  <a:pt x="456" y="317"/>
                  <a:pt x="456" y="317"/>
                  <a:pt x="455" y="317"/>
                </a:cubicBezTo>
                <a:cubicBezTo>
                  <a:pt x="455" y="317"/>
                  <a:pt x="455" y="318"/>
                  <a:pt x="455" y="318"/>
                </a:cubicBezTo>
                <a:cubicBezTo>
                  <a:pt x="455" y="318"/>
                  <a:pt x="456" y="319"/>
                  <a:pt x="455" y="319"/>
                </a:cubicBezTo>
                <a:cubicBezTo>
                  <a:pt x="455" y="319"/>
                  <a:pt x="454" y="320"/>
                  <a:pt x="454" y="320"/>
                </a:cubicBezTo>
                <a:cubicBezTo>
                  <a:pt x="454" y="320"/>
                  <a:pt x="455" y="321"/>
                  <a:pt x="455" y="321"/>
                </a:cubicBezTo>
                <a:cubicBezTo>
                  <a:pt x="454" y="321"/>
                  <a:pt x="455" y="322"/>
                  <a:pt x="454" y="322"/>
                </a:cubicBezTo>
                <a:cubicBezTo>
                  <a:pt x="453" y="322"/>
                  <a:pt x="452" y="322"/>
                  <a:pt x="452" y="322"/>
                </a:cubicBezTo>
                <a:cubicBezTo>
                  <a:pt x="451" y="322"/>
                  <a:pt x="451" y="322"/>
                  <a:pt x="451" y="323"/>
                </a:cubicBezTo>
                <a:cubicBezTo>
                  <a:pt x="450" y="323"/>
                  <a:pt x="449" y="323"/>
                  <a:pt x="449" y="323"/>
                </a:cubicBezTo>
                <a:cubicBezTo>
                  <a:pt x="448" y="323"/>
                  <a:pt x="448" y="323"/>
                  <a:pt x="447" y="323"/>
                </a:cubicBezTo>
                <a:cubicBezTo>
                  <a:pt x="446" y="323"/>
                  <a:pt x="446" y="323"/>
                  <a:pt x="446" y="323"/>
                </a:cubicBezTo>
                <a:cubicBezTo>
                  <a:pt x="446" y="323"/>
                  <a:pt x="446" y="323"/>
                  <a:pt x="446" y="323"/>
                </a:cubicBezTo>
                <a:cubicBezTo>
                  <a:pt x="444" y="322"/>
                  <a:pt x="444" y="323"/>
                  <a:pt x="443" y="323"/>
                </a:cubicBezTo>
                <a:cubicBezTo>
                  <a:pt x="442" y="323"/>
                  <a:pt x="441" y="323"/>
                  <a:pt x="440" y="323"/>
                </a:cubicBezTo>
                <a:cubicBezTo>
                  <a:pt x="440" y="324"/>
                  <a:pt x="441" y="324"/>
                  <a:pt x="441" y="325"/>
                </a:cubicBezTo>
                <a:cubicBezTo>
                  <a:pt x="441" y="326"/>
                  <a:pt x="441" y="326"/>
                  <a:pt x="440" y="326"/>
                </a:cubicBezTo>
                <a:cubicBezTo>
                  <a:pt x="440" y="326"/>
                  <a:pt x="440" y="326"/>
                  <a:pt x="440" y="327"/>
                </a:cubicBezTo>
                <a:cubicBezTo>
                  <a:pt x="440" y="327"/>
                  <a:pt x="439" y="328"/>
                  <a:pt x="439" y="328"/>
                </a:cubicBezTo>
                <a:cubicBezTo>
                  <a:pt x="438" y="329"/>
                  <a:pt x="438" y="329"/>
                  <a:pt x="438" y="329"/>
                </a:cubicBezTo>
                <a:cubicBezTo>
                  <a:pt x="437" y="329"/>
                  <a:pt x="437" y="329"/>
                  <a:pt x="437" y="329"/>
                </a:cubicBezTo>
                <a:cubicBezTo>
                  <a:pt x="437" y="329"/>
                  <a:pt x="436" y="329"/>
                  <a:pt x="436" y="329"/>
                </a:cubicBezTo>
                <a:cubicBezTo>
                  <a:pt x="436" y="329"/>
                  <a:pt x="436" y="330"/>
                  <a:pt x="436" y="330"/>
                </a:cubicBezTo>
                <a:cubicBezTo>
                  <a:pt x="436" y="330"/>
                  <a:pt x="435" y="329"/>
                  <a:pt x="435" y="330"/>
                </a:cubicBezTo>
                <a:cubicBezTo>
                  <a:pt x="434" y="330"/>
                  <a:pt x="435" y="330"/>
                  <a:pt x="434" y="330"/>
                </a:cubicBezTo>
                <a:cubicBezTo>
                  <a:pt x="434" y="330"/>
                  <a:pt x="433" y="331"/>
                  <a:pt x="433" y="331"/>
                </a:cubicBezTo>
                <a:cubicBezTo>
                  <a:pt x="432" y="331"/>
                  <a:pt x="435" y="331"/>
                  <a:pt x="432" y="331"/>
                </a:cubicBezTo>
                <a:cubicBezTo>
                  <a:pt x="432" y="331"/>
                  <a:pt x="431" y="331"/>
                  <a:pt x="430" y="331"/>
                </a:cubicBezTo>
                <a:cubicBezTo>
                  <a:pt x="429" y="331"/>
                  <a:pt x="429" y="333"/>
                  <a:pt x="428" y="334"/>
                </a:cubicBezTo>
                <a:cubicBezTo>
                  <a:pt x="427" y="334"/>
                  <a:pt x="427" y="334"/>
                  <a:pt x="426" y="334"/>
                </a:cubicBezTo>
                <a:cubicBezTo>
                  <a:pt x="426" y="334"/>
                  <a:pt x="425" y="334"/>
                  <a:pt x="425" y="334"/>
                </a:cubicBezTo>
                <a:cubicBezTo>
                  <a:pt x="425" y="334"/>
                  <a:pt x="425" y="335"/>
                  <a:pt x="425" y="335"/>
                </a:cubicBezTo>
                <a:cubicBezTo>
                  <a:pt x="425" y="335"/>
                  <a:pt x="424" y="335"/>
                  <a:pt x="423" y="335"/>
                </a:cubicBezTo>
                <a:cubicBezTo>
                  <a:pt x="423" y="335"/>
                  <a:pt x="423" y="335"/>
                  <a:pt x="422" y="335"/>
                </a:cubicBezTo>
                <a:cubicBezTo>
                  <a:pt x="422" y="335"/>
                  <a:pt x="422" y="335"/>
                  <a:pt x="422" y="334"/>
                </a:cubicBezTo>
                <a:cubicBezTo>
                  <a:pt x="422" y="334"/>
                  <a:pt x="421" y="334"/>
                  <a:pt x="422" y="334"/>
                </a:cubicBezTo>
                <a:cubicBezTo>
                  <a:pt x="423" y="334"/>
                  <a:pt x="423" y="333"/>
                  <a:pt x="423" y="333"/>
                </a:cubicBezTo>
                <a:cubicBezTo>
                  <a:pt x="422" y="333"/>
                  <a:pt x="422" y="333"/>
                  <a:pt x="422" y="333"/>
                </a:cubicBezTo>
                <a:cubicBezTo>
                  <a:pt x="421" y="333"/>
                  <a:pt x="421" y="332"/>
                  <a:pt x="421" y="332"/>
                </a:cubicBezTo>
                <a:cubicBezTo>
                  <a:pt x="421" y="332"/>
                  <a:pt x="420" y="332"/>
                  <a:pt x="420" y="333"/>
                </a:cubicBezTo>
                <a:cubicBezTo>
                  <a:pt x="420" y="332"/>
                  <a:pt x="420" y="331"/>
                  <a:pt x="420" y="331"/>
                </a:cubicBezTo>
                <a:cubicBezTo>
                  <a:pt x="420" y="330"/>
                  <a:pt x="421" y="330"/>
                  <a:pt x="421" y="330"/>
                </a:cubicBezTo>
                <a:cubicBezTo>
                  <a:pt x="422" y="330"/>
                  <a:pt x="423" y="328"/>
                  <a:pt x="423" y="327"/>
                </a:cubicBezTo>
                <a:cubicBezTo>
                  <a:pt x="423" y="326"/>
                  <a:pt x="423" y="326"/>
                  <a:pt x="424" y="326"/>
                </a:cubicBezTo>
                <a:cubicBezTo>
                  <a:pt x="424" y="327"/>
                  <a:pt x="424" y="328"/>
                  <a:pt x="423" y="328"/>
                </a:cubicBezTo>
                <a:cubicBezTo>
                  <a:pt x="422" y="329"/>
                  <a:pt x="422" y="330"/>
                  <a:pt x="423" y="330"/>
                </a:cubicBezTo>
                <a:cubicBezTo>
                  <a:pt x="423" y="330"/>
                  <a:pt x="424" y="330"/>
                  <a:pt x="425" y="330"/>
                </a:cubicBezTo>
                <a:cubicBezTo>
                  <a:pt x="424" y="330"/>
                  <a:pt x="427" y="329"/>
                  <a:pt x="426" y="330"/>
                </a:cubicBezTo>
                <a:cubicBezTo>
                  <a:pt x="426" y="329"/>
                  <a:pt x="426" y="329"/>
                  <a:pt x="426" y="329"/>
                </a:cubicBezTo>
                <a:cubicBezTo>
                  <a:pt x="427" y="329"/>
                  <a:pt x="428" y="329"/>
                  <a:pt x="428" y="328"/>
                </a:cubicBezTo>
                <a:cubicBezTo>
                  <a:pt x="428" y="328"/>
                  <a:pt x="429" y="327"/>
                  <a:pt x="429" y="327"/>
                </a:cubicBezTo>
                <a:cubicBezTo>
                  <a:pt x="430" y="327"/>
                  <a:pt x="430" y="327"/>
                  <a:pt x="430" y="327"/>
                </a:cubicBezTo>
                <a:cubicBezTo>
                  <a:pt x="431" y="326"/>
                  <a:pt x="432" y="326"/>
                  <a:pt x="433" y="326"/>
                </a:cubicBezTo>
                <a:cubicBezTo>
                  <a:pt x="434" y="326"/>
                  <a:pt x="435" y="324"/>
                  <a:pt x="436" y="324"/>
                </a:cubicBezTo>
                <a:cubicBezTo>
                  <a:pt x="437" y="324"/>
                  <a:pt x="438" y="324"/>
                  <a:pt x="438" y="324"/>
                </a:cubicBezTo>
                <a:cubicBezTo>
                  <a:pt x="439" y="324"/>
                  <a:pt x="440" y="324"/>
                  <a:pt x="439" y="323"/>
                </a:cubicBezTo>
                <a:cubicBezTo>
                  <a:pt x="439" y="322"/>
                  <a:pt x="438" y="323"/>
                  <a:pt x="438" y="322"/>
                </a:cubicBezTo>
                <a:cubicBezTo>
                  <a:pt x="437" y="322"/>
                  <a:pt x="439" y="321"/>
                  <a:pt x="439" y="321"/>
                </a:cubicBezTo>
                <a:cubicBezTo>
                  <a:pt x="439" y="321"/>
                  <a:pt x="439" y="320"/>
                  <a:pt x="439" y="320"/>
                </a:cubicBezTo>
                <a:cubicBezTo>
                  <a:pt x="440" y="320"/>
                  <a:pt x="441" y="320"/>
                  <a:pt x="441" y="319"/>
                </a:cubicBezTo>
                <a:close/>
                <a:moveTo>
                  <a:pt x="382" y="406"/>
                </a:moveTo>
                <a:cubicBezTo>
                  <a:pt x="382" y="406"/>
                  <a:pt x="381" y="405"/>
                  <a:pt x="381" y="404"/>
                </a:cubicBezTo>
                <a:cubicBezTo>
                  <a:pt x="382" y="404"/>
                  <a:pt x="382" y="404"/>
                  <a:pt x="382" y="405"/>
                </a:cubicBezTo>
                <a:cubicBezTo>
                  <a:pt x="382" y="406"/>
                  <a:pt x="382" y="406"/>
                  <a:pt x="382" y="406"/>
                </a:cubicBezTo>
                <a:cubicBezTo>
                  <a:pt x="382" y="406"/>
                  <a:pt x="382" y="406"/>
                  <a:pt x="382" y="406"/>
                </a:cubicBezTo>
                <a:close/>
                <a:moveTo>
                  <a:pt x="462" y="233"/>
                </a:moveTo>
                <a:cubicBezTo>
                  <a:pt x="463" y="233"/>
                  <a:pt x="464" y="234"/>
                  <a:pt x="464" y="234"/>
                </a:cubicBezTo>
                <a:cubicBezTo>
                  <a:pt x="465" y="234"/>
                  <a:pt x="465" y="235"/>
                  <a:pt x="464" y="235"/>
                </a:cubicBezTo>
                <a:cubicBezTo>
                  <a:pt x="464" y="235"/>
                  <a:pt x="464" y="235"/>
                  <a:pt x="463" y="235"/>
                </a:cubicBezTo>
                <a:cubicBezTo>
                  <a:pt x="461" y="235"/>
                  <a:pt x="462" y="234"/>
                  <a:pt x="462" y="233"/>
                </a:cubicBezTo>
                <a:cubicBezTo>
                  <a:pt x="464" y="233"/>
                  <a:pt x="462" y="233"/>
                  <a:pt x="462" y="233"/>
                </a:cubicBezTo>
                <a:close/>
                <a:moveTo>
                  <a:pt x="467" y="308"/>
                </a:moveTo>
                <a:cubicBezTo>
                  <a:pt x="467" y="309"/>
                  <a:pt x="466" y="309"/>
                  <a:pt x="465" y="310"/>
                </a:cubicBezTo>
                <a:cubicBezTo>
                  <a:pt x="465" y="310"/>
                  <a:pt x="464" y="311"/>
                  <a:pt x="464" y="311"/>
                </a:cubicBezTo>
                <a:cubicBezTo>
                  <a:pt x="463" y="311"/>
                  <a:pt x="463" y="311"/>
                  <a:pt x="464" y="310"/>
                </a:cubicBezTo>
                <a:cubicBezTo>
                  <a:pt x="464" y="310"/>
                  <a:pt x="465" y="310"/>
                  <a:pt x="465" y="309"/>
                </a:cubicBezTo>
                <a:cubicBezTo>
                  <a:pt x="465" y="309"/>
                  <a:pt x="463" y="309"/>
                  <a:pt x="463" y="308"/>
                </a:cubicBezTo>
                <a:cubicBezTo>
                  <a:pt x="463" y="308"/>
                  <a:pt x="464" y="308"/>
                  <a:pt x="464" y="308"/>
                </a:cubicBezTo>
                <a:cubicBezTo>
                  <a:pt x="465" y="308"/>
                  <a:pt x="467" y="308"/>
                  <a:pt x="466" y="309"/>
                </a:cubicBezTo>
                <a:cubicBezTo>
                  <a:pt x="467" y="309"/>
                  <a:pt x="467" y="309"/>
                  <a:pt x="467" y="308"/>
                </a:cubicBezTo>
                <a:cubicBezTo>
                  <a:pt x="467" y="310"/>
                  <a:pt x="467" y="308"/>
                  <a:pt x="467" y="308"/>
                </a:cubicBezTo>
                <a:close/>
                <a:moveTo>
                  <a:pt x="467" y="272"/>
                </a:moveTo>
                <a:cubicBezTo>
                  <a:pt x="468" y="272"/>
                  <a:pt x="468" y="272"/>
                  <a:pt x="469" y="271"/>
                </a:cubicBezTo>
                <a:cubicBezTo>
                  <a:pt x="470" y="270"/>
                  <a:pt x="470" y="270"/>
                  <a:pt x="471" y="269"/>
                </a:cubicBezTo>
                <a:cubicBezTo>
                  <a:pt x="472" y="269"/>
                  <a:pt x="472" y="268"/>
                  <a:pt x="473" y="268"/>
                </a:cubicBezTo>
                <a:cubicBezTo>
                  <a:pt x="473" y="268"/>
                  <a:pt x="474" y="268"/>
                  <a:pt x="474" y="269"/>
                </a:cubicBezTo>
                <a:cubicBezTo>
                  <a:pt x="473" y="270"/>
                  <a:pt x="473" y="270"/>
                  <a:pt x="472" y="271"/>
                </a:cubicBezTo>
                <a:cubicBezTo>
                  <a:pt x="472" y="271"/>
                  <a:pt x="471" y="271"/>
                  <a:pt x="471" y="272"/>
                </a:cubicBezTo>
                <a:cubicBezTo>
                  <a:pt x="471" y="272"/>
                  <a:pt x="471" y="272"/>
                  <a:pt x="470" y="272"/>
                </a:cubicBezTo>
                <a:cubicBezTo>
                  <a:pt x="470" y="272"/>
                  <a:pt x="471" y="272"/>
                  <a:pt x="470" y="273"/>
                </a:cubicBezTo>
                <a:cubicBezTo>
                  <a:pt x="470" y="273"/>
                  <a:pt x="470" y="273"/>
                  <a:pt x="470" y="273"/>
                </a:cubicBezTo>
                <a:cubicBezTo>
                  <a:pt x="469" y="273"/>
                  <a:pt x="467" y="273"/>
                  <a:pt x="467" y="272"/>
                </a:cubicBezTo>
                <a:cubicBezTo>
                  <a:pt x="467" y="272"/>
                  <a:pt x="467" y="272"/>
                  <a:pt x="467" y="272"/>
                </a:cubicBezTo>
                <a:close/>
                <a:moveTo>
                  <a:pt x="468" y="238"/>
                </a:moveTo>
                <a:cubicBezTo>
                  <a:pt x="468" y="238"/>
                  <a:pt x="469" y="237"/>
                  <a:pt x="469" y="237"/>
                </a:cubicBezTo>
                <a:cubicBezTo>
                  <a:pt x="469" y="238"/>
                  <a:pt x="469" y="238"/>
                  <a:pt x="469" y="239"/>
                </a:cubicBezTo>
                <a:cubicBezTo>
                  <a:pt x="468" y="239"/>
                  <a:pt x="468" y="239"/>
                  <a:pt x="468" y="238"/>
                </a:cubicBezTo>
                <a:close/>
                <a:moveTo>
                  <a:pt x="470" y="245"/>
                </a:moveTo>
                <a:cubicBezTo>
                  <a:pt x="470" y="245"/>
                  <a:pt x="469" y="246"/>
                  <a:pt x="469" y="245"/>
                </a:cubicBezTo>
                <a:cubicBezTo>
                  <a:pt x="469" y="245"/>
                  <a:pt x="469" y="245"/>
                  <a:pt x="469" y="245"/>
                </a:cubicBezTo>
                <a:cubicBezTo>
                  <a:pt x="470" y="245"/>
                  <a:pt x="470" y="245"/>
                  <a:pt x="470" y="245"/>
                </a:cubicBezTo>
                <a:cubicBezTo>
                  <a:pt x="470" y="245"/>
                  <a:pt x="470" y="245"/>
                  <a:pt x="470" y="245"/>
                </a:cubicBezTo>
                <a:close/>
                <a:moveTo>
                  <a:pt x="474" y="270"/>
                </a:moveTo>
                <a:cubicBezTo>
                  <a:pt x="475" y="270"/>
                  <a:pt x="476" y="270"/>
                  <a:pt x="476" y="270"/>
                </a:cubicBezTo>
                <a:cubicBezTo>
                  <a:pt x="477" y="271"/>
                  <a:pt x="476" y="270"/>
                  <a:pt x="475" y="271"/>
                </a:cubicBezTo>
                <a:cubicBezTo>
                  <a:pt x="475" y="271"/>
                  <a:pt x="475" y="271"/>
                  <a:pt x="474" y="271"/>
                </a:cubicBezTo>
                <a:cubicBezTo>
                  <a:pt x="474" y="271"/>
                  <a:pt x="474" y="270"/>
                  <a:pt x="474" y="270"/>
                </a:cubicBezTo>
                <a:cubicBezTo>
                  <a:pt x="475" y="270"/>
                  <a:pt x="474" y="270"/>
                  <a:pt x="474" y="270"/>
                </a:cubicBezTo>
                <a:close/>
                <a:moveTo>
                  <a:pt x="469" y="316"/>
                </a:moveTo>
                <a:cubicBezTo>
                  <a:pt x="469" y="316"/>
                  <a:pt x="469" y="316"/>
                  <a:pt x="469" y="316"/>
                </a:cubicBezTo>
                <a:cubicBezTo>
                  <a:pt x="469" y="315"/>
                  <a:pt x="469" y="312"/>
                  <a:pt x="469" y="313"/>
                </a:cubicBezTo>
                <a:cubicBezTo>
                  <a:pt x="470" y="314"/>
                  <a:pt x="469" y="315"/>
                  <a:pt x="469" y="316"/>
                </a:cubicBezTo>
                <a:close/>
                <a:moveTo>
                  <a:pt x="488" y="257"/>
                </a:moveTo>
                <a:cubicBezTo>
                  <a:pt x="489" y="258"/>
                  <a:pt x="489" y="258"/>
                  <a:pt x="489" y="259"/>
                </a:cubicBezTo>
                <a:cubicBezTo>
                  <a:pt x="488" y="260"/>
                  <a:pt x="488" y="260"/>
                  <a:pt x="488" y="261"/>
                </a:cubicBezTo>
                <a:cubicBezTo>
                  <a:pt x="487" y="260"/>
                  <a:pt x="487" y="260"/>
                  <a:pt x="486" y="261"/>
                </a:cubicBezTo>
                <a:cubicBezTo>
                  <a:pt x="486" y="261"/>
                  <a:pt x="486" y="261"/>
                  <a:pt x="485" y="261"/>
                </a:cubicBezTo>
                <a:cubicBezTo>
                  <a:pt x="486" y="259"/>
                  <a:pt x="487" y="258"/>
                  <a:pt x="488" y="257"/>
                </a:cubicBezTo>
                <a:cubicBezTo>
                  <a:pt x="488" y="257"/>
                  <a:pt x="488" y="257"/>
                  <a:pt x="488" y="257"/>
                </a:cubicBezTo>
                <a:close/>
                <a:moveTo>
                  <a:pt x="491" y="250"/>
                </a:moveTo>
                <a:cubicBezTo>
                  <a:pt x="492" y="250"/>
                  <a:pt x="492" y="250"/>
                  <a:pt x="492" y="248"/>
                </a:cubicBezTo>
                <a:cubicBezTo>
                  <a:pt x="492" y="248"/>
                  <a:pt x="493" y="248"/>
                  <a:pt x="493" y="248"/>
                </a:cubicBezTo>
                <a:cubicBezTo>
                  <a:pt x="493" y="249"/>
                  <a:pt x="493" y="250"/>
                  <a:pt x="493" y="250"/>
                </a:cubicBezTo>
                <a:cubicBezTo>
                  <a:pt x="493" y="251"/>
                  <a:pt x="492" y="251"/>
                  <a:pt x="492" y="251"/>
                </a:cubicBezTo>
                <a:cubicBezTo>
                  <a:pt x="492" y="251"/>
                  <a:pt x="492" y="252"/>
                  <a:pt x="492" y="252"/>
                </a:cubicBezTo>
                <a:cubicBezTo>
                  <a:pt x="492" y="252"/>
                  <a:pt x="492" y="252"/>
                  <a:pt x="491" y="252"/>
                </a:cubicBezTo>
                <a:cubicBezTo>
                  <a:pt x="491" y="252"/>
                  <a:pt x="491" y="253"/>
                  <a:pt x="491" y="253"/>
                </a:cubicBezTo>
                <a:cubicBezTo>
                  <a:pt x="490" y="253"/>
                  <a:pt x="491" y="251"/>
                  <a:pt x="491" y="250"/>
                </a:cubicBezTo>
                <a:cubicBezTo>
                  <a:pt x="491" y="250"/>
                  <a:pt x="491" y="250"/>
                  <a:pt x="491" y="250"/>
                </a:cubicBezTo>
                <a:close/>
                <a:moveTo>
                  <a:pt x="503" y="243"/>
                </a:moveTo>
                <a:cubicBezTo>
                  <a:pt x="503" y="243"/>
                  <a:pt x="503" y="243"/>
                  <a:pt x="503" y="244"/>
                </a:cubicBezTo>
                <a:cubicBezTo>
                  <a:pt x="503" y="244"/>
                  <a:pt x="502" y="242"/>
                  <a:pt x="502" y="242"/>
                </a:cubicBezTo>
                <a:cubicBezTo>
                  <a:pt x="502" y="242"/>
                  <a:pt x="502" y="242"/>
                  <a:pt x="503" y="243"/>
                </a:cubicBezTo>
                <a:close/>
                <a:moveTo>
                  <a:pt x="514" y="254"/>
                </a:moveTo>
                <a:cubicBezTo>
                  <a:pt x="514" y="256"/>
                  <a:pt x="513" y="256"/>
                  <a:pt x="512" y="256"/>
                </a:cubicBezTo>
                <a:cubicBezTo>
                  <a:pt x="512" y="255"/>
                  <a:pt x="511" y="254"/>
                  <a:pt x="511" y="253"/>
                </a:cubicBezTo>
                <a:cubicBezTo>
                  <a:pt x="512" y="253"/>
                  <a:pt x="512" y="254"/>
                  <a:pt x="514" y="254"/>
                </a:cubicBezTo>
                <a:close/>
                <a:moveTo>
                  <a:pt x="495" y="305"/>
                </a:moveTo>
                <a:cubicBezTo>
                  <a:pt x="496" y="305"/>
                  <a:pt x="494" y="307"/>
                  <a:pt x="495" y="305"/>
                </a:cubicBezTo>
                <a:close/>
                <a:moveTo>
                  <a:pt x="652" y="621"/>
                </a:moveTo>
                <a:cubicBezTo>
                  <a:pt x="652" y="620"/>
                  <a:pt x="653" y="616"/>
                  <a:pt x="651" y="616"/>
                </a:cubicBezTo>
                <a:cubicBezTo>
                  <a:pt x="651" y="615"/>
                  <a:pt x="652" y="615"/>
                  <a:pt x="652" y="613"/>
                </a:cubicBezTo>
                <a:cubicBezTo>
                  <a:pt x="651" y="612"/>
                  <a:pt x="650" y="612"/>
                  <a:pt x="650" y="610"/>
                </a:cubicBezTo>
                <a:cubicBezTo>
                  <a:pt x="650" y="610"/>
                  <a:pt x="649" y="610"/>
                  <a:pt x="649" y="609"/>
                </a:cubicBezTo>
                <a:cubicBezTo>
                  <a:pt x="649" y="609"/>
                  <a:pt x="649" y="609"/>
                  <a:pt x="649" y="609"/>
                </a:cubicBezTo>
                <a:cubicBezTo>
                  <a:pt x="649" y="608"/>
                  <a:pt x="649" y="609"/>
                  <a:pt x="649" y="608"/>
                </a:cubicBezTo>
                <a:cubicBezTo>
                  <a:pt x="648" y="608"/>
                  <a:pt x="649" y="607"/>
                  <a:pt x="648" y="607"/>
                </a:cubicBezTo>
                <a:cubicBezTo>
                  <a:pt x="648" y="606"/>
                  <a:pt x="648" y="607"/>
                  <a:pt x="648" y="606"/>
                </a:cubicBezTo>
                <a:cubicBezTo>
                  <a:pt x="648" y="606"/>
                  <a:pt x="647" y="606"/>
                  <a:pt x="647" y="606"/>
                </a:cubicBezTo>
                <a:cubicBezTo>
                  <a:pt x="646" y="605"/>
                  <a:pt x="645" y="604"/>
                  <a:pt x="644" y="605"/>
                </a:cubicBezTo>
                <a:cubicBezTo>
                  <a:pt x="643" y="605"/>
                  <a:pt x="643" y="605"/>
                  <a:pt x="643" y="605"/>
                </a:cubicBezTo>
                <a:cubicBezTo>
                  <a:pt x="643" y="604"/>
                  <a:pt x="643" y="604"/>
                  <a:pt x="643" y="604"/>
                </a:cubicBezTo>
                <a:cubicBezTo>
                  <a:pt x="642" y="604"/>
                  <a:pt x="641" y="604"/>
                  <a:pt x="641" y="604"/>
                </a:cubicBezTo>
                <a:cubicBezTo>
                  <a:pt x="640" y="604"/>
                  <a:pt x="640" y="605"/>
                  <a:pt x="640" y="605"/>
                </a:cubicBezTo>
                <a:cubicBezTo>
                  <a:pt x="640" y="604"/>
                  <a:pt x="640" y="604"/>
                  <a:pt x="640" y="604"/>
                </a:cubicBezTo>
                <a:cubicBezTo>
                  <a:pt x="639" y="603"/>
                  <a:pt x="639" y="603"/>
                  <a:pt x="638" y="602"/>
                </a:cubicBezTo>
                <a:cubicBezTo>
                  <a:pt x="638" y="601"/>
                  <a:pt x="638" y="601"/>
                  <a:pt x="637" y="601"/>
                </a:cubicBezTo>
                <a:cubicBezTo>
                  <a:pt x="637" y="601"/>
                  <a:pt x="637" y="600"/>
                  <a:pt x="636" y="600"/>
                </a:cubicBezTo>
                <a:cubicBezTo>
                  <a:pt x="635" y="599"/>
                  <a:pt x="634" y="598"/>
                  <a:pt x="634" y="598"/>
                </a:cubicBezTo>
                <a:cubicBezTo>
                  <a:pt x="633" y="597"/>
                  <a:pt x="633" y="597"/>
                  <a:pt x="633" y="597"/>
                </a:cubicBezTo>
                <a:cubicBezTo>
                  <a:pt x="632" y="597"/>
                  <a:pt x="632" y="596"/>
                  <a:pt x="632" y="596"/>
                </a:cubicBezTo>
                <a:cubicBezTo>
                  <a:pt x="632" y="596"/>
                  <a:pt x="631" y="596"/>
                  <a:pt x="631" y="596"/>
                </a:cubicBezTo>
                <a:cubicBezTo>
                  <a:pt x="631" y="595"/>
                  <a:pt x="631" y="595"/>
                  <a:pt x="630" y="595"/>
                </a:cubicBezTo>
                <a:cubicBezTo>
                  <a:pt x="630" y="595"/>
                  <a:pt x="630" y="595"/>
                  <a:pt x="630" y="595"/>
                </a:cubicBezTo>
                <a:cubicBezTo>
                  <a:pt x="630" y="595"/>
                  <a:pt x="629" y="595"/>
                  <a:pt x="629" y="595"/>
                </a:cubicBezTo>
                <a:cubicBezTo>
                  <a:pt x="629" y="595"/>
                  <a:pt x="629" y="595"/>
                  <a:pt x="629" y="595"/>
                </a:cubicBezTo>
                <a:cubicBezTo>
                  <a:pt x="629" y="595"/>
                  <a:pt x="628" y="595"/>
                  <a:pt x="628" y="595"/>
                </a:cubicBezTo>
                <a:cubicBezTo>
                  <a:pt x="628" y="595"/>
                  <a:pt x="628" y="594"/>
                  <a:pt x="628" y="594"/>
                </a:cubicBezTo>
                <a:cubicBezTo>
                  <a:pt x="627" y="594"/>
                  <a:pt x="627" y="593"/>
                  <a:pt x="626" y="593"/>
                </a:cubicBezTo>
                <a:cubicBezTo>
                  <a:pt x="625" y="593"/>
                  <a:pt x="624" y="594"/>
                  <a:pt x="624" y="594"/>
                </a:cubicBezTo>
                <a:cubicBezTo>
                  <a:pt x="623" y="594"/>
                  <a:pt x="623" y="593"/>
                  <a:pt x="623" y="593"/>
                </a:cubicBezTo>
                <a:cubicBezTo>
                  <a:pt x="622" y="593"/>
                  <a:pt x="622" y="593"/>
                  <a:pt x="622" y="593"/>
                </a:cubicBezTo>
                <a:cubicBezTo>
                  <a:pt x="621" y="593"/>
                  <a:pt x="622" y="593"/>
                  <a:pt x="621" y="593"/>
                </a:cubicBezTo>
                <a:cubicBezTo>
                  <a:pt x="621" y="593"/>
                  <a:pt x="620" y="593"/>
                  <a:pt x="620" y="593"/>
                </a:cubicBezTo>
                <a:cubicBezTo>
                  <a:pt x="620" y="593"/>
                  <a:pt x="619" y="593"/>
                  <a:pt x="619" y="593"/>
                </a:cubicBezTo>
                <a:cubicBezTo>
                  <a:pt x="619" y="593"/>
                  <a:pt x="619" y="592"/>
                  <a:pt x="618" y="592"/>
                </a:cubicBezTo>
                <a:cubicBezTo>
                  <a:pt x="618" y="592"/>
                  <a:pt x="616" y="591"/>
                  <a:pt x="616" y="593"/>
                </a:cubicBezTo>
                <a:cubicBezTo>
                  <a:pt x="616" y="593"/>
                  <a:pt x="616" y="593"/>
                  <a:pt x="615" y="593"/>
                </a:cubicBezTo>
                <a:cubicBezTo>
                  <a:pt x="615" y="593"/>
                  <a:pt x="615" y="592"/>
                  <a:pt x="615" y="592"/>
                </a:cubicBezTo>
                <a:cubicBezTo>
                  <a:pt x="614" y="592"/>
                  <a:pt x="614" y="590"/>
                  <a:pt x="613" y="590"/>
                </a:cubicBezTo>
                <a:cubicBezTo>
                  <a:pt x="613" y="590"/>
                  <a:pt x="611" y="590"/>
                  <a:pt x="611" y="590"/>
                </a:cubicBezTo>
                <a:cubicBezTo>
                  <a:pt x="611" y="591"/>
                  <a:pt x="611" y="590"/>
                  <a:pt x="610" y="590"/>
                </a:cubicBezTo>
                <a:cubicBezTo>
                  <a:pt x="609" y="590"/>
                  <a:pt x="609" y="593"/>
                  <a:pt x="608" y="593"/>
                </a:cubicBezTo>
                <a:cubicBezTo>
                  <a:pt x="608" y="593"/>
                  <a:pt x="606" y="593"/>
                  <a:pt x="606" y="592"/>
                </a:cubicBezTo>
                <a:cubicBezTo>
                  <a:pt x="606" y="592"/>
                  <a:pt x="607" y="591"/>
                  <a:pt x="606" y="591"/>
                </a:cubicBezTo>
                <a:cubicBezTo>
                  <a:pt x="606" y="591"/>
                  <a:pt x="606" y="590"/>
                  <a:pt x="606" y="590"/>
                </a:cubicBezTo>
                <a:cubicBezTo>
                  <a:pt x="606" y="590"/>
                  <a:pt x="605" y="590"/>
                  <a:pt x="605" y="590"/>
                </a:cubicBezTo>
                <a:cubicBezTo>
                  <a:pt x="605" y="589"/>
                  <a:pt x="606" y="589"/>
                  <a:pt x="606" y="589"/>
                </a:cubicBezTo>
                <a:cubicBezTo>
                  <a:pt x="605" y="588"/>
                  <a:pt x="605" y="588"/>
                  <a:pt x="604" y="587"/>
                </a:cubicBezTo>
                <a:cubicBezTo>
                  <a:pt x="604" y="586"/>
                  <a:pt x="604" y="586"/>
                  <a:pt x="604" y="585"/>
                </a:cubicBezTo>
                <a:cubicBezTo>
                  <a:pt x="603" y="585"/>
                  <a:pt x="603" y="585"/>
                  <a:pt x="602" y="585"/>
                </a:cubicBezTo>
                <a:cubicBezTo>
                  <a:pt x="601" y="585"/>
                  <a:pt x="601" y="586"/>
                  <a:pt x="601" y="586"/>
                </a:cubicBezTo>
                <a:cubicBezTo>
                  <a:pt x="601" y="586"/>
                  <a:pt x="601" y="585"/>
                  <a:pt x="601" y="585"/>
                </a:cubicBezTo>
                <a:cubicBezTo>
                  <a:pt x="601" y="584"/>
                  <a:pt x="601" y="583"/>
                  <a:pt x="600" y="584"/>
                </a:cubicBezTo>
                <a:cubicBezTo>
                  <a:pt x="599" y="584"/>
                  <a:pt x="598" y="583"/>
                  <a:pt x="598" y="582"/>
                </a:cubicBezTo>
                <a:cubicBezTo>
                  <a:pt x="598" y="582"/>
                  <a:pt x="597" y="583"/>
                  <a:pt x="596" y="582"/>
                </a:cubicBezTo>
                <a:cubicBezTo>
                  <a:pt x="596" y="581"/>
                  <a:pt x="596" y="582"/>
                  <a:pt x="595" y="582"/>
                </a:cubicBezTo>
                <a:cubicBezTo>
                  <a:pt x="595" y="580"/>
                  <a:pt x="594" y="580"/>
                  <a:pt x="593" y="580"/>
                </a:cubicBezTo>
                <a:cubicBezTo>
                  <a:pt x="591" y="580"/>
                  <a:pt x="590" y="580"/>
                  <a:pt x="589" y="580"/>
                </a:cubicBezTo>
                <a:cubicBezTo>
                  <a:pt x="589" y="580"/>
                  <a:pt x="589" y="581"/>
                  <a:pt x="589" y="581"/>
                </a:cubicBezTo>
                <a:cubicBezTo>
                  <a:pt x="588" y="582"/>
                  <a:pt x="586" y="582"/>
                  <a:pt x="587" y="583"/>
                </a:cubicBezTo>
                <a:cubicBezTo>
                  <a:pt x="587" y="583"/>
                  <a:pt x="588" y="584"/>
                  <a:pt x="587" y="584"/>
                </a:cubicBezTo>
                <a:cubicBezTo>
                  <a:pt x="587" y="584"/>
                  <a:pt x="586" y="584"/>
                  <a:pt x="586" y="584"/>
                </a:cubicBezTo>
                <a:cubicBezTo>
                  <a:pt x="586" y="584"/>
                  <a:pt x="585" y="586"/>
                  <a:pt x="584" y="586"/>
                </a:cubicBezTo>
                <a:cubicBezTo>
                  <a:pt x="584" y="586"/>
                  <a:pt x="584" y="587"/>
                  <a:pt x="584" y="587"/>
                </a:cubicBezTo>
                <a:cubicBezTo>
                  <a:pt x="583" y="587"/>
                  <a:pt x="583" y="587"/>
                  <a:pt x="583" y="587"/>
                </a:cubicBezTo>
                <a:cubicBezTo>
                  <a:pt x="583" y="586"/>
                  <a:pt x="581" y="587"/>
                  <a:pt x="581" y="587"/>
                </a:cubicBezTo>
                <a:cubicBezTo>
                  <a:pt x="581" y="586"/>
                  <a:pt x="581" y="586"/>
                  <a:pt x="580" y="586"/>
                </a:cubicBezTo>
                <a:cubicBezTo>
                  <a:pt x="580" y="586"/>
                  <a:pt x="579" y="586"/>
                  <a:pt x="579" y="586"/>
                </a:cubicBezTo>
                <a:cubicBezTo>
                  <a:pt x="579" y="586"/>
                  <a:pt x="579" y="587"/>
                  <a:pt x="579" y="587"/>
                </a:cubicBezTo>
                <a:cubicBezTo>
                  <a:pt x="579" y="587"/>
                  <a:pt x="578" y="587"/>
                  <a:pt x="577" y="587"/>
                </a:cubicBezTo>
                <a:cubicBezTo>
                  <a:pt x="577" y="587"/>
                  <a:pt x="575" y="585"/>
                  <a:pt x="575" y="584"/>
                </a:cubicBezTo>
                <a:cubicBezTo>
                  <a:pt x="575" y="583"/>
                  <a:pt x="575" y="584"/>
                  <a:pt x="575" y="583"/>
                </a:cubicBezTo>
                <a:cubicBezTo>
                  <a:pt x="575" y="583"/>
                  <a:pt x="575" y="583"/>
                  <a:pt x="575" y="582"/>
                </a:cubicBezTo>
                <a:cubicBezTo>
                  <a:pt x="575" y="582"/>
                  <a:pt x="574" y="582"/>
                  <a:pt x="574" y="582"/>
                </a:cubicBezTo>
                <a:cubicBezTo>
                  <a:pt x="574" y="581"/>
                  <a:pt x="573" y="582"/>
                  <a:pt x="574" y="582"/>
                </a:cubicBezTo>
                <a:cubicBezTo>
                  <a:pt x="573" y="583"/>
                  <a:pt x="573" y="583"/>
                  <a:pt x="572" y="583"/>
                </a:cubicBezTo>
                <a:cubicBezTo>
                  <a:pt x="571" y="584"/>
                  <a:pt x="571" y="583"/>
                  <a:pt x="572" y="584"/>
                </a:cubicBezTo>
                <a:cubicBezTo>
                  <a:pt x="571" y="584"/>
                  <a:pt x="572" y="589"/>
                  <a:pt x="570" y="589"/>
                </a:cubicBezTo>
                <a:cubicBezTo>
                  <a:pt x="570" y="589"/>
                  <a:pt x="570" y="588"/>
                  <a:pt x="570" y="588"/>
                </a:cubicBezTo>
                <a:cubicBezTo>
                  <a:pt x="570" y="587"/>
                  <a:pt x="571" y="589"/>
                  <a:pt x="571" y="587"/>
                </a:cubicBezTo>
                <a:cubicBezTo>
                  <a:pt x="571" y="586"/>
                  <a:pt x="571" y="585"/>
                  <a:pt x="570" y="584"/>
                </a:cubicBezTo>
                <a:cubicBezTo>
                  <a:pt x="570" y="583"/>
                  <a:pt x="570" y="583"/>
                  <a:pt x="569" y="583"/>
                </a:cubicBezTo>
                <a:cubicBezTo>
                  <a:pt x="568" y="583"/>
                  <a:pt x="568" y="584"/>
                  <a:pt x="567" y="584"/>
                </a:cubicBezTo>
                <a:cubicBezTo>
                  <a:pt x="567" y="584"/>
                  <a:pt x="567" y="584"/>
                  <a:pt x="566" y="584"/>
                </a:cubicBezTo>
                <a:cubicBezTo>
                  <a:pt x="566" y="584"/>
                  <a:pt x="566" y="584"/>
                  <a:pt x="566" y="584"/>
                </a:cubicBezTo>
                <a:cubicBezTo>
                  <a:pt x="566" y="584"/>
                  <a:pt x="566" y="584"/>
                  <a:pt x="566" y="584"/>
                </a:cubicBezTo>
                <a:cubicBezTo>
                  <a:pt x="566" y="584"/>
                  <a:pt x="566" y="584"/>
                  <a:pt x="566" y="584"/>
                </a:cubicBezTo>
                <a:cubicBezTo>
                  <a:pt x="566" y="585"/>
                  <a:pt x="565" y="585"/>
                  <a:pt x="565" y="585"/>
                </a:cubicBezTo>
                <a:cubicBezTo>
                  <a:pt x="564" y="585"/>
                  <a:pt x="564" y="585"/>
                  <a:pt x="563" y="585"/>
                </a:cubicBezTo>
                <a:cubicBezTo>
                  <a:pt x="561" y="585"/>
                  <a:pt x="563" y="585"/>
                  <a:pt x="563" y="585"/>
                </a:cubicBezTo>
                <a:cubicBezTo>
                  <a:pt x="562" y="585"/>
                  <a:pt x="562" y="585"/>
                  <a:pt x="562" y="585"/>
                </a:cubicBezTo>
                <a:cubicBezTo>
                  <a:pt x="561" y="586"/>
                  <a:pt x="563" y="585"/>
                  <a:pt x="561" y="586"/>
                </a:cubicBezTo>
                <a:cubicBezTo>
                  <a:pt x="560" y="586"/>
                  <a:pt x="561" y="586"/>
                  <a:pt x="561" y="587"/>
                </a:cubicBezTo>
                <a:cubicBezTo>
                  <a:pt x="560" y="588"/>
                  <a:pt x="559" y="589"/>
                  <a:pt x="558" y="589"/>
                </a:cubicBezTo>
                <a:cubicBezTo>
                  <a:pt x="557" y="589"/>
                  <a:pt x="555" y="589"/>
                  <a:pt x="553" y="589"/>
                </a:cubicBezTo>
                <a:cubicBezTo>
                  <a:pt x="552" y="589"/>
                  <a:pt x="551" y="589"/>
                  <a:pt x="551" y="589"/>
                </a:cubicBezTo>
                <a:cubicBezTo>
                  <a:pt x="550" y="589"/>
                  <a:pt x="550" y="589"/>
                  <a:pt x="550" y="589"/>
                </a:cubicBezTo>
                <a:cubicBezTo>
                  <a:pt x="551" y="589"/>
                  <a:pt x="552" y="588"/>
                  <a:pt x="553" y="588"/>
                </a:cubicBezTo>
                <a:cubicBezTo>
                  <a:pt x="554" y="588"/>
                  <a:pt x="554" y="589"/>
                  <a:pt x="555" y="589"/>
                </a:cubicBezTo>
                <a:cubicBezTo>
                  <a:pt x="556" y="589"/>
                  <a:pt x="557" y="589"/>
                  <a:pt x="558" y="589"/>
                </a:cubicBezTo>
                <a:cubicBezTo>
                  <a:pt x="559" y="589"/>
                  <a:pt x="560" y="587"/>
                  <a:pt x="560" y="586"/>
                </a:cubicBezTo>
                <a:cubicBezTo>
                  <a:pt x="560" y="586"/>
                  <a:pt x="561" y="585"/>
                  <a:pt x="561" y="585"/>
                </a:cubicBezTo>
                <a:cubicBezTo>
                  <a:pt x="562" y="585"/>
                  <a:pt x="561" y="585"/>
                  <a:pt x="562" y="585"/>
                </a:cubicBezTo>
                <a:cubicBezTo>
                  <a:pt x="562" y="585"/>
                  <a:pt x="563" y="585"/>
                  <a:pt x="563" y="585"/>
                </a:cubicBezTo>
                <a:cubicBezTo>
                  <a:pt x="563" y="585"/>
                  <a:pt x="563" y="584"/>
                  <a:pt x="563" y="584"/>
                </a:cubicBezTo>
                <a:cubicBezTo>
                  <a:pt x="564" y="584"/>
                  <a:pt x="565" y="584"/>
                  <a:pt x="565" y="584"/>
                </a:cubicBezTo>
                <a:cubicBezTo>
                  <a:pt x="565" y="584"/>
                  <a:pt x="566" y="584"/>
                  <a:pt x="566" y="584"/>
                </a:cubicBezTo>
                <a:cubicBezTo>
                  <a:pt x="567" y="584"/>
                  <a:pt x="567" y="583"/>
                  <a:pt x="568" y="583"/>
                </a:cubicBezTo>
                <a:cubicBezTo>
                  <a:pt x="569" y="582"/>
                  <a:pt x="569" y="583"/>
                  <a:pt x="570" y="582"/>
                </a:cubicBezTo>
                <a:cubicBezTo>
                  <a:pt x="570" y="581"/>
                  <a:pt x="570" y="580"/>
                  <a:pt x="570" y="580"/>
                </a:cubicBezTo>
                <a:cubicBezTo>
                  <a:pt x="571" y="579"/>
                  <a:pt x="571" y="579"/>
                  <a:pt x="571" y="578"/>
                </a:cubicBezTo>
                <a:cubicBezTo>
                  <a:pt x="572" y="578"/>
                  <a:pt x="572" y="578"/>
                  <a:pt x="572" y="578"/>
                </a:cubicBezTo>
                <a:cubicBezTo>
                  <a:pt x="572" y="578"/>
                  <a:pt x="572" y="578"/>
                  <a:pt x="572" y="577"/>
                </a:cubicBezTo>
                <a:cubicBezTo>
                  <a:pt x="572" y="577"/>
                  <a:pt x="572" y="578"/>
                  <a:pt x="572" y="577"/>
                </a:cubicBezTo>
                <a:cubicBezTo>
                  <a:pt x="572" y="577"/>
                  <a:pt x="572" y="577"/>
                  <a:pt x="572" y="576"/>
                </a:cubicBezTo>
                <a:cubicBezTo>
                  <a:pt x="572" y="576"/>
                  <a:pt x="573" y="576"/>
                  <a:pt x="573" y="576"/>
                </a:cubicBezTo>
                <a:cubicBezTo>
                  <a:pt x="573" y="576"/>
                  <a:pt x="573" y="576"/>
                  <a:pt x="574" y="576"/>
                </a:cubicBezTo>
                <a:cubicBezTo>
                  <a:pt x="574" y="575"/>
                  <a:pt x="575" y="573"/>
                  <a:pt x="576" y="573"/>
                </a:cubicBezTo>
                <a:cubicBezTo>
                  <a:pt x="576" y="573"/>
                  <a:pt x="576" y="574"/>
                  <a:pt x="576" y="574"/>
                </a:cubicBezTo>
                <a:cubicBezTo>
                  <a:pt x="575" y="575"/>
                  <a:pt x="575" y="575"/>
                  <a:pt x="576" y="576"/>
                </a:cubicBezTo>
                <a:cubicBezTo>
                  <a:pt x="576" y="577"/>
                  <a:pt x="577" y="576"/>
                  <a:pt x="578" y="576"/>
                </a:cubicBezTo>
                <a:cubicBezTo>
                  <a:pt x="579" y="576"/>
                  <a:pt x="578" y="576"/>
                  <a:pt x="579" y="576"/>
                </a:cubicBezTo>
                <a:cubicBezTo>
                  <a:pt x="580" y="576"/>
                  <a:pt x="578" y="575"/>
                  <a:pt x="579" y="575"/>
                </a:cubicBezTo>
                <a:cubicBezTo>
                  <a:pt x="578" y="575"/>
                  <a:pt x="578" y="575"/>
                  <a:pt x="578" y="574"/>
                </a:cubicBezTo>
                <a:cubicBezTo>
                  <a:pt x="578" y="573"/>
                  <a:pt x="578" y="573"/>
                  <a:pt x="578" y="572"/>
                </a:cubicBezTo>
                <a:cubicBezTo>
                  <a:pt x="578" y="573"/>
                  <a:pt x="578" y="573"/>
                  <a:pt x="579" y="573"/>
                </a:cubicBezTo>
                <a:cubicBezTo>
                  <a:pt x="579" y="572"/>
                  <a:pt x="580" y="571"/>
                  <a:pt x="580" y="570"/>
                </a:cubicBezTo>
                <a:cubicBezTo>
                  <a:pt x="579" y="570"/>
                  <a:pt x="579" y="570"/>
                  <a:pt x="578" y="570"/>
                </a:cubicBezTo>
                <a:cubicBezTo>
                  <a:pt x="578" y="571"/>
                  <a:pt x="578" y="571"/>
                  <a:pt x="577" y="571"/>
                </a:cubicBezTo>
                <a:cubicBezTo>
                  <a:pt x="577" y="571"/>
                  <a:pt x="577" y="572"/>
                  <a:pt x="578" y="572"/>
                </a:cubicBezTo>
                <a:cubicBezTo>
                  <a:pt x="577" y="572"/>
                  <a:pt x="577" y="572"/>
                  <a:pt x="576" y="572"/>
                </a:cubicBezTo>
                <a:cubicBezTo>
                  <a:pt x="576" y="572"/>
                  <a:pt x="579" y="569"/>
                  <a:pt x="577" y="569"/>
                </a:cubicBezTo>
                <a:cubicBezTo>
                  <a:pt x="575" y="568"/>
                  <a:pt x="578" y="568"/>
                  <a:pt x="579" y="567"/>
                </a:cubicBezTo>
                <a:cubicBezTo>
                  <a:pt x="579" y="566"/>
                  <a:pt x="579" y="565"/>
                  <a:pt x="578" y="565"/>
                </a:cubicBezTo>
                <a:cubicBezTo>
                  <a:pt x="577" y="565"/>
                  <a:pt x="576" y="565"/>
                  <a:pt x="576" y="565"/>
                </a:cubicBezTo>
                <a:cubicBezTo>
                  <a:pt x="576" y="565"/>
                  <a:pt x="576" y="565"/>
                  <a:pt x="576" y="565"/>
                </a:cubicBezTo>
                <a:cubicBezTo>
                  <a:pt x="576" y="564"/>
                  <a:pt x="576" y="562"/>
                  <a:pt x="575" y="561"/>
                </a:cubicBezTo>
                <a:cubicBezTo>
                  <a:pt x="575" y="561"/>
                  <a:pt x="575" y="560"/>
                  <a:pt x="575" y="560"/>
                </a:cubicBezTo>
                <a:cubicBezTo>
                  <a:pt x="575" y="560"/>
                  <a:pt x="575" y="559"/>
                  <a:pt x="575" y="558"/>
                </a:cubicBezTo>
                <a:cubicBezTo>
                  <a:pt x="574" y="558"/>
                  <a:pt x="575" y="556"/>
                  <a:pt x="574" y="556"/>
                </a:cubicBezTo>
                <a:cubicBezTo>
                  <a:pt x="573" y="556"/>
                  <a:pt x="573" y="553"/>
                  <a:pt x="573" y="552"/>
                </a:cubicBezTo>
                <a:cubicBezTo>
                  <a:pt x="572" y="552"/>
                  <a:pt x="572" y="552"/>
                  <a:pt x="571" y="551"/>
                </a:cubicBezTo>
                <a:cubicBezTo>
                  <a:pt x="571" y="550"/>
                  <a:pt x="571" y="550"/>
                  <a:pt x="570" y="549"/>
                </a:cubicBezTo>
                <a:cubicBezTo>
                  <a:pt x="569" y="549"/>
                  <a:pt x="568" y="549"/>
                  <a:pt x="568" y="548"/>
                </a:cubicBezTo>
                <a:cubicBezTo>
                  <a:pt x="568" y="548"/>
                  <a:pt x="568" y="548"/>
                  <a:pt x="568" y="548"/>
                </a:cubicBezTo>
                <a:cubicBezTo>
                  <a:pt x="568" y="548"/>
                  <a:pt x="567" y="547"/>
                  <a:pt x="567" y="547"/>
                </a:cubicBezTo>
                <a:cubicBezTo>
                  <a:pt x="567" y="547"/>
                  <a:pt x="567" y="547"/>
                  <a:pt x="567" y="547"/>
                </a:cubicBezTo>
                <a:cubicBezTo>
                  <a:pt x="567" y="546"/>
                  <a:pt x="567" y="546"/>
                  <a:pt x="567" y="546"/>
                </a:cubicBezTo>
                <a:cubicBezTo>
                  <a:pt x="566" y="546"/>
                  <a:pt x="567" y="545"/>
                  <a:pt x="566" y="545"/>
                </a:cubicBezTo>
                <a:cubicBezTo>
                  <a:pt x="566" y="545"/>
                  <a:pt x="565" y="544"/>
                  <a:pt x="564" y="544"/>
                </a:cubicBezTo>
                <a:cubicBezTo>
                  <a:pt x="564" y="544"/>
                  <a:pt x="563" y="543"/>
                  <a:pt x="562" y="543"/>
                </a:cubicBezTo>
                <a:cubicBezTo>
                  <a:pt x="562" y="543"/>
                  <a:pt x="562" y="543"/>
                  <a:pt x="561" y="543"/>
                </a:cubicBezTo>
                <a:cubicBezTo>
                  <a:pt x="561" y="543"/>
                  <a:pt x="560" y="543"/>
                  <a:pt x="560" y="543"/>
                </a:cubicBezTo>
                <a:cubicBezTo>
                  <a:pt x="559" y="543"/>
                  <a:pt x="559" y="542"/>
                  <a:pt x="559" y="542"/>
                </a:cubicBezTo>
                <a:cubicBezTo>
                  <a:pt x="558" y="542"/>
                  <a:pt x="559" y="543"/>
                  <a:pt x="558" y="543"/>
                </a:cubicBezTo>
                <a:cubicBezTo>
                  <a:pt x="558" y="543"/>
                  <a:pt x="558" y="542"/>
                  <a:pt x="559" y="541"/>
                </a:cubicBezTo>
                <a:cubicBezTo>
                  <a:pt x="557" y="541"/>
                  <a:pt x="556" y="541"/>
                  <a:pt x="555" y="540"/>
                </a:cubicBezTo>
                <a:cubicBezTo>
                  <a:pt x="555" y="541"/>
                  <a:pt x="555" y="541"/>
                  <a:pt x="555" y="541"/>
                </a:cubicBezTo>
                <a:cubicBezTo>
                  <a:pt x="555" y="541"/>
                  <a:pt x="554" y="541"/>
                  <a:pt x="554" y="541"/>
                </a:cubicBezTo>
                <a:cubicBezTo>
                  <a:pt x="554" y="542"/>
                  <a:pt x="551" y="542"/>
                  <a:pt x="551" y="542"/>
                </a:cubicBezTo>
                <a:cubicBezTo>
                  <a:pt x="551" y="541"/>
                  <a:pt x="549" y="542"/>
                  <a:pt x="549" y="541"/>
                </a:cubicBezTo>
                <a:cubicBezTo>
                  <a:pt x="548" y="541"/>
                  <a:pt x="548" y="541"/>
                  <a:pt x="548" y="541"/>
                </a:cubicBezTo>
                <a:cubicBezTo>
                  <a:pt x="547" y="541"/>
                  <a:pt x="547" y="541"/>
                  <a:pt x="546" y="541"/>
                </a:cubicBezTo>
                <a:cubicBezTo>
                  <a:pt x="546" y="542"/>
                  <a:pt x="546" y="543"/>
                  <a:pt x="546" y="543"/>
                </a:cubicBezTo>
                <a:cubicBezTo>
                  <a:pt x="546" y="542"/>
                  <a:pt x="545" y="542"/>
                  <a:pt x="545" y="541"/>
                </a:cubicBezTo>
                <a:cubicBezTo>
                  <a:pt x="545" y="540"/>
                  <a:pt x="545" y="540"/>
                  <a:pt x="544" y="539"/>
                </a:cubicBezTo>
                <a:cubicBezTo>
                  <a:pt x="544" y="539"/>
                  <a:pt x="542" y="539"/>
                  <a:pt x="542" y="538"/>
                </a:cubicBezTo>
                <a:cubicBezTo>
                  <a:pt x="542" y="538"/>
                  <a:pt x="541" y="538"/>
                  <a:pt x="541" y="537"/>
                </a:cubicBezTo>
                <a:cubicBezTo>
                  <a:pt x="540" y="537"/>
                  <a:pt x="539" y="538"/>
                  <a:pt x="539" y="537"/>
                </a:cubicBezTo>
                <a:cubicBezTo>
                  <a:pt x="539" y="537"/>
                  <a:pt x="539" y="537"/>
                  <a:pt x="539" y="537"/>
                </a:cubicBezTo>
                <a:cubicBezTo>
                  <a:pt x="538" y="538"/>
                  <a:pt x="538" y="539"/>
                  <a:pt x="538" y="541"/>
                </a:cubicBezTo>
                <a:cubicBezTo>
                  <a:pt x="537" y="541"/>
                  <a:pt x="537" y="540"/>
                  <a:pt x="537" y="540"/>
                </a:cubicBezTo>
                <a:cubicBezTo>
                  <a:pt x="537" y="539"/>
                  <a:pt x="536" y="541"/>
                  <a:pt x="536" y="541"/>
                </a:cubicBezTo>
                <a:cubicBezTo>
                  <a:pt x="536" y="540"/>
                  <a:pt x="535" y="539"/>
                  <a:pt x="536" y="538"/>
                </a:cubicBezTo>
                <a:cubicBezTo>
                  <a:pt x="537" y="538"/>
                  <a:pt x="537" y="538"/>
                  <a:pt x="537" y="537"/>
                </a:cubicBezTo>
                <a:cubicBezTo>
                  <a:pt x="538" y="536"/>
                  <a:pt x="538" y="536"/>
                  <a:pt x="538" y="535"/>
                </a:cubicBezTo>
                <a:cubicBezTo>
                  <a:pt x="538" y="534"/>
                  <a:pt x="538" y="534"/>
                  <a:pt x="538" y="533"/>
                </a:cubicBezTo>
                <a:cubicBezTo>
                  <a:pt x="538" y="533"/>
                  <a:pt x="537" y="533"/>
                  <a:pt x="537" y="533"/>
                </a:cubicBezTo>
                <a:cubicBezTo>
                  <a:pt x="537" y="533"/>
                  <a:pt x="537" y="533"/>
                  <a:pt x="536" y="533"/>
                </a:cubicBezTo>
                <a:cubicBezTo>
                  <a:pt x="535" y="532"/>
                  <a:pt x="536" y="532"/>
                  <a:pt x="536" y="532"/>
                </a:cubicBezTo>
                <a:cubicBezTo>
                  <a:pt x="536" y="532"/>
                  <a:pt x="536" y="532"/>
                  <a:pt x="536" y="532"/>
                </a:cubicBezTo>
                <a:cubicBezTo>
                  <a:pt x="535" y="531"/>
                  <a:pt x="535" y="531"/>
                  <a:pt x="535" y="531"/>
                </a:cubicBezTo>
                <a:cubicBezTo>
                  <a:pt x="534" y="530"/>
                  <a:pt x="533" y="531"/>
                  <a:pt x="533" y="530"/>
                </a:cubicBezTo>
                <a:cubicBezTo>
                  <a:pt x="533" y="530"/>
                  <a:pt x="533" y="530"/>
                  <a:pt x="533" y="530"/>
                </a:cubicBezTo>
                <a:cubicBezTo>
                  <a:pt x="532" y="530"/>
                  <a:pt x="533" y="529"/>
                  <a:pt x="532" y="529"/>
                </a:cubicBezTo>
                <a:cubicBezTo>
                  <a:pt x="532" y="529"/>
                  <a:pt x="532" y="528"/>
                  <a:pt x="532" y="528"/>
                </a:cubicBezTo>
                <a:cubicBezTo>
                  <a:pt x="531" y="528"/>
                  <a:pt x="531" y="529"/>
                  <a:pt x="531" y="529"/>
                </a:cubicBezTo>
                <a:cubicBezTo>
                  <a:pt x="531" y="528"/>
                  <a:pt x="531" y="529"/>
                  <a:pt x="530" y="529"/>
                </a:cubicBezTo>
                <a:cubicBezTo>
                  <a:pt x="530" y="529"/>
                  <a:pt x="530" y="528"/>
                  <a:pt x="529" y="528"/>
                </a:cubicBezTo>
                <a:cubicBezTo>
                  <a:pt x="529" y="528"/>
                  <a:pt x="528" y="528"/>
                  <a:pt x="528" y="528"/>
                </a:cubicBezTo>
                <a:cubicBezTo>
                  <a:pt x="527" y="529"/>
                  <a:pt x="526" y="528"/>
                  <a:pt x="525" y="528"/>
                </a:cubicBezTo>
                <a:cubicBezTo>
                  <a:pt x="525" y="529"/>
                  <a:pt x="524" y="529"/>
                  <a:pt x="523" y="529"/>
                </a:cubicBezTo>
                <a:cubicBezTo>
                  <a:pt x="522" y="529"/>
                  <a:pt x="522" y="529"/>
                  <a:pt x="521" y="529"/>
                </a:cubicBezTo>
                <a:cubicBezTo>
                  <a:pt x="520" y="530"/>
                  <a:pt x="520" y="530"/>
                  <a:pt x="519" y="530"/>
                </a:cubicBezTo>
                <a:cubicBezTo>
                  <a:pt x="519" y="530"/>
                  <a:pt x="520" y="530"/>
                  <a:pt x="520" y="529"/>
                </a:cubicBezTo>
                <a:cubicBezTo>
                  <a:pt x="520" y="529"/>
                  <a:pt x="520" y="529"/>
                  <a:pt x="520" y="528"/>
                </a:cubicBezTo>
                <a:cubicBezTo>
                  <a:pt x="520" y="528"/>
                  <a:pt x="521" y="528"/>
                  <a:pt x="521" y="528"/>
                </a:cubicBezTo>
                <a:cubicBezTo>
                  <a:pt x="521" y="528"/>
                  <a:pt x="522" y="528"/>
                  <a:pt x="522" y="528"/>
                </a:cubicBezTo>
                <a:cubicBezTo>
                  <a:pt x="523" y="528"/>
                  <a:pt x="524" y="528"/>
                  <a:pt x="524" y="528"/>
                </a:cubicBezTo>
                <a:cubicBezTo>
                  <a:pt x="524" y="528"/>
                  <a:pt x="525" y="527"/>
                  <a:pt x="525" y="527"/>
                </a:cubicBezTo>
                <a:cubicBezTo>
                  <a:pt x="526" y="527"/>
                  <a:pt x="526" y="526"/>
                  <a:pt x="526" y="525"/>
                </a:cubicBezTo>
                <a:cubicBezTo>
                  <a:pt x="526" y="525"/>
                  <a:pt x="526" y="524"/>
                  <a:pt x="527" y="524"/>
                </a:cubicBezTo>
                <a:cubicBezTo>
                  <a:pt x="527" y="523"/>
                  <a:pt x="526" y="522"/>
                  <a:pt x="526" y="522"/>
                </a:cubicBezTo>
                <a:cubicBezTo>
                  <a:pt x="525" y="522"/>
                  <a:pt x="524" y="521"/>
                  <a:pt x="524" y="523"/>
                </a:cubicBezTo>
                <a:cubicBezTo>
                  <a:pt x="523" y="522"/>
                  <a:pt x="522" y="522"/>
                  <a:pt x="522" y="521"/>
                </a:cubicBezTo>
                <a:cubicBezTo>
                  <a:pt x="521" y="521"/>
                  <a:pt x="521" y="522"/>
                  <a:pt x="520" y="522"/>
                </a:cubicBezTo>
                <a:cubicBezTo>
                  <a:pt x="520" y="522"/>
                  <a:pt x="520" y="520"/>
                  <a:pt x="519" y="520"/>
                </a:cubicBezTo>
                <a:cubicBezTo>
                  <a:pt x="519" y="520"/>
                  <a:pt x="518" y="519"/>
                  <a:pt x="518" y="519"/>
                </a:cubicBezTo>
                <a:cubicBezTo>
                  <a:pt x="519" y="518"/>
                  <a:pt x="520" y="519"/>
                  <a:pt x="521" y="518"/>
                </a:cubicBezTo>
                <a:cubicBezTo>
                  <a:pt x="521" y="516"/>
                  <a:pt x="519" y="517"/>
                  <a:pt x="519" y="517"/>
                </a:cubicBezTo>
                <a:cubicBezTo>
                  <a:pt x="518" y="517"/>
                  <a:pt x="517" y="517"/>
                  <a:pt x="516" y="517"/>
                </a:cubicBezTo>
                <a:cubicBezTo>
                  <a:pt x="515" y="517"/>
                  <a:pt x="514" y="517"/>
                  <a:pt x="514" y="517"/>
                </a:cubicBezTo>
                <a:cubicBezTo>
                  <a:pt x="514" y="518"/>
                  <a:pt x="514" y="518"/>
                  <a:pt x="515" y="518"/>
                </a:cubicBezTo>
                <a:cubicBezTo>
                  <a:pt x="515" y="518"/>
                  <a:pt x="514" y="518"/>
                  <a:pt x="514" y="518"/>
                </a:cubicBezTo>
                <a:cubicBezTo>
                  <a:pt x="513" y="518"/>
                  <a:pt x="513" y="518"/>
                  <a:pt x="512" y="518"/>
                </a:cubicBezTo>
                <a:cubicBezTo>
                  <a:pt x="512" y="518"/>
                  <a:pt x="512" y="518"/>
                  <a:pt x="512" y="518"/>
                </a:cubicBezTo>
                <a:cubicBezTo>
                  <a:pt x="512" y="518"/>
                  <a:pt x="510" y="519"/>
                  <a:pt x="510" y="519"/>
                </a:cubicBezTo>
                <a:cubicBezTo>
                  <a:pt x="510" y="520"/>
                  <a:pt x="509" y="520"/>
                  <a:pt x="508" y="520"/>
                </a:cubicBezTo>
                <a:cubicBezTo>
                  <a:pt x="507" y="520"/>
                  <a:pt x="506" y="520"/>
                  <a:pt x="504" y="520"/>
                </a:cubicBezTo>
                <a:cubicBezTo>
                  <a:pt x="505" y="519"/>
                  <a:pt x="502" y="520"/>
                  <a:pt x="502" y="519"/>
                </a:cubicBezTo>
                <a:cubicBezTo>
                  <a:pt x="502" y="518"/>
                  <a:pt x="502" y="518"/>
                  <a:pt x="502" y="518"/>
                </a:cubicBezTo>
                <a:cubicBezTo>
                  <a:pt x="502" y="517"/>
                  <a:pt x="500" y="517"/>
                  <a:pt x="500" y="517"/>
                </a:cubicBezTo>
                <a:cubicBezTo>
                  <a:pt x="498" y="517"/>
                  <a:pt x="496" y="517"/>
                  <a:pt x="495" y="518"/>
                </a:cubicBezTo>
                <a:cubicBezTo>
                  <a:pt x="493" y="518"/>
                  <a:pt x="492" y="519"/>
                  <a:pt x="492" y="517"/>
                </a:cubicBezTo>
                <a:cubicBezTo>
                  <a:pt x="492" y="517"/>
                  <a:pt x="493" y="516"/>
                  <a:pt x="493" y="516"/>
                </a:cubicBezTo>
                <a:cubicBezTo>
                  <a:pt x="492" y="515"/>
                  <a:pt x="492" y="515"/>
                  <a:pt x="492" y="515"/>
                </a:cubicBezTo>
                <a:cubicBezTo>
                  <a:pt x="492" y="514"/>
                  <a:pt x="491" y="514"/>
                  <a:pt x="491" y="514"/>
                </a:cubicBezTo>
                <a:cubicBezTo>
                  <a:pt x="490" y="514"/>
                  <a:pt x="490" y="513"/>
                  <a:pt x="489" y="512"/>
                </a:cubicBezTo>
                <a:cubicBezTo>
                  <a:pt x="487" y="512"/>
                  <a:pt x="485" y="513"/>
                  <a:pt x="484" y="511"/>
                </a:cubicBezTo>
                <a:cubicBezTo>
                  <a:pt x="484" y="510"/>
                  <a:pt x="484" y="509"/>
                  <a:pt x="484" y="509"/>
                </a:cubicBezTo>
                <a:cubicBezTo>
                  <a:pt x="483" y="509"/>
                  <a:pt x="482" y="510"/>
                  <a:pt x="482" y="510"/>
                </a:cubicBezTo>
                <a:cubicBezTo>
                  <a:pt x="482" y="511"/>
                  <a:pt x="482" y="512"/>
                  <a:pt x="483" y="512"/>
                </a:cubicBezTo>
                <a:cubicBezTo>
                  <a:pt x="483" y="512"/>
                  <a:pt x="483" y="512"/>
                  <a:pt x="484" y="512"/>
                </a:cubicBezTo>
                <a:cubicBezTo>
                  <a:pt x="485" y="512"/>
                  <a:pt x="484" y="512"/>
                  <a:pt x="485" y="513"/>
                </a:cubicBezTo>
                <a:cubicBezTo>
                  <a:pt x="485" y="514"/>
                  <a:pt x="484" y="513"/>
                  <a:pt x="483" y="513"/>
                </a:cubicBezTo>
                <a:cubicBezTo>
                  <a:pt x="481" y="514"/>
                  <a:pt x="480" y="515"/>
                  <a:pt x="478" y="515"/>
                </a:cubicBezTo>
                <a:cubicBezTo>
                  <a:pt x="477" y="515"/>
                  <a:pt x="478" y="517"/>
                  <a:pt x="477" y="517"/>
                </a:cubicBezTo>
                <a:cubicBezTo>
                  <a:pt x="477" y="518"/>
                  <a:pt x="478" y="519"/>
                  <a:pt x="478" y="520"/>
                </a:cubicBezTo>
                <a:cubicBezTo>
                  <a:pt x="479" y="520"/>
                  <a:pt x="479" y="519"/>
                  <a:pt x="479" y="520"/>
                </a:cubicBezTo>
                <a:cubicBezTo>
                  <a:pt x="479" y="520"/>
                  <a:pt x="479" y="521"/>
                  <a:pt x="480" y="521"/>
                </a:cubicBezTo>
                <a:cubicBezTo>
                  <a:pt x="479" y="521"/>
                  <a:pt x="479" y="522"/>
                  <a:pt x="479" y="522"/>
                </a:cubicBezTo>
                <a:cubicBezTo>
                  <a:pt x="480" y="522"/>
                  <a:pt x="480" y="523"/>
                  <a:pt x="480" y="524"/>
                </a:cubicBezTo>
                <a:cubicBezTo>
                  <a:pt x="480" y="525"/>
                  <a:pt x="479" y="525"/>
                  <a:pt x="478" y="525"/>
                </a:cubicBezTo>
                <a:cubicBezTo>
                  <a:pt x="478" y="526"/>
                  <a:pt x="477" y="526"/>
                  <a:pt x="477" y="526"/>
                </a:cubicBezTo>
                <a:cubicBezTo>
                  <a:pt x="477" y="526"/>
                  <a:pt x="477" y="526"/>
                  <a:pt x="477" y="526"/>
                </a:cubicBezTo>
                <a:cubicBezTo>
                  <a:pt x="476" y="527"/>
                  <a:pt x="476" y="526"/>
                  <a:pt x="476" y="526"/>
                </a:cubicBezTo>
                <a:cubicBezTo>
                  <a:pt x="476" y="525"/>
                  <a:pt x="476" y="525"/>
                  <a:pt x="476" y="525"/>
                </a:cubicBezTo>
                <a:cubicBezTo>
                  <a:pt x="475" y="525"/>
                  <a:pt x="475" y="524"/>
                  <a:pt x="475" y="524"/>
                </a:cubicBezTo>
                <a:cubicBezTo>
                  <a:pt x="475" y="523"/>
                  <a:pt x="475" y="523"/>
                  <a:pt x="474" y="523"/>
                </a:cubicBezTo>
                <a:cubicBezTo>
                  <a:pt x="474" y="523"/>
                  <a:pt x="474" y="522"/>
                  <a:pt x="474" y="522"/>
                </a:cubicBezTo>
                <a:cubicBezTo>
                  <a:pt x="475" y="521"/>
                  <a:pt x="474" y="521"/>
                  <a:pt x="474" y="521"/>
                </a:cubicBezTo>
                <a:cubicBezTo>
                  <a:pt x="474" y="520"/>
                  <a:pt x="474" y="520"/>
                  <a:pt x="475" y="519"/>
                </a:cubicBezTo>
                <a:cubicBezTo>
                  <a:pt x="476" y="518"/>
                  <a:pt x="477" y="519"/>
                  <a:pt x="477" y="517"/>
                </a:cubicBezTo>
                <a:cubicBezTo>
                  <a:pt x="476" y="517"/>
                  <a:pt x="476" y="517"/>
                  <a:pt x="476" y="516"/>
                </a:cubicBezTo>
                <a:cubicBezTo>
                  <a:pt x="476" y="516"/>
                  <a:pt x="476" y="516"/>
                  <a:pt x="476" y="515"/>
                </a:cubicBezTo>
                <a:cubicBezTo>
                  <a:pt x="475" y="514"/>
                  <a:pt x="475" y="514"/>
                  <a:pt x="474" y="514"/>
                </a:cubicBezTo>
                <a:cubicBezTo>
                  <a:pt x="474" y="513"/>
                  <a:pt x="474" y="513"/>
                  <a:pt x="475" y="512"/>
                </a:cubicBezTo>
                <a:cubicBezTo>
                  <a:pt x="476" y="512"/>
                  <a:pt x="476" y="512"/>
                  <a:pt x="476" y="511"/>
                </a:cubicBezTo>
                <a:cubicBezTo>
                  <a:pt x="476" y="511"/>
                  <a:pt x="477" y="511"/>
                  <a:pt x="478" y="510"/>
                </a:cubicBezTo>
                <a:cubicBezTo>
                  <a:pt x="478" y="510"/>
                  <a:pt x="478" y="509"/>
                  <a:pt x="478" y="509"/>
                </a:cubicBezTo>
                <a:cubicBezTo>
                  <a:pt x="477" y="509"/>
                  <a:pt x="476" y="508"/>
                  <a:pt x="476" y="508"/>
                </a:cubicBezTo>
                <a:cubicBezTo>
                  <a:pt x="475" y="508"/>
                  <a:pt x="476" y="508"/>
                  <a:pt x="475" y="508"/>
                </a:cubicBezTo>
                <a:cubicBezTo>
                  <a:pt x="475" y="508"/>
                  <a:pt x="475" y="508"/>
                  <a:pt x="474" y="508"/>
                </a:cubicBezTo>
                <a:cubicBezTo>
                  <a:pt x="474" y="509"/>
                  <a:pt x="473" y="508"/>
                  <a:pt x="473" y="510"/>
                </a:cubicBezTo>
                <a:cubicBezTo>
                  <a:pt x="473" y="511"/>
                  <a:pt x="473" y="511"/>
                  <a:pt x="472" y="511"/>
                </a:cubicBezTo>
                <a:cubicBezTo>
                  <a:pt x="472" y="511"/>
                  <a:pt x="472" y="512"/>
                  <a:pt x="472" y="512"/>
                </a:cubicBezTo>
                <a:cubicBezTo>
                  <a:pt x="471" y="512"/>
                  <a:pt x="471" y="511"/>
                  <a:pt x="471" y="512"/>
                </a:cubicBezTo>
                <a:cubicBezTo>
                  <a:pt x="471" y="512"/>
                  <a:pt x="470" y="512"/>
                  <a:pt x="470" y="512"/>
                </a:cubicBezTo>
                <a:cubicBezTo>
                  <a:pt x="470" y="512"/>
                  <a:pt x="470" y="512"/>
                  <a:pt x="469" y="512"/>
                </a:cubicBezTo>
                <a:cubicBezTo>
                  <a:pt x="469" y="512"/>
                  <a:pt x="470" y="513"/>
                  <a:pt x="469" y="513"/>
                </a:cubicBezTo>
                <a:cubicBezTo>
                  <a:pt x="468" y="513"/>
                  <a:pt x="468" y="514"/>
                  <a:pt x="467" y="514"/>
                </a:cubicBezTo>
                <a:cubicBezTo>
                  <a:pt x="466" y="515"/>
                  <a:pt x="465" y="515"/>
                  <a:pt x="464" y="515"/>
                </a:cubicBezTo>
                <a:cubicBezTo>
                  <a:pt x="463" y="515"/>
                  <a:pt x="463" y="515"/>
                  <a:pt x="462" y="516"/>
                </a:cubicBezTo>
                <a:cubicBezTo>
                  <a:pt x="462" y="516"/>
                  <a:pt x="462" y="517"/>
                  <a:pt x="462" y="517"/>
                </a:cubicBezTo>
                <a:cubicBezTo>
                  <a:pt x="461" y="517"/>
                  <a:pt x="462" y="516"/>
                  <a:pt x="461" y="516"/>
                </a:cubicBezTo>
                <a:cubicBezTo>
                  <a:pt x="460" y="516"/>
                  <a:pt x="460" y="517"/>
                  <a:pt x="459" y="517"/>
                </a:cubicBezTo>
                <a:cubicBezTo>
                  <a:pt x="457" y="518"/>
                  <a:pt x="458" y="521"/>
                  <a:pt x="458" y="522"/>
                </a:cubicBezTo>
                <a:cubicBezTo>
                  <a:pt x="457" y="522"/>
                  <a:pt x="457" y="523"/>
                  <a:pt x="456" y="523"/>
                </a:cubicBezTo>
                <a:cubicBezTo>
                  <a:pt x="456" y="523"/>
                  <a:pt x="456" y="524"/>
                  <a:pt x="457" y="525"/>
                </a:cubicBezTo>
                <a:cubicBezTo>
                  <a:pt x="456" y="525"/>
                  <a:pt x="456" y="525"/>
                  <a:pt x="456" y="525"/>
                </a:cubicBezTo>
                <a:cubicBezTo>
                  <a:pt x="456" y="525"/>
                  <a:pt x="455" y="525"/>
                  <a:pt x="455" y="525"/>
                </a:cubicBezTo>
                <a:cubicBezTo>
                  <a:pt x="454" y="526"/>
                  <a:pt x="454" y="526"/>
                  <a:pt x="454" y="527"/>
                </a:cubicBezTo>
                <a:cubicBezTo>
                  <a:pt x="453" y="528"/>
                  <a:pt x="453" y="528"/>
                  <a:pt x="453" y="529"/>
                </a:cubicBezTo>
                <a:cubicBezTo>
                  <a:pt x="453" y="529"/>
                  <a:pt x="453" y="530"/>
                  <a:pt x="453" y="530"/>
                </a:cubicBezTo>
                <a:cubicBezTo>
                  <a:pt x="453" y="530"/>
                  <a:pt x="453" y="531"/>
                  <a:pt x="453" y="531"/>
                </a:cubicBezTo>
                <a:cubicBezTo>
                  <a:pt x="453" y="533"/>
                  <a:pt x="453" y="533"/>
                  <a:pt x="452" y="533"/>
                </a:cubicBezTo>
                <a:cubicBezTo>
                  <a:pt x="451" y="533"/>
                  <a:pt x="451" y="532"/>
                  <a:pt x="451" y="532"/>
                </a:cubicBezTo>
                <a:cubicBezTo>
                  <a:pt x="450" y="531"/>
                  <a:pt x="450" y="531"/>
                  <a:pt x="450" y="531"/>
                </a:cubicBezTo>
                <a:cubicBezTo>
                  <a:pt x="450" y="530"/>
                  <a:pt x="449" y="530"/>
                  <a:pt x="449" y="529"/>
                </a:cubicBezTo>
                <a:cubicBezTo>
                  <a:pt x="448" y="529"/>
                  <a:pt x="447" y="528"/>
                  <a:pt x="447" y="528"/>
                </a:cubicBezTo>
                <a:cubicBezTo>
                  <a:pt x="447" y="528"/>
                  <a:pt x="447" y="527"/>
                  <a:pt x="447" y="527"/>
                </a:cubicBezTo>
                <a:cubicBezTo>
                  <a:pt x="446" y="527"/>
                  <a:pt x="445" y="526"/>
                  <a:pt x="444" y="526"/>
                </a:cubicBezTo>
                <a:cubicBezTo>
                  <a:pt x="444" y="525"/>
                  <a:pt x="444" y="524"/>
                  <a:pt x="444" y="523"/>
                </a:cubicBezTo>
                <a:cubicBezTo>
                  <a:pt x="443" y="523"/>
                  <a:pt x="442" y="523"/>
                  <a:pt x="441" y="523"/>
                </a:cubicBezTo>
                <a:cubicBezTo>
                  <a:pt x="440" y="522"/>
                  <a:pt x="438" y="522"/>
                  <a:pt x="438" y="523"/>
                </a:cubicBezTo>
                <a:cubicBezTo>
                  <a:pt x="438" y="523"/>
                  <a:pt x="438" y="523"/>
                  <a:pt x="438" y="524"/>
                </a:cubicBezTo>
                <a:cubicBezTo>
                  <a:pt x="437" y="524"/>
                  <a:pt x="437" y="524"/>
                  <a:pt x="436" y="524"/>
                </a:cubicBezTo>
                <a:cubicBezTo>
                  <a:pt x="435" y="524"/>
                  <a:pt x="435" y="524"/>
                  <a:pt x="435" y="524"/>
                </a:cubicBezTo>
                <a:cubicBezTo>
                  <a:pt x="434" y="525"/>
                  <a:pt x="434" y="525"/>
                  <a:pt x="434" y="525"/>
                </a:cubicBezTo>
                <a:cubicBezTo>
                  <a:pt x="433" y="525"/>
                  <a:pt x="433" y="525"/>
                  <a:pt x="432" y="526"/>
                </a:cubicBezTo>
                <a:cubicBezTo>
                  <a:pt x="432" y="526"/>
                  <a:pt x="431" y="526"/>
                  <a:pt x="431" y="526"/>
                </a:cubicBezTo>
                <a:cubicBezTo>
                  <a:pt x="431" y="526"/>
                  <a:pt x="431" y="526"/>
                  <a:pt x="431" y="526"/>
                </a:cubicBezTo>
                <a:cubicBezTo>
                  <a:pt x="431" y="526"/>
                  <a:pt x="430" y="526"/>
                  <a:pt x="429" y="526"/>
                </a:cubicBezTo>
                <a:cubicBezTo>
                  <a:pt x="429" y="525"/>
                  <a:pt x="428" y="525"/>
                  <a:pt x="428" y="525"/>
                </a:cubicBezTo>
                <a:cubicBezTo>
                  <a:pt x="428" y="525"/>
                  <a:pt x="428" y="525"/>
                  <a:pt x="428" y="525"/>
                </a:cubicBezTo>
                <a:cubicBezTo>
                  <a:pt x="427" y="525"/>
                  <a:pt x="426" y="525"/>
                  <a:pt x="426" y="525"/>
                </a:cubicBezTo>
                <a:cubicBezTo>
                  <a:pt x="425" y="525"/>
                  <a:pt x="425" y="524"/>
                  <a:pt x="425" y="524"/>
                </a:cubicBezTo>
                <a:cubicBezTo>
                  <a:pt x="425" y="524"/>
                  <a:pt x="425" y="523"/>
                  <a:pt x="425" y="523"/>
                </a:cubicBezTo>
                <a:cubicBezTo>
                  <a:pt x="425" y="523"/>
                  <a:pt x="425" y="523"/>
                  <a:pt x="425" y="523"/>
                </a:cubicBezTo>
                <a:cubicBezTo>
                  <a:pt x="425" y="522"/>
                  <a:pt x="425" y="522"/>
                  <a:pt x="424" y="522"/>
                </a:cubicBezTo>
                <a:cubicBezTo>
                  <a:pt x="424" y="521"/>
                  <a:pt x="423" y="521"/>
                  <a:pt x="423" y="520"/>
                </a:cubicBezTo>
                <a:cubicBezTo>
                  <a:pt x="423" y="520"/>
                  <a:pt x="423" y="520"/>
                  <a:pt x="422" y="520"/>
                </a:cubicBezTo>
                <a:cubicBezTo>
                  <a:pt x="422" y="520"/>
                  <a:pt x="422" y="519"/>
                  <a:pt x="422" y="519"/>
                </a:cubicBezTo>
                <a:cubicBezTo>
                  <a:pt x="421" y="519"/>
                  <a:pt x="421" y="518"/>
                  <a:pt x="421" y="518"/>
                </a:cubicBezTo>
                <a:cubicBezTo>
                  <a:pt x="420" y="517"/>
                  <a:pt x="420" y="518"/>
                  <a:pt x="420" y="517"/>
                </a:cubicBezTo>
                <a:cubicBezTo>
                  <a:pt x="420" y="517"/>
                  <a:pt x="420" y="517"/>
                  <a:pt x="420" y="517"/>
                </a:cubicBezTo>
                <a:cubicBezTo>
                  <a:pt x="419" y="517"/>
                  <a:pt x="419" y="516"/>
                  <a:pt x="419" y="516"/>
                </a:cubicBezTo>
                <a:cubicBezTo>
                  <a:pt x="419" y="515"/>
                  <a:pt x="419" y="514"/>
                  <a:pt x="418" y="514"/>
                </a:cubicBezTo>
                <a:cubicBezTo>
                  <a:pt x="418" y="513"/>
                  <a:pt x="417" y="512"/>
                  <a:pt x="418" y="512"/>
                </a:cubicBezTo>
                <a:cubicBezTo>
                  <a:pt x="419" y="512"/>
                  <a:pt x="419" y="509"/>
                  <a:pt x="418" y="509"/>
                </a:cubicBezTo>
                <a:cubicBezTo>
                  <a:pt x="418" y="508"/>
                  <a:pt x="418" y="505"/>
                  <a:pt x="419" y="505"/>
                </a:cubicBezTo>
                <a:cubicBezTo>
                  <a:pt x="419" y="504"/>
                  <a:pt x="419" y="503"/>
                  <a:pt x="419" y="501"/>
                </a:cubicBezTo>
                <a:cubicBezTo>
                  <a:pt x="419" y="501"/>
                  <a:pt x="419" y="500"/>
                  <a:pt x="419" y="500"/>
                </a:cubicBezTo>
                <a:cubicBezTo>
                  <a:pt x="420" y="500"/>
                  <a:pt x="420" y="500"/>
                  <a:pt x="420" y="500"/>
                </a:cubicBezTo>
                <a:cubicBezTo>
                  <a:pt x="420" y="499"/>
                  <a:pt x="419" y="499"/>
                  <a:pt x="420" y="498"/>
                </a:cubicBezTo>
                <a:cubicBezTo>
                  <a:pt x="420" y="498"/>
                  <a:pt x="420" y="497"/>
                  <a:pt x="420" y="497"/>
                </a:cubicBezTo>
                <a:cubicBezTo>
                  <a:pt x="420" y="497"/>
                  <a:pt x="420" y="497"/>
                  <a:pt x="420" y="497"/>
                </a:cubicBezTo>
                <a:cubicBezTo>
                  <a:pt x="420" y="497"/>
                  <a:pt x="421" y="497"/>
                  <a:pt x="421" y="496"/>
                </a:cubicBezTo>
                <a:cubicBezTo>
                  <a:pt x="421" y="496"/>
                  <a:pt x="421" y="496"/>
                  <a:pt x="421" y="495"/>
                </a:cubicBezTo>
                <a:cubicBezTo>
                  <a:pt x="421" y="495"/>
                  <a:pt x="421" y="495"/>
                  <a:pt x="421" y="495"/>
                </a:cubicBezTo>
                <a:cubicBezTo>
                  <a:pt x="421" y="495"/>
                  <a:pt x="421" y="495"/>
                  <a:pt x="421" y="495"/>
                </a:cubicBezTo>
                <a:cubicBezTo>
                  <a:pt x="421" y="494"/>
                  <a:pt x="421" y="494"/>
                  <a:pt x="421" y="494"/>
                </a:cubicBezTo>
                <a:cubicBezTo>
                  <a:pt x="421" y="493"/>
                  <a:pt x="421" y="492"/>
                  <a:pt x="421" y="492"/>
                </a:cubicBezTo>
                <a:cubicBezTo>
                  <a:pt x="420" y="492"/>
                  <a:pt x="420" y="491"/>
                  <a:pt x="419" y="491"/>
                </a:cubicBezTo>
                <a:cubicBezTo>
                  <a:pt x="418" y="491"/>
                  <a:pt x="417" y="491"/>
                  <a:pt x="417" y="489"/>
                </a:cubicBezTo>
                <a:cubicBezTo>
                  <a:pt x="417" y="488"/>
                  <a:pt x="417" y="489"/>
                  <a:pt x="416" y="488"/>
                </a:cubicBezTo>
                <a:cubicBezTo>
                  <a:pt x="416" y="488"/>
                  <a:pt x="416" y="488"/>
                  <a:pt x="415" y="488"/>
                </a:cubicBezTo>
                <a:cubicBezTo>
                  <a:pt x="415" y="487"/>
                  <a:pt x="412" y="487"/>
                  <a:pt x="411" y="487"/>
                </a:cubicBezTo>
                <a:cubicBezTo>
                  <a:pt x="411" y="487"/>
                  <a:pt x="410" y="487"/>
                  <a:pt x="410" y="487"/>
                </a:cubicBezTo>
                <a:cubicBezTo>
                  <a:pt x="409" y="486"/>
                  <a:pt x="409" y="486"/>
                  <a:pt x="409" y="486"/>
                </a:cubicBezTo>
                <a:cubicBezTo>
                  <a:pt x="408" y="487"/>
                  <a:pt x="408" y="487"/>
                  <a:pt x="407" y="487"/>
                </a:cubicBezTo>
                <a:cubicBezTo>
                  <a:pt x="406" y="487"/>
                  <a:pt x="406" y="487"/>
                  <a:pt x="405" y="487"/>
                </a:cubicBezTo>
                <a:cubicBezTo>
                  <a:pt x="404" y="487"/>
                  <a:pt x="404" y="488"/>
                  <a:pt x="403" y="488"/>
                </a:cubicBezTo>
                <a:cubicBezTo>
                  <a:pt x="403" y="488"/>
                  <a:pt x="402" y="488"/>
                  <a:pt x="402" y="488"/>
                </a:cubicBezTo>
                <a:cubicBezTo>
                  <a:pt x="401" y="488"/>
                  <a:pt x="399" y="488"/>
                  <a:pt x="398" y="488"/>
                </a:cubicBezTo>
                <a:cubicBezTo>
                  <a:pt x="398" y="488"/>
                  <a:pt x="398" y="488"/>
                  <a:pt x="398" y="488"/>
                </a:cubicBezTo>
                <a:cubicBezTo>
                  <a:pt x="397" y="489"/>
                  <a:pt x="397" y="487"/>
                  <a:pt x="396" y="487"/>
                </a:cubicBezTo>
                <a:cubicBezTo>
                  <a:pt x="395" y="488"/>
                  <a:pt x="395" y="488"/>
                  <a:pt x="394" y="488"/>
                </a:cubicBezTo>
                <a:cubicBezTo>
                  <a:pt x="394" y="488"/>
                  <a:pt x="394" y="487"/>
                  <a:pt x="394" y="487"/>
                </a:cubicBezTo>
                <a:cubicBezTo>
                  <a:pt x="395" y="486"/>
                  <a:pt x="395" y="486"/>
                  <a:pt x="395" y="485"/>
                </a:cubicBezTo>
                <a:cubicBezTo>
                  <a:pt x="395" y="485"/>
                  <a:pt x="395" y="485"/>
                  <a:pt x="396" y="485"/>
                </a:cubicBezTo>
                <a:cubicBezTo>
                  <a:pt x="397" y="484"/>
                  <a:pt x="396" y="483"/>
                  <a:pt x="396" y="482"/>
                </a:cubicBezTo>
                <a:cubicBezTo>
                  <a:pt x="397" y="482"/>
                  <a:pt x="397" y="482"/>
                  <a:pt x="397" y="482"/>
                </a:cubicBezTo>
                <a:cubicBezTo>
                  <a:pt x="397" y="482"/>
                  <a:pt x="397" y="481"/>
                  <a:pt x="397" y="481"/>
                </a:cubicBezTo>
                <a:cubicBezTo>
                  <a:pt x="397" y="481"/>
                  <a:pt x="397" y="481"/>
                  <a:pt x="396" y="480"/>
                </a:cubicBezTo>
                <a:cubicBezTo>
                  <a:pt x="397" y="480"/>
                  <a:pt x="397" y="480"/>
                  <a:pt x="397" y="479"/>
                </a:cubicBezTo>
                <a:cubicBezTo>
                  <a:pt x="397" y="479"/>
                  <a:pt x="398" y="479"/>
                  <a:pt x="398" y="479"/>
                </a:cubicBezTo>
                <a:cubicBezTo>
                  <a:pt x="398" y="477"/>
                  <a:pt x="398" y="476"/>
                  <a:pt x="398" y="475"/>
                </a:cubicBezTo>
                <a:cubicBezTo>
                  <a:pt x="397" y="475"/>
                  <a:pt x="398" y="475"/>
                  <a:pt x="398" y="474"/>
                </a:cubicBezTo>
                <a:cubicBezTo>
                  <a:pt x="397" y="474"/>
                  <a:pt x="397" y="474"/>
                  <a:pt x="396" y="474"/>
                </a:cubicBezTo>
                <a:cubicBezTo>
                  <a:pt x="396" y="473"/>
                  <a:pt x="397" y="472"/>
                  <a:pt x="397" y="472"/>
                </a:cubicBezTo>
                <a:cubicBezTo>
                  <a:pt x="397" y="472"/>
                  <a:pt x="398" y="471"/>
                  <a:pt x="398" y="471"/>
                </a:cubicBezTo>
                <a:cubicBezTo>
                  <a:pt x="399" y="471"/>
                  <a:pt x="398" y="472"/>
                  <a:pt x="398" y="473"/>
                </a:cubicBezTo>
                <a:cubicBezTo>
                  <a:pt x="398" y="473"/>
                  <a:pt x="399" y="473"/>
                  <a:pt x="399" y="474"/>
                </a:cubicBezTo>
                <a:cubicBezTo>
                  <a:pt x="399" y="474"/>
                  <a:pt x="400" y="474"/>
                  <a:pt x="400" y="474"/>
                </a:cubicBezTo>
                <a:cubicBezTo>
                  <a:pt x="400" y="473"/>
                  <a:pt x="400" y="472"/>
                  <a:pt x="399" y="471"/>
                </a:cubicBezTo>
                <a:cubicBezTo>
                  <a:pt x="400" y="470"/>
                  <a:pt x="400" y="469"/>
                  <a:pt x="400" y="469"/>
                </a:cubicBezTo>
                <a:cubicBezTo>
                  <a:pt x="401" y="467"/>
                  <a:pt x="401" y="466"/>
                  <a:pt x="401" y="465"/>
                </a:cubicBezTo>
                <a:cubicBezTo>
                  <a:pt x="401" y="465"/>
                  <a:pt x="402" y="465"/>
                  <a:pt x="401" y="465"/>
                </a:cubicBezTo>
                <a:cubicBezTo>
                  <a:pt x="400" y="464"/>
                  <a:pt x="401" y="463"/>
                  <a:pt x="401" y="462"/>
                </a:cubicBezTo>
                <a:cubicBezTo>
                  <a:pt x="402" y="461"/>
                  <a:pt x="401" y="460"/>
                  <a:pt x="402" y="460"/>
                </a:cubicBezTo>
                <a:cubicBezTo>
                  <a:pt x="402" y="460"/>
                  <a:pt x="402" y="459"/>
                  <a:pt x="403" y="459"/>
                </a:cubicBezTo>
                <a:cubicBezTo>
                  <a:pt x="403" y="459"/>
                  <a:pt x="403" y="457"/>
                  <a:pt x="403" y="457"/>
                </a:cubicBezTo>
                <a:cubicBezTo>
                  <a:pt x="403" y="456"/>
                  <a:pt x="403" y="456"/>
                  <a:pt x="403" y="456"/>
                </a:cubicBezTo>
                <a:cubicBezTo>
                  <a:pt x="403" y="455"/>
                  <a:pt x="403" y="455"/>
                  <a:pt x="403" y="454"/>
                </a:cubicBezTo>
                <a:cubicBezTo>
                  <a:pt x="402" y="454"/>
                  <a:pt x="402" y="454"/>
                  <a:pt x="401" y="454"/>
                </a:cubicBezTo>
                <a:cubicBezTo>
                  <a:pt x="401" y="454"/>
                  <a:pt x="401" y="453"/>
                  <a:pt x="401" y="453"/>
                </a:cubicBezTo>
                <a:cubicBezTo>
                  <a:pt x="400" y="453"/>
                  <a:pt x="401" y="453"/>
                  <a:pt x="400" y="453"/>
                </a:cubicBezTo>
                <a:cubicBezTo>
                  <a:pt x="399" y="453"/>
                  <a:pt x="397" y="453"/>
                  <a:pt x="396" y="454"/>
                </a:cubicBezTo>
                <a:cubicBezTo>
                  <a:pt x="396" y="454"/>
                  <a:pt x="395" y="455"/>
                  <a:pt x="395" y="455"/>
                </a:cubicBezTo>
                <a:cubicBezTo>
                  <a:pt x="395" y="455"/>
                  <a:pt x="394" y="455"/>
                  <a:pt x="394" y="455"/>
                </a:cubicBezTo>
                <a:cubicBezTo>
                  <a:pt x="393" y="456"/>
                  <a:pt x="393" y="456"/>
                  <a:pt x="392" y="456"/>
                </a:cubicBezTo>
                <a:cubicBezTo>
                  <a:pt x="392" y="456"/>
                  <a:pt x="392" y="457"/>
                  <a:pt x="392" y="457"/>
                </a:cubicBezTo>
                <a:cubicBezTo>
                  <a:pt x="391" y="457"/>
                  <a:pt x="390" y="457"/>
                  <a:pt x="390" y="457"/>
                </a:cubicBezTo>
                <a:cubicBezTo>
                  <a:pt x="389" y="457"/>
                  <a:pt x="390" y="457"/>
                  <a:pt x="390" y="457"/>
                </a:cubicBezTo>
                <a:cubicBezTo>
                  <a:pt x="388" y="457"/>
                  <a:pt x="388" y="458"/>
                  <a:pt x="388" y="459"/>
                </a:cubicBezTo>
                <a:cubicBezTo>
                  <a:pt x="388" y="461"/>
                  <a:pt x="387" y="462"/>
                  <a:pt x="387" y="464"/>
                </a:cubicBezTo>
                <a:cubicBezTo>
                  <a:pt x="387" y="464"/>
                  <a:pt x="387" y="464"/>
                  <a:pt x="386" y="465"/>
                </a:cubicBezTo>
                <a:cubicBezTo>
                  <a:pt x="386" y="465"/>
                  <a:pt x="386" y="466"/>
                  <a:pt x="386" y="466"/>
                </a:cubicBezTo>
                <a:cubicBezTo>
                  <a:pt x="385" y="466"/>
                  <a:pt x="386" y="468"/>
                  <a:pt x="386" y="468"/>
                </a:cubicBezTo>
                <a:cubicBezTo>
                  <a:pt x="386" y="469"/>
                  <a:pt x="385" y="469"/>
                  <a:pt x="384" y="469"/>
                </a:cubicBezTo>
                <a:cubicBezTo>
                  <a:pt x="384" y="470"/>
                  <a:pt x="383" y="470"/>
                  <a:pt x="383" y="471"/>
                </a:cubicBezTo>
                <a:cubicBezTo>
                  <a:pt x="382" y="472"/>
                  <a:pt x="382" y="472"/>
                  <a:pt x="382" y="472"/>
                </a:cubicBezTo>
                <a:cubicBezTo>
                  <a:pt x="381" y="472"/>
                  <a:pt x="381" y="472"/>
                  <a:pt x="381" y="472"/>
                </a:cubicBezTo>
                <a:cubicBezTo>
                  <a:pt x="380" y="472"/>
                  <a:pt x="380" y="471"/>
                  <a:pt x="380" y="471"/>
                </a:cubicBezTo>
                <a:cubicBezTo>
                  <a:pt x="379" y="471"/>
                  <a:pt x="378" y="471"/>
                  <a:pt x="377" y="471"/>
                </a:cubicBezTo>
                <a:cubicBezTo>
                  <a:pt x="377" y="471"/>
                  <a:pt x="377" y="471"/>
                  <a:pt x="377" y="471"/>
                </a:cubicBezTo>
                <a:cubicBezTo>
                  <a:pt x="376" y="471"/>
                  <a:pt x="375" y="472"/>
                  <a:pt x="375" y="474"/>
                </a:cubicBezTo>
                <a:cubicBezTo>
                  <a:pt x="374" y="473"/>
                  <a:pt x="371" y="473"/>
                  <a:pt x="372" y="474"/>
                </a:cubicBezTo>
                <a:cubicBezTo>
                  <a:pt x="371" y="474"/>
                  <a:pt x="370" y="474"/>
                  <a:pt x="369" y="474"/>
                </a:cubicBezTo>
                <a:cubicBezTo>
                  <a:pt x="368" y="474"/>
                  <a:pt x="367" y="475"/>
                  <a:pt x="367" y="474"/>
                </a:cubicBezTo>
                <a:cubicBezTo>
                  <a:pt x="367" y="473"/>
                  <a:pt x="367" y="473"/>
                  <a:pt x="366" y="472"/>
                </a:cubicBezTo>
                <a:cubicBezTo>
                  <a:pt x="366" y="472"/>
                  <a:pt x="366" y="472"/>
                  <a:pt x="365" y="472"/>
                </a:cubicBezTo>
                <a:cubicBezTo>
                  <a:pt x="364" y="471"/>
                  <a:pt x="365" y="471"/>
                  <a:pt x="365" y="471"/>
                </a:cubicBezTo>
                <a:cubicBezTo>
                  <a:pt x="364" y="471"/>
                  <a:pt x="364" y="471"/>
                  <a:pt x="364" y="471"/>
                </a:cubicBezTo>
                <a:cubicBezTo>
                  <a:pt x="363" y="471"/>
                  <a:pt x="361" y="472"/>
                  <a:pt x="361" y="470"/>
                </a:cubicBezTo>
                <a:cubicBezTo>
                  <a:pt x="361" y="470"/>
                  <a:pt x="360" y="469"/>
                  <a:pt x="360" y="468"/>
                </a:cubicBezTo>
                <a:cubicBezTo>
                  <a:pt x="359" y="467"/>
                  <a:pt x="359" y="467"/>
                  <a:pt x="359" y="466"/>
                </a:cubicBezTo>
                <a:cubicBezTo>
                  <a:pt x="359" y="464"/>
                  <a:pt x="359" y="465"/>
                  <a:pt x="358" y="465"/>
                </a:cubicBezTo>
                <a:cubicBezTo>
                  <a:pt x="357" y="464"/>
                  <a:pt x="357" y="463"/>
                  <a:pt x="356" y="463"/>
                </a:cubicBezTo>
                <a:cubicBezTo>
                  <a:pt x="356" y="463"/>
                  <a:pt x="356" y="462"/>
                  <a:pt x="356" y="462"/>
                </a:cubicBezTo>
                <a:cubicBezTo>
                  <a:pt x="356" y="462"/>
                  <a:pt x="356" y="462"/>
                  <a:pt x="356" y="462"/>
                </a:cubicBezTo>
                <a:cubicBezTo>
                  <a:pt x="355" y="462"/>
                  <a:pt x="356" y="462"/>
                  <a:pt x="356" y="461"/>
                </a:cubicBezTo>
                <a:cubicBezTo>
                  <a:pt x="355" y="461"/>
                  <a:pt x="355" y="462"/>
                  <a:pt x="355" y="461"/>
                </a:cubicBezTo>
                <a:cubicBezTo>
                  <a:pt x="355" y="461"/>
                  <a:pt x="355" y="460"/>
                  <a:pt x="354" y="460"/>
                </a:cubicBezTo>
                <a:cubicBezTo>
                  <a:pt x="353" y="460"/>
                  <a:pt x="354" y="459"/>
                  <a:pt x="354" y="458"/>
                </a:cubicBezTo>
                <a:cubicBezTo>
                  <a:pt x="354" y="458"/>
                  <a:pt x="353" y="457"/>
                  <a:pt x="353" y="457"/>
                </a:cubicBezTo>
                <a:cubicBezTo>
                  <a:pt x="353" y="456"/>
                  <a:pt x="353" y="456"/>
                  <a:pt x="352" y="455"/>
                </a:cubicBezTo>
                <a:cubicBezTo>
                  <a:pt x="352" y="455"/>
                  <a:pt x="352" y="456"/>
                  <a:pt x="351" y="456"/>
                </a:cubicBezTo>
                <a:cubicBezTo>
                  <a:pt x="351" y="455"/>
                  <a:pt x="351" y="454"/>
                  <a:pt x="352" y="454"/>
                </a:cubicBezTo>
                <a:cubicBezTo>
                  <a:pt x="352" y="453"/>
                  <a:pt x="352" y="451"/>
                  <a:pt x="351" y="450"/>
                </a:cubicBezTo>
                <a:cubicBezTo>
                  <a:pt x="352" y="450"/>
                  <a:pt x="352" y="448"/>
                  <a:pt x="353" y="447"/>
                </a:cubicBezTo>
                <a:cubicBezTo>
                  <a:pt x="352" y="447"/>
                  <a:pt x="352" y="445"/>
                  <a:pt x="352" y="444"/>
                </a:cubicBezTo>
                <a:cubicBezTo>
                  <a:pt x="352" y="444"/>
                  <a:pt x="352" y="444"/>
                  <a:pt x="352" y="443"/>
                </a:cubicBezTo>
                <a:cubicBezTo>
                  <a:pt x="352" y="443"/>
                  <a:pt x="352" y="443"/>
                  <a:pt x="351" y="443"/>
                </a:cubicBezTo>
                <a:cubicBezTo>
                  <a:pt x="351" y="443"/>
                  <a:pt x="351" y="442"/>
                  <a:pt x="351" y="442"/>
                </a:cubicBezTo>
                <a:cubicBezTo>
                  <a:pt x="352" y="440"/>
                  <a:pt x="351" y="438"/>
                  <a:pt x="351" y="437"/>
                </a:cubicBezTo>
                <a:cubicBezTo>
                  <a:pt x="351" y="437"/>
                  <a:pt x="351" y="437"/>
                  <a:pt x="351" y="437"/>
                </a:cubicBezTo>
                <a:cubicBezTo>
                  <a:pt x="351" y="436"/>
                  <a:pt x="351" y="435"/>
                  <a:pt x="351" y="435"/>
                </a:cubicBezTo>
                <a:cubicBezTo>
                  <a:pt x="351" y="434"/>
                  <a:pt x="352" y="434"/>
                  <a:pt x="352" y="434"/>
                </a:cubicBezTo>
                <a:cubicBezTo>
                  <a:pt x="352" y="433"/>
                  <a:pt x="352" y="432"/>
                  <a:pt x="353" y="432"/>
                </a:cubicBezTo>
                <a:cubicBezTo>
                  <a:pt x="354" y="432"/>
                  <a:pt x="354" y="431"/>
                  <a:pt x="355" y="430"/>
                </a:cubicBezTo>
                <a:cubicBezTo>
                  <a:pt x="355" y="429"/>
                  <a:pt x="355" y="429"/>
                  <a:pt x="354" y="429"/>
                </a:cubicBezTo>
                <a:cubicBezTo>
                  <a:pt x="354" y="428"/>
                  <a:pt x="354" y="428"/>
                  <a:pt x="354" y="427"/>
                </a:cubicBezTo>
                <a:cubicBezTo>
                  <a:pt x="354" y="427"/>
                  <a:pt x="354" y="426"/>
                  <a:pt x="354" y="426"/>
                </a:cubicBezTo>
                <a:cubicBezTo>
                  <a:pt x="353" y="426"/>
                  <a:pt x="353" y="427"/>
                  <a:pt x="353" y="426"/>
                </a:cubicBezTo>
                <a:cubicBezTo>
                  <a:pt x="353" y="425"/>
                  <a:pt x="353" y="425"/>
                  <a:pt x="353" y="425"/>
                </a:cubicBezTo>
                <a:cubicBezTo>
                  <a:pt x="353" y="425"/>
                  <a:pt x="353" y="424"/>
                  <a:pt x="353" y="424"/>
                </a:cubicBezTo>
                <a:cubicBezTo>
                  <a:pt x="353" y="424"/>
                  <a:pt x="352" y="424"/>
                  <a:pt x="352" y="424"/>
                </a:cubicBezTo>
                <a:cubicBezTo>
                  <a:pt x="352" y="423"/>
                  <a:pt x="352" y="423"/>
                  <a:pt x="352" y="423"/>
                </a:cubicBezTo>
                <a:cubicBezTo>
                  <a:pt x="352" y="422"/>
                  <a:pt x="352" y="421"/>
                  <a:pt x="352" y="420"/>
                </a:cubicBezTo>
                <a:cubicBezTo>
                  <a:pt x="352" y="420"/>
                  <a:pt x="352" y="420"/>
                  <a:pt x="351" y="420"/>
                </a:cubicBezTo>
                <a:cubicBezTo>
                  <a:pt x="352" y="419"/>
                  <a:pt x="352" y="419"/>
                  <a:pt x="352" y="419"/>
                </a:cubicBezTo>
                <a:cubicBezTo>
                  <a:pt x="353" y="419"/>
                  <a:pt x="353" y="419"/>
                  <a:pt x="353" y="418"/>
                </a:cubicBezTo>
                <a:cubicBezTo>
                  <a:pt x="353" y="417"/>
                  <a:pt x="353" y="416"/>
                  <a:pt x="354" y="416"/>
                </a:cubicBezTo>
                <a:cubicBezTo>
                  <a:pt x="354" y="416"/>
                  <a:pt x="354" y="416"/>
                  <a:pt x="355" y="416"/>
                </a:cubicBezTo>
                <a:cubicBezTo>
                  <a:pt x="355" y="415"/>
                  <a:pt x="355" y="415"/>
                  <a:pt x="355" y="415"/>
                </a:cubicBezTo>
                <a:cubicBezTo>
                  <a:pt x="355" y="415"/>
                  <a:pt x="356" y="415"/>
                  <a:pt x="356" y="415"/>
                </a:cubicBezTo>
                <a:cubicBezTo>
                  <a:pt x="357" y="415"/>
                  <a:pt x="357" y="414"/>
                  <a:pt x="357" y="414"/>
                </a:cubicBezTo>
                <a:cubicBezTo>
                  <a:pt x="358" y="414"/>
                  <a:pt x="358" y="414"/>
                  <a:pt x="358" y="414"/>
                </a:cubicBezTo>
                <a:cubicBezTo>
                  <a:pt x="358" y="413"/>
                  <a:pt x="358" y="413"/>
                  <a:pt x="358" y="412"/>
                </a:cubicBezTo>
                <a:cubicBezTo>
                  <a:pt x="359" y="412"/>
                  <a:pt x="359" y="412"/>
                  <a:pt x="360" y="411"/>
                </a:cubicBezTo>
                <a:cubicBezTo>
                  <a:pt x="360" y="411"/>
                  <a:pt x="361" y="411"/>
                  <a:pt x="362" y="412"/>
                </a:cubicBezTo>
                <a:cubicBezTo>
                  <a:pt x="362" y="411"/>
                  <a:pt x="363" y="411"/>
                  <a:pt x="363" y="410"/>
                </a:cubicBezTo>
                <a:cubicBezTo>
                  <a:pt x="363" y="410"/>
                  <a:pt x="363" y="411"/>
                  <a:pt x="364" y="411"/>
                </a:cubicBezTo>
                <a:cubicBezTo>
                  <a:pt x="364" y="410"/>
                  <a:pt x="363" y="409"/>
                  <a:pt x="364" y="408"/>
                </a:cubicBezTo>
                <a:cubicBezTo>
                  <a:pt x="365" y="408"/>
                  <a:pt x="365" y="407"/>
                  <a:pt x="365" y="406"/>
                </a:cubicBezTo>
                <a:cubicBezTo>
                  <a:pt x="365" y="406"/>
                  <a:pt x="366" y="407"/>
                  <a:pt x="366" y="407"/>
                </a:cubicBezTo>
                <a:cubicBezTo>
                  <a:pt x="367" y="407"/>
                  <a:pt x="367" y="407"/>
                  <a:pt x="367" y="407"/>
                </a:cubicBezTo>
                <a:cubicBezTo>
                  <a:pt x="367" y="407"/>
                  <a:pt x="367" y="407"/>
                  <a:pt x="367" y="407"/>
                </a:cubicBezTo>
                <a:cubicBezTo>
                  <a:pt x="368" y="407"/>
                  <a:pt x="368" y="406"/>
                  <a:pt x="369" y="406"/>
                </a:cubicBezTo>
                <a:cubicBezTo>
                  <a:pt x="370" y="406"/>
                  <a:pt x="371" y="406"/>
                  <a:pt x="371" y="405"/>
                </a:cubicBezTo>
                <a:cubicBezTo>
                  <a:pt x="371" y="405"/>
                  <a:pt x="371" y="406"/>
                  <a:pt x="372" y="405"/>
                </a:cubicBezTo>
                <a:cubicBezTo>
                  <a:pt x="373" y="405"/>
                  <a:pt x="373" y="405"/>
                  <a:pt x="373" y="405"/>
                </a:cubicBezTo>
                <a:cubicBezTo>
                  <a:pt x="374" y="405"/>
                  <a:pt x="374" y="405"/>
                  <a:pt x="374" y="405"/>
                </a:cubicBezTo>
                <a:cubicBezTo>
                  <a:pt x="375" y="405"/>
                  <a:pt x="376" y="405"/>
                  <a:pt x="376" y="406"/>
                </a:cubicBezTo>
                <a:cubicBezTo>
                  <a:pt x="377" y="406"/>
                  <a:pt x="378" y="405"/>
                  <a:pt x="379" y="405"/>
                </a:cubicBezTo>
                <a:cubicBezTo>
                  <a:pt x="379" y="405"/>
                  <a:pt x="379" y="406"/>
                  <a:pt x="379" y="406"/>
                </a:cubicBezTo>
                <a:cubicBezTo>
                  <a:pt x="379" y="407"/>
                  <a:pt x="380" y="406"/>
                  <a:pt x="380" y="407"/>
                </a:cubicBezTo>
                <a:cubicBezTo>
                  <a:pt x="381" y="407"/>
                  <a:pt x="381" y="408"/>
                  <a:pt x="381" y="407"/>
                </a:cubicBezTo>
                <a:cubicBezTo>
                  <a:pt x="382" y="407"/>
                  <a:pt x="382" y="407"/>
                  <a:pt x="383" y="406"/>
                </a:cubicBezTo>
                <a:cubicBezTo>
                  <a:pt x="383" y="407"/>
                  <a:pt x="382" y="407"/>
                  <a:pt x="382" y="407"/>
                </a:cubicBezTo>
                <a:cubicBezTo>
                  <a:pt x="382" y="408"/>
                  <a:pt x="382" y="408"/>
                  <a:pt x="382" y="409"/>
                </a:cubicBezTo>
                <a:cubicBezTo>
                  <a:pt x="382" y="409"/>
                  <a:pt x="383" y="409"/>
                  <a:pt x="383" y="409"/>
                </a:cubicBezTo>
                <a:cubicBezTo>
                  <a:pt x="384" y="410"/>
                  <a:pt x="384" y="410"/>
                  <a:pt x="385" y="410"/>
                </a:cubicBezTo>
                <a:cubicBezTo>
                  <a:pt x="385" y="410"/>
                  <a:pt x="385" y="409"/>
                  <a:pt x="386" y="409"/>
                </a:cubicBezTo>
                <a:cubicBezTo>
                  <a:pt x="386" y="409"/>
                  <a:pt x="386" y="409"/>
                  <a:pt x="387" y="409"/>
                </a:cubicBezTo>
                <a:cubicBezTo>
                  <a:pt x="387" y="408"/>
                  <a:pt x="386" y="408"/>
                  <a:pt x="386" y="407"/>
                </a:cubicBezTo>
                <a:cubicBezTo>
                  <a:pt x="386" y="406"/>
                  <a:pt x="387" y="406"/>
                  <a:pt x="387" y="406"/>
                </a:cubicBezTo>
                <a:cubicBezTo>
                  <a:pt x="388" y="406"/>
                  <a:pt x="389" y="407"/>
                  <a:pt x="390" y="407"/>
                </a:cubicBezTo>
                <a:cubicBezTo>
                  <a:pt x="391" y="407"/>
                  <a:pt x="390" y="408"/>
                  <a:pt x="391" y="408"/>
                </a:cubicBezTo>
                <a:cubicBezTo>
                  <a:pt x="392" y="409"/>
                  <a:pt x="393" y="408"/>
                  <a:pt x="393" y="409"/>
                </a:cubicBezTo>
                <a:cubicBezTo>
                  <a:pt x="393" y="410"/>
                  <a:pt x="393" y="410"/>
                  <a:pt x="394" y="410"/>
                </a:cubicBezTo>
                <a:cubicBezTo>
                  <a:pt x="395" y="410"/>
                  <a:pt x="394" y="409"/>
                  <a:pt x="394" y="408"/>
                </a:cubicBezTo>
                <a:cubicBezTo>
                  <a:pt x="394" y="407"/>
                  <a:pt x="392" y="408"/>
                  <a:pt x="392" y="407"/>
                </a:cubicBezTo>
                <a:cubicBezTo>
                  <a:pt x="392" y="406"/>
                  <a:pt x="393" y="406"/>
                  <a:pt x="394" y="406"/>
                </a:cubicBezTo>
                <a:cubicBezTo>
                  <a:pt x="394" y="405"/>
                  <a:pt x="393" y="405"/>
                  <a:pt x="393" y="404"/>
                </a:cubicBezTo>
                <a:cubicBezTo>
                  <a:pt x="393" y="404"/>
                  <a:pt x="392" y="405"/>
                  <a:pt x="392" y="405"/>
                </a:cubicBezTo>
                <a:cubicBezTo>
                  <a:pt x="392" y="404"/>
                  <a:pt x="391" y="404"/>
                  <a:pt x="391" y="404"/>
                </a:cubicBezTo>
                <a:cubicBezTo>
                  <a:pt x="391" y="404"/>
                  <a:pt x="390" y="404"/>
                  <a:pt x="390" y="404"/>
                </a:cubicBezTo>
                <a:cubicBezTo>
                  <a:pt x="390" y="403"/>
                  <a:pt x="389" y="403"/>
                  <a:pt x="388" y="403"/>
                </a:cubicBezTo>
                <a:cubicBezTo>
                  <a:pt x="389" y="402"/>
                  <a:pt x="390" y="402"/>
                  <a:pt x="391" y="403"/>
                </a:cubicBezTo>
                <a:cubicBezTo>
                  <a:pt x="392" y="403"/>
                  <a:pt x="392" y="402"/>
                  <a:pt x="392" y="402"/>
                </a:cubicBezTo>
                <a:cubicBezTo>
                  <a:pt x="393" y="401"/>
                  <a:pt x="394" y="401"/>
                  <a:pt x="395" y="401"/>
                </a:cubicBezTo>
                <a:cubicBezTo>
                  <a:pt x="395" y="402"/>
                  <a:pt x="396" y="401"/>
                  <a:pt x="396" y="401"/>
                </a:cubicBezTo>
                <a:cubicBezTo>
                  <a:pt x="397" y="402"/>
                  <a:pt x="396" y="402"/>
                  <a:pt x="397" y="402"/>
                </a:cubicBezTo>
                <a:cubicBezTo>
                  <a:pt x="397" y="402"/>
                  <a:pt x="397" y="402"/>
                  <a:pt x="397" y="402"/>
                </a:cubicBezTo>
                <a:cubicBezTo>
                  <a:pt x="398" y="402"/>
                  <a:pt x="399" y="402"/>
                  <a:pt x="399" y="401"/>
                </a:cubicBezTo>
                <a:cubicBezTo>
                  <a:pt x="399" y="401"/>
                  <a:pt x="399" y="400"/>
                  <a:pt x="399" y="400"/>
                </a:cubicBezTo>
                <a:cubicBezTo>
                  <a:pt x="400" y="400"/>
                  <a:pt x="399" y="403"/>
                  <a:pt x="400" y="403"/>
                </a:cubicBezTo>
                <a:cubicBezTo>
                  <a:pt x="400" y="403"/>
                  <a:pt x="401" y="403"/>
                  <a:pt x="401" y="402"/>
                </a:cubicBezTo>
                <a:cubicBezTo>
                  <a:pt x="401" y="401"/>
                  <a:pt x="403" y="402"/>
                  <a:pt x="403" y="401"/>
                </a:cubicBezTo>
                <a:cubicBezTo>
                  <a:pt x="403" y="401"/>
                  <a:pt x="403" y="400"/>
                  <a:pt x="403" y="400"/>
                </a:cubicBezTo>
                <a:cubicBezTo>
                  <a:pt x="404" y="401"/>
                  <a:pt x="404" y="402"/>
                  <a:pt x="405" y="402"/>
                </a:cubicBezTo>
                <a:cubicBezTo>
                  <a:pt x="405" y="402"/>
                  <a:pt x="405" y="401"/>
                  <a:pt x="405" y="401"/>
                </a:cubicBezTo>
                <a:cubicBezTo>
                  <a:pt x="406" y="401"/>
                  <a:pt x="407" y="401"/>
                  <a:pt x="407" y="401"/>
                </a:cubicBezTo>
                <a:cubicBezTo>
                  <a:pt x="407" y="402"/>
                  <a:pt x="407" y="402"/>
                  <a:pt x="407" y="403"/>
                </a:cubicBezTo>
                <a:cubicBezTo>
                  <a:pt x="408" y="403"/>
                  <a:pt x="409" y="404"/>
                  <a:pt x="410" y="404"/>
                </a:cubicBezTo>
                <a:cubicBezTo>
                  <a:pt x="410" y="404"/>
                  <a:pt x="411" y="404"/>
                  <a:pt x="411" y="404"/>
                </a:cubicBezTo>
                <a:cubicBezTo>
                  <a:pt x="411" y="404"/>
                  <a:pt x="411" y="405"/>
                  <a:pt x="412" y="405"/>
                </a:cubicBezTo>
                <a:cubicBezTo>
                  <a:pt x="412" y="405"/>
                  <a:pt x="412" y="405"/>
                  <a:pt x="413" y="405"/>
                </a:cubicBezTo>
                <a:cubicBezTo>
                  <a:pt x="413" y="406"/>
                  <a:pt x="413" y="406"/>
                  <a:pt x="415" y="406"/>
                </a:cubicBezTo>
                <a:cubicBezTo>
                  <a:pt x="415" y="406"/>
                  <a:pt x="415" y="406"/>
                  <a:pt x="415" y="406"/>
                </a:cubicBezTo>
                <a:cubicBezTo>
                  <a:pt x="416" y="406"/>
                  <a:pt x="416" y="406"/>
                  <a:pt x="417" y="405"/>
                </a:cubicBezTo>
                <a:cubicBezTo>
                  <a:pt x="417" y="404"/>
                  <a:pt x="418" y="404"/>
                  <a:pt x="419" y="404"/>
                </a:cubicBezTo>
                <a:cubicBezTo>
                  <a:pt x="420" y="405"/>
                  <a:pt x="420" y="406"/>
                  <a:pt x="420" y="406"/>
                </a:cubicBezTo>
                <a:cubicBezTo>
                  <a:pt x="420" y="407"/>
                  <a:pt x="421" y="407"/>
                  <a:pt x="421" y="408"/>
                </a:cubicBezTo>
                <a:cubicBezTo>
                  <a:pt x="421" y="408"/>
                  <a:pt x="422" y="409"/>
                  <a:pt x="422" y="409"/>
                </a:cubicBezTo>
                <a:cubicBezTo>
                  <a:pt x="423" y="409"/>
                  <a:pt x="423" y="409"/>
                  <a:pt x="423" y="410"/>
                </a:cubicBezTo>
                <a:cubicBezTo>
                  <a:pt x="423" y="411"/>
                  <a:pt x="423" y="413"/>
                  <a:pt x="424" y="414"/>
                </a:cubicBezTo>
                <a:cubicBezTo>
                  <a:pt x="423" y="414"/>
                  <a:pt x="423" y="416"/>
                  <a:pt x="423" y="417"/>
                </a:cubicBezTo>
                <a:cubicBezTo>
                  <a:pt x="423" y="418"/>
                  <a:pt x="423" y="418"/>
                  <a:pt x="424" y="418"/>
                </a:cubicBezTo>
                <a:cubicBezTo>
                  <a:pt x="424" y="418"/>
                  <a:pt x="425" y="416"/>
                  <a:pt x="425" y="416"/>
                </a:cubicBezTo>
                <a:cubicBezTo>
                  <a:pt x="425" y="416"/>
                  <a:pt x="426" y="416"/>
                  <a:pt x="426" y="416"/>
                </a:cubicBezTo>
                <a:cubicBezTo>
                  <a:pt x="426" y="418"/>
                  <a:pt x="426" y="419"/>
                  <a:pt x="425" y="420"/>
                </a:cubicBezTo>
                <a:cubicBezTo>
                  <a:pt x="425" y="421"/>
                  <a:pt x="425" y="422"/>
                  <a:pt x="425" y="422"/>
                </a:cubicBezTo>
                <a:cubicBezTo>
                  <a:pt x="426" y="423"/>
                  <a:pt x="426" y="423"/>
                  <a:pt x="427" y="423"/>
                </a:cubicBezTo>
                <a:cubicBezTo>
                  <a:pt x="428" y="423"/>
                  <a:pt x="428" y="424"/>
                  <a:pt x="428" y="425"/>
                </a:cubicBezTo>
                <a:cubicBezTo>
                  <a:pt x="428" y="425"/>
                  <a:pt x="428" y="425"/>
                  <a:pt x="428" y="425"/>
                </a:cubicBezTo>
                <a:cubicBezTo>
                  <a:pt x="429" y="426"/>
                  <a:pt x="428" y="426"/>
                  <a:pt x="428" y="426"/>
                </a:cubicBezTo>
                <a:cubicBezTo>
                  <a:pt x="428" y="426"/>
                  <a:pt x="429" y="426"/>
                  <a:pt x="429" y="426"/>
                </a:cubicBezTo>
                <a:cubicBezTo>
                  <a:pt x="429" y="427"/>
                  <a:pt x="429" y="427"/>
                  <a:pt x="429" y="427"/>
                </a:cubicBezTo>
                <a:cubicBezTo>
                  <a:pt x="429" y="428"/>
                  <a:pt x="429" y="428"/>
                  <a:pt x="429" y="428"/>
                </a:cubicBezTo>
                <a:cubicBezTo>
                  <a:pt x="430" y="429"/>
                  <a:pt x="430" y="430"/>
                  <a:pt x="431" y="431"/>
                </a:cubicBezTo>
                <a:cubicBezTo>
                  <a:pt x="432" y="431"/>
                  <a:pt x="433" y="432"/>
                  <a:pt x="433" y="433"/>
                </a:cubicBezTo>
                <a:cubicBezTo>
                  <a:pt x="433" y="432"/>
                  <a:pt x="433" y="432"/>
                  <a:pt x="434" y="433"/>
                </a:cubicBezTo>
                <a:cubicBezTo>
                  <a:pt x="434" y="432"/>
                  <a:pt x="434" y="432"/>
                  <a:pt x="434" y="431"/>
                </a:cubicBezTo>
                <a:cubicBezTo>
                  <a:pt x="434" y="431"/>
                  <a:pt x="434" y="431"/>
                  <a:pt x="434" y="431"/>
                </a:cubicBezTo>
                <a:cubicBezTo>
                  <a:pt x="434" y="431"/>
                  <a:pt x="434" y="431"/>
                  <a:pt x="434" y="430"/>
                </a:cubicBezTo>
                <a:cubicBezTo>
                  <a:pt x="434" y="430"/>
                  <a:pt x="435" y="430"/>
                  <a:pt x="435" y="429"/>
                </a:cubicBezTo>
                <a:cubicBezTo>
                  <a:pt x="435" y="428"/>
                  <a:pt x="435" y="429"/>
                  <a:pt x="435" y="428"/>
                </a:cubicBezTo>
                <a:cubicBezTo>
                  <a:pt x="435" y="427"/>
                  <a:pt x="435" y="426"/>
                  <a:pt x="435" y="425"/>
                </a:cubicBezTo>
                <a:cubicBezTo>
                  <a:pt x="435" y="425"/>
                  <a:pt x="436" y="426"/>
                  <a:pt x="436" y="425"/>
                </a:cubicBezTo>
                <a:cubicBezTo>
                  <a:pt x="436" y="425"/>
                  <a:pt x="436" y="425"/>
                  <a:pt x="436" y="424"/>
                </a:cubicBezTo>
                <a:cubicBezTo>
                  <a:pt x="436" y="424"/>
                  <a:pt x="436" y="424"/>
                  <a:pt x="436" y="424"/>
                </a:cubicBezTo>
                <a:cubicBezTo>
                  <a:pt x="436" y="423"/>
                  <a:pt x="436" y="424"/>
                  <a:pt x="436" y="424"/>
                </a:cubicBezTo>
                <a:cubicBezTo>
                  <a:pt x="436" y="423"/>
                  <a:pt x="436" y="422"/>
                  <a:pt x="435" y="421"/>
                </a:cubicBezTo>
                <a:cubicBezTo>
                  <a:pt x="435" y="421"/>
                  <a:pt x="435" y="420"/>
                  <a:pt x="435" y="419"/>
                </a:cubicBezTo>
                <a:cubicBezTo>
                  <a:pt x="435" y="418"/>
                  <a:pt x="435" y="418"/>
                  <a:pt x="434" y="417"/>
                </a:cubicBezTo>
                <a:cubicBezTo>
                  <a:pt x="434" y="417"/>
                  <a:pt x="434" y="417"/>
                  <a:pt x="434" y="416"/>
                </a:cubicBezTo>
                <a:cubicBezTo>
                  <a:pt x="433" y="416"/>
                  <a:pt x="433" y="415"/>
                  <a:pt x="433" y="414"/>
                </a:cubicBezTo>
                <a:cubicBezTo>
                  <a:pt x="433" y="414"/>
                  <a:pt x="433" y="414"/>
                  <a:pt x="433" y="414"/>
                </a:cubicBezTo>
                <a:cubicBezTo>
                  <a:pt x="432" y="413"/>
                  <a:pt x="432" y="413"/>
                  <a:pt x="432" y="411"/>
                </a:cubicBezTo>
                <a:cubicBezTo>
                  <a:pt x="432" y="411"/>
                  <a:pt x="432" y="410"/>
                  <a:pt x="432" y="410"/>
                </a:cubicBezTo>
                <a:cubicBezTo>
                  <a:pt x="432" y="410"/>
                  <a:pt x="431" y="409"/>
                  <a:pt x="431" y="408"/>
                </a:cubicBezTo>
                <a:cubicBezTo>
                  <a:pt x="431" y="407"/>
                  <a:pt x="431" y="408"/>
                  <a:pt x="431" y="407"/>
                </a:cubicBezTo>
                <a:cubicBezTo>
                  <a:pt x="431" y="406"/>
                  <a:pt x="431" y="405"/>
                  <a:pt x="431" y="404"/>
                </a:cubicBezTo>
                <a:cubicBezTo>
                  <a:pt x="430" y="404"/>
                  <a:pt x="430" y="405"/>
                  <a:pt x="430" y="404"/>
                </a:cubicBezTo>
                <a:cubicBezTo>
                  <a:pt x="430" y="404"/>
                  <a:pt x="430" y="403"/>
                  <a:pt x="430" y="403"/>
                </a:cubicBezTo>
                <a:cubicBezTo>
                  <a:pt x="429" y="403"/>
                  <a:pt x="429" y="402"/>
                  <a:pt x="429" y="402"/>
                </a:cubicBezTo>
                <a:cubicBezTo>
                  <a:pt x="429" y="401"/>
                  <a:pt x="430" y="401"/>
                  <a:pt x="430" y="400"/>
                </a:cubicBezTo>
                <a:cubicBezTo>
                  <a:pt x="430" y="400"/>
                  <a:pt x="430" y="399"/>
                  <a:pt x="430" y="398"/>
                </a:cubicBezTo>
                <a:cubicBezTo>
                  <a:pt x="432" y="399"/>
                  <a:pt x="430" y="394"/>
                  <a:pt x="432" y="395"/>
                </a:cubicBezTo>
                <a:cubicBezTo>
                  <a:pt x="431" y="394"/>
                  <a:pt x="431" y="394"/>
                  <a:pt x="431" y="394"/>
                </a:cubicBezTo>
                <a:cubicBezTo>
                  <a:pt x="432" y="393"/>
                  <a:pt x="432" y="393"/>
                  <a:pt x="433" y="393"/>
                </a:cubicBezTo>
                <a:cubicBezTo>
                  <a:pt x="433" y="392"/>
                  <a:pt x="433" y="392"/>
                  <a:pt x="433" y="391"/>
                </a:cubicBezTo>
                <a:cubicBezTo>
                  <a:pt x="434" y="391"/>
                  <a:pt x="435" y="391"/>
                  <a:pt x="435" y="389"/>
                </a:cubicBezTo>
                <a:cubicBezTo>
                  <a:pt x="436" y="389"/>
                  <a:pt x="436" y="389"/>
                  <a:pt x="437" y="389"/>
                </a:cubicBezTo>
                <a:cubicBezTo>
                  <a:pt x="437" y="388"/>
                  <a:pt x="439" y="388"/>
                  <a:pt x="439" y="387"/>
                </a:cubicBezTo>
                <a:cubicBezTo>
                  <a:pt x="439" y="386"/>
                  <a:pt x="439" y="386"/>
                  <a:pt x="440" y="386"/>
                </a:cubicBezTo>
                <a:cubicBezTo>
                  <a:pt x="441" y="386"/>
                  <a:pt x="440" y="383"/>
                  <a:pt x="441" y="384"/>
                </a:cubicBezTo>
                <a:cubicBezTo>
                  <a:pt x="443" y="384"/>
                  <a:pt x="444" y="382"/>
                  <a:pt x="445" y="382"/>
                </a:cubicBezTo>
                <a:cubicBezTo>
                  <a:pt x="446" y="382"/>
                  <a:pt x="446" y="382"/>
                  <a:pt x="446" y="381"/>
                </a:cubicBezTo>
                <a:cubicBezTo>
                  <a:pt x="447" y="381"/>
                  <a:pt x="447" y="381"/>
                  <a:pt x="447" y="381"/>
                </a:cubicBezTo>
                <a:cubicBezTo>
                  <a:pt x="447" y="380"/>
                  <a:pt x="448" y="380"/>
                  <a:pt x="448" y="380"/>
                </a:cubicBezTo>
                <a:cubicBezTo>
                  <a:pt x="449" y="379"/>
                  <a:pt x="448" y="379"/>
                  <a:pt x="449" y="378"/>
                </a:cubicBezTo>
                <a:cubicBezTo>
                  <a:pt x="449" y="378"/>
                  <a:pt x="450" y="377"/>
                  <a:pt x="450" y="377"/>
                </a:cubicBezTo>
                <a:cubicBezTo>
                  <a:pt x="451" y="377"/>
                  <a:pt x="450" y="375"/>
                  <a:pt x="450" y="375"/>
                </a:cubicBezTo>
                <a:cubicBezTo>
                  <a:pt x="450" y="375"/>
                  <a:pt x="451" y="375"/>
                  <a:pt x="451" y="375"/>
                </a:cubicBezTo>
                <a:cubicBezTo>
                  <a:pt x="452" y="375"/>
                  <a:pt x="451" y="374"/>
                  <a:pt x="452" y="374"/>
                </a:cubicBezTo>
                <a:cubicBezTo>
                  <a:pt x="452" y="373"/>
                  <a:pt x="450" y="373"/>
                  <a:pt x="450" y="372"/>
                </a:cubicBezTo>
                <a:cubicBezTo>
                  <a:pt x="451" y="372"/>
                  <a:pt x="452" y="372"/>
                  <a:pt x="453" y="371"/>
                </a:cubicBezTo>
                <a:cubicBezTo>
                  <a:pt x="453" y="373"/>
                  <a:pt x="454" y="373"/>
                  <a:pt x="455" y="372"/>
                </a:cubicBezTo>
                <a:cubicBezTo>
                  <a:pt x="456" y="372"/>
                  <a:pt x="456" y="372"/>
                  <a:pt x="456" y="372"/>
                </a:cubicBezTo>
                <a:cubicBezTo>
                  <a:pt x="456" y="371"/>
                  <a:pt x="455" y="372"/>
                  <a:pt x="455" y="371"/>
                </a:cubicBezTo>
                <a:cubicBezTo>
                  <a:pt x="455" y="371"/>
                  <a:pt x="455" y="370"/>
                  <a:pt x="455" y="370"/>
                </a:cubicBezTo>
                <a:cubicBezTo>
                  <a:pt x="454" y="370"/>
                  <a:pt x="454" y="370"/>
                  <a:pt x="453" y="370"/>
                </a:cubicBezTo>
                <a:cubicBezTo>
                  <a:pt x="452" y="370"/>
                  <a:pt x="452" y="369"/>
                  <a:pt x="453" y="369"/>
                </a:cubicBezTo>
                <a:cubicBezTo>
                  <a:pt x="454" y="368"/>
                  <a:pt x="454" y="368"/>
                  <a:pt x="455" y="368"/>
                </a:cubicBezTo>
                <a:cubicBezTo>
                  <a:pt x="455" y="367"/>
                  <a:pt x="455" y="367"/>
                  <a:pt x="454" y="367"/>
                </a:cubicBezTo>
                <a:cubicBezTo>
                  <a:pt x="454" y="366"/>
                  <a:pt x="455" y="365"/>
                  <a:pt x="455" y="365"/>
                </a:cubicBezTo>
                <a:cubicBezTo>
                  <a:pt x="454" y="365"/>
                  <a:pt x="454" y="365"/>
                  <a:pt x="454" y="365"/>
                </a:cubicBezTo>
                <a:cubicBezTo>
                  <a:pt x="453" y="364"/>
                  <a:pt x="452" y="364"/>
                  <a:pt x="451" y="363"/>
                </a:cubicBezTo>
                <a:cubicBezTo>
                  <a:pt x="451" y="363"/>
                  <a:pt x="451" y="363"/>
                  <a:pt x="451" y="363"/>
                </a:cubicBezTo>
                <a:cubicBezTo>
                  <a:pt x="451" y="362"/>
                  <a:pt x="451" y="362"/>
                  <a:pt x="450" y="362"/>
                </a:cubicBezTo>
                <a:cubicBezTo>
                  <a:pt x="450" y="361"/>
                  <a:pt x="453" y="361"/>
                  <a:pt x="453" y="361"/>
                </a:cubicBezTo>
                <a:cubicBezTo>
                  <a:pt x="453" y="360"/>
                  <a:pt x="452" y="359"/>
                  <a:pt x="451" y="359"/>
                </a:cubicBezTo>
                <a:cubicBezTo>
                  <a:pt x="450" y="358"/>
                  <a:pt x="452" y="358"/>
                  <a:pt x="452" y="358"/>
                </a:cubicBezTo>
                <a:cubicBezTo>
                  <a:pt x="453" y="358"/>
                  <a:pt x="451" y="357"/>
                  <a:pt x="451" y="357"/>
                </a:cubicBezTo>
                <a:cubicBezTo>
                  <a:pt x="451" y="356"/>
                  <a:pt x="451" y="356"/>
                  <a:pt x="450" y="356"/>
                </a:cubicBezTo>
                <a:cubicBezTo>
                  <a:pt x="450" y="356"/>
                  <a:pt x="450" y="356"/>
                  <a:pt x="450" y="355"/>
                </a:cubicBezTo>
                <a:cubicBezTo>
                  <a:pt x="450" y="355"/>
                  <a:pt x="450" y="355"/>
                  <a:pt x="451" y="355"/>
                </a:cubicBezTo>
                <a:cubicBezTo>
                  <a:pt x="451" y="354"/>
                  <a:pt x="450" y="354"/>
                  <a:pt x="450" y="353"/>
                </a:cubicBezTo>
                <a:cubicBezTo>
                  <a:pt x="452" y="353"/>
                  <a:pt x="451" y="349"/>
                  <a:pt x="452" y="350"/>
                </a:cubicBezTo>
                <a:cubicBezTo>
                  <a:pt x="452" y="349"/>
                  <a:pt x="451" y="347"/>
                  <a:pt x="452" y="347"/>
                </a:cubicBezTo>
                <a:cubicBezTo>
                  <a:pt x="453" y="347"/>
                  <a:pt x="453" y="347"/>
                  <a:pt x="454" y="346"/>
                </a:cubicBezTo>
                <a:cubicBezTo>
                  <a:pt x="455" y="346"/>
                  <a:pt x="455" y="346"/>
                  <a:pt x="456" y="347"/>
                </a:cubicBezTo>
                <a:cubicBezTo>
                  <a:pt x="456" y="346"/>
                  <a:pt x="456" y="346"/>
                  <a:pt x="456" y="345"/>
                </a:cubicBezTo>
                <a:cubicBezTo>
                  <a:pt x="457" y="345"/>
                  <a:pt x="457" y="345"/>
                  <a:pt x="457" y="346"/>
                </a:cubicBezTo>
                <a:cubicBezTo>
                  <a:pt x="457" y="347"/>
                  <a:pt x="457" y="347"/>
                  <a:pt x="456" y="347"/>
                </a:cubicBezTo>
                <a:cubicBezTo>
                  <a:pt x="456" y="347"/>
                  <a:pt x="455" y="348"/>
                  <a:pt x="455" y="348"/>
                </a:cubicBezTo>
                <a:cubicBezTo>
                  <a:pt x="455" y="349"/>
                  <a:pt x="454" y="349"/>
                  <a:pt x="454" y="350"/>
                </a:cubicBezTo>
                <a:cubicBezTo>
                  <a:pt x="454" y="350"/>
                  <a:pt x="455" y="350"/>
                  <a:pt x="455" y="350"/>
                </a:cubicBezTo>
                <a:cubicBezTo>
                  <a:pt x="455" y="351"/>
                  <a:pt x="453" y="351"/>
                  <a:pt x="453" y="352"/>
                </a:cubicBezTo>
                <a:cubicBezTo>
                  <a:pt x="453" y="353"/>
                  <a:pt x="454" y="353"/>
                  <a:pt x="453" y="354"/>
                </a:cubicBezTo>
                <a:cubicBezTo>
                  <a:pt x="453" y="354"/>
                  <a:pt x="453" y="355"/>
                  <a:pt x="454" y="355"/>
                </a:cubicBezTo>
                <a:cubicBezTo>
                  <a:pt x="453" y="355"/>
                  <a:pt x="453" y="356"/>
                  <a:pt x="453" y="356"/>
                </a:cubicBezTo>
                <a:cubicBezTo>
                  <a:pt x="454" y="356"/>
                  <a:pt x="454" y="357"/>
                  <a:pt x="454" y="357"/>
                </a:cubicBezTo>
                <a:cubicBezTo>
                  <a:pt x="455" y="357"/>
                  <a:pt x="454" y="356"/>
                  <a:pt x="455" y="356"/>
                </a:cubicBezTo>
                <a:cubicBezTo>
                  <a:pt x="455" y="356"/>
                  <a:pt x="456" y="356"/>
                  <a:pt x="456" y="356"/>
                </a:cubicBezTo>
                <a:cubicBezTo>
                  <a:pt x="456" y="357"/>
                  <a:pt x="456" y="357"/>
                  <a:pt x="456" y="358"/>
                </a:cubicBezTo>
                <a:cubicBezTo>
                  <a:pt x="457" y="357"/>
                  <a:pt x="458" y="357"/>
                  <a:pt x="459" y="357"/>
                </a:cubicBezTo>
                <a:cubicBezTo>
                  <a:pt x="459" y="356"/>
                  <a:pt x="459" y="356"/>
                  <a:pt x="459" y="355"/>
                </a:cubicBezTo>
                <a:cubicBezTo>
                  <a:pt x="459" y="355"/>
                  <a:pt x="459" y="355"/>
                  <a:pt x="459" y="354"/>
                </a:cubicBezTo>
                <a:cubicBezTo>
                  <a:pt x="459" y="354"/>
                  <a:pt x="459" y="355"/>
                  <a:pt x="460" y="354"/>
                </a:cubicBezTo>
                <a:cubicBezTo>
                  <a:pt x="460" y="354"/>
                  <a:pt x="460" y="353"/>
                  <a:pt x="460" y="353"/>
                </a:cubicBezTo>
                <a:cubicBezTo>
                  <a:pt x="460" y="353"/>
                  <a:pt x="459" y="353"/>
                  <a:pt x="459" y="353"/>
                </a:cubicBezTo>
                <a:cubicBezTo>
                  <a:pt x="459" y="352"/>
                  <a:pt x="459" y="352"/>
                  <a:pt x="460" y="352"/>
                </a:cubicBezTo>
                <a:cubicBezTo>
                  <a:pt x="460" y="351"/>
                  <a:pt x="460" y="351"/>
                  <a:pt x="459" y="350"/>
                </a:cubicBezTo>
                <a:cubicBezTo>
                  <a:pt x="458" y="350"/>
                  <a:pt x="458" y="348"/>
                  <a:pt x="458" y="347"/>
                </a:cubicBezTo>
                <a:cubicBezTo>
                  <a:pt x="459" y="348"/>
                  <a:pt x="460" y="348"/>
                  <a:pt x="461" y="349"/>
                </a:cubicBezTo>
                <a:cubicBezTo>
                  <a:pt x="461" y="349"/>
                  <a:pt x="462" y="349"/>
                  <a:pt x="463" y="349"/>
                </a:cubicBezTo>
                <a:cubicBezTo>
                  <a:pt x="463" y="349"/>
                  <a:pt x="464" y="346"/>
                  <a:pt x="465" y="345"/>
                </a:cubicBezTo>
                <a:cubicBezTo>
                  <a:pt x="465" y="345"/>
                  <a:pt x="465" y="345"/>
                  <a:pt x="466" y="345"/>
                </a:cubicBezTo>
                <a:cubicBezTo>
                  <a:pt x="466" y="345"/>
                  <a:pt x="466" y="344"/>
                  <a:pt x="466" y="343"/>
                </a:cubicBezTo>
                <a:cubicBezTo>
                  <a:pt x="467" y="342"/>
                  <a:pt x="467" y="341"/>
                  <a:pt x="466" y="340"/>
                </a:cubicBezTo>
                <a:cubicBezTo>
                  <a:pt x="466" y="340"/>
                  <a:pt x="465" y="340"/>
                  <a:pt x="465" y="340"/>
                </a:cubicBezTo>
                <a:cubicBezTo>
                  <a:pt x="465" y="339"/>
                  <a:pt x="465" y="339"/>
                  <a:pt x="466" y="339"/>
                </a:cubicBezTo>
                <a:cubicBezTo>
                  <a:pt x="466" y="339"/>
                  <a:pt x="466" y="338"/>
                  <a:pt x="467" y="338"/>
                </a:cubicBezTo>
                <a:cubicBezTo>
                  <a:pt x="467" y="338"/>
                  <a:pt x="468" y="337"/>
                  <a:pt x="468" y="337"/>
                </a:cubicBezTo>
                <a:cubicBezTo>
                  <a:pt x="468" y="336"/>
                  <a:pt x="468" y="336"/>
                  <a:pt x="468" y="336"/>
                </a:cubicBezTo>
                <a:cubicBezTo>
                  <a:pt x="469" y="335"/>
                  <a:pt x="469" y="335"/>
                  <a:pt x="469" y="335"/>
                </a:cubicBezTo>
                <a:cubicBezTo>
                  <a:pt x="470" y="335"/>
                  <a:pt x="470" y="335"/>
                  <a:pt x="471" y="334"/>
                </a:cubicBezTo>
                <a:cubicBezTo>
                  <a:pt x="472" y="335"/>
                  <a:pt x="473" y="334"/>
                  <a:pt x="474" y="334"/>
                </a:cubicBezTo>
                <a:cubicBezTo>
                  <a:pt x="474" y="333"/>
                  <a:pt x="476" y="333"/>
                  <a:pt x="477" y="333"/>
                </a:cubicBezTo>
                <a:cubicBezTo>
                  <a:pt x="477" y="333"/>
                  <a:pt x="476" y="334"/>
                  <a:pt x="477" y="334"/>
                </a:cubicBezTo>
                <a:cubicBezTo>
                  <a:pt x="477" y="334"/>
                  <a:pt x="478" y="334"/>
                  <a:pt x="478" y="334"/>
                </a:cubicBezTo>
                <a:cubicBezTo>
                  <a:pt x="478" y="333"/>
                  <a:pt x="478" y="334"/>
                  <a:pt x="478" y="333"/>
                </a:cubicBezTo>
                <a:cubicBezTo>
                  <a:pt x="478" y="332"/>
                  <a:pt x="477" y="332"/>
                  <a:pt x="477" y="332"/>
                </a:cubicBezTo>
                <a:cubicBezTo>
                  <a:pt x="478" y="332"/>
                  <a:pt x="478" y="331"/>
                  <a:pt x="478" y="331"/>
                </a:cubicBezTo>
                <a:cubicBezTo>
                  <a:pt x="479" y="331"/>
                  <a:pt x="480" y="331"/>
                  <a:pt x="480" y="331"/>
                </a:cubicBezTo>
                <a:cubicBezTo>
                  <a:pt x="480" y="332"/>
                  <a:pt x="480" y="332"/>
                  <a:pt x="481" y="332"/>
                </a:cubicBezTo>
                <a:cubicBezTo>
                  <a:pt x="481" y="332"/>
                  <a:pt x="482" y="332"/>
                  <a:pt x="482" y="332"/>
                </a:cubicBezTo>
                <a:cubicBezTo>
                  <a:pt x="482" y="332"/>
                  <a:pt x="482" y="331"/>
                  <a:pt x="482" y="331"/>
                </a:cubicBezTo>
                <a:cubicBezTo>
                  <a:pt x="482" y="331"/>
                  <a:pt x="483" y="331"/>
                  <a:pt x="484" y="331"/>
                </a:cubicBezTo>
                <a:cubicBezTo>
                  <a:pt x="483" y="331"/>
                  <a:pt x="483" y="331"/>
                  <a:pt x="483" y="330"/>
                </a:cubicBezTo>
                <a:cubicBezTo>
                  <a:pt x="482" y="330"/>
                  <a:pt x="482" y="330"/>
                  <a:pt x="481" y="330"/>
                </a:cubicBezTo>
                <a:cubicBezTo>
                  <a:pt x="481" y="330"/>
                  <a:pt x="481" y="329"/>
                  <a:pt x="481" y="329"/>
                </a:cubicBezTo>
                <a:cubicBezTo>
                  <a:pt x="480" y="328"/>
                  <a:pt x="480" y="329"/>
                  <a:pt x="480" y="328"/>
                </a:cubicBezTo>
                <a:cubicBezTo>
                  <a:pt x="480" y="328"/>
                  <a:pt x="482" y="327"/>
                  <a:pt x="482" y="327"/>
                </a:cubicBezTo>
                <a:cubicBezTo>
                  <a:pt x="482" y="326"/>
                  <a:pt x="481" y="326"/>
                  <a:pt x="481" y="325"/>
                </a:cubicBezTo>
                <a:cubicBezTo>
                  <a:pt x="481" y="325"/>
                  <a:pt x="482" y="325"/>
                  <a:pt x="482" y="324"/>
                </a:cubicBezTo>
                <a:cubicBezTo>
                  <a:pt x="483" y="324"/>
                  <a:pt x="482" y="324"/>
                  <a:pt x="482" y="323"/>
                </a:cubicBezTo>
                <a:cubicBezTo>
                  <a:pt x="482" y="323"/>
                  <a:pt x="483" y="323"/>
                  <a:pt x="483" y="323"/>
                </a:cubicBezTo>
                <a:cubicBezTo>
                  <a:pt x="484" y="323"/>
                  <a:pt x="484" y="323"/>
                  <a:pt x="484" y="322"/>
                </a:cubicBezTo>
                <a:cubicBezTo>
                  <a:pt x="484" y="322"/>
                  <a:pt x="483" y="322"/>
                  <a:pt x="483" y="322"/>
                </a:cubicBezTo>
                <a:cubicBezTo>
                  <a:pt x="483" y="321"/>
                  <a:pt x="484" y="320"/>
                  <a:pt x="484" y="319"/>
                </a:cubicBezTo>
                <a:cubicBezTo>
                  <a:pt x="485" y="319"/>
                  <a:pt x="486" y="319"/>
                  <a:pt x="486" y="320"/>
                </a:cubicBezTo>
                <a:cubicBezTo>
                  <a:pt x="487" y="319"/>
                  <a:pt x="486" y="319"/>
                  <a:pt x="487" y="319"/>
                </a:cubicBezTo>
                <a:cubicBezTo>
                  <a:pt x="487" y="320"/>
                  <a:pt x="488" y="320"/>
                  <a:pt x="488" y="319"/>
                </a:cubicBezTo>
                <a:cubicBezTo>
                  <a:pt x="489" y="319"/>
                  <a:pt x="489" y="319"/>
                  <a:pt x="490" y="319"/>
                </a:cubicBezTo>
                <a:cubicBezTo>
                  <a:pt x="490" y="318"/>
                  <a:pt x="490" y="317"/>
                  <a:pt x="491" y="316"/>
                </a:cubicBezTo>
                <a:cubicBezTo>
                  <a:pt x="491" y="316"/>
                  <a:pt x="491" y="315"/>
                  <a:pt x="491" y="315"/>
                </a:cubicBezTo>
                <a:cubicBezTo>
                  <a:pt x="491" y="315"/>
                  <a:pt x="492" y="317"/>
                  <a:pt x="492" y="317"/>
                </a:cubicBezTo>
                <a:cubicBezTo>
                  <a:pt x="492" y="317"/>
                  <a:pt x="493" y="317"/>
                  <a:pt x="492" y="316"/>
                </a:cubicBezTo>
                <a:cubicBezTo>
                  <a:pt x="493" y="316"/>
                  <a:pt x="493" y="316"/>
                  <a:pt x="493" y="316"/>
                </a:cubicBezTo>
                <a:cubicBezTo>
                  <a:pt x="493" y="316"/>
                  <a:pt x="494" y="317"/>
                  <a:pt x="495" y="317"/>
                </a:cubicBezTo>
                <a:cubicBezTo>
                  <a:pt x="495" y="317"/>
                  <a:pt x="495" y="317"/>
                  <a:pt x="495" y="317"/>
                </a:cubicBezTo>
                <a:cubicBezTo>
                  <a:pt x="496" y="317"/>
                  <a:pt x="496" y="316"/>
                  <a:pt x="496" y="316"/>
                </a:cubicBezTo>
                <a:cubicBezTo>
                  <a:pt x="497" y="315"/>
                  <a:pt x="497" y="314"/>
                  <a:pt x="498" y="315"/>
                </a:cubicBezTo>
                <a:cubicBezTo>
                  <a:pt x="498" y="314"/>
                  <a:pt x="497" y="311"/>
                  <a:pt x="497" y="311"/>
                </a:cubicBezTo>
                <a:cubicBezTo>
                  <a:pt x="498" y="310"/>
                  <a:pt x="501" y="312"/>
                  <a:pt x="501" y="312"/>
                </a:cubicBezTo>
                <a:cubicBezTo>
                  <a:pt x="502" y="311"/>
                  <a:pt x="502" y="312"/>
                  <a:pt x="503" y="312"/>
                </a:cubicBezTo>
                <a:cubicBezTo>
                  <a:pt x="503" y="311"/>
                  <a:pt x="502" y="311"/>
                  <a:pt x="503" y="311"/>
                </a:cubicBezTo>
                <a:cubicBezTo>
                  <a:pt x="503" y="311"/>
                  <a:pt x="503" y="311"/>
                  <a:pt x="503" y="311"/>
                </a:cubicBezTo>
                <a:cubicBezTo>
                  <a:pt x="503" y="310"/>
                  <a:pt x="501" y="310"/>
                  <a:pt x="502" y="309"/>
                </a:cubicBezTo>
                <a:cubicBezTo>
                  <a:pt x="503" y="309"/>
                  <a:pt x="503" y="308"/>
                  <a:pt x="504" y="308"/>
                </a:cubicBezTo>
                <a:cubicBezTo>
                  <a:pt x="504" y="308"/>
                  <a:pt x="504" y="309"/>
                  <a:pt x="503" y="310"/>
                </a:cubicBezTo>
                <a:cubicBezTo>
                  <a:pt x="504" y="310"/>
                  <a:pt x="504" y="310"/>
                  <a:pt x="504" y="311"/>
                </a:cubicBezTo>
                <a:cubicBezTo>
                  <a:pt x="505" y="310"/>
                  <a:pt x="505" y="310"/>
                  <a:pt x="505" y="310"/>
                </a:cubicBezTo>
                <a:cubicBezTo>
                  <a:pt x="506" y="309"/>
                  <a:pt x="506" y="309"/>
                  <a:pt x="506" y="309"/>
                </a:cubicBezTo>
                <a:cubicBezTo>
                  <a:pt x="506" y="308"/>
                  <a:pt x="506" y="308"/>
                  <a:pt x="507" y="308"/>
                </a:cubicBezTo>
                <a:cubicBezTo>
                  <a:pt x="508" y="308"/>
                  <a:pt x="508" y="306"/>
                  <a:pt x="508" y="305"/>
                </a:cubicBezTo>
                <a:cubicBezTo>
                  <a:pt x="509" y="305"/>
                  <a:pt x="509" y="305"/>
                  <a:pt x="510" y="305"/>
                </a:cubicBezTo>
                <a:cubicBezTo>
                  <a:pt x="510" y="306"/>
                  <a:pt x="510" y="306"/>
                  <a:pt x="509" y="306"/>
                </a:cubicBezTo>
                <a:cubicBezTo>
                  <a:pt x="509" y="307"/>
                  <a:pt x="509" y="307"/>
                  <a:pt x="510" y="307"/>
                </a:cubicBezTo>
                <a:cubicBezTo>
                  <a:pt x="509" y="307"/>
                  <a:pt x="509" y="308"/>
                  <a:pt x="508" y="308"/>
                </a:cubicBezTo>
                <a:cubicBezTo>
                  <a:pt x="508" y="309"/>
                  <a:pt x="509" y="309"/>
                  <a:pt x="508" y="309"/>
                </a:cubicBezTo>
                <a:cubicBezTo>
                  <a:pt x="508" y="309"/>
                  <a:pt x="508" y="310"/>
                  <a:pt x="508" y="310"/>
                </a:cubicBezTo>
                <a:cubicBezTo>
                  <a:pt x="509" y="309"/>
                  <a:pt x="516" y="308"/>
                  <a:pt x="516" y="309"/>
                </a:cubicBezTo>
                <a:cubicBezTo>
                  <a:pt x="515" y="309"/>
                  <a:pt x="514" y="309"/>
                  <a:pt x="514" y="310"/>
                </a:cubicBezTo>
                <a:cubicBezTo>
                  <a:pt x="514" y="311"/>
                  <a:pt x="514" y="310"/>
                  <a:pt x="513" y="311"/>
                </a:cubicBezTo>
                <a:cubicBezTo>
                  <a:pt x="513" y="311"/>
                  <a:pt x="512" y="311"/>
                  <a:pt x="512" y="312"/>
                </a:cubicBezTo>
                <a:cubicBezTo>
                  <a:pt x="511" y="312"/>
                  <a:pt x="511" y="312"/>
                  <a:pt x="511" y="311"/>
                </a:cubicBezTo>
                <a:cubicBezTo>
                  <a:pt x="510" y="311"/>
                  <a:pt x="508" y="311"/>
                  <a:pt x="508" y="312"/>
                </a:cubicBezTo>
                <a:cubicBezTo>
                  <a:pt x="506" y="312"/>
                  <a:pt x="507" y="312"/>
                  <a:pt x="506" y="313"/>
                </a:cubicBezTo>
                <a:cubicBezTo>
                  <a:pt x="506" y="314"/>
                  <a:pt x="505" y="314"/>
                  <a:pt x="504" y="314"/>
                </a:cubicBezTo>
                <a:cubicBezTo>
                  <a:pt x="504" y="314"/>
                  <a:pt x="504" y="315"/>
                  <a:pt x="504" y="315"/>
                </a:cubicBezTo>
                <a:cubicBezTo>
                  <a:pt x="503" y="315"/>
                  <a:pt x="502" y="316"/>
                  <a:pt x="502" y="317"/>
                </a:cubicBezTo>
                <a:cubicBezTo>
                  <a:pt x="502" y="318"/>
                  <a:pt x="501" y="318"/>
                  <a:pt x="502" y="319"/>
                </a:cubicBezTo>
                <a:cubicBezTo>
                  <a:pt x="502" y="319"/>
                  <a:pt x="502" y="320"/>
                  <a:pt x="502" y="320"/>
                </a:cubicBezTo>
                <a:cubicBezTo>
                  <a:pt x="503" y="320"/>
                  <a:pt x="504" y="320"/>
                  <a:pt x="504" y="320"/>
                </a:cubicBezTo>
                <a:cubicBezTo>
                  <a:pt x="505" y="321"/>
                  <a:pt x="505" y="321"/>
                  <a:pt x="506" y="322"/>
                </a:cubicBezTo>
                <a:cubicBezTo>
                  <a:pt x="507" y="321"/>
                  <a:pt x="507" y="320"/>
                  <a:pt x="508" y="321"/>
                </a:cubicBezTo>
                <a:cubicBezTo>
                  <a:pt x="507" y="321"/>
                  <a:pt x="508" y="322"/>
                  <a:pt x="508" y="322"/>
                </a:cubicBezTo>
                <a:cubicBezTo>
                  <a:pt x="508" y="322"/>
                  <a:pt x="509" y="321"/>
                  <a:pt x="509" y="321"/>
                </a:cubicBezTo>
                <a:cubicBezTo>
                  <a:pt x="510" y="319"/>
                  <a:pt x="510" y="319"/>
                  <a:pt x="512" y="320"/>
                </a:cubicBezTo>
                <a:cubicBezTo>
                  <a:pt x="512" y="319"/>
                  <a:pt x="511" y="318"/>
                  <a:pt x="511" y="318"/>
                </a:cubicBezTo>
                <a:cubicBezTo>
                  <a:pt x="512" y="318"/>
                  <a:pt x="512" y="317"/>
                  <a:pt x="512" y="316"/>
                </a:cubicBezTo>
                <a:cubicBezTo>
                  <a:pt x="512" y="316"/>
                  <a:pt x="512" y="316"/>
                  <a:pt x="513" y="316"/>
                </a:cubicBezTo>
                <a:cubicBezTo>
                  <a:pt x="513" y="315"/>
                  <a:pt x="513" y="315"/>
                  <a:pt x="514" y="315"/>
                </a:cubicBezTo>
                <a:cubicBezTo>
                  <a:pt x="514" y="316"/>
                  <a:pt x="514" y="317"/>
                  <a:pt x="515" y="317"/>
                </a:cubicBezTo>
                <a:cubicBezTo>
                  <a:pt x="515" y="316"/>
                  <a:pt x="515" y="316"/>
                  <a:pt x="515" y="316"/>
                </a:cubicBezTo>
                <a:cubicBezTo>
                  <a:pt x="515" y="315"/>
                  <a:pt x="516" y="315"/>
                  <a:pt x="516" y="315"/>
                </a:cubicBezTo>
                <a:cubicBezTo>
                  <a:pt x="518" y="314"/>
                  <a:pt x="520" y="314"/>
                  <a:pt x="521" y="313"/>
                </a:cubicBezTo>
                <a:cubicBezTo>
                  <a:pt x="522" y="312"/>
                  <a:pt x="522" y="312"/>
                  <a:pt x="523" y="312"/>
                </a:cubicBezTo>
                <a:cubicBezTo>
                  <a:pt x="524" y="311"/>
                  <a:pt x="524" y="310"/>
                  <a:pt x="524" y="310"/>
                </a:cubicBezTo>
                <a:cubicBezTo>
                  <a:pt x="524" y="310"/>
                  <a:pt x="524" y="309"/>
                  <a:pt x="524" y="309"/>
                </a:cubicBezTo>
                <a:cubicBezTo>
                  <a:pt x="525" y="309"/>
                  <a:pt x="525" y="309"/>
                  <a:pt x="525" y="309"/>
                </a:cubicBezTo>
                <a:cubicBezTo>
                  <a:pt x="525" y="308"/>
                  <a:pt x="525" y="308"/>
                  <a:pt x="523" y="308"/>
                </a:cubicBezTo>
                <a:cubicBezTo>
                  <a:pt x="524" y="308"/>
                  <a:pt x="524" y="307"/>
                  <a:pt x="524" y="306"/>
                </a:cubicBezTo>
                <a:cubicBezTo>
                  <a:pt x="523" y="306"/>
                  <a:pt x="522" y="306"/>
                  <a:pt x="521" y="307"/>
                </a:cubicBezTo>
                <a:cubicBezTo>
                  <a:pt x="521" y="307"/>
                  <a:pt x="520" y="309"/>
                  <a:pt x="520" y="309"/>
                </a:cubicBezTo>
                <a:cubicBezTo>
                  <a:pt x="519" y="309"/>
                  <a:pt x="519" y="308"/>
                  <a:pt x="519" y="307"/>
                </a:cubicBezTo>
                <a:cubicBezTo>
                  <a:pt x="518" y="307"/>
                  <a:pt x="518" y="307"/>
                  <a:pt x="517" y="307"/>
                </a:cubicBezTo>
                <a:cubicBezTo>
                  <a:pt x="517" y="306"/>
                  <a:pt x="517" y="307"/>
                  <a:pt x="516" y="307"/>
                </a:cubicBezTo>
                <a:cubicBezTo>
                  <a:pt x="516" y="307"/>
                  <a:pt x="515" y="306"/>
                  <a:pt x="515" y="306"/>
                </a:cubicBezTo>
                <a:cubicBezTo>
                  <a:pt x="515" y="306"/>
                  <a:pt x="514" y="307"/>
                  <a:pt x="514" y="307"/>
                </a:cubicBezTo>
                <a:cubicBezTo>
                  <a:pt x="514" y="307"/>
                  <a:pt x="513" y="306"/>
                  <a:pt x="513" y="306"/>
                </a:cubicBezTo>
                <a:cubicBezTo>
                  <a:pt x="514" y="305"/>
                  <a:pt x="514" y="305"/>
                  <a:pt x="514" y="305"/>
                </a:cubicBezTo>
                <a:cubicBezTo>
                  <a:pt x="515" y="305"/>
                  <a:pt x="515" y="305"/>
                  <a:pt x="515" y="304"/>
                </a:cubicBezTo>
                <a:cubicBezTo>
                  <a:pt x="515" y="304"/>
                  <a:pt x="515" y="304"/>
                  <a:pt x="515" y="304"/>
                </a:cubicBezTo>
                <a:cubicBezTo>
                  <a:pt x="514" y="304"/>
                  <a:pt x="513" y="304"/>
                  <a:pt x="512" y="304"/>
                </a:cubicBezTo>
                <a:cubicBezTo>
                  <a:pt x="513" y="303"/>
                  <a:pt x="512" y="304"/>
                  <a:pt x="511" y="304"/>
                </a:cubicBezTo>
                <a:cubicBezTo>
                  <a:pt x="511" y="304"/>
                  <a:pt x="511" y="303"/>
                  <a:pt x="511" y="303"/>
                </a:cubicBezTo>
                <a:cubicBezTo>
                  <a:pt x="511" y="302"/>
                  <a:pt x="510" y="303"/>
                  <a:pt x="510" y="303"/>
                </a:cubicBezTo>
                <a:cubicBezTo>
                  <a:pt x="510" y="302"/>
                  <a:pt x="510" y="301"/>
                  <a:pt x="510" y="300"/>
                </a:cubicBezTo>
                <a:cubicBezTo>
                  <a:pt x="510" y="300"/>
                  <a:pt x="510" y="300"/>
                  <a:pt x="510" y="300"/>
                </a:cubicBezTo>
                <a:cubicBezTo>
                  <a:pt x="510" y="300"/>
                  <a:pt x="510" y="299"/>
                  <a:pt x="511" y="299"/>
                </a:cubicBezTo>
                <a:cubicBezTo>
                  <a:pt x="511" y="299"/>
                  <a:pt x="511" y="298"/>
                  <a:pt x="511" y="298"/>
                </a:cubicBezTo>
                <a:cubicBezTo>
                  <a:pt x="510" y="298"/>
                  <a:pt x="509" y="298"/>
                  <a:pt x="508" y="298"/>
                </a:cubicBezTo>
                <a:cubicBezTo>
                  <a:pt x="508" y="297"/>
                  <a:pt x="508" y="297"/>
                  <a:pt x="510" y="297"/>
                </a:cubicBezTo>
                <a:cubicBezTo>
                  <a:pt x="509" y="296"/>
                  <a:pt x="509" y="293"/>
                  <a:pt x="510" y="294"/>
                </a:cubicBezTo>
                <a:cubicBezTo>
                  <a:pt x="510" y="293"/>
                  <a:pt x="510" y="294"/>
                  <a:pt x="510" y="293"/>
                </a:cubicBezTo>
                <a:cubicBezTo>
                  <a:pt x="510" y="292"/>
                  <a:pt x="509" y="292"/>
                  <a:pt x="508" y="292"/>
                </a:cubicBezTo>
                <a:cubicBezTo>
                  <a:pt x="507" y="293"/>
                  <a:pt x="507" y="293"/>
                  <a:pt x="506" y="293"/>
                </a:cubicBezTo>
                <a:cubicBezTo>
                  <a:pt x="506" y="293"/>
                  <a:pt x="506" y="293"/>
                  <a:pt x="506" y="294"/>
                </a:cubicBezTo>
                <a:cubicBezTo>
                  <a:pt x="505" y="294"/>
                  <a:pt x="504" y="294"/>
                  <a:pt x="504" y="294"/>
                </a:cubicBezTo>
                <a:cubicBezTo>
                  <a:pt x="504" y="293"/>
                  <a:pt x="503" y="292"/>
                  <a:pt x="504" y="293"/>
                </a:cubicBezTo>
                <a:cubicBezTo>
                  <a:pt x="504" y="292"/>
                  <a:pt x="504" y="291"/>
                  <a:pt x="503" y="291"/>
                </a:cubicBezTo>
                <a:cubicBezTo>
                  <a:pt x="503" y="291"/>
                  <a:pt x="503" y="290"/>
                  <a:pt x="504" y="290"/>
                </a:cubicBezTo>
                <a:cubicBezTo>
                  <a:pt x="504" y="290"/>
                  <a:pt x="504" y="290"/>
                  <a:pt x="504" y="289"/>
                </a:cubicBezTo>
                <a:cubicBezTo>
                  <a:pt x="505" y="290"/>
                  <a:pt x="505" y="291"/>
                  <a:pt x="506" y="292"/>
                </a:cubicBezTo>
                <a:cubicBezTo>
                  <a:pt x="507" y="292"/>
                  <a:pt x="506" y="291"/>
                  <a:pt x="507" y="291"/>
                </a:cubicBezTo>
                <a:cubicBezTo>
                  <a:pt x="508" y="291"/>
                  <a:pt x="508" y="291"/>
                  <a:pt x="508" y="291"/>
                </a:cubicBezTo>
                <a:cubicBezTo>
                  <a:pt x="509" y="290"/>
                  <a:pt x="509" y="289"/>
                  <a:pt x="509" y="288"/>
                </a:cubicBezTo>
                <a:cubicBezTo>
                  <a:pt x="510" y="288"/>
                  <a:pt x="511" y="288"/>
                  <a:pt x="511" y="288"/>
                </a:cubicBezTo>
                <a:cubicBezTo>
                  <a:pt x="511" y="288"/>
                  <a:pt x="511" y="287"/>
                  <a:pt x="511" y="287"/>
                </a:cubicBezTo>
                <a:cubicBezTo>
                  <a:pt x="512" y="287"/>
                  <a:pt x="511" y="285"/>
                  <a:pt x="511" y="284"/>
                </a:cubicBezTo>
                <a:cubicBezTo>
                  <a:pt x="512" y="284"/>
                  <a:pt x="512" y="285"/>
                  <a:pt x="512" y="285"/>
                </a:cubicBezTo>
                <a:cubicBezTo>
                  <a:pt x="512" y="283"/>
                  <a:pt x="511" y="284"/>
                  <a:pt x="511" y="282"/>
                </a:cubicBezTo>
                <a:cubicBezTo>
                  <a:pt x="510" y="281"/>
                  <a:pt x="509" y="281"/>
                  <a:pt x="508" y="281"/>
                </a:cubicBezTo>
                <a:cubicBezTo>
                  <a:pt x="507" y="281"/>
                  <a:pt x="507" y="281"/>
                  <a:pt x="506" y="281"/>
                </a:cubicBezTo>
                <a:cubicBezTo>
                  <a:pt x="506" y="281"/>
                  <a:pt x="506" y="281"/>
                  <a:pt x="505" y="281"/>
                </a:cubicBezTo>
                <a:cubicBezTo>
                  <a:pt x="505" y="281"/>
                  <a:pt x="504" y="281"/>
                  <a:pt x="504" y="281"/>
                </a:cubicBezTo>
                <a:cubicBezTo>
                  <a:pt x="503" y="281"/>
                  <a:pt x="505" y="281"/>
                  <a:pt x="503" y="282"/>
                </a:cubicBezTo>
                <a:cubicBezTo>
                  <a:pt x="503" y="282"/>
                  <a:pt x="502" y="282"/>
                  <a:pt x="501" y="282"/>
                </a:cubicBezTo>
                <a:cubicBezTo>
                  <a:pt x="501" y="282"/>
                  <a:pt x="501" y="282"/>
                  <a:pt x="501" y="282"/>
                </a:cubicBezTo>
                <a:cubicBezTo>
                  <a:pt x="501" y="282"/>
                  <a:pt x="500" y="283"/>
                  <a:pt x="499" y="283"/>
                </a:cubicBezTo>
                <a:cubicBezTo>
                  <a:pt x="499" y="283"/>
                  <a:pt x="500" y="283"/>
                  <a:pt x="499" y="283"/>
                </a:cubicBezTo>
                <a:cubicBezTo>
                  <a:pt x="499" y="283"/>
                  <a:pt x="499" y="283"/>
                  <a:pt x="498" y="284"/>
                </a:cubicBezTo>
                <a:cubicBezTo>
                  <a:pt x="498" y="284"/>
                  <a:pt x="497" y="284"/>
                  <a:pt x="497" y="284"/>
                </a:cubicBezTo>
                <a:cubicBezTo>
                  <a:pt x="496" y="285"/>
                  <a:pt x="496" y="285"/>
                  <a:pt x="495" y="286"/>
                </a:cubicBezTo>
                <a:cubicBezTo>
                  <a:pt x="495" y="286"/>
                  <a:pt x="494" y="285"/>
                  <a:pt x="494" y="286"/>
                </a:cubicBezTo>
                <a:cubicBezTo>
                  <a:pt x="494" y="285"/>
                  <a:pt x="493" y="287"/>
                  <a:pt x="493" y="287"/>
                </a:cubicBezTo>
                <a:cubicBezTo>
                  <a:pt x="493" y="287"/>
                  <a:pt x="492" y="288"/>
                  <a:pt x="492" y="288"/>
                </a:cubicBezTo>
                <a:cubicBezTo>
                  <a:pt x="491" y="288"/>
                  <a:pt x="490" y="289"/>
                  <a:pt x="490" y="289"/>
                </a:cubicBezTo>
                <a:cubicBezTo>
                  <a:pt x="489" y="289"/>
                  <a:pt x="489" y="290"/>
                  <a:pt x="489" y="291"/>
                </a:cubicBezTo>
                <a:cubicBezTo>
                  <a:pt x="489" y="291"/>
                  <a:pt x="488" y="291"/>
                  <a:pt x="488" y="291"/>
                </a:cubicBezTo>
                <a:cubicBezTo>
                  <a:pt x="488" y="292"/>
                  <a:pt x="487" y="291"/>
                  <a:pt x="487" y="291"/>
                </a:cubicBezTo>
                <a:cubicBezTo>
                  <a:pt x="486" y="291"/>
                  <a:pt x="486" y="293"/>
                  <a:pt x="486" y="293"/>
                </a:cubicBezTo>
                <a:cubicBezTo>
                  <a:pt x="486" y="294"/>
                  <a:pt x="485" y="294"/>
                  <a:pt x="485" y="295"/>
                </a:cubicBezTo>
                <a:cubicBezTo>
                  <a:pt x="485" y="295"/>
                  <a:pt x="485" y="296"/>
                  <a:pt x="485" y="296"/>
                </a:cubicBezTo>
                <a:cubicBezTo>
                  <a:pt x="484" y="296"/>
                  <a:pt x="484" y="296"/>
                  <a:pt x="483" y="297"/>
                </a:cubicBezTo>
                <a:cubicBezTo>
                  <a:pt x="483" y="297"/>
                  <a:pt x="483" y="298"/>
                  <a:pt x="482" y="298"/>
                </a:cubicBezTo>
                <a:cubicBezTo>
                  <a:pt x="481" y="299"/>
                  <a:pt x="480" y="299"/>
                  <a:pt x="479" y="299"/>
                </a:cubicBezTo>
                <a:cubicBezTo>
                  <a:pt x="480" y="299"/>
                  <a:pt x="480" y="299"/>
                  <a:pt x="480" y="298"/>
                </a:cubicBezTo>
                <a:cubicBezTo>
                  <a:pt x="480" y="298"/>
                  <a:pt x="481" y="298"/>
                  <a:pt x="481" y="298"/>
                </a:cubicBezTo>
                <a:cubicBezTo>
                  <a:pt x="481" y="298"/>
                  <a:pt x="482" y="298"/>
                  <a:pt x="482" y="298"/>
                </a:cubicBezTo>
                <a:cubicBezTo>
                  <a:pt x="482" y="297"/>
                  <a:pt x="483" y="297"/>
                  <a:pt x="483" y="297"/>
                </a:cubicBezTo>
                <a:cubicBezTo>
                  <a:pt x="483" y="296"/>
                  <a:pt x="484" y="295"/>
                  <a:pt x="484" y="294"/>
                </a:cubicBezTo>
                <a:cubicBezTo>
                  <a:pt x="484" y="294"/>
                  <a:pt x="485" y="294"/>
                  <a:pt x="485" y="294"/>
                </a:cubicBezTo>
                <a:cubicBezTo>
                  <a:pt x="485" y="293"/>
                  <a:pt x="485" y="293"/>
                  <a:pt x="485" y="293"/>
                </a:cubicBezTo>
                <a:cubicBezTo>
                  <a:pt x="485" y="292"/>
                  <a:pt x="486" y="292"/>
                  <a:pt x="486" y="291"/>
                </a:cubicBezTo>
                <a:cubicBezTo>
                  <a:pt x="486" y="290"/>
                  <a:pt x="486" y="290"/>
                  <a:pt x="485" y="290"/>
                </a:cubicBezTo>
                <a:cubicBezTo>
                  <a:pt x="484" y="289"/>
                  <a:pt x="485" y="289"/>
                  <a:pt x="485" y="289"/>
                </a:cubicBezTo>
                <a:cubicBezTo>
                  <a:pt x="486" y="289"/>
                  <a:pt x="486" y="289"/>
                  <a:pt x="487" y="289"/>
                </a:cubicBezTo>
                <a:cubicBezTo>
                  <a:pt x="487" y="289"/>
                  <a:pt x="487" y="288"/>
                  <a:pt x="488" y="288"/>
                </a:cubicBezTo>
                <a:cubicBezTo>
                  <a:pt x="488" y="288"/>
                  <a:pt x="488" y="287"/>
                  <a:pt x="488" y="287"/>
                </a:cubicBezTo>
                <a:cubicBezTo>
                  <a:pt x="489" y="286"/>
                  <a:pt x="489" y="286"/>
                  <a:pt x="490" y="286"/>
                </a:cubicBezTo>
                <a:cubicBezTo>
                  <a:pt x="490" y="286"/>
                  <a:pt x="490" y="285"/>
                  <a:pt x="490" y="285"/>
                </a:cubicBezTo>
                <a:cubicBezTo>
                  <a:pt x="490" y="285"/>
                  <a:pt x="492" y="285"/>
                  <a:pt x="492" y="285"/>
                </a:cubicBezTo>
                <a:cubicBezTo>
                  <a:pt x="491" y="283"/>
                  <a:pt x="495" y="283"/>
                  <a:pt x="495" y="282"/>
                </a:cubicBezTo>
                <a:cubicBezTo>
                  <a:pt x="495" y="281"/>
                  <a:pt x="495" y="281"/>
                  <a:pt x="496" y="281"/>
                </a:cubicBezTo>
                <a:cubicBezTo>
                  <a:pt x="497" y="281"/>
                  <a:pt x="498" y="278"/>
                  <a:pt x="498" y="277"/>
                </a:cubicBezTo>
                <a:cubicBezTo>
                  <a:pt x="498" y="277"/>
                  <a:pt x="499" y="277"/>
                  <a:pt x="499" y="277"/>
                </a:cubicBezTo>
                <a:cubicBezTo>
                  <a:pt x="499" y="277"/>
                  <a:pt x="501" y="276"/>
                  <a:pt x="501" y="275"/>
                </a:cubicBezTo>
                <a:cubicBezTo>
                  <a:pt x="501" y="276"/>
                  <a:pt x="502" y="276"/>
                  <a:pt x="502" y="275"/>
                </a:cubicBezTo>
                <a:cubicBezTo>
                  <a:pt x="503" y="275"/>
                  <a:pt x="505" y="276"/>
                  <a:pt x="506" y="276"/>
                </a:cubicBezTo>
                <a:cubicBezTo>
                  <a:pt x="506" y="275"/>
                  <a:pt x="508" y="276"/>
                  <a:pt x="508" y="276"/>
                </a:cubicBezTo>
                <a:cubicBezTo>
                  <a:pt x="508" y="276"/>
                  <a:pt x="509" y="276"/>
                  <a:pt x="509" y="276"/>
                </a:cubicBezTo>
                <a:cubicBezTo>
                  <a:pt x="510" y="276"/>
                  <a:pt x="509" y="275"/>
                  <a:pt x="510" y="275"/>
                </a:cubicBezTo>
                <a:cubicBezTo>
                  <a:pt x="510" y="274"/>
                  <a:pt x="511" y="275"/>
                  <a:pt x="511" y="275"/>
                </a:cubicBezTo>
                <a:cubicBezTo>
                  <a:pt x="511" y="275"/>
                  <a:pt x="511" y="275"/>
                  <a:pt x="511" y="275"/>
                </a:cubicBezTo>
                <a:cubicBezTo>
                  <a:pt x="512" y="275"/>
                  <a:pt x="511" y="276"/>
                  <a:pt x="512" y="276"/>
                </a:cubicBezTo>
                <a:cubicBezTo>
                  <a:pt x="513" y="276"/>
                  <a:pt x="513" y="276"/>
                  <a:pt x="514" y="276"/>
                </a:cubicBezTo>
                <a:cubicBezTo>
                  <a:pt x="514" y="275"/>
                  <a:pt x="514" y="275"/>
                  <a:pt x="514" y="275"/>
                </a:cubicBezTo>
                <a:cubicBezTo>
                  <a:pt x="515" y="275"/>
                  <a:pt x="516" y="275"/>
                  <a:pt x="516" y="276"/>
                </a:cubicBezTo>
                <a:cubicBezTo>
                  <a:pt x="516" y="275"/>
                  <a:pt x="517" y="275"/>
                  <a:pt x="517" y="275"/>
                </a:cubicBezTo>
                <a:cubicBezTo>
                  <a:pt x="518" y="274"/>
                  <a:pt x="518" y="274"/>
                  <a:pt x="518" y="274"/>
                </a:cubicBezTo>
                <a:cubicBezTo>
                  <a:pt x="520" y="274"/>
                  <a:pt x="518" y="275"/>
                  <a:pt x="519" y="275"/>
                </a:cubicBezTo>
                <a:cubicBezTo>
                  <a:pt x="520" y="275"/>
                  <a:pt x="520" y="276"/>
                  <a:pt x="521" y="276"/>
                </a:cubicBezTo>
                <a:cubicBezTo>
                  <a:pt x="521" y="275"/>
                  <a:pt x="521" y="275"/>
                  <a:pt x="521" y="275"/>
                </a:cubicBezTo>
                <a:cubicBezTo>
                  <a:pt x="521" y="275"/>
                  <a:pt x="522" y="275"/>
                  <a:pt x="522" y="275"/>
                </a:cubicBezTo>
                <a:cubicBezTo>
                  <a:pt x="522" y="275"/>
                  <a:pt x="522" y="275"/>
                  <a:pt x="523" y="275"/>
                </a:cubicBezTo>
                <a:cubicBezTo>
                  <a:pt x="524" y="274"/>
                  <a:pt x="524" y="276"/>
                  <a:pt x="524" y="276"/>
                </a:cubicBezTo>
                <a:cubicBezTo>
                  <a:pt x="525" y="277"/>
                  <a:pt x="526" y="276"/>
                  <a:pt x="526" y="276"/>
                </a:cubicBezTo>
                <a:cubicBezTo>
                  <a:pt x="527" y="275"/>
                  <a:pt x="527" y="274"/>
                  <a:pt x="528" y="275"/>
                </a:cubicBezTo>
                <a:cubicBezTo>
                  <a:pt x="528" y="275"/>
                  <a:pt x="528" y="276"/>
                  <a:pt x="528" y="276"/>
                </a:cubicBezTo>
                <a:cubicBezTo>
                  <a:pt x="529" y="276"/>
                  <a:pt x="529" y="275"/>
                  <a:pt x="529" y="276"/>
                </a:cubicBezTo>
                <a:cubicBezTo>
                  <a:pt x="530" y="276"/>
                  <a:pt x="530" y="275"/>
                  <a:pt x="531" y="275"/>
                </a:cubicBezTo>
                <a:cubicBezTo>
                  <a:pt x="531" y="275"/>
                  <a:pt x="530" y="274"/>
                  <a:pt x="531" y="274"/>
                </a:cubicBezTo>
                <a:cubicBezTo>
                  <a:pt x="532" y="274"/>
                  <a:pt x="532" y="275"/>
                  <a:pt x="533" y="275"/>
                </a:cubicBezTo>
                <a:cubicBezTo>
                  <a:pt x="533" y="274"/>
                  <a:pt x="534" y="275"/>
                  <a:pt x="534" y="273"/>
                </a:cubicBezTo>
                <a:cubicBezTo>
                  <a:pt x="534" y="273"/>
                  <a:pt x="534" y="272"/>
                  <a:pt x="534" y="272"/>
                </a:cubicBezTo>
                <a:cubicBezTo>
                  <a:pt x="534" y="272"/>
                  <a:pt x="535" y="272"/>
                  <a:pt x="535" y="272"/>
                </a:cubicBezTo>
                <a:cubicBezTo>
                  <a:pt x="535" y="273"/>
                  <a:pt x="536" y="272"/>
                  <a:pt x="537" y="272"/>
                </a:cubicBezTo>
                <a:cubicBezTo>
                  <a:pt x="538" y="271"/>
                  <a:pt x="537" y="271"/>
                  <a:pt x="537" y="269"/>
                </a:cubicBezTo>
                <a:cubicBezTo>
                  <a:pt x="538" y="269"/>
                  <a:pt x="538" y="268"/>
                  <a:pt x="538" y="268"/>
                </a:cubicBezTo>
                <a:cubicBezTo>
                  <a:pt x="539" y="267"/>
                  <a:pt x="539" y="267"/>
                  <a:pt x="540" y="267"/>
                </a:cubicBezTo>
                <a:cubicBezTo>
                  <a:pt x="540" y="266"/>
                  <a:pt x="540" y="266"/>
                  <a:pt x="540" y="266"/>
                </a:cubicBezTo>
                <a:cubicBezTo>
                  <a:pt x="541" y="266"/>
                  <a:pt x="543" y="266"/>
                  <a:pt x="543" y="265"/>
                </a:cubicBezTo>
                <a:cubicBezTo>
                  <a:pt x="543" y="264"/>
                  <a:pt x="546" y="265"/>
                  <a:pt x="546" y="265"/>
                </a:cubicBezTo>
                <a:cubicBezTo>
                  <a:pt x="546" y="264"/>
                  <a:pt x="547" y="264"/>
                  <a:pt x="548" y="264"/>
                </a:cubicBezTo>
                <a:cubicBezTo>
                  <a:pt x="548" y="264"/>
                  <a:pt x="549" y="263"/>
                  <a:pt x="550" y="263"/>
                </a:cubicBezTo>
                <a:cubicBezTo>
                  <a:pt x="550" y="263"/>
                  <a:pt x="550" y="262"/>
                  <a:pt x="550" y="262"/>
                </a:cubicBezTo>
                <a:cubicBezTo>
                  <a:pt x="551" y="262"/>
                  <a:pt x="551" y="263"/>
                  <a:pt x="551" y="262"/>
                </a:cubicBezTo>
                <a:cubicBezTo>
                  <a:pt x="551" y="261"/>
                  <a:pt x="551" y="260"/>
                  <a:pt x="552" y="261"/>
                </a:cubicBezTo>
                <a:cubicBezTo>
                  <a:pt x="552" y="259"/>
                  <a:pt x="551" y="258"/>
                  <a:pt x="551" y="257"/>
                </a:cubicBezTo>
                <a:cubicBezTo>
                  <a:pt x="551" y="257"/>
                  <a:pt x="552" y="257"/>
                  <a:pt x="552" y="257"/>
                </a:cubicBezTo>
                <a:cubicBezTo>
                  <a:pt x="552" y="257"/>
                  <a:pt x="552" y="256"/>
                  <a:pt x="552" y="255"/>
                </a:cubicBezTo>
                <a:cubicBezTo>
                  <a:pt x="552" y="255"/>
                  <a:pt x="552" y="255"/>
                  <a:pt x="552" y="254"/>
                </a:cubicBezTo>
                <a:cubicBezTo>
                  <a:pt x="551" y="254"/>
                  <a:pt x="551" y="254"/>
                  <a:pt x="551" y="254"/>
                </a:cubicBezTo>
                <a:cubicBezTo>
                  <a:pt x="551" y="254"/>
                  <a:pt x="550" y="254"/>
                  <a:pt x="550" y="254"/>
                </a:cubicBezTo>
                <a:cubicBezTo>
                  <a:pt x="550" y="255"/>
                  <a:pt x="550" y="256"/>
                  <a:pt x="549" y="255"/>
                </a:cubicBezTo>
                <a:cubicBezTo>
                  <a:pt x="549" y="254"/>
                  <a:pt x="549" y="253"/>
                  <a:pt x="547" y="253"/>
                </a:cubicBezTo>
                <a:cubicBezTo>
                  <a:pt x="547" y="253"/>
                  <a:pt x="546" y="252"/>
                  <a:pt x="546" y="252"/>
                </a:cubicBezTo>
                <a:cubicBezTo>
                  <a:pt x="545" y="251"/>
                  <a:pt x="544" y="251"/>
                  <a:pt x="544" y="251"/>
                </a:cubicBezTo>
                <a:cubicBezTo>
                  <a:pt x="544" y="251"/>
                  <a:pt x="542" y="250"/>
                  <a:pt x="542" y="252"/>
                </a:cubicBezTo>
                <a:cubicBezTo>
                  <a:pt x="541" y="252"/>
                  <a:pt x="541" y="252"/>
                  <a:pt x="540" y="252"/>
                </a:cubicBezTo>
                <a:cubicBezTo>
                  <a:pt x="540" y="252"/>
                  <a:pt x="540" y="252"/>
                  <a:pt x="539" y="252"/>
                </a:cubicBezTo>
                <a:cubicBezTo>
                  <a:pt x="539" y="252"/>
                  <a:pt x="539" y="252"/>
                  <a:pt x="539" y="252"/>
                </a:cubicBezTo>
                <a:cubicBezTo>
                  <a:pt x="538" y="252"/>
                  <a:pt x="538" y="254"/>
                  <a:pt x="536" y="254"/>
                </a:cubicBezTo>
                <a:cubicBezTo>
                  <a:pt x="536" y="254"/>
                  <a:pt x="536" y="254"/>
                  <a:pt x="536" y="254"/>
                </a:cubicBezTo>
                <a:cubicBezTo>
                  <a:pt x="536" y="255"/>
                  <a:pt x="535" y="254"/>
                  <a:pt x="535" y="254"/>
                </a:cubicBezTo>
                <a:cubicBezTo>
                  <a:pt x="534" y="255"/>
                  <a:pt x="534" y="255"/>
                  <a:pt x="533" y="255"/>
                </a:cubicBezTo>
                <a:cubicBezTo>
                  <a:pt x="533" y="256"/>
                  <a:pt x="532" y="257"/>
                  <a:pt x="532" y="257"/>
                </a:cubicBezTo>
                <a:cubicBezTo>
                  <a:pt x="531" y="257"/>
                  <a:pt x="531" y="257"/>
                  <a:pt x="530" y="256"/>
                </a:cubicBezTo>
                <a:cubicBezTo>
                  <a:pt x="530" y="256"/>
                  <a:pt x="530" y="256"/>
                  <a:pt x="530" y="255"/>
                </a:cubicBezTo>
                <a:cubicBezTo>
                  <a:pt x="530" y="254"/>
                  <a:pt x="531" y="254"/>
                  <a:pt x="532" y="254"/>
                </a:cubicBezTo>
                <a:cubicBezTo>
                  <a:pt x="532" y="255"/>
                  <a:pt x="533" y="254"/>
                  <a:pt x="533" y="254"/>
                </a:cubicBezTo>
                <a:cubicBezTo>
                  <a:pt x="533" y="254"/>
                  <a:pt x="534" y="254"/>
                  <a:pt x="534" y="254"/>
                </a:cubicBezTo>
                <a:cubicBezTo>
                  <a:pt x="534" y="254"/>
                  <a:pt x="534" y="254"/>
                  <a:pt x="535" y="253"/>
                </a:cubicBezTo>
                <a:cubicBezTo>
                  <a:pt x="535" y="253"/>
                  <a:pt x="535" y="253"/>
                  <a:pt x="535" y="253"/>
                </a:cubicBezTo>
                <a:cubicBezTo>
                  <a:pt x="536" y="253"/>
                  <a:pt x="536" y="253"/>
                  <a:pt x="537" y="252"/>
                </a:cubicBezTo>
                <a:cubicBezTo>
                  <a:pt x="537" y="252"/>
                  <a:pt x="537" y="252"/>
                  <a:pt x="538" y="252"/>
                </a:cubicBezTo>
                <a:cubicBezTo>
                  <a:pt x="538" y="252"/>
                  <a:pt x="538" y="251"/>
                  <a:pt x="539" y="251"/>
                </a:cubicBezTo>
                <a:cubicBezTo>
                  <a:pt x="539" y="251"/>
                  <a:pt x="539" y="251"/>
                  <a:pt x="539" y="251"/>
                </a:cubicBezTo>
                <a:cubicBezTo>
                  <a:pt x="540" y="250"/>
                  <a:pt x="540" y="252"/>
                  <a:pt x="541" y="250"/>
                </a:cubicBezTo>
                <a:cubicBezTo>
                  <a:pt x="541" y="250"/>
                  <a:pt x="542" y="250"/>
                  <a:pt x="542" y="250"/>
                </a:cubicBezTo>
                <a:cubicBezTo>
                  <a:pt x="542" y="250"/>
                  <a:pt x="541" y="250"/>
                  <a:pt x="542" y="250"/>
                </a:cubicBezTo>
                <a:cubicBezTo>
                  <a:pt x="543" y="250"/>
                  <a:pt x="544" y="249"/>
                  <a:pt x="544" y="249"/>
                </a:cubicBezTo>
                <a:cubicBezTo>
                  <a:pt x="544" y="248"/>
                  <a:pt x="545" y="249"/>
                  <a:pt x="545" y="248"/>
                </a:cubicBezTo>
                <a:cubicBezTo>
                  <a:pt x="545" y="248"/>
                  <a:pt x="544" y="248"/>
                  <a:pt x="544" y="248"/>
                </a:cubicBezTo>
                <a:cubicBezTo>
                  <a:pt x="543" y="248"/>
                  <a:pt x="544" y="248"/>
                  <a:pt x="543" y="248"/>
                </a:cubicBezTo>
                <a:cubicBezTo>
                  <a:pt x="542" y="248"/>
                  <a:pt x="542" y="246"/>
                  <a:pt x="542" y="246"/>
                </a:cubicBezTo>
                <a:cubicBezTo>
                  <a:pt x="542" y="246"/>
                  <a:pt x="542" y="245"/>
                  <a:pt x="542" y="245"/>
                </a:cubicBezTo>
                <a:cubicBezTo>
                  <a:pt x="541" y="245"/>
                  <a:pt x="541" y="247"/>
                  <a:pt x="541" y="247"/>
                </a:cubicBezTo>
                <a:cubicBezTo>
                  <a:pt x="540" y="247"/>
                  <a:pt x="538" y="247"/>
                  <a:pt x="538" y="246"/>
                </a:cubicBezTo>
                <a:cubicBezTo>
                  <a:pt x="538" y="245"/>
                  <a:pt x="537" y="244"/>
                  <a:pt x="537" y="243"/>
                </a:cubicBezTo>
                <a:cubicBezTo>
                  <a:pt x="537" y="244"/>
                  <a:pt x="536" y="244"/>
                  <a:pt x="536" y="244"/>
                </a:cubicBezTo>
                <a:cubicBezTo>
                  <a:pt x="536" y="244"/>
                  <a:pt x="536" y="244"/>
                  <a:pt x="536" y="243"/>
                </a:cubicBezTo>
                <a:cubicBezTo>
                  <a:pt x="535" y="244"/>
                  <a:pt x="534" y="245"/>
                  <a:pt x="534" y="245"/>
                </a:cubicBezTo>
                <a:cubicBezTo>
                  <a:pt x="534" y="245"/>
                  <a:pt x="534" y="244"/>
                  <a:pt x="534" y="243"/>
                </a:cubicBezTo>
                <a:cubicBezTo>
                  <a:pt x="533" y="244"/>
                  <a:pt x="533" y="244"/>
                  <a:pt x="532" y="243"/>
                </a:cubicBezTo>
                <a:cubicBezTo>
                  <a:pt x="532" y="243"/>
                  <a:pt x="531" y="243"/>
                  <a:pt x="530" y="243"/>
                </a:cubicBezTo>
                <a:cubicBezTo>
                  <a:pt x="530" y="243"/>
                  <a:pt x="530" y="242"/>
                  <a:pt x="530" y="241"/>
                </a:cubicBezTo>
                <a:cubicBezTo>
                  <a:pt x="530" y="241"/>
                  <a:pt x="530" y="240"/>
                  <a:pt x="530" y="240"/>
                </a:cubicBezTo>
                <a:cubicBezTo>
                  <a:pt x="529" y="239"/>
                  <a:pt x="528" y="238"/>
                  <a:pt x="527" y="238"/>
                </a:cubicBezTo>
                <a:cubicBezTo>
                  <a:pt x="526" y="238"/>
                  <a:pt x="525" y="238"/>
                  <a:pt x="525" y="238"/>
                </a:cubicBezTo>
                <a:cubicBezTo>
                  <a:pt x="524" y="238"/>
                  <a:pt x="525" y="237"/>
                  <a:pt x="525" y="236"/>
                </a:cubicBezTo>
                <a:cubicBezTo>
                  <a:pt x="525" y="235"/>
                  <a:pt x="524" y="235"/>
                  <a:pt x="523" y="235"/>
                </a:cubicBezTo>
                <a:cubicBezTo>
                  <a:pt x="523" y="235"/>
                  <a:pt x="523" y="235"/>
                  <a:pt x="523" y="234"/>
                </a:cubicBezTo>
                <a:cubicBezTo>
                  <a:pt x="523" y="234"/>
                  <a:pt x="522" y="235"/>
                  <a:pt x="522" y="235"/>
                </a:cubicBezTo>
                <a:cubicBezTo>
                  <a:pt x="521" y="234"/>
                  <a:pt x="522" y="234"/>
                  <a:pt x="522" y="233"/>
                </a:cubicBezTo>
                <a:cubicBezTo>
                  <a:pt x="523" y="232"/>
                  <a:pt x="522" y="232"/>
                  <a:pt x="522" y="232"/>
                </a:cubicBezTo>
                <a:cubicBezTo>
                  <a:pt x="521" y="232"/>
                  <a:pt x="521" y="232"/>
                  <a:pt x="521" y="231"/>
                </a:cubicBezTo>
                <a:cubicBezTo>
                  <a:pt x="522" y="231"/>
                  <a:pt x="524" y="232"/>
                  <a:pt x="524" y="231"/>
                </a:cubicBezTo>
                <a:cubicBezTo>
                  <a:pt x="525" y="230"/>
                  <a:pt x="525" y="232"/>
                  <a:pt x="525" y="232"/>
                </a:cubicBezTo>
                <a:cubicBezTo>
                  <a:pt x="526" y="232"/>
                  <a:pt x="526" y="230"/>
                  <a:pt x="526" y="230"/>
                </a:cubicBezTo>
                <a:cubicBezTo>
                  <a:pt x="525" y="230"/>
                  <a:pt x="526" y="229"/>
                  <a:pt x="525" y="229"/>
                </a:cubicBezTo>
                <a:cubicBezTo>
                  <a:pt x="524" y="229"/>
                  <a:pt x="524" y="229"/>
                  <a:pt x="523" y="228"/>
                </a:cubicBezTo>
                <a:cubicBezTo>
                  <a:pt x="523" y="228"/>
                  <a:pt x="523" y="228"/>
                  <a:pt x="523" y="228"/>
                </a:cubicBezTo>
                <a:cubicBezTo>
                  <a:pt x="523" y="228"/>
                  <a:pt x="523" y="227"/>
                  <a:pt x="522" y="227"/>
                </a:cubicBezTo>
                <a:cubicBezTo>
                  <a:pt x="522" y="227"/>
                  <a:pt x="521" y="228"/>
                  <a:pt x="521" y="227"/>
                </a:cubicBezTo>
                <a:cubicBezTo>
                  <a:pt x="521" y="227"/>
                  <a:pt x="521" y="227"/>
                  <a:pt x="521" y="227"/>
                </a:cubicBezTo>
                <a:cubicBezTo>
                  <a:pt x="522" y="227"/>
                  <a:pt x="522" y="226"/>
                  <a:pt x="522" y="226"/>
                </a:cubicBezTo>
                <a:cubicBezTo>
                  <a:pt x="523" y="225"/>
                  <a:pt x="523" y="225"/>
                  <a:pt x="523" y="225"/>
                </a:cubicBezTo>
                <a:cubicBezTo>
                  <a:pt x="523" y="224"/>
                  <a:pt x="523" y="224"/>
                  <a:pt x="522" y="224"/>
                </a:cubicBezTo>
                <a:cubicBezTo>
                  <a:pt x="522" y="223"/>
                  <a:pt x="521" y="223"/>
                  <a:pt x="521" y="223"/>
                </a:cubicBezTo>
                <a:cubicBezTo>
                  <a:pt x="521" y="222"/>
                  <a:pt x="520" y="223"/>
                  <a:pt x="519" y="223"/>
                </a:cubicBezTo>
                <a:cubicBezTo>
                  <a:pt x="520" y="221"/>
                  <a:pt x="518" y="222"/>
                  <a:pt x="518" y="221"/>
                </a:cubicBezTo>
                <a:cubicBezTo>
                  <a:pt x="518" y="221"/>
                  <a:pt x="519" y="221"/>
                  <a:pt x="519" y="221"/>
                </a:cubicBezTo>
                <a:cubicBezTo>
                  <a:pt x="519" y="220"/>
                  <a:pt x="520" y="220"/>
                  <a:pt x="520" y="219"/>
                </a:cubicBezTo>
                <a:cubicBezTo>
                  <a:pt x="519" y="219"/>
                  <a:pt x="516" y="218"/>
                  <a:pt x="516" y="219"/>
                </a:cubicBezTo>
                <a:cubicBezTo>
                  <a:pt x="516" y="219"/>
                  <a:pt x="516" y="219"/>
                  <a:pt x="515" y="219"/>
                </a:cubicBezTo>
                <a:cubicBezTo>
                  <a:pt x="515" y="218"/>
                  <a:pt x="515" y="218"/>
                  <a:pt x="516" y="218"/>
                </a:cubicBezTo>
                <a:cubicBezTo>
                  <a:pt x="517" y="218"/>
                  <a:pt x="517" y="217"/>
                  <a:pt x="518" y="217"/>
                </a:cubicBezTo>
                <a:cubicBezTo>
                  <a:pt x="518" y="215"/>
                  <a:pt x="517" y="216"/>
                  <a:pt x="516" y="215"/>
                </a:cubicBezTo>
                <a:cubicBezTo>
                  <a:pt x="516" y="215"/>
                  <a:pt x="517" y="214"/>
                  <a:pt x="517" y="214"/>
                </a:cubicBezTo>
                <a:cubicBezTo>
                  <a:pt x="516" y="214"/>
                  <a:pt x="516" y="214"/>
                  <a:pt x="516" y="213"/>
                </a:cubicBezTo>
                <a:cubicBezTo>
                  <a:pt x="516" y="212"/>
                  <a:pt x="514" y="212"/>
                  <a:pt x="514" y="213"/>
                </a:cubicBezTo>
                <a:cubicBezTo>
                  <a:pt x="514" y="213"/>
                  <a:pt x="513" y="213"/>
                  <a:pt x="513" y="212"/>
                </a:cubicBezTo>
                <a:cubicBezTo>
                  <a:pt x="513" y="211"/>
                  <a:pt x="512" y="212"/>
                  <a:pt x="512" y="211"/>
                </a:cubicBezTo>
                <a:cubicBezTo>
                  <a:pt x="512" y="211"/>
                  <a:pt x="513" y="210"/>
                  <a:pt x="512" y="210"/>
                </a:cubicBezTo>
                <a:cubicBezTo>
                  <a:pt x="512" y="209"/>
                  <a:pt x="512" y="209"/>
                  <a:pt x="512" y="209"/>
                </a:cubicBezTo>
                <a:cubicBezTo>
                  <a:pt x="512" y="208"/>
                  <a:pt x="512" y="208"/>
                  <a:pt x="512" y="207"/>
                </a:cubicBezTo>
                <a:cubicBezTo>
                  <a:pt x="512" y="206"/>
                  <a:pt x="511" y="206"/>
                  <a:pt x="511" y="206"/>
                </a:cubicBezTo>
                <a:cubicBezTo>
                  <a:pt x="511" y="205"/>
                  <a:pt x="512" y="204"/>
                  <a:pt x="511" y="204"/>
                </a:cubicBezTo>
                <a:cubicBezTo>
                  <a:pt x="511" y="204"/>
                  <a:pt x="511" y="203"/>
                  <a:pt x="511" y="202"/>
                </a:cubicBezTo>
                <a:cubicBezTo>
                  <a:pt x="511" y="202"/>
                  <a:pt x="510" y="202"/>
                  <a:pt x="509" y="203"/>
                </a:cubicBezTo>
                <a:cubicBezTo>
                  <a:pt x="509" y="203"/>
                  <a:pt x="509" y="204"/>
                  <a:pt x="509" y="205"/>
                </a:cubicBezTo>
                <a:cubicBezTo>
                  <a:pt x="508" y="205"/>
                  <a:pt x="508" y="205"/>
                  <a:pt x="508" y="206"/>
                </a:cubicBezTo>
                <a:cubicBezTo>
                  <a:pt x="508" y="207"/>
                  <a:pt x="508" y="207"/>
                  <a:pt x="507" y="207"/>
                </a:cubicBezTo>
                <a:cubicBezTo>
                  <a:pt x="506" y="208"/>
                  <a:pt x="506" y="208"/>
                  <a:pt x="506" y="209"/>
                </a:cubicBezTo>
                <a:cubicBezTo>
                  <a:pt x="506" y="209"/>
                  <a:pt x="507" y="209"/>
                  <a:pt x="507" y="209"/>
                </a:cubicBezTo>
                <a:cubicBezTo>
                  <a:pt x="507" y="210"/>
                  <a:pt x="506" y="210"/>
                  <a:pt x="506" y="210"/>
                </a:cubicBezTo>
                <a:cubicBezTo>
                  <a:pt x="506" y="210"/>
                  <a:pt x="506" y="211"/>
                  <a:pt x="506" y="211"/>
                </a:cubicBezTo>
                <a:cubicBezTo>
                  <a:pt x="506" y="212"/>
                  <a:pt x="505" y="212"/>
                  <a:pt x="504" y="212"/>
                </a:cubicBezTo>
                <a:cubicBezTo>
                  <a:pt x="503" y="213"/>
                  <a:pt x="504" y="214"/>
                  <a:pt x="504" y="215"/>
                </a:cubicBezTo>
                <a:cubicBezTo>
                  <a:pt x="503" y="215"/>
                  <a:pt x="503" y="214"/>
                  <a:pt x="502" y="214"/>
                </a:cubicBezTo>
                <a:cubicBezTo>
                  <a:pt x="502" y="215"/>
                  <a:pt x="502" y="215"/>
                  <a:pt x="502" y="215"/>
                </a:cubicBezTo>
                <a:cubicBezTo>
                  <a:pt x="502" y="215"/>
                  <a:pt x="502" y="215"/>
                  <a:pt x="501" y="215"/>
                </a:cubicBezTo>
                <a:cubicBezTo>
                  <a:pt x="501" y="216"/>
                  <a:pt x="501" y="216"/>
                  <a:pt x="501" y="216"/>
                </a:cubicBezTo>
                <a:cubicBezTo>
                  <a:pt x="501" y="217"/>
                  <a:pt x="501" y="217"/>
                  <a:pt x="501" y="217"/>
                </a:cubicBezTo>
                <a:cubicBezTo>
                  <a:pt x="501" y="217"/>
                  <a:pt x="501" y="217"/>
                  <a:pt x="501" y="217"/>
                </a:cubicBezTo>
                <a:cubicBezTo>
                  <a:pt x="501" y="218"/>
                  <a:pt x="500" y="217"/>
                  <a:pt x="500" y="218"/>
                </a:cubicBezTo>
                <a:cubicBezTo>
                  <a:pt x="500" y="218"/>
                  <a:pt x="499" y="218"/>
                  <a:pt x="499" y="218"/>
                </a:cubicBezTo>
                <a:cubicBezTo>
                  <a:pt x="499" y="218"/>
                  <a:pt x="498" y="219"/>
                  <a:pt x="498" y="219"/>
                </a:cubicBezTo>
                <a:cubicBezTo>
                  <a:pt x="498" y="218"/>
                  <a:pt x="497" y="217"/>
                  <a:pt x="497" y="217"/>
                </a:cubicBezTo>
                <a:cubicBezTo>
                  <a:pt x="496" y="216"/>
                  <a:pt x="496" y="217"/>
                  <a:pt x="496" y="216"/>
                </a:cubicBezTo>
                <a:cubicBezTo>
                  <a:pt x="496" y="215"/>
                  <a:pt x="496" y="215"/>
                  <a:pt x="495" y="215"/>
                </a:cubicBezTo>
                <a:cubicBezTo>
                  <a:pt x="495" y="216"/>
                  <a:pt x="494" y="216"/>
                  <a:pt x="494" y="217"/>
                </a:cubicBezTo>
                <a:cubicBezTo>
                  <a:pt x="494" y="216"/>
                  <a:pt x="493" y="216"/>
                  <a:pt x="493" y="215"/>
                </a:cubicBezTo>
                <a:cubicBezTo>
                  <a:pt x="493" y="215"/>
                  <a:pt x="493" y="215"/>
                  <a:pt x="493" y="214"/>
                </a:cubicBezTo>
                <a:cubicBezTo>
                  <a:pt x="493" y="214"/>
                  <a:pt x="493" y="214"/>
                  <a:pt x="493" y="214"/>
                </a:cubicBezTo>
                <a:cubicBezTo>
                  <a:pt x="492" y="213"/>
                  <a:pt x="492" y="213"/>
                  <a:pt x="491" y="213"/>
                </a:cubicBezTo>
                <a:cubicBezTo>
                  <a:pt x="490" y="213"/>
                  <a:pt x="489" y="213"/>
                  <a:pt x="490" y="212"/>
                </a:cubicBezTo>
                <a:cubicBezTo>
                  <a:pt x="489" y="212"/>
                  <a:pt x="489" y="213"/>
                  <a:pt x="488" y="212"/>
                </a:cubicBezTo>
                <a:cubicBezTo>
                  <a:pt x="487" y="212"/>
                  <a:pt x="486" y="211"/>
                  <a:pt x="486" y="210"/>
                </a:cubicBezTo>
                <a:cubicBezTo>
                  <a:pt x="486" y="210"/>
                  <a:pt x="487" y="208"/>
                  <a:pt x="487" y="208"/>
                </a:cubicBezTo>
                <a:cubicBezTo>
                  <a:pt x="487" y="207"/>
                  <a:pt x="487" y="206"/>
                  <a:pt x="486" y="206"/>
                </a:cubicBezTo>
                <a:cubicBezTo>
                  <a:pt x="485" y="206"/>
                  <a:pt x="485" y="204"/>
                  <a:pt x="485" y="204"/>
                </a:cubicBezTo>
                <a:cubicBezTo>
                  <a:pt x="486" y="203"/>
                  <a:pt x="486" y="204"/>
                  <a:pt x="486" y="204"/>
                </a:cubicBezTo>
                <a:cubicBezTo>
                  <a:pt x="487" y="204"/>
                  <a:pt x="487" y="203"/>
                  <a:pt x="487" y="203"/>
                </a:cubicBezTo>
                <a:cubicBezTo>
                  <a:pt x="487" y="203"/>
                  <a:pt x="487" y="203"/>
                  <a:pt x="487" y="202"/>
                </a:cubicBezTo>
                <a:cubicBezTo>
                  <a:pt x="487" y="202"/>
                  <a:pt x="486" y="202"/>
                  <a:pt x="486" y="202"/>
                </a:cubicBezTo>
                <a:cubicBezTo>
                  <a:pt x="486" y="201"/>
                  <a:pt x="487" y="201"/>
                  <a:pt x="487" y="200"/>
                </a:cubicBezTo>
                <a:cubicBezTo>
                  <a:pt x="487" y="200"/>
                  <a:pt x="488" y="199"/>
                  <a:pt x="489" y="198"/>
                </a:cubicBezTo>
                <a:cubicBezTo>
                  <a:pt x="488" y="198"/>
                  <a:pt x="488" y="198"/>
                  <a:pt x="488" y="198"/>
                </a:cubicBezTo>
                <a:cubicBezTo>
                  <a:pt x="487" y="198"/>
                  <a:pt x="487" y="199"/>
                  <a:pt x="486" y="199"/>
                </a:cubicBezTo>
                <a:cubicBezTo>
                  <a:pt x="487" y="198"/>
                  <a:pt x="483" y="198"/>
                  <a:pt x="483" y="198"/>
                </a:cubicBezTo>
                <a:cubicBezTo>
                  <a:pt x="483" y="197"/>
                  <a:pt x="483" y="197"/>
                  <a:pt x="484" y="197"/>
                </a:cubicBezTo>
                <a:cubicBezTo>
                  <a:pt x="485" y="197"/>
                  <a:pt x="485" y="197"/>
                  <a:pt x="485" y="196"/>
                </a:cubicBezTo>
                <a:cubicBezTo>
                  <a:pt x="485" y="196"/>
                  <a:pt x="483" y="196"/>
                  <a:pt x="483" y="196"/>
                </a:cubicBezTo>
                <a:cubicBezTo>
                  <a:pt x="483" y="196"/>
                  <a:pt x="483" y="196"/>
                  <a:pt x="482" y="196"/>
                </a:cubicBezTo>
                <a:cubicBezTo>
                  <a:pt x="482" y="196"/>
                  <a:pt x="481" y="195"/>
                  <a:pt x="481" y="196"/>
                </a:cubicBezTo>
                <a:cubicBezTo>
                  <a:pt x="480" y="196"/>
                  <a:pt x="479" y="196"/>
                  <a:pt x="478" y="196"/>
                </a:cubicBezTo>
                <a:cubicBezTo>
                  <a:pt x="477" y="196"/>
                  <a:pt x="477" y="195"/>
                  <a:pt x="477" y="194"/>
                </a:cubicBezTo>
                <a:cubicBezTo>
                  <a:pt x="477" y="194"/>
                  <a:pt x="476" y="194"/>
                  <a:pt x="476" y="194"/>
                </a:cubicBezTo>
                <a:cubicBezTo>
                  <a:pt x="476" y="193"/>
                  <a:pt x="476" y="192"/>
                  <a:pt x="476" y="192"/>
                </a:cubicBezTo>
                <a:cubicBezTo>
                  <a:pt x="475" y="192"/>
                  <a:pt x="475" y="192"/>
                  <a:pt x="474" y="191"/>
                </a:cubicBezTo>
                <a:cubicBezTo>
                  <a:pt x="473" y="191"/>
                  <a:pt x="473" y="191"/>
                  <a:pt x="473" y="190"/>
                </a:cubicBezTo>
                <a:cubicBezTo>
                  <a:pt x="473" y="190"/>
                  <a:pt x="472" y="189"/>
                  <a:pt x="472" y="189"/>
                </a:cubicBezTo>
                <a:cubicBezTo>
                  <a:pt x="472" y="189"/>
                  <a:pt x="471" y="188"/>
                  <a:pt x="471" y="188"/>
                </a:cubicBezTo>
                <a:cubicBezTo>
                  <a:pt x="469" y="188"/>
                  <a:pt x="469" y="187"/>
                  <a:pt x="468" y="187"/>
                </a:cubicBezTo>
                <a:cubicBezTo>
                  <a:pt x="468" y="187"/>
                  <a:pt x="468" y="187"/>
                  <a:pt x="468" y="187"/>
                </a:cubicBezTo>
                <a:cubicBezTo>
                  <a:pt x="467" y="186"/>
                  <a:pt x="467" y="187"/>
                  <a:pt x="467" y="187"/>
                </a:cubicBezTo>
                <a:cubicBezTo>
                  <a:pt x="466" y="188"/>
                  <a:pt x="465" y="188"/>
                  <a:pt x="464" y="189"/>
                </a:cubicBezTo>
                <a:cubicBezTo>
                  <a:pt x="463" y="190"/>
                  <a:pt x="461" y="189"/>
                  <a:pt x="460" y="189"/>
                </a:cubicBezTo>
                <a:cubicBezTo>
                  <a:pt x="459" y="189"/>
                  <a:pt x="457" y="189"/>
                  <a:pt x="455" y="189"/>
                </a:cubicBezTo>
                <a:cubicBezTo>
                  <a:pt x="455" y="189"/>
                  <a:pt x="455" y="189"/>
                  <a:pt x="455" y="189"/>
                </a:cubicBezTo>
                <a:cubicBezTo>
                  <a:pt x="454" y="188"/>
                  <a:pt x="454" y="189"/>
                  <a:pt x="452" y="189"/>
                </a:cubicBezTo>
                <a:cubicBezTo>
                  <a:pt x="452" y="188"/>
                  <a:pt x="451" y="188"/>
                  <a:pt x="450" y="188"/>
                </a:cubicBezTo>
                <a:cubicBezTo>
                  <a:pt x="450" y="188"/>
                  <a:pt x="450" y="188"/>
                  <a:pt x="449" y="188"/>
                </a:cubicBezTo>
                <a:cubicBezTo>
                  <a:pt x="449" y="188"/>
                  <a:pt x="449" y="189"/>
                  <a:pt x="448" y="189"/>
                </a:cubicBezTo>
                <a:cubicBezTo>
                  <a:pt x="448" y="189"/>
                  <a:pt x="447" y="189"/>
                  <a:pt x="447" y="189"/>
                </a:cubicBezTo>
                <a:cubicBezTo>
                  <a:pt x="446" y="189"/>
                  <a:pt x="447" y="191"/>
                  <a:pt x="447" y="191"/>
                </a:cubicBezTo>
                <a:cubicBezTo>
                  <a:pt x="448" y="192"/>
                  <a:pt x="448" y="192"/>
                  <a:pt x="449" y="191"/>
                </a:cubicBezTo>
                <a:cubicBezTo>
                  <a:pt x="449" y="193"/>
                  <a:pt x="449" y="193"/>
                  <a:pt x="448" y="193"/>
                </a:cubicBezTo>
                <a:cubicBezTo>
                  <a:pt x="449" y="194"/>
                  <a:pt x="448" y="194"/>
                  <a:pt x="448" y="196"/>
                </a:cubicBezTo>
                <a:cubicBezTo>
                  <a:pt x="447" y="196"/>
                  <a:pt x="447" y="196"/>
                  <a:pt x="446" y="197"/>
                </a:cubicBezTo>
                <a:cubicBezTo>
                  <a:pt x="446" y="197"/>
                  <a:pt x="447" y="198"/>
                  <a:pt x="446" y="198"/>
                </a:cubicBezTo>
                <a:cubicBezTo>
                  <a:pt x="446" y="199"/>
                  <a:pt x="447" y="199"/>
                  <a:pt x="448" y="199"/>
                </a:cubicBezTo>
                <a:cubicBezTo>
                  <a:pt x="448" y="199"/>
                  <a:pt x="448" y="200"/>
                  <a:pt x="448" y="200"/>
                </a:cubicBezTo>
                <a:cubicBezTo>
                  <a:pt x="447" y="200"/>
                  <a:pt x="447" y="201"/>
                  <a:pt x="447" y="201"/>
                </a:cubicBezTo>
                <a:cubicBezTo>
                  <a:pt x="447" y="202"/>
                  <a:pt x="447" y="204"/>
                  <a:pt x="448" y="204"/>
                </a:cubicBezTo>
                <a:cubicBezTo>
                  <a:pt x="448" y="204"/>
                  <a:pt x="448" y="204"/>
                  <a:pt x="448" y="205"/>
                </a:cubicBezTo>
                <a:cubicBezTo>
                  <a:pt x="448" y="205"/>
                  <a:pt x="448" y="205"/>
                  <a:pt x="448" y="205"/>
                </a:cubicBezTo>
                <a:cubicBezTo>
                  <a:pt x="449" y="205"/>
                  <a:pt x="449" y="205"/>
                  <a:pt x="449" y="206"/>
                </a:cubicBezTo>
                <a:cubicBezTo>
                  <a:pt x="449" y="207"/>
                  <a:pt x="448" y="206"/>
                  <a:pt x="448" y="207"/>
                </a:cubicBezTo>
                <a:cubicBezTo>
                  <a:pt x="448" y="207"/>
                  <a:pt x="448" y="207"/>
                  <a:pt x="448" y="208"/>
                </a:cubicBezTo>
                <a:cubicBezTo>
                  <a:pt x="448" y="207"/>
                  <a:pt x="447" y="207"/>
                  <a:pt x="447" y="207"/>
                </a:cubicBezTo>
                <a:cubicBezTo>
                  <a:pt x="447" y="208"/>
                  <a:pt x="447" y="208"/>
                  <a:pt x="447" y="209"/>
                </a:cubicBezTo>
                <a:cubicBezTo>
                  <a:pt x="447" y="211"/>
                  <a:pt x="446" y="210"/>
                  <a:pt x="445" y="211"/>
                </a:cubicBezTo>
                <a:cubicBezTo>
                  <a:pt x="444" y="211"/>
                  <a:pt x="443" y="211"/>
                  <a:pt x="443" y="212"/>
                </a:cubicBezTo>
                <a:cubicBezTo>
                  <a:pt x="443" y="212"/>
                  <a:pt x="443" y="212"/>
                  <a:pt x="443" y="212"/>
                </a:cubicBezTo>
                <a:cubicBezTo>
                  <a:pt x="442" y="212"/>
                  <a:pt x="442" y="213"/>
                  <a:pt x="442" y="213"/>
                </a:cubicBezTo>
                <a:cubicBezTo>
                  <a:pt x="442" y="215"/>
                  <a:pt x="443" y="215"/>
                  <a:pt x="444" y="215"/>
                </a:cubicBezTo>
                <a:cubicBezTo>
                  <a:pt x="444" y="215"/>
                  <a:pt x="445" y="216"/>
                  <a:pt x="445" y="216"/>
                </a:cubicBezTo>
                <a:cubicBezTo>
                  <a:pt x="445" y="217"/>
                  <a:pt x="445" y="217"/>
                  <a:pt x="446" y="217"/>
                </a:cubicBezTo>
                <a:cubicBezTo>
                  <a:pt x="447" y="218"/>
                  <a:pt x="448" y="217"/>
                  <a:pt x="448" y="218"/>
                </a:cubicBezTo>
                <a:cubicBezTo>
                  <a:pt x="448" y="219"/>
                  <a:pt x="448" y="219"/>
                  <a:pt x="448" y="219"/>
                </a:cubicBezTo>
                <a:cubicBezTo>
                  <a:pt x="449" y="220"/>
                  <a:pt x="449" y="220"/>
                  <a:pt x="449" y="221"/>
                </a:cubicBezTo>
                <a:cubicBezTo>
                  <a:pt x="449" y="222"/>
                  <a:pt x="449" y="222"/>
                  <a:pt x="450" y="223"/>
                </a:cubicBezTo>
                <a:cubicBezTo>
                  <a:pt x="451" y="224"/>
                  <a:pt x="451" y="225"/>
                  <a:pt x="451" y="226"/>
                </a:cubicBezTo>
                <a:cubicBezTo>
                  <a:pt x="452" y="227"/>
                  <a:pt x="452" y="227"/>
                  <a:pt x="452" y="227"/>
                </a:cubicBezTo>
                <a:cubicBezTo>
                  <a:pt x="453" y="227"/>
                  <a:pt x="453" y="227"/>
                  <a:pt x="453" y="227"/>
                </a:cubicBezTo>
                <a:cubicBezTo>
                  <a:pt x="453" y="228"/>
                  <a:pt x="453" y="228"/>
                  <a:pt x="454" y="228"/>
                </a:cubicBezTo>
                <a:cubicBezTo>
                  <a:pt x="453" y="229"/>
                  <a:pt x="452" y="230"/>
                  <a:pt x="452" y="231"/>
                </a:cubicBezTo>
                <a:cubicBezTo>
                  <a:pt x="452" y="232"/>
                  <a:pt x="452" y="234"/>
                  <a:pt x="452" y="234"/>
                </a:cubicBezTo>
                <a:cubicBezTo>
                  <a:pt x="453" y="234"/>
                  <a:pt x="453" y="233"/>
                  <a:pt x="453" y="232"/>
                </a:cubicBezTo>
                <a:cubicBezTo>
                  <a:pt x="453" y="231"/>
                  <a:pt x="454" y="234"/>
                  <a:pt x="454" y="235"/>
                </a:cubicBezTo>
                <a:cubicBezTo>
                  <a:pt x="454" y="235"/>
                  <a:pt x="453" y="235"/>
                  <a:pt x="452" y="235"/>
                </a:cubicBezTo>
                <a:cubicBezTo>
                  <a:pt x="451" y="235"/>
                  <a:pt x="452" y="235"/>
                  <a:pt x="452" y="235"/>
                </a:cubicBezTo>
                <a:cubicBezTo>
                  <a:pt x="451" y="235"/>
                  <a:pt x="451" y="236"/>
                  <a:pt x="451" y="236"/>
                </a:cubicBezTo>
                <a:cubicBezTo>
                  <a:pt x="451" y="237"/>
                  <a:pt x="451" y="237"/>
                  <a:pt x="450" y="238"/>
                </a:cubicBezTo>
                <a:cubicBezTo>
                  <a:pt x="449" y="238"/>
                  <a:pt x="449" y="239"/>
                  <a:pt x="449" y="240"/>
                </a:cubicBezTo>
                <a:cubicBezTo>
                  <a:pt x="448" y="240"/>
                  <a:pt x="447" y="241"/>
                  <a:pt x="446" y="242"/>
                </a:cubicBezTo>
                <a:cubicBezTo>
                  <a:pt x="446" y="242"/>
                  <a:pt x="446" y="242"/>
                  <a:pt x="446" y="243"/>
                </a:cubicBezTo>
                <a:cubicBezTo>
                  <a:pt x="446" y="243"/>
                  <a:pt x="444" y="243"/>
                  <a:pt x="444" y="244"/>
                </a:cubicBezTo>
                <a:cubicBezTo>
                  <a:pt x="443" y="244"/>
                  <a:pt x="440" y="245"/>
                  <a:pt x="440" y="246"/>
                </a:cubicBezTo>
                <a:cubicBezTo>
                  <a:pt x="440" y="247"/>
                  <a:pt x="440" y="248"/>
                  <a:pt x="440" y="249"/>
                </a:cubicBezTo>
                <a:cubicBezTo>
                  <a:pt x="440" y="250"/>
                  <a:pt x="440" y="250"/>
                  <a:pt x="441" y="251"/>
                </a:cubicBezTo>
                <a:cubicBezTo>
                  <a:pt x="441" y="251"/>
                  <a:pt x="442" y="252"/>
                  <a:pt x="442" y="252"/>
                </a:cubicBezTo>
                <a:cubicBezTo>
                  <a:pt x="442" y="254"/>
                  <a:pt x="442" y="255"/>
                  <a:pt x="442" y="257"/>
                </a:cubicBezTo>
                <a:cubicBezTo>
                  <a:pt x="442" y="256"/>
                  <a:pt x="442" y="258"/>
                  <a:pt x="442" y="259"/>
                </a:cubicBezTo>
                <a:cubicBezTo>
                  <a:pt x="442" y="259"/>
                  <a:pt x="444" y="260"/>
                  <a:pt x="442" y="260"/>
                </a:cubicBezTo>
                <a:cubicBezTo>
                  <a:pt x="442" y="261"/>
                  <a:pt x="443" y="261"/>
                  <a:pt x="443" y="262"/>
                </a:cubicBezTo>
                <a:cubicBezTo>
                  <a:pt x="443" y="262"/>
                  <a:pt x="443" y="262"/>
                  <a:pt x="443" y="262"/>
                </a:cubicBezTo>
                <a:cubicBezTo>
                  <a:pt x="443" y="263"/>
                  <a:pt x="443" y="263"/>
                  <a:pt x="442" y="263"/>
                </a:cubicBezTo>
                <a:cubicBezTo>
                  <a:pt x="442" y="264"/>
                  <a:pt x="442" y="265"/>
                  <a:pt x="441" y="265"/>
                </a:cubicBezTo>
                <a:cubicBezTo>
                  <a:pt x="442" y="266"/>
                  <a:pt x="442" y="266"/>
                  <a:pt x="442" y="267"/>
                </a:cubicBezTo>
                <a:cubicBezTo>
                  <a:pt x="441" y="267"/>
                  <a:pt x="442" y="267"/>
                  <a:pt x="441" y="267"/>
                </a:cubicBezTo>
                <a:cubicBezTo>
                  <a:pt x="441" y="267"/>
                  <a:pt x="441" y="267"/>
                  <a:pt x="440" y="267"/>
                </a:cubicBezTo>
                <a:cubicBezTo>
                  <a:pt x="439" y="267"/>
                  <a:pt x="440" y="267"/>
                  <a:pt x="439" y="268"/>
                </a:cubicBezTo>
                <a:cubicBezTo>
                  <a:pt x="438" y="268"/>
                  <a:pt x="439" y="268"/>
                  <a:pt x="439" y="269"/>
                </a:cubicBezTo>
                <a:cubicBezTo>
                  <a:pt x="437" y="269"/>
                  <a:pt x="435" y="269"/>
                  <a:pt x="434" y="269"/>
                </a:cubicBezTo>
                <a:cubicBezTo>
                  <a:pt x="434" y="268"/>
                  <a:pt x="434" y="268"/>
                  <a:pt x="434" y="268"/>
                </a:cubicBezTo>
                <a:cubicBezTo>
                  <a:pt x="434" y="268"/>
                  <a:pt x="433" y="266"/>
                  <a:pt x="432" y="265"/>
                </a:cubicBezTo>
                <a:cubicBezTo>
                  <a:pt x="431" y="265"/>
                  <a:pt x="431" y="265"/>
                  <a:pt x="431" y="264"/>
                </a:cubicBezTo>
                <a:cubicBezTo>
                  <a:pt x="430" y="264"/>
                  <a:pt x="430" y="264"/>
                  <a:pt x="429" y="263"/>
                </a:cubicBezTo>
                <a:cubicBezTo>
                  <a:pt x="429" y="263"/>
                  <a:pt x="430" y="262"/>
                  <a:pt x="429" y="261"/>
                </a:cubicBezTo>
                <a:cubicBezTo>
                  <a:pt x="429" y="261"/>
                  <a:pt x="429" y="260"/>
                  <a:pt x="428" y="260"/>
                </a:cubicBezTo>
                <a:cubicBezTo>
                  <a:pt x="428" y="259"/>
                  <a:pt x="427" y="259"/>
                  <a:pt x="426" y="259"/>
                </a:cubicBezTo>
                <a:cubicBezTo>
                  <a:pt x="427" y="257"/>
                  <a:pt x="427" y="256"/>
                  <a:pt x="427" y="255"/>
                </a:cubicBezTo>
                <a:cubicBezTo>
                  <a:pt x="426" y="255"/>
                  <a:pt x="428" y="250"/>
                  <a:pt x="426" y="250"/>
                </a:cubicBezTo>
                <a:cubicBezTo>
                  <a:pt x="426" y="249"/>
                  <a:pt x="426" y="249"/>
                  <a:pt x="426" y="248"/>
                </a:cubicBezTo>
                <a:cubicBezTo>
                  <a:pt x="426" y="247"/>
                  <a:pt x="426" y="248"/>
                  <a:pt x="426" y="248"/>
                </a:cubicBezTo>
                <a:cubicBezTo>
                  <a:pt x="427" y="246"/>
                  <a:pt x="427" y="245"/>
                  <a:pt x="427" y="243"/>
                </a:cubicBezTo>
                <a:cubicBezTo>
                  <a:pt x="426" y="243"/>
                  <a:pt x="424" y="243"/>
                  <a:pt x="424" y="243"/>
                </a:cubicBezTo>
                <a:cubicBezTo>
                  <a:pt x="424" y="242"/>
                  <a:pt x="423" y="243"/>
                  <a:pt x="423" y="242"/>
                </a:cubicBezTo>
                <a:cubicBezTo>
                  <a:pt x="423" y="242"/>
                  <a:pt x="422" y="242"/>
                  <a:pt x="421" y="242"/>
                </a:cubicBezTo>
                <a:cubicBezTo>
                  <a:pt x="422" y="241"/>
                  <a:pt x="420" y="242"/>
                  <a:pt x="420" y="241"/>
                </a:cubicBezTo>
                <a:cubicBezTo>
                  <a:pt x="419" y="241"/>
                  <a:pt x="418" y="241"/>
                  <a:pt x="417" y="242"/>
                </a:cubicBezTo>
                <a:cubicBezTo>
                  <a:pt x="417" y="242"/>
                  <a:pt x="417" y="241"/>
                  <a:pt x="416" y="241"/>
                </a:cubicBezTo>
                <a:cubicBezTo>
                  <a:pt x="416" y="242"/>
                  <a:pt x="416" y="242"/>
                  <a:pt x="415" y="242"/>
                </a:cubicBezTo>
                <a:cubicBezTo>
                  <a:pt x="415" y="242"/>
                  <a:pt x="414" y="242"/>
                  <a:pt x="414" y="242"/>
                </a:cubicBezTo>
                <a:cubicBezTo>
                  <a:pt x="414" y="242"/>
                  <a:pt x="413" y="241"/>
                  <a:pt x="413" y="241"/>
                </a:cubicBezTo>
                <a:cubicBezTo>
                  <a:pt x="412" y="241"/>
                  <a:pt x="412" y="241"/>
                  <a:pt x="412" y="240"/>
                </a:cubicBezTo>
                <a:cubicBezTo>
                  <a:pt x="412" y="240"/>
                  <a:pt x="411" y="240"/>
                  <a:pt x="411" y="240"/>
                </a:cubicBezTo>
                <a:cubicBezTo>
                  <a:pt x="410" y="240"/>
                  <a:pt x="410" y="240"/>
                  <a:pt x="409" y="239"/>
                </a:cubicBezTo>
                <a:cubicBezTo>
                  <a:pt x="409" y="238"/>
                  <a:pt x="409" y="238"/>
                  <a:pt x="408" y="238"/>
                </a:cubicBezTo>
                <a:cubicBezTo>
                  <a:pt x="407" y="238"/>
                  <a:pt x="406" y="238"/>
                  <a:pt x="405" y="238"/>
                </a:cubicBezTo>
                <a:cubicBezTo>
                  <a:pt x="404" y="237"/>
                  <a:pt x="404" y="237"/>
                  <a:pt x="404" y="236"/>
                </a:cubicBezTo>
                <a:cubicBezTo>
                  <a:pt x="403" y="236"/>
                  <a:pt x="402" y="236"/>
                  <a:pt x="401" y="236"/>
                </a:cubicBezTo>
                <a:cubicBezTo>
                  <a:pt x="401" y="235"/>
                  <a:pt x="400" y="232"/>
                  <a:pt x="399" y="232"/>
                </a:cubicBezTo>
                <a:cubicBezTo>
                  <a:pt x="399" y="232"/>
                  <a:pt x="399" y="231"/>
                  <a:pt x="399" y="231"/>
                </a:cubicBezTo>
                <a:cubicBezTo>
                  <a:pt x="398" y="231"/>
                  <a:pt x="397" y="231"/>
                  <a:pt x="396" y="231"/>
                </a:cubicBezTo>
                <a:cubicBezTo>
                  <a:pt x="396" y="231"/>
                  <a:pt x="395" y="229"/>
                  <a:pt x="395" y="229"/>
                </a:cubicBezTo>
                <a:cubicBezTo>
                  <a:pt x="394" y="229"/>
                  <a:pt x="393" y="229"/>
                  <a:pt x="393" y="229"/>
                </a:cubicBezTo>
                <a:cubicBezTo>
                  <a:pt x="393" y="229"/>
                  <a:pt x="393" y="229"/>
                  <a:pt x="392" y="229"/>
                </a:cubicBezTo>
                <a:cubicBezTo>
                  <a:pt x="392" y="229"/>
                  <a:pt x="391" y="229"/>
                  <a:pt x="391" y="228"/>
                </a:cubicBezTo>
                <a:cubicBezTo>
                  <a:pt x="391" y="228"/>
                  <a:pt x="390" y="227"/>
                  <a:pt x="390" y="227"/>
                </a:cubicBezTo>
                <a:cubicBezTo>
                  <a:pt x="390" y="227"/>
                  <a:pt x="389" y="227"/>
                  <a:pt x="389" y="227"/>
                </a:cubicBezTo>
                <a:cubicBezTo>
                  <a:pt x="389" y="227"/>
                  <a:pt x="387" y="226"/>
                  <a:pt x="387" y="226"/>
                </a:cubicBezTo>
                <a:cubicBezTo>
                  <a:pt x="386" y="226"/>
                  <a:pt x="386" y="226"/>
                  <a:pt x="386" y="225"/>
                </a:cubicBezTo>
                <a:cubicBezTo>
                  <a:pt x="385" y="225"/>
                  <a:pt x="384" y="226"/>
                  <a:pt x="383" y="226"/>
                </a:cubicBezTo>
                <a:cubicBezTo>
                  <a:pt x="383" y="226"/>
                  <a:pt x="383" y="226"/>
                  <a:pt x="383" y="226"/>
                </a:cubicBezTo>
                <a:cubicBezTo>
                  <a:pt x="382" y="226"/>
                  <a:pt x="382" y="226"/>
                  <a:pt x="382" y="226"/>
                </a:cubicBezTo>
                <a:cubicBezTo>
                  <a:pt x="382" y="226"/>
                  <a:pt x="382" y="226"/>
                  <a:pt x="381" y="226"/>
                </a:cubicBezTo>
                <a:cubicBezTo>
                  <a:pt x="380" y="226"/>
                  <a:pt x="380" y="227"/>
                  <a:pt x="379" y="227"/>
                </a:cubicBezTo>
                <a:cubicBezTo>
                  <a:pt x="379" y="227"/>
                  <a:pt x="378" y="226"/>
                  <a:pt x="379" y="225"/>
                </a:cubicBezTo>
                <a:cubicBezTo>
                  <a:pt x="379" y="226"/>
                  <a:pt x="379" y="225"/>
                  <a:pt x="379" y="225"/>
                </a:cubicBezTo>
                <a:cubicBezTo>
                  <a:pt x="379" y="225"/>
                  <a:pt x="378" y="224"/>
                  <a:pt x="378" y="223"/>
                </a:cubicBezTo>
                <a:cubicBezTo>
                  <a:pt x="378" y="223"/>
                  <a:pt x="377" y="223"/>
                  <a:pt x="377" y="222"/>
                </a:cubicBezTo>
                <a:cubicBezTo>
                  <a:pt x="377" y="222"/>
                  <a:pt x="377" y="222"/>
                  <a:pt x="377" y="222"/>
                </a:cubicBezTo>
                <a:cubicBezTo>
                  <a:pt x="377" y="221"/>
                  <a:pt x="377" y="221"/>
                  <a:pt x="377" y="221"/>
                </a:cubicBezTo>
                <a:cubicBezTo>
                  <a:pt x="377" y="221"/>
                  <a:pt x="377" y="220"/>
                  <a:pt x="377" y="220"/>
                </a:cubicBezTo>
                <a:cubicBezTo>
                  <a:pt x="377" y="219"/>
                  <a:pt x="376" y="219"/>
                  <a:pt x="376" y="218"/>
                </a:cubicBezTo>
                <a:cubicBezTo>
                  <a:pt x="376" y="218"/>
                  <a:pt x="376" y="217"/>
                  <a:pt x="375" y="217"/>
                </a:cubicBezTo>
                <a:cubicBezTo>
                  <a:pt x="375" y="217"/>
                  <a:pt x="375" y="216"/>
                  <a:pt x="375" y="216"/>
                </a:cubicBezTo>
                <a:cubicBezTo>
                  <a:pt x="374" y="216"/>
                  <a:pt x="374" y="215"/>
                  <a:pt x="374" y="214"/>
                </a:cubicBezTo>
                <a:cubicBezTo>
                  <a:pt x="372" y="214"/>
                  <a:pt x="371" y="215"/>
                  <a:pt x="370" y="215"/>
                </a:cubicBezTo>
                <a:cubicBezTo>
                  <a:pt x="370" y="214"/>
                  <a:pt x="369" y="214"/>
                  <a:pt x="369" y="215"/>
                </a:cubicBezTo>
                <a:cubicBezTo>
                  <a:pt x="368" y="215"/>
                  <a:pt x="367" y="215"/>
                  <a:pt x="367" y="214"/>
                </a:cubicBezTo>
                <a:cubicBezTo>
                  <a:pt x="366" y="213"/>
                  <a:pt x="366" y="211"/>
                  <a:pt x="366" y="210"/>
                </a:cubicBezTo>
                <a:cubicBezTo>
                  <a:pt x="366" y="210"/>
                  <a:pt x="365" y="210"/>
                  <a:pt x="365" y="210"/>
                </a:cubicBezTo>
                <a:cubicBezTo>
                  <a:pt x="365" y="209"/>
                  <a:pt x="365" y="209"/>
                  <a:pt x="365" y="209"/>
                </a:cubicBezTo>
                <a:cubicBezTo>
                  <a:pt x="365" y="208"/>
                  <a:pt x="366" y="208"/>
                  <a:pt x="366" y="208"/>
                </a:cubicBezTo>
                <a:cubicBezTo>
                  <a:pt x="366" y="207"/>
                  <a:pt x="366" y="207"/>
                  <a:pt x="366" y="206"/>
                </a:cubicBezTo>
                <a:cubicBezTo>
                  <a:pt x="366" y="205"/>
                  <a:pt x="366" y="205"/>
                  <a:pt x="366" y="205"/>
                </a:cubicBezTo>
                <a:cubicBezTo>
                  <a:pt x="366" y="204"/>
                  <a:pt x="366" y="204"/>
                  <a:pt x="366" y="204"/>
                </a:cubicBezTo>
                <a:cubicBezTo>
                  <a:pt x="367" y="204"/>
                  <a:pt x="367" y="203"/>
                  <a:pt x="367" y="203"/>
                </a:cubicBezTo>
                <a:cubicBezTo>
                  <a:pt x="368" y="203"/>
                  <a:pt x="368" y="202"/>
                  <a:pt x="368" y="202"/>
                </a:cubicBezTo>
                <a:cubicBezTo>
                  <a:pt x="368" y="202"/>
                  <a:pt x="367" y="201"/>
                  <a:pt x="367" y="201"/>
                </a:cubicBezTo>
                <a:cubicBezTo>
                  <a:pt x="367" y="200"/>
                  <a:pt x="369" y="200"/>
                  <a:pt x="370" y="200"/>
                </a:cubicBezTo>
                <a:cubicBezTo>
                  <a:pt x="371" y="200"/>
                  <a:pt x="371" y="199"/>
                  <a:pt x="370" y="199"/>
                </a:cubicBezTo>
                <a:cubicBezTo>
                  <a:pt x="370" y="199"/>
                  <a:pt x="370" y="198"/>
                  <a:pt x="370" y="198"/>
                </a:cubicBezTo>
                <a:cubicBezTo>
                  <a:pt x="370" y="197"/>
                  <a:pt x="371" y="197"/>
                  <a:pt x="372" y="196"/>
                </a:cubicBezTo>
                <a:cubicBezTo>
                  <a:pt x="372" y="196"/>
                  <a:pt x="373" y="195"/>
                  <a:pt x="373" y="195"/>
                </a:cubicBezTo>
                <a:cubicBezTo>
                  <a:pt x="373" y="195"/>
                  <a:pt x="373" y="194"/>
                  <a:pt x="373" y="194"/>
                </a:cubicBezTo>
                <a:cubicBezTo>
                  <a:pt x="374" y="194"/>
                  <a:pt x="374" y="194"/>
                  <a:pt x="375" y="194"/>
                </a:cubicBezTo>
                <a:cubicBezTo>
                  <a:pt x="375" y="194"/>
                  <a:pt x="375" y="193"/>
                  <a:pt x="376" y="193"/>
                </a:cubicBezTo>
                <a:cubicBezTo>
                  <a:pt x="376" y="193"/>
                  <a:pt x="376" y="192"/>
                  <a:pt x="376" y="192"/>
                </a:cubicBezTo>
                <a:cubicBezTo>
                  <a:pt x="377" y="192"/>
                  <a:pt x="375" y="190"/>
                  <a:pt x="376" y="190"/>
                </a:cubicBezTo>
                <a:cubicBezTo>
                  <a:pt x="378" y="190"/>
                  <a:pt x="377" y="190"/>
                  <a:pt x="377" y="189"/>
                </a:cubicBezTo>
                <a:cubicBezTo>
                  <a:pt x="378" y="189"/>
                  <a:pt x="378" y="189"/>
                  <a:pt x="379" y="189"/>
                </a:cubicBezTo>
                <a:cubicBezTo>
                  <a:pt x="380" y="189"/>
                  <a:pt x="381" y="189"/>
                  <a:pt x="380" y="189"/>
                </a:cubicBezTo>
                <a:cubicBezTo>
                  <a:pt x="380" y="189"/>
                  <a:pt x="378" y="188"/>
                  <a:pt x="379" y="188"/>
                </a:cubicBezTo>
                <a:cubicBezTo>
                  <a:pt x="381" y="188"/>
                  <a:pt x="381" y="188"/>
                  <a:pt x="381" y="187"/>
                </a:cubicBezTo>
                <a:cubicBezTo>
                  <a:pt x="380" y="187"/>
                  <a:pt x="381" y="187"/>
                  <a:pt x="380" y="186"/>
                </a:cubicBezTo>
                <a:cubicBezTo>
                  <a:pt x="381" y="186"/>
                  <a:pt x="381" y="186"/>
                  <a:pt x="382" y="186"/>
                </a:cubicBezTo>
                <a:cubicBezTo>
                  <a:pt x="383" y="186"/>
                  <a:pt x="384" y="187"/>
                  <a:pt x="385" y="187"/>
                </a:cubicBezTo>
                <a:cubicBezTo>
                  <a:pt x="385" y="187"/>
                  <a:pt x="385" y="186"/>
                  <a:pt x="385" y="186"/>
                </a:cubicBezTo>
                <a:cubicBezTo>
                  <a:pt x="385" y="186"/>
                  <a:pt x="386" y="186"/>
                  <a:pt x="386" y="186"/>
                </a:cubicBezTo>
                <a:cubicBezTo>
                  <a:pt x="386" y="186"/>
                  <a:pt x="387" y="185"/>
                  <a:pt x="387" y="185"/>
                </a:cubicBezTo>
                <a:cubicBezTo>
                  <a:pt x="388" y="184"/>
                  <a:pt x="387" y="183"/>
                  <a:pt x="387" y="182"/>
                </a:cubicBezTo>
                <a:cubicBezTo>
                  <a:pt x="387" y="182"/>
                  <a:pt x="386" y="183"/>
                  <a:pt x="386" y="182"/>
                </a:cubicBezTo>
                <a:cubicBezTo>
                  <a:pt x="386" y="182"/>
                  <a:pt x="386" y="181"/>
                  <a:pt x="386" y="181"/>
                </a:cubicBezTo>
                <a:cubicBezTo>
                  <a:pt x="386" y="180"/>
                  <a:pt x="386" y="180"/>
                  <a:pt x="386" y="180"/>
                </a:cubicBezTo>
                <a:cubicBezTo>
                  <a:pt x="386" y="180"/>
                  <a:pt x="388" y="181"/>
                  <a:pt x="388" y="180"/>
                </a:cubicBezTo>
                <a:cubicBezTo>
                  <a:pt x="388" y="180"/>
                  <a:pt x="388" y="180"/>
                  <a:pt x="389" y="179"/>
                </a:cubicBezTo>
                <a:cubicBezTo>
                  <a:pt x="389" y="179"/>
                  <a:pt x="389" y="179"/>
                  <a:pt x="390" y="178"/>
                </a:cubicBezTo>
                <a:cubicBezTo>
                  <a:pt x="388" y="178"/>
                  <a:pt x="389" y="176"/>
                  <a:pt x="389" y="175"/>
                </a:cubicBezTo>
                <a:cubicBezTo>
                  <a:pt x="390" y="175"/>
                  <a:pt x="390" y="175"/>
                  <a:pt x="391" y="175"/>
                </a:cubicBezTo>
                <a:cubicBezTo>
                  <a:pt x="392" y="175"/>
                  <a:pt x="392" y="175"/>
                  <a:pt x="392" y="174"/>
                </a:cubicBezTo>
                <a:cubicBezTo>
                  <a:pt x="392" y="174"/>
                  <a:pt x="392" y="174"/>
                  <a:pt x="392" y="174"/>
                </a:cubicBezTo>
                <a:cubicBezTo>
                  <a:pt x="393" y="174"/>
                  <a:pt x="393" y="174"/>
                  <a:pt x="393" y="174"/>
                </a:cubicBezTo>
                <a:cubicBezTo>
                  <a:pt x="393" y="174"/>
                  <a:pt x="394" y="174"/>
                  <a:pt x="394" y="174"/>
                </a:cubicBezTo>
                <a:cubicBezTo>
                  <a:pt x="395" y="174"/>
                  <a:pt x="395" y="175"/>
                  <a:pt x="395" y="175"/>
                </a:cubicBezTo>
                <a:cubicBezTo>
                  <a:pt x="397" y="175"/>
                  <a:pt x="396" y="175"/>
                  <a:pt x="397" y="176"/>
                </a:cubicBezTo>
                <a:cubicBezTo>
                  <a:pt x="397" y="175"/>
                  <a:pt x="397" y="175"/>
                  <a:pt x="398" y="175"/>
                </a:cubicBezTo>
                <a:cubicBezTo>
                  <a:pt x="399" y="175"/>
                  <a:pt x="400" y="174"/>
                  <a:pt x="400" y="174"/>
                </a:cubicBezTo>
                <a:cubicBezTo>
                  <a:pt x="402" y="174"/>
                  <a:pt x="402" y="173"/>
                  <a:pt x="402" y="171"/>
                </a:cubicBezTo>
                <a:cubicBezTo>
                  <a:pt x="401" y="170"/>
                  <a:pt x="402" y="169"/>
                  <a:pt x="403" y="168"/>
                </a:cubicBezTo>
                <a:cubicBezTo>
                  <a:pt x="404" y="168"/>
                  <a:pt x="403" y="168"/>
                  <a:pt x="402" y="168"/>
                </a:cubicBezTo>
                <a:cubicBezTo>
                  <a:pt x="402" y="168"/>
                  <a:pt x="401" y="168"/>
                  <a:pt x="401" y="168"/>
                </a:cubicBezTo>
                <a:cubicBezTo>
                  <a:pt x="401" y="168"/>
                  <a:pt x="401" y="167"/>
                  <a:pt x="401" y="167"/>
                </a:cubicBezTo>
                <a:cubicBezTo>
                  <a:pt x="400" y="167"/>
                  <a:pt x="400" y="167"/>
                  <a:pt x="399" y="167"/>
                </a:cubicBezTo>
                <a:cubicBezTo>
                  <a:pt x="397" y="167"/>
                  <a:pt x="396" y="166"/>
                  <a:pt x="394" y="167"/>
                </a:cubicBezTo>
                <a:cubicBezTo>
                  <a:pt x="393" y="167"/>
                  <a:pt x="391" y="167"/>
                  <a:pt x="390" y="167"/>
                </a:cubicBezTo>
                <a:cubicBezTo>
                  <a:pt x="389" y="167"/>
                  <a:pt x="388" y="167"/>
                  <a:pt x="387" y="167"/>
                </a:cubicBezTo>
                <a:cubicBezTo>
                  <a:pt x="387" y="167"/>
                  <a:pt x="388" y="166"/>
                  <a:pt x="388" y="166"/>
                </a:cubicBezTo>
                <a:cubicBezTo>
                  <a:pt x="388" y="166"/>
                  <a:pt x="389" y="166"/>
                  <a:pt x="390" y="166"/>
                </a:cubicBezTo>
                <a:cubicBezTo>
                  <a:pt x="390" y="165"/>
                  <a:pt x="391" y="166"/>
                  <a:pt x="392" y="166"/>
                </a:cubicBezTo>
                <a:cubicBezTo>
                  <a:pt x="392" y="166"/>
                  <a:pt x="393" y="165"/>
                  <a:pt x="392" y="165"/>
                </a:cubicBezTo>
                <a:cubicBezTo>
                  <a:pt x="392" y="165"/>
                  <a:pt x="392" y="165"/>
                  <a:pt x="391" y="165"/>
                </a:cubicBezTo>
                <a:cubicBezTo>
                  <a:pt x="392" y="164"/>
                  <a:pt x="392" y="164"/>
                  <a:pt x="392" y="163"/>
                </a:cubicBezTo>
                <a:cubicBezTo>
                  <a:pt x="392" y="163"/>
                  <a:pt x="392" y="163"/>
                  <a:pt x="392" y="163"/>
                </a:cubicBezTo>
                <a:cubicBezTo>
                  <a:pt x="393" y="163"/>
                  <a:pt x="393" y="163"/>
                  <a:pt x="393" y="164"/>
                </a:cubicBezTo>
                <a:cubicBezTo>
                  <a:pt x="393" y="164"/>
                  <a:pt x="394" y="164"/>
                  <a:pt x="394" y="164"/>
                </a:cubicBezTo>
                <a:cubicBezTo>
                  <a:pt x="395" y="164"/>
                  <a:pt x="395" y="165"/>
                  <a:pt x="396" y="164"/>
                </a:cubicBezTo>
                <a:cubicBezTo>
                  <a:pt x="396" y="163"/>
                  <a:pt x="397" y="163"/>
                  <a:pt x="397" y="164"/>
                </a:cubicBezTo>
                <a:cubicBezTo>
                  <a:pt x="398" y="165"/>
                  <a:pt x="399" y="164"/>
                  <a:pt x="399" y="164"/>
                </a:cubicBezTo>
                <a:cubicBezTo>
                  <a:pt x="401" y="164"/>
                  <a:pt x="401" y="164"/>
                  <a:pt x="402" y="165"/>
                </a:cubicBezTo>
                <a:cubicBezTo>
                  <a:pt x="402" y="166"/>
                  <a:pt x="403" y="167"/>
                  <a:pt x="404" y="167"/>
                </a:cubicBezTo>
                <a:cubicBezTo>
                  <a:pt x="404" y="167"/>
                  <a:pt x="405" y="167"/>
                  <a:pt x="405" y="167"/>
                </a:cubicBezTo>
                <a:cubicBezTo>
                  <a:pt x="405" y="167"/>
                  <a:pt x="406" y="167"/>
                  <a:pt x="405" y="166"/>
                </a:cubicBezTo>
                <a:cubicBezTo>
                  <a:pt x="406" y="166"/>
                  <a:pt x="406" y="165"/>
                  <a:pt x="406" y="164"/>
                </a:cubicBezTo>
                <a:cubicBezTo>
                  <a:pt x="407" y="164"/>
                  <a:pt x="407" y="164"/>
                  <a:pt x="407" y="164"/>
                </a:cubicBezTo>
                <a:cubicBezTo>
                  <a:pt x="407" y="163"/>
                  <a:pt x="407" y="162"/>
                  <a:pt x="407" y="162"/>
                </a:cubicBezTo>
                <a:cubicBezTo>
                  <a:pt x="407" y="161"/>
                  <a:pt x="407" y="161"/>
                  <a:pt x="407" y="160"/>
                </a:cubicBezTo>
                <a:cubicBezTo>
                  <a:pt x="407" y="160"/>
                  <a:pt x="405" y="160"/>
                  <a:pt x="406" y="160"/>
                </a:cubicBezTo>
                <a:cubicBezTo>
                  <a:pt x="406" y="159"/>
                  <a:pt x="407" y="159"/>
                  <a:pt x="408" y="159"/>
                </a:cubicBezTo>
                <a:cubicBezTo>
                  <a:pt x="408" y="159"/>
                  <a:pt x="409" y="159"/>
                  <a:pt x="409" y="159"/>
                </a:cubicBezTo>
                <a:cubicBezTo>
                  <a:pt x="409" y="159"/>
                  <a:pt x="409" y="159"/>
                  <a:pt x="409" y="159"/>
                </a:cubicBezTo>
                <a:cubicBezTo>
                  <a:pt x="410" y="159"/>
                  <a:pt x="410" y="158"/>
                  <a:pt x="410" y="159"/>
                </a:cubicBezTo>
                <a:cubicBezTo>
                  <a:pt x="411" y="160"/>
                  <a:pt x="411" y="160"/>
                  <a:pt x="412" y="160"/>
                </a:cubicBezTo>
                <a:cubicBezTo>
                  <a:pt x="413" y="161"/>
                  <a:pt x="413" y="162"/>
                  <a:pt x="415" y="162"/>
                </a:cubicBezTo>
                <a:cubicBezTo>
                  <a:pt x="416" y="162"/>
                  <a:pt x="415" y="161"/>
                  <a:pt x="416" y="161"/>
                </a:cubicBezTo>
                <a:cubicBezTo>
                  <a:pt x="417" y="161"/>
                  <a:pt x="418" y="161"/>
                  <a:pt x="418" y="160"/>
                </a:cubicBezTo>
                <a:cubicBezTo>
                  <a:pt x="418" y="160"/>
                  <a:pt x="417" y="160"/>
                  <a:pt x="417" y="160"/>
                </a:cubicBezTo>
                <a:cubicBezTo>
                  <a:pt x="417" y="160"/>
                  <a:pt x="417" y="159"/>
                  <a:pt x="417" y="159"/>
                </a:cubicBezTo>
                <a:cubicBezTo>
                  <a:pt x="416" y="158"/>
                  <a:pt x="416" y="159"/>
                  <a:pt x="415" y="158"/>
                </a:cubicBezTo>
                <a:cubicBezTo>
                  <a:pt x="415" y="158"/>
                  <a:pt x="415" y="157"/>
                  <a:pt x="414" y="156"/>
                </a:cubicBezTo>
                <a:cubicBezTo>
                  <a:pt x="414" y="157"/>
                  <a:pt x="413" y="157"/>
                  <a:pt x="413" y="157"/>
                </a:cubicBezTo>
                <a:cubicBezTo>
                  <a:pt x="413" y="157"/>
                  <a:pt x="413" y="156"/>
                  <a:pt x="413" y="156"/>
                </a:cubicBezTo>
                <a:cubicBezTo>
                  <a:pt x="414" y="156"/>
                  <a:pt x="414" y="155"/>
                  <a:pt x="414" y="155"/>
                </a:cubicBezTo>
                <a:cubicBezTo>
                  <a:pt x="415" y="155"/>
                  <a:pt x="415" y="156"/>
                  <a:pt x="415" y="156"/>
                </a:cubicBezTo>
                <a:cubicBezTo>
                  <a:pt x="416" y="157"/>
                  <a:pt x="416" y="156"/>
                  <a:pt x="417" y="156"/>
                </a:cubicBezTo>
                <a:cubicBezTo>
                  <a:pt x="417" y="157"/>
                  <a:pt x="417" y="159"/>
                  <a:pt x="418" y="158"/>
                </a:cubicBezTo>
                <a:cubicBezTo>
                  <a:pt x="419" y="158"/>
                  <a:pt x="419" y="160"/>
                  <a:pt x="421" y="160"/>
                </a:cubicBezTo>
                <a:cubicBezTo>
                  <a:pt x="420" y="159"/>
                  <a:pt x="422" y="158"/>
                  <a:pt x="422" y="158"/>
                </a:cubicBezTo>
                <a:cubicBezTo>
                  <a:pt x="423" y="158"/>
                  <a:pt x="423" y="157"/>
                  <a:pt x="423" y="156"/>
                </a:cubicBezTo>
                <a:cubicBezTo>
                  <a:pt x="423" y="156"/>
                  <a:pt x="424" y="157"/>
                  <a:pt x="424" y="156"/>
                </a:cubicBezTo>
                <a:cubicBezTo>
                  <a:pt x="424" y="156"/>
                  <a:pt x="424" y="156"/>
                  <a:pt x="424" y="156"/>
                </a:cubicBezTo>
                <a:cubicBezTo>
                  <a:pt x="424" y="156"/>
                  <a:pt x="425" y="156"/>
                  <a:pt x="425" y="156"/>
                </a:cubicBezTo>
                <a:cubicBezTo>
                  <a:pt x="426" y="156"/>
                  <a:pt x="426" y="155"/>
                  <a:pt x="427" y="155"/>
                </a:cubicBezTo>
                <a:cubicBezTo>
                  <a:pt x="428" y="155"/>
                  <a:pt x="428" y="155"/>
                  <a:pt x="428" y="154"/>
                </a:cubicBezTo>
                <a:cubicBezTo>
                  <a:pt x="428" y="154"/>
                  <a:pt x="429" y="155"/>
                  <a:pt x="429" y="154"/>
                </a:cubicBezTo>
                <a:cubicBezTo>
                  <a:pt x="429" y="154"/>
                  <a:pt x="427" y="154"/>
                  <a:pt x="429" y="154"/>
                </a:cubicBezTo>
                <a:cubicBezTo>
                  <a:pt x="430" y="154"/>
                  <a:pt x="431" y="154"/>
                  <a:pt x="431" y="154"/>
                </a:cubicBezTo>
                <a:cubicBezTo>
                  <a:pt x="432" y="154"/>
                  <a:pt x="432" y="152"/>
                  <a:pt x="433" y="152"/>
                </a:cubicBezTo>
                <a:cubicBezTo>
                  <a:pt x="433" y="152"/>
                  <a:pt x="433" y="151"/>
                  <a:pt x="433" y="151"/>
                </a:cubicBezTo>
                <a:cubicBezTo>
                  <a:pt x="433" y="150"/>
                  <a:pt x="433" y="148"/>
                  <a:pt x="432" y="148"/>
                </a:cubicBezTo>
                <a:cubicBezTo>
                  <a:pt x="432" y="148"/>
                  <a:pt x="431" y="148"/>
                  <a:pt x="431" y="148"/>
                </a:cubicBezTo>
                <a:cubicBezTo>
                  <a:pt x="429" y="147"/>
                  <a:pt x="430" y="147"/>
                  <a:pt x="429" y="146"/>
                </a:cubicBezTo>
                <a:cubicBezTo>
                  <a:pt x="428" y="146"/>
                  <a:pt x="429" y="146"/>
                  <a:pt x="428" y="145"/>
                </a:cubicBezTo>
                <a:cubicBezTo>
                  <a:pt x="428" y="145"/>
                  <a:pt x="428" y="145"/>
                  <a:pt x="428" y="145"/>
                </a:cubicBezTo>
                <a:cubicBezTo>
                  <a:pt x="428" y="144"/>
                  <a:pt x="428" y="144"/>
                  <a:pt x="428" y="144"/>
                </a:cubicBezTo>
                <a:cubicBezTo>
                  <a:pt x="428" y="143"/>
                  <a:pt x="428" y="142"/>
                  <a:pt x="428" y="141"/>
                </a:cubicBezTo>
                <a:cubicBezTo>
                  <a:pt x="429" y="141"/>
                  <a:pt x="431" y="141"/>
                  <a:pt x="431" y="140"/>
                </a:cubicBezTo>
                <a:cubicBezTo>
                  <a:pt x="431" y="139"/>
                  <a:pt x="430" y="139"/>
                  <a:pt x="429" y="139"/>
                </a:cubicBezTo>
                <a:cubicBezTo>
                  <a:pt x="429" y="139"/>
                  <a:pt x="429" y="139"/>
                  <a:pt x="428" y="139"/>
                </a:cubicBezTo>
                <a:cubicBezTo>
                  <a:pt x="429" y="138"/>
                  <a:pt x="429" y="137"/>
                  <a:pt x="429" y="137"/>
                </a:cubicBezTo>
                <a:cubicBezTo>
                  <a:pt x="430" y="137"/>
                  <a:pt x="430" y="137"/>
                  <a:pt x="430" y="137"/>
                </a:cubicBezTo>
                <a:cubicBezTo>
                  <a:pt x="430" y="136"/>
                  <a:pt x="430" y="135"/>
                  <a:pt x="430" y="135"/>
                </a:cubicBezTo>
                <a:cubicBezTo>
                  <a:pt x="431" y="135"/>
                  <a:pt x="431" y="135"/>
                  <a:pt x="431" y="134"/>
                </a:cubicBezTo>
                <a:cubicBezTo>
                  <a:pt x="431" y="134"/>
                  <a:pt x="431" y="134"/>
                  <a:pt x="431" y="133"/>
                </a:cubicBezTo>
                <a:cubicBezTo>
                  <a:pt x="429" y="133"/>
                  <a:pt x="428" y="134"/>
                  <a:pt x="426" y="134"/>
                </a:cubicBezTo>
                <a:cubicBezTo>
                  <a:pt x="426" y="133"/>
                  <a:pt x="425" y="132"/>
                  <a:pt x="425" y="132"/>
                </a:cubicBezTo>
                <a:cubicBezTo>
                  <a:pt x="426" y="131"/>
                  <a:pt x="427" y="132"/>
                  <a:pt x="426" y="131"/>
                </a:cubicBezTo>
                <a:cubicBezTo>
                  <a:pt x="426" y="131"/>
                  <a:pt x="425" y="130"/>
                  <a:pt x="424" y="130"/>
                </a:cubicBezTo>
                <a:cubicBezTo>
                  <a:pt x="424" y="130"/>
                  <a:pt x="425" y="129"/>
                  <a:pt x="425" y="129"/>
                </a:cubicBezTo>
                <a:cubicBezTo>
                  <a:pt x="424" y="129"/>
                  <a:pt x="421" y="128"/>
                  <a:pt x="421" y="129"/>
                </a:cubicBezTo>
                <a:cubicBezTo>
                  <a:pt x="421" y="129"/>
                  <a:pt x="421" y="129"/>
                  <a:pt x="420" y="129"/>
                </a:cubicBezTo>
                <a:cubicBezTo>
                  <a:pt x="420" y="129"/>
                  <a:pt x="419" y="129"/>
                  <a:pt x="419" y="129"/>
                </a:cubicBezTo>
                <a:cubicBezTo>
                  <a:pt x="419" y="128"/>
                  <a:pt x="416" y="128"/>
                  <a:pt x="416" y="128"/>
                </a:cubicBezTo>
                <a:cubicBezTo>
                  <a:pt x="416" y="129"/>
                  <a:pt x="413" y="128"/>
                  <a:pt x="412" y="128"/>
                </a:cubicBezTo>
                <a:cubicBezTo>
                  <a:pt x="413" y="129"/>
                  <a:pt x="413" y="128"/>
                  <a:pt x="413" y="130"/>
                </a:cubicBezTo>
                <a:cubicBezTo>
                  <a:pt x="414" y="130"/>
                  <a:pt x="413" y="132"/>
                  <a:pt x="414" y="132"/>
                </a:cubicBezTo>
                <a:cubicBezTo>
                  <a:pt x="414" y="133"/>
                  <a:pt x="414" y="133"/>
                  <a:pt x="414" y="134"/>
                </a:cubicBezTo>
                <a:cubicBezTo>
                  <a:pt x="414" y="134"/>
                  <a:pt x="414" y="134"/>
                  <a:pt x="414" y="134"/>
                </a:cubicBezTo>
                <a:cubicBezTo>
                  <a:pt x="415" y="134"/>
                  <a:pt x="415" y="134"/>
                  <a:pt x="415" y="135"/>
                </a:cubicBezTo>
                <a:cubicBezTo>
                  <a:pt x="415" y="135"/>
                  <a:pt x="415" y="135"/>
                  <a:pt x="416" y="135"/>
                </a:cubicBezTo>
                <a:cubicBezTo>
                  <a:pt x="415" y="136"/>
                  <a:pt x="415" y="136"/>
                  <a:pt x="416" y="137"/>
                </a:cubicBezTo>
                <a:cubicBezTo>
                  <a:pt x="416" y="137"/>
                  <a:pt x="415" y="137"/>
                  <a:pt x="415" y="137"/>
                </a:cubicBezTo>
                <a:cubicBezTo>
                  <a:pt x="415" y="137"/>
                  <a:pt x="415" y="138"/>
                  <a:pt x="415" y="138"/>
                </a:cubicBezTo>
                <a:cubicBezTo>
                  <a:pt x="415" y="138"/>
                  <a:pt x="414" y="138"/>
                  <a:pt x="413" y="138"/>
                </a:cubicBezTo>
                <a:cubicBezTo>
                  <a:pt x="412" y="138"/>
                  <a:pt x="412" y="139"/>
                  <a:pt x="412" y="140"/>
                </a:cubicBezTo>
                <a:cubicBezTo>
                  <a:pt x="412" y="141"/>
                  <a:pt x="412" y="142"/>
                  <a:pt x="411" y="142"/>
                </a:cubicBezTo>
                <a:cubicBezTo>
                  <a:pt x="410" y="143"/>
                  <a:pt x="412" y="143"/>
                  <a:pt x="411" y="144"/>
                </a:cubicBezTo>
                <a:cubicBezTo>
                  <a:pt x="410" y="144"/>
                  <a:pt x="410" y="145"/>
                  <a:pt x="410" y="145"/>
                </a:cubicBezTo>
                <a:cubicBezTo>
                  <a:pt x="409" y="145"/>
                  <a:pt x="410" y="145"/>
                  <a:pt x="410" y="145"/>
                </a:cubicBezTo>
                <a:cubicBezTo>
                  <a:pt x="409" y="146"/>
                  <a:pt x="409" y="146"/>
                  <a:pt x="409" y="147"/>
                </a:cubicBezTo>
                <a:cubicBezTo>
                  <a:pt x="409" y="147"/>
                  <a:pt x="408" y="148"/>
                  <a:pt x="407" y="148"/>
                </a:cubicBezTo>
                <a:cubicBezTo>
                  <a:pt x="408" y="149"/>
                  <a:pt x="408" y="150"/>
                  <a:pt x="408" y="150"/>
                </a:cubicBezTo>
                <a:cubicBezTo>
                  <a:pt x="407" y="150"/>
                  <a:pt x="407" y="151"/>
                  <a:pt x="406" y="151"/>
                </a:cubicBezTo>
                <a:cubicBezTo>
                  <a:pt x="405" y="151"/>
                  <a:pt x="405" y="151"/>
                  <a:pt x="405" y="153"/>
                </a:cubicBezTo>
                <a:cubicBezTo>
                  <a:pt x="404" y="153"/>
                  <a:pt x="404" y="153"/>
                  <a:pt x="404" y="152"/>
                </a:cubicBezTo>
                <a:cubicBezTo>
                  <a:pt x="403" y="152"/>
                  <a:pt x="403" y="152"/>
                  <a:pt x="402" y="152"/>
                </a:cubicBezTo>
                <a:cubicBezTo>
                  <a:pt x="402" y="152"/>
                  <a:pt x="401" y="151"/>
                  <a:pt x="401" y="151"/>
                </a:cubicBezTo>
                <a:cubicBezTo>
                  <a:pt x="401" y="150"/>
                  <a:pt x="401" y="150"/>
                  <a:pt x="400" y="149"/>
                </a:cubicBezTo>
                <a:cubicBezTo>
                  <a:pt x="400" y="148"/>
                  <a:pt x="400" y="148"/>
                  <a:pt x="399" y="148"/>
                </a:cubicBezTo>
                <a:cubicBezTo>
                  <a:pt x="398" y="148"/>
                  <a:pt x="398" y="147"/>
                  <a:pt x="398" y="147"/>
                </a:cubicBezTo>
                <a:cubicBezTo>
                  <a:pt x="398" y="146"/>
                  <a:pt x="397" y="146"/>
                  <a:pt x="397" y="146"/>
                </a:cubicBezTo>
                <a:cubicBezTo>
                  <a:pt x="397" y="145"/>
                  <a:pt x="396" y="145"/>
                  <a:pt x="396" y="144"/>
                </a:cubicBezTo>
                <a:cubicBezTo>
                  <a:pt x="397" y="144"/>
                  <a:pt x="396" y="143"/>
                  <a:pt x="397" y="143"/>
                </a:cubicBezTo>
                <a:cubicBezTo>
                  <a:pt x="397" y="142"/>
                  <a:pt x="398" y="143"/>
                  <a:pt x="398" y="142"/>
                </a:cubicBezTo>
                <a:cubicBezTo>
                  <a:pt x="398" y="141"/>
                  <a:pt x="398" y="140"/>
                  <a:pt x="399" y="139"/>
                </a:cubicBezTo>
                <a:cubicBezTo>
                  <a:pt x="399" y="139"/>
                  <a:pt x="400" y="138"/>
                  <a:pt x="400" y="137"/>
                </a:cubicBezTo>
                <a:cubicBezTo>
                  <a:pt x="400" y="136"/>
                  <a:pt x="399" y="133"/>
                  <a:pt x="398" y="132"/>
                </a:cubicBezTo>
                <a:cubicBezTo>
                  <a:pt x="397" y="132"/>
                  <a:pt x="394" y="134"/>
                  <a:pt x="394" y="134"/>
                </a:cubicBezTo>
                <a:cubicBezTo>
                  <a:pt x="394" y="135"/>
                  <a:pt x="394" y="136"/>
                  <a:pt x="393" y="136"/>
                </a:cubicBezTo>
                <a:cubicBezTo>
                  <a:pt x="393" y="138"/>
                  <a:pt x="393" y="139"/>
                  <a:pt x="393" y="140"/>
                </a:cubicBezTo>
                <a:cubicBezTo>
                  <a:pt x="392" y="140"/>
                  <a:pt x="392" y="141"/>
                  <a:pt x="391" y="141"/>
                </a:cubicBezTo>
                <a:cubicBezTo>
                  <a:pt x="391" y="141"/>
                  <a:pt x="391" y="143"/>
                  <a:pt x="391" y="143"/>
                </a:cubicBezTo>
                <a:cubicBezTo>
                  <a:pt x="390" y="143"/>
                  <a:pt x="390" y="143"/>
                  <a:pt x="389" y="143"/>
                </a:cubicBezTo>
                <a:cubicBezTo>
                  <a:pt x="389" y="142"/>
                  <a:pt x="389" y="142"/>
                  <a:pt x="389" y="142"/>
                </a:cubicBezTo>
                <a:cubicBezTo>
                  <a:pt x="389" y="141"/>
                  <a:pt x="389" y="141"/>
                  <a:pt x="389" y="140"/>
                </a:cubicBezTo>
                <a:cubicBezTo>
                  <a:pt x="389" y="140"/>
                  <a:pt x="388" y="140"/>
                  <a:pt x="388" y="140"/>
                </a:cubicBezTo>
                <a:cubicBezTo>
                  <a:pt x="388" y="140"/>
                  <a:pt x="388" y="139"/>
                  <a:pt x="388" y="139"/>
                </a:cubicBezTo>
                <a:cubicBezTo>
                  <a:pt x="388" y="138"/>
                  <a:pt x="388" y="138"/>
                  <a:pt x="387" y="138"/>
                </a:cubicBezTo>
                <a:cubicBezTo>
                  <a:pt x="387" y="137"/>
                  <a:pt x="387" y="137"/>
                  <a:pt x="388" y="136"/>
                </a:cubicBezTo>
                <a:cubicBezTo>
                  <a:pt x="387" y="136"/>
                  <a:pt x="387" y="136"/>
                  <a:pt x="387" y="135"/>
                </a:cubicBezTo>
                <a:cubicBezTo>
                  <a:pt x="387" y="135"/>
                  <a:pt x="386" y="135"/>
                  <a:pt x="386" y="134"/>
                </a:cubicBezTo>
                <a:cubicBezTo>
                  <a:pt x="387" y="134"/>
                  <a:pt x="387" y="134"/>
                  <a:pt x="387" y="134"/>
                </a:cubicBezTo>
                <a:cubicBezTo>
                  <a:pt x="387" y="134"/>
                  <a:pt x="386" y="134"/>
                  <a:pt x="386" y="134"/>
                </a:cubicBezTo>
                <a:cubicBezTo>
                  <a:pt x="386" y="133"/>
                  <a:pt x="386" y="133"/>
                  <a:pt x="386" y="133"/>
                </a:cubicBezTo>
                <a:cubicBezTo>
                  <a:pt x="386" y="132"/>
                  <a:pt x="384" y="133"/>
                  <a:pt x="383" y="133"/>
                </a:cubicBezTo>
                <a:cubicBezTo>
                  <a:pt x="383" y="133"/>
                  <a:pt x="383" y="132"/>
                  <a:pt x="383" y="132"/>
                </a:cubicBezTo>
                <a:cubicBezTo>
                  <a:pt x="383" y="132"/>
                  <a:pt x="383" y="132"/>
                  <a:pt x="383" y="132"/>
                </a:cubicBezTo>
                <a:cubicBezTo>
                  <a:pt x="382" y="132"/>
                  <a:pt x="383" y="132"/>
                  <a:pt x="382" y="132"/>
                </a:cubicBezTo>
                <a:cubicBezTo>
                  <a:pt x="382" y="132"/>
                  <a:pt x="382" y="132"/>
                  <a:pt x="382" y="132"/>
                </a:cubicBezTo>
                <a:cubicBezTo>
                  <a:pt x="381" y="132"/>
                  <a:pt x="380" y="131"/>
                  <a:pt x="380" y="131"/>
                </a:cubicBezTo>
                <a:cubicBezTo>
                  <a:pt x="379" y="130"/>
                  <a:pt x="378" y="130"/>
                  <a:pt x="378" y="129"/>
                </a:cubicBezTo>
                <a:cubicBezTo>
                  <a:pt x="378" y="128"/>
                  <a:pt x="381" y="128"/>
                  <a:pt x="381" y="127"/>
                </a:cubicBezTo>
                <a:cubicBezTo>
                  <a:pt x="381" y="127"/>
                  <a:pt x="381" y="127"/>
                  <a:pt x="381" y="126"/>
                </a:cubicBezTo>
                <a:cubicBezTo>
                  <a:pt x="382" y="126"/>
                  <a:pt x="382" y="125"/>
                  <a:pt x="382" y="125"/>
                </a:cubicBezTo>
                <a:cubicBezTo>
                  <a:pt x="381" y="125"/>
                  <a:pt x="380" y="125"/>
                  <a:pt x="379" y="126"/>
                </a:cubicBezTo>
                <a:cubicBezTo>
                  <a:pt x="380" y="125"/>
                  <a:pt x="380" y="124"/>
                  <a:pt x="380" y="123"/>
                </a:cubicBezTo>
                <a:cubicBezTo>
                  <a:pt x="381" y="123"/>
                  <a:pt x="382" y="123"/>
                  <a:pt x="382" y="124"/>
                </a:cubicBezTo>
                <a:cubicBezTo>
                  <a:pt x="382" y="124"/>
                  <a:pt x="382" y="124"/>
                  <a:pt x="383" y="123"/>
                </a:cubicBezTo>
                <a:cubicBezTo>
                  <a:pt x="383" y="123"/>
                  <a:pt x="384" y="123"/>
                  <a:pt x="384" y="124"/>
                </a:cubicBezTo>
                <a:cubicBezTo>
                  <a:pt x="385" y="124"/>
                  <a:pt x="384" y="123"/>
                  <a:pt x="385" y="123"/>
                </a:cubicBezTo>
                <a:cubicBezTo>
                  <a:pt x="385" y="122"/>
                  <a:pt x="385" y="122"/>
                  <a:pt x="384" y="121"/>
                </a:cubicBezTo>
                <a:cubicBezTo>
                  <a:pt x="384" y="121"/>
                  <a:pt x="383" y="122"/>
                  <a:pt x="383" y="121"/>
                </a:cubicBezTo>
                <a:cubicBezTo>
                  <a:pt x="382" y="120"/>
                  <a:pt x="382" y="119"/>
                  <a:pt x="381" y="119"/>
                </a:cubicBezTo>
                <a:cubicBezTo>
                  <a:pt x="381" y="119"/>
                  <a:pt x="380" y="119"/>
                  <a:pt x="379" y="119"/>
                </a:cubicBezTo>
                <a:cubicBezTo>
                  <a:pt x="379" y="119"/>
                  <a:pt x="379" y="118"/>
                  <a:pt x="378" y="118"/>
                </a:cubicBezTo>
                <a:cubicBezTo>
                  <a:pt x="378" y="118"/>
                  <a:pt x="378" y="118"/>
                  <a:pt x="377" y="117"/>
                </a:cubicBezTo>
                <a:cubicBezTo>
                  <a:pt x="377" y="117"/>
                  <a:pt x="377" y="117"/>
                  <a:pt x="376" y="117"/>
                </a:cubicBezTo>
                <a:cubicBezTo>
                  <a:pt x="376" y="117"/>
                  <a:pt x="376" y="117"/>
                  <a:pt x="375" y="117"/>
                </a:cubicBezTo>
                <a:cubicBezTo>
                  <a:pt x="375" y="117"/>
                  <a:pt x="375" y="116"/>
                  <a:pt x="374" y="116"/>
                </a:cubicBezTo>
                <a:cubicBezTo>
                  <a:pt x="374" y="116"/>
                  <a:pt x="374" y="116"/>
                  <a:pt x="373" y="115"/>
                </a:cubicBezTo>
                <a:cubicBezTo>
                  <a:pt x="372" y="115"/>
                  <a:pt x="372" y="114"/>
                  <a:pt x="372" y="114"/>
                </a:cubicBezTo>
                <a:cubicBezTo>
                  <a:pt x="371" y="114"/>
                  <a:pt x="371" y="114"/>
                  <a:pt x="371" y="113"/>
                </a:cubicBezTo>
                <a:cubicBezTo>
                  <a:pt x="370" y="113"/>
                  <a:pt x="370" y="112"/>
                  <a:pt x="369" y="113"/>
                </a:cubicBezTo>
                <a:cubicBezTo>
                  <a:pt x="369" y="112"/>
                  <a:pt x="369" y="112"/>
                  <a:pt x="369" y="112"/>
                </a:cubicBezTo>
                <a:cubicBezTo>
                  <a:pt x="368" y="112"/>
                  <a:pt x="368" y="112"/>
                  <a:pt x="367" y="112"/>
                </a:cubicBezTo>
                <a:cubicBezTo>
                  <a:pt x="367" y="112"/>
                  <a:pt x="367" y="110"/>
                  <a:pt x="367" y="110"/>
                </a:cubicBezTo>
                <a:cubicBezTo>
                  <a:pt x="369" y="110"/>
                  <a:pt x="369" y="111"/>
                  <a:pt x="369" y="109"/>
                </a:cubicBezTo>
                <a:cubicBezTo>
                  <a:pt x="369" y="109"/>
                  <a:pt x="369" y="109"/>
                  <a:pt x="368" y="109"/>
                </a:cubicBezTo>
                <a:cubicBezTo>
                  <a:pt x="368" y="109"/>
                  <a:pt x="369" y="109"/>
                  <a:pt x="369" y="108"/>
                </a:cubicBezTo>
                <a:cubicBezTo>
                  <a:pt x="369" y="108"/>
                  <a:pt x="370" y="108"/>
                  <a:pt x="370" y="108"/>
                </a:cubicBezTo>
                <a:cubicBezTo>
                  <a:pt x="371" y="107"/>
                  <a:pt x="371" y="107"/>
                  <a:pt x="371" y="106"/>
                </a:cubicBezTo>
                <a:cubicBezTo>
                  <a:pt x="371" y="106"/>
                  <a:pt x="369" y="106"/>
                  <a:pt x="369" y="105"/>
                </a:cubicBezTo>
                <a:cubicBezTo>
                  <a:pt x="369" y="104"/>
                  <a:pt x="368" y="104"/>
                  <a:pt x="370" y="104"/>
                </a:cubicBezTo>
                <a:cubicBezTo>
                  <a:pt x="370" y="103"/>
                  <a:pt x="370" y="103"/>
                  <a:pt x="370" y="103"/>
                </a:cubicBezTo>
                <a:cubicBezTo>
                  <a:pt x="370" y="103"/>
                  <a:pt x="370" y="103"/>
                  <a:pt x="371" y="103"/>
                </a:cubicBezTo>
                <a:cubicBezTo>
                  <a:pt x="372" y="103"/>
                  <a:pt x="373" y="103"/>
                  <a:pt x="374" y="103"/>
                </a:cubicBezTo>
                <a:cubicBezTo>
                  <a:pt x="376" y="103"/>
                  <a:pt x="378" y="102"/>
                  <a:pt x="380" y="102"/>
                </a:cubicBezTo>
                <a:cubicBezTo>
                  <a:pt x="381" y="102"/>
                  <a:pt x="382" y="102"/>
                  <a:pt x="383" y="101"/>
                </a:cubicBezTo>
                <a:cubicBezTo>
                  <a:pt x="383" y="101"/>
                  <a:pt x="384" y="101"/>
                  <a:pt x="384" y="100"/>
                </a:cubicBezTo>
                <a:cubicBezTo>
                  <a:pt x="385" y="99"/>
                  <a:pt x="385" y="99"/>
                  <a:pt x="386" y="98"/>
                </a:cubicBezTo>
                <a:cubicBezTo>
                  <a:pt x="386" y="98"/>
                  <a:pt x="386" y="98"/>
                  <a:pt x="386" y="97"/>
                </a:cubicBezTo>
                <a:cubicBezTo>
                  <a:pt x="386" y="96"/>
                  <a:pt x="387" y="96"/>
                  <a:pt x="387" y="96"/>
                </a:cubicBezTo>
                <a:cubicBezTo>
                  <a:pt x="387" y="95"/>
                  <a:pt x="388" y="94"/>
                  <a:pt x="388" y="93"/>
                </a:cubicBezTo>
                <a:cubicBezTo>
                  <a:pt x="387" y="93"/>
                  <a:pt x="386" y="93"/>
                  <a:pt x="386" y="93"/>
                </a:cubicBezTo>
                <a:cubicBezTo>
                  <a:pt x="385" y="93"/>
                  <a:pt x="385" y="93"/>
                  <a:pt x="384" y="92"/>
                </a:cubicBezTo>
                <a:cubicBezTo>
                  <a:pt x="383" y="92"/>
                  <a:pt x="382" y="92"/>
                  <a:pt x="380" y="92"/>
                </a:cubicBezTo>
                <a:cubicBezTo>
                  <a:pt x="380" y="93"/>
                  <a:pt x="380" y="93"/>
                  <a:pt x="379" y="92"/>
                </a:cubicBezTo>
                <a:cubicBezTo>
                  <a:pt x="379" y="91"/>
                  <a:pt x="378" y="91"/>
                  <a:pt x="377" y="91"/>
                </a:cubicBezTo>
                <a:cubicBezTo>
                  <a:pt x="377" y="91"/>
                  <a:pt x="376" y="91"/>
                  <a:pt x="376" y="91"/>
                </a:cubicBezTo>
                <a:cubicBezTo>
                  <a:pt x="376" y="91"/>
                  <a:pt x="374" y="90"/>
                  <a:pt x="374" y="90"/>
                </a:cubicBezTo>
                <a:cubicBezTo>
                  <a:pt x="373" y="90"/>
                  <a:pt x="372" y="90"/>
                  <a:pt x="371" y="90"/>
                </a:cubicBezTo>
                <a:cubicBezTo>
                  <a:pt x="370" y="90"/>
                  <a:pt x="370" y="90"/>
                  <a:pt x="370" y="91"/>
                </a:cubicBezTo>
                <a:cubicBezTo>
                  <a:pt x="369" y="91"/>
                  <a:pt x="369" y="92"/>
                  <a:pt x="369" y="92"/>
                </a:cubicBezTo>
                <a:cubicBezTo>
                  <a:pt x="368" y="93"/>
                  <a:pt x="368" y="91"/>
                  <a:pt x="368" y="91"/>
                </a:cubicBezTo>
                <a:cubicBezTo>
                  <a:pt x="366" y="92"/>
                  <a:pt x="365" y="92"/>
                  <a:pt x="363" y="92"/>
                </a:cubicBezTo>
                <a:cubicBezTo>
                  <a:pt x="363" y="93"/>
                  <a:pt x="364" y="94"/>
                  <a:pt x="364" y="95"/>
                </a:cubicBezTo>
                <a:cubicBezTo>
                  <a:pt x="363" y="94"/>
                  <a:pt x="363" y="94"/>
                  <a:pt x="362" y="94"/>
                </a:cubicBezTo>
                <a:cubicBezTo>
                  <a:pt x="362" y="95"/>
                  <a:pt x="362" y="95"/>
                  <a:pt x="362" y="96"/>
                </a:cubicBezTo>
                <a:cubicBezTo>
                  <a:pt x="362" y="96"/>
                  <a:pt x="363" y="96"/>
                  <a:pt x="363" y="97"/>
                </a:cubicBezTo>
                <a:cubicBezTo>
                  <a:pt x="362" y="97"/>
                  <a:pt x="362" y="96"/>
                  <a:pt x="363" y="97"/>
                </a:cubicBezTo>
                <a:cubicBezTo>
                  <a:pt x="363" y="98"/>
                  <a:pt x="363" y="98"/>
                  <a:pt x="363" y="98"/>
                </a:cubicBezTo>
                <a:cubicBezTo>
                  <a:pt x="364" y="98"/>
                  <a:pt x="363" y="99"/>
                  <a:pt x="364" y="99"/>
                </a:cubicBezTo>
                <a:cubicBezTo>
                  <a:pt x="364" y="99"/>
                  <a:pt x="363" y="100"/>
                  <a:pt x="363" y="100"/>
                </a:cubicBezTo>
                <a:cubicBezTo>
                  <a:pt x="364" y="100"/>
                  <a:pt x="363" y="102"/>
                  <a:pt x="364" y="102"/>
                </a:cubicBezTo>
                <a:cubicBezTo>
                  <a:pt x="365" y="102"/>
                  <a:pt x="365" y="104"/>
                  <a:pt x="364" y="104"/>
                </a:cubicBezTo>
                <a:cubicBezTo>
                  <a:pt x="364" y="105"/>
                  <a:pt x="365" y="106"/>
                  <a:pt x="365" y="106"/>
                </a:cubicBezTo>
                <a:cubicBezTo>
                  <a:pt x="366" y="106"/>
                  <a:pt x="365" y="107"/>
                  <a:pt x="365" y="107"/>
                </a:cubicBezTo>
                <a:cubicBezTo>
                  <a:pt x="365" y="108"/>
                  <a:pt x="366" y="108"/>
                  <a:pt x="365" y="108"/>
                </a:cubicBezTo>
                <a:cubicBezTo>
                  <a:pt x="365" y="109"/>
                  <a:pt x="365" y="109"/>
                  <a:pt x="365" y="109"/>
                </a:cubicBezTo>
                <a:cubicBezTo>
                  <a:pt x="365" y="110"/>
                  <a:pt x="365" y="110"/>
                  <a:pt x="365" y="111"/>
                </a:cubicBezTo>
                <a:cubicBezTo>
                  <a:pt x="365" y="112"/>
                  <a:pt x="364" y="111"/>
                  <a:pt x="363" y="112"/>
                </a:cubicBezTo>
                <a:cubicBezTo>
                  <a:pt x="363" y="112"/>
                  <a:pt x="363" y="113"/>
                  <a:pt x="362" y="113"/>
                </a:cubicBezTo>
                <a:cubicBezTo>
                  <a:pt x="362" y="113"/>
                  <a:pt x="362" y="113"/>
                  <a:pt x="362" y="113"/>
                </a:cubicBezTo>
                <a:cubicBezTo>
                  <a:pt x="363" y="113"/>
                  <a:pt x="365" y="115"/>
                  <a:pt x="365" y="116"/>
                </a:cubicBezTo>
                <a:cubicBezTo>
                  <a:pt x="363" y="116"/>
                  <a:pt x="362" y="115"/>
                  <a:pt x="361" y="115"/>
                </a:cubicBezTo>
                <a:cubicBezTo>
                  <a:pt x="361" y="115"/>
                  <a:pt x="361" y="116"/>
                  <a:pt x="361" y="116"/>
                </a:cubicBezTo>
                <a:cubicBezTo>
                  <a:pt x="360" y="116"/>
                  <a:pt x="360" y="117"/>
                  <a:pt x="360" y="118"/>
                </a:cubicBezTo>
                <a:cubicBezTo>
                  <a:pt x="360" y="118"/>
                  <a:pt x="360" y="118"/>
                  <a:pt x="360" y="118"/>
                </a:cubicBezTo>
                <a:cubicBezTo>
                  <a:pt x="360" y="118"/>
                  <a:pt x="360" y="118"/>
                  <a:pt x="360" y="119"/>
                </a:cubicBezTo>
                <a:cubicBezTo>
                  <a:pt x="359" y="119"/>
                  <a:pt x="359" y="120"/>
                  <a:pt x="360" y="120"/>
                </a:cubicBezTo>
                <a:cubicBezTo>
                  <a:pt x="360" y="121"/>
                  <a:pt x="361" y="122"/>
                  <a:pt x="361" y="122"/>
                </a:cubicBezTo>
                <a:cubicBezTo>
                  <a:pt x="361" y="123"/>
                  <a:pt x="358" y="122"/>
                  <a:pt x="358" y="123"/>
                </a:cubicBezTo>
                <a:cubicBezTo>
                  <a:pt x="358" y="124"/>
                  <a:pt x="358" y="124"/>
                  <a:pt x="359" y="124"/>
                </a:cubicBezTo>
                <a:cubicBezTo>
                  <a:pt x="358" y="125"/>
                  <a:pt x="358" y="125"/>
                  <a:pt x="359" y="125"/>
                </a:cubicBezTo>
                <a:cubicBezTo>
                  <a:pt x="360" y="126"/>
                  <a:pt x="360" y="126"/>
                  <a:pt x="361" y="126"/>
                </a:cubicBezTo>
                <a:cubicBezTo>
                  <a:pt x="362" y="126"/>
                  <a:pt x="362" y="126"/>
                  <a:pt x="362" y="127"/>
                </a:cubicBezTo>
                <a:cubicBezTo>
                  <a:pt x="361" y="128"/>
                  <a:pt x="361" y="129"/>
                  <a:pt x="361" y="130"/>
                </a:cubicBezTo>
                <a:cubicBezTo>
                  <a:pt x="362" y="130"/>
                  <a:pt x="361" y="129"/>
                  <a:pt x="362" y="129"/>
                </a:cubicBezTo>
                <a:cubicBezTo>
                  <a:pt x="362" y="129"/>
                  <a:pt x="362" y="131"/>
                  <a:pt x="363" y="130"/>
                </a:cubicBezTo>
                <a:cubicBezTo>
                  <a:pt x="363" y="130"/>
                  <a:pt x="363" y="129"/>
                  <a:pt x="363" y="128"/>
                </a:cubicBezTo>
                <a:cubicBezTo>
                  <a:pt x="363" y="128"/>
                  <a:pt x="363" y="127"/>
                  <a:pt x="364" y="127"/>
                </a:cubicBezTo>
                <a:cubicBezTo>
                  <a:pt x="364" y="127"/>
                  <a:pt x="364" y="127"/>
                  <a:pt x="364" y="127"/>
                </a:cubicBezTo>
                <a:cubicBezTo>
                  <a:pt x="365" y="127"/>
                  <a:pt x="365" y="128"/>
                  <a:pt x="365" y="128"/>
                </a:cubicBezTo>
                <a:cubicBezTo>
                  <a:pt x="366" y="128"/>
                  <a:pt x="366" y="128"/>
                  <a:pt x="367" y="129"/>
                </a:cubicBezTo>
                <a:cubicBezTo>
                  <a:pt x="368" y="130"/>
                  <a:pt x="368" y="129"/>
                  <a:pt x="368" y="130"/>
                </a:cubicBezTo>
                <a:cubicBezTo>
                  <a:pt x="368" y="130"/>
                  <a:pt x="369" y="132"/>
                  <a:pt x="369" y="132"/>
                </a:cubicBezTo>
                <a:cubicBezTo>
                  <a:pt x="369" y="132"/>
                  <a:pt x="370" y="132"/>
                  <a:pt x="370" y="132"/>
                </a:cubicBezTo>
                <a:cubicBezTo>
                  <a:pt x="371" y="131"/>
                  <a:pt x="370" y="131"/>
                  <a:pt x="371" y="131"/>
                </a:cubicBezTo>
                <a:cubicBezTo>
                  <a:pt x="372" y="131"/>
                  <a:pt x="372" y="131"/>
                  <a:pt x="372" y="130"/>
                </a:cubicBezTo>
                <a:cubicBezTo>
                  <a:pt x="372" y="130"/>
                  <a:pt x="373" y="130"/>
                  <a:pt x="373" y="130"/>
                </a:cubicBezTo>
                <a:cubicBezTo>
                  <a:pt x="373" y="130"/>
                  <a:pt x="372" y="130"/>
                  <a:pt x="373" y="130"/>
                </a:cubicBezTo>
                <a:cubicBezTo>
                  <a:pt x="373" y="130"/>
                  <a:pt x="373" y="130"/>
                  <a:pt x="373" y="130"/>
                </a:cubicBezTo>
                <a:cubicBezTo>
                  <a:pt x="373" y="129"/>
                  <a:pt x="375" y="130"/>
                  <a:pt x="375" y="129"/>
                </a:cubicBezTo>
                <a:cubicBezTo>
                  <a:pt x="376" y="129"/>
                  <a:pt x="378" y="129"/>
                  <a:pt x="376" y="130"/>
                </a:cubicBezTo>
                <a:cubicBezTo>
                  <a:pt x="376" y="130"/>
                  <a:pt x="375" y="129"/>
                  <a:pt x="374" y="130"/>
                </a:cubicBezTo>
                <a:cubicBezTo>
                  <a:pt x="373" y="131"/>
                  <a:pt x="373" y="131"/>
                  <a:pt x="373" y="132"/>
                </a:cubicBezTo>
                <a:cubicBezTo>
                  <a:pt x="373" y="133"/>
                  <a:pt x="373" y="134"/>
                  <a:pt x="373" y="134"/>
                </a:cubicBezTo>
                <a:cubicBezTo>
                  <a:pt x="373" y="134"/>
                  <a:pt x="372" y="134"/>
                  <a:pt x="372" y="134"/>
                </a:cubicBezTo>
                <a:cubicBezTo>
                  <a:pt x="372" y="134"/>
                  <a:pt x="372" y="134"/>
                  <a:pt x="371" y="134"/>
                </a:cubicBezTo>
                <a:cubicBezTo>
                  <a:pt x="370" y="134"/>
                  <a:pt x="371" y="134"/>
                  <a:pt x="371" y="134"/>
                </a:cubicBezTo>
                <a:cubicBezTo>
                  <a:pt x="370" y="134"/>
                  <a:pt x="370" y="133"/>
                  <a:pt x="369" y="133"/>
                </a:cubicBezTo>
                <a:cubicBezTo>
                  <a:pt x="369" y="134"/>
                  <a:pt x="368" y="134"/>
                  <a:pt x="368" y="134"/>
                </a:cubicBezTo>
                <a:cubicBezTo>
                  <a:pt x="368" y="135"/>
                  <a:pt x="368" y="136"/>
                  <a:pt x="369" y="136"/>
                </a:cubicBezTo>
                <a:cubicBezTo>
                  <a:pt x="368" y="137"/>
                  <a:pt x="368" y="138"/>
                  <a:pt x="368" y="139"/>
                </a:cubicBezTo>
                <a:cubicBezTo>
                  <a:pt x="369" y="139"/>
                  <a:pt x="370" y="139"/>
                  <a:pt x="371" y="138"/>
                </a:cubicBezTo>
                <a:cubicBezTo>
                  <a:pt x="371" y="138"/>
                  <a:pt x="372" y="138"/>
                  <a:pt x="372" y="138"/>
                </a:cubicBezTo>
                <a:cubicBezTo>
                  <a:pt x="372" y="138"/>
                  <a:pt x="372" y="139"/>
                  <a:pt x="372" y="139"/>
                </a:cubicBezTo>
                <a:cubicBezTo>
                  <a:pt x="371" y="139"/>
                  <a:pt x="372" y="139"/>
                  <a:pt x="372" y="140"/>
                </a:cubicBezTo>
                <a:cubicBezTo>
                  <a:pt x="372" y="141"/>
                  <a:pt x="371" y="140"/>
                  <a:pt x="371" y="141"/>
                </a:cubicBezTo>
                <a:cubicBezTo>
                  <a:pt x="369" y="142"/>
                  <a:pt x="368" y="141"/>
                  <a:pt x="367" y="142"/>
                </a:cubicBezTo>
                <a:cubicBezTo>
                  <a:pt x="367" y="143"/>
                  <a:pt x="366" y="143"/>
                  <a:pt x="366" y="143"/>
                </a:cubicBezTo>
                <a:cubicBezTo>
                  <a:pt x="366" y="144"/>
                  <a:pt x="366" y="144"/>
                  <a:pt x="366" y="144"/>
                </a:cubicBezTo>
                <a:cubicBezTo>
                  <a:pt x="365" y="144"/>
                  <a:pt x="365" y="145"/>
                  <a:pt x="365" y="145"/>
                </a:cubicBezTo>
                <a:cubicBezTo>
                  <a:pt x="364" y="145"/>
                  <a:pt x="363" y="145"/>
                  <a:pt x="362" y="145"/>
                </a:cubicBezTo>
                <a:cubicBezTo>
                  <a:pt x="363" y="145"/>
                  <a:pt x="363" y="146"/>
                  <a:pt x="363" y="146"/>
                </a:cubicBezTo>
                <a:cubicBezTo>
                  <a:pt x="362" y="146"/>
                  <a:pt x="363" y="147"/>
                  <a:pt x="362" y="147"/>
                </a:cubicBezTo>
                <a:cubicBezTo>
                  <a:pt x="362" y="147"/>
                  <a:pt x="362" y="146"/>
                  <a:pt x="362" y="147"/>
                </a:cubicBezTo>
                <a:cubicBezTo>
                  <a:pt x="362" y="148"/>
                  <a:pt x="362" y="148"/>
                  <a:pt x="361" y="148"/>
                </a:cubicBezTo>
                <a:cubicBezTo>
                  <a:pt x="361" y="149"/>
                  <a:pt x="360" y="149"/>
                  <a:pt x="360" y="150"/>
                </a:cubicBezTo>
                <a:cubicBezTo>
                  <a:pt x="361" y="150"/>
                  <a:pt x="361" y="150"/>
                  <a:pt x="362" y="150"/>
                </a:cubicBezTo>
                <a:cubicBezTo>
                  <a:pt x="362" y="151"/>
                  <a:pt x="362" y="151"/>
                  <a:pt x="362" y="151"/>
                </a:cubicBezTo>
                <a:cubicBezTo>
                  <a:pt x="361" y="153"/>
                  <a:pt x="363" y="153"/>
                  <a:pt x="364" y="153"/>
                </a:cubicBezTo>
                <a:cubicBezTo>
                  <a:pt x="365" y="154"/>
                  <a:pt x="362" y="154"/>
                  <a:pt x="362" y="154"/>
                </a:cubicBezTo>
                <a:cubicBezTo>
                  <a:pt x="362" y="153"/>
                  <a:pt x="360" y="153"/>
                  <a:pt x="359" y="152"/>
                </a:cubicBezTo>
                <a:cubicBezTo>
                  <a:pt x="360" y="151"/>
                  <a:pt x="359" y="151"/>
                  <a:pt x="358" y="151"/>
                </a:cubicBezTo>
                <a:cubicBezTo>
                  <a:pt x="357" y="151"/>
                  <a:pt x="357" y="150"/>
                  <a:pt x="356" y="150"/>
                </a:cubicBezTo>
                <a:cubicBezTo>
                  <a:pt x="356" y="149"/>
                  <a:pt x="356" y="149"/>
                  <a:pt x="356" y="149"/>
                </a:cubicBezTo>
                <a:cubicBezTo>
                  <a:pt x="356" y="149"/>
                  <a:pt x="357" y="148"/>
                  <a:pt x="357" y="148"/>
                </a:cubicBezTo>
                <a:cubicBezTo>
                  <a:pt x="357" y="148"/>
                  <a:pt x="357" y="144"/>
                  <a:pt x="357" y="144"/>
                </a:cubicBezTo>
                <a:cubicBezTo>
                  <a:pt x="357" y="144"/>
                  <a:pt x="356" y="145"/>
                  <a:pt x="356" y="145"/>
                </a:cubicBezTo>
                <a:cubicBezTo>
                  <a:pt x="356" y="144"/>
                  <a:pt x="356" y="145"/>
                  <a:pt x="356" y="144"/>
                </a:cubicBezTo>
                <a:cubicBezTo>
                  <a:pt x="356" y="144"/>
                  <a:pt x="357" y="143"/>
                  <a:pt x="357" y="144"/>
                </a:cubicBezTo>
                <a:cubicBezTo>
                  <a:pt x="357" y="143"/>
                  <a:pt x="357" y="142"/>
                  <a:pt x="356" y="142"/>
                </a:cubicBezTo>
                <a:cubicBezTo>
                  <a:pt x="356" y="142"/>
                  <a:pt x="355" y="144"/>
                  <a:pt x="355" y="144"/>
                </a:cubicBezTo>
                <a:cubicBezTo>
                  <a:pt x="354" y="144"/>
                  <a:pt x="354" y="144"/>
                  <a:pt x="353" y="143"/>
                </a:cubicBezTo>
                <a:cubicBezTo>
                  <a:pt x="353" y="143"/>
                  <a:pt x="353" y="143"/>
                  <a:pt x="353" y="142"/>
                </a:cubicBezTo>
                <a:cubicBezTo>
                  <a:pt x="352" y="141"/>
                  <a:pt x="352" y="142"/>
                  <a:pt x="351" y="141"/>
                </a:cubicBezTo>
                <a:cubicBezTo>
                  <a:pt x="350" y="141"/>
                  <a:pt x="350" y="140"/>
                  <a:pt x="349" y="140"/>
                </a:cubicBezTo>
                <a:cubicBezTo>
                  <a:pt x="349" y="141"/>
                  <a:pt x="349" y="141"/>
                  <a:pt x="349" y="142"/>
                </a:cubicBezTo>
                <a:cubicBezTo>
                  <a:pt x="349" y="142"/>
                  <a:pt x="348" y="141"/>
                  <a:pt x="348" y="141"/>
                </a:cubicBezTo>
                <a:cubicBezTo>
                  <a:pt x="348" y="143"/>
                  <a:pt x="348" y="145"/>
                  <a:pt x="349" y="146"/>
                </a:cubicBezTo>
                <a:cubicBezTo>
                  <a:pt x="349" y="146"/>
                  <a:pt x="349" y="146"/>
                  <a:pt x="349" y="146"/>
                </a:cubicBezTo>
                <a:cubicBezTo>
                  <a:pt x="348" y="146"/>
                  <a:pt x="346" y="146"/>
                  <a:pt x="346" y="147"/>
                </a:cubicBezTo>
                <a:cubicBezTo>
                  <a:pt x="346" y="147"/>
                  <a:pt x="346" y="148"/>
                  <a:pt x="345" y="148"/>
                </a:cubicBezTo>
                <a:cubicBezTo>
                  <a:pt x="345" y="147"/>
                  <a:pt x="341" y="147"/>
                  <a:pt x="340" y="147"/>
                </a:cubicBezTo>
                <a:cubicBezTo>
                  <a:pt x="340" y="146"/>
                  <a:pt x="340" y="146"/>
                  <a:pt x="339" y="146"/>
                </a:cubicBezTo>
                <a:cubicBezTo>
                  <a:pt x="339" y="146"/>
                  <a:pt x="338" y="146"/>
                  <a:pt x="338" y="146"/>
                </a:cubicBezTo>
                <a:cubicBezTo>
                  <a:pt x="337" y="146"/>
                  <a:pt x="338" y="146"/>
                  <a:pt x="337" y="146"/>
                </a:cubicBezTo>
                <a:cubicBezTo>
                  <a:pt x="337" y="146"/>
                  <a:pt x="336" y="147"/>
                  <a:pt x="335" y="147"/>
                </a:cubicBezTo>
                <a:cubicBezTo>
                  <a:pt x="335" y="147"/>
                  <a:pt x="334" y="148"/>
                  <a:pt x="333" y="148"/>
                </a:cubicBezTo>
                <a:cubicBezTo>
                  <a:pt x="333" y="148"/>
                  <a:pt x="332" y="147"/>
                  <a:pt x="332" y="147"/>
                </a:cubicBezTo>
                <a:cubicBezTo>
                  <a:pt x="331" y="146"/>
                  <a:pt x="331" y="147"/>
                  <a:pt x="330" y="147"/>
                </a:cubicBezTo>
                <a:cubicBezTo>
                  <a:pt x="330" y="147"/>
                  <a:pt x="330" y="147"/>
                  <a:pt x="330" y="147"/>
                </a:cubicBezTo>
                <a:cubicBezTo>
                  <a:pt x="329" y="146"/>
                  <a:pt x="328" y="146"/>
                  <a:pt x="328" y="146"/>
                </a:cubicBezTo>
                <a:cubicBezTo>
                  <a:pt x="327" y="146"/>
                  <a:pt x="327" y="146"/>
                  <a:pt x="327" y="145"/>
                </a:cubicBezTo>
                <a:cubicBezTo>
                  <a:pt x="327" y="145"/>
                  <a:pt x="326" y="145"/>
                  <a:pt x="326" y="145"/>
                </a:cubicBezTo>
                <a:cubicBezTo>
                  <a:pt x="325" y="145"/>
                  <a:pt x="325" y="144"/>
                  <a:pt x="325" y="144"/>
                </a:cubicBezTo>
                <a:cubicBezTo>
                  <a:pt x="325" y="144"/>
                  <a:pt x="324" y="144"/>
                  <a:pt x="324" y="144"/>
                </a:cubicBezTo>
                <a:cubicBezTo>
                  <a:pt x="324" y="144"/>
                  <a:pt x="324" y="144"/>
                  <a:pt x="323" y="143"/>
                </a:cubicBezTo>
                <a:cubicBezTo>
                  <a:pt x="323" y="145"/>
                  <a:pt x="322" y="144"/>
                  <a:pt x="321" y="144"/>
                </a:cubicBezTo>
                <a:cubicBezTo>
                  <a:pt x="320" y="144"/>
                  <a:pt x="320" y="145"/>
                  <a:pt x="319" y="145"/>
                </a:cubicBezTo>
                <a:cubicBezTo>
                  <a:pt x="320" y="144"/>
                  <a:pt x="320" y="143"/>
                  <a:pt x="320" y="143"/>
                </a:cubicBezTo>
                <a:cubicBezTo>
                  <a:pt x="320" y="142"/>
                  <a:pt x="319" y="142"/>
                  <a:pt x="319" y="142"/>
                </a:cubicBezTo>
                <a:cubicBezTo>
                  <a:pt x="319" y="142"/>
                  <a:pt x="318" y="142"/>
                  <a:pt x="317" y="143"/>
                </a:cubicBezTo>
                <a:cubicBezTo>
                  <a:pt x="317" y="143"/>
                  <a:pt x="317" y="143"/>
                  <a:pt x="316" y="143"/>
                </a:cubicBezTo>
                <a:cubicBezTo>
                  <a:pt x="315" y="142"/>
                  <a:pt x="315" y="142"/>
                  <a:pt x="315" y="141"/>
                </a:cubicBezTo>
                <a:cubicBezTo>
                  <a:pt x="315" y="141"/>
                  <a:pt x="315" y="141"/>
                  <a:pt x="315" y="140"/>
                </a:cubicBezTo>
                <a:cubicBezTo>
                  <a:pt x="315" y="140"/>
                  <a:pt x="315" y="140"/>
                  <a:pt x="314" y="139"/>
                </a:cubicBezTo>
                <a:cubicBezTo>
                  <a:pt x="314" y="139"/>
                  <a:pt x="314" y="138"/>
                  <a:pt x="315" y="138"/>
                </a:cubicBezTo>
                <a:cubicBezTo>
                  <a:pt x="313" y="137"/>
                  <a:pt x="312" y="137"/>
                  <a:pt x="311" y="136"/>
                </a:cubicBezTo>
                <a:cubicBezTo>
                  <a:pt x="311" y="137"/>
                  <a:pt x="309" y="136"/>
                  <a:pt x="309" y="137"/>
                </a:cubicBezTo>
                <a:cubicBezTo>
                  <a:pt x="308" y="137"/>
                  <a:pt x="307" y="137"/>
                  <a:pt x="306" y="137"/>
                </a:cubicBezTo>
                <a:cubicBezTo>
                  <a:pt x="306" y="138"/>
                  <a:pt x="304" y="137"/>
                  <a:pt x="305" y="138"/>
                </a:cubicBezTo>
                <a:cubicBezTo>
                  <a:pt x="304" y="138"/>
                  <a:pt x="304" y="138"/>
                  <a:pt x="304" y="137"/>
                </a:cubicBezTo>
                <a:cubicBezTo>
                  <a:pt x="303" y="137"/>
                  <a:pt x="303" y="137"/>
                  <a:pt x="302" y="137"/>
                </a:cubicBezTo>
                <a:cubicBezTo>
                  <a:pt x="302" y="137"/>
                  <a:pt x="301" y="138"/>
                  <a:pt x="300" y="138"/>
                </a:cubicBezTo>
                <a:cubicBezTo>
                  <a:pt x="300" y="138"/>
                  <a:pt x="301" y="139"/>
                  <a:pt x="301" y="139"/>
                </a:cubicBezTo>
                <a:cubicBezTo>
                  <a:pt x="300" y="139"/>
                  <a:pt x="300" y="140"/>
                  <a:pt x="300" y="140"/>
                </a:cubicBezTo>
                <a:cubicBezTo>
                  <a:pt x="300" y="142"/>
                  <a:pt x="300" y="140"/>
                  <a:pt x="299" y="141"/>
                </a:cubicBezTo>
                <a:cubicBezTo>
                  <a:pt x="299" y="142"/>
                  <a:pt x="299" y="142"/>
                  <a:pt x="299" y="142"/>
                </a:cubicBezTo>
                <a:cubicBezTo>
                  <a:pt x="298" y="142"/>
                  <a:pt x="298" y="142"/>
                  <a:pt x="298" y="143"/>
                </a:cubicBezTo>
                <a:cubicBezTo>
                  <a:pt x="298" y="144"/>
                  <a:pt x="298" y="143"/>
                  <a:pt x="299" y="144"/>
                </a:cubicBezTo>
                <a:cubicBezTo>
                  <a:pt x="299" y="143"/>
                  <a:pt x="300" y="143"/>
                  <a:pt x="300" y="143"/>
                </a:cubicBezTo>
                <a:cubicBezTo>
                  <a:pt x="300" y="144"/>
                  <a:pt x="301" y="143"/>
                  <a:pt x="301" y="144"/>
                </a:cubicBezTo>
                <a:cubicBezTo>
                  <a:pt x="301" y="143"/>
                  <a:pt x="302" y="143"/>
                  <a:pt x="302" y="143"/>
                </a:cubicBezTo>
                <a:cubicBezTo>
                  <a:pt x="302" y="143"/>
                  <a:pt x="301" y="143"/>
                  <a:pt x="301" y="143"/>
                </a:cubicBezTo>
                <a:cubicBezTo>
                  <a:pt x="301" y="142"/>
                  <a:pt x="302" y="142"/>
                  <a:pt x="302" y="141"/>
                </a:cubicBezTo>
                <a:cubicBezTo>
                  <a:pt x="303" y="142"/>
                  <a:pt x="303" y="143"/>
                  <a:pt x="304" y="142"/>
                </a:cubicBezTo>
                <a:cubicBezTo>
                  <a:pt x="305" y="142"/>
                  <a:pt x="305" y="141"/>
                  <a:pt x="305" y="141"/>
                </a:cubicBezTo>
                <a:cubicBezTo>
                  <a:pt x="306" y="141"/>
                  <a:pt x="307" y="141"/>
                  <a:pt x="308" y="141"/>
                </a:cubicBezTo>
                <a:cubicBezTo>
                  <a:pt x="308" y="140"/>
                  <a:pt x="309" y="140"/>
                  <a:pt x="310" y="140"/>
                </a:cubicBezTo>
                <a:cubicBezTo>
                  <a:pt x="310" y="140"/>
                  <a:pt x="309" y="139"/>
                  <a:pt x="309" y="139"/>
                </a:cubicBezTo>
                <a:cubicBezTo>
                  <a:pt x="310" y="138"/>
                  <a:pt x="310" y="138"/>
                  <a:pt x="311" y="139"/>
                </a:cubicBezTo>
                <a:cubicBezTo>
                  <a:pt x="311" y="139"/>
                  <a:pt x="312" y="139"/>
                  <a:pt x="312" y="140"/>
                </a:cubicBezTo>
                <a:cubicBezTo>
                  <a:pt x="312" y="141"/>
                  <a:pt x="311" y="140"/>
                  <a:pt x="310" y="140"/>
                </a:cubicBezTo>
                <a:cubicBezTo>
                  <a:pt x="310" y="140"/>
                  <a:pt x="310" y="141"/>
                  <a:pt x="309" y="142"/>
                </a:cubicBezTo>
                <a:cubicBezTo>
                  <a:pt x="309" y="142"/>
                  <a:pt x="308" y="142"/>
                  <a:pt x="308" y="142"/>
                </a:cubicBezTo>
                <a:cubicBezTo>
                  <a:pt x="307" y="142"/>
                  <a:pt x="307" y="143"/>
                  <a:pt x="307" y="143"/>
                </a:cubicBezTo>
                <a:cubicBezTo>
                  <a:pt x="306" y="143"/>
                  <a:pt x="306" y="143"/>
                  <a:pt x="306" y="144"/>
                </a:cubicBezTo>
                <a:cubicBezTo>
                  <a:pt x="306" y="144"/>
                  <a:pt x="303" y="144"/>
                  <a:pt x="303" y="145"/>
                </a:cubicBezTo>
                <a:cubicBezTo>
                  <a:pt x="303" y="146"/>
                  <a:pt x="302" y="145"/>
                  <a:pt x="301" y="146"/>
                </a:cubicBezTo>
                <a:cubicBezTo>
                  <a:pt x="301" y="147"/>
                  <a:pt x="301" y="147"/>
                  <a:pt x="300" y="147"/>
                </a:cubicBezTo>
                <a:cubicBezTo>
                  <a:pt x="300" y="147"/>
                  <a:pt x="300" y="149"/>
                  <a:pt x="300" y="149"/>
                </a:cubicBezTo>
                <a:cubicBezTo>
                  <a:pt x="301" y="149"/>
                  <a:pt x="301" y="150"/>
                  <a:pt x="301" y="150"/>
                </a:cubicBezTo>
                <a:cubicBezTo>
                  <a:pt x="302" y="151"/>
                  <a:pt x="301" y="151"/>
                  <a:pt x="301" y="151"/>
                </a:cubicBezTo>
                <a:cubicBezTo>
                  <a:pt x="301" y="152"/>
                  <a:pt x="301" y="152"/>
                  <a:pt x="302" y="153"/>
                </a:cubicBezTo>
                <a:cubicBezTo>
                  <a:pt x="302" y="153"/>
                  <a:pt x="302" y="154"/>
                  <a:pt x="302" y="154"/>
                </a:cubicBezTo>
                <a:cubicBezTo>
                  <a:pt x="301" y="154"/>
                  <a:pt x="301" y="155"/>
                  <a:pt x="301" y="156"/>
                </a:cubicBezTo>
                <a:cubicBezTo>
                  <a:pt x="300" y="155"/>
                  <a:pt x="298" y="155"/>
                  <a:pt x="298" y="153"/>
                </a:cubicBezTo>
                <a:cubicBezTo>
                  <a:pt x="298" y="152"/>
                  <a:pt x="298" y="153"/>
                  <a:pt x="298" y="152"/>
                </a:cubicBezTo>
                <a:cubicBezTo>
                  <a:pt x="298" y="150"/>
                  <a:pt x="297" y="149"/>
                  <a:pt x="297" y="148"/>
                </a:cubicBezTo>
                <a:cubicBezTo>
                  <a:pt x="297" y="148"/>
                  <a:pt x="297" y="149"/>
                  <a:pt x="297" y="150"/>
                </a:cubicBezTo>
                <a:cubicBezTo>
                  <a:pt x="297" y="151"/>
                  <a:pt x="297" y="151"/>
                  <a:pt x="296" y="152"/>
                </a:cubicBezTo>
                <a:cubicBezTo>
                  <a:pt x="295" y="151"/>
                  <a:pt x="295" y="150"/>
                  <a:pt x="295" y="150"/>
                </a:cubicBezTo>
                <a:cubicBezTo>
                  <a:pt x="296" y="150"/>
                  <a:pt x="296" y="149"/>
                  <a:pt x="296" y="149"/>
                </a:cubicBezTo>
                <a:cubicBezTo>
                  <a:pt x="295" y="148"/>
                  <a:pt x="295" y="148"/>
                  <a:pt x="295" y="147"/>
                </a:cubicBezTo>
                <a:cubicBezTo>
                  <a:pt x="295" y="147"/>
                  <a:pt x="294" y="147"/>
                  <a:pt x="294" y="147"/>
                </a:cubicBezTo>
                <a:cubicBezTo>
                  <a:pt x="293" y="147"/>
                  <a:pt x="294" y="147"/>
                  <a:pt x="293" y="146"/>
                </a:cubicBezTo>
                <a:cubicBezTo>
                  <a:pt x="291" y="146"/>
                  <a:pt x="291" y="146"/>
                  <a:pt x="291" y="145"/>
                </a:cubicBezTo>
                <a:cubicBezTo>
                  <a:pt x="291" y="144"/>
                  <a:pt x="290" y="144"/>
                  <a:pt x="290" y="144"/>
                </a:cubicBezTo>
                <a:cubicBezTo>
                  <a:pt x="290" y="144"/>
                  <a:pt x="289" y="144"/>
                  <a:pt x="289" y="145"/>
                </a:cubicBezTo>
                <a:cubicBezTo>
                  <a:pt x="289" y="145"/>
                  <a:pt x="288" y="145"/>
                  <a:pt x="288" y="145"/>
                </a:cubicBezTo>
                <a:cubicBezTo>
                  <a:pt x="288" y="145"/>
                  <a:pt x="287" y="146"/>
                  <a:pt x="287" y="146"/>
                </a:cubicBezTo>
                <a:cubicBezTo>
                  <a:pt x="287" y="146"/>
                  <a:pt x="285" y="146"/>
                  <a:pt x="285" y="146"/>
                </a:cubicBezTo>
                <a:cubicBezTo>
                  <a:pt x="284" y="146"/>
                  <a:pt x="285" y="146"/>
                  <a:pt x="284" y="146"/>
                </a:cubicBezTo>
                <a:cubicBezTo>
                  <a:pt x="284" y="146"/>
                  <a:pt x="283" y="146"/>
                  <a:pt x="283" y="147"/>
                </a:cubicBezTo>
                <a:cubicBezTo>
                  <a:pt x="283" y="147"/>
                  <a:pt x="282" y="146"/>
                  <a:pt x="282" y="147"/>
                </a:cubicBezTo>
                <a:cubicBezTo>
                  <a:pt x="282" y="147"/>
                  <a:pt x="281" y="147"/>
                  <a:pt x="281" y="147"/>
                </a:cubicBezTo>
                <a:cubicBezTo>
                  <a:pt x="281" y="147"/>
                  <a:pt x="280" y="147"/>
                  <a:pt x="280" y="147"/>
                </a:cubicBezTo>
                <a:cubicBezTo>
                  <a:pt x="280" y="147"/>
                  <a:pt x="280" y="148"/>
                  <a:pt x="280" y="148"/>
                </a:cubicBezTo>
                <a:cubicBezTo>
                  <a:pt x="280" y="148"/>
                  <a:pt x="279" y="148"/>
                  <a:pt x="279" y="148"/>
                </a:cubicBezTo>
                <a:cubicBezTo>
                  <a:pt x="278" y="148"/>
                  <a:pt x="278" y="148"/>
                  <a:pt x="277" y="148"/>
                </a:cubicBezTo>
                <a:cubicBezTo>
                  <a:pt x="276" y="148"/>
                  <a:pt x="276" y="148"/>
                  <a:pt x="275" y="148"/>
                </a:cubicBezTo>
                <a:cubicBezTo>
                  <a:pt x="275" y="148"/>
                  <a:pt x="275" y="148"/>
                  <a:pt x="275" y="148"/>
                </a:cubicBezTo>
                <a:cubicBezTo>
                  <a:pt x="275" y="147"/>
                  <a:pt x="273" y="148"/>
                  <a:pt x="273" y="148"/>
                </a:cubicBezTo>
                <a:cubicBezTo>
                  <a:pt x="272" y="148"/>
                  <a:pt x="270" y="147"/>
                  <a:pt x="270" y="147"/>
                </a:cubicBezTo>
                <a:cubicBezTo>
                  <a:pt x="270" y="146"/>
                  <a:pt x="270" y="145"/>
                  <a:pt x="270" y="145"/>
                </a:cubicBezTo>
                <a:cubicBezTo>
                  <a:pt x="270" y="144"/>
                  <a:pt x="270" y="144"/>
                  <a:pt x="271" y="144"/>
                </a:cubicBezTo>
                <a:cubicBezTo>
                  <a:pt x="271" y="143"/>
                  <a:pt x="271" y="143"/>
                  <a:pt x="271" y="142"/>
                </a:cubicBezTo>
                <a:cubicBezTo>
                  <a:pt x="271" y="143"/>
                  <a:pt x="272" y="143"/>
                  <a:pt x="273" y="143"/>
                </a:cubicBezTo>
                <a:cubicBezTo>
                  <a:pt x="274" y="143"/>
                  <a:pt x="274" y="143"/>
                  <a:pt x="275" y="142"/>
                </a:cubicBezTo>
                <a:cubicBezTo>
                  <a:pt x="274" y="141"/>
                  <a:pt x="273" y="141"/>
                  <a:pt x="273" y="140"/>
                </a:cubicBezTo>
                <a:cubicBezTo>
                  <a:pt x="273" y="139"/>
                  <a:pt x="273" y="140"/>
                  <a:pt x="272" y="139"/>
                </a:cubicBezTo>
                <a:cubicBezTo>
                  <a:pt x="272" y="139"/>
                  <a:pt x="271" y="138"/>
                  <a:pt x="271" y="138"/>
                </a:cubicBezTo>
                <a:cubicBezTo>
                  <a:pt x="270" y="138"/>
                  <a:pt x="270" y="138"/>
                  <a:pt x="269" y="138"/>
                </a:cubicBezTo>
                <a:cubicBezTo>
                  <a:pt x="269" y="137"/>
                  <a:pt x="269" y="137"/>
                  <a:pt x="268" y="137"/>
                </a:cubicBezTo>
                <a:cubicBezTo>
                  <a:pt x="267" y="137"/>
                  <a:pt x="266" y="137"/>
                  <a:pt x="265" y="137"/>
                </a:cubicBezTo>
                <a:cubicBezTo>
                  <a:pt x="265" y="138"/>
                  <a:pt x="266" y="138"/>
                  <a:pt x="266" y="139"/>
                </a:cubicBezTo>
                <a:cubicBezTo>
                  <a:pt x="265" y="139"/>
                  <a:pt x="265" y="139"/>
                  <a:pt x="264" y="139"/>
                </a:cubicBezTo>
                <a:cubicBezTo>
                  <a:pt x="264" y="139"/>
                  <a:pt x="264" y="139"/>
                  <a:pt x="263" y="139"/>
                </a:cubicBezTo>
                <a:cubicBezTo>
                  <a:pt x="263" y="138"/>
                  <a:pt x="263" y="138"/>
                  <a:pt x="262" y="138"/>
                </a:cubicBezTo>
                <a:cubicBezTo>
                  <a:pt x="262" y="138"/>
                  <a:pt x="262" y="138"/>
                  <a:pt x="261" y="138"/>
                </a:cubicBezTo>
                <a:cubicBezTo>
                  <a:pt x="261" y="138"/>
                  <a:pt x="260" y="138"/>
                  <a:pt x="260" y="138"/>
                </a:cubicBezTo>
                <a:cubicBezTo>
                  <a:pt x="259" y="137"/>
                  <a:pt x="258" y="137"/>
                  <a:pt x="258" y="136"/>
                </a:cubicBezTo>
                <a:cubicBezTo>
                  <a:pt x="257" y="137"/>
                  <a:pt x="256" y="137"/>
                  <a:pt x="256" y="136"/>
                </a:cubicBezTo>
                <a:cubicBezTo>
                  <a:pt x="256" y="135"/>
                  <a:pt x="254" y="136"/>
                  <a:pt x="254" y="136"/>
                </a:cubicBezTo>
                <a:cubicBezTo>
                  <a:pt x="253" y="135"/>
                  <a:pt x="254" y="135"/>
                  <a:pt x="253" y="135"/>
                </a:cubicBezTo>
                <a:cubicBezTo>
                  <a:pt x="253" y="135"/>
                  <a:pt x="253" y="134"/>
                  <a:pt x="253" y="134"/>
                </a:cubicBezTo>
                <a:cubicBezTo>
                  <a:pt x="253" y="134"/>
                  <a:pt x="252" y="134"/>
                  <a:pt x="251" y="134"/>
                </a:cubicBezTo>
                <a:cubicBezTo>
                  <a:pt x="251" y="134"/>
                  <a:pt x="250" y="134"/>
                  <a:pt x="250" y="134"/>
                </a:cubicBezTo>
                <a:cubicBezTo>
                  <a:pt x="250" y="134"/>
                  <a:pt x="249" y="134"/>
                  <a:pt x="249" y="134"/>
                </a:cubicBezTo>
                <a:cubicBezTo>
                  <a:pt x="249" y="134"/>
                  <a:pt x="249" y="133"/>
                  <a:pt x="249" y="133"/>
                </a:cubicBezTo>
                <a:cubicBezTo>
                  <a:pt x="249" y="133"/>
                  <a:pt x="248" y="133"/>
                  <a:pt x="248" y="133"/>
                </a:cubicBezTo>
                <a:cubicBezTo>
                  <a:pt x="247" y="133"/>
                  <a:pt x="248" y="133"/>
                  <a:pt x="247" y="133"/>
                </a:cubicBezTo>
                <a:cubicBezTo>
                  <a:pt x="247" y="133"/>
                  <a:pt x="247" y="133"/>
                  <a:pt x="246" y="132"/>
                </a:cubicBezTo>
                <a:cubicBezTo>
                  <a:pt x="246" y="132"/>
                  <a:pt x="245" y="132"/>
                  <a:pt x="245" y="132"/>
                </a:cubicBezTo>
                <a:cubicBezTo>
                  <a:pt x="245" y="132"/>
                  <a:pt x="245" y="131"/>
                  <a:pt x="245" y="131"/>
                </a:cubicBezTo>
                <a:cubicBezTo>
                  <a:pt x="244" y="131"/>
                  <a:pt x="243" y="130"/>
                  <a:pt x="241" y="130"/>
                </a:cubicBezTo>
                <a:cubicBezTo>
                  <a:pt x="240" y="130"/>
                  <a:pt x="241" y="129"/>
                  <a:pt x="240" y="129"/>
                </a:cubicBezTo>
                <a:cubicBezTo>
                  <a:pt x="240" y="129"/>
                  <a:pt x="240" y="129"/>
                  <a:pt x="239" y="129"/>
                </a:cubicBezTo>
                <a:cubicBezTo>
                  <a:pt x="239" y="129"/>
                  <a:pt x="239" y="129"/>
                  <a:pt x="239" y="129"/>
                </a:cubicBezTo>
                <a:cubicBezTo>
                  <a:pt x="238" y="129"/>
                  <a:pt x="236" y="128"/>
                  <a:pt x="236" y="129"/>
                </a:cubicBezTo>
                <a:cubicBezTo>
                  <a:pt x="235" y="129"/>
                  <a:pt x="235" y="129"/>
                  <a:pt x="234" y="129"/>
                </a:cubicBezTo>
                <a:cubicBezTo>
                  <a:pt x="234" y="130"/>
                  <a:pt x="234" y="130"/>
                  <a:pt x="233" y="130"/>
                </a:cubicBezTo>
                <a:cubicBezTo>
                  <a:pt x="232" y="131"/>
                  <a:pt x="231" y="132"/>
                  <a:pt x="230" y="132"/>
                </a:cubicBezTo>
                <a:cubicBezTo>
                  <a:pt x="230" y="132"/>
                  <a:pt x="230" y="132"/>
                  <a:pt x="230" y="131"/>
                </a:cubicBezTo>
                <a:cubicBezTo>
                  <a:pt x="230" y="131"/>
                  <a:pt x="230" y="131"/>
                  <a:pt x="230" y="131"/>
                </a:cubicBezTo>
                <a:cubicBezTo>
                  <a:pt x="228" y="130"/>
                  <a:pt x="229" y="130"/>
                  <a:pt x="229" y="128"/>
                </a:cubicBezTo>
                <a:cubicBezTo>
                  <a:pt x="228" y="129"/>
                  <a:pt x="228" y="128"/>
                  <a:pt x="228" y="127"/>
                </a:cubicBezTo>
                <a:cubicBezTo>
                  <a:pt x="229" y="127"/>
                  <a:pt x="229" y="127"/>
                  <a:pt x="229" y="127"/>
                </a:cubicBezTo>
                <a:cubicBezTo>
                  <a:pt x="230" y="126"/>
                  <a:pt x="229" y="126"/>
                  <a:pt x="228" y="126"/>
                </a:cubicBezTo>
                <a:cubicBezTo>
                  <a:pt x="228" y="126"/>
                  <a:pt x="228" y="126"/>
                  <a:pt x="227" y="127"/>
                </a:cubicBezTo>
                <a:cubicBezTo>
                  <a:pt x="226" y="127"/>
                  <a:pt x="227" y="128"/>
                  <a:pt x="227" y="128"/>
                </a:cubicBezTo>
                <a:cubicBezTo>
                  <a:pt x="227" y="129"/>
                  <a:pt x="227" y="129"/>
                  <a:pt x="226" y="129"/>
                </a:cubicBezTo>
                <a:cubicBezTo>
                  <a:pt x="227" y="129"/>
                  <a:pt x="227" y="130"/>
                  <a:pt x="227" y="129"/>
                </a:cubicBezTo>
                <a:cubicBezTo>
                  <a:pt x="227" y="130"/>
                  <a:pt x="227" y="132"/>
                  <a:pt x="226" y="132"/>
                </a:cubicBezTo>
                <a:cubicBezTo>
                  <a:pt x="226" y="132"/>
                  <a:pt x="226" y="133"/>
                  <a:pt x="226" y="133"/>
                </a:cubicBezTo>
                <a:cubicBezTo>
                  <a:pt x="226" y="133"/>
                  <a:pt x="225" y="134"/>
                  <a:pt x="225" y="133"/>
                </a:cubicBezTo>
                <a:cubicBezTo>
                  <a:pt x="225" y="133"/>
                  <a:pt x="224" y="132"/>
                  <a:pt x="223" y="132"/>
                </a:cubicBezTo>
                <a:cubicBezTo>
                  <a:pt x="223" y="131"/>
                  <a:pt x="223" y="131"/>
                  <a:pt x="223" y="131"/>
                </a:cubicBezTo>
                <a:cubicBezTo>
                  <a:pt x="223" y="131"/>
                  <a:pt x="223" y="131"/>
                  <a:pt x="223" y="131"/>
                </a:cubicBezTo>
                <a:cubicBezTo>
                  <a:pt x="222" y="130"/>
                  <a:pt x="221" y="130"/>
                  <a:pt x="220" y="129"/>
                </a:cubicBezTo>
                <a:cubicBezTo>
                  <a:pt x="220" y="128"/>
                  <a:pt x="218" y="128"/>
                  <a:pt x="218" y="127"/>
                </a:cubicBezTo>
                <a:cubicBezTo>
                  <a:pt x="218" y="127"/>
                  <a:pt x="218" y="127"/>
                  <a:pt x="218" y="127"/>
                </a:cubicBezTo>
                <a:cubicBezTo>
                  <a:pt x="218" y="126"/>
                  <a:pt x="217" y="127"/>
                  <a:pt x="217" y="126"/>
                </a:cubicBezTo>
                <a:cubicBezTo>
                  <a:pt x="217" y="126"/>
                  <a:pt x="217" y="126"/>
                  <a:pt x="216" y="125"/>
                </a:cubicBezTo>
                <a:cubicBezTo>
                  <a:pt x="216" y="125"/>
                  <a:pt x="216" y="125"/>
                  <a:pt x="216" y="125"/>
                </a:cubicBezTo>
                <a:cubicBezTo>
                  <a:pt x="216" y="125"/>
                  <a:pt x="215" y="125"/>
                  <a:pt x="215" y="124"/>
                </a:cubicBezTo>
                <a:cubicBezTo>
                  <a:pt x="213" y="124"/>
                  <a:pt x="213" y="123"/>
                  <a:pt x="212" y="122"/>
                </a:cubicBezTo>
                <a:cubicBezTo>
                  <a:pt x="211" y="122"/>
                  <a:pt x="211" y="122"/>
                  <a:pt x="211" y="121"/>
                </a:cubicBezTo>
                <a:cubicBezTo>
                  <a:pt x="210" y="121"/>
                  <a:pt x="210" y="120"/>
                  <a:pt x="210" y="119"/>
                </a:cubicBezTo>
                <a:cubicBezTo>
                  <a:pt x="209" y="119"/>
                  <a:pt x="207" y="118"/>
                  <a:pt x="207" y="117"/>
                </a:cubicBezTo>
                <a:cubicBezTo>
                  <a:pt x="206" y="118"/>
                  <a:pt x="205" y="118"/>
                  <a:pt x="205" y="119"/>
                </a:cubicBezTo>
                <a:cubicBezTo>
                  <a:pt x="206" y="120"/>
                  <a:pt x="205" y="121"/>
                  <a:pt x="206" y="121"/>
                </a:cubicBezTo>
                <a:cubicBezTo>
                  <a:pt x="206" y="122"/>
                  <a:pt x="205" y="124"/>
                  <a:pt x="205" y="125"/>
                </a:cubicBezTo>
                <a:cubicBezTo>
                  <a:pt x="204" y="125"/>
                  <a:pt x="203" y="127"/>
                  <a:pt x="203" y="127"/>
                </a:cubicBezTo>
                <a:cubicBezTo>
                  <a:pt x="202" y="127"/>
                  <a:pt x="202" y="127"/>
                  <a:pt x="201" y="127"/>
                </a:cubicBezTo>
                <a:cubicBezTo>
                  <a:pt x="200" y="127"/>
                  <a:pt x="201" y="127"/>
                  <a:pt x="200" y="127"/>
                </a:cubicBezTo>
                <a:cubicBezTo>
                  <a:pt x="199" y="127"/>
                  <a:pt x="200" y="128"/>
                  <a:pt x="199" y="128"/>
                </a:cubicBezTo>
                <a:cubicBezTo>
                  <a:pt x="198" y="128"/>
                  <a:pt x="197" y="128"/>
                  <a:pt x="197" y="128"/>
                </a:cubicBezTo>
                <a:cubicBezTo>
                  <a:pt x="197" y="129"/>
                  <a:pt x="197" y="128"/>
                  <a:pt x="197" y="129"/>
                </a:cubicBezTo>
                <a:cubicBezTo>
                  <a:pt x="197" y="129"/>
                  <a:pt x="197" y="130"/>
                  <a:pt x="197" y="130"/>
                </a:cubicBezTo>
                <a:cubicBezTo>
                  <a:pt x="197" y="131"/>
                  <a:pt x="195" y="131"/>
                  <a:pt x="195" y="131"/>
                </a:cubicBezTo>
                <a:cubicBezTo>
                  <a:pt x="195" y="132"/>
                  <a:pt x="194" y="132"/>
                  <a:pt x="194" y="132"/>
                </a:cubicBezTo>
                <a:cubicBezTo>
                  <a:pt x="193" y="132"/>
                  <a:pt x="193" y="132"/>
                  <a:pt x="193" y="132"/>
                </a:cubicBezTo>
                <a:cubicBezTo>
                  <a:pt x="193" y="132"/>
                  <a:pt x="193" y="132"/>
                  <a:pt x="193" y="133"/>
                </a:cubicBezTo>
                <a:cubicBezTo>
                  <a:pt x="192" y="133"/>
                  <a:pt x="192" y="133"/>
                  <a:pt x="192" y="132"/>
                </a:cubicBezTo>
                <a:cubicBezTo>
                  <a:pt x="192" y="131"/>
                  <a:pt x="191" y="131"/>
                  <a:pt x="190" y="132"/>
                </a:cubicBezTo>
                <a:cubicBezTo>
                  <a:pt x="190" y="132"/>
                  <a:pt x="190" y="133"/>
                  <a:pt x="191" y="133"/>
                </a:cubicBezTo>
                <a:cubicBezTo>
                  <a:pt x="190" y="133"/>
                  <a:pt x="190" y="133"/>
                  <a:pt x="189" y="133"/>
                </a:cubicBezTo>
                <a:cubicBezTo>
                  <a:pt x="188" y="134"/>
                  <a:pt x="189" y="134"/>
                  <a:pt x="188" y="134"/>
                </a:cubicBezTo>
                <a:cubicBezTo>
                  <a:pt x="187" y="134"/>
                  <a:pt x="187" y="135"/>
                  <a:pt x="187" y="135"/>
                </a:cubicBezTo>
                <a:cubicBezTo>
                  <a:pt x="187" y="135"/>
                  <a:pt x="186" y="136"/>
                  <a:pt x="186" y="136"/>
                </a:cubicBezTo>
                <a:cubicBezTo>
                  <a:pt x="186" y="137"/>
                  <a:pt x="186" y="137"/>
                  <a:pt x="186" y="138"/>
                </a:cubicBezTo>
                <a:cubicBezTo>
                  <a:pt x="185" y="138"/>
                  <a:pt x="184" y="138"/>
                  <a:pt x="183" y="139"/>
                </a:cubicBezTo>
                <a:cubicBezTo>
                  <a:pt x="183" y="138"/>
                  <a:pt x="183" y="137"/>
                  <a:pt x="183" y="137"/>
                </a:cubicBezTo>
                <a:cubicBezTo>
                  <a:pt x="184" y="136"/>
                  <a:pt x="184" y="136"/>
                  <a:pt x="185" y="136"/>
                </a:cubicBezTo>
                <a:cubicBezTo>
                  <a:pt x="186" y="135"/>
                  <a:pt x="185" y="134"/>
                  <a:pt x="185" y="133"/>
                </a:cubicBezTo>
                <a:cubicBezTo>
                  <a:pt x="186" y="133"/>
                  <a:pt x="186" y="133"/>
                  <a:pt x="187" y="133"/>
                </a:cubicBezTo>
                <a:cubicBezTo>
                  <a:pt x="187" y="132"/>
                  <a:pt x="187" y="131"/>
                  <a:pt x="187" y="131"/>
                </a:cubicBezTo>
                <a:cubicBezTo>
                  <a:pt x="188" y="130"/>
                  <a:pt x="188" y="130"/>
                  <a:pt x="189" y="130"/>
                </a:cubicBezTo>
                <a:cubicBezTo>
                  <a:pt x="190" y="129"/>
                  <a:pt x="192" y="129"/>
                  <a:pt x="193" y="129"/>
                </a:cubicBezTo>
                <a:cubicBezTo>
                  <a:pt x="194" y="129"/>
                  <a:pt x="195" y="129"/>
                  <a:pt x="195" y="129"/>
                </a:cubicBezTo>
                <a:cubicBezTo>
                  <a:pt x="197" y="128"/>
                  <a:pt x="195" y="128"/>
                  <a:pt x="196" y="128"/>
                </a:cubicBezTo>
                <a:cubicBezTo>
                  <a:pt x="197" y="127"/>
                  <a:pt x="196" y="128"/>
                  <a:pt x="197" y="127"/>
                </a:cubicBezTo>
                <a:cubicBezTo>
                  <a:pt x="197" y="127"/>
                  <a:pt x="197" y="127"/>
                  <a:pt x="198" y="126"/>
                </a:cubicBezTo>
                <a:cubicBezTo>
                  <a:pt x="198" y="126"/>
                  <a:pt x="198" y="126"/>
                  <a:pt x="198" y="126"/>
                </a:cubicBezTo>
                <a:cubicBezTo>
                  <a:pt x="198" y="126"/>
                  <a:pt x="199" y="126"/>
                  <a:pt x="199" y="126"/>
                </a:cubicBezTo>
                <a:cubicBezTo>
                  <a:pt x="199" y="126"/>
                  <a:pt x="199" y="125"/>
                  <a:pt x="199" y="125"/>
                </a:cubicBezTo>
                <a:cubicBezTo>
                  <a:pt x="200" y="125"/>
                  <a:pt x="200" y="124"/>
                  <a:pt x="200" y="123"/>
                </a:cubicBezTo>
                <a:cubicBezTo>
                  <a:pt x="199" y="123"/>
                  <a:pt x="198" y="124"/>
                  <a:pt x="198" y="124"/>
                </a:cubicBezTo>
                <a:cubicBezTo>
                  <a:pt x="198" y="123"/>
                  <a:pt x="195" y="123"/>
                  <a:pt x="195" y="123"/>
                </a:cubicBezTo>
                <a:cubicBezTo>
                  <a:pt x="193" y="123"/>
                  <a:pt x="194" y="123"/>
                  <a:pt x="193" y="124"/>
                </a:cubicBezTo>
                <a:cubicBezTo>
                  <a:pt x="193" y="125"/>
                  <a:pt x="193" y="126"/>
                  <a:pt x="193" y="126"/>
                </a:cubicBezTo>
                <a:cubicBezTo>
                  <a:pt x="192" y="127"/>
                  <a:pt x="192" y="127"/>
                  <a:pt x="191" y="127"/>
                </a:cubicBezTo>
                <a:cubicBezTo>
                  <a:pt x="191" y="127"/>
                  <a:pt x="191" y="127"/>
                  <a:pt x="191" y="127"/>
                </a:cubicBezTo>
                <a:cubicBezTo>
                  <a:pt x="191" y="126"/>
                  <a:pt x="190" y="127"/>
                  <a:pt x="190" y="126"/>
                </a:cubicBezTo>
                <a:cubicBezTo>
                  <a:pt x="189" y="126"/>
                  <a:pt x="188" y="127"/>
                  <a:pt x="188" y="127"/>
                </a:cubicBezTo>
                <a:cubicBezTo>
                  <a:pt x="188" y="127"/>
                  <a:pt x="187" y="127"/>
                  <a:pt x="186" y="127"/>
                </a:cubicBezTo>
                <a:cubicBezTo>
                  <a:pt x="186" y="128"/>
                  <a:pt x="186" y="128"/>
                  <a:pt x="185" y="128"/>
                </a:cubicBezTo>
                <a:cubicBezTo>
                  <a:pt x="184" y="128"/>
                  <a:pt x="184" y="129"/>
                  <a:pt x="184" y="130"/>
                </a:cubicBezTo>
                <a:cubicBezTo>
                  <a:pt x="184" y="130"/>
                  <a:pt x="184" y="130"/>
                  <a:pt x="183" y="131"/>
                </a:cubicBezTo>
                <a:cubicBezTo>
                  <a:pt x="182" y="131"/>
                  <a:pt x="181" y="131"/>
                  <a:pt x="180" y="131"/>
                </a:cubicBezTo>
                <a:cubicBezTo>
                  <a:pt x="180" y="129"/>
                  <a:pt x="179" y="130"/>
                  <a:pt x="178" y="129"/>
                </a:cubicBezTo>
                <a:cubicBezTo>
                  <a:pt x="177" y="129"/>
                  <a:pt x="177" y="129"/>
                  <a:pt x="177" y="128"/>
                </a:cubicBezTo>
                <a:cubicBezTo>
                  <a:pt x="177" y="128"/>
                  <a:pt x="177" y="128"/>
                  <a:pt x="177" y="128"/>
                </a:cubicBezTo>
                <a:cubicBezTo>
                  <a:pt x="177" y="128"/>
                  <a:pt x="177" y="129"/>
                  <a:pt x="177" y="130"/>
                </a:cubicBezTo>
                <a:cubicBezTo>
                  <a:pt x="177" y="130"/>
                  <a:pt x="177" y="130"/>
                  <a:pt x="177" y="130"/>
                </a:cubicBezTo>
                <a:cubicBezTo>
                  <a:pt x="176" y="130"/>
                  <a:pt x="176" y="131"/>
                  <a:pt x="176" y="132"/>
                </a:cubicBezTo>
                <a:cubicBezTo>
                  <a:pt x="175" y="132"/>
                  <a:pt x="175" y="132"/>
                  <a:pt x="174" y="132"/>
                </a:cubicBezTo>
                <a:cubicBezTo>
                  <a:pt x="174" y="132"/>
                  <a:pt x="174" y="134"/>
                  <a:pt x="174" y="134"/>
                </a:cubicBezTo>
                <a:cubicBezTo>
                  <a:pt x="173" y="134"/>
                  <a:pt x="173" y="134"/>
                  <a:pt x="173" y="133"/>
                </a:cubicBezTo>
                <a:cubicBezTo>
                  <a:pt x="172" y="132"/>
                  <a:pt x="171" y="133"/>
                  <a:pt x="171" y="133"/>
                </a:cubicBezTo>
                <a:cubicBezTo>
                  <a:pt x="171" y="133"/>
                  <a:pt x="170" y="133"/>
                  <a:pt x="170" y="133"/>
                </a:cubicBezTo>
                <a:cubicBezTo>
                  <a:pt x="170" y="134"/>
                  <a:pt x="170" y="135"/>
                  <a:pt x="171" y="135"/>
                </a:cubicBezTo>
                <a:cubicBezTo>
                  <a:pt x="171" y="135"/>
                  <a:pt x="172" y="135"/>
                  <a:pt x="172" y="135"/>
                </a:cubicBezTo>
                <a:cubicBezTo>
                  <a:pt x="172" y="135"/>
                  <a:pt x="172" y="136"/>
                  <a:pt x="173" y="136"/>
                </a:cubicBezTo>
                <a:cubicBezTo>
                  <a:pt x="173" y="136"/>
                  <a:pt x="173" y="137"/>
                  <a:pt x="173" y="137"/>
                </a:cubicBezTo>
                <a:cubicBezTo>
                  <a:pt x="173" y="138"/>
                  <a:pt x="172" y="137"/>
                  <a:pt x="173" y="139"/>
                </a:cubicBezTo>
                <a:cubicBezTo>
                  <a:pt x="172" y="139"/>
                  <a:pt x="172" y="139"/>
                  <a:pt x="172" y="138"/>
                </a:cubicBezTo>
                <a:cubicBezTo>
                  <a:pt x="172" y="137"/>
                  <a:pt x="171" y="137"/>
                  <a:pt x="171" y="136"/>
                </a:cubicBezTo>
                <a:cubicBezTo>
                  <a:pt x="171" y="136"/>
                  <a:pt x="170" y="136"/>
                  <a:pt x="170" y="135"/>
                </a:cubicBezTo>
                <a:cubicBezTo>
                  <a:pt x="170" y="135"/>
                  <a:pt x="169" y="135"/>
                  <a:pt x="169" y="135"/>
                </a:cubicBezTo>
                <a:cubicBezTo>
                  <a:pt x="169" y="135"/>
                  <a:pt x="169" y="135"/>
                  <a:pt x="168" y="135"/>
                </a:cubicBezTo>
                <a:cubicBezTo>
                  <a:pt x="167" y="134"/>
                  <a:pt x="166" y="134"/>
                  <a:pt x="165" y="133"/>
                </a:cubicBezTo>
                <a:cubicBezTo>
                  <a:pt x="164" y="133"/>
                  <a:pt x="165" y="133"/>
                  <a:pt x="164" y="133"/>
                </a:cubicBezTo>
                <a:cubicBezTo>
                  <a:pt x="164" y="133"/>
                  <a:pt x="164" y="133"/>
                  <a:pt x="163" y="133"/>
                </a:cubicBezTo>
                <a:cubicBezTo>
                  <a:pt x="162" y="133"/>
                  <a:pt x="162" y="132"/>
                  <a:pt x="161" y="131"/>
                </a:cubicBezTo>
                <a:cubicBezTo>
                  <a:pt x="161" y="131"/>
                  <a:pt x="161" y="131"/>
                  <a:pt x="160" y="131"/>
                </a:cubicBezTo>
                <a:cubicBezTo>
                  <a:pt x="158" y="131"/>
                  <a:pt x="160" y="131"/>
                  <a:pt x="159" y="131"/>
                </a:cubicBezTo>
                <a:cubicBezTo>
                  <a:pt x="159" y="131"/>
                  <a:pt x="158" y="131"/>
                  <a:pt x="158" y="130"/>
                </a:cubicBezTo>
                <a:cubicBezTo>
                  <a:pt x="158" y="129"/>
                  <a:pt x="158" y="129"/>
                  <a:pt x="157" y="129"/>
                </a:cubicBezTo>
                <a:cubicBezTo>
                  <a:pt x="156" y="129"/>
                  <a:pt x="156" y="129"/>
                  <a:pt x="155" y="128"/>
                </a:cubicBezTo>
                <a:cubicBezTo>
                  <a:pt x="155" y="128"/>
                  <a:pt x="154" y="128"/>
                  <a:pt x="153" y="128"/>
                </a:cubicBezTo>
                <a:cubicBezTo>
                  <a:pt x="152" y="128"/>
                  <a:pt x="149" y="127"/>
                  <a:pt x="149" y="128"/>
                </a:cubicBezTo>
                <a:cubicBezTo>
                  <a:pt x="148" y="129"/>
                  <a:pt x="148" y="127"/>
                  <a:pt x="147" y="127"/>
                </a:cubicBezTo>
                <a:cubicBezTo>
                  <a:pt x="147" y="127"/>
                  <a:pt x="146" y="128"/>
                  <a:pt x="146" y="127"/>
                </a:cubicBezTo>
                <a:cubicBezTo>
                  <a:pt x="146" y="127"/>
                  <a:pt x="144" y="127"/>
                  <a:pt x="144" y="127"/>
                </a:cubicBezTo>
                <a:cubicBezTo>
                  <a:pt x="143" y="125"/>
                  <a:pt x="142" y="126"/>
                  <a:pt x="141" y="125"/>
                </a:cubicBezTo>
                <a:cubicBezTo>
                  <a:pt x="140" y="125"/>
                  <a:pt x="140" y="125"/>
                  <a:pt x="140" y="124"/>
                </a:cubicBezTo>
                <a:cubicBezTo>
                  <a:pt x="139" y="124"/>
                  <a:pt x="139" y="125"/>
                  <a:pt x="138" y="125"/>
                </a:cubicBezTo>
                <a:cubicBezTo>
                  <a:pt x="138" y="125"/>
                  <a:pt x="138" y="125"/>
                  <a:pt x="137" y="125"/>
                </a:cubicBezTo>
                <a:cubicBezTo>
                  <a:pt x="137" y="125"/>
                  <a:pt x="137" y="125"/>
                  <a:pt x="136" y="125"/>
                </a:cubicBezTo>
                <a:cubicBezTo>
                  <a:pt x="135" y="125"/>
                  <a:pt x="135" y="124"/>
                  <a:pt x="134" y="124"/>
                </a:cubicBezTo>
                <a:cubicBezTo>
                  <a:pt x="134" y="124"/>
                  <a:pt x="133" y="125"/>
                  <a:pt x="133" y="125"/>
                </a:cubicBezTo>
                <a:cubicBezTo>
                  <a:pt x="133" y="126"/>
                  <a:pt x="133" y="127"/>
                  <a:pt x="132" y="126"/>
                </a:cubicBezTo>
                <a:cubicBezTo>
                  <a:pt x="132" y="126"/>
                  <a:pt x="132" y="125"/>
                  <a:pt x="131" y="125"/>
                </a:cubicBezTo>
                <a:cubicBezTo>
                  <a:pt x="131" y="125"/>
                  <a:pt x="131" y="126"/>
                  <a:pt x="130" y="126"/>
                </a:cubicBezTo>
                <a:cubicBezTo>
                  <a:pt x="130" y="126"/>
                  <a:pt x="130" y="126"/>
                  <a:pt x="130" y="125"/>
                </a:cubicBezTo>
                <a:cubicBezTo>
                  <a:pt x="129" y="124"/>
                  <a:pt x="129" y="125"/>
                  <a:pt x="128" y="125"/>
                </a:cubicBezTo>
                <a:cubicBezTo>
                  <a:pt x="127" y="125"/>
                  <a:pt x="126" y="125"/>
                  <a:pt x="125" y="124"/>
                </a:cubicBezTo>
                <a:cubicBezTo>
                  <a:pt x="124" y="124"/>
                  <a:pt x="123" y="125"/>
                  <a:pt x="123" y="123"/>
                </a:cubicBezTo>
                <a:cubicBezTo>
                  <a:pt x="122" y="123"/>
                  <a:pt x="120" y="123"/>
                  <a:pt x="120" y="124"/>
                </a:cubicBezTo>
                <a:cubicBezTo>
                  <a:pt x="120" y="124"/>
                  <a:pt x="120" y="123"/>
                  <a:pt x="119" y="123"/>
                </a:cubicBezTo>
                <a:cubicBezTo>
                  <a:pt x="119" y="123"/>
                  <a:pt x="118" y="123"/>
                  <a:pt x="118" y="123"/>
                </a:cubicBezTo>
                <a:cubicBezTo>
                  <a:pt x="117" y="123"/>
                  <a:pt x="115" y="124"/>
                  <a:pt x="116" y="123"/>
                </a:cubicBezTo>
                <a:cubicBezTo>
                  <a:pt x="115" y="123"/>
                  <a:pt x="114" y="123"/>
                  <a:pt x="113" y="123"/>
                </a:cubicBezTo>
                <a:cubicBezTo>
                  <a:pt x="112" y="123"/>
                  <a:pt x="112" y="123"/>
                  <a:pt x="112" y="123"/>
                </a:cubicBezTo>
                <a:cubicBezTo>
                  <a:pt x="111" y="123"/>
                  <a:pt x="110" y="123"/>
                  <a:pt x="110" y="123"/>
                </a:cubicBezTo>
                <a:cubicBezTo>
                  <a:pt x="109" y="122"/>
                  <a:pt x="109" y="123"/>
                  <a:pt x="108" y="122"/>
                </a:cubicBezTo>
                <a:cubicBezTo>
                  <a:pt x="108" y="122"/>
                  <a:pt x="108" y="122"/>
                  <a:pt x="107" y="121"/>
                </a:cubicBezTo>
                <a:cubicBezTo>
                  <a:pt x="107" y="121"/>
                  <a:pt x="106" y="122"/>
                  <a:pt x="106" y="121"/>
                </a:cubicBezTo>
                <a:cubicBezTo>
                  <a:pt x="104" y="120"/>
                  <a:pt x="104" y="122"/>
                  <a:pt x="102" y="122"/>
                </a:cubicBezTo>
                <a:cubicBezTo>
                  <a:pt x="101" y="122"/>
                  <a:pt x="101" y="122"/>
                  <a:pt x="99" y="123"/>
                </a:cubicBezTo>
                <a:cubicBezTo>
                  <a:pt x="99" y="122"/>
                  <a:pt x="98" y="122"/>
                  <a:pt x="97" y="122"/>
                </a:cubicBezTo>
                <a:cubicBezTo>
                  <a:pt x="97" y="122"/>
                  <a:pt x="97" y="122"/>
                  <a:pt x="96" y="122"/>
                </a:cubicBezTo>
                <a:cubicBezTo>
                  <a:pt x="96" y="122"/>
                  <a:pt x="96" y="122"/>
                  <a:pt x="95" y="122"/>
                </a:cubicBezTo>
                <a:cubicBezTo>
                  <a:pt x="95" y="122"/>
                  <a:pt x="96" y="121"/>
                  <a:pt x="95" y="121"/>
                </a:cubicBezTo>
                <a:cubicBezTo>
                  <a:pt x="94" y="121"/>
                  <a:pt x="93" y="121"/>
                  <a:pt x="92" y="121"/>
                </a:cubicBezTo>
                <a:cubicBezTo>
                  <a:pt x="92" y="121"/>
                  <a:pt x="93" y="121"/>
                  <a:pt x="92" y="121"/>
                </a:cubicBezTo>
                <a:cubicBezTo>
                  <a:pt x="92" y="121"/>
                  <a:pt x="92" y="121"/>
                  <a:pt x="92" y="121"/>
                </a:cubicBezTo>
                <a:cubicBezTo>
                  <a:pt x="91" y="121"/>
                  <a:pt x="90" y="121"/>
                  <a:pt x="90" y="121"/>
                </a:cubicBezTo>
                <a:cubicBezTo>
                  <a:pt x="90" y="120"/>
                  <a:pt x="90" y="120"/>
                  <a:pt x="90" y="119"/>
                </a:cubicBezTo>
                <a:cubicBezTo>
                  <a:pt x="89" y="119"/>
                  <a:pt x="88" y="119"/>
                  <a:pt x="86" y="119"/>
                </a:cubicBezTo>
                <a:cubicBezTo>
                  <a:pt x="86" y="119"/>
                  <a:pt x="86" y="119"/>
                  <a:pt x="85" y="119"/>
                </a:cubicBezTo>
                <a:cubicBezTo>
                  <a:pt x="85" y="119"/>
                  <a:pt x="85" y="119"/>
                  <a:pt x="85" y="119"/>
                </a:cubicBezTo>
                <a:cubicBezTo>
                  <a:pt x="84" y="119"/>
                  <a:pt x="82" y="119"/>
                  <a:pt x="82" y="120"/>
                </a:cubicBezTo>
                <a:cubicBezTo>
                  <a:pt x="81" y="120"/>
                  <a:pt x="80" y="120"/>
                  <a:pt x="80" y="119"/>
                </a:cubicBezTo>
                <a:cubicBezTo>
                  <a:pt x="80" y="118"/>
                  <a:pt x="80" y="117"/>
                  <a:pt x="79" y="117"/>
                </a:cubicBezTo>
                <a:cubicBezTo>
                  <a:pt x="79" y="117"/>
                  <a:pt x="79" y="118"/>
                  <a:pt x="79" y="118"/>
                </a:cubicBezTo>
                <a:cubicBezTo>
                  <a:pt x="78" y="118"/>
                  <a:pt x="79" y="118"/>
                  <a:pt x="78" y="118"/>
                </a:cubicBezTo>
                <a:cubicBezTo>
                  <a:pt x="78" y="118"/>
                  <a:pt x="77" y="118"/>
                  <a:pt x="77" y="118"/>
                </a:cubicBezTo>
                <a:cubicBezTo>
                  <a:pt x="77" y="119"/>
                  <a:pt x="77" y="119"/>
                  <a:pt x="76" y="119"/>
                </a:cubicBezTo>
                <a:cubicBezTo>
                  <a:pt x="76" y="119"/>
                  <a:pt x="75" y="120"/>
                  <a:pt x="75" y="120"/>
                </a:cubicBezTo>
                <a:cubicBezTo>
                  <a:pt x="75" y="119"/>
                  <a:pt x="75" y="119"/>
                  <a:pt x="75" y="119"/>
                </a:cubicBezTo>
                <a:cubicBezTo>
                  <a:pt x="75" y="118"/>
                  <a:pt x="75" y="119"/>
                  <a:pt x="75" y="118"/>
                </a:cubicBezTo>
                <a:cubicBezTo>
                  <a:pt x="75" y="118"/>
                  <a:pt x="75" y="117"/>
                  <a:pt x="75" y="117"/>
                </a:cubicBezTo>
                <a:cubicBezTo>
                  <a:pt x="75" y="117"/>
                  <a:pt x="75" y="117"/>
                  <a:pt x="75" y="117"/>
                </a:cubicBezTo>
                <a:cubicBezTo>
                  <a:pt x="74" y="117"/>
                  <a:pt x="74" y="117"/>
                  <a:pt x="73" y="117"/>
                </a:cubicBezTo>
                <a:cubicBezTo>
                  <a:pt x="73" y="117"/>
                  <a:pt x="73" y="116"/>
                  <a:pt x="73" y="116"/>
                </a:cubicBezTo>
                <a:cubicBezTo>
                  <a:pt x="73" y="116"/>
                  <a:pt x="72" y="116"/>
                  <a:pt x="72" y="116"/>
                </a:cubicBezTo>
                <a:cubicBezTo>
                  <a:pt x="72" y="116"/>
                  <a:pt x="72" y="116"/>
                  <a:pt x="71" y="116"/>
                </a:cubicBezTo>
                <a:cubicBezTo>
                  <a:pt x="71" y="116"/>
                  <a:pt x="70" y="116"/>
                  <a:pt x="70" y="116"/>
                </a:cubicBezTo>
                <a:cubicBezTo>
                  <a:pt x="69" y="116"/>
                  <a:pt x="69" y="116"/>
                  <a:pt x="69" y="116"/>
                </a:cubicBezTo>
                <a:cubicBezTo>
                  <a:pt x="68" y="116"/>
                  <a:pt x="68" y="117"/>
                  <a:pt x="67" y="117"/>
                </a:cubicBezTo>
                <a:cubicBezTo>
                  <a:pt x="67" y="117"/>
                  <a:pt x="67" y="118"/>
                  <a:pt x="66" y="118"/>
                </a:cubicBezTo>
                <a:cubicBezTo>
                  <a:pt x="66" y="118"/>
                  <a:pt x="66" y="118"/>
                  <a:pt x="66" y="118"/>
                </a:cubicBezTo>
                <a:cubicBezTo>
                  <a:pt x="66" y="118"/>
                  <a:pt x="66" y="118"/>
                  <a:pt x="66" y="118"/>
                </a:cubicBezTo>
                <a:cubicBezTo>
                  <a:pt x="65" y="119"/>
                  <a:pt x="64" y="119"/>
                  <a:pt x="64" y="119"/>
                </a:cubicBezTo>
                <a:cubicBezTo>
                  <a:pt x="63" y="119"/>
                  <a:pt x="64" y="119"/>
                  <a:pt x="63" y="119"/>
                </a:cubicBezTo>
                <a:cubicBezTo>
                  <a:pt x="63" y="119"/>
                  <a:pt x="62" y="119"/>
                  <a:pt x="61" y="119"/>
                </a:cubicBezTo>
                <a:cubicBezTo>
                  <a:pt x="61" y="119"/>
                  <a:pt x="60" y="119"/>
                  <a:pt x="60" y="119"/>
                </a:cubicBezTo>
                <a:cubicBezTo>
                  <a:pt x="60" y="119"/>
                  <a:pt x="59" y="120"/>
                  <a:pt x="59" y="121"/>
                </a:cubicBezTo>
                <a:cubicBezTo>
                  <a:pt x="59" y="120"/>
                  <a:pt x="58" y="119"/>
                  <a:pt x="58" y="119"/>
                </a:cubicBezTo>
                <a:cubicBezTo>
                  <a:pt x="58" y="120"/>
                  <a:pt x="57" y="120"/>
                  <a:pt x="57" y="120"/>
                </a:cubicBezTo>
                <a:cubicBezTo>
                  <a:pt x="57" y="121"/>
                  <a:pt x="56" y="121"/>
                  <a:pt x="55" y="121"/>
                </a:cubicBezTo>
                <a:cubicBezTo>
                  <a:pt x="55" y="122"/>
                  <a:pt x="55" y="122"/>
                  <a:pt x="54" y="122"/>
                </a:cubicBezTo>
                <a:cubicBezTo>
                  <a:pt x="53" y="122"/>
                  <a:pt x="54" y="122"/>
                  <a:pt x="53" y="122"/>
                </a:cubicBezTo>
                <a:cubicBezTo>
                  <a:pt x="52" y="122"/>
                  <a:pt x="50" y="122"/>
                  <a:pt x="49" y="122"/>
                </a:cubicBezTo>
                <a:cubicBezTo>
                  <a:pt x="49" y="123"/>
                  <a:pt x="48" y="123"/>
                  <a:pt x="47" y="124"/>
                </a:cubicBezTo>
                <a:cubicBezTo>
                  <a:pt x="46" y="124"/>
                  <a:pt x="46" y="125"/>
                  <a:pt x="45" y="126"/>
                </a:cubicBezTo>
                <a:cubicBezTo>
                  <a:pt x="45" y="126"/>
                  <a:pt x="45" y="127"/>
                  <a:pt x="44" y="127"/>
                </a:cubicBezTo>
                <a:cubicBezTo>
                  <a:pt x="44" y="127"/>
                  <a:pt x="44" y="127"/>
                  <a:pt x="43" y="128"/>
                </a:cubicBezTo>
                <a:cubicBezTo>
                  <a:pt x="42" y="128"/>
                  <a:pt x="42" y="130"/>
                  <a:pt x="42" y="131"/>
                </a:cubicBezTo>
                <a:cubicBezTo>
                  <a:pt x="41" y="132"/>
                  <a:pt x="41" y="132"/>
                  <a:pt x="41" y="133"/>
                </a:cubicBezTo>
                <a:cubicBezTo>
                  <a:pt x="41" y="133"/>
                  <a:pt x="41" y="134"/>
                  <a:pt x="41" y="134"/>
                </a:cubicBezTo>
                <a:cubicBezTo>
                  <a:pt x="41" y="134"/>
                  <a:pt x="41" y="134"/>
                  <a:pt x="40" y="134"/>
                </a:cubicBezTo>
                <a:cubicBezTo>
                  <a:pt x="40" y="135"/>
                  <a:pt x="41" y="136"/>
                  <a:pt x="39" y="136"/>
                </a:cubicBezTo>
                <a:cubicBezTo>
                  <a:pt x="39" y="136"/>
                  <a:pt x="38" y="136"/>
                  <a:pt x="38" y="136"/>
                </a:cubicBezTo>
                <a:cubicBezTo>
                  <a:pt x="37" y="136"/>
                  <a:pt x="37" y="136"/>
                  <a:pt x="37" y="136"/>
                </a:cubicBezTo>
                <a:cubicBezTo>
                  <a:pt x="36" y="136"/>
                  <a:pt x="37" y="137"/>
                  <a:pt x="36" y="137"/>
                </a:cubicBezTo>
                <a:cubicBezTo>
                  <a:pt x="36" y="137"/>
                  <a:pt x="35" y="136"/>
                  <a:pt x="35" y="137"/>
                </a:cubicBezTo>
                <a:cubicBezTo>
                  <a:pt x="34" y="137"/>
                  <a:pt x="32" y="136"/>
                  <a:pt x="32" y="137"/>
                </a:cubicBezTo>
                <a:cubicBezTo>
                  <a:pt x="32" y="137"/>
                  <a:pt x="31" y="137"/>
                  <a:pt x="31" y="137"/>
                </a:cubicBezTo>
                <a:cubicBezTo>
                  <a:pt x="30" y="137"/>
                  <a:pt x="28" y="137"/>
                  <a:pt x="28" y="137"/>
                </a:cubicBezTo>
                <a:cubicBezTo>
                  <a:pt x="27" y="137"/>
                  <a:pt x="26" y="137"/>
                  <a:pt x="26" y="137"/>
                </a:cubicBezTo>
                <a:cubicBezTo>
                  <a:pt x="26" y="139"/>
                  <a:pt x="26" y="140"/>
                  <a:pt x="27" y="141"/>
                </a:cubicBezTo>
                <a:cubicBezTo>
                  <a:pt x="26" y="142"/>
                  <a:pt x="26" y="142"/>
                  <a:pt x="25" y="142"/>
                </a:cubicBezTo>
                <a:cubicBezTo>
                  <a:pt x="26" y="143"/>
                  <a:pt x="26" y="143"/>
                  <a:pt x="26" y="143"/>
                </a:cubicBezTo>
                <a:cubicBezTo>
                  <a:pt x="27" y="143"/>
                  <a:pt x="28" y="144"/>
                  <a:pt x="28" y="144"/>
                </a:cubicBezTo>
                <a:cubicBezTo>
                  <a:pt x="29" y="145"/>
                  <a:pt x="29" y="144"/>
                  <a:pt x="29" y="145"/>
                </a:cubicBezTo>
                <a:cubicBezTo>
                  <a:pt x="29" y="145"/>
                  <a:pt x="31" y="145"/>
                  <a:pt x="32" y="146"/>
                </a:cubicBezTo>
                <a:cubicBezTo>
                  <a:pt x="32" y="146"/>
                  <a:pt x="33" y="147"/>
                  <a:pt x="34" y="147"/>
                </a:cubicBezTo>
                <a:cubicBezTo>
                  <a:pt x="34" y="147"/>
                  <a:pt x="35" y="148"/>
                  <a:pt x="35" y="148"/>
                </a:cubicBezTo>
                <a:cubicBezTo>
                  <a:pt x="36" y="148"/>
                  <a:pt x="37" y="148"/>
                  <a:pt x="38" y="149"/>
                </a:cubicBezTo>
                <a:cubicBezTo>
                  <a:pt x="37" y="151"/>
                  <a:pt x="38" y="151"/>
                  <a:pt x="40" y="152"/>
                </a:cubicBezTo>
                <a:cubicBezTo>
                  <a:pt x="40" y="151"/>
                  <a:pt x="41" y="151"/>
                  <a:pt x="41" y="151"/>
                </a:cubicBezTo>
                <a:cubicBezTo>
                  <a:pt x="42" y="150"/>
                  <a:pt x="42" y="150"/>
                  <a:pt x="43" y="151"/>
                </a:cubicBezTo>
                <a:cubicBezTo>
                  <a:pt x="43" y="151"/>
                  <a:pt x="43" y="151"/>
                  <a:pt x="43" y="152"/>
                </a:cubicBezTo>
                <a:cubicBezTo>
                  <a:pt x="44" y="152"/>
                  <a:pt x="47" y="151"/>
                  <a:pt x="47" y="151"/>
                </a:cubicBezTo>
                <a:cubicBezTo>
                  <a:pt x="47" y="152"/>
                  <a:pt x="48" y="151"/>
                  <a:pt x="47" y="152"/>
                </a:cubicBezTo>
                <a:cubicBezTo>
                  <a:pt x="48" y="151"/>
                  <a:pt x="47" y="153"/>
                  <a:pt x="47" y="152"/>
                </a:cubicBezTo>
                <a:cubicBezTo>
                  <a:pt x="47" y="153"/>
                  <a:pt x="46" y="153"/>
                  <a:pt x="46" y="153"/>
                </a:cubicBezTo>
                <a:cubicBezTo>
                  <a:pt x="45" y="153"/>
                  <a:pt x="46" y="153"/>
                  <a:pt x="46" y="154"/>
                </a:cubicBezTo>
                <a:cubicBezTo>
                  <a:pt x="46" y="154"/>
                  <a:pt x="47" y="154"/>
                  <a:pt x="47" y="154"/>
                </a:cubicBezTo>
                <a:cubicBezTo>
                  <a:pt x="48" y="155"/>
                  <a:pt x="48" y="155"/>
                  <a:pt x="48" y="155"/>
                </a:cubicBezTo>
                <a:cubicBezTo>
                  <a:pt x="49" y="155"/>
                  <a:pt x="50" y="155"/>
                  <a:pt x="51" y="155"/>
                </a:cubicBezTo>
                <a:cubicBezTo>
                  <a:pt x="51" y="155"/>
                  <a:pt x="52" y="155"/>
                  <a:pt x="52" y="155"/>
                </a:cubicBezTo>
                <a:cubicBezTo>
                  <a:pt x="52" y="155"/>
                  <a:pt x="51" y="155"/>
                  <a:pt x="52" y="155"/>
                </a:cubicBezTo>
                <a:cubicBezTo>
                  <a:pt x="52" y="157"/>
                  <a:pt x="52" y="156"/>
                  <a:pt x="51" y="156"/>
                </a:cubicBezTo>
                <a:cubicBezTo>
                  <a:pt x="50" y="156"/>
                  <a:pt x="49" y="157"/>
                  <a:pt x="49" y="156"/>
                </a:cubicBezTo>
                <a:cubicBezTo>
                  <a:pt x="48" y="156"/>
                  <a:pt x="46" y="156"/>
                  <a:pt x="46" y="157"/>
                </a:cubicBezTo>
                <a:cubicBezTo>
                  <a:pt x="46" y="158"/>
                  <a:pt x="47" y="157"/>
                  <a:pt x="48" y="157"/>
                </a:cubicBezTo>
                <a:cubicBezTo>
                  <a:pt x="48" y="158"/>
                  <a:pt x="49" y="157"/>
                  <a:pt x="49" y="158"/>
                </a:cubicBezTo>
                <a:cubicBezTo>
                  <a:pt x="49" y="158"/>
                  <a:pt x="49" y="160"/>
                  <a:pt x="49" y="160"/>
                </a:cubicBezTo>
                <a:cubicBezTo>
                  <a:pt x="49" y="160"/>
                  <a:pt x="48" y="160"/>
                  <a:pt x="48" y="159"/>
                </a:cubicBezTo>
                <a:cubicBezTo>
                  <a:pt x="47" y="159"/>
                  <a:pt x="47" y="159"/>
                  <a:pt x="46" y="160"/>
                </a:cubicBezTo>
                <a:cubicBezTo>
                  <a:pt x="46" y="160"/>
                  <a:pt x="46" y="161"/>
                  <a:pt x="46" y="161"/>
                </a:cubicBezTo>
                <a:cubicBezTo>
                  <a:pt x="45" y="161"/>
                  <a:pt x="46" y="160"/>
                  <a:pt x="46" y="160"/>
                </a:cubicBezTo>
                <a:cubicBezTo>
                  <a:pt x="43" y="160"/>
                  <a:pt x="41" y="160"/>
                  <a:pt x="39" y="160"/>
                </a:cubicBezTo>
                <a:cubicBezTo>
                  <a:pt x="38" y="160"/>
                  <a:pt x="38" y="159"/>
                  <a:pt x="36" y="159"/>
                </a:cubicBezTo>
                <a:cubicBezTo>
                  <a:pt x="36" y="159"/>
                  <a:pt x="36" y="158"/>
                  <a:pt x="36" y="158"/>
                </a:cubicBezTo>
                <a:cubicBezTo>
                  <a:pt x="37" y="158"/>
                  <a:pt x="37" y="158"/>
                  <a:pt x="37" y="157"/>
                </a:cubicBezTo>
                <a:cubicBezTo>
                  <a:pt x="37" y="157"/>
                  <a:pt x="37" y="156"/>
                  <a:pt x="37" y="156"/>
                </a:cubicBezTo>
                <a:cubicBezTo>
                  <a:pt x="37" y="156"/>
                  <a:pt x="37" y="156"/>
                  <a:pt x="36" y="156"/>
                </a:cubicBezTo>
                <a:cubicBezTo>
                  <a:pt x="36" y="156"/>
                  <a:pt x="36" y="155"/>
                  <a:pt x="36" y="155"/>
                </a:cubicBezTo>
                <a:cubicBezTo>
                  <a:pt x="36" y="152"/>
                  <a:pt x="33" y="155"/>
                  <a:pt x="31" y="155"/>
                </a:cubicBezTo>
                <a:cubicBezTo>
                  <a:pt x="31" y="155"/>
                  <a:pt x="30" y="156"/>
                  <a:pt x="30" y="156"/>
                </a:cubicBezTo>
                <a:cubicBezTo>
                  <a:pt x="30" y="156"/>
                  <a:pt x="29" y="156"/>
                  <a:pt x="29" y="156"/>
                </a:cubicBezTo>
                <a:cubicBezTo>
                  <a:pt x="28" y="156"/>
                  <a:pt x="28" y="157"/>
                  <a:pt x="28" y="157"/>
                </a:cubicBezTo>
                <a:cubicBezTo>
                  <a:pt x="27" y="157"/>
                  <a:pt x="27" y="157"/>
                  <a:pt x="27" y="158"/>
                </a:cubicBezTo>
                <a:cubicBezTo>
                  <a:pt x="27" y="158"/>
                  <a:pt x="27" y="159"/>
                  <a:pt x="27" y="159"/>
                </a:cubicBezTo>
                <a:cubicBezTo>
                  <a:pt x="27" y="159"/>
                  <a:pt x="25" y="160"/>
                  <a:pt x="25" y="159"/>
                </a:cubicBezTo>
                <a:cubicBezTo>
                  <a:pt x="24" y="158"/>
                  <a:pt x="24" y="159"/>
                  <a:pt x="23" y="159"/>
                </a:cubicBezTo>
                <a:cubicBezTo>
                  <a:pt x="22" y="159"/>
                  <a:pt x="22" y="159"/>
                  <a:pt x="21" y="159"/>
                </a:cubicBezTo>
                <a:cubicBezTo>
                  <a:pt x="21" y="160"/>
                  <a:pt x="21" y="160"/>
                  <a:pt x="21" y="160"/>
                </a:cubicBezTo>
                <a:cubicBezTo>
                  <a:pt x="20" y="160"/>
                  <a:pt x="20" y="161"/>
                  <a:pt x="19" y="161"/>
                </a:cubicBezTo>
                <a:cubicBezTo>
                  <a:pt x="19" y="161"/>
                  <a:pt x="17" y="162"/>
                  <a:pt x="18" y="163"/>
                </a:cubicBezTo>
                <a:cubicBezTo>
                  <a:pt x="18" y="163"/>
                  <a:pt x="18" y="163"/>
                  <a:pt x="19" y="163"/>
                </a:cubicBezTo>
                <a:cubicBezTo>
                  <a:pt x="20" y="163"/>
                  <a:pt x="20" y="163"/>
                  <a:pt x="21" y="163"/>
                </a:cubicBezTo>
                <a:cubicBezTo>
                  <a:pt x="21" y="163"/>
                  <a:pt x="22" y="163"/>
                  <a:pt x="23" y="164"/>
                </a:cubicBezTo>
                <a:cubicBezTo>
                  <a:pt x="23" y="164"/>
                  <a:pt x="24" y="164"/>
                  <a:pt x="24" y="164"/>
                </a:cubicBezTo>
                <a:cubicBezTo>
                  <a:pt x="25" y="164"/>
                  <a:pt x="25" y="164"/>
                  <a:pt x="25" y="165"/>
                </a:cubicBezTo>
                <a:cubicBezTo>
                  <a:pt x="24" y="165"/>
                  <a:pt x="23" y="165"/>
                  <a:pt x="22" y="165"/>
                </a:cubicBezTo>
                <a:cubicBezTo>
                  <a:pt x="22" y="166"/>
                  <a:pt x="22" y="167"/>
                  <a:pt x="23" y="167"/>
                </a:cubicBezTo>
                <a:cubicBezTo>
                  <a:pt x="24" y="167"/>
                  <a:pt x="24" y="168"/>
                  <a:pt x="24" y="168"/>
                </a:cubicBezTo>
                <a:cubicBezTo>
                  <a:pt x="25" y="168"/>
                  <a:pt x="25" y="169"/>
                  <a:pt x="25" y="169"/>
                </a:cubicBezTo>
                <a:cubicBezTo>
                  <a:pt x="25" y="169"/>
                  <a:pt x="25" y="169"/>
                  <a:pt x="25" y="169"/>
                </a:cubicBezTo>
                <a:cubicBezTo>
                  <a:pt x="27" y="170"/>
                  <a:pt x="29" y="171"/>
                  <a:pt x="31" y="171"/>
                </a:cubicBezTo>
                <a:cubicBezTo>
                  <a:pt x="31" y="169"/>
                  <a:pt x="36" y="171"/>
                  <a:pt x="36" y="169"/>
                </a:cubicBezTo>
                <a:cubicBezTo>
                  <a:pt x="37" y="169"/>
                  <a:pt x="39" y="170"/>
                  <a:pt x="39" y="170"/>
                </a:cubicBezTo>
                <a:cubicBezTo>
                  <a:pt x="39" y="169"/>
                  <a:pt x="39" y="169"/>
                  <a:pt x="39" y="169"/>
                </a:cubicBezTo>
                <a:cubicBezTo>
                  <a:pt x="40" y="169"/>
                  <a:pt x="41" y="170"/>
                  <a:pt x="42" y="170"/>
                </a:cubicBezTo>
                <a:cubicBezTo>
                  <a:pt x="42" y="171"/>
                  <a:pt x="42" y="171"/>
                  <a:pt x="42" y="171"/>
                </a:cubicBezTo>
                <a:cubicBezTo>
                  <a:pt x="43" y="173"/>
                  <a:pt x="44" y="170"/>
                  <a:pt x="45" y="170"/>
                </a:cubicBezTo>
                <a:cubicBezTo>
                  <a:pt x="46" y="170"/>
                  <a:pt x="47" y="170"/>
                  <a:pt x="48" y="170"/>
                </a:cubicBezTo>
                <a:cubicBezTo>
                  <a:pt x="48" y="170"/>
                  <a:pt x="48" y="169"/>
                  <a:pt x="48" y="169"/>
                </a:cubicBezTo>
                <a:cubicBezTo>
                  <a:pt x="49" y="169"/>
                  <a:pt x="49" y="170"/>
                  <a:pt x="49" y="169"/>
                </a:cubicBezTo>
                <a:cubicBezTo>
                  <a:pt x="50" y="169"/>
                  <a:pt x="51" y="169"/>
                  <a:pt x="52" y="169"/>
                </a:cubicBezTo>
                <a:cubicBezTo>
                  <a:pt x="52" y="170"/>
                  <a:pt x="52" y="171"/>
                  <a:pt x="51" y="171"/>
                </a:cubicBezTo>
                <a:cubicBezTo>
                  <a:pt x="51" y="172"/>
                  <a:pt x="50" y="171"/>
                  <a:pt x="51" y="172"/>
                </a:cubicBezTo>
                <a:cubicBezTo>
                  <a:pt x="51" y="173"/>
                  <a:pt x="51" y="174"/>
                  <a:pt x="51" y="175"/>
                </a:cubicBezTo>
                <a:cubicBezTo>
                  <a:pt x="52" y="177"/>
                  <a:pt x="52" y="178"/>
                  <a:pt x="51" y="178"/>
                </a:cubicBezTo>
                <a:cubicBezTo>
                  <a:pt x="50" y="178"/>
                  <a:pt x="51" y="179"/>
                  <a:pt x="50" y="179"/>
                </a:cubicBezTo>
                <a:cubicBezTo>
                  <a:pt x="50" y="179"/>
                  <a:pt x="50" y="179"/>
                  <a:pt x="49" y="179"/>
                </a:cubicBezTo>
                <a:cubicBezTo>
                  <a:pt x="49" y="179"/>
                  <a:pt x="48" y="180"/>
                  <a:pt x="47" y="180"/>
                </a:cubicBezTo>
                <a:cubicBezTo>
                  <a:pt x="46" y="179"/>
                  <a:pt x="45" y="179"/>
                  <a:pt x="45" y="180"/>
                </a:cubicBezTo>
                <a:cubicBezTo>
                  <a:pt x="44" y="181"/>
                  <a:pt x="44" y="181"/>
                  <a:pt x="43" y="181"/>
                </a:cubicBezTo>
                <a:cubicBezTo>
                  <a:pt x="43" y="182"/>
                  <a:pt x="43" y="182"/>
                  <a:pt x="42" y="182"/>
                </a:cubicBezTo>
                <a:cubicBezTo>
                  <a:pt x="41" y="182"/>
                  <a:pt x="40" y="182"/>
                  <a:pt x="39" y="182"/>
                </a:cubicBezTo>
                <a:cubicBezTo>
                  <a:pt x="39" y="181"/>
                  <a:pt x="38" y="181"/>
                  <a:pt x="38" y="180"/>
                </a:cubicBezTo>
                <a:cubicBezTo>
                  <a:pt x="37" y="180"/>
                  <a:pt x="36" y="180"/>
                  <a:pt x="35" y="180"/>
                </a:cubicBezTo>
                <a:cubicBezTo>
                  <a:pt x="35" y="181"/>
                  <a:pt x="33" y="181"/>
                  <a:pt x="34" y="182"/>
                </a:cubicBezTo>
                <a:cubicBezTo>
                  <a:pt x="34" y="183"/>
                  <a:pt x="35" y="183"/>
                  <a:pt x="35" y="185"/>
                </a:cubicBezTo>
                <a:cubicBezTo>
                  <a:pt x="35" y="185"/>
                  <a:pt x="36" y="187"/>
                  <a:pt x="35" y="186"/>
                </a:cubicBezTo>
                <a:cubicBezTo>
                  <a:pt x="34" y="186"/>
                  <a:pt x="36" y="185"/>
                  <a:pt x="34" y="185"/>
                </a:cubicBezTo>
                <a:cubicBezTo>
                  <a:pt x="33" y="185"/>
                  <a:pt x="33" y="185"/>
                  <a:pt x="33" y="186"/>
                </a:cubicBezTo>
                <a:cubicBezTo>
                  <a:pt x="32" y="187"/>
                  <a:pt x="33" y="187"/>
                  <a:pt x="32" y="187"/>
                </a:cubicBezTo>
                <a:cubicBezTo>
                  <a:pt x="31" y="188"/>
                  <a:pt x="29" y="189"/>
                  <a:pt x="29" y="189"/>
                </a:cubicBezTo>
                <a:cubicBezTo>
                  <a:pt x="29" y="190"/>
                  <a:pt x="29" y="191"/>
                  <a:pt x="28" y="192"/>
                </a:cubicBezTo>
                <a:cubicBezTo>
                  <a:pt x="27" y="192"/>
                  <a:pt x="27" y="193"/>
                  <a:pt x="27" y="194"/>
                </a:cubicBezTo>
                <a:cubicBezTo>
                  <a:pt x="27" y="194"/>
                  <a:pt x="28" y="194"/>
                  <a:pt x="28" y="194"/>
                </a:cubicBezTo>
                <a:cubicBezTo>
                  <a:pt x="28" y="194"/>
                  <a:pt x="28" y="194"/>
                  <a:pt x="28" y="195"/>
                </a:cubicBezTo>
                <a:cubicBezTo>
                  <a:pt x="28" y="195"/>
                  <a:pt x="29" y="195"/>
                  <a:pt x="29" y="195"/>
                </a:cubicBezTo>
                <a:cubicBezTo>
                  <a:pt x="29" y="194"/>
                  <a:pt x="31" y="197"/>
                  <a:pt x="31" y="197"/>
                </a:cubicBezTo>
                <a:cubicBezTo>
                  <a:pt x="32" y="197"/>
                  <a:pt x="33" y="196"/>
                  <a:pt x="34" y="197"/>
                </a:cubicBezTo>
                <a:cubicBezTo>
                  <a:pt x="35" y="197"/>
                  <a:pt x="35" y="197"/>
                  <a:pt x="35" y="197"/>
                </a:cubicBezTo>
                <a:cubicBezTo>
                  <a:pt x="36" y="197"/>
                  <a:pt x="36" y="197"/>
                  <a:pt x="37" y="197"/>
                </a:cubicBezTo>
                <a:cubicBezTo>
                  <a:pt x="38" y="197"/>
                  <a:pt x="38" y="197"/>
                  <a:pt x="38" y="198"/>
                </a:cubicBezTo>
                <a:cubicBezTo>
                  <a:pt x="37" y="198"/>
                  <a:pt x="37" y="199"/>
                  <a:pt x="36" y="199"/>
                </a:cubicBezTo>
                <a:cubicBezTo>
                  <a:pt x="36" y="200"/>
                  <a:pt x="35" y="200"/>
                  <a:pt x="35" y="201"/>
                </a:cubicBezTo>
                <a:cubicBezTo>
                  <a:pt x="35" y="202"/>
                  <a:pt x="35" y="202"/>
                  <a:pt x="35" y="202"/>
                </a:cubicBezTo>
                <a:cubicBezTo>
                  <a:pt x="35" y="202"/>
                  <a:pt x="36" y="204"/>
                  <a:pt x="35" y="204"/>
                </a:cubicBezTo>
                <a:cubicBezTo>
                  <a:pt x="37" y="204"/>
                  <a:pt x="36" y="204"/>
                  <a:pt x="37" y="205"/>
                </a:cubicBezTo>
                <a:cubicBezTo>
                  <a:pt x="37" y="205"/>
                  <a:pt x="37" y="206"/>
                  <a:pt x="38" y="206"/>
                </a:cubicBezTo>
                <a:cubicBezTo>
                  <a:pt x="39" y="206"/>
                  <a:pt x="42" y="206"/>
                  <a:pt x="42" y="205"/>
                </a:cubicBezTo>
                <a:cubicBezTo>
                  <a:pt x="42" y="204"/>
                  <a:pt x="43" y="204"/>
                  <a:pt x="43" y="203"/>
                </a:cubicBezTo>
                <a:cubicBezTo>
                  <a:pt x="43" y="203"/>
                  <a:pt x="44" y="203"/>
                  <a:pt x="43" y="202"/>
                </a:cubicBezTo>
                <a:cubicBezTo>
                  <a:pt x="43" y="202"/>
                  <a:pt x="43" y="202"/>
                  <a:pt x="43" y="201"/>
                </a:cubicBezTo>
                <a:cubicBezTo>
                  <a:pt x="43" y="201"/>
                  <a:pt x="44" y="201"/>
                  <a:pt x="44" y="201"/>
                </a:cubicBezTo>
                <a:cubicBezTo>
                  <a:pt x="44" y="200"/>
                  <a:pt x="45" y="201"/>
                  <a:pt x="45" y="201"/>
                </a:cubicBezTo>
                <a:cubicBezTo>
                  <a:pt x="45" y="202"/>
                  <a:pt x="45" y="202"/>
                  <a:pt x="45" y="203"/>
                </a:cubicBezTo>
                <a:cubicBezTo>
                  <a:pt x="44" y="203"/>
                  <a:pt x="44" y="203"/>
                  <a:pt x="44" y="203"/>
                </a:cubicBezTo>
                <a:cubicBezTo>
                  <a:pt x="44" y="204"/>
                  <a:pt x="44" y="204"/>
                  <a:pt x="45" y="205"/>
                </a:cubicBezTo>
                <a:cubicBezTo>
                  <a:pt x="46" y="206"/>
                  <a:pt x="45" y="206"/>
                  <a:pt x="46" y="207"/>
                </a:cubicBezTo>
                <a:cubicBezTo>
                  <a:pt x="46" y="207"/>
                  <a:pt x="46" y="207"/>
                  <a:pt x="46" y="207"/>
                </a:cubicBezTo>
                <a:cubicBezTo>
                  <a:pt x="46" y="207"/>
                  <a:pt x="47" y="208"/>
                  <a:pt x="47" y="208"/>
                </a:cubicBezTo>
                <a:cubicBezTo>
                  <a:pt x="47" y="209"/>
                  <a:pt x="46" y="209"/>
                  <a:pt x="46" y="209"/>
                </a:cubicBezTo>
                <a:cubicBezTo>
                  <a:pt x="46" y="210"/>
                  <a:pt x="46" y="211"/>
                  <a:pt x="46" y="211"/>
                </a:cubicBezTo>
                <a:cubicBezTo>
                  <a:pt x="47" y="211"/>
                  <a:pt x="47" y="211"/>
                  <a:pt x="48" y="211"/>
                </a:cubicBezTo>
                <a:cubicBezTo>
                  <a:pt x="49" y="212"/>
                  <a:pt x="47" y="211"/>
                  <a:pt x="47" y="212"/>
                </a:cubicBezTo>
                <a:cubicBezTo>
                  <a:pt x="47" y="214"/>
                  <a:pt x="47" y="213"/>
                  <a:pt x="47" y="213"/>
                </a:cubicBezTo>
                <a:cubicBezTo>
                  <a:pt x="47" y="213"/>
                  <a:pt x="47" y="214"/>
                  <a:pt x="47" y="215"/>
                </a:cubicBezTo>
                <a:cubicBezTo>
                  <a:pt x="48" y="215"/>
                  <a:pt x="48" y="214"/>
                  <a:pt x="49" y="214"/>
                </a:cubicBezTo>
                <a:cubicBezTo>
                  <a:pt x="50" y="213"/>
                  <a:pt x="50" y="213"/>
                  <a:pt x="51" y="213"/>
                </a:cubicBezTo>
                <a:cubicBezTo>
                  <a:pt x="52" y="211"/>
                  <a:pt x="54" y="211"/>
                  <a:pt x="55" y="210"/>
                </a:cubicBezTo>
                <a:cubicBezTo>
                  <a:pt x="55" y="212"/>
                  <a:pt x="57" y="213"/>
                  <a:pt x="58" y="212"/>
                </a:cubicBezTo>
                <a:cubicBezTo>
                  <a:pt x="59" y="212"/>
                  <a:pt x="59" y="213"/>
                  <a:pt x="59" y="213"/>
                </a:cubicBezTo>
                <a:cubicBezTo>
                  <a:pt x="60" y="213"/>
                  <a:pt x="60" y="214"/>
                  <a:pt x="60" y="214"/>
                </a:cubicBezTo>
                <a:cubicBezTo>
                  <a:pt x="60" y="214"/>
                  <a:pt x="62" y="216"/>
                  <a:pt x="62" y="215"/>
                </a:cubicBezTo>
                <a:cubicBezTo>
                  <a:pt x="62" y="216"/>
                  <a:pt x="62" y="214"/>
                  <a:pt x="62" y="214"/>
                </a:cubicBezTo>
                <a:cubicBezTo>
                  <a:pt x="62" y="214"/>
                  <a:pt x="62" y="213"/>
                  <a:pt x="62" y="214"/>
                </a:cubicBezTo>
                <a:cubicBezTo>
                  <a:pt x="63" y="214"/>
                  <a:pt x="63" y="214"/>
                  <a:pt x="63" y="213"/>
                </a:cubicBezTo>
                <a:cubicBezTo>
                  <a:pt x="64" y="213"/>
                  <a:pt x="64" y="212"/>
                  <a:pt x="64" y="212"/>
                </a:cubicBezTo>
                <a:cubicBezTo>
                  <a:pt x="65" y="212"/>
                  <a:pt x="64" y="214"/>
                  <a:pt x="64" y="214"/>
                </a:cubicBezTo>
                <a:cubicBezTo>
                  <a:pt x="66" y="214"/>
                  <a:pt x="67" y="214"/>
                  <a:pt x="68" y="214"/>
                </a:cubicBezTo>
                <a:cubicBezTo>
                  <a:pt x="68" y="213"/>
                  <a:pt x="69" y="213"/>
                  <a:pt x="69" y="213"/>
                </a:cubicBezTo>
                <a:cubicBezTo>
                  <a:pt x="70" y="213"/>
                  <a:pt x="70" y="212"/>
                  <a:pt x="70" y="212"/>
                </a:cubicBezTo>
                <a:cubicBezTo>
                  <a:pt x="70" y="212"/>
                  <a:pt x="71" y="212"/>
                  <a:pt x="71" y="212"/>
                </a:cubicBezTo>
                <a:cubicBezTo>
                  <a:pt x="71" y="212"/>
                  <a:pt x="71" y="213"/>
                  <a:pt x="71" y="214"/>
                </a:cubicBezTo>
                <a:cubicBezTo>
                  <a:pt x="70" y="214"/>
                  <a:pt x="70" y="214"/>
                  <a:pt x="70" y="214"/>
                </a:cubicBezTo>
                <a:cubicBezTo>
                  <a:pt x="70" y="215"/>
                  <a:pt x="69" y="216"/>
                  <a:pt x="68" y="216"/>
                </a:cubicBezTo>
                <a:cubicBezTo>
                  <a:pt x="68" y="217"/>
                  <a:pt x="68" y="217"/>
                  <a:pt x="68" y="218"/>
                </a:cubicBezTo>
                <a:cubicBezTo>
                  <a:pt x="68" y="219"/>
                  <a:pt x="67" y="219"/>
                  <a:pt x="67" y="219"/>
                </a:cubicBezTo>
                <a:cubicBezTo>
                  <a:pt x="67" y="219"/>
                  <a:pt x="67" y="219"/>
                  <a:pt x="66" y="219"/>
                </a:cubicBezTo>
                <a:cubicBezTo>
                  <a:pt x="66" y="220"/>
                  <a:pt x="66" y="220"/>
                  <a:pt x="66" y="221"/>
                </a:cubicBezTo>
                <a:cubicBezTo>
                  <a:pt x="66" y="221"/>
                  <a:pt x="66" y="223"/>
                  <a:pt x="66" y="223"/>
                </a:cubicBezTo>
                <a:cubicBezTo>
                  <a:pt x="66" y="223"/>
                  <a:pt x="65" y="223"/>
                  <a:pt x="65" y="224"/>
                </a:cubicBezTo>
                <a:cubicBezTo>
                  <a:pt x="65" y="225"/>
                  <a:pt x="64" y="225"/>
                  <a:pt x="64" y="226"/>
                </a:cubicBezTo>
                <a:cubicBezTo>
                  <a:pt x="63" y="227"/>
                  <a:pt x="63" y="228"/>
                  <a:pt x="62" y="228"/>
                </a:cubicBezTo>
                <a:cubicBezTo>
                  <a:pt x="61" y="228"/>
                  <a:pt x="60" y="229"/>
                  <a:pt x="60" y="230"/>
                </a:cubicBezTo>
                <a:cubicBezTo>
                  <a:pt x="58" y="230"/>
                  <a:pt x="57" y="231"/>
                  <a:pt x="56" y="232"/>
                </a:cubicBezTo>
                <a:cubicBezTo>
                  <a:pt x="54" y="232"/>
                  <a:pt x="54" y="233"/>
                  <a:pt x="54" y="235"/>
                </a:cubicBezTo>
                <a:cubicBezTo>
                  <a:pt x="54" y="236"/>
                  <a:pt x="54" y="235"/>
                  <a:pt x="53" y="235"/>
                </a:cubicBezTo>
                <a:cubicBezTo>
                  <a:pt x="52" y="235"/>
                  <a:pt x="52" y="236"/>
                  <a:pt x="51" y="236"/>
                </a:cubicBezTo>
                <a:cubicBezTo>
                  <a:pt x="52" y="235"/>
                  <a:pt x="52" y="235"/>
                  <a:pt x="52" y="235"/>
                </a:cubicBezTo>
                <a:cubicBezTo>
                  <a:pt x="50" y="235"/>
                  <a:pt x="49" y="235"/>
                  <a:pt x="47" y="236"/>
                </a:cubicBezTo>
                <a:cubicBezTo>
                  <a:pt x="46" y="236"/>
                  <a:pt x="46" y="236"/>
                  <a:pt x="46" y="237"/>
                </a:cubicBezTo>
                <a:cubicBezTo>
                  <a:pt x="46" y="238"/>
                  <a:pt x="45" y="238"/>
                  <a:pt x="45" y="238"/>
                </a:cubicBezTo>
                <a:cubicBezTo>
                  <a:pt x="44" y="238"/>
                  <a:pt x="44" y="239"/>
                  <a:pt x="44" y="239"/>
                </a:cubicBezTo>
                <a:cubicBezTo>
                  <a:pt x="44" y="240"/>
                  <a:pt x="44" y="240"/>
                  <a:pt x="43" y="240"/>
                </a:cubicBezTo>
                <a:cubicBezTo>
                  <a:pt x="43" y="241"/>
                  <a:pt x="42" y="241"/>
                  <a:pt x="42" y="241"/>
                </a:cubicBezTo>
                <a:cubicBezTo>
                  <a:pt x="41" y="241"/>
                  <a:pt x="40" y="242"/>
                  <a:pt x="40" y="243"/>
                </a:cubicBezTo>
                <a:cubicBezTo>
                  <a:pt x="41" y="242"/>
                  <a:pt x="41" y="242"/>
                  <a:pt x="42" y="242"/>
                </a:cubicBezTo>
                <a:cubicBezTo>
                  <a:pt x="42" y="242"/>
                  <a:pt x="43" y="242"/>
                  <a:pt x="43" y="242"/>
                </a:cubicBezTo>
                <a:cubicBezTo>
                  <a:pt x="43" y="241"/>
                  <a:pt x="44" y="241"/>
                  <a:pt x="44" y="241"/>
                </a:cubicBezTo>
                <a:cubicBezTo>
                  <a:pt x="44" y="242"/>
                  <a:pt x="44" y="242"/>
                  <a:pt x="45" y="242"/>
                </a:cubicBezTo>
                <a:cubicBezTo>
                  <a:pt x="45" y="242"/>
                  <a:pt x="45" y="242"/>
                  <a:pt x="45" y="241"/>
                </a:cubicBezTo>
                <a:cubicBezTo>
                  <a:pt x="45" y="241"/>
                  <a:pt x="46" y="241"/>
                  <a:pt x="46" y="241"/>
                </a:cubicBezTo>
                <a:cubicBezTo>
                  <a:pt x="46" y="239"/>
                  <a:pt x="47" y="240"/>
                  <a:pt x="47" y="238"/>
                </a:cubicBezTo>
                <a:cubicBezTo>
                  <a:pt x="47" y="238"/>
                  <a:pt x="47" y="238"/>
                  <a:pt x="47" y="238"/>
                </a:cubicBezTo>
                <a:cubicBezTo>
                  <a:pt x="47" y="237"/>
                  <a:pt x="47" y="237"/>
                  <a:pt x="48" y="237"/>
                </a:cubicBezTo>
                <a:cubicBezTo>
                  <a:pt x="48" y="237"/>
                  <a:pt x="49" y="237"/>
                  <a:pt x="50" y="237"/>
                </a:cubicBezTo>
                <a:cubicBezTo>
                  <a:pt x="49" y="237"/>
                  <a:pt x="49" y="238"/>
                  <a:pt x="49" y="239"/>
                </a:cubicBezTo>
                <a:cubicBezTo>
                  <a:pt x="50" y="239"/>
                  <a:pt x="51" y="239"/>
                  <a:pt x="51" y="237"/>
                </a:cubicBezTo>
                <a:cubicBezTo>
                  <a:pt x="52" y="238"/>
                  <a:pt x="53" y="238"/>
                  <a:pt x="54" y="238"/>
                </a:cubicBezTo>
                <a:cubicBezTo>
                  <a:pt x="54" y="237"/>
                  <a:pt x="54" y="238"/>
                  <a:pt x="54" y="237"/>
                </a:cubicBezTo>
                <a:cubicBezTo>
                  <a:pt x="54" y="237"/>
                  <a:pt x="56" y="236"/>
                  <a:pt x="57" y="236"/>
                </a:cubicBezTo>
                <a:cubicBezTo>
                  <a:pt x="57" y="237"/>
                  <a:pt x="58" y="237"/>
                  <a:pt x="58" y="235"/>
                </a:cubicBezTo>
                <a:cubicBezTo>
                  <a:pt x="59" y="236"/>
                  <a:pt x="60" y="235"/>
                  <a:pt x="60" y="233"/>
                </a:cubicBezTo>
                <a:cubicBezTo>
                  <a:pt x="61" y="234"/>
                  <a:pt x="61" y="234"/>
                  <a:pt x="62" y="234"/>
                </a:cubicBezTo>
                <a:cubicBezTo>
                  <a:pt x="62" y="234"/>
                  <a:pt x="62" y="234"/>
                  <a:pt x="62" y="234"/>
                </a:cubicBezTo>
                <a:cubicBezTo>
                  <a:pt x="62" y="233"/>
                  <a:pt x="62" y="233"/>
                  <a:pt x="62" y="232"/>
                </a:cubicBezTo>
                <a:cubicBezTo>
                  <a:pt x="62" y="232"/>
                  <a:pt x="61" y="232"/>
                  <a:pt x="61" y="232"/>
                </a:cubicBezTo>
                <a:cubicBezTo>
                  <a:pt x="62" y="232"/>
                  <a:pt x="64" y="231"/>
                  <a:pt x="65" y="231"/>
                </a:cubicBezTo>
                <a:cubicBezTo>
                  <a:pt x="65" y="231"/>
                  <a:pt x="64" y="230"/>
                  <a:pt x="64" y="230"/>
                </a:cubicBezTo>
                <a:cubicBezTo>
                  <a:pt x="65" y="230"/>
                  <a:pt x="66" y="230"/>
                  <a:pt x="66" y="229"/>
                </a:cubicBezTo>
                <a:cubicBezTo>
                  <a:pt x="66" y="229"/>
                  <a:pt x="66" y="228"/>
                  <a:pt x="67" y="228"/>
                </a:cubicBezTo>
                <a:cubicBezTo>
                  <a:pt x="67" y="228"/>
                  <a:pt x="67" y="227"/>
                  <a:pt x="67" y="228"/>
                </a:cubicBezTo>
                <a:cubicBezTo>
                  <a:pt x="68" y="228"/>
                  <a:pt x="68" y="228"/>
                  <a:pt x="69" y="228"/>
                </a:cubicBezTo>
                <a:cubicBezTo>
                  <a:pt x="69" y="227"/>
                  <a:pt x="69" y="227"/>
                  <a:pt x="70" y="227"/>
                </a:cubicBezTo>
                <a:cubicBezTo>
                  <a:pt x="71" y="227"/>
                  <a:pt x="71" y="225"/>
                  <a:pt x="71" y="224"/>
                </a:cubicBezTo>
                <a:cubicBezTo>
                  <a:pt x="71" y="224"/>
                  <a:pt x="72" y="224"/>
                  <a:pt x="72" y="224"/>
                </a:cubicBezTo>
                <a:cubicBezTo>
                  <a:pt x="73" y="223"/>
                  <a:pt x="72" y="223"/>
                  <a:pt x="73" y="223"/>
                </a:cubicBezTo>
                <a:cubicBezTo>
                  <a:pt x="74" y="223"/>
                  <a:pt x="74" y="222"/>
                  <a:pt x="75" y="221"/>
                </a:cubicBezTo>
                <a:cubicBezTo>
                  <a:pt x="76" y="221"/>
                  <a:pt x="76" y="220"/>
                  <a:pt x="77" y="220"/>
                </a:cubicBezTo>
                <a:cubicBezTo>
                  <a:pt x="78" y="220"/>
                  <a:pt x="77" y="218"/>
                  <a:pt x="78" y="218"/>
                </a:cubicBezTo>
                <a:cubicBezTo>
                  <a:pt x="79" y="218"/>
                  <a:pt x="79" y="218"/>
                  <a:pt x="79" y="218"/>
                </a:cubicBezTo>
                <a:cubicBezTo>
                  <a:pt x="79" y="218"/>
                  <a:pt x="80" y="218"/>
                  <a:pt x="80" y="218"/>
                </a:cubicBezTo>
                <a:cubicBezTo>
                  <a:pt x="81" y="218"/>
                  <a:pt x="81" y="217"/>
                  <a:pt x="82" y="217"/>
                </a:cubicBezTo>
                <a:cubicBezTo>
                  <a:pt x="83" y="217"/>
                  <a:pt x="84" y="215"/>
                  <a:pt x="83" y="215"/>
                </a:cubicBezTo>
                <a:cubicBezTo>
                  <a:pt x="83" y="215"/>
                  <a:pt x="83" y="214"/>
                  <a:pt x="83" y="214"/>
                </a:cubicBezTo>
                <a:cubicBezTo>
                  <a:pt x="84" y="214"/>
                  <a:pt x="84" y="214"/>
                  <a:pt x="84" y="214"/>
                </a:cubicBezTo>
                <a:cubicBezTo>
                  <a:pt x="85" y="214"/>
                  <a:pt x="84" y="213"/>
                  <a:pt x="84" y="213"/>
                </a:cubicBezTo>
                <a:cubicBezTo>
                  <a:pt x="85" y="213"/>
                  <a:pt x="86" y="213"/>
                  <a:pt x="86" y="212"/>
                </a:cubicBezTo>
                <a:cubicBezTo>
                  <a:pt x="86" y="211"/>
                  <a:pt x="86" y="211"/>
                  <a:pt x="85" y="211"/>
                </a:cubicBezTo>
                <a:cubicBezTo>
                  <a:pt x="84" y="211"/>
                  <a:pt x="83" y="211"/>
                  <a:pt x="83" y="211"/>
                </a:cubicBezTo>
                <a:cubicBezTo>
                  <a:pt x="83" y="210"/>
                  <a:pt x="83" y="208"/>
                  <a:pt x="83" y="208"/>
                </a:cubicBezTo>
                <a:cubicBezTo>
                  <a:pt x="84" y="208"/>
                  <a:pt x="83" y="207"/>
                  <a:pt x="84" y="207"/>
                </a:cubicBezTo>
                <a:cubicBezTo>
                  <a:pt x="84" y="207"/>
                  <a:pt x="84" y="206"/>
                  <a:pt x="84" y="206"/>
                </a:cubicBezTo>
                <a:cubicBezTo>
                  <a:pt x="85" y="206"/>
                  <a:pt x="87" y="206"/>
                  <a:pt x="87" y="205"/>
                </a:cubicBezTo>
                <a:cubicBezTo>
                  <a:pt x="87" y="204"/>
                  <a:pt x="88" y="204"/>
                  <a:pt x="88" y="204"/>
                </a:cubicBezTo>
                <a:cubicBezTo>
                  <a:pt x="89" y="203"/>
                  <a:pt x="89" y="203"/>
                  <a:pt x="88" y="202"/>
                </a:cubicBezTo>
                <a:cubicBezTo>
                  <a:pt x="89" y="202"/>
                  <a:pt x="90" y="202"/>
                  <a:pt x="90" y="203"/>
                </a:cubicBezTo>
                <a:cubicBezTo>
                  <a:pt x="91" y="202"/>
                  <a:pt x="91" y="202"/>
                  <a:pt x="91" y="200"/>
                </a:cubicBezTo>
                <a:cubicBezTo>
                  <a:pt x="91" y="200"/>
                  <a:pt x="92" y="199"/>
                  <a:pt x="93" y="199"/>
                </a:cubicBezTo>
                <a:cubicBezTo>
                  <a:pt x="93" y="199"/>
                  <a:pt x="95" y="198"/>
                  <a:pt x="95" y="198"/>
                </a:cubicBezTo>
                <a:cubicBezTo>
                  <a:pt x="95" y="197"/>
                  <a:pt x="95" y="197"/>
                  <a:pt x="96" y="196"/>
                </a:cubicBezTo>
                <a:cubicBezTo>
                  <a:pt x="96" y="196"/>
                  <a:pt x="96" y="196"/>
                  <a:pt x="97" y="196"/>
                </a:cubicBezTo>
                <a:cubicBezTo>
                  <a:pt x="98" y="195"/>
                  <a:pt x="99" y="194"/>
                  <a:pt x="100" y="193"/>
                </a:cubicBezTo>
                <a:cubicBezTo>
                  <a:pt x="101" y="192"/>
                  <a:pt x="100" y="193"/>
                  <a:pt x="101" y="194"/>
                </a:cubicBezTo>
                <a:cubicBezTo>
                  <a:pt x="102" y="194"/>
                  <a:pt x="104" y="194"/>
                  <a:pt x="104" y="193"/>
                </a:cubicBezTo>
                <a:cubicBezTo>
                  <a:pt x="105" y="192"/>
                  <a:pt x="105" y="192"/>
                  <a:pt x="106" y="192"/>
                </a:cubicBezTo>
                <a:cubicBezTo>
                  <a:pt x="106" y="192"/>
                  <a:pt x="105" y="193"/>
                  <a:pt x="105" y="193"/>
                </a:cubicBezTo>
                <a:cubicBezTo>
                  <a:pt x="104" y="194"/>
                  <a:pt x="104" y="194"/>
                  <a:pt x="104" y="195"/>
                </a:cubicBezTo>
                <a:cubicBezTo>
                  <a:pt x="105" y="195"/>
                  <a:pt x="105" y="196"/>
                  <a:pt x="106" y="197"/>
                </a:cubicBezTo>
                <a:cubicBezTo>
                  <a:pt x="104" y="197"/>
                  <a:pt x="103" y="197"/>
                  <a:pt x="102" y="196"/>
                </a:cubicBezTo>
                <a:cubicBezTo>
                  <a:pt x="101" y="196"/>
                  <a:pt x="100" y="196"/>
                  <a:pt x="100" y="196"/>
                </a:cubicBezTo>
                <a:cubicBezTo>
                  <a:pt x="100" y="197"/>
                  <a:pt x="99" y="197"/>
                  <a:pt x="99" y="197"/>
                </a:cubicBezTo>
                <a:cubicBezTo>
                  <a:pt x="98" y="197"/>
                  <a:pt x="98" y="198"/>
                  <a:pt x="98" y="198"/>
                </a:cubicBezTo>
                <a:cubicBezTo>
                  <a:pt x="98" y="198"/>
                  <a:pt x="97" y="198"/>
                  <a:pt x="97" y="198"/>
                </a:cubicBezTo>
                <a:cubicBezTo>
                  <a:pt x="96" y="198"/>
                  <a:pt x="96" y="200"/>
                  <a:pt x="96" y="201"/>
                </a:cubicBezTo>
                <a:cubicBezTo>
                  <a:pt x="96" y="201"/>
                  <a:pt x="96" y="202"/>
                  <a:pt x="96" y="202"/>
                </a:cubicBezTo>
                <a:cubicBezTo>
                  <a:pt x="96" y="203"/>
                  <a:pt x="97" y="203"/>
                  <a:pt x="97" y="203"/>
                </a:cubicBezTo>
                <a:cubicBezTo>
                  <a:pt x="96" y="203"/>
                  <a:pt x="95" y="204"/>
                  <a:pt x="95" y="204"/>
                </a:cubicBezTo>
                <a:cubicBezTo>
                  <a:pt x="95" y="205"/>
                  <a:pt x="95" y="205"/>
                  <a:pt x="95" y="205"/>
                </a:cubicBezTo>
                <a:cubicBezTo>
                  <a:pt x="95" y="205"/>
                  <a:pt x="95" y="206"/>
                  <a:pt x="95" y="206"/>
                </a:cubicBezTo>
                <a:cubicBezTo>
                  <a:pt x="96" y="207"/>
                  <a:pt x="96" y="207"/>
                  <a:pt x="96" y="207"/>
                </a:cubicBezTo>
                <a:cubicBezTo>
                  <a:pt x="96" y="207"/>
                  <a:pt x="97" y="207"/>
                  <a:pt x="97" y="207"/>
                </a:cubicBezTo>
                <a:cubicBezTo>
                  <a:pt x="97" y="207"/>
                  <a:pt x="97" y="207"/>
                  <a:pt x="98" y="207"/>
                </a:cubicBezTo>
                <a:cubicBezTo>
                  <a:pt x="97" y="208"/>
                  <a:pt x="96" y="209"/>
                  <a:pt x="95" y="209"/>
                </a:cubicBezTo>
                <a:cubicBezTo>
                  <a:pt x="94" y="208"/>
                  <a:pt x="95" y="209"/>
                  <a:pt x="94" y="210"/>
                </a:cubicBezTo>
                <a:cubicBezTo>
                  <a:pt x="95" y="210"/>
                  <a:pt x="96" y="210"/>
                  <a:pt x="97" y="210"/>
                </a:cubicBezTo>
                <a:cubicBezTo>
                  <a:pt x="97" y="210"/>
                  <a:pt x="98" y="210"/>
                  <a:pt x="98" y="209"/>
                </a:cubicBezTo>
                <a:cubicBezTo>
                  <a:pt x="99" y="210"/>
                  <a:pt x="99" y="210"/>
                  <a:pt x="100" y="210"/>
                </a:cubicBezTo>
                <a:cubicBezTo>
                  <a:pt x="100" y="209"/>
                  <a:pt x="100" y="209"/>
                  <a:pt x="100" y="209"/>
                </a:cubicBezTo>
                <a:cubicBezTo>
                  <a:pt x="101" y="209"/>
                  <a:pt x="102" y="208"/>
                  <a:pt x="102" y="208"/>
                </a:cubicBezTo>
                <a:cubicBezTo>
                  <a:pt x="102" y="207"/>
                  <a:pt x="102" y="207"/>
                  <a:pt x="103" y="207"/>
                </a:cubicBezTo>
                <a:cubicBezTo>
                  <a:pt x="104" y="207"/>
                  <a:pt x="104" y="206"/>
                  <a:pt x="105" y="206"/>
                </a:cubicBezTo>
                <a:cubicBezTo>
                  <a:pt x="104" y="206"/>
                  <a:pt x="104" y="205"/>
                  <a:pt x="104" y="205"/>
                </a:cubicBezTo>
                <a:cubicBezTo>
                  <a:pt x="105" y="205"/>
                  <a:pt x="105" y="205"/>
                  <a:pt x="105" y="205"/>
                </a:cubicBezTo>
                <a:cubicBezTo>
                  <a:pt x="105" y="205"/>
                  <a:pt x="105" y="205"/>
                  <a:pt x="106" y="205"/>
                </a:cubicBezTo>
                <a:cubicBezTo>
                  <a:pt x="106" y="205"/>
                  <a:pt x="106" y="204"/>
                  <a:pt x="106" y="204"/>
                </a:cubicBezTo>
                <a:cubicBezTo>
                  <a:pt x="108" y="202"/>
                  <a:pt x="107" y="204"/>
                  <a:pt x="108" y="204"/>
                </a:cubicBezTo>
                <a:cubicBezTo>
                  <a:pt x="108" y="204"/>
                  <a:pt x="108" y="203"/>
                  <a:pt x="109" y="203"/>
                </a:cubicBezTo>
                <a:cubicBezTo>
                  <a:pt x="110" y="203"/>
                  <a:pt x="111" y="204"/>
                  <a:pt x="111" y="204"/>
                </a:cubicBezTo>
                <a:cubicBezTo>
                  <a:pt x="113" y="204"/>
                  <a:pt x="112" y="203"/>
                  <a:pt x="113" y="202"/>
                </a:cubicBezTo>
                <a:cubicBezTo>
                  <a:pt x="113" y="202"/>
                  <a:pt x="114" y="202"/>
                  <a:pt x="114" y="202"/>
                </a:cubicBezTo>
                <a:cubicBezTo>
                  <a:pt x="114" y="202"/>
                  <a:pt x="113" y="201"/>
                  <a:pt x="114" y="200"/>
                </a:cubicBezTo>
                <a:cubicBezTo>
                  <a:pt x="114" y="200"/>
                  <a:pt x="114" y="200"/>
                  <a:pt x="114" y="199"/>
                </a:cubicBezTo>
                <a:cubicBezTo>
                  <a:pt x="114" y="199"/>
                  <a:pt x="113" y="199"/>
                  <a:pt x="113" y="199"/>
                </a:cubicBezTo>
                <a:cubicBezTo>
                  <a:pt x="113" y="199"/>
                  <a:pt x="113" y="199"/>
                  <a:pt x="112" y="199"/>
                </a:cubicBezTo>
                <a:cubicBezTo>
                  <a:pt x="112" y="199"/>
                  <a:pt x="112" y="198"/>
                  <a:pt x="111" y="198"/>
                </a:cubicBezTo>
                <a:cubicBezTo>
                  <a:pt x="111" y="198"/>
                  <a:pt x="111" y="196"/>
                  <a:pt x="111" y="196"/>
                </a:cubicBezTo>
                <a:cubicBezTo>
                  <a:pt x="113" y="196"/>
                  <a:pt x="113" y="196"/>
                  <a:pt x="114" y="196"/>
                </a:cubicBezTo>
                <a:cubicBezTo>
                  <a:pt x="114" y="197"/>
                  <a:pt x="116" y="197"/>
                  <a:pt x="116" y="197"/>
                </a:cubicBezTo>
                <a:cubicBezTo>
                  <a:pt x="116" y="196"/>
                  <a:pt x="116" y="196"/>
                  <a:pt x="116" y="196"/>
                </a:cubicBezTo>
                <a:cubicBezTo>
                  <a:pt x="117" y="196"/>
                  <a:pt x="118" y="196"/>
                  <a:pt x="118" y="196"/>
                </a:cubicBezTo>
                <a:cubicBezTo>
                  <a:pt x="119" y="196"/>
                  <a:pt x="119" y="195"/>
                  <a:pt x="120" y="195"/>
                </a:cubicBezTo>
                <a:cubicBezTo>
                  <a:pt x="120" y="195"/>
                  <a:pt x="120" y="196"/>
                  <a:pt x="120" y="197"/>
                </a:cubicBezTo>
                <a:cubicBezTo>
                  <a:pt x="120" y="197"/>
                  <a:pt x="121" y="197"/>
                  <a:pt x="121" y="197"/>
                </a:cubicBezTo>
                <a:cubicBezTo>
                  <a:pt x="121" y="198"/>
                  <a:pt x="121" y="197"/>
                  <a:pt x="120" y="197"/>
                </a:cubicBezTo>
                <a:cubicBezTo>
                  <a:pt x="120" y="197"/>
                  <a:pt x="120" y="198"/>
                  <a:pt x="120" y="198"/>
                </a:cubicBezTo>
                <a:cubicBezTo>
                  <a:pt x="119" y="198"/>
                  <a:pt x="119" y="198"/>
                  <a:pt x="120" y="198"/>
                </a:cubicBezTo>
                <a:cubicBezTo>
                  <a:pt x="120" y="198"/>
                  <a:pt x="122" y="198"/>
                  <a:pt x="122" y="198"/>
                </a:cubicBezTo>
                <a:cubicBezTo>
                  <a:pt x="122" y="199"/>
                  <a:pt x="123" y="199"/>
                  <a:pt x="124" y="199"/>
                </a:cubicBezTo>
                <a:cubicBezTo>
                  <a:pt x="124" y="199"/>
                  <a:pt x="124" y="200"/>
                  <a:pt x="123" y="200"/>
                </a:cubicBezTo>
                <a:cubicBezTo>
                  <a:pt x="123" y="201"/>
                  <a:pt x="123" y="201"/>
                  <a:pt x="123" y="201"/>
                </a:cubicBezTo>
                <a:cubicBezTo>
                  <a:pt x="124" y="202"/>
                  <a:pt x="125" y="202"/>
                  <a:pt x="126" y="201"/>
                </a:cubicBezTo>
                <a:cubicBezTo>
                  <a:pt x="127" y="200"/>
                  <a:pt x="127" y="201"/>
                  <a:pt x="127" y="201"/>
                </a:cubicBezTo>
                <a:cubicBezTo>
                  <a:pt x="127" y="202"/>
                  <a:pt x="128" y="203"/>
                  <a:pt x="128" y="203"/>
                </a:cubicBezTo>
                <a:cubicBezTo>
                  <a:pt x="128" y="203"/>
                  <a:pt x="129" y="203"/>
                  <a:pt x="130" y="203"/>
                </a:cubicBezTo>
                <a:cubicBezTo>
                  <a:pt x="130" y="203"/>
                  <a:pt x="130" y="203"/>
                  <a:pt x="130" y="203"/>
                </a:cubicBezTo>
                <a:cubicBezTo>
                  <a:pt x="131" y="203"/>
                  <a:pt x="131" y="204"/>
                  <a:pt x="131" y="204"/>
                </a:cubicBezTo>
                <a:cubicBezTo>
                  <a:pt x="132" y="205"/>
                  <a:pt x="135" y="204"/>
                  <a:pt x="135" y="205"/>
                </a:cubicBezTo>
                <a:cubicBezTo>
                  <a:pt x="136" y="205"/>
                  <a:pt x="135" y="205"/>
                  <a:pt x="136" y="205"/>
                </a:cubicBezTo>
                <a:cubicBezTo>
                  <a:pt x="136" y="205"/>
                  <a:pt x="136" y="205"/>
                  <a:pt x="137" y="205"/>
                </a:cubicBezTo>
                <a:cubicBezTo>
                  <a:pt x="137" y="205"/>
                  <a:pt x="137" y="204"/>
                  <a:pt x="137" y="204"/>
                </a:cubicBezTo>
                <a:cubicBezTo>
                  <a:pt x="138" y="204"/>
                  <a:pt x="138" y="204"/>
                  <a:pt x="139" y="204"/>
                </a:cubicBezTo>
                <a:cubicBezTo>
                  <a:pt x="139" y="204"/>
                  <a:pt x="139" y="204"/>
                  <a:pt x="140" y="204"/>
                </a:cubicBezTo>
                <a:cubicBezTo>
                  <a:pt x="140" y="205"/>
                  <a:pt x="142" y="204"/>
                  <a:pt x="142" y="205"/>
                </a:cubicBezTo>
                <a:cubicBezTo>
                  <a:pt x="143" y="205"/>
                  <a:pt x="143" y="205"/>
                  <a:pt x="144" y="205"/>
                </a:cubicBezTo>
                <a:cubicBezTo>
                  <a:pt x="144" y="205"/>
                  <a:pt x="145" y="206"/>
                  <a:pt x="145" y="206"/>
                </a:cubicBezTo>
                <a:cubicBezTo>
                  <a:pt x="146" y="206"/>
                  <a:pt x="146" y="206"/>
                  <a:pt x="146" y="206"/>
                </a:cubicBezTo>
                <a:cubicBezTo>
                  <a:pt x="147" y="206"/>
                  <a:pt x="146" y="207"/>
                  <a:pt x="147" y="207"/>
                </a:cubicBezTo>
                <a:cubicBezTo>
                  <a:pt x="148" y="207"/>
                  <a:pt x="149" y="207"/>
                  <a:pt x="150" y="207"/>
                </a:cubicBezTo>
                <a:cubicBezTo>
                  <a:pt x="150" y="207"/>
                  <a:pt x="151" y="207"/>
                  <a:pt x="152" y="207"/>
                </a:cubicBezTo>
                <a:cubicBezTo>
                  <a:pt x="153" y="206"/>
                  <a:pt x="154" y="205"/>
                  <a:pt x="154" y="206"/>
                </a:cubicBezTo>
                <a:cubicBezTo>
                  <a:pt x="154" y="207"/>
                  <a:pt x="153" y="207"/>
                  <a:pt x="153" y="207"/>
                </a:cubicBezTo>
                <a:cubicBezTo>
                  <a:pt x="153" y="208"/>
                  <a:pt x="153" y="208"/>
                  <a:pt x="152" y="209"/>
                </a:cubicBezTo>
                <a:cubicBezTo>
                  <a:pt x="153" y="210"/>
                  <a:pt x="154" y="210"/>
                  <a:pt x="155" y="209"/>
                </a:cubicBezTo>
                <a:cubicBezTo>
                  <a:pt x="155" y="209"/>
                  <a:pt x="156" y="211"/>
                  <a:pt x="156" y="211"/>
                </a:cubicBezTo>
                <a:cubicBezTo>
                  <a:pt x="157" y="211"/>
                  <a:pt x="158" y="211"/>
                  <a:pt x="158" y="211"/>
                </a:cubicBezTo>
                <a:cubicBezTo>
                  <a:pt x="158" y="210"/>
                  <a:pt x="158" y="210"/>
                  <a:pt x="158" y="209"/>
                </a:cubicBezTo>
                <a:cubicBezTo>
                  <a:pt x="159" y="209"/>
                  <a:pt x="159" y="209"/>
                  <a:pt x="160" y="209"/>
                </a:cubicBezTo>
                <a:cubicBezTo>
                  <a:pt x="160" y="210"/>
                  <a:pt x="160" y="211"/>
                  <a:pt x="159" y="212"/>
                </a:cubicBezTo>
                <a:cubicBezTo>
                  <a:pt x="159" y="213"/>
                  <a:pt x="160" y="214"/>
                  <a:pt x="161" y="214"/>
                </a:cubicBezTo>
                <a:cubicBezTo>
                  <a:pt x="161" y="215"/>
                  <a:pt x="161" y="214"/>
                  <a:pt x="161" y="214"/>
                </a:cubicBezTo>
                <a:cubicBezTo>
                  <a:pt x="161" y="215"/>
                  <a:pt x="161" y="215"/>
                  <a:pt x="161" y="215"/>
                </a:cubicBezTo>
                <a:cubicBezTo>
                  <a:pt x="162" y="216"/>
                  <a:pt x="162" y="216"/>
                  <a:pt x="163" y="216"/>
                </a:cubicBezTo>
                <a:cubicBezTo>
                  <a:pt x="163" y="217"/>
                  <a:pt x="163" y="217"/>
                  <a:pt x="164" y="217"/>
                </a:cubicBezTo>
                <a:cubicBezTo>
                  <a:pt x="165" y="217"/>
                  <a:pt x="166" y="216"/>
                  <a:pt x="166" y="217"/>
                </a:cubicBezTo>
                <a:cubicBezTo>
                  <a:pt x="166" y="219"/>
                  <a:pt x="166" y="218"/>
                  <a:pt x="167" y="218"/>
                </a:cubicBezTo>
                <a:cubicBezTo>
                  <a:pt x="167" y="218"/>
                  <a:pt x="167" y="219"/>
                  <a:pt x="168" y="219"/>
                </a:cubicBezTo>
                <a:cubicBezTo>
                  <a:pt x="168" y="220"/>
                  <a:pt x="168" y="220"/>
                  <a:pt x="169" y="220"/>
                </a:cubicBezTo>
                <a:cubicBezTo>
                  <a:pt x="169" y="220"/>
                  <a:pt x="169" y="221"/>
                  <a:pt x="169" y="222"/>
                </a:cubicBezTo>
                <a:cubicBezTo>
                  <a:pt x="169" y="222"/>
                  <a:pt x="169" y="222"/>
                  <a:pt x="169" y="222"/>
                </a:cubicBezTo>
                <a:cubicBezTo>
                  <a:pt x="169" y="222"/>
                  <a:pt x="169" y="222"/>
                  <a:pt x="170" y="223"/>
                </a:cubicBezTo>
                <a:cubicBezTo>
                  <a:pt x="170" y="223"/>
                  <a:pt x="171" y="223"/>
                  <a:pt x="171" y="224"/>
                </a:cubicBezTo>
                <a:cubicBezTo>
                  <a:pt x="171" y="224"/>
                  <a:pt x="172" y="225"/>
                  <a:pt x="172" y="225"/>
                </a:cubicBezTo>
                <a:cubicBezTo>
                  <a:pt x="173" y="225"/>
                  <a:pt x="173" y="224"/>
                  <a:pt x="173" y="223"/>
                </a:cubicBezTo>
                <a:cubicBezTo>
                  <a:pt x="173" y="223"/>
                  <a:pt x="174" y="223"/>
                  <a:pt x="174" y="224"/>
                </a:cubicBezTo>
                <a:cubicBezTo>
                  <a:pt x="174" y="224"/>
                  <a:pt x="174" y="224"/>
                  <a:pt x="175" y="225"/>
                </a:cubicBezTo>
                <a:cubicBezTo>
                  <a:pt x="176" y="225"/>
                  <a:pt x="177" y="225"/>
                  <a:pt x="177" y="224"/>
                </a:cubicBezTo>
                <a:cubicBezTo>
                  <a:pt x="176" y="224"/>
                  <a:pt x="177" y="223"/>
                  <a:pt x="176" y="223"/>
                </a:cubicBezTo>
                <a:cubicBezTo>
                  <a:pt x="176" y="222"/>
                  <a:pt x="175" y="222"/>
                  <a:pt x="175" y="222"/>
                </a:cubicBezTo>
                <a:cubicBezTo>
                  <a:pt x="175" y="222"/>
                  <a:pt x="176" y="222"/>
                  <a:pt x="176" y="221"/>
                </a:cubicBezTo>
                <a:cubicBezTo>
                  <a:pt x="175" y="221"/>
                  <a:pt x="175" y="221"/>
                  <a:pt x="174" y="220"/>
                </a:cubicBezTo>
                <a:cubicBezTo>
                  <a:pt x="174" y="220"/>
                  <a:pt x="173" y="220"/>
                  <a:pt x="173" y="220"/>
                </a:cubicBezTo>
                <a:cubicBezTo>
                  <a:pt x="172" y="220"/>
                  <a:pt x="171" y="220"/>
                  <a:pt x="170" y="220"/>
                </a:cubicBezTo>
                <a:cubicBezTo>
                  <a:pt x="169" y="219"/>
                  <a:pt x="169" y="220"/>
                  <a:pt x="169" y="218"/>
                </a:cubicBezTo>
                <a:cubicBezTo>
                  <a:pt x="169" y="218"/>
                  <a:pt x="170" y="219"/>
                  <a:pt x="170" y="219"/>
                </a:cubicBezTo>
                <a:cubicBezTo>
                  <a:pt x="171" y="219"/>
                  <a:pt x="171" y="219"/>
                  <a:pt x="171" y="218"/>
                </a:cubicBezTo>
                <a:cubicBezTo>
                  <a:pt x="171" y="218"/>
                  <a:pt x="171" y="218"/>
                  <a:pt x="171" y="218"/>
                </a:cubicBezTo>
                <a:cubicBezTo>
                  <a:pt x="172" y="218"/>
                  <a:pt x="173" y="217"/>
                  <a:pt x="173" y="217"/>
                </a:cubicBezTo>
                <a:cubicBezTo>
                  <a:pt x="174" y="217"/>
                  <a:pt x="173" y="219"/>
                  <a:pt x="175" y="218"/>
                </a:cubicBezTo>
                <a:cubicBezTo>
                  <a:pt x="175" y="217"/>
                  <a:pt x="174" y="216"/>
                  <a:pt x="175" y="215"/>
                </a:cubicBezTo>
                <a:cubicBezTo>
                  <a:pt x="175" y="215"/>
                  <a:pt x="175" y="214"/>
                  <a:pt x="175" y="214"/>
                </a:cubicBezTo>
                <a:cubicBezTo>
                  <a:pt x="175" y="213"/>
                  <a:pt x="176" y="217"/>
                  <a:pt x="176" y="217"/>
                </a:cubicBezTo>
                <a:cubicBezTo>
                  <a:pt x="177" y="218"/>
                  <a:pt x="178" y="218"/>
                  <a:pt x="180" y="218"/>
                </a:cubicBezTo>
                <a:cubicBezTo>
                  <a:pt x="180" y="218"/>
                  <a:pt x="180" y="219"/>
                  <a:pt x="180" y="220"/>
                </a:cubicBezTo>
                <a:cubicBezTo>
                  <a:pt x="181" y="220"/>
                  <a:pt x="181" y="220"/>
                  <a:pt x="182" y="219"/>
                </a:cubicBezTo>
                <a:cubicBezTo>
                  <a:pt x="182" y="220"/>
                  <a:pt x="181" y="221"/>
                  <a:pt x="181" y="222"/>
                </a:cubicBezTo>
                <a:cubicBezTo>
                  <a:pt x="183" y="221"/>
                  <a:pt x="182" y="223"/>
                  <a:pt x="183" y="223"/>
                </a:cubicBezTo>
                <a:cubicBezTo>
                  <a:pt x="183" y="223"/>
                  <a:pt x="183" y="224"/>
                  <a:pt x="183" y="224"/>
                </a:cubicBezTo>
                <a:cubicBezTo>
                  <a:pt x="183" y="225"/>
                  <a:pt x="184" y="225"/>
                  <a:pt x="184" y="225"/>
                </a:cubicBezTo>
                <a:cubicBezTo>
                  <a:pt x="184" y="226"/>
                  <a:pt x="183" y="227"/>
                  <a:pt x="184" y="227"/>
                </a:cubicBezTo>
                <a:cubicBezTo>
                  <a:pt x="184" y="227"/>
                  <a:pt x="185" y="227"/>
                  <a:pt x="186" y="227"/>
                </a:cubicBezTo>
                <a:cubicBezTo>
                  <a:pt x="186" y="227"/>
                  <a:pt x="186" y="228"/>
                  <a:pt x="185" y="228"/>
                </a:cubicBezTo>
                <a:cubicBezTo>
                  <a:pt x="186" y="230"/>
                  <a:pt x="186" y="230"/>
                  <a:pt x="187" y="230"/>
                </a:cubicBezTo>
                <a:cubicBezTo>
                  <a:pt x="187" y="230"/>
                  <a:pt x="188" y="231"/>
                  <a:pt x="188" y="232"/>
                </a:cubicBezTo>
                <a:cubicBezTo>
                  <a:pt x="189" y="232"/>
                  <a:pt x="191" y="233"/>
                  <a:pt x="191" y="233"/>
                </a:cubicBezTo>
                <a:cubicBezTo>
                  <a:pt x="191" y="234"/>
                  <a:pt x="191" y="235"/>
                  <a:pt x="191" y="236"/>
                </a:cubicBezTo>
                <a:cubicBezTo>
                  <a:pt x="190" y="236"/>
                  <a:pt x="190" y="237"/>
                  <a:pt x="190" y="238"/>
                </a:cubicBezTo>
                <a:cubicBezTo>
                  <a:pt x="191" y="238"/>
                  <a:pt x="192" y="238"/>
                  <a:pt x="192" y="236"/>
                </a:cubicBezTo>
                <a:cubicBezTo>
                  <a:pt x="192" y="236"/>
                  <a:pt x="192" y="236"/>
                  <a:pt x="192" y="235"/>
                </a:cubicBezTo>
                <a:cubicBezTo>
                  <a:pt x="193" y="235"/>
                  <a:pt x="193" y="235"/>
                  <a:pt x="193" y="236"/>
                </a:cubicBezTo>
                <a:cubicBezTo>
                  <a:pt x="194" y="236"/>
                  <a:pt x="194" y="236"/>
                  <a:pt x="194" y="236"/>
                </a:cubicBezTo>
                <a:cubicBezTo>
                  <a:pt x="193" y="236"/>
                  <a:pt x="193" y="236"/>
                  <a:pt x="193" y="236"/>
                </a:cubicBezTo>
                <a:cubicBezTo>
                  <a:pt x="193" y="237"/>
                  <a:pt x="193" y="238"/>
                  <a:pt x="192" y="237"/>
                </a:cubicBezTo>
                <a:cubicBezTo>
                  <a:pt x="192" y="238"/>
                  <a:pt x="193" y="240"/>
                  <a:pt x="193" y="241"/>
                </a:cubicBezTo>
                <a:cubicBezTo>
                  <a:pt x="194" y="241"/>
                  <a:pt x="194" y="240"/>
                  <a:pt x="195" y="241"/>
                </a:cubicBezTo>
                <a:cubicBezTo>
                  <a:pt x="195" y="240"/>
                  <a:pt x="195" y="240"/>
                  <a:pt x="195" y="240"/>
                </a:cubicBezTo>
                <a:cubicBezTo>
                  <a:pt x="195" y="239"/>
                  <a:pt x="195" y="238"/>
                  <a:pt x="195" y="237"/>
                </a:cubicBezTo>
                <a:cubicBezTo>
                  <a:pt x="195" y="238"/>
                  <a:pt x="196" y="240"/>
                  <a:pt x="196" y="240"/>
                </a:cubicBezTo>
                <a:cubicBezTo>
                  <a:pt x="196" y="240"/>
                  <a:pt x="196" y="242"/>
                  <a:pt x="196" y="242"/>
                </a:cubicBezTo>
                <a:cubicBezTo>
                  <a:pt x="195" y="242"/>
                  <a:pt x="195" y="242"/>
                  <a:pt x="194" y="242"/>
                </a:cubicBezTo>
                <a:cubicBezTo>
                  <a:pt x="194" y="243"/>
                  <a:pt x="195" y="243"/>
                  <a:pt x="196" y="243"/>
                </a:cubicBezTo>
                <a:cubicBezTo>
                  <a:pt x="196" y="244"/>
                  <a:pt x="195" y="244"/>
                  <a:pt x="195" y="244"/>
                </a:cubicBezTo>
                <a:cubicBezTo>
                  <a:pt x="196" y="245"/>
                  <a:pt x="196" y="245"/>
                  <a:pt x="197" y="245"/>
                </a:cubicBezTo>
                <a:cubicBezTo>
                  <a:pt x="198" y="245"/>
                  <a:pt x="198" y="245"/>
                  <a:pt x="198" y="244"/>
                </a:cubicBezTo>
                <a:cubicBezTo>
                  <a:pt x="199" y="243"/>
                  <a:pt x="199" y="243"/>
                  <a:pt x="200" y="242"/>
                </a:cubicBezTo>
                <a:cubicBezTo>
                  <a:pt x="201" y="242"/>
                  <a:pt x="201" y="242"/>
                  <a:pt x="201" y="243"/>
                </a:cubicBezTo>
                <a:cubicBezTo>
                  <a:pt x="201" y="243"/>
                  <a:pt x="200" y="244"/>
                  <a:pt x="200" y="244"/>
                </a:cubicBezTo>
                <a:cubicBezTo>
                  <a:pt x="199" y="244"/>
                  <a:pt x="200" y="244"/>
                  <a:pt x="200" y="244"/>
                </a:cubicBezTo>
                <a:cubicBezTo>
                  <a:pt x="199" y="244"/>
                  <a:pt x="199" y="245"/>
                  <a:pt x="198" y="245"/>
                </a:cubicBezTo>
                <a:cubicBezTo>
                  <a:pt x="198" y="245"/>
                  <a:pt x="198" y="246"/>
                  <a:pt x="198" y="246"/>
                </a:cubicBezTo>
                <a:cubicBezTo>
                  <a:pt x="198" y="246"/>
                  <a:pt x="198" y="246"/>
                  <a:pt x="197" y="246"/>
                </a:cubicBezTo>
                <a:cubicBezTo>
                  <a:pt x="197" y="247"/>
                  <a:pt x="197" y="248"/>
                  <a:pt x="197" y="248"/>
                </a:cubicBezTo>
                <a:cubicBezTo>
                  <a:pt x="197" y="249"/>
                  <a:pt x="197" y="249"/>
                  <a:pt x="198" y="249"/>
                </a:cubicBezTo>
                <a:cubicBezTo>
                  <a:pt x="198" y="249"/>
                  <a:pt x="198" y="249"/>
                  <a:pt x="199" y="249"/>
                </a:cubicBezTo>
                <a:cubicBezTo>
                  <a:pt x="198" y="250"/>
                  <a:pt x="198" y="251"/>
                  <a:pt x="199" y="251"/>
                </a:cubicBezTo>
                <a:cubicBezTo>
                  <a:pt x="200" y="252"/>
                  <a:pt x="199" y="252"/>
                  <a:pt x="198" y="252"/>
                </a:cubicBezTo>
                <a:cubicBezTo>
                  <a:pt x="199" y="253"/>
                  <a:pt x="199" y="255"/>
                  <a:pt x="200" y="255"/>
                </a:cubicBezTo>
                <a:cubicBezTo>
                  <a:pt x="200" y="256"/>
                  <a:pt x="201" y="256"/>
                  <a:pt x="201" y="257"/>
                </a:cubicBezTo>
                <a:cubicBezTo>
                  <a:pt x="203" y="256"/>
                  <a:pt x="202" y="256"/>
                  <a:pt x="202" y="254"/>
                </a:cubicBezTo>
                <a:cubicBezTo>
                  <a:pt x="202" y="255"/>
                  <a:pt x="202" y="255"/>
                  <a:pt x="203" y="254"/>
                </a:cubicBezTo>
                <a:cubicBezTo>
                  <a:pt x="203" y="254"/>
                  <a:pt x="204" y="254"/>
                  <a:pt x="204" y="254"/>
                </a:cubicBezTo>
                <a:cubicBezTo>
                  <a:pt x="204" y="254"/>
                  <a:pt x="204" y="254"/>
                  <a:pt x="204" y="254"/>
                </a:cubicBezTo>
                <a:cubicBezTo>
                  <a:pt x="205" y="254"/>
                  <a:pt x="205" y="254"/>
                  <a:pt x="205" y="255"/>
                </a:cubicBezTo>
                <a:cubicBezTo>
                  <a:pt x="204" y="255"/>
                  <a:pt x="203" y="256"/>
                  <a:pt x="204" y="257"/>
                </a:cubicBezTo>
                <a:cubicBezTo>
                  <a:pt x="204" y="257"/>
                  <a:pt x="205" y="257"/>
                  <a:pt x="205" y="258"/>
                </a:cubicBezTo>
                <a:cubicBezTo>
                  <a:pt x="204" y="258"/>
                  <a:pt x="204" y="257"/>
                  <a:pt x="203" y="257"/>
                </a:cubicBezTo>
                <a:cubicBezTo>
                  <a:pt x="202" y="258"/>
                  <a:pt x="203" y="259"/>
                  <a:pt x="204" y="260"/>
                </a:cubicBezTo>
                <a:cubicBezTo>
                  <a:pt x="205" y="260"/>
                  <a:pt x="204" y="260"/>
                  <a:pt x="206" y="260"/>
                </a:cubicBezTo>
                <a:cubicBezTo>
                  <a:pt x="206" y="260"/>
                  <a:pt x="206" y="260"/>
                  <a:pt x="206" y="259"/>
                </a:cubicBezTo>
                <a:cubicBezTo>
                  <a:pt x="206" y="259"/>
                  <a:pt x="206" y="259"/>
                  <a:pt x="207" y="259"/>
                </a:cubicBezTo>
                <a:cubicBezTo>
                  <a:pt x="207" y="260"/>
                  <a:pt x="206" y="260"/>
                  <a:pt x="206" y="261"/>
                </a:cubicBezTo>
                <a:cubicBezTo>
                  <a:pt x="207" y="261"/>
                  <a:pt x="207" y="261"/>
                  <a:pt x="207" y="262"/>
                </a:cubicBezTo>
                <a:cubicBezTo>
                  <a:pt x="208" y="262"/>
                  <a:pt x="208" y="262"/>
                  <a:pt x="209" y="263"/>
                </a:cubicBezTo>
                <a:cubicBezTo>
                  <a:pt x="209" y="263"/>
                  <a:pt x="209" y="263"/>
                  <a:pt x="210" y="263"/>
                </a:cubicBezTo>
                <a:cubicBezTo>
                  <a:pt x="209" y="264"/>
                  <a:pt x="208" y="264"/>
                  <a:pt x="210" y="264"/>
                </a:cubicBezTo>
                <a:cubicBezTo>
                  <a:pt x="211" y="264"/>
                  <a:pt x="210" y="266"/>
                  <a:pt x="210" y="265"/>
                </a:cubicBezTo>
                <a:cubicBezTo>
                  <a:pt x="210" y="266"/>
                  <a:pt x="209" y="267"/>
                  <a:pt x="210" y="267"/>
                </a:cubicBezTo>
                <a:cubicBezTo>
                  <a:pt x="212" y="268"/>
                  <a:pt x="210" y="268"/>
                  <a:pt x="210" y="268"/>
                </a:cubicBezTo>
                <a:cubicBezTo>
                  <a:pt x="210" y="268"/>
                  <a:pt x="210" y="268"/>
                  <a:pt x="210" y="269"/>
                </a:cubicBezTo>
                <a:cubicBezTo>
                  <a:pt x="210" y="269"/>
                  <a:pt x="210" y="269"/>
                  <a:pt x="209" y="269"/>
                </a:cubicBezTo>
                <a:cubicBezTo>
                  <a:pt x="209" y="269"/>
                  <a:pt x="209" y="270"/>
                  <a:pt x="209" y="270"/>
                </a:cubicBezTo>
                <a:cubicBezTo>
                  <a:pt x="209" y="271"/>
                  <a:pt x="209" y="272"/>
                  <a:pt x="210" y="272"/>
                </a:cubicBezTo>
                <a:cubicBezTo>
                  <a:pt x="210" y="272"/>
                  <a:pt x="210" y="272"/>
                  <a:pt x="210" y="272"/>
                </a:cubicBezTo>
                <a:cubicBezTo>
                  <a:pt x="210" y="272"/>
                  <a:pt x="211" y="272"/>
                  <a:pt x="211" y="272"/>
                </a:cubicBezTo>
                <a:cubicBezTo>
                  <a:pt x="211" y="272"/>
                  <a:pt x="211" y="272"/>
                  <a:pt x="211" y="272"/>
                </a:cubicBezTo>
                <a:cubicBezTo>
                  <a:pt x="211" y="271"/>
                  <a:pt x="213" y="271"/>
                  <a:pt x="214" y="271"/>
                </a:cubicBezTo>
                <a:cubicBezTo>
                  <a:pt x="214" y="272"/>
                  <a:pt x="215" y="272"/>
                  <a:pt x="215" y="272"/>
                </a:cubicBezTo>
                <a:cubicBezTo>
                  <a:pt x="215" y="272"/>
                  <a:pt x="215" y="273"/>
                  <a:pt x="214" y="273"/>
                </a:cubicBezTo>
                <a:cubicBezTo>
                  <a:pt x="215" y="273"/>
                  <a:pt x="215" y="274"/>
                  <a:pt x="215" y="274"/>
                </a:cubicBezTo>
                <a:cubicBezTo>
                  <a:pt x="215" y="274"/>
                  <a:pt x="216" y="273"/>
                  <a:pt x="216" y="273"/>
                </a:cubicBezTo>
                <a:cubicBezTo>
                  <a:pt x="216" y="273"/>
                  <a:pt x="217" y="273"/>
                  <a:pt x="217" y="273"/>
                </a:cubicBezTo>
                <a:cubicBezTo>
                  <a:pt x="218" y="273"/>
                  <a:pt x="217" y="273"/>
                  <a:pt x="218" y="273"/>
                </a:cubicBezTo>
                <a:cubicBezTo>
                  <a:pt x="218" y="273"/>
                  <a:pt x="219" y="273"/>
                  <a:pt x="219" y="273"/>
                </a:cubicBezTo>
                <a:cubicBezTo>
                  <a:pt x="220" y="273"/>
                  <a:pt x="221" y="272"/>
                  <a:pt x="222" y="272"/>
                </a:cubicBezTo>
                <a:cubicBezTo>
                  <a:pt x="222" y="273"/>
                  <a:pt x="222" y="274"/>
                  <a:pt x="223" y="274"/>
                </a:cubicBezTo>
                <a:cubicBezTo>
                  <a:pt x="223" y="274"/>
                  <a:pt x="223" y="275"/>
                  <a:pt x="223" y="275"/>
                </a:cubicBezTo>
                <a:cubicBezTo>
                  <a:pt x="223" y="276"/>
                  <a:pt x="223" y="275"/>
                  <a:pt x="224" y="276"/>
                </a:cubicBezTo>
                <a:cubicBezTo>
                  <a:pt x="224" y="276"/>
                  <a:pt x="224" y="276"/>
                  <a:pt x="224" y="276"/>
                </a:cubicBezTo>
                <a:cubicBezTo>
                  <a:pt x="225" y="276"/>
                  <a:pt x="225" y="276"/>
                  <a:pt x="225" y="276"/>
                </a:cubicBezTo>
                <a:cubicBezTo>
                  <a:pt x="226" y="276"/>
                  <a:pt x="226" y="276"/>
                  <a:pt x="227" y="276"/>
                </a:cubicBezTo>
                <a:cubicBezTo>
                  <a:pt x="227" y="277"/>
                  <a:pt x="227" y="277"/>
                  <a:pt x="228" y="277"/>
                </a:cubicBezTo>
                <a:cubicBezTo>
                  <a:pt x="228" y="277"/>
                  <a:pt x="228" y="278"/>
                  <a:pt x="227" y="278"/>
                </a:cubicBezTo>
                <a:cubicBezTo>
                  <a:pt x="227" y="279"/>
                  <a:pt x="227" y="279"/>
                  <a:pt x="227" y="279"/>
                </a:cubicBezTo>
                <a:cubicBezTo>
                  <a:pt x="228" y="279"/>
                  <a:pt x="228" y="279"/>
                  <a:pt x="229" y="279"/>
                </a:cubicBezTo>
                <a:cubicBezTo>
                  <a:pt x="229" y="278"/>
                  <a:pt x="229" y="278"/>
                  <a:pt x="230" y="278"/>
                </a:cubicBezTo>
                <a:cubicBezTo>
                  <a:pt x="230" y="278"/>
                  <a:pt x="231" y="278"/>
                  <a:pt x="231" y="279"/>
                </a:cubicBezTo>
                <a:cubicBezTo>
                  <a:pt x="230" y="279"/>
                  <a:pt x="230" y="279"/>
                  <a:pt x="231" y="280"/>
                </a:cubicBezTo>
                <a:cubicBezTo>
                  <a:pt x="231" y="280"/>
                  <a:pt x="231" y="280"/>
                  <a:pt x="232" y="280"/>
                </a:cubicBezTo>
                <a:cubicBezTo>
                  <a:pt x="232" y="280"/>
                  <a:pt x="232" y="281"/>
                  <a:pt x="232" y="281"/>
                </a:cubicBezTo>
                <a:cubicBezTo>
                  <a:pt x="233" y="282"/>
                  <a:pt x="233" y="281"/>
                  <a:pt x="233" y="282"/>
                </a:cubicBezTo>
                <a:cubicBezTo>
                  <a:pt x="233" y="283"/>
                  <a:pt x="235" y="283"/>
                  <a:pt x="235" y="284"/>
                </a:cubicBezTo>
                <a:cubicBezTo>
                  <a:pt x="235" y="285"/>
                  <a:pt x="234" y="285"/>
                  <a:pt x="233" y="286"/>
                </a:cubicBezTo>
                <a:cubicBezTo>
                  <a:pt x="234" y="286"/>
                  <a:pt x="236" y="288"/>
                  <a:pt x="234" y="288"/>
                </a:cubicBezTo>
                <a:cubicBezTo>
                  <a:pt x="235" y="288"/>
                  <a:pt x="235" y="288"/>
                  <a:pt x="236" y="288"/>
                </a:cubicBezTo>
                <a:cubicBezTo>
                  <a:pt x="236" y="288"/>
                  <a:pt x="236" y="288"/>
                  <a:pt x="236" y="288"/>
                </a:cubicBezTo>
                <a:cubicBezTo>
                  <a:pt x="236" y="290"/>
                  <a:pt x="235" y="291"/>
                  <a:pt x="236" y="293"/>
                </a:cubicBezTo>
                <a:cubicBezTo>
                  <a:pt x="235" y="293"/>
                  <a:pt x="235" y="293"/>
                  <a:pt x="235" y="292"/>
                </a:cubicBezTo>
                <a:cubicBezTo>
                  <a:pt x="235" y="292"/>
                  <a:pt x="234" y="291"/>
                  <a:pt x="234" y="291"/>
                </a:cubicBezTo>
                <a:cubicBezTo>
                  <a:pt x="234" y="290"/>
                  <a:pt x="234" y="290"/>
                  <a:pt x="234" y="289"/>
                </a:cubicBezTo>
                <a:cubicBezTo>
                  <a:pt x="234" y="290"/>
                  <a:pt x="234" y="290"/>
                  <a:pt x="235" y="290"/>
                </a:cubicBezTo>
                <a:cubicBezTo>
                  <a:pt x="235" y="289"/>
                  <a:pt x="234" y="288"/>
                  <a:pt x="234" y="288"/>
                </a:cubicBezTo>
                <a:cubicBezTo>
                  <a:pt x="233" y="288"/>
                  <a:pt x="233" y="288"/>
                  <a:pt x="233" y="289"/>
                </a:cubicBezTo>
                <a:cubicBezTo>
                  <a:pt x="232" y="289"/>
                  <a:pt x="231" y="289"/>
                  <a:pt x="230" y="289"/>
                </a:cubicBezTo>
                <a:cubicBezTo>
                  <a:pt x="230" y="289"/>
                  <a:pt x="230" y="289"/>
                  <a:pt x="230" y="289"/>
                </a:cubicBezTo>
                <a:cubicBezTo>
                  <a:pt x="230" y="289"/>
                  <a:pt x="228" y="289"/>
                  <a:pt x="228" y="288"/>
                </a:cubicBezTo>
                <a:cubicBezTo>
                  <a:pt x="227" y="288"/>
                  <a:pt x="227" y="289"/>
                  <a:pt x="226" y="289"/>
                </a:cubicBezTo>
                <a:cubicBezTo>
                  <a:pt x="226" y="288"/>
                  <a:pt x="224" y="288"/>
                  <a:pt x="223" y="288"/>
                </a:cubicBezTo>
                <a:cubicBezTo>
                  <a:pt x="224" y="289"/>
                  <a:pt x="224" y="290"/>
                  <a:pt x="224" y="291"/>
                </a:cubicBezTo>
                <a:cubicBezTo>
                  <a:pt x="225" y="291"/>
                  <a:pt x="225" y="292"/>
                  <a:pt x="225" y="293"/>
                </a:cubicBezTo>
                <a:cubicBezTo>
                  <a:pt x="226" y="293"/>
                  <a:pt x="226" y="294"/>
                  <a:pt x="227" y="295"/>
                </a:cubicBezTo>
                <a:cubicBezTo>
                  <a:pt x="227" y="296"/>
                  <a:pt x="226" y="297"/>
                  <a:pt x="227" y="296"/>
                </a:cubicBezTo>
                <a:cubicBezTo>
                  <a:pt x="227" y="297"/>
                  <a:pt x="227" y="297"/>
                  <a:pt x="227" y="298"/>
                </a:cubicBezTo>
                <a:cubicBezTo>
                  <a:pt x="228" y="298"/>
                  <a:pt x="228" y="298"/>
                  <a:pt x="228" y="298"/>
                </a:cubicBezTo>
                <a:cubicBezTo>
                  <a:pt x="228" y="299"/>
                  <a:pt x="228" y="300"/>
                  <a:pt x="228" y="300"/>
                </a:cubicBezTo>
                <a:cubicBezTo>
                  <a:pt x="228" y="300"/>
                  <a:pt x="227" y="300"/>
                  <a:pt x="227" y="300"/>
                </a:cubicBezTo>
                <a:cubicBezTo>
                  <a:pt x="227" y="300"/>
                  <a:pt x="227" y="302"/>
                  <a:pt x="227" y="302"/>
                </a:cubicBezTo>
                <a:cubicBezTo>
                  <a:pt x="227" y="303"/>
                  <a:pt x="228" y="302"/>
                  <a:pt x="228" y="303"/>
                </a:cubicBezTo>
                <a:cubicBezTo>
                  <a:pt x="228" y="303"/>
                  <a:pt x="228" y="303"/>
                  <a:pt x="227" y="303"/>
                </a:cubicBezTo>
                <a:cubicBezTo>
                  <a:pt x="227" y="304"/>
                  <a:pt x="227" y="307"/>
                  <a:pt x="228" y="307"/>
                </a:cubicBezTo>
                <a:cubicBezTo>
                  <a:pt x="227" y="308"/>
                  <a:pt x="227" y="308"/>
                  <a:pt x="227" y="309"/>
                </a:cubicBezTo>
                <a:cubicBezTo>
                  <a:pt x="227" y="309"/>
                  <a:pt x="227" y="311"/>
                  <a:pt x="227" y="311"/>
                </a:cubicBezTo>
                <a:cubicBezTo>
                  <a:pt x="227" y="311"/>
                  <a:pt x="227" y="313"/>
                  <a:pt x="227" y="313"/>
                </a:cubicBezTo>
                <a:cubicBezTo>
                  <a:pt x="226" y="313"/>
                  <a:pt x="227" y="314"/>
                  <a:pt x="227" y="315"/>
                </a:cubicBezTo>
                <a:cubicBezTo>
                  <a:pt x="226" y="315"/>
                  <a:pt x="226" y="319"/>
                  <a:pt x="226" y="320"/>
                </a:cubicBezTo>
                <a:cubicBezTo>
                  <a:pt x="226" y="320"/>
                  <a:pt x="226" y="321"/>
                  <a:pt x="226" y="321"/>
                </a:cubicBezTo>
                <a:cubicBezTo>
                  <a:pt x="226" y="321"/>
                  <a:pt x="226" y="321"/>
                  <a:pt x="226" y="322"/>
                </a:cubicBezTo>
                <a:cubicBezTo>
                  <a:pt x="225" y="323"/>
                  <a:pt x="225" y="324"/>
                  <a:pt x="226" y="325"/>
                </a:cubicBezTo>
                <a:cubicBezTo>
                  <a:pt x="226" y="326"/>
                  <a:pt x="226" y="328"/>
                  <a:pt x="226" y="329"/>
                </a:cubicBezTo>
                <a:cubicBezTo>
                  <a:pt x="227" y="329"/>
                  <a:pt x="229" y="331"/>
                  <a:pt x="228" y="331"/>
                </a:cubicBezTo>
                <a:cubicBezTo>
                  <a:pt x="227" y="331"/>
                  <a:pt x="227" y="331"/>
                  <a:pt x="227" y="332"/>
                </a:cubicBezTo>
                <a:cubicBezTo>
                  <a:pt x="227" y="333"/>
                  <a:pt x="227" y="332"/>
                  <a:pt x="227" y="332"/>
                </a:cubicBezTo>
                <a:cubicBezTo>
                  <a:pt x="227" y="333"/>
                  <a:pt x="227" y="333"/>
                  <a:pt x="227" y="334"/>
                </a:cubicBezTo>
                <a:cubicBezTo>
                  <a:pt x="227" y="334"/>
                  <a:pt x="228" y="334"/>
                  <a:pt x="228" y="335"/>
                </a:cubicBezTo>
                <a:cubicBezTo>
                  <a:pt x="227" y="334"/>
                  <a:pt x="227" y="339"/>
                  <a:pt x="227" y="340"/>
                </a:cubicBezTo>
                <a:cubicBezTo>
                  <a:pt x="227" y="340"/>
                  <a:pt x="227" y="339"/>
                  <a:pt x="226" y="340"/>
                </a:cubicBezTo>
                <a:cubicBezTo>
                  <a:pt x="226" y="340"/>
                  <a:pt x="227" y="340"/>
                  <a:pt x="226" y="340"/>
                </a:cubicBezTo>
                <a:cubicBezTo>
                  <a:pt x="226" y="341"/>
                  <a:pt x="226" y="342"/>
                  <a:pt x="227" y="342"/>
                </a:cubicBezTo>
                <a:cubicBezTo>
                  <a:pt x="227" y="342"/>
                  <a:pt x="227" y="342"/>
                  <a:pt x="227" y="342"/>
                </a:cubicBezTo>
                <a:cubicBezTo>
                  <a:pt x="227" y="342"/>
                  <a:pt x="227" y="343"/>
                  <a:pt x="227" y="343"/>
                </a:cubicBezTo>
                <a:cubicBezTo>
                  <a:pt x="227" y="344"/>
                  <a:pt x="228" y="343"/>
                  <a:pt x="228" y="343"/>
                </a:cubicBezTo>
                <a:cubicBezTo>
                  <a:pt x="228" y="344"/>
                  <a:pt x="228" y="344"/>
                  <a:pt x="228" y="344"/>
                </a:cubicBezTo>
                <a:cubicBezTo>
                  <a:pt x="228" y="345"/>
                  <a:pt x="229" y="344"/>
                  <a:pt x="229" y="345"/>
                </a:cubicBezTo>
                <a:cubicBezTo>
                  <a:pt x="229" y="345"/>
                  <a:pt x="229" y="345"/>
                  <a:pt x="229" y="346"/>
                </a:cubicBezTo>
                <a:cubicBezTo>
                  <a:pt x="229" y="347"/>
                  <a:pt x="229" y="346"/>
                  <a:pt x="229" y="347"/>
                </a:cubicBezTo>
                <a:cubicBezTo>
                  <a:pt x="229" y="348"/>
                  <a:pt x="230" y="349"/>
                  <a:pt x="230" y="350"/>
                </a:cubicBezTo>
                <a:cubicBezTo>
                  <a:pt x="230" y="351"/>
                  <a:pt x="231" y="350"/>
                  <a:pt x="231" y="351"/>
                </a:cubicBezTo>
                <a:cubicBezTo>
                  <a:pt x="231" y="351"/>
                  <a:pt x="231" y="352"/>
                  <a:pt x="232" y="352"/>
                </a:cubicBezTo>
                <a:cubicBezTo>
                  <a:pt x="233" y="352"/>
                  <a:pt x="232" y="353"/>
                  <a:pt x="232" y="354"/>
                </a:cubicBezTo>
                <a:cubicBezTo>
                  <a:pt x="232" y="354"/>
                  <a:pt x="232" y="355"/>
                  <a:pt x="232" y="355"/>
                </a:cubicBezTo>
                <a:cubicBezTo>
                  <a:pt x="232" y="355"/>
                  <a:pt x="234" y="355"/>
                  <a:pt x="234" y="356"/>
                </a:cubicBezTo>
                <a:cubicBezTo>
                  <a:pt x="234" y="355"/>
                  <a:pt x="234" y="354"/>
                  <a:pt x="234" y="354"/>
                </a:cubicBezTo>
                <a:cubicBezTo>
                  <a:pt x="235" y="353"/>
                  <a:pt x="236" y="354"/>
                  <a:pt x="236" y="354"/>
                </a:cubicBezTo>
                <a:cubicBezTo>
                  <a:pt x="236" y="355"/>
                  <a:pt x="235" y="356"/>
                  <a:pt x="236" y="356"/>
                </a:cubicBezTo>
                <a:cubicBezTo>
                  <a:pt x="236" y="357"/>
                  <a:pt x="237" y="357"/>
                  <a:pt x="237" y="358"/>
                </a:cubicBezTo>
                <a:cubicBezTo>
                  <a:pt x="235" y="357"/>
                  <a:pt x="234" y="356"/>
                  <a:pt x="234" y="358"/>
                </a:cubicBezTo>
                <a:cubicBezTo>
                  <a:pt x="234" y="359"/>
                  <a:pt x="235" y="359"/>
                  <a:pt x="235" y="359"/>
                </a:cubicBezTo>
                <a:cubicBezTo>
                  <a:pt x="236" y="359"/>
                  <a:pt x="236" y="359"/>
                  <a:pt x="236" y="360"/>
                </a:cubicBezTo>
                <a:cubicBezTo>
                  <a:pt x="236" y="361"/>
                  <a:pt x="237" y="360"/>
                  <a:pt x="237" y="361"/>
                </a:cubicBezTo>
                <a:cubicBezTo>
                  <a:pt x="238" y="361"/>
                  <a:pt x="239" y="361"/>
                  <a:pt x="238" y="362"/>
                </a:cubicBezTo>
                <a:cubicBezTo>
                  <a:pt x="237" y="362"/>
                  <a:pt x="237" y="362"/>
                  <a:pt x="237" y="364"/>
                </a:cubicBezTo>
                <a:cubicBezTo>
                  <a:pt x="237" y="364"/>
                  <a:pt x="238" y="365"/>
                  <a:pt x="238" y="365"/>
                </a:cubicBezTo>
                <a:cubicBezTo>
                  <a:pt x="238" y="366"/>
                  <a:pt x="238" y="366"/>
                  <a:pt x="238" y="366"/>
                </a:cubicBezTo>
                <a:cubicBezTo>
                  <a:pt x="238" y="367"/>
                  <a:pt x="239" y="367"/>
                  <a:pt x="239" y="367"/>
                </a:cubicBezTo>
                <a:cubicBezTo>
                  <a:pt x="239" y="368"/>
                  <a:pt x="240" y="369"/>
                  <a:pt x="241" y="370"/>
                </a:cubicBezTo>
                <a:cubicBezTo>
                  <a:pt x="242" y="370"/>
                  <a:pt x="241" y="371"/>
                  <a:pt x="242" y="371"/>
                </a:cubicBezTo>
                <a:cubicBezTo>
                  <a:pt x="242" y="373"/>
                  <a:pt x="242" y="373"/>
                  <a:pt x="243" y="373"/>
                </a:cubicBezTo>
                <a:cubicBezTo>
                  <a:pt x="244" y="373"/>
                  <a:pt x="244" y="374"/>
                  <a:pt x="244" y="374"/>
                </a:cubicBezTo>
                <a:cubicBezTo>
                  <a:pt x="244" y="374"/>
                  <a:pt x="244" y="375"/>
                  <a:pt x="244" y="376"/>
                </a:cubicBezTo>
                <a:cubicBezTo>
                  <a:pt x="243" y="376"/>
                  <a:pt x="244" y="376"/>
                  <a:pt x="244" y="376"/>
                </a:cubicBezTo>
                <a:cubicBezTo>
                  <a:pt x="244" y="377"/>
                  <a:pt x="244" y="377"/>
                  <a:pt x="244" y="377"/>
                </a:cubicBezTo>
                <a:cubicBezTo>
                  <a:pt x="245" y="377"/>
                  <a:pt x="245" y="377"/>
                  <a:pt x="246" y="377"/>
                </a:cubicBezTo>
                <a:cubicBezTo>
                  <a:pt x="247" y="377"/>
                  <a:pt x="247" y="377"/>
                  <a:pt x="247" y="378"/>
                </a:cubicBezTo>
                <a:cubicBezTo>
                  <a:pt x="247" y="378"/>
                  <a:pt x="248" y="378"/>
                  <a:pt x="248" y="378"/>
                </a:cubicBezTo>
                <a:cubicBezTo>
                  <a:pt x="248" y="378"/>
                  <a:pt x="248" y="378"/>
                  <a:pt x="248" y="378"/>
                </a:cubicBezTo>
                <a:cubicBezTo>
                  <a:pt x="249" y="378"/>
                  <a:pt x="250" y="378"/>
                  <a:pt x="251" y="379"/>
                </a:cubicBezTo>
                <a:cubicBezTo>
                  <a:pt x="252" y="379"/>
                  <a:pt x="252" y="379"/>
                  <a:pt x="252" y="380"/>
                </a:cubicBezTo>
                <a:cubicBezTo>
                  <a:pt x="252" y="380"/>
                  <a:pt x="252" y="381"/>
                  <a:pt x="253" y="381"/>
                </a:cubicBezTo>
                <a:cubicBezTo>
                  <a:pt x="253" y="381"/>
                  <a:pt x="253" y="382"/>
                  <a:pt x="253" y="381"/>
                </a:cubicBezTo>
                <a:cubicBezTo>
                  <a:pt x="254" y="380"/>
                  <a:pt x="254" y="380"/>
                  <a:pt x="255" y="381"/>
                </a:cubicBezTo>
                <a:cubicBezTo>
                  <a:pt x="255" y="382"/>
                  <a:pt x="255" y="382"/>
                  <a:pt x="256" y="383"/>
                </a:cubicBezTo>
                <a:cubicBezTo>
                  <a:pt x="257" y="383"/>
                  <a:pt x="257" y="384"/>
                  <a:pt x="258" y="384"/>
                </a:cubicBezTo>
                <a:cubicBezTo>
                  <a:pt x="258" y="384"/>
                  <a:pt x="259" y="385"/>
                  <a:pt x="259" y="385"/>
                </a:cubicBezTo>
                <a:cubicBezTo>
                  <a:pt x="259" y="385"/>
                  <a:pt x="259" y="386"/>
                  <a:pt x="259" y="386"/>
                </a:cubicBezTo>
                <a:cubicBezTo>
                  <a:pt x="259" y="387"/>
                  <a:pt x="259" y="387"/>
                  <a:pt x="259" y="387"/>
                </a:cubicBezTo>
                <a:cubicBezTo>
                  <a:pt x="259" y="387"/>
                  <a:pt x="259" y="387"/>
                  <a:pt x="259" y="388"/>
                </a:cubicBezTo>
                <a:cubicBezTo>
                  <a:pt x="259" y="388"/>
                  <a:pt x="260" y="388"/>
                  <a:pt x="260" y="388"/>
                </a:cubicBezTo>
                <a:cubicBezTo>
                  <a:pt x="260" y="389"/>
                  <a:pt x="259" y="388"/>
                  <a:pt x="259" y="389"/>
                </a:cubicBezTo>
                <a:cubicBezTo>
                  <a:pt x="260" y="390"/>
                  <a:pt x="260" y="389"/>
                  <a:pt x="260" y="390"/>
                </a:cubicBezTo>
                <a:cubicBezTo>
                  <a:pt x="260" y="391"/>
                  <a:pt x="260" y="391"/>
                  <a:pt x="260" y="391"/>
                </a:cubicBezTo>
                <a:cubicBezTo>
                  <a:pt x="260" y="392"/>
                  <a:pt x="261" y="392"/>
                  <a:pt x="262" y="393"/>
                </a:cubicBezTo>
                <a:cubicBezTo>
                  <a:pt x="262" y="393"/>
                  <a:pt x="262" y="393"/>
                  <a:pt x="262" y="394"/>
                </a:cubicBezTo>
                <a:cubicBezTo>
                  <a:pt x="262" y="394"/>
                  <a:pt x="263" y="395"/>
                  <a:pt x="264" y="395"/>
                </a:cubicBezTo>
                <a:cubicBezTo>
                  <a:pt x="264" y="396"/>
                  <a:pt x="263" y="397"/>
                  <a:pt x="263" y="397"/>
                </a:cubicBezTo>
                <a:cubicBezTo>
                  <a:pt x="263" y="398"/>
                  <a:pt x="263" y="398"/>
                  <a:pt x="264" y="398"/>
                </a:cubicBezTo>
                <a:cubicBezTo>
                  <a:pt x="264" y="398"/>
                  <a:pt x="264" y="399"/>
                  <a:pt x="264" y="399"/>
                </a:cubicBezTo>
                <a:cubicBezTo>
                  <a:pt x="264" y="400"/>
                  <a:pt x="265" y="400"/>
                  <a:pt x="265" y="400"/>
                </a:cubicBezTo>
                <a:cubicBezTo>
                  <a:pt x="265" y="401"/>
                  <a:pt x="266" y="401"/>
                  <a:pt x="266" y="401"/>
                </a:cubicBezTo>
                <a:cubicBezTo>
                  <a:pt x="266" y="401"/>
                  <a:pt x="266" y="401"/>
                  <a:pt x="266" y="401"/>
                </a:cubicBezTo>
                <a:cubicBezTo>
                  <a:pt x="266" y="402"/>
                  <a:pt x="267" y="402"/>
                  <a:pt x="267" y="402"/>
                </a:cubicBezTo>
                <a:cubicBezTo>
                  <a:pt x="268" y="402"/>
                  <a:pt x="267" y="403"/>
                  <a:pt x="268" y="403"/>
                </a:cubicBezTo>
                <a:cubicBezTo>
                  <a:pt x="269" y="403"/>
                  <a:pt x="270" y="403"/>
                  <a:pt x="270" y="404"/>
                </a:cubicBezTo>
                <a:cubicBezTo>
                  <a:pt x="270" y="404"/>
                  <a:pt x="270" y="405"/>
                  <a:pt x="270" y="404"/>
                </a:cubicBezTo>
                <a:cubicBezTo>
                  <a:pt x="271" y="405"/>
                  <a:pt x="271" y="405"/>
                  <a:pt x="272" y="406"/>
                </a:cubicBezTo>
                <a:cubicBezTo>
                  <a:pt x="273" y="407"/>
                  <a:pt x="273" y="407"/>
                  <a:pt x="273" y="409"/>
                </a:cubicBezTo>
                <a:cubicBezTo>
                  <a:pt x="272" y="410"/>
                  <a:pt x="273" y="410"/>
                  <a:pt x="273" y="410"/>
                </a:cubicBezTo>
                <a:cubicBezTo>
                  <a:pt x="273" y="411"/>
                  <a:pt x="273" y="411"/>
                  <a:pt x="274" y="412"/>
                </a:cubicBezTo>
                <a:cubicBezTo>
                  <a:pt x="273" y="412"/>
                  <a:pt x="273" y="412"/>
                  <a:pt x="273" y="412"/>
                </a:cubicBezTo>
                <a:cubicBezTo>
                  <a:pt x="273" y="413"/>
                  <a:pt x="273" y="414"/>
                  <a:pt x="274" y="414"/>
                </a:cubicBezTo>
                <a:cubicBezTo>
                  <a:pt x="273" y="414"/>
                  <a:pt x="273" y="415"/>
                  <a:pt x="273" y="415"/>
                </a:cubicBezTo>
                <a:cubicBezTo>
                  <a:pt x="273" y="416"/>
                  <a:pt x="273" y="415"/>
                  <a:pt x="273" y="416"/>
                </a:cubicBezTo>
                <a:cubicBezTo>
                  <a:pt x="272" y="415"/>
                  <a:pt x="270" y="416"/>
                  <a:pt x="269" y="416"/>
                </a:cubicBezTo>
                <a:cubicBezTo>
                  <a:pt x="270" y="418"/>
                  <a:pt x="271" y="417"/>
                  <a:pt x="271" y="418"/>
                </a:cubicBezTo>
                <a:cubicBezTo>
                  <a:pt x="272" y="419"/>
                  <a:pt x="273" y="420"/>
                  <a:pt x="274" y="421"/>
                </a:cubicBezTo>
                <a:cubicBezTo>
                  <a:pt x="274" y="421"/>
                  <a:pt x="274" y="420"/>
                  <a:pt x="275" y="421"/>
                </a:cubicBezTo>
                <a:cubicBezTo>
                  <a:pt x="275" y="421"/>
                  <a:pt x="274" y="422"/>
                  <a:pt x="275" y="422"/>
                </a:cubicBezTo>
                <a:cubicBezTo>
                  <a:pt x="275" y="422"/>
                  <a:pt x="276" y="422"/>
                  <a:pt x="276" y="422"/>
                </a:cubicBezTo>
                <a:cubicBezTo>
                  <a:pt x="277" y="422"/>
                  <a:pt x="277" y="422"/>
                  <a:pt x="277" y="423"/>
                </a:cubicBezTo>
                <a:cubicBezTo>
                  <a:pt x="278" y="423"/>
                  <a:pt x="279" y="423"/>
                  <a:pt x="279" y="424"/>
                </a:cubicBezTo>
                <a:cubicBezTo>
                  <a:pt x="280" y="424"/>
                  <a:pt x="281" y="424"/>
                  <a:pt x="281" y="425"/>
                </a:cubicBezTo>
                <a:cubicBezTo>
                  <a:pt x="281" y="426"/>
                  <a:pt x="283" y="426"/>
                  <a:pt x="282" y="427"/>
                </a:cubicBezTo>
                <a:cubicBezTo>
                  <a:pt x="282" y="427"/>
                  <a:pt x="282" y="428"/>
                  <a:pt x="282" y="428"/>
                </a:cubicBezTo>
                <a:cubicBezTo>
                  <a:pt x="282" y="429"/>
                  <a:pt x="283" y="428"/>
                  <a:pt x="283" y="429"/>
                </a:cubicBezTo>
                <a:cubicBezTo>
                  <a:pt x="283" y="429"/>
                  <a:pt x="283" y="429"/>
                  <a:pt x="283" y="430"/>
                </a:cubicBezTo>
                <a:cubicBezTo>
                  <a:pt x="283" y="430"/>
                  <a:pt x="283" y="430"/>
                  <a:pt x="283" y="430"/>
                </a:cubicBezTo>
                <a:cubicBezTo>
                  <a:pt x="283" y="431"/>
                  <a:pt x="283" y="433"/>
                  <a:pt x="283" y="434"/>
                </a:cubicBezTo>
                <a:cubicBezTo>
                  <a:pt x="283" y="435"/>
                  <a:pt x="284" y="435"/>
                  <a:pt x="285" y="435"/>
                </a:cubicBezTo>
                <a:cubicBezTo>
                  <a:pt x="285" y="435"/>
                  <a:pt x="286" y="435"/>
                  <a:pt x="285" y="436"/>
                </a:cubicBezTo>
                <a:cubicBezTo>
                  <a:pt x="286" y="437"/>
                  <a:pt x="286" y="436"/>
                  <a:pt x="287" y="437"/>
                </a:cubicBezTo>
                <a:cubicBezTo>
                  <a:pt x="287" y="437"/>
                  <a:pt x="288" y="438"/>
                  <a:pt x="288" y="439"/>
                </a:cubicBezTo>
                <a:cubicBezTo>
                  <a:pt x="289" y="439"/>
                  <a:pt x="289" y="440"/>
                  <a:pt x="290" y="440"/>
                </a:cubicBezTo>
                <a:cubicBezTo>
                  <a:pt x="290" y="441"/>
                  <a:pt x="290" y="441"/>
                  <a:pt x="291" y="441"/>
                </a:cubicBezTo>
                <a:cubicBezTo>
                  <a:pt x="291" y="442"/>
                  <a:pt x="291" y="442"/>
                  <a:pt x="291" y="443"/>
                </a:cubicBezTo>
                <a:cubicBezTo>
                  <a:pt x="292" y="443"/>
                  <a:pt x="292" y="443"/>
                  <a:pt x="292" y="444"/>
                </a:cubicBezTo>
                <a:cubicBezTo>
                  <a:pt x="292" y="445"/>
                  <a:pt x="292" y="444"/>
                  <a:pt x="292" y="445"/>
                </a:cubicBezTo>
                <a:cubicBezTo>
                  <a:pt x="293" y="445"/>
                  <a:pt x="292" y="445"/>
                  <a:pt x="293" y="445"/>
                </a:cubicBezTo>
                <a:cubicBezTo>
                  <a:pt x="294" y="445"/>
                  <a:pt x="293" y="444"/>
                  <a:pt x="293" y="444"/>
                </a:cubicBezTo>
                <a:cubicBezTo>
                  <a:pt x="294" y="444"/>
                  <a:pt x="295" y="444"/>
                  <a:pt x="295" y="442"/>
                </a:cubicBezTo>
                <a:cubicBezTo>
                  <a:pt x="295" y="442"/>
                  <a:pt x="294" y="441"/>
                  <a:pt x="294" y="441"/>
                </a:cubicBezTo>
                <a:cubicBezTo>
                  <a:pt x="294" y="441"/>
                  <a:pt x="294" y="441"/>
                  <a:pt x="294" y="441"/>
                </a:cubicBezTo>
                <a:cubicBezTo>
                  <a:pt x="294" y="441"/>
                  <a:pt x="293" y="440"/>
                  <a:pt x="293" y="440"/>
                </a:cubicBezTo>
                <a:cubicBezTo>
                  <a:pt x="293" y="440"/>
                  <a:pt x="293" y="440"/>
                  <a:pt x="292" y="440"/>
                </a:cubicBezTo>
                <a:cubicBezTo>
                  <a:pt x="292" y="439"/>
                  <a:pt x="292" y="439"/>
                  <a:pt x="292" y="439"/>
                </a:cubicBezTo>
                <a:cubicBezTo>
                  <a:pt x="292" y="438"/>
                  <a:pt x="292" y="438"/>
                  <a:pt x="291" y="437"/>
                </a:cubicBezTo>
                <a:cubicBezTo>
                  <a:pt x="290" y="437"/>
                  <a:pt x="289" y="437"/>
                  <a:pt x="289" y="436"/>
                </a:cubicBezTo>
                <a:cubicBezTo>
                  <a:pt x="289" y="436"/>
                  <a:pt x="289" y="436"/>
                  <a:pt x="289" y="435"/>
                </a:cubicBezTo>
                <a:cubicBezTo>
                  <a:pt x="290" y="434"/>
                  <a:pt x="290" y="434"/>
                  <a:pt x="289" y="433"/>
                </a:cubicBezTo>
                <a:cubicBezTo>
                  <a:pt x="287" y="432"/>
                  <a:pt x="289" y="431"/>
                  <a:pt x="288" y="430"/>
                </a:cubicBezTo>
                <a:cubicBezTo>
                  <a:pt x="288" y="430"/>
                  <a:pt x="288" y="430"/>
                  <a:pt x="288" y="430"/>
                </a:cubicBezTo>
                <a:cubicBezTo>
                  <a:pt x="288" y="429"/>
                  <a:pt x="287" y="430"/>
                  <a:pt x="287" y="429"/>
                </a:cubicBezTo>
                <a:cubicBezTo>
                  <a:pt x="287" y="428"/>
                  <a:pt x="287" y="428"/>
                  <a:pt x="286" y="428"/>
                </a:cubicBezTo>
                <a:cubicBezTo>
                  <a:pt x="286" y="428"/>
                  <a:pt x="286" y="427"/>
                  <a:pt x="286" y="427"/>
                </a:cubicBezTo>
                <a:cubicBezTo>
                  <a:pt x="286" y="426"/>
                  <a:pt x="286" y="426"/>
                  <a:pt x="286" y="426"/>
                </a:cubicBezTo>
                <a:cubicBezTo>
                  <a:pt x="286" y="425"/>
                  <a:pt x="286" y="426"/>
                  <a:pt x="286" y="425"/>
                </a:cubicBezTo>
                <a:cubicBezTo>
                  <a:pt x="286" y="425"/>
                  <a:pt x="286" y="425"/>
                  <a:pt x="286" y="424"/>
                </a:cubicBezTo>
                <a:cubicBezTo>
                  <a:pt x="286" y="424"/>
                  <a:pt x="285" y="425"/>
                  <a:pt x="285" y="424"/>
                </a:cubicBezTo>
                <a:cubicBezTo>
                  <a:pt x="285" y="423"/>
                  <a:pt x="285" y="423"/>
                  <a:pt x="284" y="422"/>
                </a:cubicBezTo>
                <a:cubicBezTo>
                  <a:pt x="284" y="422"/>
                  <a:pt x="284" y="422"/>
                  <a:pt x="283" y="422"/>
                </a:cubicBezTo>
                <a:cubicBezTo>
                  <a:pt x="283" y="422"/>
                  <a:pt x="283" y="420"/>
                  <a:pt x="283" y="420"/>
                </a:cubicBezTo>
                <a:cubicBezTo>
                  <a:pt x="283" y="420"/>
                  <a:pt x="283" y="420"/>
                  <a:pt x="283" y="420"/>
                </a:cubicBezTo>
                <a:cubicBezTo>
                  <a:pt x="283" y="419"/>
                  <a:pt x="283" y="418"/>
                  <a:pt x="282" y="418"/>
                </a:cubicBezTo>
                <a:cubicBezTo>
                  <a:pt x="281" y="418"/>
                  <a:pt x="282" y="417"/>
                  <a:pt x="281" y="417"/>
                </a:cubicBezTo>
                <a:cubicBezTo>
                  <a:pt x="279" y="416"/>
                  <a:pt x="279" y="414"/>
                  <a:pt x="279" y="412"/>
                </a:cubicBezTo>
                <a:cubicBezTo>
                  <a:pt x="279" y="411"/>
                  <a:pt x="278" y="412"/>
                  <a:pt x="279" y="411"/>
                </a:cubicBezTo>
                <a:cubicBezTo>
                  <a:pt x="279" y="410"/>
                  <a:pt x="277" y="410"/>
                  <a:pt x="277" y="410"/>
                </a:cubicBezTo>
                <a:cubicBezTo>
                  <a:pt x="277" y="410"/>
                  <a:pt x="276" y="409"/>
                  <a:pt x="276" y="409"/>
                </a:cubicBezTo>
                <a:cubicBezTo>
                  <a:pt x="277" y="408"/>
                  <a:pt x="277" y="407"/>
                  <a:pt x="276" y="407"/>
                </a:cubicBezTo>
                <a:cubicBezTo>
                  <a:pt x="276" y="406"/>
                  <a:pt x="276" y="405"/>
                  <a:pt x="275" y="405"/>
                </a:cubicBezTo>
                <a:cubicBezTo>
                  <a:pt x="275" y="405"/>
                  <a:pt x="274" y="404"/>
                  <a:pt x="274" y="404"/>
                </a:cubicBezTo>
                <a:cubicBezTo>
                  <a:pt x="274" y="404"/>
                  <a:pt x="274" y="404"/>
                  <a:pt x="273" y="403"/>
                </a:cubicBezTo>
                <a:cubicBezTo>
                  <a:pt x="273" y="403"/>
                  <a:pt x="273" y="403"/>
                  <a:pt x="273" y="403"/>
                </a:cubicBezTo>
                <a:cubicBezTo>
                  <a:pt x="273" y="403"/>
                  <a:pt x="272" y="402"/>
                  <a:pt x="272" y="402"/>
                </a:cubicBezTo>
                <a:cubicBezTo>
                  <a:pt x="272" y="401"/>
                  <a:pt x="272" y="402"/>
                  <a:pt x="272" y="401"/>
                </a:cubicBezTo>
                <a:cubicBezTo>
                  <a:pt x="272" y="400"/>
                  <a:pt x="272" y="400"/>
                  <a:pt x="271" y="400"/>
                </a:cubicBezTo>
                <a:cubicBezTo>
                  <a:pt x="271" y="399"/>
                  <a:pt x="271" y="399"/>
                  <a:pt x="271" y="398"/>
                </a:cubicBezTo>
                <a:cubicBezTo>
                  <a:pt x="270" y="398"/>
                  <a:pt x="270" y="398"/>
                  <a:pt x="270" y="397"/>
                </a:cubicBezTo>
                <a:cubicBezTo>
                  <a:pt x="270" y="397"/>
                  <a:pt x="269" y="397"/>
                  <a:pt x="269" y="396"/>
                </a:cubicBezTo>
                <a:cubicBezTo>
                  <a:pt x="269" y="396"/>
                  <a:pt x="269" y="396"/>
                  <a:pt x="269" y="395"/>
                </a:cubicBezTo>
                <a:cubicBezTo>
                  <a:pt x="270" y="394"/>
                  <a:pt x="270" y="394"/>
                  <a:pt x="270" y="393"/>
                </a:cubicBezTo>
                <a:cubicBezTo>
                  <a:pt x="269" y="393"/>
                  <a:pt x="270" y="393"/>
                  <a:pt x="270" y="393"/>
                </a:cubicBezTo>
                <a:cubicBezTo>
                  <a:pt x="271" y="393"/>
                  <a:pt x="272" y="393"/>
                  <a:pt x="273" y="394"/>
                </a:cubicBezTo>
                <a:cubicBezTo>
                  <a:pt x="273" y="394"/>
                  <a:pt x="274" y="394"/>
                  <a:pt x="274" y="395"/>
                </a:cubicBezTo>
                <a:cubicBezTo>
                  <a:pt x="275" y="393"/>
                  <a:pt x="275" y="393"/>
                  <a:pt x="277" y="393"/>
                </a:cubicBezTo>
                <a:cubicBezTo>
                  <a:pt x="277" y="394"/>
                  <a:pt x="277" y="396"/>
                  <a:pt x="279" y="396"/>
                </a:cubicBezTo>
                <a:cubicBezTo>
                  <a:pt x="279" y="397"/>
                  <a:pt x="278" y="399"/>
                  <a:pt x="279" y="399"/>
                </a:cubicBezTo>
                <a:cubicBezTo>
                  <a:pt x="279" y="400"/>
                  <a:pt x="279" y="402"/>
                  <a:pt x="280" y="402"/>
                </a:cubicBezTo>
                <a:cubicBezTo>
                  <a:pt x="281" y="402"/>
                  <a:pt x="281" y="403"/>
                  <a:pt x="281" y="404"/>
                </a:cubicBezTo>
                <a:cubicBezTo>
                  <a:pt x="281" y="405"/>
                  <a:pt x="282" y="406"/>
                  <a:pt x="282" y="406"/>
                </a:cubicBezTo>
                <a:cubicBezTo>
                  <a:pt x="283" y="407"/>
                  <a:pt x="284" y="407"/>
                  <a:pt x="284" y="408"/>
                </a:cubicBezTo>
                <a:cubicBezTo>
                  <a:pt x="284" y="408"/>
                  <a:pt x="284" y="409"/>
                  <a:pt x="284" y="409"/>
                </a:cubicBezTo>
                <a:cubicBezTo>
                  <a:pt x="284" y="409"/>
                  <a:pt x="285" y="409"/>
                  <a:pt x="285" y="409"/>
                </a:cubicBezTo>
                <a:cubicBezTo>
                  <a:pt x="285" y="409"/>
                  <a:pt x="285" y="410"/>
                  <a:pt x="285" y="410"/>
                </a:cubicBezTo>
                <a:cubicBezTo>
                  <a:pt x="285" y="412"/>
                  <a:pt x="285" y="412"/>
                  <a:pt x="287" y="412"/>
                </a:cubicBezTo>
                <a:cubicBezTo>
                  <a:pt x="287" y="412"/>
                  <a:pt x="288" y="412"/>
                  <a:pt x="288" y="412"/>
                </a:cubicBezTo>
                <a:cubicBezTo>
                  <a:pt x="288" y="413"/>
                  <a:pt x="288" y="414"/>
                  <a:pt x="288" y="414"/>
                </a:cubicBezTo>
                <a:cubicBezTo>
                  <a:pt x="289" y="414"/>
                  <a:pt x="289" y="415"/>
                  <a:pt x="289" y="415"/>
                </a:cubicBezTo>
                <a:cubicBezTo>
                  <a:pt x="289" y="415"/>
                  <a:pt x="289" y="416"/>
                  <a:pt x="290" y="416"/>
                </a:cubicBezTo>
                <a:cubicBezTo>
                  <a:pt x="290" y="416"/>
                  <a:pt x="291" y="416"/>
                  <a:pt x="291" y="416"/>
                </a:cubicBezTo>
                <a:cubicBezTo>
                  <a:pt x="292" y="416"/>
                  <a:pt x="292" y="418"/>
                  <a:pt x="292" y="418"/>
                </a:cubicBezTo>
                <a:cubicBezTo>
                  <a:pt x="292" y="418"/>
                  <a:pt x="292" y="418"/>
                  <a:pt x="291" y="418"/>
                </a:cubicBezTo>
                <a:cubicBezTo>
                  <a:pt x="292" y="419"/>
                  <a:pt x="292" y="420"/>
                  <a:pt x="293" y="420"/>
                </a:cubicBezTo>
                <a:cubicBezTo>
                  <a:pt x="294" y="420"/>
                  <a:pt x="294" y="420"/>
                  <a:pt x="294" y="421"/>
                </a:cubicBezTo>
                <a:cubicBezTo>
                  <a:pt x="294" y="422"/>
                  <a:pt x="294" y="422"/>
                  <a:pt x="295" y="422"/>
                </a:cubicBezTo>
                <a:cubicBezTo>
                  <a:pt x="296" y="422"/>
                  <a:pt x="297" y="423"/>
                  <a:pt x="297" y="423"/>
                </a:cubicBezTo>
                <a:cubicBezTo>
                  <a:pt x="298" y="423"/>
                  <a:pt x="297" y="424"/>
                  <a:pt x="298" y="424"/>
                </a:cubicBezTo>
                <a:cubicBezTo>
                  <a:pt x="298" y="425"/>
                  <a:pt x="296" y="425"/>
                  <a:pt x="296" y="426"/>
                </a:cubicBezTo>
                <a:cubicBezTo>
                  <a:pt x="296" y="428"/>
                  <a:pt x="296" y="428"/>
                  <a:pt x="298" y="428"/>
                </a:cubicBezTo>
                <a:cubicBezTo>
                  <a:pt x="298" y="428"/>
                  <a:pt x="298" y="429"/>
                  <a:pt x="298" y="430"/>
                </a:cubicBezTo>
                <a:cubicBezTo>
                  <a:pt x="299" y="430"/>
                  <a:pt x="299" y="430"/>
                  <a:pt x="300" y="430"/>
                </a:cubicBezTo>
                <a:cubicBezTo>
                  <a:pt x="300" y="430"/>
                  <a:pt x="300" y="430"/>
                  <a:pt x="300" y="431"/>
                </a:cubicBezTo>
                <a:cubicBezTo>
                  <a:pt x="300" y="431"/>
                  <a:pt x="301" y="431"/>
                  <a:pt x="301" y="431"/>
                </a:cubicBezTo>
                <a:cubicBezTo>
                  <a:pt x="301" y="431"/>
                  <a:pt x="301" y="432"/>
                  <a:pt x="301" y="432"/>
                </a:cubicBezTo>
                <a:cubicBezTo>
                  <a:pt x="302" y="432"/>
                  <a:pt x="302" y="433"/>
                  <a:pt x="303" y="434"/>
                </a:cubicBezTo>
                <a:cubicBezTo>
                  <a:pt x="303" y="435"/>
                  <a:pt x="304" y="436"/>
                  <a:pt x="305" y="437"/>
                </a:cubicBezTo>
                <a:cubicBezTo>
                  <a:pt x="305" y="437"/>
                  <a:pt x="305" y="437"/>
                  <a:pt x="306" y="437"/>
                </a:cubicBezTo>
                <a:cubicBezTo>
                  <a:pt x="306" y="437"/>
                  <a:pt x="306" y="438"/>
                  <a:pt x="307" y="438"/>
                </a:cubicBezTo>
                <a:cubicBezTo>
                  <a:pt x="307" y="438"/>
                  <a:pt x="307" y="438"/>
                  <a:pt x="307" y="439"/>
                </a:cubicBezTo>
                <a:cubicBezTo>
                  <a:pt x="307" y="440"/>
                  <a:pt x="308" y="440"/>
                  <a:pt x="309" y="440"/>
                </a:cubicBezTo>
                <a:cubicBezTo>
                  <a:pt x="309" y="441"/>
                  <a:pt x="308" y="441"/>
                  <a:pt x="309" y="441"/>
                </a:cubicBezTo>
                <a:cubicBezTo>
                  <a:pt x="310" y="441"/>
                  <a:pt x="309" y="442"/>
                  <a:pt x="309" y="442"/>
                </a:cubicBezTo>
                <a:cubicBezTo>
                  <a:pt x="309" y="443"/>
                  <a:pt x="311" y="443"/>
                  <a:pt x="311" y="443"/>
                </a:cubicBezTo>
                <a:cubicBezTo>
                  <a:pt x="311" y="444"/>
                  <a:pt x="310" y="444"/>
                  <a:pt x="311" y="444"/>
                </a:cubicBezTo>
                <a:cubicBezTo>
                  <a:pt x="311" y="444"/>
                  <a:pt x="311" y="445"/>
                  <a:pt x="311" y="445"/>
                </a:cubicBezTo>
                <a:cubicBezTo>
                  <a:pt x="311" y="446"/>
                  <a:pt x="312" y="446"/>
                  <a:pt x="312" y="446"/>
                </a:cubicBezTo>
                <a:cubicBezTo>
                  <a:pt x="312" y="447"/>
                  <a:pt x="313" y="447"/>
                  <a:pt x="313" y="447"/>
                </a:cubicBezTo>
                <a:cubicBezTo>
                  <a:pt x="313" y="448"/>
                  <a:pt x="313" y="448"/>
                  <a:pt x="314" y="448"/>
                </a:cubicBezTo>
                <a:cubicBezTo>
                  <a:pt x="314" y="449"/>
                  <a:pt x="314" y="450"/>
                  <a:pt x="315" y="450"/>
                </a:cubicBezTo>
                <a:cubicBezTo>
                  <a:pt x="315" y="451"/>
                  <a:pt x="315" y="452"/>
                  <a:pt x="315" y="453"/>
                </a:cubicBezTo>
                <a:cubicBezTo>
                  <a:pt x="315" y="453"/>
                  <a:pt x="316" y="453"/>
                  <a:pt x="316" y="453"/>
                </a:cubicBezTo>
                <a:cubicBezTo>
                  <a:pt x="316" y="454"/>
                  <a:pt x="316" y="455"/>
                  <a:pt x="316" y="455"/>
                </a:cubicBezTo>
                <a:cubicBezTo>
                  <a:pt x="316" y="457"/>
                  <a:pt x="315" y="458"/>
                  <a:pt x="315" y="459"/>
                </a:cubicBezTo>
                <a:cubicBezTo>
                  <a:pt x="315" y="459"/>
                  <a:pt x="315" y="459"/>
                  <a:pt x="315" y="459"/>
                </a:cubicBezTo>
                <a:cubicBezTo>
                  <a:pt x="315" y="460"/>
                  <a:pt x="315" y="460"/>
                  <a:pt x="315" y="460"/>
                </a:cubicBezTo>
                <a:cubicBezTo>
                  <a:pt x="314" y="461"/>
                  <a:pt x="314" y="461"/>
                  <a:pt x="315" y="462"/>
                </a:cubicBezTo>
                <a:cubicBezTo>
                  <a:pt x="315" y="464"/>
                  <a:pt x="315" y="464"/>
                  <a:pt x="316" y="464"/>
                </a:cubicBezTo>
                <a:cubicBezTo>
                  <a:pt x="316" y="465"/>
                  <a:pt x="316" y="465"/>
                  <a:pt x="317" y="466"/>
                </a:cubicBezTo>
                <a:cubicBezTo>
                  <a:pt x="317" y="467"/>
                  <a:pt x="318" y="467"/>
                  <a:pt x="318" y="468"/>
                </a:cubicBezTo>
                <a:cubicBezTo>
                  <a:pt x="319" y="468"/>
                  <a:pt x="318" y="467"/>
                  <a:pt x="319" y="468"/>
                </a:cubicBezTo>
                <a:cubicBezTo>
                  <a:pt x="320" y="468"/>
                  <a:pt x="320" y="468"/>
                  <a:pt x="320" y="468"/>
                </a:cubicBezTo>
                <a:cubicBezTo>
                  <a:pt x="320" y="469"/>
                  <a:pt x="321" y="469"/>
                  <a:pt x="321" y="469"/>
                </a:cubicBezTo>
                <a:cubicBezTo>
                  <a:pt x="321" y="469"/>
                  <a:pt x="321" y="469"/>
                  <a:pt x="321" y="470"/>
                </a:cubicBezTo>
                <a:cubicBezTo>
                  <a:pt x="321" y="470"/>
                  <a:pt x="322" y="470"/>
                  <a:pt x="322" y="471"/>
                </a:cubicBezTo>
                <a:cubicBezTo>
                  <a:pt x="323" y="471"/>
                  <a:pt x="322" y="470"/>
                  <a:pt x="323" y="471"/>
                </a:cubicBezTo>
                <a:cubicBezTo>
                  <a:pt x="324" y="472"/>
                  <a:pt x="324" y="471"/>
                  <a:pt x="324" y="472"/>
                </a:cubicBezTo>
                <a:cubicBezTo>
                  <a:pt x="325" y="472"/>
                  <a:pt x="325" y="472"/>
                  <a:pt x="325" y="473"/>
                </a:cubicBezTo>
                <a:cubicBezTo>
                  <a:pt x="325" y="473"/>
                  <a:pt x="326" y="473"/>
                  <a:pt x="326" y="474"/>
                </a:cubicBezTo>
                <a:cubicBezTo>
                  <a:pt x="326" y="474"/>
                  <a:pt x="327" y="474"/>
                  <a:pt x="327" y="475"/>
                </a:cubicBezTo>
                <a:cubicBezTo>
                  <a:pt x="327" y="475"/>
                  <a:pt x="327" y="475"/>
                  <a:pt x="327" y="475"/>
                </a:cubicBezTo>
                <a:cubicBezTo>
                  <a:pt x="328" y="475"/>
                  <a:pt x="328" y="475"/>
                  <a:pt x="329" y="475"/>
                </a:cubicBezTo>
                <a:cubicBezTo>
                  <a:pt x="329" y="475"/>
                  <a:pt x="330" y="476"/>
                  <a:pt x="330" y="476"/>
                </a:cubicBezTo>
                <a:cubicBezTo>
                  <a:pt x="330" y="476"/>
                  <a:pt x="331" y="476"/>
                  <a:pt x="331" y="476"/>
                </a:cubicBezTo>
                <a:cubicBezTo>
                  <a:pt x="332" y="476"/>
                  <a:pt x="332" y="476"/>
                  <a:pt x="332" y="476"/>
                </a:cubicBezTo>
                <a:cubicBezTo>
                  <a:pt x="333" y="477"/>
                  <a:pt x="333" y="478"/>
                  <a:pt x="334" y="478"/>
                </a:cubicBezTo>
                <a:cubicBezTo>
                  <a:pt x="336" y="478"/>
                  <a:pt x="335" y="479"/>
                  <a:pt x="336" y="479"/>
                </a:cubicBezTo>
                <a:cubicBezTo>
                  <a:pt x="336" y="479"/>
                  <a:pt x="336" y="480"/>
                  <a:pt x="337" y="480"/>
                </a:cubicBezTo>
                <a:cubicBezTo>
                  <a:pt x="338" y="480"/>
                  <a:pt x="337" y="480"/>
                  <a:pt x="338" y="480"/>
                </a:cubicBezTo>
                <a:cubicBezTo>
                  <a:pt x="338" y="480"/>
                  <a:pt x="338" y="480"/>
                  <a:pt x="339" y="481"/>
                </a:cubicBezTo>
                <a:cubicBezTo>
                  <a:pt x="339" y="481"/>
                  <a:pt x="340" y="481"/>
                  <a:pt x="341" y="482"/>
                </a:cubicBezTo>
                <a:cubicBezTo>
                  <a:pt x="342" y="482"/>
                  <a:pt x="343" y="482"/>
                  <a:pt x="344" y="482"/>
                </a:cubicBezTo>
                <a:cubicBezTo>
                  <a:pt x="344" y="482"/>
                  <a:pt x="344" y="483"/>
                  <a:pt x="344" y="483"/>
                </a:cubicBezTo>
                <a:cubicBezTo>
                  <a:pt x="345" y="483"/>
                  <a:pt x="345" y="482"/>
                  <a:pt x="345" y="483"/>
                </a:cubicBezTo>
                <a:cubicBezTo>
                  <a:pt x="346" y="483"/>
                  <a:pt x="347" y="482"/>
                  <a:pt x="347" y="484"/>
                </a:cubicBezTo>
                <a:cubicBezTo>
                  <a:pt x="348" y="484"/>
                  <a:pt x="348" y="484"/>
                  <a:pt x="349" y="484"/>
                </a:cubicBezTo>
                <a:cubicBezTo>
                  <a:pt x="349" y="484"/>
                  <a:pt x="349" y="484"/>
                  <a:pt x="349" y="485"/>
                </a:cubicBezTo>
                <a:cubicBezTo>
                  <a:pt x="350" y="485"/>
                  <a:pt x="350" y="485"/>
                  <a:pt x="350" y="486"/>
                </a:cubicBezTo>
                <a:cubicBezTo>
                  <a:pt x="351" y="486"/>
                  <a:pt x="352" y="485"/>
                  <a:pt x="353" y="485"/>
                </a:cubicBezTo>
                <a:cubicBezTo>
                  <a:pt x="353" y="486"/>
                  <a:pt x="354" y="486"/>
                  <a:pt x="355" y="486"/>
                </a:cubicBezTo>
                <a:cubicBezTo>
                  <a:pt x="356" y="486"/>
                  <a:pt x="356" y="486"/>
                  <a:pt x="356" y="487"/>
                </a:cubicBezTo>
                <a:cubicBezTo>
                  <a:pt x="357" y="487"/>
                  <a:pt x="358" y="487"/>
                  <a:pt x="360" y="487"/>
                </a:cubicBezTo>
                <a:cubicBezTo>
                  <a:pt x="360" y="487"/>
                  <a:pt x="359" y="487"/>
                  <a:pt x="360" y="487"/>
                </a:cubicBezTo>
                <a:cubicBezTo>
                  <a:pt x="360" y="487"/>
                  <a:pt x="362" y="486"/>
                  <a:pt x="361" y="486"/>
                </a:cubicBezTo>
                <a:cubicBezTo>
                  <a:pt x="362" y="486"/>
                  <a:pt x="362" y="486"/>
                  <a:pt x="363" y="486"/>
                </a:cubicBezTo>
                <a:cubicBezTo>
                  <a:pt x="363" y="486"/>
                  <a:pt x="364" y="486"/>
                  <a:pt x="365" y="486"/>
                </a:cubicBezTo>
                <a:cubicBezTo>
                  <a:pt x="365" y="486"/>
                  <a:pt x="365" y="485"/>
                  <a:pt x="365" y="485"/>
                </a:cubicBezTo>
                <a:cubicBezTo>
                  <a:pt x="366" y="485"/>
                  <a:pt x="367" y="484"/>
                  <a:pt x="367" y="485"/>
                </a:cubicBezTo>
                <a:cubicBezTo>
                  <a:pt x="367" y="485"/>
                  <a:pt x="367" y="485"/>
                  <a:pt x="368" y="485"/>
                </a:cubicBezTo>
                <a:cubicBezTo>
                  <a:pt x="369" y="485"/>
                  <a:pt x="369" y="485"/>
                  <a:pt x="370" y="485"/>
                </a:cubicBezTo>
                <a:cubicBezTo>
                  <a:pt x="371" y="485"/>
                  <a:pt x="370" y="486"/>
                  <a:pt x="371" y="486"/>
                </a:cubicBezTo>
                <a:cubicBezTo>
                  <a:pt x="372" y="486"/>
                  <a:pt x="372" y="487"/>
                  <a:pt x="373" y="487"/>
                </a:cubicBezTo>
                <a:cubicBezTo>
                  <a:pt x="374" y="487"/>
                  <a:pt x="374" y="487"/>
                  <a:pt x="375" y="488"/>
                </a:cubicBezTo>
                <a:cubicBezTo>
                  <a:pt x="376" y="489"/>
                  <a:pt x="376" y="489"/>
                  <a:pt x="376" y="490"/>
                </a:cubicBezTo>
                <a:cubicBezTo>
                  <a:pt x="376" y="490"/>
                  <a:pt x="376" y="490"/>
                  <a:pt x="376" y="491"/>
                </a:cubicBezTo>
                <a:cubicBezTo>
                  <a:pt x="376" y="491"/>
                  <a:pt x="377" y="491"/>
                  <a:pt x="377" y="491"/>
                </a:cubicBezTo>
                <a:cubicBezTo>
                  <a:pt x="377" y="491"/>
                  <a:pt x="378" y="492"/>
                  <a:pt x="378" y="492"/>
                </a:cubicBezTo>
                <a:cubicBezTo>
                  <a:pt x="379" y="493"/>
                  <a:pt x="379" y="493"/>
                  <a:pt x="380" y="494"/>
                </a:cubicBezTo>
                <a:cubicBezTo>
                  <a:pt x="380" y="495"/>
                  <a:pt x="381" y="495"/>
                  <a:pt x="382" y="495"/>
                </a:cubicBezTo>
                <a:cubicBezTo>
                  <a:pt x="383" y="496"/>
                  <a:pt x="383" y="496"/>
                  <a:pt x="383" y="497"/>
                </a:cubicBezTo>
                <a:cubicBezTo>
                  <a:pt x="383" y="497"/>
                  <a:pt x="385" y="498"/>
                  <a:pt x="385" y="498"/>
                </a:cubicBezTo>
                <a:cubicBezTo>
                  <a:pt x="386" y="497"/>
                  <a:pt x="386" y="498"/>
                  <a:pt x="386" y="498"/>
                </a:cubicBezTo>
                <a:cubicBezTo>
                  <a:pt x="387" y="498"/>
                  <a:pt x="387" y="498"/>
                  <a:pt x="387" y="498"/>
                </a:cubicBezTo>
                <a:cubicBezTo>
                  <a:pt x="388" y="499"/>
                  <a:pt x="389" y="499"/>
                  <a:pt x="390" y="499"/>
                </a:cubicBezTo>
                <a:cubicBezTo>
                  <a:pt x="390" y="500"/>
                  <a:pt x="390" y="500"/>
                  <a:pt x="390" y="501"/>
                </a:cubicBezTo>
                <a:cubicBezTo>
                  <a:pt x="391" y="501"/>
                  <a:pt x="393" y="501"/>
                  <a:pt x="393" y="501"/>
                </a:cubicBezTo>
                <a:cubicBezTo>
                  <a:pt x="394" y="501"/>
                  <a:pt x="398" y="501"/>
                  <a:pt x="398" y="502"/>
                </a:cubicBezTo>
                <a:cubicBezTo>
                  <a:pt x="399" y="502"/>
                  <a:pt x="400" y="502"/>
                  <a:pt x="400" y="501"/>
                </a:cubicBezTo>
                <a:cubicBezTo>
                  <a:pt x="400" y="500"/>
                  <a:pt x="402" y="501"/>
                  <a:pt x="402" y="501"/>
                </a:cubicBezTo>
                <a:cubicBezTo>
                  <a:pt x="401" y="501"/>
                  <a:pt x="402" y="502"/>
                  <a:pt x="402" y="502"/>
                </a:cubicBezTo>
                <a:cubicBezTo>
                  <a:pt x="402" y="503"/>
                  <a:pt x="401" y="502"/>
                  <a:pt x="401" y="503"/>
                </a:cubicBezTo>
                <a:cubicBezTo>
                  <a:pt x="401" y="503"/>
                  <a:pt x="401" y="504"/>
                  <a:pt x="401" y="504"/>
                </a:cubicBezTo>
                <a:cubicBezTo>
                  <a:pt x="402" y="504"/>
                  <a:pt x="404" y="506"/>
                  <a:pt x="404" y="507"/>
                </a:cubicBezTo>
                <a:cubicBezTo>
                  <a:pt x="404" y="507"/>
                  <a:pt x="405" y="507"/>
                  <a:pt x="405" y="508"/>
                </a:cubicBezTo>
                <a:cubicBezTo>
                  <a:pt x="405" y="509"/>
                  <a:pt x="406" y="509"/>
                  <a:pt x="406" y="510"/>
                </a:cubicBezTo>
                <a:cubicBezTo>
                  <a:pt x="406" y="510"/>
                  <a:pt x="406" y="510"/>
                  <a:pt x="406" y="510"/>
                </a:cubicBezTo>
                <a:cubicBezTo>
                  <a:pt x="406" y="511"/>
                  <a:pt x="407" y="511"/>
                  <a:pt x="408" y="512"/>
                </a:cubicBezTo>
                <a:cubicBezTo>
                  <a:pt x="408" y="512"/>
                  <a:pt x="407" y="512"/>
                  <a:pt x="408" y="513"/>
                </a:cubicBezTo>
                <a:cubicBezTo>
                  <a:pt x="409" y="513"/>
                  <a:pt x="409" y="513"/>
                  <a:pt x="409" y="514"/>
                </a:cubicBezTo>
                <a:cubicBezTo>
                  <a:pt x="409" y="514"/>
                  <a:pt x="409" y="514"/>
                  <a:pt x="409" y="514"/>
                </a:cubicBezTo>
                <a:cubicBezTo>
                  <a:pt x="409" y="515"/>
                  <a:pt x="409" y="515"/>
                  <a:pt x="409" y="515"/>
                </a:cubicBezTo>
                <a:cubicBezTo>
                  <a:pt x="408" y="516"/>
                  <a:pt x="411" y="517"/>
                  <a:pt x="409" y="517"/>
                </a:cubicBezTo>
                <a:cubicBezTo>
                  <a:pt x="409" y="518"/>
                  <a:pt x="409" y="518"/>
                  <a:pt x="408" y="518"/>
                </a:cubicBezTo>
                <a:cubicBezTo>
                  <a:pt x="408" y="518"/>
                  <a:pt x="408" y="520"/>
                  <a:pt x="408" y="520"/>
                </a:cubicBezTo>
                <a:cubicBezTo>
                  <a:pt x="409" y="521"/>
                  <a:pt x="411" y="521"/>
                  <a:pt x="411" y="522"/>
                </a:cubicBezTo>
                <a:cubicBezTo>
                  <a:pt x="411" y="522"/>
                  <a:pt x="412" y="522"/>
                  <a:pt x="412" y="522"/>
                </a:cubicBezTo>
                <a:cubicBezTo>
                  <a:pt x="412" y="521"/>
                  <a:pt x="413" y="521"/>
                  <a:pt x="412" y="520"/>
                </a:cubicBezTo>
                <a:cubicBezTo>
                  <a:pt x="413" y="520"/>
                  <a:pt x="413" y="520"/>
                  <a:pt x="413" y="520"/>
                </a:cubicBezTo>
                <a:cubicBezTo>
                  <a:pt x="414" y="520"/>
                  <a:pt x="415" y="523"/>
                  <a:pt x="416" y="523"/>
                </a:cubicBezTo>
                <a:cubicBezTo>
                  <a:pt x="416" y="523"/>
                  <a:pt x="417" y="523"/>
                  <a:pt x="417" y="523"/>
                </a:cubicBezTo>
                <a:cubicBezTo>
                  <a:pt x="417" y="524"/>
                  <a:pt x="417" y="524"/>
                  <a:pt x="417" y="524"/>
                </a:cubicBezTo>
                <a:cubicBezTo>
                  <a:pt x="418" y="524"/>
                  <a:pt x="419" y="525"/>
                  <a:pt x="419" y="525"/>
                </a:cubicBezTo>
                <a:cubicBezTo>
                  <a:pt x="419" y="526"/>
                  <a:pt x="419" y="527"/>
                  <a:pt x="418" y="527"/>
                </a:cubicBezTo>
                <a:cubicBezTo>
                  <a:pt x="418" y="527"/>
                  <a:pt x="418" y="528"/>
                  <a:pt x="419" y="528"/>
                </a:cubicBezTo>
                <a:cubicBezTo>
                  <a:pt x="419" y="529"/>
                  <a:pt x="419" y="528"/>
                  <a:pt x="419" y="528"/>
                </a:cubicBezTo>
                <a:cubicBezTo>
                  <a:pt x="419" y="528"/>
                  <a:pt x="420" y="529"/>
                  <a:pt x="420" y="529"/>
                </a:cubicBezTo>
                <a:cubicBezTo>
                  <a:pt x="420" y="530"/>
                  <a:pt x="420" y="529"/>
                  <a:pt x="420" y="529"/>
                </a:cubicBezTo>
                <a:cubicBezTo>
                  <a:pt x="420" y="528"/>
                  <a:pt x="420" y="527"/>
                  <a:pt x="420" y="527"/>
                </a:cubicBezTo>
                <a:cubicBezTo>
                  <a:pt x="421" y="527"/>
                  <a:pt x="421" y="528"/>
                  <a:pt x="421" y="529"/>
                </a:cubicBezTo>
                <a:cubicBezTo>
                  <a:pt x="422" y="531"/>
                  <a:pt x="423" y="529"/>
                  <a:pt x="424" y="529"/>
                </a:cubicBezTo>
                <a:cubicBezTo>
                  <a:pt x="425" y="529"/>
                  <a:pt x="424" y="529"/>
                  <a:pt x="425" y="529"/>
                </a:cubicBezTo>
                <a:cubicBezTo>
                  <a:pt x="425" y="530"/>
                  <a:pt x="426" y="530"/>
                  <a:pt x="427" y="530"/>
                </a:cubicBezTo>
                <a:cubicBezTo>
                  <a:pt x="427" y="530"/>
                  <a:pt x="428" y="530"/>
                  <a:pt x="428" y="530"/>
                </a:cubicBezTo>
                <a:cubicBezTo>
                  <a:pt x="428" y="530"/>
                  <a:pt x="429" y="531"/>
                  <a:pt x="429" y="532"/>
                </a:cubicBezTo>
                <a:cubicBezTo>
                  <a:pt x="429" y="533"/>
                  <a:pt x="431" y="532"/>
                  <a:pt x="432" y="532"/>
                </a:cubicBezTo>
                <a:cubicBezTo>
                  <a:pt x="432" y="533"/>
                  <a:pt x="432" y="533"/>
                  <a:pt x="432" y="534"/>
                </a:cubicBezTo>
                <a:cubicBezTo>
                  <a:pt x="432" y="534"/>
                  <a:pt x="432" y="534"/>
                  <a:pt x="432" y="535"/>
                </a:cubicBezTo>
                <a:cubicBezTo>
                  <a:pt x="433" y="535"/>
                  <a:pt x="434" y="535"/>
                  <a:pt x="434" y="534"/>
                </a:cubicBezTo>
                <a:cubicBezTo>
                  <a:pt x="434" y="534"/>
                  <a:pt x="435" y="534"/>
                  <a:pt x="435" y="534"/>
                </a:cubicBezTo>
                <a:cubicBezTo>
                  <a:pt x="435" y="533"/>
                  <a:pt x="435" y="533"/>
                  <a:pt x="436" y="533"/>
                </a:cubicBezTo>
                <a:cubicBezTo>
                  <a:pt x="436" y="533"/>
                  <a:pt x="436" y="532"/>
                  <a:pt x="436" y="532"/>
                </a:cubicBezTo>
                <a:cubicBezTo>
                  <a:pt x="436" y="531"/>
                  <a:pt x="435" y="531"/>
                  <a:pt x="435" y="531"/>
                </a:cubicBezTo>
                <a:cubicBezTo>
                  <a:pt x="435" y="530"/>
                  <a:pt x="434" y="531"/>
                  <a:pt x="434" y="530"/>
                </a:cubicBezTo>
                <a:cubicBezTo>
                  <a:pt x="434" y="530"/>
                  <a:pt x="434" y="530"/>
                  <a:pt x="433" y="530"/>
                </a:cubicBezTo>
                <a:cubicBezTo>
                  <a:pt x="434" y="529"/>
                  <a:pt x="434" y="529"/>
                  <a:pt x="434" y="529"/>
                </a:cubicBezTo>
                <a:cubicBezTo>
                  <a:pt x="435" y="529"/>
                  <a:pt x="435" y="529"/>
                  <a:pt x="435" y="529"/>
                </a:cubicBezTo>
                <a:cubicBezTo>
                  <a:pt x="435" y="529"/>
                  <a:pt x="436" y="529"/>
                  <a:pt x="436" y="529"/>
                </a:cubicBezTo>
                <a:cubicBezTo>
                  <a:pt x="436" y="529"/>
                  <a:pt x="436" y="529"/>
                  <a:pt x="436" y="529"/>
                </a:cubicBezTo>
                <a:cubicBezTo>
                  <a:pt x="437" y="528"/>
                  <a:pt x="437" y="528"/>
                  <a:pt x="437" y="527"/>
                </a:cubicBezTo>
                <a:cubicBezTo>
                  <a:pt x="437" y="526"/>
                  <a:pt x="439" y="526"/>
                  <a:pt x="439" y="525"/>
                </a:cubicBezTo>
                <a:cubicBezTo>
                  <a:pt x="440" y="526"/>
                  <a:pt x="440" y="526"/>
                  <a:pt x="441" y="527"/>
                </a:cubicBezTo>
                <a:cubicBezTo>
                  <a:pt x="441" y="527"/>
                  <a:pt x="441" y="528"/>
                  <a:pt x="441" y="529"/>
                </a:cubicBezTo>
                <a:cubicBezTo>
                  <a:pt x="442" y="529"/>
                  <a:pt x="442" y="529"/>
                  <a:pt x="442" y="529"/>
                </a:cubicBezTo>
                <a:cubicBezTo>
                  <a:pt x="442" y="529"/>
                  <a:pt x="443" y="530"/>
                  <a:pt x="443" y="530"/>
                </a:cubicBezTo>
                <a:cubicBezTo>
                  <a:pt x="444" y="530"/>
                  <a:pt x="444" y="530"/>
                  <a:pt x="446" y="530"/>
                </a:cubicBezTo>
                <a:cubicBezTo>
                  <a:pt x="446" y="530"/>
                  <a:pt x="446" y="531"/>
                  <a:pt x="446" y="531"/>
                </a:cubicBezTo>
                <a:cubicBezTo>
                  <a:pt x="445" y="531"/>
                  <a:pt x="445" y="531"/>
                  <a:pt x="445" y="531"/>
                </a:cubicBezTo>
                <a:cubicBezTo>
                  <a:pt x="444" y="531"/>
                  <a:pt x="444" y="532"/>
                  <a:pt x="444" y="532"/>
                </a:cubicBezTo>
                <a:cubicBezTo>
                  <a:pt x="443" y="533"/>
                  <a:pt x="444" y="535"/>
                  <a:pt x="445" y="536"/>
                </a:cubicBezTo>
                <a:cubicBezTo>
                  <a:pt x="445" y="536"/>
                  <a:pt x="445" y="536"/>
                  <a:pt x="446" y="536"/>
                </a:cubicBezTo>
                <a:cubicBezTo>
                  <a:pt x="446" y="536"/>
                  <a:pt x="446" y="537"/>
                  <a:pt x="446" y="537"/>
                </a:cubicBezTo>
                <a:cubicBezTo>
                  <a:pt x="447" y="537"/>
                  <a:pt x="448" y="537"/>
                  <a:pt x="448" y="537"/>
                </a:cubicBezTo>
                <a:cubicBezTo>
                  <a:pt x="448" y="537"/>
                  <a:pt x="448" y="537"/>
                  <a:pt x="448" y="538"/>
                </a:cubicBezTo>
                <a:cubicBezTo>
                  <a:pt x="448" y="539"/>
                  <a:pt x="449" y="540"/>
                  <a:pt x="449" y="541"/>
                </a:cubicBezTo>
                <a:cubicBezTo>
                  <a:pt x="448" y="541"/>
                  <a:pt x="448" y="543"/>
                  <a:pt x="448" y="543"/>
                </a:cubicBezTo>
                <a:cubicBezTo>
                  <a:pt x="450" y="544"/>
                  <a:pt x="448" y="545"/>
                  <a:pt x="447" y="546"/>
                </a:cubicBezTo>
                <a:cubicBezTo>
                  <a:pt x="448" y="546"/>
                  <a:pt x="448" y="546"/>
                  <a:pt x="448" y="547"/>
                </a:cubicBezTo>
                <a:cubicBezTo>
                  <a:pt x="448" y="548"/>
                  <a:pt x="448" y="549"/>
                  <a:pt x="447" y="549"/>
                </a:cubicBezTo>
                <a:cubicBezTo>
                  <a:pt x="447" y="549"/>
                  <a:pt x="448" y="550"/>
                  <a:pt x="448" y="550"/>
                </a:cubicBezTo>
                <a:cubicBezTo>
                  <a:pt x="448" y="551"/>
                  <a:pt x="447" y="552"/>
                  <a:pt x="447" y="553"/>
                </a:cubicBezTo>
                <a:cubicBezTo>
                  <a:pt x="447" y="553"/>
                  <a:pt x="446" y="553"/>
                  <a:pt x="446" y="553"/>
                </a:cubicBezTo>
                <a:cubicBezTo>
                  <a:pt x="446" y="554"/>
                  <a:pt x="446" y="554"/>
                  <a:pt x="446" y="555"/>
                </a:cubicBezTo>
                <a:cubicBezTo>
                  <a:pt x="447" y="556"/>
                  <a:pt x="448" y="556"/>
                  <a:pt x="449" y="556"/>
                </a:cubicBezTo>
                <a:cubicBezTo>
                  <a:pt x="449" y="556"/>
                  <a:pt x="447" y="558"/>
                  <a:pt x="447" y="558"/>
                </a:cubicBezTo>
                <a:cubicBezTo>
                  <a:pt x="447" y="558"/>
                  <a:pt x="446" y="560"/>
                  <a:pt x="446" y="560"/>
                </a:cubicBezTo>
                <a:cubicBezTo>
                  <a:pt x="446" y="561"/>
                  <a:pt x="445" y="560"/>
                  <a:pt x="444" y="561"/>
                </a:cubicBezTo>
                <a:cubicBezTo>
                  <a:pt x="444" y="561"/>
                  <a:pt x="444" y="561"/>
                  <a:pt x="443" y="561"/>
                </a:cubicBezTo>
                <a:cubicBezTo>
                  <a:pt x="443" y="561"/>
                  <a:pt x="443" y="561"/>
                  <a:pt x="442" y="562"/>
                </a:cubicBezTo>
                <a:cubicBezTo>
                  <a:pt x="442" y="562"/>
                  <a:pt x="441" y="562"/>
                  <a:pt x="441" y="563"/>
                </a:cubicBezTo>
                <a:cubicBezTo>
                  <a:pt x="441" y="563"/>
                  <a:pt x="441" y="563"/>
                  <a:pt x="441" y="564"/>
                </a:cubicBezTo>
                <a:cubicBezTo>
                  <a:pt x="442" y="564"/>
                  <a:pt x="440" y="564"/>
                  <a:pt x="441" y="565"/>
                </a:cubicBezTo>
                <a:cubicBezTo>
                  <a:pt x="441" y="565"/>
                  <a:pt x="442" y="565"/>
                  <a:pt x="442" y="566"/>
                </a:cubicBezTo>
                <a:cubicBezTo>
                  <a:pt x="442" y="566"/>
                  <a:pt x="442" y="566"/>
                  <a:pt x="442" y="566"/>
                </a:cubicBezTo>
                <a:cubicBezTo>
                  <a:pt x="441" y="566"/>
                  <a:pt x="441" y="566"/>
                  <a:pt x="440" y="566"/>
                </a:cubicBezTo>
                <a:cubicBezTo>
                  <a:pt x="439" y="566"/>
                  <a:pt x="439" y="567"/>
                  <a:pt x="440" y="567"/>
                </a:cubicBezTo>
                <a:cubicBezTo>
                  <a:pt x="440" y="568"/>
                  <a:pt x="438" y="570"/>
                  <a:pt x="437" y="570"/>
                </a:cubicBezTo>
                <a:cubicBezTo>
                  <a:pt x="436" y="570"/>
                  <a:pt x="437" y="571"/>
                  <a:pt x="436" y="571"/>
                </a:cubicBezTo>
                <a:cubicBezTo>
                  <a:pt x="435" y="571"/>
                  <a:pt x="436" y="572"/>
                  <a:pt x="435" y="572"/>
                </a:cubicBezTo>
                <a:cubicBezTo>
                  <a:pt x="436" y="572"/>
                  <a:pt x="436" y="574"/>
                  <a:pt x="436" y="575"/>
                </a:cubicBezTo>
                <a:cubicBezTo>
                  <a:pt x="437" y="576"/>
                  <a:pt x="436" y="576"/>
                  <a:pt x="435" y="577"/>
                </a:cubicBezTo>
                <a:cubicBezTo>
                  <a:pt x="435" y="577"/>
                  <a:pt x="434" y="577"/>
                  <a:pt x="434" y="577"/>
                </a:cubicBezTo>
                <a:cubicBezTo>
                  <a:pt x="434" y="578"/>
                  <a:pt x="434" y="579"/>
                  <a:pt x="433" y="580"/>
                </a:cubicBezTo>
                <a:cubicBezTo>
                  <a:pt x="434" y="581"/>
                  <a:pt x="434" y="581"/>
                  <a:pt x="435" y="582"/>
                </a:cubicBezTo>
                <a:cubicBezTo>
                  <a:pt x="434" y="582"/>
                  <a:pt x="434" y="582"/>
                  <a:pt x="434" y="582"/>
                </a:cubicBezTo>
                <a:cubicBezTo>
                  <a:pt x="433" y="582"/>
                  <a:pt x="433" y="583"/>
                  <a:pt x="432" y="583"/>
                </a:cubicBezTo>
                <a:cubicBezTo>
                  <a:pt x="432" y="584"/>
                  <a:pt x="431" y="584"/>
                  <a:pt x="432" y="585"/>
                </a:cubicBezTo>
                <a:cubicBezTo>
                  <a:pt x="432" y="585"/>
                  <a:pt x="433" y="586"/>
                  <a:pt x="433" y="586"/>
                </a:cubicBezTo>
                <a:cubicBezTo>
                  <a:pt x="432" y="586"/>
                  <a:pt x="432" y="587"/>
                  <a:pt x="431" y="587"/>
                </a:cubicBezTo>
                <a:cubicBezTo>
                  <a:pt x="432" y="588"/>
                  <a:pt x="432" y="589"/>
                  <a:pt x="433" y="589"/>
                </a:cubicBezTo>
                <a:cubicBezTo>
                  <a:pt x="433" y="589"/>
                  <a:pt x="433" y="590"/>
                  <a:pt x="433" y="590"/>
                </a:cubicBezTo>
                <a:cubicBezTo>
                  <a:pt x="433" y="591"/>
                  <a:pt x="431" y="591"/>
                  <a:pt x="431" y="592"/>
                </a:cubicBezTo>
                <a:cubicBezTo>
                  <a:pt x="432" y="592"/>
                  <a:pt x="433" y="593"/>
                  <a:pt x="435" y="594"/>
                </a:cubicBezTo>
                <a:cubicBezTo>
                  <a:pt x="435" y="593"/>
                  <a:pt x="435" y="593"/>
                  <a:pt x="436" y="593"/>
                </a:cubicBezTo>
                <a:cubicBezTo>
                  <a:pt x="436" y="593"/>
                  <a:pt x="436" y="592"/>
                  <a:pt x="436" y="592"/>
                </a:cubicBezTo>
                <a:cubicBezTo>
                  <a:pt x="437" y="592"/>
                  <a:pt x="437" y="593"/>
                  <a:pt x="437" y="594"/>
                </a:cubicBezTo>
                <a:cubicBezTo>
                  <a:pt x="437" y="594"/>
                  <a:pt x="436" y="594"/>
                  <a:pt x="436" y="594"/>
                </a:cubicBezTo>
                <a:cubicBezTo>
                  <a:pt x="435" y="594"/>
                  <a:pt x="436" y="594"/>
                  <a:pt x="435" y="594"/>
                </a:cubicBezTo>
                <a:cubicBezTo>
                  <a:pt x="435" y="594"/>
                  <a:pt x="435" y="595"/>
                  <a:pt x="435" y="595"/>
                </a:cubicBezTo>
                <a:cubicBezTo>
                  <a:pt x="435" y="595"/>
                  <a:pt x="435" y="595"/>
                  <a:pt x="436" y="595"/>
                </a:cubicBezTo>
                <a:cubicBezTo>
                  <a:pt x="434" y="596"/>
                  <a:pt x="431" y="599"/>
                  <a:pt x="430" y="601"/>
                </a:cubicBezTo>
                <a:cubicBezTo>
                  <a:pt x="430" y="601"/>
                  <a:pt x="430" y="602"/>
                  <a:pt x="429" y="603"/>
                </a:cubicBezTo>
                <a:cubicBezTo>
                  <a:pt x="429" y="604"/>
                  <a:pt x="429" y="603"/>
                  <a:pt x="429" y="604"/>
                </a:cubicBezTo>
                <a:cubicBezTo>
                  <a:pt x="429" y="605"/>
                  <a:pt x="431" y="604"/>
                  <a:pt x="430" y="606"/>
                </a:cubicBezTo>
                <a:cubicBezTo>
                  <a:pt x="430" y="607"/>
                  <a:pt x="430" y="607"/>
                  <a:pt x="431" y="608"/>
                </a:cubicBezTo>
                <a:cubicBezTo>
                  <a:pt x="431" y="608"/>
                  <a:pt x="432" y="609"/>
                  <a:pt x="431" y="610"/>
                </a:cubicBezTo>
                <a:cubicBezTo>
                  <a:pt x="431" y="610"/>
                  <a:pt x="431" y="610"/>
                  <a:pt x="431" y="611"/>
                </a:cubicBezTo>
                <a:cubicBezTo>
                  <a:pt x="431" y="612"/>
                  <a:pt x="431" y="612"/>
                  <a:pt x="432" y="612"/>
                </a:cubicBezTo>
                <a:cubicBezTo>
                  <a:pt x="433" y="613"/>
                  <a:pt x="434" y="613"/>
                  <a:pt x="434" y="614"/>
                </a:cubicBezTo>
                <a:cubicBezTo>
                  <a:pt x="434" y="614"/>
                  <a:pt x="435" y="614"/>
                  <a:pt x="435" y="614"/>
                </a:cubicBezTo>
                <a:cubicBezTo>
                  <a:pt x="435" y="615"/>
                  <a:pt x="436" y="615"/>
                  <a:pt x="436" y="616"/>
                </a:cubicBezTo>
                <a:cubicBezTo>
                  <a:pt x="436" y="616"/>
                  <a:pt x="437" y="616"/>
                  <a:pt x="437" y="617"/>
                </a:cubicBezTo>
                <a:cubicBezTo>
                  <a:pt x="437" y="618"/>
                  <a:pt x="438" y="618"/>
                  <a:pt x="439" y="619"/>
                </a:cubicBezTo>
                <a:cubicBezTo>
                  <a:pt x="440" y="619"/>
                  <a:pt x="440" y="620"/>
                  <a:pt x="441" y="621"/>
                </a:cubicBezTo>
                <a:cubicBezTo>
                  <a:pt x="441" y="621"/>
                  <a:pt x="443" y="623"/>
                  <a:pt x="443" y="623"/>
                </a:cubicBezTo>
                <a:cubicBezTo>
                  <a:pt x="443" y="624"/>
                  <a:pt x="443" y="624"/>
                  <a:pt x="444" y="624"/>
                </a:cubicBezTo>
                <a:cubicBezTo>
                  <a:pt x="444" y="624"/>
                  <a:pt x="444" y="624"/>
                  <a:pt x="444" y="625"/>
                </a:cubicBezTo>
                <a:cubicBezTo>
                  <a:pt x="444" y="625"/>
                  <a:pt x="444" y="625"/>
                  <a:pt x="445" y="625"/>
                </a:cubicBezTo>
                <a:cubicBezTo>
                  <a:pt x="445" y="626"/>
                  <a:pt x="444" y="626"/>
                  <a:pt x="445" y="626"/>
                </a:cubicBezTo>
                <a:cubicBezTo>
                  <a:pt x="446" y="627"/>
                  <a:pt x="445" y="628"/>
                  <a:pt x="446" y="629"/>
                </a:cubicBezTo>
                <a:cubicBezTo>
                  <a:pt x="448" y="630"/>
                  <a:pt x="447" y="631"/>
                  <a:pt x="447" y="632"/>
                </a:cubicBezTo>
                <a:cubicBezTo>
                  <a:pt x="447" y="632"/>
                  <a:pt x="447" y="632"/>
                  <a:pt x="447" y="632"/>
                </a:cubicBezTo>
                <a:cubicBezTo>
                  <a:pt x="447" y="632"/>
                  <a:pt x="448" y="633"/>
                  <a:pt x="448" y="633"/>
                </a:cubicBezTo>
                <a:cubicBezTo>
                  <a:pt x="448" y="633"/>
                  <a:pt x="448" y="633"/>
                  <a:pt x="448" y="634"/>
                </a:cubicBezTo>
                <a:cubicBezTo>
                  <a:pt x="448" y="634"/>
                  <a:pt x="448" y="635"/>
                  <a:pt x="448" y="635"/>
                </a:cubicBezTo>
                <a:cubicBezTo>
                  <a:pt x="448" y="636"/>
                  <a:pt x="448" y="635"/>
                  <a:pt x="448" y="636"/>
                </a:cubicBezTo>
                <a:cubicBezTo>
                  <a:pt x="448" y="637"/>
                  <a:pt x="449" y="636"/>
                  <a:pt x="449" y="637"/>
                </a:cubicBezTo>
                <a:cubicBezTo>
                  <a:pt x="449" y="637"/>
                  <a:pt x="449" y="637"/>
                  <a:pt x="449" y="637"/>
                </a:cubicBezTo>
                <a:cubicBezTo>
                  <a:pt x="449" y="637"/>
                  <a:pt x="449" y="637"/>
                  <a:pt x="449" y="637"/>
                </a:cubicBezTo>
                <a:cubicBezTo>
                  <a:pt x="449" y="638"/>
                  <a:pt x="449" y="638"/>
                  <a:pt x="449" y="639"/>
                </a:cubicBezTo>
                <a:cubicBezTo>
                  <a:pt x="449" y="639"/>
                  <a:pt x="449" y="639"/>
                  <a:pt x="449" y="639"/>
                </a:cubicBezTo>
                <a:cubicBezTo>
                  <a:pt x="449" y="639"/>
                  <a:pt x="450" y="640"/>
                  <a:pt x="450" y="641"/>
                </a:cubicBezTo>
                <a:cubicBezTo>
                  <a:pt x="450" y="641"/>
                  <a:pt x="451" y="642"/>
                  <a:pt x="451" y="642"/>
                </a:cubicBezTo>
                <a:cubicBezTo>
                  <a:pt x="452" y="643"/>
                  <a:pt x="451" y="644"/>
                  <a:pt x="451" y="645"/>
                </a:cubicBezTo>
                <a:cubicBezTo>
                  <a:pt x="451" y="645"/>
                  <a:pt x="453" y="645"/>
                  <a:pt x="453" y="646"/>
                </a:cubicBezTo>
                <a:cubicBezTo>
                  <a:pt x="453" y="646"/>
                  <a:pt x="454" y="649"/>
                  <a:pt x="454" y="649"/>
                </a:cubicBezTo>
                <a:cubicBezTo>
                  <a:pt x="455" y="649"/>
                  <a:pt x="455" y="654"/>
                  <a:pt x="455" y="655"/>
                </a:cubicBezTo>
                <a:cubicBezTo>
                  <a:pt x="455" y="655"/>
                  <a:pt x="455" y="655"/>
                  <a:pt x="455" y="655"/>
                </a:cubicBezTo>
                <a:cubicBezTo>
                  <a:pt x="455" y="655"/>
                  <a:pt x="455" y="656"/>
                  <a:pt x="455" y="656"/>
                </a:cubicBezTo>
                <a:cubicBezTo>
                  <a:pt x="456" y="656"/>
                  <a:pt x="456" y="657"/>
                  <a:pt x="456" y="657"/>
                </a:cubicBezTo>
                <a:cubicBezTo>
                  <a:pt x="456" y="657"/>
                  <a:pt x="457" y="659"/>
                  <a:pt x="457" y="659"/>
                </a:cubicBezTo>
                <a:cubicBezTo>
                  <a:pt x="458" y="659"/>
                  <a:pt x="458" y="660"/>
                  <a:pt x="458" y="660"/>
                </a:cubicBezTo>
                <a:cubicBezTo>
                  <a:pt x="458" y="660"/>
                  <a:pt x="458" y="660"/>
                  <a:pt x="458" y="660"/>
                </a:cubicBezTo>
                <a:cubicBezTo>
                  <a:pt x="458" y="661"/>
                  <a:pt x="459" y="662"/>
                  <a:pt x="459" y="662"/>
                </a:cubicBezTo>
                <a:cubicBezTo>
                  <a:pt x="459" y="662"/>
                  <a:pt x="459" y="662"/>
                  <a:pt x="460" y="662"/>
                </a:cubicBezTo>
                <a:cubicBezTo>
                  <a:pt x="460" y="663"/>
                  <a:pt x="460" y="663"/>
                  <a:pt x="461" y="663"/>
                </a:cubicBezTo>
                <a:cubicBezTo>
                  <a:pt x="461" y="663"/>
                  <a:pt x="462" y="664"/>
                  <a:pt x="462" y="665"/>
                </a:cubicBezTo>
                <a:cubicBezTo>
                  <a:pt x="462" y="665"/>
                  <a:pt x="462" y="665"/>
                  <a:pt x="463" y="665"/>
                </a:cubicBezTo>
                <a:cubicBezTo>
                  <a:pt x="463" y="665"/>
                  <a:pt x="462" y="665"/>
                  <a:pt x="463" y="665"/>
                </a:cubicBezTo>
                <a:cubicBezTo>
                  <a:pt x="463" y="665"/>
                  <a:pt x="464" y="666"/>
                  <a:pt x="465" y="666"/>
                </a:cubicBezTo>
                <a:cubicBezTo>
                  <a:pt x="466" y="667"/>
                  <a:pt x="465" y="667"/>
                  <a:pt x="466" y="668"/>
                </a:cubicBezTo>
                <a:cubicBezTo>
                  <a:pt x="466" y="668"/>
                  <a:pt x="467" y="668"/>
                  <a:pt x="467" y="668"/>
                </a:cubicBezTo>
                <a:cubicBezTo>
                  <a:pt x="467" y="669"/>
                  <a:pt x="468" y="669"/>
                  <a:pt x="468" y="669"/>
                </a:cubicBezTo>
                <a:cubicBezTo>
                  <a:pt x="468" y="669"/>
                  <a:pt x="469" y="669"/>
                  <a:pt x="469" y="669"/>
                </a:cubicBezTo>
                <a:cubicBezTo>
                  <a:pt x="469" y="669"/>
                  <a:pt x="470" y="669"/>
                  <a:pt x="470" y="669"/>
                </a:cubicBezTo>
                <a:cubicBezTo>
                  <a:pt x="471" y="670"/>
                  <a:pt x="470" y="670"/>
                  <a:pt x="471" y="670"/>
                </a:cubicBezTo>
                <a:cubicBezTo>
                  <a:pt x="472" y="670"/>
                  <a:pt x="472" y="670"/>
                  <a:pt x="472" y="670"/>
                </a:cubicBezTo>
                <a:cubicBezTo>
                  <a:pt x="472" y="671"/>
                  <a:pt x="473" y="671"/>
                  <a:pt x="473" y="671"/>
                </a:cubicBezTo>
                <a:cubicBezTo>
                  <a:pt x="474" y="672"/>
                  <a:pt x="474" y="672"/>
                  <a:pt x="475" y="672"/>
                </a:cubicBezTo>
                <a:cubicBezTo>
                  <a:pt x="476" y="672"/>
                  <a:pt x="476" y="673"/>
                  <a:pt x="477" y="673"/>
                </a:cubicBezTo>
                <a:cubicBezTo>
                  <a:pt x="477" y="673"/>
                  <a:pt x="478" y="673"/>
                  <a:pt x="478" y="673"/>
                </a:cubicBezTo>
                <a:cubicBezTo>
                  <a:pt x="478" y="674"/>
                  <a:pt x="479" y="674"/>
                  <a:pt x="479" y="674"/>
                </a:cubicBezTo>
                <a:cubicBezTo>
                  <a:pt x="479" y="675"/>
                  <a:pt x="480" y="675"/>
                  <a:pt x="480" y="675"/>
                </a:cubicBezTo>
                <a:cubicBezTo>
                  <a:pt x="480" y="676"/>
                  <a:pt x="480" y="676"/>
                  <a:pt x="481" y="677"/>
                </a:cubicBezTo>
                <a:cubicBezTo>
                  <a:pt x="481" y="677"/>
                  <a:pt x="481" y="677"/>
                  <a:pt x="482" y="678"/>
                </a:cubicBezTo>
                <a:cubicBezTo>
                  <a:pt x="482" y="678"/>
                  <a:pt x="482" y="679"/>
                  <a:pt x="482" y="679"/>
                </a:cubicBezTo>
                <a:cubicBezTo>
                  <a:pt x="483" y="679"/>
                  <a:pt x="483" y="681"/>
                  <a:pt x="483" y="682"/>
                </a:cubicBezTo>
                <a:cubicBezTo>
                  <a:pt x="483" y="683"/>
                  <a:pt x="484" y="684"/>
                  <a:pt x="484" y="685"/>
                </a:cubicBezTo>
                <a:cubicBezTo>
                  <a:pt x="484" y="688"/>
                  <a:pt x="484" y="690"/>
                  <a:pt x="484" y="692"/>
                </a:cubicBezTo>
                <a:cubicBezTo>
                  <a:pt x="483" y="693"/>
                  <a:pt x="483" y="694"/>
                  <a:pt x="483" y="694"/>
                </a:cubicBezTo>
                <a:cubicBezTo>
                  <a:pt x="483" y="695"/>
                  <a:pt x="484" y="696"/>
                  <a:pt x="484" y="697"/>
                </a:cubicBezTo>
                <a:cubicBezTo>
                  <a:pt x="482" y="697"/>
                  <a:pt x="482" y="702"/>
                  <a:pt x="482" y="704"/>
                </a:cubicBezTo>
                <a:cubicBezTo>
                  <a:pt x="482" y="704"/>
                  <a:pt x="482" y="705"/>
                  <a:pt x="482" y="706"/>
                </a:cubicBezTo>
                <a:cubicBezTo>
                  <a:pt x="482" y="707"/>
                  <a:pt x="481" y="706"/>
                  <a:pt x="481" y="708"/>
                </a:cubicBezTo>
                <a:cubicBezTo>
                  <a:pt x="481" y="708"/>
                  <a:pt x="481" y="709"/>
                  <a:pt x="481" y="709"/>
                </a:cubicBezTo>
                <a:cubicBezTo>
                  <a:pt x="482" y="710"/>
                  <a:pt x="482" y="709"/>
                  <a:pt x="482" y="711"/>
                </a:cubicBezTo>
                <a:cubicBezTo>
                  <a:pt x="481" y="713"/>
                  <a:pt x="481" y="715"/>
                  <a:pt x="481" y="717"/>
                </a:cubicBezTo>
                <a:cubicBezTo>
                  <a:pt x="481" y="718"/>
                  <a:pt x="481" y="719"/>
                  <a:pt x="481" y="719"/>
                </a:cubicBezTo>
                <a:cubicBezTo>
                  <a:pt x="481" y="720"/>
                  <a:pt x="481" y="720"/>
                  <a:pt x="481" y="720"/>
                </a:cubicBezTo>
                <a:cubicBezTo>
                  <a:pt x="481" y="720"/>
                  <a:pt x="481" y="721"/>
                  <a:pt x="481" y="722"/>
                </a:cubicBezTo>
                <a:cubicBezTo>
                  <a:pt x="480" y="721"/>
                  <a:pt x="481" y="724"/>
                  <a:pt x="480" y="724"/>
                </a:cubicBezTo>
                <a:cubicBezTo>
                  <a:pt x="480" y="724"/>
                  <a:pt x="481" y="726"/>
                  <a:pt x="481" y="726"/>
                </a:cubicBezTo>
                <a:cubicBezTo>
                  <a:pt x="480" y="726"/>
                  <a:pt x="480" y="728"/>
                  <a:pt x="480" y="728"/>
                </a:cubicBezTo>
                <a:cubicBezTo>
                  <a:pt x="480" y="728"/>
                  <a:pt x="480" y="730"/>
                  <a:pt x="480" y="730"/>
                </a:cubicBezTo>
                <a:cubicBezTo>
                  <a:pt x="480" y="731"/>
                  <a:pt x="480" y="731"/>
                  <a:pt x="479" y="732"/>
                </a:cubicBezTo>
                <a:cubicBezTo>
                  <a:pt x="478" y="732"/>
                  <a:pt x="479" y="734"/>
                  <a:pt x="479" y="735"/>
                </a:cubicBezTo>
                <a:cubicBezTo>
                  <a:pt x="478" y="736"/>
                  <a:pt x="478" y="737"/>
                  <a:pt x="478" y="738"/>
                </a:cubicBezTo>
                <a:cubicBezTo>
                  <a:pt x="478" y="738"/>
                  <a:pt x="478" y="739"/>
                  <a:pt x="478" y="739"/>
                </a:cubicBezTo>
                <a:cubicBezTo>
                  <a:pt x="478" y="739"/>
                  <a:pt x="478" y="739"/>
                  <a:pt x="478" y="739"/>
                </a:cubicBezTo>
                <a:cubicBezTo>
                  <a:pt x="478" y="739"/>
                  <a:pt x="478" y="740"/>
                  <a:pt x="478" y="740"/>
                </a:cubicBezTo>
                <a:cubicBezTo>
                  <a:pt x="478" y="741"/>
                  <a:pt x="478" y="740"/>
                  <a:pt x="477" y="741"/>
                </a:cubicBezTo>
                <a:cubicBezTo>
                  <a:pt x="477" y="741"/>
                  <a:pt x="477" y="741"/>
                  <a:pt x="477" y="741"/>
                </a:cubicBezTo>
                <a:cubicBezTo>
                  <a:pt x="477" y="742"/>
                  <a:pt x="477" y="741"/>
                  <a:pt x="477" y="742"/>
                </a:cubicBezTo>
                <a:cubicBezTo>
                  <a:pt x="476" y="744"/>
                  <a:pt x="478" y="745"/>
                  <a:pt x="478" y="746"/>
                </a:cubicBezTo>
                <a:cubicBezTo>
                  <a:pt x="479" y="746"/>
                  <a:pt x="479" y="747"/>
                  <a:pt x="478" y="747"/>
                </a:cubicBezTo>
                <a:cubicBezTo>
                  <a:pt x="478" y="747"/>
                  <a:pt x="478" y="747"/>
                  <a:pt x="478" y="747"/>
                </a:cubicBezTo>
                <a:cubicBezTo>
                  <a:pt x="478" y="748"/>
                  <a:pt x="478" y="749"/>
                  <a:pt x="478" y="749"/>
                </a:cubicBezTo>
                <a:cubicBezTo>
                  <a:pt x="478" y="750"/>
                  <a:pt x="478" y="750"/>
                  <a:pt x="478" y="751"/>
                </a:cubicBezTo>
                <a:cubicBezTo>
                  <a:pt x="477" y="751"/>
                  <a:pt x="477" y="753"/>
                  <a:pt x="477" y="753"/>
                </a:cubicBezTo>
                <a:cubicBezTo>
                  <a:pt x="477" y="754"/>
                  <a:pt x="477" y="757"/>
                  <a:pt x="478" y="757"/>
                </a:cubicBezTo>
                <a:cubicBezTo>
                  <a:pt x="478" y="758"/>
                  <a:pt x="478" y="758"/>
                  <a:pt x="478" y="758"/>
                </a:cubicBezTo>
                <a:cubicBezTo>
                  <a:pt x="478" y="759"/>
                  <a:pt x="478" y="759"/>
                  <a:pt x="478" y="760"/>
                </a:cubicBezTo>
                <a:cubicBezTo>
                  <a:pt x="478" y="761"/>
                  <a:pt x="478" y="762"/>
                  <a:pt x="478" y="764"/>
                </a:cubicBezTo>
                <a:cubicBezTo>
                  <a:pt x="478" y="764"/>
                  <a:pt x="478" y="764"/>
                  <a:pt x="478" y="765"/>
                </a:cubicBezTo>
                <a:cubicBezTo>
                  <a:pt x="478" y="765"/>
                  <a:pt x="477" y="765"/>
                  <a:pt x="477" y="766"/>
                </a:cubicBezTo>
                <a:cubicBezTo>
                  <a:pt x="476" y="767"/>
                  <a:pt x="476" y="766"/>
                  <a:pt x="476" y="767"/>
                </a:cubicBezTo>
                <a:cubicBezTo>
                  <a:pt x="476" y="768"/>
                  <a:pt x="476" y="768"/>
                  <a:pt x="476" y="768"/>
                </a:cubicBezTo>
                <a:cubicBezTo>
                  <a:pt x="477" y="769"/>
                  <a:pt x="476" y="770"/>
                  <a:pt x="476" y="770"/>
                </a:cubicBezTo>
                <a:cubicBezTo>
                  <a:pt x="476" y="771"/>
                  <a:pt x="475" y="771"/>
                  <a:pt x="474" y="772"/>
                </a:cubicBezTo>
                <a:cubicBezTo>
                  <a:pt x="474" y="772"/>
                  <a:pt x="474" y="772"/>
                  <a:pt x="474" y="773"/>
                </a:cubicBezTo>
                <a:cubicBezTo>
                  <a:pt x="474" y="773"/>
                  <a:pt x="474" y="774"/>
                  <a:pt x="474" y="774"/>
                </a:cubicBezTo>
                <a:cubicBezTo>
                  <a:pt x="474" y="775"/>
                  <a:pt x="474" y="774"/>
                  <a:pt x="474" y="775"/>
                </a:cubicBezTo>
                <a:cubicBezTo>
                  <a:pt x="474" y="775"/>
                  <a:pt x="474" y="775"/>
                  <a:pt x="474" y="775"/>
                </a:cubicBezTo>
                <a:cubicBezTo>
                  <a:pt x="474" y="776"/>
                  <a:pt x="474" y="775"/>
                  <a:pt x="474" y="775"/>
                </a:cubicBezTo>
                <a:cubicBezTo>
                  <a:pt x="473" y="776"/>
                  <a:pt x="473" y="777"/>
                  <a:pt x="473" y="778"/>
                </a:cubicBezTo>
                <a:cubicBezTo>
                  <a:pt x="472" y="779"/>
                  <a:pt x="472" y="778"/>
                  <a:pt x="472" y="779"/>
                </a:cubicBezTo>
                <a:cubicBezTo>
                  <a:pt x="472" y="779"/>
                  <a:pt x="472" y="779"/>
                  <a:pt x="472" y="780"/>
                </a:cubicBezTo>
                <a:cubicBezTo>
                  <a:pt x="472" y="780"/>
                  <a:pt x="472" y="781"/>
                  <a:pt x="472" y="781"/>
                </a:cubicBezTo>
                <a:cubicBezTo>
                  <a:pt x="473" y="781"/>
                  <a:pt x="472" y="783"/>
                  <a:pt x="472" y="784"/>
                </a:cubicBezTo>
                <a:cubicBezTo>
                  <a:pt x="472" y="784"/>
                  <a:pt x="472" y="785"/>
                  <a:pt x="472" y="785"/>
                </a:cubicBezTo>
                <a:cubicBezTo>
                  <a:pt x="472" y="785"/>
                  <a:pt x="471" y="785"/>
                  <a:pt x="472" y="786"/>
                </a:cubicBezTo>
                <a:cubicBezTo>
                  <a:pt x="472" y="786"/>
                  <a:pt x="471" y="786"/>
                  <a:pt x="471" y="787"/>
                </a:cubicBezTo>
                <a:cubicBezTo>
                  <a:pt x="470" y="788"/>
                  <a:pt x="471" y="789"/>
                  <a:pt x="470" y="789"/>
                </a:cubicBezTo>
                <a:cubicBezTo>
                  <a:pt x="469" y="789"/>
                  <a:pt x="469" y="790"/>
                  <a:pt x="469" y="790"/>
                </a:cubicBezTo>
                <a:cubicBezTo>
                  <a:pt x="469" y="791"/>
                  <a:pt x="469" y="792"/>
                  <a:pt x="470" y="793"/>
                </a:cubicBezTo>
                <a:cubicBezTo>
                  <a:pt x="469" y="793"/>
                  <a:pt x="468" y="793"/>
                  <a:pt x="467" y="793"/>
                </a:cubicBezTo>
                <a:cubicBezTo>
                  <a:pt x="466" y="794"/>
                  <a:pt x="468" y="794"/>
                  <a:pt x="468" y="795"/>
                </a:cubicBezTo>
                <a:cubicBezTo>
                  <a:pt x="468" y="795"/>
                  <a:pt x="467" y="796"/>
                  <a:pt x="467" y="796"/>
                </a:cubicBezTo>
                <a:cubicBezTo>
                  <a:pt x="467" y="797"/>
                  <a:pt x="469" y="797"/>
                  <a:pt x="469" y="798"/>
                </a:cubicBezTo>
                <a:cubicBezTo>
                  <a:pt x="469" y="799"/>
                  <a:pt x="468" y="799"/>
                  <a:pt x="468" y="800"/>
                </a:cubicBezTo>
                <a:cubicBezTo>
                  <a:pt x="468" y="800"/>
                  <a:pt x="468" y="801"/>
                  <a:pt x="469" y="801"/>
                </a:cubicBezTo>
                <a:cubicBezTo>
                  <a:pt x="468" y="801"/>
                  <a:pt x="468" y="801"/>
                  <a:pt x="468" y="801"/>
                </a:cubicBezTo>
                <a:cubicBezTo>
                  <a:pt x="468" y="802"/>
                  <a:pt x="469" y="801"/>
                  <a:pt x="469" y="802"/>
                </a:cubicBezTo>
                <a:cubicBezTo>
                  <a:pt x="469" y="802"/>
                  <a:pt x="469" y="803"/>
                  <a:pt x="469" y="803"/>
                </a:cubicBezTo>
                <a:cubicBezTo>
                  <a:pt x="469" y="804"/>
                  <a:pt x="469" y="803"/>
                  <a:pt x="469" y="804"/>
                </a:cubicBezTo>
                <a:cubicBezTo>
                  <a:pt x="469" y="804"/>
                  <a:pt x="469" y="804"/>
                  <a:pt x="469" y="804"/>
                </a:cubicBezTo>
                <a:cubicBezTo>
                  <a:pt x="469" y="805"/>
                  <a:pt x="469" y="809"/>
                  <a:pt x="469" y="809"/>
                </a:cubicBezTo>
                <a:cubicBezTo>
                  <a:pt x="468" y="809"/>
                  <a:pt x="467" y="808"/>
                  <a:pt x="467" y="809"/>
                </a:cubicBezTo>
                <a:cubicBezTo>
                  <a:pt x="467" y="812"/>
                  <a:pt x="467" y="813"/>
                  <a:pt x="466" y="816"/>
                </a:cubicBezTo>
                <a:cubicBezTo>
                  <a:pt x="467" y="816"/>
                  <a:pt x="466" y="819"/>
                  <a:pt x="467" y="819"/>
                </a:cubicBezTo>
                <a:cubicBezTo>
                  <a:pt x="467" y="819"/>
                  <a:pt x="467" y="820"/>
                  <a:pt x="467" y="820"/>
                </a:cubicBezTo>
                <a:cubicBezTo>
                  <a:pt x="469" y="820"/>
                  <a:pt x="468" y="820"/>
                  <a:pt x="469" y="819"/>
                </a:cubicBezTo>
                <a:cubicBezTo>
                  <a:pt x="469" y="819"/>
                  <a:pt x="470" y="818"/>
                  <a:pt x="470" y="818"/>
                </a:cubicBezTo>
                <a:cubicBezTo>
                  <a:pt x="470" y="818"/>
                  <a:pt x="471" y="819"/>
                  <a:pt x="471" y="819"/>
                </a:cubicBezTo>
                <a:cubicBezTo>
                  <a:pt x="472" y="820"/>
                  <a:pt x="472" y="819"/>
                  <a:pt x="472" y="820"/>
                </a:cubicBezTo>
                <a:cubicBezTo>
                  <a:pt x="472" y="820"/>
                  <a:pt x="472" y="821"/>
                  <a:pt x="471" y="821"/>
                </a:cubicBezTo>
                <a:cubicBezTo>
                  <a:pt x="471" y="821"/>
                  <a:pt x="471" y="821"/>
                  <a:pt x="470" y="821"/>
                </a:cubicBezTo>
                <a:cubicBezTo>
                  <a:pt x="471" y="823"/>
                  <a:pt x="471" y="823"/>
                  <a:pt x="471" y="825"/>
                </a:cubicBezTo>
                <a:cubicBezTo>
                  <a:pt x="470" y="826"/>
                  <a:pt x="470" y="827"/>
                  <a:pt x="471" y="828"/>
                </a:cubicBezTo>
                <a:cubicBezTo>
                  <a:pt x="470" y="828"/>
                  <a:pt x="471" y="828"/>
                  <a:pt x="470" y="828"/>
                </a:cubicBezTo>
                <a:cubicBezTo>
                  <a:pt x="470" y="828"/>
                  <a:pt x="469" y="830"/>
                  <a:pt x="469" y="830"/>
                </a:cubicBezTo>
                <a:cubicBezTo>
                  <a:pt x="470" y="830"/>
                  <a:pt x="470" y="831"/>
                  <a:pt x="470" y="832"/>
                </a:cubicBezTo>
                <a:cubicBezTo>
                  <a:pt x="470" y="832"/>
                  <a:pt x="470" y="833"/>
                  <a:pt x="471" y="833"/>
                </a:cubicBezTo>
                <a:cubicBezTo>
                  <a:pt x="470" y="834"/>
                  <a:pt x="469" y="834"/>
                  <a:pt x="468" y="835"/>
                </a:cubicBezTo>
                <a:cubicBezTo>
                  <a:pt x="468" y="836"/>
                  <a:pt x="468" y="836"/>
                  <a:pt x="469" y="836"/>
                </a:cubicBezTo>
                <a:cubicBezTo>
                  <a:pt x="469" y="837"/>
                  <a:pt x="469" y="837"/>
                  <a:pt x="469" y="837"/>
                </a:cubicBezTo>
                <a:cubicBezTo>
                  <a:pt x="468" y="837"/>
                  <a:pt x="468" y="837"/>
                  <a:pt x="467" y="837"/>
                </a:cubicBezTo>
                <a:cubicBezTo>
                  <a:pt x="467" y="837"/>
                  <a:pt x="468" y="838"/>
                  <a:pt x="468" y="838"/>
                </a:cubicBezTo>
                <a:cubicBezTo>
                  <a:pt x="468" y="838"/>
                  <a:pt x="467" y="839"/>
                  <a:pt x="467" y="839"/>
                </a:cubicBezTo>
                <a:cubicBezTo>
                  <a:pt x="467" y="840"/>
                  <a:pt x="467" y="840"/>
                  <a:pt x="467" y="841"/>
                </a:cubicBezTo>
                <a:cubicBezTo>
                  <a:pt x="467" y="842"/>
                  <a:pt x="467" y="842"/>
                  <a:pt x="467" y="842"/>
                </a:cubicBezTo>
                <a:cubicBezTo>
                  <a:pt x="467" y="843"/>
                  <a:pt x="467" y="843"/>
                  <a:pt x="467" y="844"/>
                </a:cubicBezTo>
                <a:cubicBezTo>
                  <a:pt x="467" y="844"/>
                  <a:pt x="467" y="844"/>
                  <a:pt x="468" y="844"/>
                </a:cubicBezTo>
                <a:cubicBezTo>
                  <a:pt x="468" y="845"/>
                  <a:pt x="468" y="846"/>
                  <a:pt x="467" y="846"/>
                </a:cubicBezTo>
                <a:cubicBezTo>
                  <a:pt x="467" y="846"/>
                  <a:pt x="467" y="846"/>
                  <a:pt x="467" y="846"/>
                </a:cubicBezTo>
                <a:cubicBezTo>
                  <a:pt x="467" y="846"/>
                  <a:pt x="467" y="847"/>
                  <a:pt x="467" y="848"/>
                </a:cubicBezTo>
                <a:cubicBezTo>
                  <a:pt x="467" y="848"/>
                  <a:pt x="467" y="849"/>
                  <a:pt x="467" y="850"/>
                </a:cubicBezTo>
                <a:cubicBezTo>
                  <a:pt x="467" y="850"/>
                  <a:pt x="467" y="850"/>
                  <a:pt x="466" y="850"/>
                </a:cubicBezTo>
                <a:cubicBezTo>
                  <a:pt x="466" y="851"/>
                  <a:pt x="466" y="851"/>
                  <a:pt x="466" y="850"/>
                </a:cubicBezTo>
                <a:cubicBezTo>
                  <a:pt x="466" y="849"/>
                  <a:pt x="466" y="849"/>
                  <a:pt x="465" y="849"/>
                </a:cubicBezTo>
                <a:cubicBezTo>
                  <a:pt x="464" y="849"/>
                  <a:pt x="464" y="849"/>
                  <a:pt x="464" y="850"/>
                </a:cubicBezTo>
                <a:cubicBezTo>
                  <a:pt x="464" y="851"/>
                  <a:pt x="463" y="850"/>
                  <a:pt x="463" y="850"/>
                </a:cubicBezTo>
                <a:cubicBezTo>
                  <a:pt x="463" y="850"/>
                  <a:pt x="463" y="850"/>
                  <a:pt x="463" y="849"/>
                </a:cubicBezTo>
                <a:cubicBezTo>
                  <a:pt x="463" y="849"/>
                  <a:pt x="463" y="850"/>
                  <a:pt x="462" y="850"/>
                </a:cubicBezTo>
                <a:cubicBezTo>
                  <a:pt x="462" y="849"/>
                  <a:pt x="462" y="849"/>
                  <a:pt x="462" y="848"/>
                </a:cubicBezTo>
                <a:cubicBezTo>
                  <a:pt x="462" y="848"/>
                  <a:pt x="461" y="848"/>
                  <a:pt x="461" y="848"/>
                </a:cubicBezTo>
                <a:cubicBezTo>
                  <a:pt x="460" y="848"/>
                  <a:pt x="459" y="849"/>
                  <a:pt x="458" y="849"/>
                </a:cubicBezTo>
                <a:cubicBezTo>
                  <a:pt x="459" y="850"/>
                  <a:pt x="460" y="850"/>
                  <a:pt x="459" y="851"/>
                </a:cubicBezTo>
                <a:cubicBezTo>
                  <a:pt x="458" y="852"/>
                  <a:pt x="458" y="853"/>
                  <a:pt x="458" y="854"/>
                </a:cubicBezTo>
                <a:cubicBezTo>
                  <a:pt x="458" y="854"/>
                  <a:pt x="458" y="854"/>
                  <a:pt x="458" y="854"/>
                </a:cubicBezTo>
                <a:cubicBezTo>
                  <a:pt x="458" y="854"/>
                  <a:pt x="458" y="853"/>
                  <a:pt x="458" y="853"/>
                </a:cubicBezTo>
                <a:cubicBezTo>
                  <a:pt x="459" y="853"/>
                  <a:pt x="459" y="853"/>
                  <a:pt x="460" y="853"/>
                </a:cubicBezTo>
                <a:cubicBezTo>
                  <a:pt x="460" y="853"/>
                  <a:pt x="459" y="852"/>
                  <a:pt x="460" y="852"/>
                </a:cubicBezTo>
                <a:cubicBezTo>
                  <a:pt x="460" y="853"/>
                  <a:pt x="459" y="853"/>
                  <a:pt x="459" y="854"/>
                </a:cubicBezTo>
                <a:cubicBezTo>
                  <a:pt x="460" y="854"/>
                  <a:pt x="460" y="855"/>
                  <a:pt x="460" y="855"/>
                </a:cubicBezTo>
                <a:cubicBezTo>
                  <a:pt x="462" y="855"/>
                  <a:pt x="462" y="855"/>
                  <a:pt x="462" y="854"/>
                </a:cubicBezTo>
                <a:cubicBezTo>
                  <a:pt x="463" y="854"/>
                  <a:pt x="464" y="853"/>
                  <a:pt x="464" y="854"/>
                </a:cubicBezTo>
                <a:cubicBezTo>
                  <a:pt x="464" y="855"/>
                  <a:pt x="465" y="854"/>
                  <a:pt x="465" y="856"/>
                </a:cubicBezTo>
                <a:cubicBezTo>
                  <a:pt x="464" y="857"/>
                  <a:pt x="465" y="856"/>
                  <a:pt x="465" y="857"/>
                </a:cubicBezTo>
                <a:cubicBezTo>
                  <a:pt x="465" y="857"/>
                  <a:pt x="464" y="858"/>
                  <a:pt x="464" y="859"/>
                </a:cubicBezTo>
                <a:cubicBezTo>
                  <a:pt x="465" y="859"/>
                  <a:pt x="465" y="859"/>
                  <a:pt x="465" y="859"/>
                </a:cubicBezTo>
                <a:cubicBezTo>
                  <a:pt x="465" y="860"/>
                  <a:pt x="465" y="860"/>
                  <a:pt x="463" y="859"/>
                </a:cubicBezTo>
                <a:cubicBezTo>
                  <a:pt x="463" y="860"/>
                  <a:pt x="463" y="861"/>
                  <a:pt x="463" y="862"/>
                </a:cubicBezTo>
                <a:cubicBezTo>
                  <a:pt x="463" y="863"/>
                  <a:pt x="463" y="863"/>
                  <a:pt x="463" y="864"/>
                </a:cubicBezTo>
                <a:cubicBezTo>
                  <a:pt x="463" y="865"/>
                  <a:pt x="464" y="865"/>
                  <a:pt x="464" y="866"/>
                </a:cubicBezTo>
                <a:cubicBezTo>
                  <a:pt x="463" y="866"/>
                  <a:pt x="463" y="866"/>
                  <a:pt x="463" y="867"/>
                </a:cubicBezTo>
                <a:cubicBezTo>
                  <a:pt x="463" y="868"/>
                  <a:pt x="463" y="869"/>
                  <a:pt x="463" y="870"/>
                </a:cubicBezTo>
                <a:cubicBezTo>
                  <a:pt x="464" y="870"/>
                  <a:pt x="464" y="871"/>
                  <a:pt x="464" y="870"/>
                </a:cubicBezTo>
                <a:cubicBezTo>
                  <a:pt x="464" y="869"/>
                  <a:pt x="465" y="869"/>
                  <a:pt x="466" y="869"/>
                </a:cubicBezTo>
                <a:cubicBezTo>
                  <a:pt x="465" y="870"/>
                  <a:pt x="465" y="870"/>
                  <a:pt x="465" y="872"/>
                </a:cubicBezTo>
                <a:cubicBezTo>
                  <a:pt x="464" y="872"/>
                  <a:pt x="463" y="872"/>
                  <a:pt x="463" y="872"/>
                </a:cubicBezTo>
                <a:cubicBezTo>
                  <a:pt x="463" y="873"/>
                  <a:pt x="463" y="873"/>
                  <a:pt x="463" y="874"/>
                </a:cubicBezTo>
                <a:cubicBezTo>
                  <a:pt x="463" y="874"/>
                  <a:pt x="463" y="874"/>
                  <a:pt x="462" y="874"/>
                </a:cubicBezTo>
                <a:cubicBezTo>
                  <a:pt x="462" y="875"/>
                  <a:pt x="462" y="875"/>
                  <a:pt x="462" y="876"/>
                </a:cubicBezTo>
                <a:cubicBezTo>
                  <a:pt x="462" y="877"/>
                  <a:pt x="462" y="877"/>
                  <a:pt x="463" y="877"/>
                </a:cubicBezTo>
                <a:cubicBezTo>
                  <a:pt x="464" y="877"/>
                  <a:pt x="464" y="877"/>
                  <a:pt x="465" y="878"/>
                </a:cubicBezTo>
                <a:cubicBezTo>
                  <a:pt x="464" y="878"/>
                  <a:pt x="464" y="878"/>
                  <a:pt x="464" y="879"/>
                </a:cubicBezTo>
                <a:cubicBezTo>
                  <a:pt x="464" y="879"/>
                  <a:pt x="466" y="880"/>
                  <a:pt x="466" y="880"/>
                </a:cubicBezTo>
                <a:cubicBezTo>
                  <a:pt x="467" y="880"/>
                  <a:pt x="465" y="881"/>
                  <a:pt x="464" y="881"/>
                </a:cubicBezTo>
                <a:cubicBezTo>
                  <a:pt x="464" y="881"/>
                  <a:pt x="464" y="883"/>
                  <a:pt x="465" y="883"/>
                </a:cubicBezTo>
                <a:cubicBezTo>
                  <a:pt x="465" y="883"/>
                  <a:pt x="466" y="883"/>
                  <a:pt x="466" y="884"/>
                </a:cubicBezTo>
                <a:cubicBezTo>
                  <a:pt x="466" y="884"/>
                  <a:pt x="466" y="886"/>
                  <a:pt x="466" y="885"/>
                </a:cubicBezTo>
                <a:cubicBezTo>
                  <a:pt x="466" y="886"/>
                  <a:pt x="465" y="885"/>
                  <a:pt x="465" y="885"/>
                </a:cubicBezTo>
                <a:cubicBezTo>
                  <a:pt x="464" y="885"/>
                  <a:pt x="465" y="887"/>
                  <a:pt x="465" y="887"/>
                </a:cubicBezTo>
                <a:cubicBezTo>
                  <a:pt x="464" y="887"/>
                  <a:pt x="463" y="886"/>
                  <a:pt x="463" y="886"/>
                </a:cubicBezTo>
                <a:cubicBezTo>
                  <a:pt x="462" y="886"/>
                  <a:pt x="463" y="886"/>
                  <a:pt x="462" y="886"/>
                </a:cubicBezTo>
                <a:cubicBezTo>
                  <a:pt x="463" y="887"/>
                  <a:pt x="464" y="887"/>
                  <a:pt x="464" y="888"/>
                </a:cubicBezTo>
                <a:cubicBezTo>
                  <a:pt x="465" y="888"/>
                  <a:pt x="464" y="887"/>
                  <a:pt x="465" y="887"/>
                </a:cubicBezTo>
                <a:cubicBezTo>
                  <a:pt x="466" y="888"/>
                  <a:pt x="465" y="887"/>
                  <a:pt x="466" y="887"/>
                </a:cubicBezTo>
                <a:cubicBezTo>
                  <a:pt x="466" y="887"/>
                  <a:pt x="467" y="888"/>
                  <a:pt x="467" y="889"/>
                </a:cubicBezTo>
                <a:cubicBezTo>
                  <a:pt x="467" y="888"/>
                  <a:pt x="468" y="888"/>
                  <a:pt x="468" y="887"/>
                </a:cubicBezTo>
                <a:cubicBezTo>
                  <a:pt x="468" y="888"/>
                  <a:pt x="469" y="888"/>
                  <a:pt x="469" y="887"/>
                </a:cubicBezTo>
                <a:cubicBezTo>
                  <a:pt x="469" y="886"/>
                  <a:pt x="469" y="887"/>
                  <a:pt x="469" y="886"/>
                </a:cubicBezTo>
                <a:cubicBezTo>
                  <a:pt x="469" y="886"/>
                  <a:pt x="470" y="885"/>
                  <a:pt x="470" y="886"/>
                </a:cubicBezTo>
                <a:cubicBezTo>
                  <a:pt x="470" y="886"/>
                  <a:pt x="471" y="886"/>
                  <a:pt x="472" y="886"/>
                </a:cubicBezTo>
                <a:cubicBezTo>
                  <a:pt x="472" y="887"/>
                  <a:pt x="470" y="887"/>
                  <a:pt x="470" y="888"/>
                </a:cubicBezTo>
                <a:cubicBezTo>
                  <a:pt x="470" y="888"/>
                  <a:pt x="470" y="888"/>
                  <a:pt x="469" y="887"/>
                </a:cubicBezTo>
                <a:cubicBezTo>
                  <a:pt x="469" y="888"/>
                  <a:pt x="469" y="890"/>
                  <a:pt x="469" y="890"/>
                </a:cubicBezTo>
                <a:cubicBezTo>
                  <a:pt x="468" y="890"/>
                  <a:pt x="468" y="890"/>
                  <a:pt x="468" y="889"/>
                </a:cubicBezTo>
                <a:cubicBezTo>
                  <a:pt x="467" y="889"/>
                  <a:pt x="466" y="889"/>
                  <a:pt x="466" y="889"/>
                </a:cubicBezTo>
                <a:cubicBezTo>
                  <a:pt x="466" y="890"/>
                  <a:pt x="466" y="891"/>
                  <a:pt x="466" y="891"/>
                </a:cubicBezTo>
                <a:cubicBezTo>
                  <a:pt x="466" y="892"/>
                  <a:pt x="466" y="892"/>
                  <a:pt x="467" y="893"/>
                </a:cubicBezTo>
                <a:cubicBezTo>
                  <a:pt x="465" y="894"/>
                  <a:pt x="467" y="896"/>
                  <a:pt x="468" y="894"/>
                </a:cubicBezTo>
                <a:cubicBezTo>
                  <a:pt x="468" y="895"/>
                  <a:pt x="468" y="895"/>
                  <a:pt x="469" y="895"/>
                </a:cubicBezTo>
                <a:cubicBezTo>
                  <a:pt x="469" y="896"/>
                  <a:pt x="468" y="896"/>
                  <a:pt x="469" y="896"/>
                </a:cubicBezTo>
                <a:cubicBezTo>
                  <a:pt x="470" y="897"/>
                  <a:pt x="470" y="897"/>
                  <a:pt x="471" y="897"/>
                </a:cubicBezTo>
                <a:cubicBezTo>
                  <a:pt x="472" y="897"/>
                  <a:pt x="471" y="898"/>
                  <a:pt x="472" y="898"/>
                </a:cubicBezTo>
                <a:cubicBezTo>
                  <a:pt x="472" y="897"/>
                  <a:pt x="471" y="897"/>
                  <a:pt x="472" y="896"/>
                </a:cubicBezTo>
                <a:cubicBezTo>
                  <a:pt x="472" y="896"/>
                  <a:pt x="473" y="896"/>
                  <a:pt x="473" y="896"/>
                </a:cubicBezTo>
                <a:cubicBezTo>
                  <a:pt x="473" y="896"/>
                  <a:pt x="473" y="897"/>
                  <a:pt x="473" y="897"/>
                </a:cubicBezTo>
                <a:cubicBezTo>
                  <a:pt x="472" y="898"/>
                  <a:pt x="473" y="898"/>
                  <a:pt x="473" y="898"/>
                </a:cubicBezTo>
                <a:cubicBezTo>
                  <a:pt x="474" y="899"/>
                  <a:pt x="476" y="900"/>
                  <a:pt x="477" y="900"/>
                </a:cubicBezTo>
                <a:cubicBezTo>
                  <a:pt x="478" y="899"/>
                  <a:pt x="478" y="898"/>
                  <a:pt x="478" y="897"/>
                </a:cubicBezTo>
                <a:cubicBezTo>
                  <a:pt x="478" y="897"/>
                  <a:pt x="478" y="896"/>
                  <a:pt x="478" y="896"/>
                </a:cubicBezTo>
                <a:cubicBezTo>
                  <a:pt x="478" y="895"/>
                  <a:pt x="478" y="896"/>
                  <a:pt x="478" y="895"/>
                </a:cubicBezTo>
                <a:cubicBezTo>
                  <a:pt x="478" y="895"/>
                  <a:pt x="478" y="895"/>
                  <a:pt x="478" y="894"/>
                </a:cubicBezTo>
                <a:cubicBezTo>
                  <a:pt x="478" y="894"/>
                  <a:pt x="478" y="894"/>
                  <a:pt x="478" y="894"/>
                </a:cubicBezTo>
                <a:cubicBezTo>
                  <a:pt x="478" y="893"/>
                  <a:pt x="478" y="893"/>
                  <a:pt x="479" y="893"/>
                </a:cubicBezTo>
                <a:cubicBezTo>
                  <a:pt x="479" y="893"/>
                  <a:pt x="479" y="892"/>
                  <a:pt x="478" y="893"/>
                </a:cubicBezTo>
                <a:cubicBezTo>
                  <a:pt x="479" y="892"/>
                  <a:pt x="478" y="892"/>
                  <a:pt x="479" y="892"/>
                </a:cubicBezTo>
                <a:cubicBezTo>
                  <a:pt x="481" y="892"/>
                  <a:pt x="482" y="891"/>
                  <a:pt x="483" y="891"/>
                </a:cubicBezTo>
                <a:cubicBezTo>
                  <a:pt x="483" y="892"/>
                  <a:pt x="483" y="892"/>
                  <a:pt x="484" y="892"/>
                </a:cubicBezTo>
                <a:cubicBezTo>
                  <a:pt x="485" y="892"/>
                  <a:pt x="485" y="891"/>
                  <a:pt x="485" y="890"/>
                </a:cubicBezTo>
                <a:cubicBezTo>
                  <a:pt x="486" y="889"/>
                  <a:pt x="486" y="889"/>
                  <a:pt x="487" y="889"/>
                </a:cubicBezTo>
                <a:cubicBezTo>
                  <a:pt x="488" y="889"/>
                  <a:pt x="489" y="889"/>
                  <a:pt x="490" y="889"/>
                </a:cubicBezTo>
                <a:cubicBezTo>
                  <a:pt x="490" y="888"/>
                  <a:pt x="489" y="887"/>
                  <a:pt x="489" y="886"/>
                </a:cubicBezTo>
                <a:cubicBezTo>
                  <a:pt x="488" y="886"/>
                  <a:pt x="487" y="886"/>
                  <a:pt x="487" y="886"/>
                </a:cubicBezTo>
                <a:cubicBezTo>
                  <a:pt x="487" y="886"/>
                  <a:pt x="487" y="886"/>
                  <a:pt x="486" y="885"/>
                </a:cubicBezTo>
                <a:cubicBezTo>
                  <a:pt x="488" y="885"/>
                  <a:pt x="488" y="885"/>
                  <a:pt x="487" y="884"/>
                </a:cubicBezTo>
                <a:cubicBezTo>
                  <a:pt x="487" y="883"/>
                  <a:pt x="487" y="882"/>
                  <a:pt x="487" y="882"/>
                </a:cubicBezTo>
                <a:cubicBezTo>
                  <a:pt x="487" y="882"/>
                  <a:pt x="486" y="882"/>
                  <a:pt x="486" y="882"/>
                </a:cubicBezTo>
                <a:cubicBezTo>
                  <a:pt x="486" y="882"/>
                  <a:pt x="486" y="882"/>
                  <a:pt x="487" y="881"/>
                </a:cubicBezTo>
                <a:cubicBezTo>
                  <a:pt x="487" y="881"/>
                  <a:pt x="487" y="881"/>
                  <a:pt x="487" y="879"/>
                </a:cubicBezTo>
                <a:cubicBezTo>
                  <a:pt x="488" y="879"/>
                  <a:pt x="489" y="877"/>
                  <a:pt x="490" y="877"/>
                </a:cubicBezTo>
                <a:cubicBezTo>
                  <a:pt x="490" y="877"/>
                  <a:pt x="490" y="876"/>
                  <a:pt x="489" y="876"/>
                </a:cubicBezTo>
                <a:cubicBezTo>
                  <a:pt x="488" y="875"/>
                  <a:pt x="488" y="875"/>
                  <a:pt x="489" y="874"/>
                </a:cubicBezTo>
                <a:cubicBezTo>
                  <a:pt x="489" y="873"/>
                  <a:pt x="489" y="873"/>
                  <a:pt x="489" y="873"/>
                </a:cubicBezTo>
                <a:cubicBezTo>
                  <a:pt x="490" y="873"/>
                  <a:pt x="491" y="875"/>
                  <a:pt x="491" y="875"/>
                </a:cubicBezTo>
                <a:cubicBezTo>
                  <a:pt x="491" y="876"/>
                  <a:pt x="492" y="875"/>
                  <a:pt x="493" y="875"/>
                </a:cubicBezTo>
                <a:cubicBezTo>
                  <a:pt x="493" y="874"/>
                  <a:pt x="494" y="874"/>
                  <a:pt x="494" y="874"/>
                </a:cubicBezTo>
                <a:cubicBezTo>
                  <a:pt x="494" y="874"/>
                  <a:pt x="494" y="874"/>
                  <a:pt x="494" y="873"/>
                </a:cubicBezTo>
                <a:cubicBezTo>
                  <a:pt x="495" y="873"/>
                  <a:pt x="495" y="872"/>
                  <a:pt x="495" y="872"/>
                </a:cubicBezTo>
                <a:cubicBezTo>
                  <a:pt x="495" y="871"/>
                  <a:pt x="494" y="871"/>
                  <a:pt x="494" y="871"/>
                </a:cubicBezTo>
                <a:cubicBezTo>
                  <a:pt x="494" y="871"/>
                  <a:pt x="493" y="871"/>
                  <a:pt x="493" y="871"/>
                </a:cubicBezTo>
                <a:cubicBezTo>
                  <a:pt x="493" y="870"/>
                  <a:pt x="494" y="869"/>
                  <a:pt x="495" y="869"/>
                </a:cubicBezTo>
                <a:cubicBezTo>
                  <a:pt x="495" y="868"/>
                  <a:pt x="496" y="868"/>
                  <a:pt x="496" y="867"/>
                </a:cubicBezTo>
                <a:cubicBezTo>
                  <a:pt x="496" y="867"/>
                  <a:pt x="497" y="866"/>
                  <a:pt x="497" y="866"/>
                </a:cubicBezTo>
                <a:cubicBezTo>
                  <a:pt x="497" y="865"/>
                  <a:pt x="497" y="865"/>
                  <a:pt x="498" y="865"/>
                </a:cubicBezTo>
                <a:cubicBezTo>
                  <a:pt x="499" y="864"/>
                  <a:pt x="499" y="864"/>
                  <a:pt x="500" y="864"/>
                </a:cubicBezTo>
                <a:cubicBezTo>
                  <a:pt x="500" y="864"/>
                  <a:pt x="502" y="862"/>
                  <a:pt x="502" y="862"/>
                </a:cubicBezTo>
                <a:cubicBezTo>
                  <a:pt x="503" y="862"/>
                  <a:pt x="503" y="861"/>
                  <a:pt x="504" y="860"/>
                </a:cubicBezTo>
                <a:cubicBezTo>
                  <a:pt x="503" y="860"/>
                  <a:pt x="502" y="860"/>
                  <a:pt x="502" y="859"/>
                </a:cubicBezTo>
                <a:cubicBezTo>
                  <a:pt x="502" y="859"/>
                  <a:pt x="501" y="860"/>
                  <a:pt x="501" y="860"/>
                </a:cubicBezTo>
                <a:cubicBezTo>
                  <a:pt x="501" y="859"/>
                  <a:pt x="502" y="859"/>
                  <a:pt x="502" y="859"/>
                </a:cubicBezTo>
                <a:cubicBezTo>
                  <a:pt x="502" y="858"/>
                  <a:pt x="503" y="857"/>
                  <a:pt x="502" y="857"/>
                </a:cubicBezTo>
                <a:cubicBezTo>
                  <a:pt x="502" y="856"/>
                  <a:pt x="502" y="855"/>
                  <a:pt x="501" y="855"/>
                </a:cubicBezTo>
                <a:cubicBezTo>
                  <a:pt x="501" y="855"/>
                  <a:pt x="500" y="855"/>
                  <a:pt x="500" y="855"/>
                </a:cubicBezTo>
                <a:cubicBezTo>
                  <a:pt x="500" y="855"/>
                  <a:pt x="500" y="855"/>
                  <a:pt x="500" y="855"/>
                </a:cubicBezTo>
                <a:cubicBezTo>
                  <a:pt x="499" y="855"/>
                  <a:pt x="499" y="855"/>
                  <a:pt x="499" y="855"/>
                </a:cubicBezTo>
                <a:cubicBezTo>
                  <a:pt x="498" y="855"/>
                  <a:pt x="498" y="854"/>
                  <a:pt x="498" y="854"/>
                </a:cubicBezTo>
                <a:cubicBezTo>
                  <a:pt x="497" y="854"/>
                  <a:pt x="497" y="853"/>
                  <a:pt x="496" y="853"/>
                </a:cubicBezTo>
                <a:cubicBezTo>
                  <a:pt x="495" y="852"/>
                  <a:pt x="495" y="852"/>
                  <a:pt x="495" y="851"/>
                </a:cubicBezTo>
                <a:cubicBezTo>
                  <a:pt x="495" y="851"/>
                  <a:pt x="494" y="851"/>
                  <a:pt x="494" y="850"/>
                </a:cubicBezTo>
                <a:cubicBezTo>
                  <a:pt x="494" y="849"/>
                  <a:pt x="494" y="849"/>
                  <a:pt x="494" y="848"/>
                </a:cubicBezTo>
                <a:cubicBezTo>
                  <a:pt x="494" y="847"/>
                  <a:pt x="495" y="847"/>
                  <a:pt x="495" y="846"/>
                </a:cubicBezTo>
                <a:cubicBezTo>
                  <a:pt x="497" y="846"/>
                  <a:pt x="496" y="846"/>
                  <a:pt x="496" y="845"/>
                </a:cubicBezTo>
                <a:cubicBezTo>
                  <a:pt x="497" y="845"/>
                  <a:pt x="498" y="843"/>
                  <a:pt x="499" y="843"/>
                </a:cubicBezTo>
                <a:cubicBezTo>
                  <a:pt x="500" y="843"/>
                  <a:pt x="500" y="843"/>
                  <a:pt x="500" y="842"/>
                </a:cubicBezTo>
                <a:cubicBezTo>
                  <a:pt x="500" y="841"/>
                  <a:pt x="500" y="841"/>
                  <a:pt x="501" y="841"/>
                </a:cubicBezTo>
                <a:cubicBezTo>
                  <a:pt x="502" y="841"/>
                  <a:pt x="503" y="841"/>
                  <a:pt x="504" y="841"/>
                </a:cubicBezTo>
                <a:cubicBezTo>
                  <a:pt x="504" y="840"/>
                  <a:pt x="505" y="840"/>
                  <a:pt x="503" y="839"/>
                </a:cubicBezTo>
                <a:cubicBezTo>
                  <a:pt x="503" y="839"/>
                  <a:pt x="504" y="839"/>
                  <a:pt x="504" y="838"/>
                </a:cubicBezTo>
                <a:cubicBezTo>
                  <a:pt x="504" y="838"/>
                  <a:pt x="504" y="838"/>
                  <a:pt x="504" y="838"/>
                </a:cubicBezTo>
                <a:cubicBezTo>
                  <a:pt x="505" y="838"/>
                  <a:pt x="506" y="837"/>
                  <a:pt x="506" y="837"/>
                </a:cubicBezTo>
                <a:cubicBezTo>
                  <a:pt x="506" y="837"/>
                  <a:pt x="505" y="837"/>
                  <a:pt x="506" y="837"/>
                </a:cubicBezTo>
                <a:cubicBezTo>
                  <a:pt x="506" y="835"/>
                  <a:pt x="506" y="834"/>
                  <a:pt x="506" y="832"/>
                </a:cubicBezTo>
                <a:cubicBezTo>
                  <a:pt x="506" y="832"/>
                  <a:pt x="506" y="831"/>
                  <a:pt x="507" y="830"/>
                </a:cubicBezTo>
                <a:cubicBezTo>
                  <a:pt x="507" y="829"/>
                  <a:pt x="507" y="829"/>
                  <a:pt x="508" y="828"/>
                </a:cubicBezTo>
                <a:cubicBezTo>
                  <a:pt x="509" y="828"/>
                  <a:pt x="509" y="828"/>
                  <a:pt x="510" y="828"/>
                </a:cubicBezTo>
                <a:cubicBezTo>
                  <a:pt x="510" y="827"/>
                  <a:pt x="511" y="827"/>
                  <a:pt x="510" y="826"/>
                </a:cubicBezTo>
                <a:cubicBezTo>
                  <a:pt x="509" y="826"/>
                  <a:pt x="509" y="826"/>
                  <a:pt x="508" y="826"/>
                </a:cubicBezTo>
                <a:cubicBezTo>
                  <a:pt x="508" y="826"/>
                  <a:pt x="508" y="827"/>
                  <a:pt x="508" y="827"/>
                </a:cubicBezTo>
                <a:cubicBezTo>
                  <a:pt x="508" y="827"/>
                  <a:pt x="507" y="826"/>
                  <a:pt x="507" y="826"/>
                </a:cubicBezTo>
                <a:cubicBezTo>
                  <a:pt x="507" y="826"/>
                  <a:pt x="508" y="825"/>
                  <a:pt x="509" y="825"/>
                </a:cubicBezTo>
                <a:cubicBezTo>
                  <a:pt x="510" y="825"/>
                  <a:pt x="511" y="825"/>
                  <a:pt x="511" y="826"/>
                </a:cubicBezTo>
                <a:cubicBezTo>
                  <a:pt x="512" y="826"/>
                  <a:pt x="511" y="827"/>
                  <a:pt x="511" y="827"/>
                </a:cubicBezTo>
                <a:cubicBezTo>
                  <a:pt x="512" y="827"/>
                  <a:pt x="512" y="827"/>
                  <a:pt x="513" y="827"/>
                </a:cubicBezTo>
                <a:cubicBezTo>
                  <a:pt x="513" y="827"/>
                  <a:pt x="514" y="826"/>
                  <a:pt x="514" y="826"/>
                </a:cubicBezTo>
                <a:cubicBezTo>
                  <a:pt x="514" y="826"/>
                  <a:pt x="514" y="825"/>
                  <a:pt x="514" y="825"/>
                </a:cubicBezTo>
                <a:cubicBezTo>
                  <a:pt x="514" y="825"/>
                  <a:pt x="514" y="824"/>
                  <a:pt x="514" y="824"/>
                </a:cubicBezTo>
                <a:cubicBezTo>
                  <a:pt x="514" y="823"/>
                  <a:pt x="514" y="824"/>
                  <a:pt x="514" y="824"/>
                </a:cubicBezTo>
                <a:cubicBezTo>
                  <a:pt x="514" y="823"/>
                  <a:pt x="514" y="823"/>
                  <a:pt x="513" y="823"/>
                </a:cubicBezTo>
                <a:cubicBezTo>
                  <a:pt x="512" y="823"/>
                  <a:pt x="512" y="823"/>
                  <a:pt x="512" y="824"/>
                </a:cubicBezTo>
                <a:cubicBezTo>
                  <a:pt x="511" y="824"/>
                  <a:pt x="509" y="823"/>
                  <a:pt x="508" y="823"/>
                </a:cubicBezTo>
                <a:cubicBezTo>
                  <a:pt x="508" y="822"/>
                  <a:pt x="507" y="823"/>
                  <a:pt x="507" y="822"/>
                </a:cubicBezTo>
                <a:cubicBezTo>
                  <a:pt x="508" y="821"/>
                  <a:pt x="508" y="820"/>
                  <a:pt x="508" y="819"/>
                </a:cubicBezTo>
                <a:cubicBezTo>
                  <a:pt x="507" y="819"/>
                  <a:pt x="506" y="819"/>
                  <a:pt x="506" y="819"/>
                </a:cubicBezTo>
                <a:cubicBezTo>
                  <a:pt x="506" y="818"/>
                  <a:pt x="506" y="818"/>
                  <a:pt x="506" y="817"/>
                </a:cubicBezTo>
                <a:cubicBezTo>
                  <a:pt x="506" y="817"/>
                  <a:pt x="507" y="817"/>
                  <a:pt x="507" y="817"/>
                </a:cubicBezTo>
                <a:cubicBezTo>
                  <a:pt x="507" y="817"/>
                  <a:pt x="506" y="816"/>
                  <a:pt x="507" y="817"/>
                </a:cubicBezTo>
                <a:cubicBezTo>
                  <a:pt x="507" y="816"/>
                  <a:pt x="507" y="816"/>
                  <a:pt x="507" y="815"/>
                </a:cubicBezTo>
                <a:cubicBezTo>
                  <a:pt x="507" y="815"/>
                  <a:pt x="507" y="814"/>
                  <a:pt x="508" y="814"/>
                </a:cubicBezTo>
                <a:cubicBezTo>
                  <a:pt x="509" y="814"/>
                  <a:pt x="509" y="814"/>
                  <a:pt x="509" y="815"/>
                </a:cubicBezTo>
                <a:cubicBezTo>
                  <a:pt x="509" y="815"/>
                  <a:pt x="510" y="815"/>
                  <a:pt x="510" y="815"/>
                </a:cubicBezTo>
                <a:cubicBezTo>
                  <a:pt x="511" y="815"/>
                  <a:pt x="511" y="817"/>
                  <a:pt x="511" y="817"/>
                </a:cubicBezTo>
                <a:cubicBezTo>
                  <a:pt x="512" y="817"/>
                  <a:pt x="513" y="817"/>
                  <a:pt x="514" y="817"/>
                </a:cubicBezTo>
                <a:cubicBezTo>
                  <a:pt x="514" y="817"/>
                  <a:pt x="514" y="817"/>
                  <a:pt x="515" y="817"/>
                </a:cubicBezTo>
                <a:cubicBezTo>
                  <a:pt x="515" y="817"/>
                  <a:pt x="515" y="817"/>
                  <a:pt x="515" y="817"/>
                </a:cubicBezTo>
                <a:cubicBezTo>
                  <a:pt x="515" y="817"/>
                  <a:pt x="516" y="817"/>
                  <a:pt x="516" y="817"/>
                </a:cubicBezTo>
                <a:cubicBezTo>
                  <a:pt x="517" y="817"/>
                  <a:pt x="517" y="815"/>
                  <a:pt x="518" y="815"/>
                </a:cubicBezTo>
                <a:cubicBezTo>
                  <a:pt x="519" y="814"/>
                  <a:pt x="519" y="814"/>
                  <a:pt x="520" y="813"/>
                </a:cubicBezTo>
                <a:cubicBezTo>
                  <a:pt x="520" y="811"/>
                  <a:pt x="520" y="810"/>
                  <a:pt x="519" y="809"/>
                </a:cubicBezTo>
                <a:cubicBezTo>
                  <a:pt x="520" y="809"/>
                  <a:pt x="520" y="809"/>
                  <a:pt x="520" y="809"/>
                </a:cubicBezTo>
                <a:cubicBezTo>
                  <a:pt x="520" y="809"/>
                  <a:pt x="520" y="808"/>
                  <a:pt x="519" y="807"/>
                </a:cubicBezTo>
                <a:cubicBezTo>
                  <a:pt x="520" y="807"/>
                  <a:pt x="520" y="806"/>
                  <a:pt x="520" y="805"/>
                </a:cubicBezTo>
                <a:cubicBezTo>
                  <a:pt x="521" y="804"/>
                  <a:pt x="518" y="804"/>
                  <a:pt x="518" y="803"/>
                </a:cubicBezTo>
                <a:cubicBezTo>
                  <a:pt x="518" y="802"/>
                  <a:pt x="519" y="801"/>
                  <a:pt x="519" y="801"/>
                </a:cubicBezTo>
                <a:cubicBezTo>
                  <a:pt x="520" y="801"/>
                  <a:pt x="521" y="803"/>
                  <a:pt x="522" y="803"/>
                </a:cubicBezTo>
                <a:cubicBezTo>
                  <a:pt x="522" y="802"/>
                  <a:pt x="521" y="802"/>
                  <a:pt x="521" y="802"/>
                </a:cubicBezTo>
                <a:cubicBezTo>
                  <a:pt x="523" y="802"/>
                  <a:pt x="525" y="802"/>
                  <a:pt x="526" y="801"/>
                </a:cubicBezTo>
                <a:cubicBezTo>
                  <a:pt x="526" y="801"/>
                  <a:pt x="526" y="801"/>
                  <a:pt x="527" y="801"/>
                </a:cubicBezTo>
                <a:cubicBezTo>
                  <a:pt x="527" y="801"/>
                  <a:pt x="528" y="801"/>
                  <a:pt x="528" y="801"/>
                </a:cubicBezTo>
                <a:cubicBezTo>
                  <a:pt x="529" y="801"/>
                  <a:pt x="531" y="801"/>
                  <a:pt x="531" y="801"/>
                </a:cubicBezTo>
                <a:cubicBezTo>
                  <a:pt x="531" y="800"/>
                  <a:pt x="532" y="801"/>
                  <a:pt x="532" y="801"/>
                </a:cubicBezTo>
                <a:cubicBezTo>
                  <a:pt x="532" y="801"/>
                  <a:pt x="532" y="800"/>
                  <a:pt x="532" y="800"/>
                </a:cubicBezTo>
                <a:cubicBezTo>
                  <a:pt x="533" y="800"/>
                  <a:pt x="533" y="800"/>
                  <a:pt x="534" y="800"/>
                </a:cubicBezTo>
                <a:cubicBezTo>
                  <a:pt x="534" y="800"/>
                  <a:pt x="534" y="800"/>
                  <a:pt x="535" y="800"/>
                </a:cubicBezTo>
                <a:cubicBezTo>
                  <a:pt x="535" y="800"/>
                  <a:pt x="535" y="800"/>
                  <a:pt x="536" y="800"/>
                </a:cubicBezTo>
                <a:cubicBezTo>
                  <a:pt x="536" y="799"/>
                  <a:pt x="536" y="799"/>
                  <a:pt x="536" y="799"/>
                </a:cubicBezTo>
                <a:cubicBezTo>
                  <a:pt x="536" y="799"/>
                  <a:pt x="536" y="799"/>
                  <a:pt x="537" y="799"/>
                </a:cubicBezTo>
                <a:cubicBezTo>
                  <a:pt x="537" y="799"/>
                  <a:pt x="537" y="799"/>
                  <a:pt x="537" y="799"/>
                </a:cubicBezTo>
                <a:cubicBezTo>
                  <a:pt x="538" y="799"/>
                  <a:pt x="538" y="799"/>
                  <a:pt x="538" y="799"/>
                </a:cubicBezTo>
                <a:cubicBezTo>
                  <a:pt x="538" y="798"/>
                  <a:pt x="538" y="798"/>
                  <a:pt x="539" y="799"/>
                </a:cubicBezTo>
                <a:cubicBezTo>
                  <a:pt x="539" y="799"/>
                  <a:pt x="539" y="799"/>
                  <a:pt x="540" y="798"/>
                </a:cubicBezTo>
                <a:cubicBezTo>
                  <a:pt x="540" y="798"/>
                  <a:pt x="540" y="798"/>
                  <a:pt x="540" y="798"/>
                </a:cubicBezTo>
                <a:cubicBezTo>
                  <a:pt x="541" y="797"/>
                  <a:pt x="541" y="797"/>
                  <a:pt x="542" y="797"/>
                </a:cubicBezTo>
                <a:cubicBezTo>
                  <a:pt x="542" y="795"/>
                  <a:pt x="542" y="795"/>
                  <a:pt x="543" y="794"/>
                </a:cubicBezTo>
                <a:cubicBezTo>
                  <a:pt x="543" y="793"/>
                  <a:pt x="544" y="793"/>
                  <a:pt x="545" y="792"/>
                </a:cubicBezTo>
                <a:cubicBezTo>
                  <a:pt x="545" y="792"/>
                  <a:pt x="545" y="791"/>
                  <a:pt x="545" y="791"/>
                </a:cubicBezTo>
                <a:cubicBezTo>
                  <a:pt x="545" y="790"/>
                  <a:pt x="545" y="791"/>
                  <a:pt x="545" y="790"/>
                </a:cubicBezTo>
                <a:cubicBezTo>
                  <a:pt x="545" y="790"/>
                  <a:pt x="545" y="790"/>
                  <a:pt x="546" y="790"/>
                </a:cubicBezTo>
                <a:cubicBezTo>
                  <a:pt x="546" y="789"/>
                  <a:pt x="546" y="788"/>
                  <a:pt x="546" y="788"/>
                </a:cubicBezTo>
                <a:cubicBezTo>
                  <a:pt x="546" y="787"/>
                  <a:pt x="546" y="787"/>
                  <a:pt x="546" y="786"/>
                </a:cubicBezTo>
                <a:cubicBezTo>
                  <a:pt x="546" y="785"/>
                  <a:pt x="546" y="786"/>
                  <a:pt x="545" y="785"/>
                </a:cubicBezTo>
                <a:cubicBezTo>
                  <a:pt x="544" y="785"/>
                  <a:pt x="543" y="784"/>
                  <a:pt x="542" y="783"/>
                </a:cubicBezTo>
                <a:cubicBezTo>
                  <a:pt x="542" y="782"/>
                  <a:pt x="544" y="781"/>
                  <a:pt x="543" y="780"/>
                </a:cubicBezTo>
                <a:cubicBezTo>
                  <a:pt x="542" y="779"/>
                  <a:pt x="542" y="779"/>
                  <a:pt x="541" y="779"/>
                </a:cubicBezTo>
                <a:cubicBezTo>
                  <a:pt x="541" y="778"/>
                  <a:pt x="541" y="778"/>
                  <a:pt x="541" y="778"/>
                </a:cubicBezTo>
                <a:cubicBezTo>
                  <a:pt x="541" y="778"/>
                  <a:pt x="540" y="778"/>
                  <a:pt x="540" y="778"/>
                </a:cubicBezTo>
                <a:cubicBezTo>
                  <a:pt x="540" y="778"/>
                  <a:pt x="540" y="778"/>
                  <a:pt x="540" y="777"/>
                </a:cubicBezTo>
                <a:cubicBezTo>
                  <a:pt x="540" y="777"/>
                  <a:pt x="539" y="777"/>
                  <a:pt x="539" y="776"/>
                </a:cubicBezTo>
                <a:cubicBezTo>
                  <a:pt x="539" y="776"/>
                  <a:pt x="539" y="775"/>
                  <a:pt x="539" y="775"/>
                </a:cubicBezTo>
                <a:cubicBezTo>
                  <a:pt x="538" y="775"/>
                  <a:pt x="538" y="775"/>
                  <a:pt x="538" y="774"/>
                </a:cubicBezTo>
                <a:cubicBezTo>
                  <a:pt x="538" y="774"/>
                  <a:pt x="538" y="774"/>
                  <a:pt x="537" y="774"/>
                </a:cubicBezTo>
                <a:cubicBezTo>
                  <a:pt x="537" y="773"/>
                  <a:pt x="537" y="773"/>
                  <a:pt x="537" y="772"/>
                </a:cubicBezTo>
                <a:cubicBezTo>
                  <a:pt x="537" y="772"/>
                  <a:pt x="537" y="771"/>
                  <a:pt x="537" y="770"/>
                </a:cubicBezTo>
                <a:cubicBezTo>
                  <a:pt x="539" y="770"/>
                  <a:pt x="538" y="766"/>
                  <a:pt x="538" y="765"/>
                </a:cubicBezTo>
                <a:cubicBezTo>
                  <a:pt x="539" y="764"/>
                  <a:pt x="538" y="765"/>
                  <a:pt x="538" y="766"/>
                </a:cubicBezTo>
                <a:cubicBezTo>
                  <a:pt x="538" y="767"/>
                  <a:pt x="538" y="769"/>
                  <a:pt x="539" y="770"/>
                </a:cubicBezTo>
                <a:cubicBezTo>
                  <a:pt x="539" y="771"/>
                  <a:pt x="540" y="773"/>
                  <a:pt x="541" y="773"/>
                </a:cubicBezTo>
                <a:cubicBezTo>
                  <a:pt x="541" y="773"/>
                  <a:pt x="541" y="774"/>
                  <a:pt x="541" y="774"/>
                </a:cubicBezTo>
                <a:cubicBezTo>
                  <a:pt x="542" y="774"/>
                  <a:pt x="542" y="773"/>
                  <a:pt x="543" y="774"/>
                </a:cubicBezTo>
                <a:cubicBezTo>
                  <a:pt x="543" y="774"/>
                  <a:pt x="544" y="775"/>
                  <a:pt x="545" y="776"/>
                </a:cubicBezTo>
                <a:cubicBezTo>
                  <a:pt x="545" y="776"/>
                  <a:pt x="546" y="776"/>
                  <a:pt x="546" y="776"/>
                </a:cubicBezTo>
                <a:cubicBezTo>
                  <a:pt x="546" y="776"/>
                  <a:pt x="547" y="777"/>
                  <a:pt x="547" y="777"/>
                </a:cubicBezTo>
                <a:cubicBezTo>
                  <a:pt x="548" y="777"/>
                  <a:pt x="549" y="777"/>
                  <a:pt x="549" y="777"/>
                </a:cubicBezTo>
                <a:cubicBezTo>
                  <a:pt x="550" y="777"/>
                  <a:pt x="550" y="776"/>
                  <a:pt x="551" y="776"/>
                </a:cubicBezTo>
                <a:cubicBezTo>
                  <a:pt x="552" y="776"/>
                  <a:pt x="553" y="777"/>
                  <a:pt x="555" y="777"/>
                </a:cubicBezTo>
                <a:cubicBezTo>
                  <a:pt x="555" y="777"/>
                  <a:pt x="556" y="777"/>
                  <a:pt x="556" y="776"/>
                </a:cubicBezTo>
                <a:cubicBezTo>
                  <a:pt x="556" y="776"/>
                  <a:pt x="557" y="776"/>
                  <a:pt x="558" y="775"/>
                </a:cubicBezTo>
                <a:cubicBezTo>
                  <a:pt x="558" y="775"/>
                  <a:pt x="558" y="775"/>
                  <a:pt x="559" y="775"/>
                </a:cubicBezTo>
                <a:cubicBezTo>
                  <a:pt x="559" y="775"/>
                  <a:pt x="559" y="774"/>
                  <a:pt x="559" y="774"/>
                </a:cubicBezTo>
                <a:cubicBezTo>
                  <a:pt x="560" y="773"/>
                  <a:pt x="560" y="774"/>
                  <a:pt x="560" y="773"/>
                </a:cubicBezTo>
                <a:cubicBezTo>
                  <a:pt x="560" y="772"/>
                  <a:pt x="561" y="772"/>
                  <a:pt x="561" y="771"/>
                </a:cubicBezTo>
                <a:cubicBezTo>
                  <a:pt x="561" y="770"/>
                  <a:pt x="562" y="770"/>
                  <a:pt x="562" y="769"/>
                </a:cubicBezTo>
                <a:cubicBezTo>
                  <a:pt x="563" y="769"/>
                  <a:pt x="562" y="769"/>
                  <a:pt x="563" y="768"/>
                </a:cubicBezTo>
                <a:cubicBezTo>
                  <a:pt x="563" y="768"/>
                  <a:pt x="564" y="768"/>
                  <a:pt x="564" y="767"/>
                </a:cubicBezTo>
                <a:cubicBezTo>
                  <a:pt x="564" y="766"/>
                  <a:pt x="564" y="767"/>
                  <a:pt x="565" y="766"/>
                </a:cubicBezTo>
                <a:cubicBezTo>
                  <a:pt x="565" y="765"/>
                  <a:pt x="566" y="764"/>
                  <a:pt x="564" y="763"/>
                </a:cubicBezTo>
                <a:cubicBezTo>
                  <a:pt x="564" y="763"/>
                  <a:pt x="564" y="762"/>
                  <a:pt x="565" y="762"/>
                </a:cubicBezTo>
                <a:cubicBezTo>
                  <a:pt x="566" y="761"/>
                  <a:pt x="565" y="761"/>
                  <a:pt x="566" y="760"/>
                </a:cubicBezTo>
                <a:cubicBezTo>
                  <a:pt x="566" y="760"/>
                  <a:pt x="567" y="760"/>
                  <a:pt x="567" y="760"/>
                </a:cubicBezTo>
                <a:cubicBezTo>
                  <a:pt x="567" y="759"/>
                  <a:pt x="567" y="759"/>
                  <a:pt x="568" y="758"/>
                </a:cubicBezTo>
                <a:cubicBezTo>
                  <a:pt x="568" y="757"/>
                  <a:pt x="568" y="756"/>
                  <a:pt x="569" y="756"/>
                </a:cubicBezTo>
                <a:cubicBezTo>
                  <a:pt x="570" y="756"/>
                  <a:pt x="569" y="755"/>
                  <a:pt x="570" y="755"/>
                </a:cubicBezTo>
                <a:cubicBezTo>
                  <a:pt x="571" y="755"/>
                  <a:pt x="571" y="752"/>
                  <a:pt x="571" y="751"/>
                </a:cubicBezTo>
                <a:cubicBezTo>
                  <a:pt x="572" y="751"/>
                  <a:pt x="573" y="751"/>
                  <a:pt x="573" y="752"/>
                </a:cubicBezTo>
                <a:cubicBezTo>
                  <a:pt x="573" y="753"/>
                  <a:pt x="574" y="751"/>
                  <a:pt x="575" y="751"/>
                </a:cubicBezTo>
                <a:cubicBezTo>
                  <a:pt x="575" y="751"/>
                  <a:pt x="575" y="751"/>
                  <a:pt x="575" y="751"/>
                </a:cubicBezTo>
                <a:cubicBezTo>
                  <a:pt x="575" y="752"/>
                  <a:pt x="575" y="753"/>
                  <a:pt x="575" y="754"/>
                </a:cubicBezTo>
                <a:cubicBezTo>
                  <a:pt x="575" y="756"/>
                  <a:pt x="574" y="755"/>
                  <a:pt x="574" y="756"/>
                </a:cubicBezTo>
                <a:cubicBezTo>
                  <a:pt x="574" y="757"/>
                  <a:pt x="573" y="756"/>
                  <a:pt x="573" y="757"/>
                </a:cubicBezTo>
                <a:cubicBezTo>
                  <a:pt x="573" y="757"/>
                  <a:pt x="573" y="757"/>
                  <a:pt x="573" y="757"/>
                </a:cubicBezTo>
                <a:cubicBezTo>
                  <a:pt x="573" y="757"/>
                  <a:pt x="573" y="758"/>
                  <a:pt x="572" y="758"/>
                </a:cubicBezTo>
                <a:cubicBezTo>
                  <a:pt x="573" y="759"/>
                  <a:pt x="573" y="758"/>
                  <a:pt x="573" y="758"/>
                </a:cubicBezTo>
                <a:cubicBezTo>
                  <a:pt x="574" y="757"/>
                  <a:pt x="574" y="757"/>
                  <a:pt x="574" y="757"/>
                </a:cubicBezTo>
                <a:cubicBezTo>
                  <a:pt x="574" y="756"/>
                  <a:pt x="575" y="756"/>
                  <a:pt x="575" y="756"/>
                </a:cubicBezTo>
                <a:cubicBezTo>
                  <a:pt x="575" y="755"/>
                  <a:pt x="575" y="755"/>
                  <a:pt x="575" y="755"/>
                </a:cubicBezTo>
                <a:cubicBezTo>
                  <a:pt x="575" y="755"/>
                  <a:pt x="575" y="755"/>
                  <a:pt x="575" y="755"/>
                </a:cubicBezTo>
                <a:cubicBezTo>
                  <a:pt x="575" y="754"/>
                  <a:pt x="575" y="754"/>
                  <a:pt x="575" y="754"/>
                </a:cubicBezTo>
                <a:cubicBezTo>
                  <a:pt x="575" y="753"/>
                  <a:pt x="576" y="754"/>
                  <a:pt x="576" y="753"/>
                </a:cubicBezTo>
                <a:cubicBezTo>
                  <a:pt x="576" y="753"/>
                  <a:pt x="576" y="753"/>
                  <a:pt x="576" y="752"/>
                </a:cubicBezTo>
                <a:cubicBezTo>
                  <a:pt x="576" y="752"/>
                  <a:pt x="576" y="752"/>
                  <a:pt x="576" y="752"/>
                </a:cubicBezTo>
                <a:cubicBezTo>
                  <a:pt x="576" y="752"/>
                  <a:pt x="576" y="752"/>
                  <a:pt x="576" y="752"/>
                </a:cubicBezTo>
                <a:cubicBezTo>
                  <a:pt x="576" y="751"/>
                  <a:pt x="576" y="752"/>
                  <a:pt x="577" y="751"/>
                </a:cubicBezTo>
                <a:cubicBezTo>
                  <a:pt x="577" y="751"/>
                  <a:pt x="577" y="751"/>
                  <a:pt x="577" y="751"/>
                </a:cubicBezTo>
                <a:cubicBezTo>
                  <a:pt x="577" y="750"/>
                  <a:pt x="577" y="751"/>
                  <a:pt x="577" y="750"/>
                </a:cubicBezTo>
                <a:cubicBezTo>
                  <a:pt x="577" y="749"/>
                  <a:pt x="577" y="749"/>
                  <a:pt x="577" y="748"/>
                </a:cubicBezTo>
                <a:cubicBezTo>
                  <a:pt x="578" y="747"/>
                  <a:pt x="578" y="747"/>
                  <a:pt x="579" y="746"/>
                </a:cubicBezTo>
                <a:cubicBezTo>
                  <a:pt x="579" y="746"/>
                  <a:pt x="579" y="746"/>
                  <a:pt x="579" y="746"/>
                </a:cubicBezTo>
                <a:cubicBezTo>
                  <a:pt x="579" y="745"/>
                  <a:pt x="580" y="745"/>
                  <a:pt x="580" y="744"/>
                </a:cubicBezTo>
                <a:cubicBezTo>
                  <a:pt x="580" y="744"/>
                  <a:pt x="580" y="744"/>
                  <a:pt x="580" y="744"/>
                </a:cubicBezTo>
                <a:cubicBezTo>
                  <a:pt x="580" y="744"/>
                  <a:pt x="581" y="743"/>
                  <a:pt x="581" y="743"/>
                </a:cubicBezTo>
                <a:cubicBezTo>
                  <a:pt x="582" y="743"/>
                  <a:pt x="582" y="742"/>
                  <a:pt x="582" y="742"/>
                </a:cubicBezTo>
                <a:cubicBezTo>
                  <a:pt x="583" y="742"/>
                  <a:pt x="583" y="742"/>
                  <a:pt x="583" y="741"/>
                </a:cubicBezTo>
                <a:cubicBezTo>
                  <a:pt x="583" y="741"/>
                  <a:pt x="583" y="740"/>
                  <a:pt x="583" y="740"/>
                </a:cubicBezTo>
                <a:cubicBezTo>
                  <a:pt x="584" y="740"/>
                  <a:pt x="584" y="739"/>
                  <a:pt x="584" y="739"/>
                </a:cubicBezTo>
                <a:cubicBezTo>
                  <a:pt x="584" y="738"/>
                  <a:pt x="583" y="737"/>
                  <a:pt x="584" y="737"/>
                </a:cubicBezTo>
                <a:cubicBezTo>
                  <a:pt x="584" y="736"/>
                  <a:pt x="584" y="736"/>
                  <a:pt x="584" y="736"/>
                </a:cubicBezTo>
                <a:cubicBezTo>
                  <a:pt x="584" y="734"/>
                  <a:pt x="584" y="736"/>
                  <a:pt x="584" y="735"/>
                </a:cubicBezTo>
                <a:cubicBezTo>
                  <a:pt x="584" y="735"/>
                  <a:pt x="584" y="734"/>
                  <a:pt x="584" y="733"/>
                </a:cubicBezTo>
                <a:cubicBezTo>
                  <a:pt x="584" y="732"/>
                  <a:pt x="584" y="733"/>
                  <a:pt x="584" y="732"/>
                </a:cubicBezTo>
                <a:cubicBezTo>
                  <a:pt x="584" y="732"/>
                  <a:pt x="583" y="732"/>
                  <a:pt x="583" y="732"/>
                </a:cubicBezTo>
                <a:cubicBezTo>
                  <a:pt x="583" y="731"/>
                  <a:pt x="583" y="731"/>
                  <a:pt x="583" y="730"/>
                </a:cubicBezTo>
                <a:cubicBezTo>
                  <a:pt x="582" y="731"/>
                  <a:pt x="583" y="729"/>
                  <a:pt x="583" y="728"/>
                </a:cubicBezTo>
                <a:cubicBezTo>
                  <a:pt x="583" y="728"/>
                  <a:pt x="583" y="727"/>
                  <a:pt x="583" y="727"/>
                </a:cubicBezTo>
                <a:cubicBezTo>
                  <a:pt x="584" y="726"/>
                  <a:pt x="582" y="726"/>
                  <a:pt x="582" y="726"/>
                </a:cubicBezTo>
                <a:cubicBezTo>
                  <a:pt x="582" y="725"/>
                  <a:pt x="583" y="726"/>
                  <a:pt x="583" y="725"/>
                </a:cubicBezTo>
                <a:cubicBezTo>
                  <a:pt x="583" y="724"/>
                  <a:pt x="583" y="724"/>
                  <a:pt x="584" y="724"/>
                </a:cubicBezTo>
                <a:cubicBezTo>
                  <a:pt x="584" y="723"/>
                  <a:pt x="584" y="722"/>
                  <a:pt x="583" y="722"/>
                </a:cubicBezTo>
                <a:cubicBezTo>
                  <a:pt x="584" y="721"/>
                  <a:pt x="585" y="721"/>
                  <a:pt x="586" y="721"/>
                </a:cubicBezTo>
                <a:cubicBezTo>
                  <a:pt x="586" y="719"/>
                  <a:pt x="588" y="719"/>
                  <a:pt x="589" y="718"/>
                </a:cubicBezTo>
                <a:cubicBezTo>
                  <a:pt x="590" y="717"/>
                  <a:pt x="590" y="718"/>
                  <a:pt x="591" y="718"/>
                </a:cubicBezTo>
                <a:cubicBezTo>
                  <a:pt x="591" y="718"/>
                  <a:pt x="591" y="717"/>
                  <a:pt x="591" y="717"/>
                </a:cubicBezTo>
                <a:cubicBezTo>
                  <a:pt x="591" y="717"/>
                  <a:pt x="592" y="717"/>
                  <a:pt x="592" y="717"/>
                </a:cubicBezTo>
                <a:cubicBezTo>
                  <a:pt x="592" y="717"/>
                  <a:pt x="593" y="716"/>
                  <a:pt x="593" y="716"/>
                </a:cubicBezTo>
                <a:cubicBezTo>
                  <a:pt x="594" y="716"/>
                  <a:pt x="595" y="715"/>
                  <a:pt x="595" y="714"/>
                </a:cubicBezTo>
                <a:cubicBezTo>
                  <a:pt x="595" y="713"/>
                  <a:pt x="597" y="714"/>
                  <a:pt x="597" y="713"/>
                </a:cubicBezTo>
                <a:cubicBezTo>
                  <a:pt x="598" y="713"/>
                  <a:pt x="598" y="714"/>
                  <a:pt x="599" y="713"/>
                </a:cubicBezTo>
                <a:cubicBezTo>
                  <a:pt x="600" y="712"/>
                  <a:pt x="602" y="712"/>
                  <a:pt x="603" y="712"/>
                </a:cubicBezTo>
                <a:cubicBezTo>
                  <a:pt x="603" y="711"/>
                  <a:pt x="602" y="710"/>
                  <a:pt x="602" y="710"/>
                </a:cubicBezTo>
                <a:cubicBezTo>
                  <a:pt x="602" y="710"/>
                  <a:pt x="604" y="710"/>
                  <a:pt x="604" y="709"/>
                </a:cubicBezTo>
                <a:cubicBezTo>
                  <a:pt x="604" y="709"/>
                  <a:pt x="604" y="709"/>
                  <a:pt x="604" y="709"/>
                </a:cubicBezTo>
                <a:cubicBezTo>
                  <a:pt x="605" y="708"/>
                  <a:pt x="605" y="709"/>
                  <a:pt x="606" y="709"/>
                </a:cubicBezTo>
                <a:cubicBezTo>
                  <a:pt x="606" y="709"/>
                  <a:pt x="606" y="709"/>
                  <a:pt x="606" y="708"/>
                </a:cubicBezTo>
                <a:cubicBezTo>
                  <a:pt x="607" y="708"/>
                  <a:pt x="607" y="708"/>
                  <a:pt x="607" y="708"/>
                </a:cubicBezTo>
                <a:cubicBezTo>
                  <a:pt x="608" y="708"/>
                  <a:pt x="607" y="708"/>
                  <a:pt x="608" y="708"/>
                </a:cubicBezTo>
                <a:cubicBezTo>
                  <a:pt x="608" y="708"/>
                  <a:pt x="609" y="708"/>
                  <a:pt x="609" y="708"/>
                </a:cubicBezTo>
                <a:cubicBezTo>
                  <a:pt x="610" y="708"/>
                  <a:pt x="610" y="708"/>
                  <a:pt x="611" y="708"/>
                </a:cubicBezTo>
                <a:cubicBezTo>
                  <a:pt x="611" y="707"/>
                  <a:pt x="611" y="707"/>
                  <a:pt x="611" y="706"/>
                </a:cubicBezTo>
                <a:cubicBezTo>
                  <a:pt x="611" y="706"/>
                  <a:pt x="612" y="706"/>
                  <a:pt x="612" y="706"/>
                </a:cubicBezTo>
                <a:cubicBezTo>
                  <a:pt x="612" y="707"/>
                  <a:pt x="613" y="707"/>
                  <a:pt x="613" y="708"/>
                </a:cubicBezTo>
                <a:cubicBezTo>
                  <a:pt x="614" y="708"/>
                  <a:pt x="615" y="708"/>
                  <a:pt x="615" y="707"/>
                </a:cubicBezTo>
                <a:cubicBezTo>
                  <a:pt x="616" y="707"/>
                  <a:pt x="616" y="707"/>
                  <a:pt x="616" y="706"/>
                </a:cubicBezTo>
                <a:cubicBezTo>
                  <a:pt x="617" y="706"/>
                  <a:pt x="616" y="704"/>
                  <a:pt x="617" y="704"/>
                </a:cubicBezTo>
                <a:cubicBezTo>
                  <a:pt x="618" y="704"/>
                  <a:pt x="618" y="704"/>
                  <a:pt x="619" y="703"/>
                </a:cubicBezTo>
                <a:cubicBezTo>
                  <a:pt x="619" y="703"/>
                  <a:pt x="619" y="702"/>
                  <a:pt x="619" y="702"/>
                </a:cubicBezTo>
                <a:cubicBezTo>
                  <a:pt x="619" y="702"/>
                  <a:pt x="619" y="702"/>
                  <a:pt x="619" y="702"/>
                </a:cubicBezTo>
                <a:cubicBezTo>
                  <a:pt x="619" y="701"/>
                  <a:pt x="619" y="701"/>
                  <a:pt x="619" y="701"/>
                </a:cubicBezTo>
                <a:cubicBezTo>
                  <a:pt x="618" y="701"/>
                  <a:pt x="618" y="700"/>
                  <a:pt x="618" y="699"/>
                </a:cubicBezTo>
                <a:cubicBezTo>
                  <a:pt x="618" y="698"/>
                  <a:pt x="619" y="697"/>
                  <a:pt x="620" y="697"/>
                </a:cubicBezTo>
                <a:cubicBezTo>
                  <a:pt x="621" y="696"/>
                  <a:pt x="620" y="694"/>
                  <a:pt x="621" y="694"/>
                </a:cubicBezTo>
                <a:cubicBezTo>
                  <a:pt x="622" y="693"/>
                  <a:pt x="622" y="693"/>
                  <a:pt x="623" y="692"/>
                </a:cubicBezTo>
                <a:cubicBezTo>
                  <a:pt x="623" y="691"/>
                  <a:pt x="623" y="691"/>
                  <a:pt x="623" y="690"/>
                </a:cubicBezTo>
                <a:cubicBezTo>
                  <a:pt x="623" y="690"/>
                  <a:pt x="624" y="690"/>
                  <a:pt x="624" y="690"/>
                </a:cubicBezTo>
                <a:cubicBezTo>
                  <a:pt x="624" y="689"/>
                  <a:pt x="624" y="689"/>
                  <a:pt x="625" y="688"/>
                </a:cubicBezTo>
                <a:cubicBezTo>
                  <a:pt x="625" y="688"/>
                  <a:pt x="626" y="688"/>
                  <a:pt x="626" y="687"/>
                </a:cubicBezTo>
                <a:cubicBezTo>
                  <a:pt x="626" y="687"/>
                  <a:pt x="626" y="687"/>
                  <a:pt x="626" y="686"/>
                </a:cubicBezTo>
                <a:cubicBezTo>
                  <a:pt x="628" y="685"/>
                  <a:pt x="627" y="682"/>
                  <a:pt x="627" y="680"/>
                </a:cubicBezTo>
                <a:cubicBezTo>
                  <a:pt x="627" y="679"/>
                  <a:pt x="631" y="678"/>
                  <a:pt x="630" y="677"/>
                </a:cubicBezTo>
                <a:cubicBezTo>
                  <a:pt x="630" y="676"/>
                  <a:pt x="629" y="676"/>
                  <a:pt x="629" y="676"/>
                </a:cubicBezTo>
                <a:cubicBezTo>
                  <a:pt x="629" y="675"/>
                  <a:pt x="629" y="675"/>
                  <a:pt x="630" y="675"/>
                </a:cubicBezTo>
                <a:cubicBezTo>
                  <a:pt x="630" y="674"/>
                  <a:pt x="629" y="674"/>
                  <a:pt x="629" y="674"/>
                </a:cubicBezTo>
                <a:cubicBezTo>
                  <a:pt x="629" y="673"/>
                  <a:pt x="629" y="672"/>
                  <a:pt x="630" y="671"/>
                </a:cubicBezTo>
                <a:cubicBezTo>
                  <a:pt x="630" y="671"/>
                  <a:pt x="631" y="671"/>
                  <a:pt x="631" y="670"/>
                </a:cubicBezTo>
                <a:cubicBezTo>
                  <a:pt x="631" y="670"/>
                  <a:pt x="631" y="670"/>
                  <a:pt x="631" y="670"/>
                </a:cubicBezTo>
                <a:cubicBezTo>
                  <a:pt x="631" y="669"/>
                  <a:pt x="631" y="668"/>
                  <a:pt x="631" y="668"/>
                </a:cubicBezTo>
                <a:cubicBezTo>
                  <a:pt x="631" y="668"/>
                  <a:pt x="631" y="667"/>
                  <a:pt x="631" y="666"/>
                </a:cubicBezTo>
                <a:cubicBezTo>
                  <a:pt x="631" y="666"/>
                  <a:pt x="631" y="666"/>
                  <a:pt x="631" y="666"/>
                </a:cubicBezTo>
                <a:cubicBezTo>
                  <a:pt x="631" y="666"/>
                  <a:pt x="631" y="666"/>
                  <a:pt x="631" y="665"/>
                </a:cubicBezTo>
                <a:cubicBezTo>
                  <a:pt x="631" y="665"/>
                  <a:pt x="631" y="664"/>
                  <a:pt x="631" y="663"/>
                </a:cubicBezTo>
                <a:cubicBezTo>
                  <a:pt x="630" y="662"/>
                  <a:pt x="631" y="659"/>
                  <a:pt x="630" y="659"/>
                </a:cubicBezTo>
                <a:cubicBezTo>
                  <a:pt x="630" y="658"/>
                  <a:pt x="631" y="656"/>
                  <a:pt x="631" y="655"/>
                </a:cubicBezTo>
                <a:cubicBezTo>
                  <a:pt x="630" y="655"/>
                  <a:pt x="630" y="655"/>
                  <a:pt x="629" y="655"/>
                </a:cubicBezTo>
                <a:cubicBezTo>
                  <a:pt x="630" y="654"/>
                  <a:pt x="630" y="654"/>
                  <a:pt x="631" y="653"/>
                </a:cubicBezTo>
                <a:cubicBezTo>
                  <a:pt x="631" y="653"/>
                  <a:pt x="630" y="653"/>
                  <a:pt x="630" y="652"/>
                </a:cubicBezTo>
                <a:cubicBezTo>
                  <a:pt x="631" y="652"/>
                  <a:pt x="631" y="652"/>
                  <a:pt x="631" y="652"/>
                </a:cubicBezTo>
                <a:cubicBezTo>
                  <a:pt x="631" y="651"/>
                  <a:pt x="631" y="651"/>
                  <a:pt x="631" y="651"/>
                </a:cubicBezTo>
                <a:cubicBezTo>
                  <a:pt x="631" y="650"/>
                  <a:pt x="632" y="650"/>
                  <a:pt x="632" y="650"/>
                </a:cubicBezTo>
                <a:cubicBezTo>
                  <a:pt x="632" y="650"/>
                  <a:pt x="632" y="648"/>
                  <a:pt x="633" y="648"/>
                </a:cubicBezTo>
                <a:cubicBezTo>
                  <a:pt x="633" y="648"/>
                  <a:pt x="633" y="647"/>
                  <a:pt x="632" y="647"/>
                </a:cubicBezTo>
                <a:cubicBezTo>
                  <a:pt x="634" y="647"/>
                  <a:pt x="634" y="648"/>
                  <a:pt x="635" y="649"/>
                </a:cubicBezTo>
                <a:cubicBezTo>
                  <a:pt x="636" y="648"/>
                  <a:pt x="636" y="647"/>
                  <a:pt x="636" y="647"/>
                </a:cubicBezTo>
                <a:cubicBezTo>
                  <a:pt x="636" y="646"/>
                  <a:pt x="637" y="646"/>
                  <a:pt x="637" y="646"/>
                </a:cubicBezTo>
                <a:cubicBezTo>
                  <a:pt x="637" y="645"/>
                  <a:pt x="638" y="645"/>
                  <a:pt x="638" y="644"/>
                </a:cubicBezTo>
                <a:cubicBezTo>
                  <a:pt x="638" y="643"/>
                  <a:pt x="638" y="642"/>
                  <a:pt x="638" y="642"/>
                </a:cubicBezTo>
                <a:cubicBezTo>
                  <a:pt x="638" y="642"/>
                  <a:pt x="639" y="642"/>
                  <a:pt x="639" y="642"/>
                </a:cubicBezTo>
                <a:cubicBezTo>
                  <a:pt x="639" y="640"/>
                  <a:pt x="640" y="641"/>
                  <a:pt x="640" y="639"/>
                </a:cubicBezTo>
                <a:cubicBezTo>
                  <a:pt x="640" y="638"/>
                  <a:pt x="641" y="637"/>
                  <a:pt x="642" y="636"/>
                </a:cubicBezTo>
                <a:cubicBezTo>
                  <a:pt x="642" y="636"/>
                  <a:pt x="642" y="636"/>
                  <a:pt x="642" y="635"/>
                </a:cubicBezTo>
                <a:cubicBezTo>
                  <a:pt x="643" y="635"/>
                  <a:pt x="643" y="636"/>
                  <a:pt x="643" y="635"/>
                </a:cubicBezTo>
                <a:cubicBezTo>
                  <a:pt x="644" y="634"/>
                  <a:pt x="644" y="634"/>
                  <a:pt x="646" y="634"/>
                </a:cubicBezTo>
                <a:cubicBezTo>
                  <a:pt x="646" y="633"/>
                  <a:pt x="648" y="631"/>
                  <a:pt x="648" y="631"/>
                </a:cubicBezTo>
                <a:cubicBezTo>
                  <a:pt x="649" y="631"/>
                  <a:pt x="649" y="630"/>
                  <a:pt x="649" y="630"/>
                </a:cubicBezTo>
                <a:cubicBezTo>
                  <a:pt x="649" y="629"/>
                  <a:pt x="649" y="629"/>
                  <a:pt x="650" y="629"/>
                </a:cubicBezTo>
                <a:cubicBezTo>
                  <a:pt x="650" y="629"/>
                  <a:pt x="650" y="628"/>
                  <a:pt x="650" y="628"/>
                </a:cubicBezTo>
                <a:cubicBezTo>
                  <a:pt x="650" y="628"/>
                  <a:pt x="650" y="628"/>
                  <a:pt x="650" y="628"/>
                </a:cubicBezTo>
                <a:cubicBezTo>
                  <a:pt x="650" y="628"/>
                  <a:pt x="650" y="627"/>
                  <a:pt x="650" y="627"/>
                </a:cubicBezTo>
                <a:cubicBezTo>
                  <a:pt x="650" y="627"/>
                  <a:pt x="650" y="627"/>
                  <a:pt x="650" y="627"/>
                </a:cubicBezTo>
                <a:cubicBezTo>
                  <a:pt x="651" y="627"/>
                  <a:pt x="651" y="626"/>
                  <a:pt x="651" y="625"/>
                </a:cubicBezTo>
                <a:cubicBezTo>
                  <a:pt x="651" y="625"/>
                  <a:pt x="651" y="625"/>
                  <a:pt x="651" y="625"/>
                </a:cubicBezTo>
                <a:cubicBezTo>
                  <a:pt x="651" y="624"/>
                  <a:pt x="652" y="624"/>
                  <a:pt x="652" y="624"/>
                </a:cubicBezTo>
                <a:cubicBezTo>
                  <a:pt x="652" y="623"/>
                  <a:pt x="652" y="624"/>
                  <a:pt x="652" y="623"/>
                </a:cubicBezTo>
                <a:cubicBezTo>
                  <a:pt x="652" y="623"/>
                  <a:pt x="652" y="622"/>
                  <a:pt x="652" y="622"/>
                </a:cubicBezTo>
                <a:cubicBezTo>
                  <a:pt x="652" y="621"/>
                  <a:pt x="652" y="621"/>
                  <a:pt x="652" y="621"/>
                </a:cubicBezTo>
                <a:cubicBezTo>
                  <a:pt x="653" y="619"/>
                  <a:pt x="652" y="621"/>
                  <a:pt x="652" y="621"/>
                </a:cubicBezTo>
                <a:close/>
                <a:moveTo>
                  <a:pt x="360" y="107"/>
                </a:moveTo>
                <a:cubicBezTo>
                  <a:pt x="361" y="107"/>
                  <a:pt x="360" y="105"/>
                  <a:pt x="360" y="105"/>
                </a:cubicBezTo>
                <a:cubicBezTo>
                  <a:pt x="360" y="104"/>
                  <a:pt x="360" y="104"/>
                  <a:pt x="360" y="103"/>
                </a:cubicBezTo>
                <a:cubicBezTo>
                  <a:pt x="360" y="103"/>
                  <a:pt x="359" y="103"/>
                  <a:pt x="359" y="102"/>
                </a:cubicBezTo>
                <a:cubicBezTo>
                  <a:pt x="358" y="103"/>
                  <a:pt x="357" y="104"/>
                  <a:pt x="356" y="104"/>
                </a:cubicBezTo>
                <a:cubicBezTo>
                  <a:pt x="356" y="104"/>
                  <a:pt x="356" y="103"/>
                  <a:pt x="356" y="103"/>
                </a:cubicBezTo>
                <a:cubicBezTo>
                  <a:pt x="354" y="102"/>
                  <a:pt x="355" y="101"/>
                  <a:pt x="354" y="100"/>
                </a:cubicBezTo>
                <a:cubicBezTo>
                  <a:pt x="354" y="100"/>
                  <a:pt x="354" y="100"/>
                  <a:pt x="353" y="101"/>
                </a:cubicBezTo>
                <a:cubicBezTo>
                  <a:pt x="353" y="101"/>
                  <a:pt x="353" y="101"/>
                  <a:pt x="352" y="101"/>
                </a:cubicBezTo>
                <a:cubicBezTo>
                  <a:pt x="352" y="101"/>
                  <a:pt x="351" y="101"/>
                  <a:pt x="351" y="101"/>
                </a:cubicBezTo>
                <a:cubicBezTo>
                  <a:pt x="351" y="100"/>
                  <a:pt x="352" y="98"/>
                  <a:pt x="350" y="99"/>
                </a:cubicBezTo>
                <a:cubicBezTo>
                  <a:pt x="351" y="97"/>
                  <a:pt x="354" y="97"/>
                  <a:pt x="355" y="97"/>
                </a:cubicBezTo>
                <a:cubicBezTo>
                  <a:pt x="355" y="97"/>
                  <a:pt x="355" y="96"/>
                  <a:pt x="355" y="95"/>
                </a:cubicBezTo>
                <a:cubicBezTo>
                  <a:pt x="355" y="94"/>
                  <a:pt x="355" y="94"/>
                  <a:pt x="355" y="94"/>
                </a:cubicBezTo>
                <a:cubicBezTo>
                  <a:pt x="354" y="94"/>
                  <a:pt x="354" y="94"/>
                  <a:pt x="353" y="93"/>
                </a:cubicBezTo>
                <a:cubicBezTo>
                  <a:pt x="352" y="92"/>
                  <a:pt x="351" y="93"/>
                  <a:pt x="349" y="93"/>
                </a:cubicBezTo>
                <a:cubicBezTo>
                  <a:pt x="349" y="93"/>
                  <a:pt x="349" y="94"/>
                  <a:pt x="348" y="94"/>
                </a:cubicBezTo>
                <a:cubicBezTo>
                  <a:pt x="348" y="94"/>
                  <a:pt x="346" y="94"/>
                  <a:pt x="346" y="94"/>
                </a:cubicBezTo>
                <a:cubicBezTo>
                  <a:pt x="346" y="93"/>
                  <a:pt x="352" y="92"/>
                  <a:pt x="352" y="91"/>
                </a:cubicBezTo>
                <a:cubicBezTo>
                  <a:pt x="352" y="89"/>
                  <a:pt x="352" y="90"/>
                  <a:pt x="350" y="90"/>
                </a:cubicBezTo>
                <a:cubicBezTo>
                  <a:pt x="349" y="90"/>
                  <a:pt x="350" y="91"/>
                  <a:pt x="349" y="91"/>
                </a:cubicBezTo>
                <a:cubicBezTo>
                  <a:pt x="348" y="91"/>
                  <a:pt x="348" y="91"/>
                  <a:pt x="348" y="92"/>
                </a:cubicBezTo>
                <a:cubicBezTo>
                  <a:pt x="347" y="92"/>
                  <a:pt x="347" y="92"/>
                  <a:pt x="346" y="92"/>
                </a:cubicBezTo>
                <a:cubicBezTo>
                  <a:pt x="346" y="92"/>
                  <a:pt x="345" y="92"/>
                  <a:pt x="345" y="92"/>
                </a:cubicBezTo>
                <a:cubicBezTo>
                  <a:pt x="345" y="93"/>
                  <a:pt x="345" y="92"/>
                  <a:pt x="345" y="92"/>
                </a:cubicBezTo>
                <a:cubicBezTo>
                  <a:pt x="344" y="92"/>
                  <a:pt x="344" y="92"/>
                  <a:pt x="344" y="92"/>
                </a:cubicBezTo>
                <a:cubicBezTo>
                  <a:pt x="343" y="92"/>
                  <a:pt x="344" y="93"/>
                  <a:pt x="343" y="93"/>
                </a:cubicBezTo>
                <a:cubicBezTo>
                  <a:pt x="343" y="93"/>
                  <a:pt x="343" y="93"/>
                  <a:pt x="343" y="93"/>
                </a:cubicBezTo>
                <a:cubicBezTo>
                  <a:pt x="344" y="93"/>
                  <a:pt x="343" y="94"/>
                  <a:pt x="344" y="94"/>
                </a:cubicBezTo>
                <a:cubicBezTo>
                  <a:pt x="344" y="94"/>
                  <a:pt x="344" y="94"/>
                  <a:pt x="345" y="94"/>
                </a:cubicBezTo>
                <a:cubicBezTo>
                  <a:pt x="344" y="94"/>
                  <a:pt x="344" y="95"/>
                  <a:pt x="343" y="94"/>
                </a:cubicBezTo>
                <a:cubicBezTo>
                  <a:pt x="343" y="94"/>
                  <a:pt x="342" y="94"/>
                  <a:pt x="341" y="94"/>
                </a:cubicBezTo>
                <a:cubicBezTo>
                  <a:pt x="340" y="94"/>
                  <a:pt x="340" y="93"/>
                  <a:pt x="340" y="92"/>
                </a:cubicBezTo>
                <a:cubicBezTo>
                  <a:pt x="340" y="93"/>
                  <a:pt x="339" y="93"/>
                  <a:pt x="339" y="93"/>
                </a:cubicBezTo>
                <a:cubicBezTo>
                  <a:pt x="339" y="93"/>
                  <a:pt x="338" y="93"/>
                  <a:pt x="338" y="93"/>
                </a:cubicBezTo>
                <a:cubicBezTo>
                  <a:pt x="337" y="94"/>
                  <a:pt x="337" y="94"/>
                  <a:pt x="336" y="95"/>
                </a:cubicBezTo>
                <a:cubicBezTo>
                  <a:pt x="335" y="96"/>
                  <a:pt x="335" y="97"/>
                  <a:pt x="336" y="98"/>
                </a:cubicBezTo>
                <a:cubicBezTo>
                  <a:pt x="336" y="98"/>
                  <a:pt x="336" y="98"/>
                  <a:pt x="336" y="98"/>
                </a:cubicBezTo>
                <a:cubicBezTo>
                  <a:pt x="337" y="98"/>
                  <a:pt x="337" y="98"/>
                  <a:pt x="338" y="98"/>
                </a:cubicBezTo>
                <a:cubicBezTo>
                  <a:pt x="339" y="98"/>
                  <a:pt x="338" y="99"/>
                  <a:pt x="339" y="99"/>
                </a:cubicBezTo>
                <a:cubicBezTo>
                  <a:pt x="340" y="99"/>
                  <a:pt x="340" y="99"/>
                  <a:pt x="341" y="99"/>
                </a:cubicBezTo>
                <a:cubicBezTo>
                  <a:pt x="341" y="100"/>
                  <a:pt x="341" y="102"/>
                  <a:pt x="340" y="101"/>
                </a:cubicBezTo>
                <a:cubicBezTo>
                  <a:pt x="340" y="103"/>
                  <a:pt x="341" y="104"/>
                  <a:pt x="339" y="104"/>
                </a:cubicBezTo>
                <a:cubicBezTo>
                  <a:pt x="339" y="104"/>
                  <a:pt x="337" y="104"/>
                  <a:pt x="337" y="103"/>
                </a:cubicBezTo>
                <a:cubicBezTo>
                  <a:pt x="336" y="103"/>
                  <a:pt x="334" y="103"/>
                  <a:pt x="333" y="104"/>
                </a:cubicBezTo>
                <a:cubicBezTo>
                  <a:pt x="333" y="103"/>
                  <a:pt x="332" y="103"/>
                  <a:pt x="332" y="102"/>
                </a:cubicBezTo>
                <a:cubicBezTo>
                  <a:pt x="332" y="102"/>
                  <a:pt x="331" y="101"/>
                  <a:pt x="331" y="100"/>
                </a:cubicBezTo>
                <a:cubicBezTo>
                  <a:pt x="330" y="101"/>
                  <a:pt x="329" y="101"/>
                  <a:pt x="328" y="101"/>
                </a:cubicBezTo>
                <a:cubicBezTo>
                  <a:pt x="328" y="101"/>
                  <a:pt x="328" y="101"/>
                  <a:pt x="328" y="102"/>
                </a:cubicBezTo>
                <a:cubicBezTo>
                  <a:pt x="328" y="103"/>
                  <a:pt x="328" y="103"/>
                  <a:pt x="329" y="104"/>
                </a:cubicBezTo>
                <a:cubicBezTo>
                  <a:pt x="328" y="104"/>
                  <a:pt x="328" y="104"/>
                  <a:pt x="328" y="104"/>
                </a:cubicBezTo>
                <a:cubicBezTo>
                  <a:pt x="328" y="105"/>
                  <a:pt x="331" y="106"/>
                  <a:pt x="331" y="107"/>
                </a:cubicBezTo>
                <a:cubicBezTo>
                  <a:pt x="331" y="108"/>
                  <a:pt x="331" y="108"/>
                  <a:pt x="332" y="108"/>
                </a:cubicBezTo>
                <a:cubicBezTo>
                  <a:pt x="333" y="108"/>
                  <a:pt x="333" y="108"/>
                  <a:pt x="333" y="108"/>
                </a:cubicBezTo>
                <a:cubicBezTo>
                  <a:pt x="334" y="109"/>
                  <a:pt x="334" y="108"/>
                  <a:pt x="335" y="109"/>
                </a:cubicBezTo>
                <a:cubicBezTo>
                  <a:pt x="335" y="108"/>
                  <a:pt x="335" y="108"/>
                  <a:pt x="335" y="108"/>
                </a:cubicBezTo>
                <a:cubicBezTo>
                  <a:pt x="335" y="107"/>
                  <a:pt x="335" y="108"/>
                  <a:pt x="336" y="107"/>
                </a:cubicBezTo>
                <a:cubicBezTo>
                  <a:pt x="336" y="107"/>
                  <a:pt x="337" y="107"/>
                  <a:pt x="338" y="108"/>
                </a:cubicBezTo>
                <a:cubicBezTo>
                  <a:pt x="338" y="109"/>
                  <a:pt x="339" y="109"/>
                  <a:pt x="339" y="109"/>
                </a:cubicBezTo>
                <a:cubicBezTo>
                  <a:pt x="340" y="110"/>
                  <a:pt x="340" y="110"/>
                  <a:pt x="340" y="110"/>
                </a:cubicBezTo>
                <a:cubicBezTo>
                  <a:pt x="341" y="111"/>
                  <a:pt x="342" y="111"/>
                  <a:pt x="342" y="111"/>
                </a:cubicBezTo>
                <a:cubicBezTo>
                  <a:pt x="342" y="111"/>
                  <a:pt x="342" y="111"/>
                  <a:pt x="342" y="111"/>
                </a:cubicBezTo>
                <a:cubicBezTo>
                  <a:pt x="343" y="111"/>
                  <a:pt x="343" y="112"/>
                  <a:pt x="344" y="112"/>
                </a:cubicBezTo>
                <a:cubicBezTo>
                  <a:pt x="345" y="113"/>
                  <a:pt x="344" y="114"/>
                  <a:pt x="345" y="115"/>
                </a:cubicBezTo>
                <a:cubicBezTo>
                  <a:pt x="346" y="115"/>
                  <a:pt x="345" y="116"/>
                  <a:pt x="346" y="116"/>
                </a:cubicBezTo>
                <a:cubicBezTo>
                  <a:pt x="347" y="117"/>
                  <a:pt x="347" y="117"/>
                  <a:pt x="348" y="116"/>
                </a:cubicBezTo>
                <a:cubicBezTo>
                  <a:pt x="349" y="116"/>
                  <a:pt x="350" y="115"/>
                  <a:pt x="351" y="114"/>
                </a:cubicBezTo>
                <a:cubicBezTo>
                  <a:pt x="352" y="112"/>
                  <a:pt x="353" y="114"/>
                  <a:pt x="354" y="113"/>
                </a:cubicBezTo>
                <a:cubicBezTo>
                  <a:pt x="356" y="112"/>
                  <a:pt x="357" y="111"/>
                  <a:pt x="359" y="111"/>
                </a:cubicBezTo>
                <a:cubicBezTo>
                  <a:pt x="359" y="111"/>
                  <a:pt x="359" y="110"/>
                  <a:pt x="359" y="110"/>
                </a:cubicBezTo>
                <a:cubicBezTo>
                  <a:pt x="359" y="109"/>
                  <a:pt x="360" y="110"/>
                  <a:pt x="360" y="109"/>
                </a:cubicBezTo>
                <a:cubicBezTo>
                  <a:pt x="360" y="108"/>
                  <a:pt x="360" y="108"/>
                  <a:pt x="360" y="107"/>
                </a:cubicBezTo>
                <a:close/>
                <a:moveTo>
                  <a:pt x="1074" y="90"/>
                </a:moveTo>
                <a:cubicBezTo>
                  <a:pt x="1076" y="90"/>
                  <a:pt x="1076" y="90"/>
                  <a:pt x="1074" y="89"/>
                </a:cubicBezTo>
                <a:cubicBezTo>
                  <a:pt x="1074" y="90"/>
                  <a:pt x="1074" y="90"/>
                  <a:pt x="1074" y="90"/>
                </a:cubicBezTo>
                <a:close/>
                <a:moveTo>
                  <a:pt x="714" y="90"/>
                </a:moveTo>
                <a:cubicBezTo>
                  <a:pt x="714" y="90"/>
                  <a:pt x="714" y="91"/>
                  <a:pt x="715" y="92"/>
                </a:cubicBezTo>
                <a:cubicBezTo>
                  <a:pt x="715" y="92"/>
                  <a:pt x="716" y="92"/>
                  <a:pt x="717" y="92"/>
                </a:cubicBezTo>
                <a:cubicBezTo>
                  <a:pt x="716" y="92"/>
                  <a:pt x="721" y="92"/>
                  <a:pt x="720" y="91"/>
                </a:cubicBezTo>
                <a:cubicBezTo>
                  <a:pt x="718" y="90"/>
                  <a:pt x="716" y="89"/>
                  <a:pt x="714" y="90"/>
                </a:cubicBezTo>
                <a:cubicBezTo>
                  <a:pt x="714" y="91"/>
                  <a:pt x="714" y="90"/>
                  <a:pt x="714" y="90"/>
                </a:cubicBezTo>
                <a:close/>
                <a:moveTo>
                  <a:pt x="362" y="88"/>
                </a:moveTo>
                <a:cubicBezTo>
                  <a:pt x="362" y="88"/>
                  <a:pt x="363" y="89"/>
                  <a:pt x="363" y="89"/>
                </a:cubicBezTo>
                <a:cubicBezTo>
                  <a:pt x="363" y="88"/>
                  <a:pt x="363" y="88"/>
                  <a:pt x="363" y="88"/>
                </a:cubicBezTo>
                <a:cubicBezTo>
                  <a:pt x="363" y="88"/>
                  <a:pt x="362" y="87"/>
                  <a:pt x="362" y="88"/>
                </a:cubicBezTo>
                <a:cubicBezTo>
                  <a:pt x="362" y="88"/>
                  <a:pt x="362" y="88"/>
                  <a:pt x="362" y="88"/>
                </a:cubicBezTo>
                <a:close/>
                <a:moveTo>
                  <a:pt x="549" y="88"/>
                </a:moveTo>
                <a:cubicBezTo>
                  <a:pt x="548" y="87"/>
                  <a:pt x="545" y="87"/>
                  <a:pt x="546" y="89"/>
                </a:cubicBezTo>
                <a:cubicBezTo>
                  <a:pt x="546" y="89"/>
                  <a:pt x="549" y="88"/>
                  <a:pt x="549" y="88"/>
                </a:cubicBezTo>
                <a:cubicBezTo>
                  <a:pt x="549" y="87"/>
                  <a:pt x="549" y="88"/>
                  <a:pt x="549" y="88"/>
                </a:cubicBezTo>
                <a:close/>
                <a:moveTo>
                  <a:pt x="729" y="87"/>
                </a:moveTo>
                <a:cubicBezTo>
                  <a:pt x="729" y="88"/>
                  <a:pt x="730" y="87"/>
                  <a:pt x="730" y="88"/>
                </a:cubicBezTo>
                <a:cubicBezTo>
                  <a:pt x="730" y="87"/>
                  <a:pt x="730" y="87"/>
                  <a:pt x="730" y="87"/>
                </a:cubicBezTo>
                <a:cubicBezTo>
                  <a:pt x="730" y="87"/>
                  <a:pt x="729" y="87"/>
                  <a:pt x="729" y="87"/>
                </a:cubicBezTo>
                <a:close/>
                <a:moveTo>
                  <a:pt x="354" y="87"/>
                </a:moveTo>
                <a:cubicBezTo>
                  <a:pt x="354" y="87"/>
                  <a:pt x="354" y="87"/>
                  <a:pt x="354" y="86"/>
                </a:cubicBezTo>
                <a:cubicBezTo>
                  <a:pt x="353" y="86"/>
                  <a:pt x="353" y="87"/>
                  <a:pt x="353" y="88"/>
                </a:cubicBezTo>
                <a:cubicBezTo>
                  <a:pt x="353" y="88"/>
                  <a:pt x="354" y="88"/>
                  <a:pt x="354" y="87"/>
                </a:cubicBezTo>
                <a:close/>
                <a:moveTo>
                  <a:pt x="230" y="115"/>
                </a:moveTo>
                <a:cubicBezTo>
                  <a:pt x="230" y="116"/>
                  <a:pt x="231" y="116"/>
                  <a:pt x="231" y="117"/>
                </a:cubicBezTo>
                <a:cubicBezTo>
                  <a:pt x="232" y="117"/>
                  <a:pt x="233" y="117"/>
                  <a:pt x="233" y="117"/>
                </a:cubicBezTo>
                <a:cubicBezTo>
                  <a:pt x="233" y="117"/>
                  <a:pt x="234" y="117"/>
                  <a:pt x="235" y="117"/>
                </a:cubicBezTo>
                <a:cubicBezTo>
                  <a:pt x="235" y="117"/>
                  <a:pt x="236" y="116"/>
                  <a:pt x="236" y="116"/>
                </a:cubicBezTo>
                <a:cubicBezTo>
                  <a:pt x="236" y="115"/>
                  <a:pt x="236" y="115"/>
                  <a:pt x="237" y="115"/>
                </a:cubicBezTo>
                <a:cubicBezTo>
                  <a:pt x="237" y="114"/>
                  <a:pt x="238" y="114"/>
                  <a:pt x="238" y="113"/>
                </a:cubicBezTo>
                <a:cubicBezTo>
                  <a:pt x="239" y="113"/>
                  <a:pt x="238" y="113"/>
                  <a:pt x="239" y="113"/>
                </a:cubicBezTo>
                <a:cubicBezTo>
                  <a:pt x="240" y="113"/>
                  <a:pt x="239" y="113"/>
                  <a:pt x="240" y="113"/>
                </a:cubicBezTo>
                <a:cubicBezTo>
                  <a:pt x="241" y="114"/>
                  <a:pt x="242" y="114"/>
                  <a:pt x="244" y="114"/>
                </a:cubicBezTo>
                <a:cubicBezTo>
                  <a:pt x="244" y="113"/>
                  <a:pt x="245" y="113"/>
                  <a:pt x="246" y="113"/>
                </a:cubicBezTo>
                <a:cubicBezTo>
                  <a:pt x="247" y="113"/>
                  <a:pt x="247" y="112"/>
                  <a:pt x="247" y="112"/>
                </a:cubicBezTo>
                <a:cubicBezTo>
                  <a:pt x="247" y="112"/>
                  <a:pt x="247" y="112"/>
                  <a:pt x="247" y="111"/>
                </a:cubicBezTo>
                <a:cubicBezTo>
                  <a:pt x="247" y="111"/>
                  <a:pt x="248" y="111"/>
                  <a:pt x="248" y="110"/>
                </a:cubicBezTo>
                <a:cubicBezTo>
                  <a:pt x="249" y="110"/>
                  <a:pt x="249" y="109"/>
                  <a:pt x="249" y="108"/>
                </a:cubicBezTo>
                <a:cubicBezTo>
                  <a:pt x="248" y="107"/>
                  <a:pt x="248" y="107"/>
                  <a:pt x="249" y="107"/>
                </a:cubicBezTo>
                <a:cubicBezTo>
                  <a:pt x="250" y="106"/>
                  <a:pt x="250" y="106"/>
                  <a:pt x="250" y="106"/>
                </a:cubicBezTo>
                <a:cubicBezTo>
                  <a:pt x="250" y="105"/>
                  <a:pt x="251" y="105"/>
                  <a:pt x="252" y="105"/>
                </a:cubicBezTo>
                <a:cubicBezTo>
                  <a:pt x="252" y="104"/>
                  <a:pt x="252" y="104"/>
                  <a:pt x="253" y="104"/>
                </a:cubicBezTo>
                <a:cubicBezTo>
                  <a:pt x="253" y="103"/>
                  <a:pt x="254" y="101"/>
                  <a:pt x="255" y="101"/>
                </a:cubicBezTo>
                <a:cubicBezTo>
                  <a:pt x="255" y="101"/>
                  <a:pt x="255" y="102"/>
                  <a:pt x="256" y="101"/>
                </a:cubicBezTo>
                <a:cubicBezTo>
                  <a:pt x="256" y="100"/>
                  <a:pt x="257" y="100"/>
                  <a:pt x="258" y="100"/>
                </a:cubicBezTo>
                <a:cubicBezTo>
                  <a:pt x="258" y="100"/>
                  <a:pt x="258" y="100"/>
                  <a:pt x="258" y="100"/>
                </a:cubicBezTo>
                <a:cubicBezTo>
                  <a:pt x="259" y="100"/>
                  <a:pt x="259" y="100"/>
                  <a:pt x="259" y="99"/>
                </a:cubicBezTo>
                <a:cubicBezTo>
                  <a:pt x="260" y="98"/>
                  <a:pt x="261" y="99"/>
                  <a:pt x="261" y="98"/>
                </a:cubicBezTo>
                <a:cubicBezTo>
                  <a:pt x="262" y="98"/>
                  <a:pt x="263" y="98"/>
                  <a:pt x="264" y="98"/>
                </a:cubicBezTo>
                <a:cubicBezTo>
                  <a:pt x="264" y="98"/>
                  <a:pt x="264" y="98"/>
                  <a:pt x="264" y="98"/>
                </a:cubicBezTo>
                <a:cubicBezTo>
                  <a:pt x="265" y="98"/>
                  <a:pt x="265" y="97"/>
                  <a:pt x="266" y="97"/>
                </a:cubicBezTo>
                <a:cubicBezTo>
                  <a:pt x="267" y="97"/>
                  <a:pt x="268" y="98"/>
                  <a:pt x="268" y="97"/>
                </a:cubicBezTo>
                <a:cubicBezTo>
                  <a:pt x="269" y="96"/>
                  <a:pt x="270" y="97"/>
                  <a:pt x="270" y="96"/>
                </a:cubicBezTo>
                <a:cubicBezTo>
                  <a:pt x="270" y="95"/>
                  <a:pt x="270" y="95"/>
                  <a:pt x="269" y="95"/>
                </a:cubicBezTo>
                <a:cubicBezTo>
                  <a:pt x="268" y="94"/>
                  <a:pt x="267" y="94"/>
                  <a:pt x="267" y="94"/>
                </a:cubicBezTo>
                <a:cubicBezTo>
                  <a:pt x="266" y="93"/>
                  <a:pt x="266" y="93"/>
                  <a:pt x="266" y="92"/>
                </a:cubicBezTo>
                <a:cubicBezTo>
                  <a:pt x="266" y="92"/>
                  <a:pt x="266" y="92"/>
                  <a:pt x="266" y="92"/>
                </a:cubicBezTo>
                <a:cubicBezTo>
                  <a:pt x="265" y="92"/>
                  <a:pt x="265" y="92"/>
                  <a:pt x="264" y="92"/>
                </a:cubicBezTo>
                <a:cubicBezTo>
                  <a:pt x="263" y="91"/>
                  <a:pt x="264" y="91"/>
                  <a:pt x="263" y="91"/>
                </a:cubicBezTo>
                <a:cubicBezTo>
                  <a:pt x="262" y="91"/>
                  <a:pt x="263" y="91"/>
                  <a:pt x="262" y="91"/>
                </a:cubicBezTo>
                <a:cubicBezTo>
                  <a:pt x="261" y="91"/>
                  <a:pt x="259" y="90"/>
                  <a:pt x="258" y="90"/>
                </a:cubicBezTo>
                <a:cubicBezTo>
                  <a:pt x="257" y="90"/>
                  <a:pt x="256" y="90"/>
                  <a:pt x="255" y="90"/>
                </a:cubicBezTo>
                <a:cubicBezTo>
                  <a:pt x="255" y="91"/>
                  <a:pt x="255" y="91"/>
                  <a:pt x="254" y="91"/>
                </a:cubicBezTo>
                <a:cubicBezTo>
                  <a:pt x="254" y="90"/>
                  <a:pt x="253" y="91"/>
                  <a:pt x="253" y="90"/>
                </a:cubicBezTo>
                <a:cubicBezTo>
                  <a:pt x="252" y="91"/>
                  <a:pt x="252" y="91"/>
                  <a:pt x="251" y="90"/>
                </a:cubicBezTo>
                <a:cubicBezTo>
                  <a:pt x="250" y="90"/>
                  <a:pt x="248" y="90"/>
                  <a:pt x="247" y="89"/>
                </a:cubicBezTo>
                <a:cubicBezTo>
                  <a:pt x="246" y="89"/>
                  <a:pt x="242" y="87"/>
                  <a:pt x="241" y="86"/>
                </a:cubicBezTo>
                <a:cubicBezTo>
                  <a:pt x="240" y="87"/>
                  <a:pt x="240" y="87"/>
                  <a:pt x="239" y="87"/>
                </a:cubicBezTo>
                <a:cubicBezTo>
                  <a:pt x="238" y="87"/>
                  <a:pt x="239" y="88"/>
                  <a:pt x="238" y="88"/>
                </a:cubicBezTo>
                <a:cubicBezTo>
                  <a:pt x="237" y="88"/>
                  <a:pt x="237" y="88"/>
                  <a:pt x="237" y="88"/>
                </a:cubicBezTo>
                <a:cubicBezTo>
                  <a:pt x="236" y="88"/>
                  <a:pt x="236" y="88"/>
                  <a:pt x="236" y="88"/>
                </a:cubicBezTo>
                <a:cubicBezTo>
                  <a:pt x="235" y="88"/>
                  <a:pt x="234" y="88"/>
                  <a:pt x="234" y="88"/>
                </a:cubicBezTo>
                <a:cubicBezTo>
                  <a:pt x="233" y="88"/>
                  <a:pt x="234" y="89"/>
                  <a:pt x="233" y="89"/>
                </a:cubicBezTo>
                <a:cubicBezTo>
                  <a:pt x="232" y="89"/>
                  <a:pt x="233" y="89"/>
                  <a:pt x="233" y="89"/>
                </a:cubicBezTo>
                <a:cubicBezTo>
                  <a:pt x="232" y="89"/>
                  <a:pt x="231" y="89"/>
                  <a:pt x="231" y="89"/>
                </a:cubicBezTo>
                <a:cubicBezTo>
                  <a:pt x="230" y="89"/>
                  <a:pt x="229" y="90"/>
                  <a:pt x="229" y="90"/>
                </a:cubicBezTo>
                <a:cubicBezTo>
                  <a:pt x="229" y="91"/>
                  <a:pt x="226" y="90"/>
                  <a:pt x="226" y="92"/>
                </a:cubicBezTo>
                <a:cubicBezTo>
                  <a:pt x="227" y="92"/>
                  <a:pt x="227" y="93"/>
                  <a:pt x="227" y="93"/>
                </a:cubicBezTo>
                <a:cubicBezTo>
                  <a:pt x="227" y="95"/>
                  <a:pt x="227" y="93"/>
                  <a:pt x="227" y="94"/>
                </a:cubicBezTo>
                <a:cubicBezTo>
                  <a:pt x="228" y="94"/>
                  <a:pt x="227" y="94"/>
                  <a:pt x="227" y="95"/>
                </a:cubicBezTo>
                <a:cubicBezTo>
                  <a:pt x="228" y="95"/>
                  <a:pt x="228" y="94"/>
                  <a:pt x="228" y="95"/>
                </a:cubicBezTo>
                <a:cubicBezTo>
                  <a:pt x="228" y="95"/>
                  <a:pt x="227" y="95"/>
                  <a:pt x="227" y="95"/>
                </a:cubicBezTo>
                <a:cubicBezTo>
                  <a:pt x="227" y="95"/>
                  <a:pt x="227" y="96"/>
                  <a:pt x="227" y="96"/>
                </a:cubicBezTo>
                <a:cubicBezTo>
                  <a:pt x="227" y="96"/>
                  <a:pt x="228" y="96"/>
                  <a:pt x="227" y="96"/>
                </a:cubicBezTo>
                <a:cubicBezTo>
                  <a:pt x="227" y="96"/>
                  <a:pt x="227" y="97"/>
                  <a:pt x="227" y="97"/>
                </a:cubicBezTo>
                <a:cubicBezTo>
                  <a:pt x="227" y="98"/>
                  <a:pt x="227" y="100"/>
                  <a:pt x="227" y="100"/>
                </a:cubicBezTo>
                <a:cubicBezTo>
                  <a:pt x="228" y="100"/>
                  <a:pt x="228" y="101"/>
                  <a:pt x="228" y="101"/>
                </a:cubicBezTo>
                <a:cubicBezTo>
                  <a:pt x="228" y="101"/>
                  <a:pt x="226" y="101"/>
                  <a:pt x="226" y="101"/>
                </a:cubicBezTo>
                <a:cubicBezTo>
                  <a:pt x="226" y="102"/>
                  <a:pt x="227" y="104"/>
                  <a:pt x="227" y="105"/>
                </a:cubicBezTo>
                <a:cubicBezTo>
                  <a:pt x="226" y="105"/>
                  <a:pt x="227" y="106"/>
                  <a:pt x="227" y="106"/>
                </a:cubicBezTo>
                <a:cubicBezTo>
                  <a:pt x="227" y="107"/>
                  <a:pt x="226" y="107"/>
                  <a:pt x="225" y="107"/>
                </a:cubicBezTo>
                <a:cubicBezTo>
                  <a:pt x="225" y="108"/>
                  <a:pt x="225" y="109"/>
                  <a:pt x="225" y="110"/>
                </a:cubicBezTo>
                <a:cubicBezTo>
                  <a:pt x="226" y="111"/>
                  <a:pt x="226" y="112"/>
                  <a:pt x="227" y="112"/>
                </a:cubicBezTo>
                <a:cubicBezTo>
                  <a:pt x="228" y="113"/>
                  <a:pt x="228" y="113"/>
                  <a:pt x="229" y="114"/>
                </a:cubicBezTo>
                <a:cubicBezTo>
                  <a:pt x="229" y="114"/>
                  <a:pt x="230" y="115"/>
                  <a:pt x="230" y="115"/>
                </a:cubicBezTo>
                <a:close/>
                <a:moveTo>
                  <a:pt x="723" y="84"/>
                </a:moveTo>
                <a:cubicBezTo>
                  <a:pt x="722" y="84"/>
                  <a:pt x="723" y="87"/>
                  <a:pt x="724" y="87"/>
                </a:cubicBezTo>
                <a:cubicBezTo>
                  <a:pt x="725" y="88"/>
                  <a:pt x="726" y="86"/>
                  <a:pt x="726" y="86"/>
                </a:cubicBezTo>
                <a:cubicBezTo>
                  <a:pt x="725" y="86"/>
                  <a:pt x="724" y="86"/>
                  <a:pt x="724" y="85"/>
                </a:cubicBezTo>
                <a:cubicBezTo>
                  <a:pt x="724" y="84"/>
                  <a:pt x="724" y="85"/>
                  <a:pt x="723" y="84"/>
                </a:cubicBezTo>
                <a:close/>
                <a:moveTo>
                  <a:pt x="439" y="85"/>
                </a:moveTo>
                <a:cubicBezTo>
                  <a:pt x="439" y="85"/>
                  <a:pt x="439" y="85"/>
                  <a:pt x="439" y="85"/>
                </a:cubicBezTo>
                <a:cubicBezTo>
                  <a:pt x="438" y="84"/>
                  <a:pt x="438" y="84"/>
                  <a:pt x="437" y="84"/>
                </a:cubicBezTo>
                <a:cubicBezTo>
                  <a:pt x="437" y="85"/>
                  <a:pt x="437" y="85"/>
                  <a:pt x="437" y="86"/>
                </a:cubicBezTo>
                <a:cubicBezTo>
                  <a:pt x="438" y="85"/>
                  <a:pt x="438" y="85"/>
                  <a:pt x="439" y="85"/>
                </a:cubicBezTo>
                <a:cubicBezTo>
                  <a:pt x="439" y="85"/>
                  <a:pt x="439" y="85"/>
                  <a:pt x="439" y="85"/>
                </a:cubicBezTo>
                <a:close/>
                <a:moveTo>
                  <a:pt x="297" y="85"/>
                </a:moveTo>
                <a:cubicBezTo>
                  <a:pt x="297" y="85"/>
                  <a:pt x="297" y="84"/>
                  <a:pt x="297" y="84"/>
                </a:cubicBezTo>
                <a:cubicBezTo>
                  <a:pt x="297" y="83"/>
                  <a:pt x="296" y="85"/>
                  <a:pt x="296" y="85"/>
                </a:cubicBezTo>
                <a:cubicBezTo>
                  <a:pt x="296" y="86"/>
                  <a:pt x="296" y="85"/>
                  <a:pt x="297" y="85"/>
                </a:cubicBezTo>
                <a:close/>
                <a:moveTo>
                  <a:pt x="323" y="83"/>
                </a:moveTo>
                <a:cubicBezTo>
                  <a:pt x="323" y="83"/>
                  <a:pt x="324" y="83"/>
                  <a:pt x="324" y="83"/>
                </a:cubicBezTo>
                <a:cubicBezTo>
                  <a:pt x="324" y="82"/>
                  <a:pt x="324" y="81"/>
                  <a:pt x="323" y="80"/>
                </a:cubicBezTo>
                <a:cubicBezTo>
                  <a:pt x="321" y="81"/>
                  <a:pt x="322" y="82"/>
                  <a:pt x="323" y="83"/>
                </a:cubicBezTo>
                <a:close/>
                <a:moveTo>
                  <a:pt x="1517" y="85"/>
                </a:moveTo>
                <a:cubicBezTo>
                  <a:pt x="1518" y="84"/>
                  <a:pt x="1518" y="85"/>
                  <a:pt x="1518" y="85"/>
                </a:cubicBezTo>
                <a:cubicBezTo>
                  <a:pt x="1519" y="85"/>
                  <a:pt x="1519" y="86"/>
                  <a:pt x="1519" y="86"/>
                </a:cubicBezTo>
                <a:cubicBezTo>
                  <a:pt x="1519" y="86"/>
                  <a:pt x="1520" y="86"/>
                  <a:pt x="1520" y="86"/>
                </a:cubicBezTo>
                <a:cubicBezTo>
                  <a:pt x="1521" y="86"/>
                  <a:pt x="1522" y="85"/>
                  <a:pt x="1522" y="86"/>
                </a:cubicBezTo>
                <a:cubicBezTo>
                  <a:pt x="1523" y="86"/>
                  <a:pt x="1523" y="87"/>
                  <a:pt x="1523" y="86"/>
                </a:cubicBezTo>
                <a:cubicBezTo>
                  <a:pt x="1524" y="86"/>
                  <a:pt x="1524" y="86"/>
                  <a:pt x="1524" y="86"/>
                </a:cubicBezTo>
                <a:cubicBezTo>
                  <a:pt x="1524" y="87"/>
                  <a:pt x="1526" y="87"/>
                  <a:pt x="1526" y="87"/>
                </a:cubicBezTo>
                <a:cubicBezTo>
                  <a:pt x="1526" y="86"/>
                  <a:pt x="1525" y="86"/>
                  <a:pt x="1527" y="86"/>
                </a:cubicBezTo>
                <a:cubicBezTo>
                  <a:pt x="1528" y="86"/>
                  <a:pt x="1528" y="86"/>
                  <a:pt x="1528" y="85"/>
                </a:cubicBezTo>
                <a:cubicBezTo>
                  <a:pt x="1530" y="84"/>
                  <a:pt x="1530" y="84"/>
                  <a:pt x="1532" y="84"/>
                </a:cubicBezTo>
                <a:cubicBezTo>
                  <a:pt x="1532" y="84"/>
                  <a:pt x="1532" y="83"/>
                  <a:pt x="1532" y="83"/>
                </a:cubicBezTo>
                <a:cubicBezTo>
                  <a:pt x="1532" y="83"/>
                  <a:pt x="1531" y="81"/>
                  <a:pt x="1530" y="81"/>
                </a:cubicBezTo>
                <a:cubicBezTo>
                  <a:pt x="1529" y="81"/>
                  <a:pt x="1528" y="81"/>
                  <a:pt x="1527" y="81"/>
                </a:cubicBezTo>
                <a:cubicBezTo>
                  <a:pt x="1526" y="81"/>
                  <a:pt x="1527" y="80"/>
                  <a:pt x="1527" y="80"/>
                </a:cubicBezTo>
                <a:cubicBezTo>
                  <a:pt x="1526" y="80"/>
                  <a:pt x="1526" y="80"/>
                  <a:pt x="1526" y="80"/>
                </a:cubicBezTo>
                <a:cubicBezTo>
                  <a:pt x="1525" y="80"/>
                  <a:pt x="1526" y="80"/>
                  <a:pt x="1526" y="80"/>
                </a:cubicBezTo>
                <a:cubicBezTo>
                  <a:pt x="1525" y="80"/>
                  <a:pt x="1525" y="80"/>
                  <a:pt x="1524" y="80"/>
                </a:cubicBezTo>
                <a:cubicBezTo>
                  <a:pt x="1524" y="79"/>
                  <a:pt x="1523" y="79"/>
                  <a:pt x="1522" y="80"/>
                </a:cubicBezTo>
                <a:cubicBezTo>
                  <a:pt x="1521" y="80"/>
                  <a:pt x="1521" y="80"/>
                  <a:pt x="1520" y="80"/>
                </a:cubicBezTo>
                <a:cubicBezTo>
                  <a:pt x="1518" y="80"/>
                  <a:pt x="1517" y="80"/>
                  <a:pt x="1516" y="79"/>
                </a:cubicBezTo>
                <a:cubicBezTo>
                  <a:pt x="1516" y="80"/>
                  <a:pt x="1516" y="79"/>
                  <a:pt x="1516" y="80"/>
                </a:cubicBezTo>
                <a:cubicBezTo>
                  <a:pt x="1516" y="80"/>
                  <a:pt x="1516" y="81"/>
                  <a:pt x="1516" y="81"/>
                </a:cubicBezTo>
                <a:cubicBezTo>
                  <a:pt x="1516" y="82"/>
                  <a:pt x="1516" y="82"/>
                  <a:pt x="1516" y="83"/>
                </a:cubicBezTo>
                <a:cubicBezTo>
                  <a:pt x="1516" y="84"/>
                  <a:pt x="1516" y="83"/>
                  <a:pt x="1517" y="85"/>
                </a:cubicBezTo>
                <a:close/>
                <a:moveTo>
                  <a:pt x="1496" y="80"/>
                </a:moveTo>
                <a:cubicBezTo>
                  <a:pt x="1496" y="80"/>
                  <a:pt x="1496" y="80"/>
                  <a:pt x="1496" y="81"/>
                </a:cubicBezTo>
                <a:cubicBezTo>
                  <a:pt x="1496" y="82"/>
                  <a:pt x="1496" y="83"/>
                  <a:pt x="1496" y="85"/>
                </a:cubicBezTo>
                <a:cubicBezTo>
                  <a:pt x="1497" y="84"/>
                  <a:pt x="1497" y="86"/>
                  <a:pt x="1497" y="87"/>
                </a:cubicBezTo>
                <a:cubicBezTo>
                  <a:pt x="1498" y="87"/>
                  <a:pt x="1499" y="87"/>
                  <a:pt x="1500" y="86"/>
                </a:cubicBezTo>
                <a:cubicBezTo>
                  <a:pt x="1501" y="85"/>
                  <a:pt x="1502" y="85"/>
                  <a:pt x="1503" y="85"/>
                </a:cubicBezTo>
                <a:cubicBezTo>
                  <a:pt x="1503" y="84"/>
                  <a:pt x="1503" y="83"/>
                  <a:pt x="1503" y="83"/>
                </a:cubicBezTo>
                <a:cubicBezTo>
                  <a:pt x="1503" y="82"/>
                  <a:pt x="1503" y="82"/>
                  <a:pt x="1502" y="81"/>
                </a:cubicBezTo>
                <a:cubicBezTo>
                  <a:pt x="1501" y="81"/>
                  <a:pt x="1501" y="80"/>
                  <a:pt x="1500" y="81"/>
                </a:cubicBezTo>
                <a:cubicBezTo>
                  <a:pt x="1499" y="81"/>
                  <a:pt x="1499" y="81"/>
                  <a:pt x="1498" y="81"/>
                </a:cubicBezTo>
                <a:cubicBezTo>
                  <a:pt x="1498" y="80"/>
                  <a:pt x="1498" y="80"/>
                  <a:pt x="1497" y="80"/>
                </a:cubicBezTo>
                <a:cubicBezTo>
                  <a:pt x="1497" y="80"/>
                  <a:pt x="1497" y="79"/>
                  <a:pt x="1496" y="79"/>
                </a:cubicBezTo>
                <a:cubicBezTo>
                  <a:pt x="1496" y="79"/>
                  <a:pt x="1496" y="79"/>
                  <a:pt x="1495" y="79"/>
                </a:cubicBezTo>
                <a:cubicBezTo>
                  <a:pt x="1495" y="79"/>
                  <a:pt x="1496" y="79"/>
                  <a:pt x="1496" y="80"/>
                </a:cubicBezTo>
                <a:close/>
                <a:moveTo>
                  <a:pt x="732" y="83"/>
                </a:moveTo>
                <a:cubicBezTo>
                  <a:pt x="733" y="82"/>
                  <a:pt x="733" y="83"/>
                  <a:pt x="735" y="83"/>
                </a:cubicBezTo>
                <a:cubicBezTo>
                  <a:pt x="735" y="82"/>
                  <a:pt x="735" y="81"/>
                  <a:pt x="735" y="80"/>
                </a:cubicBezTo>
                <a:cubicBezTo>
                  <a:pt x="734" y="81"/>
                  <a:pt x="734" y="82"/>
                  <a:pt x="733" y="81"/>
                </a:cubicBezTo>
                <a:cubicBezTo>
                  <a:pt x="732" y="81"/>
                  <a:pt x="732" y="81"/>
                  <a:pt x="731" y="81"/>
                </a:cubicBezTo>
                <a:cubicBezTo>
                  <a:pt x="731" y="80"/>
                  <a:pt x="731" y="79"/>
                  <a:pt x="731" y="78"/>
                </a:cubicBezTo>
                <a:cubicBezTo>
                  <a:pt x="730" y="79"/>
                  <a:pt x="729" y="79"/>
                  <a:pt x="728" y="79"/>
                </a:cubicBezTo>
                <a:cubicBezTo>
                  <a:pt x="728" y="80"/>
                  <a:pt x="728" y="82"/>
                  <a:pt x="728" y="83"/>
                </a:cubicBezTo>
                <a:cubicBezTo>
                  <a:pt x="728" y="84"/>
                  <a:pt x="729" y="83"/>
                  <a:pt x="729" y="84"/>
                </a:cubicBezTo>
                <a:cubicBezTo>
                  <a:pt x="730" y="84"/>
                  <a:pt x="732" y="84"/>
                  <a:pt x="732" y="83"/>
                </a:cubicBezTo>
                <a:cubicBezTo>
                  <a:pt x="733" y="82"/>
                  <a:pt x="732" y="83"/>
                  <a:pt x="732" y="83"/>
                </a:cubicBezTo>
                <a:close/>
                <a:moveTo>
                  <a:pt x="366" y="87"/>
                </a:moveTo>
                <a:cubicBezTo>
                  <a:pt x="366" y="87"/>
                  <a:pt x="366" y="86"/>
                  <a:pt x="366" y="86"/>
                </a:cubicBezTo>
                <a:cubicBezTo>
                  <a:pt x="368" y="86"/>
                  <a:pt x="368" y="88"/>
                  <a:pt x="370" y="88"/>
                </a:cubicBezTo>
                <a:cubicBezTo>
                  <a:pt x="370" y="88"/>
                  <a:pt x="370" y="87"/>
                  <a:pt x="370" y="87"/>
                </a:cubicBezTo>
                <a:cubicBezTo>
                  <a:pt x="371" y="87"/>
                  <a:pt x="371" y="87"/>
                  <a:pt x="371" y="86"/>
                </a:cubicBezTo>
                <a:cubicBezTo>
                  <a:pt x="371" y="85"/>
                  <a:pt x="371" y="83"/>
                  <a:pt x="372" y="82"/>
                </a:cubicBezTo>
                <a:cubicBezTo>
                  <a:pt x="371" y="82"/>
                  <a:pt x="372" y="81"/>
                  <a:pt x="371" y="80"/>
                </a:cubicBezTo>
                <a:cubicBezTo>
                  <a:pt x="371" y="80"/>
                  <a:pt x="371" y="79"/>
                  <a:pt x="371" y="79"/>
                </a:cubicBezTo>
                <a:cubicBezTo>
                  <a:pt x="370" y="79"/>
                  <a:pt x="370" y="79"/>
                  <a:pt x="369" y="79"/>
                </a:cubicBezTo>
                <a:cubicBezTo>
                  <a:pt x="369" y="79"/>
                  <a:pt x="369" y="78"/>
                  <a:pt x="369" y="78"/>
                </a:cubicBezTo>
                <a:cubicBezTo>
                  <a:pt x="369" y="78"/>
                  <a:pt x="369" y="78"/>
                  <a:pt x="369" y="78"/>
                </a:cubicBezTo>
                <a:cubicBezTo>
                  <a:pt x="369" y="78"/>
                  <a:pt x="369" y="78"/>
                  <a:pt x="369" y="77"/>
                </a:cubicBezTo>
                <a:cubicBezTo>
                  <a:pt x="369" y="78"/>
                  <a:pt x="368" y="77"/>
                  <a:pt x="368" y="77"/>
                </a:cubicBezTo>
                <a:cubicBezTo>
                  <a:pt x="366" y="77"/>
                  <a:pt x="365" y="77"/>
                  <a:pt x="364" y="77"/>
                </a:cubicBezTo>
                <a:cubicBezTo>
                  <a:pt x="363" y="78"/>
                  <a:pt x="363" y="78"/>
                  <a:pt x="363" y="79"/>
                </a:cubicBezTo>
                <a:cubicBezTo>
                  <a:pt x="363" y="80"/>
                  <a:pt x="363" y="79"/>
                  <a:pt x="362" y="79"/>
                </a:cubicBezTo>
                <a:cubicBezTo>
                  <a:pt x="362" y="80"/>
                  <a:pt x="362" y="80"/>
                  <a:pt x="362" y="80"/>
                </a:cubicBezTo>
                <a:cubicBezTo>
                  <a:pt x="361" y="81"/>
                  <a:pt x="361" y="80"/>
                  <a:pt x="360" y="81"/>
                </a:cubicBezTo>
                <a:cubicBezTo>
                  <a:pt x="360" y="81"/>
                  <a:pt x="360" y="81"/>
                  <a:pt x="360" y="82"/>
                </a:cubicBezTo>
                <a:cubicBezTo>
                  <a:pt x="360" y="83"/>
                  <a:pt x="359" y="83"/>
                  <a:pt x="359" y="83"/>
                </a:cubicBezTo>
                <a:cubicBezTo>
                  <a:pt x="359" y="84"/>
                  <a:pt x="359" y="84"/>
                  <a:pt x="360" y="85"/>
                </a:cubicBezTo>
                <a:cubicBezTo>
                  <a:pt x="361" y="84"/>
                  <a:pt x="361" y="84"/>
                  <a:pt x="362" y="85"/>
                </a:cubicBezTo>
                <a:cubicBezTo>
                  <a:pt x="363" y="85"/>
                  <a:pt x="362" y="86"/>
                  <a:pt x="363" y="86"/>
                </a:cubicBezTo>
                <a:cubicBezTo>
                  <a:pt x="364" y="86"/>
                  <a:pt x="364" y="86"/>
                  <a:pt x="364" y="86"/>
                </a:cubicBezTo>
                <a:cubicBezTo>
                  <a:pt x="364" y="86"/>
                  <a:pt x="365" y="86"/>
                  <a:pt x="365" y="86"/>
                </a:cubicBezTo>
                <a:cubicBezTo>
                  <a:pt x="365" y="86"/>
                  <a:pt x="365" y="87"/>
                  <a:pt x="365" y="87"/>
                </a:cubicBezTo>
                <a:cubicBezTo>
                  <a:pt x="366" y="87"/>
                  <a:pt x="366" y="87"/>
                  <a:pt x="366" y="87"/>
                </a:cubicBezTo>
                <a:close/>
                <a:moveTo>
                  <a:pt x="1470" y="88"/>
                </a:moveTo>
                <a:cubicBezTo>
                  <a:pt x="1471" y="88"/>
                  <a:pt x="1471" y="88"/>
                  <a:pt x="1471" y="88"/>
                </a:cubicBezTo>
                <a:cubicBezTo>
                  <a:pt x="1471" y="88"/>
                  <a:pt x="1471" y="88"/>
                  <a:pt x="1470" y="89"/>
                </a:cubicBezTo>
                <a:cubicBezTo>
                  <a:pt x="1470" y="89"/>
                  <a:pt x="1471" y="89"/>
                  <a:pt x="1471" y="89"/>
                </a:cubicBezTo>
                <a:cubicBezTo>
                  <a:pt x="1472" y="90"/>
                  <a:pt x="1472" y="91"/>
                  <a:pt x="1473" y="91"/>
                </a:cubicBezTo>
                <a:cubicBezTo>
                  <a:pt x="1473" y="92"/>
                  <a:pt x="1474" y="92"/>
                  <a:pt x="1475" y="92"/>
                </a:cubicBezTo>
                <a:cubicBezTo>
                  <a:pt x="1476" y="92"/>
                  <a:pt x="1477" y="92"/>
                  <a:pt x="1477" y="91"/>
                </a:cubicBezTo>
                <a:cubicBezTo>
                  <a:pt x="1478" y="91"/>
                  <a:pt x="1479" y="90"/>
                  <a:pt x="1479" y="89"/>
                </a:cubicBezTo>
                <a:cubicBezTo>
                  <a:pt x="1479" y="89"/>
                  <a:pt x="1479" y="88"/>
                  <a:pt x="1479" y="88"/>
                </a:cubicBezTo>
                <a:cubicBezTo>
                  <a:pt x="1480" y="88"/>
                  <a:pt x="1480" y="87"/>
                  <a:pt x="1481" y="87"/>
                </a:cubicBezTo>
                <a:cubicBezTo>
                  <a:pt x="1482" y="85"/>
                  <a:pt x="1483" y="85"/>
                  <a:pt x="1482" y="83"/>
                </a:cubicBezTo>
                <a:cubicBezTo>
                  <a:pt x="1482" y="83"/>
                  <a:pt x="1482" y="82"/>
                  <a:pt x="1482" y="81"/>
                </a:cubicBezTo>
                <a:cubicBezTo>
                  <a:pt x="1481" y="81"/>
                  <a:pt x="1480" y="81"/>
                  <a:pt x="1480" y="80"/>
                </a:cubicBezTo>
                <a:cubicBezTo>
                  <a:pt x="1480" y="79"/>
                  <a:pt x="1480" y="79"/>
                  <a:pt x="1479" y="79"/>
                </a:cubicBezTo>
                <a:cubicBezTo>
                  <a:pt x="1478" y="78"/>
                  <a:pt x="1478" y="78"/>
                  <a:pt x="1477" y="78"/>
                </a:cubicBezTo>
                <a:cubicBezTo>
                  <a:pt x="1477" y="77"/>
                  <a:pt x="1476" y="77"/>
                  <a:pt x="1476" y="77"/>
                </a:cubicBezTo>
                <a:cubicBezTo>
                  <a:pt x="1475" y="76"/>
                  <a:pt x="1475" y="76"/>
                  <a:pt x="1475" y="76"/>
                </a:cubicBezTo>
                <a:cubicBezTo>
                  <a:pt x="1474" y="76"/>
                  <a:pt x="1472" y="78"/>
                  <a:pt x="1472" y="78"/>
                </a:cubicBezTo>
                <a:cubicBezTo>
                  <a:pt x="1472" y="79"/>
                  <a:pt x="1472" y="79"/>
                  <a:pt x="1472" y="79"/>
                </a:cubicBezTo>
                <a:cubicBezTo>
                  <a:pt x="1471" y="79"/>
                  <a:pt x="1471" y="80"/>
                  <a:pt x="1471" y="80"/>
                </a:cubicBezTo>
                <a:cubicBezTo>
                  <a:pt x="1470" y="80"/>
                  <a:pt x="1471" y="81"/>
                  <a:pt x="1471" y="81"/>
                </a:cubicBezTo>
                <a:cubicBezTo>
                  <a:pt x="1469" y="83"/>
                  <a:pt x="1469" y="84"/>
                  <a:pt x="1470" y="86"/>
                </a:cubicBezTo>
                <a:cubicBezTo>
                  <a:pt x="1470" y="86"/>
                  <a:pt x="1469" y="86"/>
                  <a:pt x="1469" y="86"/>
                </a:cubicBezTo>
                <a:cubicBezTo>
                  <a:pt x="1470" y="86"/>
                  <a:pt x="1470" y="87"/>
                  <a:pt x="1470" y="88"/>
                </a:cubicBezTo>
                <a:close/>
                <a:moveTo>
                  <a:pt x="357" y="80"/>
                </a:moveTo>
                <a:cubicBezTo>
                  <a:pt x="358" y="79"/>
                  <a:pt x="358" y="79"/>
                  <a:pt x="359" y="79"/>
                </a:cubicBezTo>
                <a:cubicBezTo>
                  <a:pt x="359" y="79"/>
                  <a:pt x="359" y="78"/>
                  <a:pt x="360" y="78"/>
                </a:cubicBezTo>
                <a:cubicBezTo>
                  <a:pt x="361" y="78"/>
                  <a:pt x="361" y="78"/>
                  <a:pt x="362" y="76"/>
                </a:cubicBezTo>
                <a:cubicBezTo>
                  <a:pt x="362" y="76"/>
                  <a:pt x="361" y="76"/>
                  <a:pt x="361" y="76"/>
                </a:cubicBezTo>
                <a:cubicBezTo>
                  <a:pt x="361" y="76"/>
                  <a:pt x="361" y="77"/>
                  <a:pt x="360" y="77"/>
                </a:cubicBezTo>
                <a:cubicBezTo>
                  <a:pt x="360" y="77"/>
                  <a:pt x="357" y="78"/>
                  <a:pt x="357" y="78"/>
                </a:cubicBezTo>
                <a:cubicBezTo>
                  <a:pt x="357" y="79"/>
                  <a:pt x="357" y="79"/>
                  <a:pt x="357" y="80"/>
                </a:cubicBezTo>
                <a:cubicBezTo>
                  <a:pt x="358" y="79"/>
                  <a:pt x="357" y="80"/>
                  <a:pt x="357" y="80"/>
                </a:cubicBezTo>
                <a:close/>
                <a:moveTo>
                  <a:pt x="358" y="76"/>
                </a:moveTo>
                <a:cubicBezTo>
                  <a:pt x="358" y="76"/>
                  <a:pt x="358" y="76"/>
                  <a:pt x="358" y="76"/>
                </a:cubicBezTo>
                <a:cubicBezTo>
                  <a:pt x="358" y="76"/>
                  <a:pt x="358" y="76"/>
                  <a:pt x="358" y="76"/>
                </a:cubicBezTo>
                <a:close/>
                <a:moveTo>
                  <a:pt x="356" y="76"/>
                </a:moveTo>
                <a:cubicBezTo>
                  <a:pt x="356" y="76"/>
                  <a:pt x="356" y="76"/>
                  <a:pt x="356" y="77"/>
                </a:cubicBezTo>
                <a:cubicBezTo>
                  <a:pt x="356" y="77"/>
                  <a:pt x="357" y="77"/>
                  <a:pt x="357" y="76"/>
                </a:cubicBezTo>
                <a:cubicBezTo>
                  <a:pt x="357" y="76"/>
                  <a:pt x="357" y="76"/>
                  <a:pt x="357" y="76"/>
                </a:cubicBezTo>
                <a:cubicBezTo>
                  <a:pt x="357" y="76"/>
                  <a:pt x="357" y="75"/>
                  <a:pt x="356" y="76"/>
                </a:cubicBezTo>
                <a:close/>
                <a:moveTo>
                  <a:pt x="1260" y="75"/>
                </a:moveTo>
                <a:cubicBezTo>
                  <a:pt x="1260" y="76"/>
                  <a:pt x="1263" y="75"/>
                  <a:pt x="1260" y="75"/>
                </a:cubicBezTo>
                <a:cubicBezTo>
                  <a:pt x="1260" y="75"/>
                  <a:pt x="1260" y="75"/>
                  <a:pt x="1260" y="75"/>
                </a:cubicBezTo>
                <a:cubicBezTo>
                  <a:pt x="1260" y="76"/>
                  <a:pt x="1260" y="75"/>
                  <a:pt x="1260" y="75"/>
                </a:cubicBezTo>
                <a:close/>
                <a:moveTo>
                  <a:pt x="366" y="76"/>
                </a:moveTo>
                <a:cubicBezTo>
                  <a:pt x="367" y="76"/>
                  <a:pt x="367" y="75"/>
                  <a:pt x="367" y="75"/>
                </a:cubicBezTo>
                <a:cubicBezTo>
                  <a:pt x="366" y="75"/>
                  <a:pt x="366" y="75"/>
                  <a:pt x="366" y="76"/>
                </a:cubicBezTo>
                <a:cubicBezTo>
                  <a:pt x="367" y="76"/>
                  <a:pt x="366" y="76"/>
                  <a:pt x="366" y="76"/>
                </a:cubicBezTo>
                <a:close/>
                <a:moveTo>
                  <a:pt x="437" y="74"/>
                </a:moveTo>
                <a:cubicBezTo>
                  <a:pt x="437" y="74"/>
                  <a:pt x="437" y="74"/>
                  <a:pt x="437" y="74"/>
                </a:cubicBezTo>
                <a:cubicBezTo>
                  <a:pt x="437" y="75"/>
                  <a:pt x="437" y="75"/>
                  <a:pt x="438" y="75"/>
                </a:cubicBezTo>
                <a:cubicBezTo>
                  <a:pt x="439" y="75"/>
                  <a:pt x="440" y="76"/>
                  <a:pt x="440" y="76"/>
                </a:cubicBezTo>
                <a:cubicBezTo>
                  <a:pt x="440" y="76"/>
                  <a:pt x="440" y="75"/>
                  <a:pt x="440" y="75"/>
                </a:cubicBezTo>
                <a:cubicBezTo>
                  <a:pt x="440" y="75"/>
                  <a:pt x="440" y="75"/>
                  <a:pt x="440" y="75"/>
                </a:cubicBezTo>
                <a:cubicBezTo>
                  <a:pt x="441" y="74"/>
                  <a:pt x="441" y="74"/>
                  <a:pt x="441" y="73"/>
                </a:cubicBezTo>
                <a:cubicBezTo>
                  <a:pt x="440" y="73"/>
                  <a:pt x="437" y="74"/>
                  <a:pt x="437" y="74"/>
                </a:cubicBezTo>
                <a:close/>
                <a:moveTo>
                  <a:pt x="256" y="75"/>
                </a:moveTo>
                <a:cubicBezTo>
                  <a:pt x="254" y="75"/>
                  <a:pt x="254" y="77"/>
                  <a:pt x="252" y="78"/>
                </a:cubicBezTo>
                <a:cubicBezTo>
                  <a:pt x="252" y="78"/>
                  <a:pt x="252" y="78"/>
                  <a:pt x="252" y="79"/>
                </a:cubicBezTo>
                <a:cubicBezTo>
                  <a:pt x="252" y="80"/>
                  <a:pt x="252" y="80"/>
                  <a:pt x="253" y="80"/>
                </a:cubicBezTo>
                <a:cubicBezTo>
                  <a:pt x="254" y="80"/>
                  <a:pt x="255" y="80"/>
                  <a:pt x="256" y="80"/>
                </a:cubicBezTo>
                <a:cubicBezTo>
                  <a:pt x="256" y="79"/>
                  <a:pt x="256" y="79"/>
                  <a:pt x="257" y="78"/>
                </a:cubicBezTo>
                <a:cubicBezTo>
                  <a:pt x="257" y="78"/>
                  <a:pt x="257" y="77"/>
                  <a:pt x="257" y="77"/>
                </a:cubicBezTo>
                <a:cubicBezTo>
                  <a:pt x="257" y="76"/>
                  <a:pt x="257" y="76"/>
                  <a:pt x="258" y="76"/>
                </a:cubicBezTo>
                <a:cubicBezTo>
                  <a:pt x="258" y="75"/>
                  <a:pt x="258" y="74"/>
                  <a:pt x="259" y="74"/>
                </a:cubicBezTo>
                <a:cubicBezTo>
                  <a:pt x="258" y="73"/>
                  <a:pt x="258" y="72"/>
                  <a:pt x="257" y="73"/>
                </a:cubicBezTo>
                <a:cubicBezTo>
                  <a:pt x="256" y="74"/>
                  <a:pt x="256" y="74"/>
                  <a:pt x="256" y="75"/>
                </a:cubicBezTo>
                <a:cubicBezTo>
                  <a:pt x="254" y="75"/>
                  <a:pt x="256" y="75"/>
                  <a:pt x="256" y="75"/>
                </a:cubicBezTo>
                <a:close/>
                <a:moveTo>
                  <a:pt x="1273" y="72"/>
                </a:moveTo>
                <a:cubicBezTo>
                  <a:pt x="1273" y="74"/>
                  <a:pt x="1275" y="74"/>
                  <a:pt x="1277" y="74"/>
                </a:cubicBezTo>
                <a:cubicBezTo>
                  <a:pt x="1277" y="74"/>
                  <a:pt x="1278" y="74"/>
                  <a:pt x="1278" y="73"/>
                </a:cubicBezTo>
                <a:cubicBezTo>
                  <a:pt x="1278" y="73"/>
                  <a:pt x="1279" y="73"/>
                  <a:pt x="1279" y="73"/>
                </a:cubicBezTo>
                <a:cubicBezTo>
                  <a:pt x="1279" y="73"/>
                  <a:pt x="1279" y="72"/>
                  <a:pt x="1279" y="72"/>
                </a:cubicBezTo>
                <a:cubicBezTo>
                  <a:pt x="1279" y="71"/>
                  <a:pt x="1277" y="72"/>
                  <a:pt x="1277" y="72"/>
                </a:cubicBezTo>
                <a:cubicBezTo>
                  <a:pt x="1277" y="72"/>
                  <a:pt x="1275" y="73"/>
                  <a:pt x="1275" y="72"/>
                </a:cubicBezTo>
                <a:cubicBezTo>
                  <a:pt x="1274" y="72"/>
                  <a:pt x="1274" y="72"/>
                  <a:pt x="1273" y="72"/>
                </a:cubicBezTo>
                <a:cubicBezTo>
                  <a:pt x="1273" y="73"/>
                  <a:pt x="1273" y="72"/>
                  <a:pt x="1273" y="72"/>
                </a:cubicBezTo>
                <a:close/>
                <a:moveTo>
                  <a:pt x="727" y="71"/>
                </a:moveTo>
                <a:cubicBezTo>
                  <a:pt x="727" y="72"/>
                  <a:pt x="727" y="73"/>
                  <a:pt x="727" y="73"/>
                </a:cubicBezTo>
                <a:cubicBezTo>
                  <a:pt x="727" y="74"/>
                  <a:pt x="728" y="74"/>
                  <a:pt x="728" y="74"/>
                </a:cubicBezTo>
                <a:cubicBezTo>
                  <a:pt x="728" y="75"/>
                  <a:pt x="728" y="75"/>
                  <a:pt x="729" y="75"/>
                </a:cubicBezTo>
                <a:cubicBezTo>
                  <a:pt x="728" y="74"/>
                  <a:pt x="728" y="73"/>
                  <a:pt x="728" y="72"/>
                </a:cubicBezTo>
                <a:cubicBezTo>
                  <a:pt x="727" y="72"/>
                  <a:pt x="727" y="72"/>
                  <a:pt x="728" y="71"/>
                </a:cubicBezTo>
                <a:cubicBezTo>
                  <a:pt x="727" y="70"/>
                  <a:pt x="727" y="70"/>
                  <a:pt x="726" y="71"/>
                </a:cubicBezTo>
                <a:cubicBezTo>
                  <a:pt x="726" y="71"/>
                  <a:pt x="726" y="71"/>
                  <a:pt x="727" y="71"/>
                </a:cubicBezTo>
                <a:cubicBezTo>
                  <a:pt x="727" y="72"/>
                  <a:pt x="727" y="71"/>
                  <a:pt x="727" y="71"/>
                </a:cubicBezTo>
                <a:close/>
                <a:moveTo>
                  <a:pt x="726" y="69"/>
                </a:moveTo>
                <a:cubicBezTo>
                  <a:pt x="726" y="70"/>
                  <a:pt x="726" y="70"/>
                  <a:pt x="727" y="70"/>
                </a:cubicBezTo>
                <a:cubicBezTo>
                  <a:pt x="726" y="70"/>
                  <a:pt x="726" y="70"/>
                  <a:pt x="726" y="69"/>
                </a:cubicBezTo>
                <a:close/>
                <a:moveTo>
                  <a:pt x="266" y="70"/>
                </a:moveTo>
                <a:cubicBezTo>
                  <a:pt x="266" y="70"/>
                  <a:pt x="266" y="71"/>
                  <a:pt x="266" y="71"/>
                </a:cubicBezTo>
                <a:cubicBezTo>
                  <a:pt x="266" y="71"/>
                  <a:pt x="267" y="71"/>
                  <a:pt x="267" y="71"/>
                </a:cubicBezTo>
                <a:cubicBezTo>
                  <a:pt x="268" y="71"/>
                  <a:pt x="267" y="71"/>
                  <a:pt x="268" y="71"/>
                </a:cubicBezTo>
                <a:cubicBezTo>
                  <a:pt x="268" y="70"/>
                  <a:pt x="267" y="68"/>
                  <a:pt x="266" y="70"/>
                </a:cubicBezTo>
                <a:close/>
                <a:moveTo>
                  <a:pt x="322" y="73"/>
                </a:moveTo>
                <a:cubicBezTo>
                  <a:pt x="322" y="73"/>
                  <a:pt x="323" y="73"/>
                  <a:pt x="324" y="73"/>
                </a:cubicBezTo>
                <a:cubicBezTo>
                  <a:pt x="324" y="73"/>
                  <a:pt x="324" y="73"/>
                  <a:pt x="324" y="73"/>
                </a:cubicBezTo>
                <a:cubicBezTo>
                  <a:pt x="324" y="73"/>
                  <a:pt x="325" y="72"/>
                  <a:pt x="325" y="73"/>
                </a:cubicBezTo>
                <a:cubicBezTo>
                  <a:pt x="326" y="73"/>
                  <a:pt x="327" y="72"/>
                  <a:pt x="327" y="72"/>
                </a:cubicBezTo>
                <a:cubicBezTo>
                  <a:pt x="327" y="73"/>
                  <a:pt x="326" y="73"/>
                  <a:pt x="325" y="73"/>
                </a:cubicBezTo>
                <a:cubicBezTo>
                  <a:pt x="324" y="74"/>
                  <a:pt x="323" y="74"/>
                  <a:pt x="323" y="76"/>
                </a:cubicBezTo>
                <a:cubicBezTo>
                  <a:pt x="323" y="75"/>
                  <a:pt x="327" y="74"/>
                  <a:pt x="327" y="75"/>
                </a:cubicBezTo>
                <a:cubicBezTo>
                  <a:pt x="327" y="75"/>
                  <a:pt x="326" y="76"/>
                  <a:pt x="326" y="76"/>
                </a:cubicBezTo>
                <a:cubicBezTo>
                  <a:pt x="325" y="77"/>
                  <a:pt x="326" y="77"/>
                  <a:pt x="325" y="77"/>
                </a:cubicBezTo>
                <a:cubicBezTo>
                  <a:pt x="324" y="78"/>
                  <a:pt x="324" y="77"/>
                  <a:pt x="324" y="79"/>
                </a:cubicBezTo>
                <a:cubicBezTo>
                  <a:pt x="325" y="79"/>
                  <a:pt x="327" y="79"/>
                  <a:pt x="328" y="78"/>
                </a:cubicBezTo>
                <a:cubicBezTo>
                  <a:pt x="329" y="78"/>
                  <a:pt x="329" y="78"/>
                  <a:pt x="329" y="77"/>
                </a:cubicBezTo>
                <a:cubicBezTo>
                  <a:pt x="330" y="76"/>
                  <a:pt x="330" y="77"/>
                  <a:pt x="330" y="77"/>
                </a:cubicBezTo>
                <a:cubicBezTo>
                  <a:pt x="331" y="76"/>
                  <a:pt x="330" y="76"/>
                  <a:pt x="330" y="76"/>
                </a:cubicBezTo>
                <a:cubicBezTo>
                  <a:pt x="331" y="76"/>
                  <a:pt x="331" y="76"/>
                  <a:pt x="331" y="76"/>
                </a:cubicBezTo>
                <a:cubicBezTo>
                  <a:pt x="332" y="75"/>
                  <a:pt x="332" y="76"/>
                  <a:pt x="332" y="75"/>
                </a:cubicBezTo>
                <a:cubicBezTo>
                  <a:pt x="332" y="75"/>
                  <a:pt x="332" y="75"/>
                  <a:pt x="331" y="75"/>
                </a:cubicBezTo>
                <a:cubicBezTo>
                  <a:pt x="332" y="74"/>
                  <a:pt x="332" y="74"/>
                  <a:pt x="332" y="73"/>
                </a:cubicBezTo>
                <a:cubicBezTo>
                  <a:pt x="332" y="72"/>
                  <a:pt x="332" y="72"/>
                  <a:pt x="331" y="72"/>
                </a:cubicBezTo>
                <a:cubicBezTo>
                  <a:pt x="330" y="72"/>
                  <a:pt x="330" y="72"/>
                  <a:pt x="328" y="72"/>
                </a:cubicBezTo>
                <a:cubicBezTo>
                  <a:pt x="329" y="71"/>
                  <a:pt x="330" y="71"/>
                  <a:pt x="330" y="70"/>
                </a:cubicBezTo>
                <a:cubicBezTo>
                  <a:pt x="330" y="69"/>
                  <a:pt x="328" y="69"/>
                  <a:pt x="328" y="69"/>
                </a:cubicBezTo>
                <a:cubicBezTo>
                  <a:pt x="327" y="69"/>
                  <a:pt x="325" y="70"/>
                  <a:pt x="324" y="70"/>
                </a:cubicBezTo>
                <a:cubicBezTo>
                  <a:pt x="323" y="70"/>
                  <a:pt x="323" y="70"/>
                  <a:pt x="323" y="70"/>
                </a:cubicBezTo>
                <a:cubicBezTo>
                  <a:pt x="322" y="71"/>
                  <a:pt x="322" y="71"/>
                  <a:pt x="321" y="71"/>
                </a:cubicBezTo>
                <a:cubicBezTo>
                  <a:pt x="321" y="72"/>
                  <a:pt x="321" y="72"/>
                  <a:pt x="322" y="73"/>
                </a:cubicBezTo>
                <a:cubicBezTo>
                  <a:pt x="322" y="73"/>
                  <a:pt x="322" y="73"/>
                  <a:pt x="322" y="73"/>
                </a:cubicBezTo>
                <a:close/>
                <a:moveTo>
                  <a:pt x="1061" y="112"/>
                </a:moveTo>
                <a:cubicBezTo>
                  <a:pt x="1061" y="113"/>
                  <a:pt x="1061" y="114"/>
                  <a:pt x="1061" y="115"/>
                </a:cubicBezTo>
                <a:cubicBezTo>
                  <a:pt x="1061" y="115"/>
                  <a:pt x="1062" y="116"/>
                  <a:pt x="1062" y="116"/>
                </a:cubicBezTo>
                <a:cubicBezTo>
                  <a:pt x="1062" y="118"/>
                  <a:pt x="1061" y="116"/>
                  <a:pt x="1062" y="117"/>
                </a:cubicBezTo>
                <a:cubicBezTo>
                  <a:pt x="1062" y="117"/>
                  <a:pt x="1062" y="117"/>
                  <a:pt x="1062" y="117"/>
                </a:cubicBezTo>
                <a:cubicBezTo>
                  <a:pt x="1062" y="117"/>
                  <a:pt x="1063" y="117"/>
                  <a:pt x="1063" y="117"/>
                </a:cubicBezTo>
                <a:cubicBezTo>
                  <a:pt x="1064" y="117"/>
                  <a:pt x="1063" y="117"/>
                  <a:pt x="1063" y="116"/>
                </a:cubicBezTo>
                <a:cubicBezTo>
                  <a:pt x="1064" y="116"/>
                  <a:pt x="1065" y="116"/>
                  <a:pt x="1065" y="116"/>
                </a:cubicBezTo>
                <a:cubicBezTo>
                  <a:pt x="1065" y="116"/>
                  <a:pt x="1065" y="116"/>
                  <a:pt x="1065" y="116"/>
                </a:cubicBezTo>
                <a:cubicBezTo>
                  <a:pt x="1066" y="113"/>
                  <a:pt x="1066" y="116"/>
                  <a:pt x="1067" y="116"/>
                </a:cubicBezTo>
                <a:cubicBezTo>
                  <a:pt x="1067" y="116"/>
                  <a:pt x="1068" y="116"/>
                  <a:pt x="1068" y="115"/>
                </a:cubicBezTo>
                <a:cubicBezTo>
                  <a:pt x="1068" y="115"/>
                  <a:pt x="1068" y="115"/>
                  <a:pt x="1068" y="115"/>
                </a:cubicBezTo>
                <a:cubicBezTo>
                  <a:pt x="1069" y="115"/>
                  <a:pt x="1070" y="115"/>
                  <a:pt x="1070" y="115"/>
                </a:cubicBezTo>
                <a:cubicBezTo>
                  <a:pt x="1070" y="115"/>
                  <a:pt x="1069" y="116"/>
                  <a:pt x="1070" y="117"/>
                </a:cubicBezTo>
                <a:cubicBezTo>
                  <a:pt x="1070" y="117"/>
                  <a:pt x="1070" y="118"/>
                  <a:pt x="1070" y="118"/>
                </a:cubicBezTo>
                <a:cubicBezTo>
                  <a:pt x="1071" y="118"/>
                  <a:pt x="1072" y="118"/>
                  <a:pt x="1073" y="118"/>
                </a:cubicBezTo>
                <a:cubicBezTo>
                  <a:pt x="1072" y="118"/>
                  <a:pt x="1074" y="118"/>
                  <a:pt x="1074" y="118"/>
                </a:cubicBezTo>
                <a:cubicBezTo>
                  <a:pt x="1074" y="118"/>
                  <a:pt x="1074" y="119"/>
                  <a:pt x="1074" y="120"/>
                </a:cubicBezTo>
                <a:cubicBezTo>
                  <a:pt x="1073" y="120"/>
                  <a:pt x="1073" y="119"/>
                  <a:pt x="1072" y="121"/>
                </a:cubicBezTo>
                <a:cubicBezTo>
                  <a:pt x="1072" y="120"/>
                  <a:pt x="1071" y="120"/>
                  <a:pt x="1071" y="120"/>
                </a:cubicBezTo>
                <a:cubicBezTo>
                  <a:pt x="1071" y="120"/>
                  <a:pt x="1071" y="120"/>
                  <a:pt x="1070" y="121"/>
                </a:cubicBezTo>
                <a:cubicBezTo>
                  <a:pt x="1070" y="121"/>
                  <a:pt x="1071" y="122"/>
                  <a:pt x="1071" y="122"/>
                </a:cubicBezTo>
                <a:cubicBezTo>
                  <a:pt x="1071" y="122"/>
                  <a:pt x="1072" y="122"/>
                  <a:pt x="1072" y="122"/>
                </a:cubicBezTo>
                <a:cubicBezTo>
                  <a:pt x="1072" y="122"/>
                  <a:pt x="1072" y="123"/>
                  <a:pt x="1072" y="123"/>
                </a:cubicBezTo>
                <a:cubicBezTo>
                  <a:pt x="1072" y="124"/>
                  <a:pt x="1070" y="123"/>
                  <a:pt x="1070" y="123"/>
                </a:cubicBezTo>
                <a:cubicBezTo>
                  <a:pt x="1070" y="124"/>
                  <a:pt x="1070" y="124"/>
                  <a:pt x="1070" y="124"/>
                </a:cubicBezTo>
                <a:cubicBezTo>
                  <a:pt x="1070" y="125"/>
                  <a:pt x="1074" y="124"/>
                  <a:pt x="1075" y="124"/>
                </a:cubicBezTo>
                <a:cubicBezTo>
                  <a:pt x="1076" y="124"/>
                  <a:pt x="1076" y="125"/>
                  <a:pt x="1076" y="125"/>
                </a:cubicBezTo>
                <a:cubicBezTo>
                  <a:pt x="1077" y="125"/>
                  <a:pt x="1077" y="125"/>
                  <a:pt x="1078" y="126"/>
                </a:cubicBezTo>
                <a:cubicBezTo>
                  <a:pt x="1078" y="125"/>
                  <a:pt x="1078" y="125"/>
                  <a:pt x="1078" y="124"/>
                </a:cubicBezTo>
                <a:cubicBezTo>
                  <a:pt x="1079" y="124"/>
                  <a:pt x="1079" y="124"/>
                  <a:pt x="1079" y="123"/>
                </a:cubicBezTo>
                <a:cubicBezTo>
                  <a:pt x="1080" y="123"/>
                  <a:pt x="1081" y="125"/>
                  <a:pt x="1081" y="125"/>
                </a:cubicBezTo>
                <a:cubicBezTo>
                  <a:pt x="1082" y="125"/>
                  <a:pt x="1085" y="124"/>
                  <a:pt x="1085" y="124"/>
                </a:cubicBezTo>
                <a:cubicBezTo>
                  <a:pt x="1085" y="125"/>
                  <a:pt x="1086" y="125"/>
                  <a:pt x="1086" y="124"/>
                </a:cubicBezTo>
                <a:cubicBezTo>
                  <a:pt x="1086" y="124"/>
                  <a:pt x="1085" y="123"/>
                  <a:pt x="1085" y="122"/>
                </a:cubicBezTo>
                <a:cubicBezTo>
                  <a:pt x="1085" y="122"/>
                  <a:pt x="1088" y="122"/>
                  <a:pt x="1088" y="122"/>
                </a:cubicBezTo>
                <a:cubicBezTo>
                  <a:pt x="1088" y="123"/>
                  <a:pt x="1089" y="123"/>
                  <a:pt x="1089" y="123"/>
                </a:cubicBezTo>
                <a:cubicBezTo>
                  <a:pt x="1090" y="123"/>
                  <a:pt x="1090" y="123"/>
                  <a:pt x="1091" y="123"/>
                </a:cubicBezTo>
                <a:cubicBezTo>
                  <a:pt x="1092" y="123"/>
                  <a:pt x="1091" y="123"/>
                  <a:pt x="1092" y="122"/>
                </a:cubicBezTo>
                <a:cubicBezTo>
                  <a:pt x="1092" y="122"/>
                  <a:pt x="1093" y="122"/>
                  <a:pt x="1091" y="122"/>
                </a:cubicBezTo>
                <a:cubicBezTo>
                  <a:pt x="1091" y="121"/>
                  <a:pt x="1091" y="121"/>
                  <a:pt x="1091" y="121"/>
                </a:cubicBezTo>
                <a:cubicBezTo>
                  <a:pt x="1090" y="121"/>
                  <a:pt x="1089" y="121"/>
                  <a:pt x="1089" y="121"/>
                </a:cubicBezTo>
                <a:cubicBezTo>
                  <a:pt x="1089" y="121"/>
                  <a:pt x="1089" y="121"/>
                  <a:pt x="1088" y="121"/>
                </a:cubicBezTo>
                <a:cubicBezTo>
                  <a:pt x="1088" y="121"/>
                  <a:pt x="1088" y="121"/>
                  <a:pt x="1087" y="121"/>
                </a:cubicBezTo>
                <a:cubicBezTo>
                  <a:pt x="1087" y="121"/>
                  <a:pt x="1086" y="120"/>
                  <a:pt x="1086" y="119"/>
                </a:cubicBezTo>
                <a:cubicBezTo>
                  <a:pt x="1085" y="119"/>
                  <a:pt x="1085" y="119"/>
                  <a:pt x="1085" y="119"/>
                </a:cubicBezTo>
                <a:cubicBezTo>
                  <a:pt x="1085" y="118"/>
                  <a:pt x="1083" y="117"/>
                  <a:pt x="1083" y="117"/>
                </a:cubicBezTo>
                <a:cubicBezTo>
                  <a:pt x="1082" y="117"/>
                  <a:pt x="1083" y="116"/>
                  <a:pt x="1083" y="116"/>
                </a:cubicBezTo>
                <a:cubicBezTo>
                  <a:pt x="1083" y="116"/>
                  <a:pt x="1082" y="115"/>
                  <a:pt x="1082" y="115"/>
                </a:cubicBezTo>
                <a:cubicBezTo>
                  <a:pt x="1082" y="114"/>
                  <a:pt x="1081" y="114"/>
                  <a:pt x="1081" y="114"/>
                </a:cubicBezTo>
                <a:cubicBezTo>
                  <a:pt x="1081" y="113"/>
                  <a:pt x="1081" y="112"/>
                  <a:pt x="1081" y="111"/>
                </a:cubicBezTo>
                <a:cubicBezTo>
                  <a:pt x="1081" y="111"/>
                  <a:pt x="1081" y="111"/>
                  <a:pt x="1080" y="111"/>
                </a:cubicBezTo>
                <a:cubicBezTo>
                  <a:pt x="1081" y="110"/>
                  <a:pt x="1082" y="110"/>
                  <a:pt x="1082" y="108"/>
                </a:cubicBezTo>
                <a:cubicBezTo>
                  <a:pt x="1082" y="108"/>
                  <a:pt x="1081" y="108"/>
                  <a:pt x="1081" y="107"/>
                </a:cubicBezTo>
                <a:cubicBezTo>
                  <a:pt x="1081" y="106"/>
                  <a:pt x="1082" y="106"/>
                  <a:pt x="1083" y="106"/>
                </a:cubicBezTo>
                <a:cubicBezTo>
                  <a:pt x="1082" y="105"/>
                  <a:pt x="1082" y="105"/>
                  <a:pt x="1082" y="104"/>
                </a:cubicBezTo>
                <a:cubicBezTo>
                  <a:pt x="1083" y="104"/>
                  <a:pt x="1082" y="104"/>
                  <a:pt x="1083" y="103"/>
                </a:cubicBezTo>
                <a:cubicBezTo>
                  <a:pt x="1083" y="102"/>
                  <a:pt x="1084" y="103"/>
                  <a:pt x="1084" y="102"/>
                </a:cubicBezTo>
                <a:cubicBezTo>
                  <a:pt x="1084" y="101"/>
                  <a:pt x="1084" y="101"/>
                  <a:pt x="1083" y="101"/>
                </a:cubicBezTo>
                <a:cubicBezTo>
                  <a:pt x="1082" y="101"/>
                  <a:pt x="1082" y="101"/>
                  <a:pt x="1081" y="101"/>
                </a:cubicBezTo>
                <a:cubicBezTo>
                  <a:pt x="1081" y="100"/>
                  <a:pt x="1081" y="100"/>
                  <a:pt x="1080" y="100"/>
                </a:cubicBezTo>
                <a:cubicBezTo>
                  <a:pt x="1080" y="100"/>
                  <a:pt x="1080" y="100"/>
                  <a:pt x="1080" y="99"/>
                </a:cubicBezTo>
                <a:cubicBezTo>
                  <a:pt x="1080" y="99"/>
                  <a:pt x="1079" y="99"/>
                  <a:pt x="1079" y="99"/>
                </a:cubicBezTo>
                <a:cubicBezTo>
                  <a:pt x="1078" y="99"/>
                  <a:pt x="1077" y="99"/>
                  <a:pt x="1076" y="100"/>
                </a:cubicBezTo>
                <a:cubicBezTo>
                  <a:pt x="1076" y="99"/>
                  <a:pt x="1076" y="99"/>
                  <a:pt x="1076" y="99"/>
                </a:cubicBezTo>
                <a:cubicBezTo>
                  <a:pt x="1075" y="99"/>
                  <a:pt x="1076" y="98"/>
                  <a:pt x="1076" y="98"/>
                </a:cubicBezTo>
                <a:cubicBezTo>
                  <a:pt x="1076" y="98"/>
                  <a:pt x="1077" y="99"/>
                  <a:pt x="1077" y="99"/>
                </a:cubicBezTo>
                <a:cubicBezTo>
                  <a:pt x="1078" y="99"/>
                  <a:pt x="1077" y="99"/>
                  <a:pt x="1078" y="99"/>
                </a:cubicBezTo>
                <a:cubicBezTo>
                  <a:pt x="1078" y="99"/>
                  <a:pt x="1080" y="100"/>
                  <a:pt x="1080" y="98"/>
                </a:cubicBezTo>
                <a:cubicBezTo>
                  <a:pt x="1081" y="99"/>
                  <a:pt x="1081" y="99"/>
                  <a:pt x="1081" y="100"/>
                </a:cubicBezTo>
                <a:cubicBezTo>
                  <a:pt x="1082" y="100"/>
                  <a:pt x="1083" y="100"/>
                  <a:pt x="1084" y="99"/>
                </a:cubicBezTo>
                <a:cubicBezTo>
                  <a:pt x="1085" y="99"/>
                  <a:pt x="1085" y="99"/>
                  <a:pt x="1086" y="98"/>
                </a:cubicBezTo>
                <a:cubicBezTo>
                  <a:pt x="1086" y="97"/>
                  <a:pt x="1085" y="96"/>
                  <a:pt x="1085" y="96"/>
                </a:cubicBezTo>
                <a:cubicBezTo>
                  <a:pt x="1087" y="96"/>
                  <a:pt x="1087" y="97"/>
                  <a:pt x="1088" y="96"/>
                </a:cubicBezTo>
                <a:cubicBezTo>
                  <a:pt x="1088" y="96"/>
                  <a:pt x="1088" y="95"/>
                  <a:pt x="1088" y="95"/>
                </a:cubicBezTo>
                <a:cubicBezTo>
                  <a:pt x="1089" y="95"/>
                  <a:pt x="1089" y="95"/>
                  <a:pt x="1090" y="95"/>
                </a:cubicBezTo>
                <a:cubicBezTo>
                  <a:pt x="1090" y="94"/>
                  <a:pt x="1089" y="92"/>
                  <a:pt x="1089" y="91"/>
                </a:cubicBezTo>
                <a:cubicBezTo>
                  <a:pt x="1089" y="91"/>
                  <a:pt x="1091" y="91"/>
                  <a:pt x="1091" y="92"/>
                </a:cubicBezTo>
                <a:cubicBezTo>
                  <a:pt x="1091" y="92"/>
                  <a:pt x="1091" y="92"/>
                  <a:pt x="1091" y="93"/>
                </a:cubicBezTo>
                <a:cubicBezTo>
                  <a:pt x="1091" y="93"/>
                  <a:pt x="1092" y="92"/>
                  <a:pt x="1092" y="92"/>
                </a:cubicBezTo>
                <a:cubicBezTo>
                  <a:pt x="1092" y="92"/>
                  <a:pt x="1093" y="92"/>
                  <a:pt x="1093" y="92"/>
                </a:cubicBezTo>
                <a:cubicBezTo>
                  <a:pt x="1093" y="90"/>
                  <a:pt x="1093" y="90"/>
                  <a:pt x="1095" y="90"/>
                </a:cubicBezTo>
                <a:cubicBezTo>
                  <a:pt x="1094" y="89"/>
                  <a:pt x="1093" y="88"/>
                  <a:pt x="1095" y="88"/>
                </a:cubicBezTo>
                <a:cubicBezTo>
                  <a:pt x="1096" y="88"/>
                  <a:pt x="1096" y="88"/>
                  <a:pt x="1097" y="86"/>
                </a:cubicBezTo>
                <a:cubicBezTo>
                  <a:pt x="1097" y="86"/>
                  <a:pt x="1097" y="87"/>
                  <a:pt x="1098" y="87"/>
                </a:cubicBezTo>
                <a:cubicBezTo>
                  <a:pt x="1098" y="87"/>
                  <a:pt x="1099" y="87"/>
                  <a:pt x="1100" y="87"/>
                </a:cubicBezTo>
                <a:cubicBezTo>
                  <a:pt x="1100" y="86"/>
                  <a:pt x="1100" y="86"/>
                  <a:pt x="1100" y="85"/>
                </a:cubicBezTo>
                <a:cubicBezTo>
                  <a:pt x="1101" y="85"/>
                  <a:pt x="1102" y="85"/>
                  <a:pt x="1102" y="86"/>
                </a:cubicBezTo>
                <a:cubicBezTo>
                  <a:pt x="1102" y="86"/>
                  <a:pt x="1103" y="86"/>
                  <a:pt x="1103" y="85"/>
                </a:cubicBezTo>
                <a:cubicBezTo>
                  <a:pt x="1103" y="85"/>
                  <a:pt x="1103" y="84"/>
                  <a:pt x="1104" y="84"/>
                </a:cubicBezTo>
                <a:cubicBezTo>
                  <a:pt x="1105" y="84"/>
                  <a:pt x="1106" y="82"/>
                  <a:pt x="1106" y="82"/>
                </a:cubicBezTo>
                <a:cubicBezTo>
                  <a:pt x="1107" y="82"/>
                  <a:pt x="1107" y="82"/>
                  <a:pt x="1108" y="82"/>
                </a:cubicBezTo>
                <a:cubicBezTo>
                  <a:pt x="1108" y="82"/>
                  <a:pt x="1108" y="82"/>
                  <a:pt x="1108" y="82"/>
                </a:cubicBezTo>
                <a:cubicBezTo>
                  <a:pt x="1108" y="82"/>
                  <a:pt x="1109" y="82"/>
                  <a:pt x="1109" y="82"/>
                </a:cubicBezTo>
                <a:cubicBezTo>
                  <a:pt x="1110" y="81"/>
                  <a:pt x="1107" y="82"/>
                  <a:pt x="1110" y="81"/>
                </a:cubicBezTo>
                <a:cubicBezTo>
                  <a:pt x="1110" y="81"/>
                  <a:pt x="1111" y="81"/>
                  <a:pt x="1111" y="81"/>
                </a:cubicBezTo>
                <a:cubicBezTo>
                  <a:pt x="1111" y="80"/>
                  <a:pt x="1112" y="81"/>
                  <a:pt x="1112" y="80"/>
                </a:cubicBezTo>
                <a:cubicBezTo>
                  <a:pt x="1113" y="80"/>
                  <a:pt x="1114" y="81"/>
                  <a:pt x="1115" y="81"/>
                </a:cubicBezTo>
                <a:cubicBezTo>
                  <a:pt x="1116" y="80"/>
                  <a:pt x="1117" y="80"/>
                  <a:pt x="1117" y="79"/>
                </a:cubicBezTo>
                <a:cubicBezTo>
                  <a:pt x="1118" y="79"/>
                  <a:pt x="1120" y="78"/>
                  <a:pt x="1120" y="79"/>
                </a:cubicBezTo>
                <a:cubicBezTo>
                  <a:pt x="1120" y="79"/>
                  <a:pt x="1120" y="80"/>
                  <a:pt x="1121" y="80"/>
                </a:cubicBezTo>
                <a:cubicBezTo>
                  <a:pt x="1121" y="79"/>
                  <a:pt x="1121" y="79"/>
                  <a:pt x="1122" y="79"/>
                </a:cubicBezTo>
                <a:cubicBezTo>
                  <a:pt x="1122" y="79"/>
                  <a:pt x="1123" y="79"/>
                  <a:pt x="1123" y="78"/>
                </a:cubicBezTo>
                <a:cubicBezTo>
                  <a:pt x="1123" y="78"/>
                  <a:pt x="1124" y="79"/>
                  <a:pt x="1124" y="78"/>
                </a:cubicBezTo>
                <a:cubicBezTo>
                  <a:pt x="1124" y="77"/>
                  <a:pt x="1127" y="77"/>
                  <a:pt x="1127" y="77"/>
                </a:cubicBezTo>
                <a:cubicBezTo>
                  <a:pt x="1128" y="77"/>
                  <a:pt x="1128" y="77"/>
                  <a:pt x="1128" y="77"/>
                </a:cubicBezTo>
                <a:cubicBezTo>
                  <a:pt x="1128" y="77"/>
                  <a:pt x="1129" y="77"/>
                  <a:pt x="1130" y="77"/>
                </a:cubicBezTo>
                <a:cubicBezTo>
                  <a:pt x="1131" y="77"/>
                  <a:pt x="1130" y="77"/>
                  <a:pt x="1131" y="77"/>
                </a:cubicBezTo>
                <a:cubicBezTo>
                  <a:pt x="1132" y="77"/>
                  <a:pt x="1131" y="76"/>
                  <a:pt x="1132" y="76"/>
                </a:cubicBezTo>
                <a:cubicBezTo>
                  <a:pt x="1132" y="76"/>
                  <a:pt x="1132" y="76"/>
                  <a:pt x="1132" y="76"/>
                </a:cubicBezTo>
                <a:cubicBezTo>
                  <a:pt x="1133" y="76"/>
                  <a:pt x="1133" y="76"/>
                  <a:pt x="1134" y="76"/>
                </a:cubicBezTo>
                <a:cubicBezTo>
                  <a:pt x="1135" y="76"/>
                  <a:pt x="1134" y="75"/>
                  <a:pt x="1136" y="75"/>
                </a:cubicBezTo>
                <a:cubicBezTo>
                  <a:pt x="1137" y="75"/>
                  <a:pt x="1137" y="75"/>
                  <a:pt x="1137" y="74"/>
                </a:cubicBezTo>
                <a:cubicBezTo>
                  <a:pt x="1138" y="74"/>
                  <a:pt x="1138" y="74"/>
                  <a:pt x="1138" y="74"/>
                </a:cubicBezTo>
                <a:cubicBezTo>
                  <a:pt x="1138" y="74"/>
                  <a:pt x="1138" y="74"/>
                  <a:pt x="1138" y="73"/>
                </a:cubicBezTo>
                <a:cubicBezTo>
                  <a:pt x="1139" y="73"/>
                  <a:pt x="1139" y="73"/>
                  <a:pt x="1139" y="73"/>
                </a:cubicBezTo>
                <a:cubicBezTo>
                  <a:pt x="1140" y="73"/>
                  <a:pt x="1139" y="72"/>
                  <a:pt x="1140" y="72"/>
                </a:cubicBezTo>
                <a:cubicBezTo>
                  <a:pt x="1140" y="72"/>
                  <a:pt x="1139" y="71"/>
                  <a:pt x="1140" y="70"/>
                </a:cubicBezTo>
                <a:cubicBezTo>
                  <a:pt x="1140" y="70"/>
                  <a:pt x="1139" y="69"/>
                  <a:pt x="1138" y="69"/>
                </a:cubicBezTo>
                <a:cubicBezTo>
                  <a:pt x="1138" y="67"/>
                  <a:pt x="1138" y="67"/>
                  <a:pt x="1136" y="67"/>
                </a:cubicBezTo>
                <a:cubicBezTo>
                  <a:pt x="1136" y="67"/>
                  <a:pt x="1135" y="67"/>
                  <a:pt x="1135" y="68"/>
                </a:cubicBezTo>
                <a:cubicBezTo>
                  <a:pt x="1135" y="68"/>
                  <a:pt x="1134" y="69"/>
                  <a:pt x="1134" y="69"/>
                </a:cubicBezTo>
                <a:cubicBezTo>
                  <a:pt x="1133" y="69"/>
                  <a:pt x="1132" y="69"/>
                  <a:pt x="1131" y="70"/>
                </a:cubicBezTo>
                <a:cubicBezTo>
                  <a:pt x="1130" y="72"/>
                  <a:pt x="1130" y="70"/>
                  <a:pt x="1129" y="70"/>
                </a:cubicBezTo>
                <a:cubicBezTo>
                  <a:pt x="1129" y="70"/>
                  <a:pt x="1128" y="71"/>
                  <a:pt x="1128" y="71"/>
                </a:cubicBezTo>
                <a:cubicBezTo>
                  <a:pt x="1127" y="71"/>
                  <a:pt x="1128" y="71"/>
                  <a:pt x="1127" y="71"/>
                </a:cubicBezTo>
                <a:cubicBezTo>
                  <a:pt x="1127" y="71"/>
                  <a:pt x="1127" y="72"/>
                  <a:pt x="1126" y="72"/>
                </a:cubicBezTo>
                <a:cubicBezTo>
                  <a:pt x="1126" y="72"/>
                  <a:pt x="1125" y="72"/>
                  <a:pt x="1125" y="72"/>
                </a:cubicBezTo>
                <a:cubicBezTo>
                  <a:pt x="1125" y="72"/>
                  <a:pt x="1125" y="72"/>
                  <a:pt x="1124" y="72"/>
                </a:cubicBezTo>
                <a:cubicBezTo>
                  <a:pt x="1124" y="72"/>
                  <a:pt x="1123" y="73"/>
                  <a:pt x="1122" y="73"/>
                </a:cubicBezTo>
                <a:cubicBezTo>
                  <a:pt x="1122" y="73"/>
                  <a:pt x="1122" y="73"/>
                  <a:pt x="1122" y="73"/>
                </a:cubicBezTo>
                <a:cubicBezTo>
                  <a:pt x="1122" y="74"/>
                  <a:pt x="1121" y="74"/>
                  <a:pt x="1120" y="74"/>
                </a:cubicBezTo>
                <a:cubicBezTo>
                  <a:pt x="1120" y="74"/>
                  <a:pt x="1119" y="73"/>
                  <a:pt x="1119" y="74"/>
                </a:cubicBezTo>
                <a:cubicBezTo>
                  <a:pt x="1119" y="74"/>
                  <a:pt x="1117" y="75"/>
                  <a:pt x="1117" y="75"/>
                </a:cubicBezTo>
                <a:cubicBezTo>
                  <a:pt x="1116" y="75"/>
                  <a:pt x="1116" y="75"/>
                  <a:pt x="1115" y="74"/>
                </a:cubicBezTo>
                <a:cubicBezTo>
                  <a:pt x="1115" y="74"/>
                  <a:pt x="1114" y="74"/>
                  <a:pt x="1114" y="74"/>
                </a:cubicBezTo>
                <a:cubicBezTo>
                  <a:pt x="1114" y="74"/>
                  <a:pt x="1112" y="73"/>
                  <a:pt x="1111" y="73"/>
                </a:cubicBezTo>
                <a:cubicBezTo>
                  <a:pt x="1110" y="73"/>
                  <a:pt x="1109" y="73"/>
                  <a:pt x="1108" y="73"/>
                </a:cubicBezTo>
                <a:cubicBezTo>
                  <a:pt x="1108" y="74"/>
                  <a:pt x="1108" y="75"/>
                  <a:pt x="1108" y="76"/>
                </a:cubicBezTo>
                <a:cubicBezTo>
                  <a:pt x="1107" y="76"/>
                  <a:pt x="1107" y="76"/>
                  <a:pt x="1106" y="76"/>
                </a:cubicBezTo>
                <a:cubicBezTo>
                  <a:pt x="1105" y="76"/>
                  <a:pt x="1105" y="75"/>
                  <a:pt x="1105" y="76"/>
                </a:cubicBezTo>
                <a:cubicBezTo>
                  <a:pt x="1105" y="76"/>
                  <a:pt x="1104" y="76"/>
                  <a:pt x="1103" y="76"/>
                </a:cubicBezTo>
                <a:cubicBezTo>
                  <a:pt x="1103" y="76"/>
                  <a:pt x="1103" y="75"/>
                  <a:pt x="1103" y="76"/>
                </a:cubicBezTo>
                <a:cubicBezTo>
                  <a:pt x="1103" y="76"/>
                  <a:pt x="1102" y="76"/>
                  <a:pt x="1101" y="77"/>
                </a:cubicBezTo>
                <a:cubicBezTo>
                  <a:pt x="1101" y="77"/>
                  <a:pt x="1100" y="77"/>
                  <a:pt x="1100" y="77"/>
                </a:cubicBezTo>
                <a:cubicBezTo>
                  <a:pt x="1100" y="77"/>
                  <a:pt x="1099" y="77"/>
                  <a:pt x="1099" y="77"/>
                </a:cubicBezTo>
                <a:cubicBezTo>
                  <a:pt x="1098" y="77"/>
                  <a:pt x="1098" y="78"/>
                  <a:pt x="1098" y="78"/>
                </a:cubicBezTo>
                <a:cubicBezTo>
                  <a:pt x="1098" y="78"/>
                  <a:pt x="1098" y="78"/>
                  <a:pt x="1098" y="78"/>
                </a:cubicBezTo>
                <a:cubicBezTo>
                  <a:pt x="1097" y="79"/>
                  <a:pt x="1097" y="79"/>
                  <a:pt x="1096" y="79"/>
                </a:cubicBezTo>
                <a:cubicBezTo>
                  <a:pt x="1095" y="79"/>
                  <a:pt x="1094" y="79"/>
                  <a:pt x="1093" y="80"/>
                </a:cubicBezTo>
                <a:cubicBezTo>
                  <a:pt x="1093" y="81"/>
                  <a:pt x="1093" y="80"/>
                  <a:pt x="1092" y="81"/>
                </a:cubicBezTo>
                <a:cubicBezTo>
                  <a:pt x="1092" y="81"/>
                  <a:pt x="1092" y="81"/>
                  <a:pt x="1091" y="82"/>
                </a:cubicBezTo>
                <a:cubicBezTo>
                  <a:pt x="1091" y="82"/>
                  <a:pt x="1090" y="82"/>
                  <a:pt x="1090" y="81"/>
                </a:cubicBezTo>
                <a:cubicBezTo>
                  <a:pt x="1089" y="81"/>
                  <a:pt x="1088" y="81"/>
                  <a:pt x="1087" y="81"/>
                </a:cubicBezTo>
                <a:cubicBezTo>
                  <a:pt x="1087" y="81"/>
                  <a:pt x="1086" y="81"/>
                  <a:pt x="1086" y="81"/>
                </a:cubicBezTo>
                <a:cubicBezTo>
                  <a:pt x="1086" y="81"/>
                  <a:pt x="1084" y="83"/>
                  <a:pt x="1085" y="82"/>
                </a:cubicBezTo>
                <a:cubicBezTo>
                  <a:pt x="1085" y="82"/>
                  <a:pt x="1085" y="83"/>
                  <a:pt x="1085" y="83"/>
                </a:cubicBezTo>
                <a:cubicBezTo>
                  <a:pt x="1084" y="83"/>
                  <a:pt x="1083" y="84"/>
                  <a:pt x="1082" y="83"/>
                </a:cubicBezTo>
                <a:cubicBezTo>
                  <a:pt x="1081" y="83"/>
                  <a:pt x="1081" y="83"/>
                  <a:pt x="1080" y="84"/>
                </a:cubicBezTo>
                <a:cubicBezTo>
                  <a:pt x="1081" y="84"/>
                  <a:pt x="1083" y="84"/>
                  <a:pt x="1081" y="85"/>
                </a:cubicBezTo>
                <a:cubicBezTo>
                  <a:pt x="1080" y="85"/>
                  <a:pt x="1080" y="85"/>
                  <a:pt x="1080" y="86"/>
                </a:cubicBezTo>
                <a:cubicBezTo>
                  <a:pt x="1080" y="86"/>
                  <a:pt x="1081" y="87"/>
                  <a:pt x="1081" y="87"/>
                </a:cubicBezTo>
                <a:cubicBezTo>
                  <a:pt x="1081" y="87"/>
                  <a:pt x="1080" y="87"/>
                  <a:pt x="1079" y="87"/>
                </a:cubicBezTo>
                <a:cubicBezTo>
                  <a:pt x="1078" y="86"/>
                  <a:pt x="1078" y="86"/>
                  <a:pt x="1078" y="87"/>
                </a:cubicBezTo>
                <a:cubicBezTo>
                  <a:pt x="1077" y="87"/>
                  <a:pt x="1078" y="88"/>
                  <a:pt x="1077" y="89"/>
                </a:cubicBezTo>
                <a:cubicBezTo>
                  <a:pt x="1077" y="89"/>
                  <a:pt x="1076" y="88"/>
                  <a:pt x="1076" y="88"/>
                </a:cubicBezTo>
                <a:cubicBezTo>
                  <a:pt x="1076" y="89"/>
                  <a:pt x="1076" y="89"/>
                  <a:pt x="1076" y="90"/>
                </a:cubicBezTo>
                <a:cubicBezTo>
                  <a:pt x="1076" y="90"/>
                  <a:pt x="1075" y="91"/>
                  <a:pt x="1075" y="91"/>
                </a:cubicBezTo>
                <a:cubicBezTo>
                  <a:pt x="1074" y="89"/>
                  <a:pt x="1072" y="92"/>
                  <a:pt x="1072" y="92"/>
                </a:cubicBezTo>
                <a:cubicBezTo>
                  <a:pt x="1072" y="93"/>
                  <a:pt x="1071" y="92"/>
                  <a:pt x="1071" y="92"/>
                </a:cubicBezTo>
                <a:cubicBezTo>
                  <a:pt x="1070" y="93"/>
                  <a:pt x="1071" y="93"/>
                  <a:pt x="1070" y="93"/>
                </a:cubicBezTo>
                <a:cubicBezTo>
                  <a:pt x="1069" y="93"/>
                  <a:pt x="1068" y="93"/>
                  <a:pt x="1068" y="94"/>
                </a:cubicBezTo>
                <a:cubicBezTo>
                  <a:pt x="1069" y="95"/>
                  <a:pt x="1069" y="94"/>
                  <a:pt x="1070" y="95"/>
                </a:cubicBezTo>
                <a:cubicBezTo>
                  <a:pt x="1070" y="95"/>
                  <a:pt x="1072" y="95"/>
                  <a:pt x="1072" y="95"/>
                </a:cubicBezTo>
                <a:cubicBezTo>
                  <a:pt x="1073" y="95"/>
                  <a:pt x="1075" y="95"/>
                  <a:pt x="1074" y="95"/>
                </a:cubicBezTo>
                <a:cubicBezTo>
                  <a:pt x="1073" y="95"/>
                  <a:pt x="1073" y="95"/>
                  <a:pt x="1072" y="95"/>
                </a:cubicBezTo>
                <a:cubicBezTo>
                  <a:pt x="1072" y="95"/>
                  <a:pt x="1071" y="97"/>
                  <a:pt x="1071" y="97"/>
                </a:cubicBezTo>
                <a:cubicBezTo>
                  <a:pt x="1071" y="97"/>
                  <a:pt x="1071" y="98"/>
                  <a:pt x="1070" y="98"/>
                </a:cubicBezTo>
                <a:cubicBezTo>
                  <a:pt x="1071" y="98"/>
                  <a:pt x="1071" y="99"/>
                  <a:pt x="1071" y="99"/>
                </a:cubicBezTo>
                <a:cubicBezTo>
                  <a:pt x="1071" y="99"/>
                  <a:pt x="1073" y="98"/>
                  <a:pt x="1073" y="99"/>
                </a:cubicBezTo>
                <a:cubicBezTo>
                  <a:pt x="1073" y="99"/>
                  <a:pt x="1071" y="100"/>
                  <a:pt x="1071" y="101"/>
                </a:cubicBezTo>
                <a:cubicBezTo>
                  <a:pt x="1070" y="101"/>
                  <a:pt x="1068" y="100"/>
                  <a:pt x="1067" y="101"/>
                </a:cubicBezTo>
                <a:cubicBezTo>
                  <a:pt x="1067" y="101"/>
                  <a:pt x="1067" y="101"/>
                  <a:pt x="1066" y="101"/>
                </a:cubicBezTo>
                <a:cubicBezTo>
                  <a:pt x="1066" y="102"/>
                  <a:pt x="1067" y="102"/>
                  <a:pt x="1066" y="102"/>
                </a:cubicBezTo>
                <a:cubicBezTo>
                  <a:pt x="1066" y="103"/>
                  <a:pt x="1066" y="104"/>
                  <a:pt x="1067" y="105"/>
                </a:cubicBezTo>
                <a:cubicBezTo>
                  <a:pt x="1067" y="105"/>
                  <a:pt x="1068" y="106"/>
                  <a:pt x="1067" y="106"/>
                </a:cubicBezTo>
                <a:cubicBezTo>
                  <a:pt x="1065" y="106"/>
                  <a:pt x="1066" y="106"/>
                  <a:pt x="1066" y="107"/>
                </a:cubicBezTo>
                <a:cubicBezTo>
                  <a:pt x="1066" y="108"/>
                  <a:pt x="1065" y="108"/>
                  <a:pt x="1065" y="108"/>
                </a:cubicBezTo>
                <a:cubicBezTo>
                  <a:pt x="1065" y="109"/>
                  <a:pt x="1066" y="109"/>
                  <a:pt x="1065" y="110"/>
                </a:cubicBezTo>
                <a:cubicBezTo>
                  <a:pt x="1065" y="110"/>
                  <a:pt x="1065" y="110"/>
                  <a:pt x="1064" y="110"/>
                </a:cubicBezTo>
                <a:cubicBezTo>
                  <a:pt x="1064" y="110"/>
                  <a:pt x="1064" y="111"/>
                  <a:pt x="1064" y="111"/>
                </a:cubicBezTo>
                <a:cubicBezTo>
                  <a:pt x="1064" y="111"/>
                  <a:pt x="1063" y="110"/>
                  <a:pt x="1063" y="110"/>
                </a:cubicBezTo>
                <a:cubicBezTo>
                  <a:pt x="1061" y="110"/>
                  <a:pt x="1062" y="111"/>
                  <a:pt x="1061" y="112"/>
                </a:cubicBezTo>
                <a:cubicBezTo>
                  <a:pt x="1061" y="114"/>
                  <a:pt x="1061" y="112"/>
                  <a:pt x="1061" y="112"/>
                </a:cubicBezTo>
                <a:close/>
                <a:moveTo>
                  <a:pt x="386" y="67"/>
                </a:moveTo>
                <a:cubicBezTo>
                  <a:pt x="386" y="67"/>
                  <a:pt x="386" y="67"/>
                  <a:pt x="386" y="67"/>
                </a:cubicBezTo>
                <a:cubicBezTo>
                  <a:pt x="386" y="69"/>
                  <a:pt x="387" y="69"/>
                  <a:pt x="389" y="69"/>
                </a:cubicBezTo>
                <a:cubicBezTo>
                  <a:pt x="389" y="68"/>
                  <a:pt x="388" y="67"/>
                  <a:pt x="388" y="66"/>
                </a:cubicBezTo>
                <a:cubicBezTo>
                  <a:pt x="388" y="66"/>
                  <a:pt x="386" y="66"/>
                  <a:pt x="386" y="67"/>
                </a:cubicBezTo>
                <a:close/>
                <a:moveTo>
                  <a:pt x="323" y="66"/>
                </a:moveTo>
                <a:cubicBezTo>
                  <a:pt x="322" y="67"/>
                  <a:pt x="321" y="68"/>
                  <a:pt x="321" y="69"/>
                </a:cubicBezTo>
                <a:cubicBezTo>
                  <a:pt x="323" y="69"/>
                  <a:pt x="325" y="69"/>
                  <a:pt x="326" y="68"/>
                </a:cubicBezTo>
                <a:cubicBezTo>
                  <a:pt x="326" y="67"/>
                  <a:pt x="326" y="67"/>
                  <a:pt x="325" y="67"/>
                </a:cubicBezTo>
                <a:cubicBezTo>
                  <a:pt x="325" y="67"/>
                  <a:pt x="324" y="67"/>
                  <a:pt x="324" y="67"/>
                </a:cubicBezTo>
                <a:cubicBezTo>
                  <a:pt x="324" y="66"/>
                  <a:pt x="324" y="66"/>
                  <a:pt x="324" y="66"/>
                </a:cubicBezTo>
                <a:cubicBezTo>
                  <a:pt x="324" y="66"/>
                  <a:pt x="323" y="66"/>
                  <a:pt x="323" y="66"/>
                </a:cubicBezTo>
                <a:cubicBezTo>
                  <a:pt x="322" y="67"/>
                  <a:pt x="323" y="66"/>
                  <a:pt x="323" y="66"/>
                </a:cubicBezTo>
                <a:close/>
                <a:moveTo>
                  <a:pt x="347" y="66"/>
                </a:moveTo>
                <a:cubicBezTo>
                  <a:pt x="347" y="66"/>
                  <a:pt x="346" y="68"/>
                  <a:pt x="346" y="68"/>
                </a:cubicBezTo>
                <a:cubicBezTo>
                  <a:pt x="346" y="68"/>
                  <a:pt x="346" y="69"/>
                  <a:pt x="347" y="69"/>
                </a:cubicBezTo>
                <a:cubicBezTo>
                  <a:pt x="346" y="70"/>
                  <a:pt x="345" y="70"/>
                  <a:pt x="344" y="70"/>
                </a:cubicBezTo>
                <a:cubicBezTo>
                  <a:pt x="344" y="69"/>
                  <a:pt x="344" y="69"/>
                  <a:pt x="344" y="69"/>
                </a:cubicBezTo>
                <a:cubicBezTo>
                  <a:pt x="344" y="68"/>
                  <a:pt x="345" y="68"/>
                  <a:pt x="345" y="68"/>
                </a:cubicBezTo>
                <a:cubicBezTo>
                  <a:pt x="344" y="68"/>
                  <a:pt x="344" y="68"/>
                  <a:pt x="344" y="67"/>
                </a:cubicBezTo>
                <a:cubicBezTo>
                  <a:pt x="343" y="67"/>
                  <a:pt x="343" y="66"/>
                  <a:pt x="343" y="65"/>
                </a:cubicBezTo>
                <a:cubicBezTo>
                  <a:pt x="342" y="66"/>
                  <a:pt x="340" y="66"/>
                  <a:pt x="340" y="67"/>
                </a:cubicBezTo>
                <a:cubicBezTo>
                  <a:pt x="340" y="68"/>
                  <a:pt x="343" y="68"/>
                  <a:pt x="343" y="68"/>
                </a:cubicBezTo>
                <a:cubicBezTo>
                  <a:pt x="343" y="69"/>
                  <a:pt x="343" y="69"/>
                  <a:pt x="343" y="69"/>
                </a:cubicBezTo>
                <a:cubicBezTo>
                  <a:pt x="342" y="69"/>
                  <a:pt x="342" y="69"/>
                  <a:pt x="341" y="69"/>
                </a:cubicBezTo>
                <a:cubicBezTo>
                  <a:pt x="340" y="70"/>
                  <a:pt x="339" y="69"/>
                  <a:pt x="339" y="71"/>
                </a:cubicBezTo>
                <a:cubicBezTo>
                  <a:pt x="339" y="70"/>
                  <a:pt x="340" y="71"/>
                  <a:pt x="340" y="71"/>
                </a:cubicBezTo>
                <a:cubicBezTo>
                  <a:pt x="340" y="71"/>
                  <a:pt x="341" y="72"/>
                  <a:pt x="341" y="72"/>
                </a:cubicBezTo>
                <a:cubicBezTo>
                  <a:pt x="342" y="72"/>
                  <a:pt x="342" y="72"/>
                  <a:pt x="342" y="73"/>
                </a:cubicBezTo>
                <a:cubicBezTo>
                  <a:pt x="342" y="74"/>
                  <a:pt x="342" y="74"/>
                  <a:pt x="342" y="75"/>
                </a:cubicBezTo>
                <a:cubicBezTo>
                  <a:pt x="342" y="75"/>
                  <a:pt x="343" y="75"/>
                  <a:pt x="343" y="75"/>
                </a:cubicBezTo>
                <a:cubicBezTo>
                  <a:pt x="343" y="76"/>
                  <a:pt x="342" y="76"/>
                  <a:pt x="342" y="77"/>
                </a:cubicBezTo>
                <a:cubicBezTo>
                  <a:pt x="341" y="76"/>
                  <a:pt x="341" y="76"/>
                  <a:pt x="340" y="76"/>
                </a:cubicBezTo>
                <a:cubicBezTo>
                  <a:pt x="340" y="76"/>
                  <a:pt x="340" y="75"/>
                  <a:pt x="341" y="74"/>
                </a:cubicBezTo>
                <a:cubicBezTo>
                  <a:pt x="340" y="74"/>
                  <a:pt x="339" y="74"/>
                  <a:pt x="339" y="73"/>
                </a:cubicBezTo>
                <a:cubicBezTo>
                  <a:pt x="338" y="73"/>
                  <a:pt x="337" y="72"/>
                  <a:pt x="336" y="70"/>
                </a:cubicBezTo>
                <a:cubicBezTo>
                  <a:pt x="336" y="70"/>
                  <a:pt x="336" y="70"/>
                  <a:pt x="336" y="69"/>
                </a:cubicBezTo>
                <a:cubicBezTo>
                  <a:pt x="336" y="69"/>
                  <a:pt x="336" y="69"/>
                  <a:pt x="335" y="69"/>
                </a:cubicBezTo>
                <a:cubicBezTo>
                  <a:pt x="335" y="69"/>
                  <a:pt x="334" y="69"/>
                  <a:pt x="334" y="69"/>
                </a:cubicBezTo>
                <a:cubicBezTo>
                  <a:pt x="333" y="69"/>
                  <a:pt x="333" y="70"/>
                  <a:pt x="333" y="71"/>
                </a:cubicBezTo>
                <a:cubicBezTo>
                  <a:pt x="333" y="71"/>
                  <a:pt x="334" y="71"/>
                  <a:pt x="334" y="71"/>
                </a:cubicBezTo>
                <a:cubicBezTo>
                  <a:pt x="334" y="71"/>
                  <a:pt x="334" y="72"/>
                  <a:pt x="334" y="72"/>
                </a:cubicBezTo>
                <a:cubicBezTo>
                  <a:pt x="333" y="73"/>
                  <a:pt x="333" y="72"/>
                  <a:pt x="334" y="73"/>
                </a:cubicBezTo>
                <a:cubicBezTo>
                  <a:pt x="334" y="74"/>
                  <a:pt x="334" y="74"/>
                  <a:pt x="335" y="74"/>
                </a:cubicBezTo>
                <a:cubicBezTo>
                  <a:pt x="335" y="74"/>
                  <a:pt x="336" y="77"/>
                  <a:pt x="336" y="77"/>
                </a:cubicBezTo>
                <a:cubicBezTo>
                  <a:pt x="336" y="77"/>
                  <a:pt x="334" y="77"/>
                  <a:pt x="334" y="77"/>
                </a:cubicBezTo>
                <a:cubicBezTo>
                  <a:pt x="333" y="77"/>
                  <a:pt x="332" y="77"/>
                  <a:pt x="331" y="77"/>
                </a:cubicBezTo>
                <a:cubicBezTo>
                  <a:pt x="331" y="77"/>
                  <a:pt x="331" y="78"/>
                  <a:pt x="331" y="78"/>
                </a:cubicBezTo>
                <a:cubicBezTo>
                  <a:pt x="331" y="78"/>
                  <a:pt x="331" y="78"/>
                  <a:pt x="332" y="78"/>
                </a:cubicBezTo>
                <a:cubicBezTo>
                  <a:pt x="331" y="79"/>
                  <a:pt x="332" y="79"/>
                  <a:pt x="331" y="79"/>
                </a:cubicBezTo>
                <a:cubicBezTo>
                  <a:pt x="330" y="79"/>
                  <a:pt x="330" y="79"/>
                  <a:pt x="330" y="79"/>
                </a:cubicBezTo>
                <a:cubicBezTo>
                  <a:pt x="330" y="80"/>
                  <a:pt x="330" y="80"/>
                  <a:pt x="330" y="81"/>
                </a:cubicBezTo>
                <a:cubicBezTo>
                  <a:pt x="330" y="81"/>
                  <a:pt x="331" y="80"/>
                  <a:pt x="331" y="81"/>
                </a:cubicBezTo>
                <a:cubicBezTo>
                  <a:pt x="332" y="81"/>
                  <a:pt x="334" y="81"/>
                  <a:pt x="334" y="80"/>
                </a:cubicBezTo>
                <a:cubicBezTo>
                  <a:pt x="335" y="79"/>
                  <a:pt x="336" y="80"/>
                  <a:pt x="337" y="79"/>
                </a:cubicBezTo>
                <a:cubicBezTo>
                  <a:pt x="338" y="79"/>
                  <a:pt x="339" y="79"/>
                  <a:pt x="340" y="79"/>
                </a:cubicBezTo>
                <a:cubicBezTo>
                  <a:pt x="341" y="79"/>
                  <a:pt x="342" y="78"/>
                  <a:pt x="343" y="78"/>
                </a:cubicBezTo>
                <a:cubicBezTo>
                  <a:pt x="343" y="79"/>
                  <a:pt x="343" y="79"/>
                  <a:pt x="343" y="79"/>
                </a:cubicBezTo>
                <a:cubicBezTo>
                  <a:pt x="342" y="80"/>
                  <a:pt x="342" y="80"/>
                  <a:pt x="341" y="80"/>
                </a:cubicBezTo>
                <a:cubicBezTo>
                  <a:pt x="341" y="81"/>
                  <a:pt x="340" y="81"/>
                  <a:pt x="340" y="81"/>
                </a:cubicBezTo>
                <a:cubicBezTo>
                  <a:pt x="339" y="81"/>
                  <a:pt x="339" y="82"/>
                  <a:pt x="339" y="83"/>
                </a:cubicBezTo>
                <a:cubicBezTo>
                  <a:pt x="339" y="84"/>
                  <a:pt x="339" y="84"/>
                  <a:pt x="340" y="84"/>
                </a:cubicBezTo>
                <a:cubicBezTo>
                  <a:pt x="341" y="84"/>
                  <a:pt x="342" y="85"/>
                  <a:pt x="343" y="85"/>
                </a:cubicBezTo>
                <a:cubicBezTo>
                  <a:pt x="344" y="85"/>
                  <a:pt x="344" y="85"/>
                  <a:pt x="344" y="84"/>
                </a:cubicBezTo>
                <a:cubicBezTo>
                  <a:pt x="345" y="84"/>
                  <a:pt x="347" y="84"/>
                  <a:pt x="347" y="85"/>
                </a:cubicBezTo>
                <a:cubicBezTo>
                  <a:pt x="348" y="84"/>
                  <a:pt x="353" y="84"/>
                  <a:pt x="354" y="84"/>
                </a:cubicBezTo>
                <a:cubicBezTo>
                  <a:pt x="356" y="83"/>
                  <a:pt x="354" y="83"/>
                  <a:pt x="354" y="82"/>
                </a:cubicBezTo>
                <a:cubicBezTo>
                  <a:pt x="355" y="82"/>
                  <a:pt x="355" y="82"/>
                  <a:pt x="356" y="82"/>
                </a:cubicBezTo>
                <a:cubicBezTo>
                  <a:pt x="356" y="82"/>
                  <a:pt x="356" y="82"/>
                  <a:pt x="356" y="82"/>
                </a:cubicBezTo>
                <a:cubicBezTo>
                  <a:pt x="356" y="82"/>
                  <a:pt x="356" y="82"/>
                  <a:pt x="356" y="82"/>
                </a:cubicBezTo>
                <a:cubicBezTo>
                  <a:pt x="355" y="81"/>
                  <a:pt x="355" y="80"/>
                  <a:pt x="354" y="80"/>
                </a:cubicBezTo>
                <a:cubicBezTo>
                  <a:pt x="354" y="80"/>
                  <a:pt x="354" y="79"/>
                  <a:pt x="354" y="78"/>
                </a:cubicBezTo>
                <a:cubicBezTo>
                  <a:pt x="354" y="78"/>
                  <a:pt x="355" y="79"/>
                  <a:pt x="355" y="78"/>
                </a:cubicBezTo>
                <a:cubicBezTo>
                  <a:pt x="355" y="77"/>
                  <a:pt x="354" y="77"/>
                  <a:pt x="354" y="77"/>
                </a:cubicBezTo>
                <a:cubicBezTo>
                  <a:pt x="354" y="77"/>
                  <a:pt x="353" y="77"/>
                  <a:pt x="353" y="77"/>
                </a:cubicBezTo>
                <a:cubicBezTo>
                  <a:pt x="353" y="76"/>
                  <a:pt x="353" y="76"/>
                  <a:pt x="353" y="75"/>
                </a:cubicBezTo>
                <a:cubicBezTo>
                  <a:pt x="353" y="74"/>
                  <a:pt x="353" y="74"/>
                  <a:pt x="353" y="73"/>
                </a:cubicBezTo>
                <a:cubicBezTo>
                  <a:pt x="353" y="73"/>
                  <a:pt x="353" y="73"/>
                  <a:pt x="352" y="73"/>
                </a:cubicBezTo>
                <a:cubicBezTo>
                  <a:pt x="352" y="73"/>
                  <a:pt x="352" y="71"/>
                  <a:pt x="352" y="71"/>
                </a:cubicBezTo>
                <a:cubicBezTo>
                  <a:pt x="352" y="71"/>
                  <a:pt x="352" y="71"/>
                  <a:pt x="352" y="71"/>
                </a:cubicBezTo>
                <a:cubicBezTo>
                  <a:pt x="352" y="70"/>
                  <a:pt x="352" y="69"/>
                  <a:pt x="351" y="69"/>
                </a:cubicBezTo>
                <a:cubicBezTo>
                  <a:pt x="351" y="69"/>
                  <a:pt x="351" y="69"/>
                  <a:pt x="350" y="69"/>
                </a:cubicBezTo>
                <a:cubicBezTo>
                  <a:pt x="350" y="69"/>
                  <a:pt x="350" y="69"/>
                  <a:pt x="350" y="69"/>
                </a:cubicBezTo>
                <a:cubicBezTo>
                  <a:pt x="350" y="69"/>
                  <a:pt x="349" y="69"/>
                  <a:pt x="349" y="69"/>
                </a:cubicBezTo>
                <a:cubicBezTo>
                  <a:pt x="349" y="68"/>
                  <a:pt x="349" y="68"/>
                  <a:pt x="350" y="68"/>
                </a:cubicBezTo>
                <a:cubicBezTo>
                  <a:pt x="349" y="67"/>
                  <a:pt x="348" y="66"/>
                  <a:pt x="347" y="66"/>
                </a:cubicBezTo>
                <a:close/>
                <a:moveTo>
                  <a:pt x="272" y="65"/>
                </a:moveTo>
                <a:cubicBezTo>
                  <a:pt x="272" y="65"/>
                  <a:pt x="271" y="65"/>
                  <a:pt x="271" y="65"/>
                </a:cubicBezTo>
                <a:cubicBezTo>
                  <a:pt x="270" y="65"/>
                  <a:pt x="270" y="67"/>
                  <a:pt x="270" y="68"/>
                </a:cubicBezTo>
                <a:cubicBezTo>
                  <a:pt x="271" y="67"/>
                  <a:pt x="272" y="68"/>
                  <a:pt x="272" y="67"/>
                </a:cubicBezTo>
                <a:cubicBezTo>
                  <a:pt x="272" y="66"/>
                  <a:pt x="272" y="66"/>
                  <a:pt x="272" y="65"/>
                </a:cubicBezTo>
                <a:close/>
                <a:moveTo>
                  <a:pt x="392" y="88"/>
                </a:moveTo>
                <a:cubicBezTo>
                  <a:pt x="392" y="87"/>
                  <a:pt x="392" y="86"/>
                  <a:pt x="393" y="86"/>
                </a:cubicBezTo>
                <a:cubicBezTo>
                  <a:pt x="393" y="86"/>
                  <a:pt x="393" y="85"/>
                  <a:pt x="394" y="85"/>
                </a:cubicBezTo>
                <a:cubicBezTo>
                  <a:pt x="394" y="85"/>
                  <a:pt x="395" y="85"/>
                  <a:pt x="395" y="86"/>
                </a:cubicBezTo>
                <a:cubicBezTo>
                  <a:pt x="395" y="86"/>
                  <a:pt x="395" y="87"/>
                  <a:pt x="395" y="87"/>
                </a:cubicBezTo>
                <a:cubicBezTo>
                  <a:pt x="395" y="87"/>
                  <a:pt x="395" y="88"/>
                  <a:pt x="395" y="88"/>
                </a:cubicBezTo>
                <a:cubicBezTo>
                  <a:pt x="396" y="88"/>
                  <a:pt x="397" y="88"/>
                  <a:pt x="397" y="89"/>
                </a:cubicBezTo>
                <a:cubicBezTo>
                  <a:pt x="399" y="89"/>
                  <a:pt x="397" y="88"/>
                  <a:pt x="398" y="88"/>
                </a:cubicBezTo>
                <a:cubicBezTo>
                  <a:pt x="399" y="88"/>
                  <a:pt x="400" y="88"/>
                  <a:pt x="400" y="88"/>
                </a:cubicBezTo>
                <a:cubicBezTo>
                  <a:pt x="400" y="88"/>
                  <a:pt x="400" y="88"/>
                  <a:pt x="401" y="88"/>
                </a:cubicBezTo>
                <a:cubicBezTo>
                  <a:pt x="401" y="88"/>
                  <a:pt x="402" y="88"/>
                  <a:pt x="402" y="88"/>
                </a:cubicBezTo>
                <a:cubicBezTo>
                  <a:pt x="402" y="88"/>
                  <a:pt x="403" y="88"/>
                  <a:pt x="403" y="88"/>
                </a:cubicBezTo>
                <a:cubicBezTo>
                  <a:pt x="403" y="87"/>
                  <a:pt x="403" y="87"/>
                  <a:pt x="404" y="87"/>
                </a:cubicBezTo>
                <a:cubicBezTo>
                  <a:pt x="405" y="87"/>
                  <a:pt x="405" y="87"/>
                  <a:pt x="405" y="88"/>
                </a:cubicBezTo>
                <a:cubicBezTo>
                  <a:pt x="405" y="89"/>
                  <a:pt x="405" y="88"/>
                  <a:pt x="406" y="88"/>
                </a:cubicBezTo>
                <a:cubicBezTo>
                  <a:pt x="407" y="88"/>
                  <a:pt x="407" y="88"/>
                  <a:pt x="408" y="88"/>
                </a:cubicBezTo>
                <a:cubicBezTo>
                  <a:pt x="409" y="88"/>
                  <a:pt x="409" y="88"/>
                  <a:pt x="409" y="88"/>
                </a:cubicBezTo>
                <a:cubicBezTo>
                  <a:pt x="410" y="88"/>
                  <a:pt x="409" y="87"/>
                  <a:pt x="409" y="87"/>
                </a:cubicBezTo>
                <a:cubicBezTo>
                  <a:pt x="410" y="87"/>
                  <a:pt x="409" y="88"/>
                  <a:pt x="410" y="88"/>
                </a:cubicBezTo>
                <a:cubicBezTo>
                  <a:pt x="411" y="88"/>
                  <a:pt x="411" y="87"/>
                  <a:pt x="412" y="88"/>
                </a:cubicBezTo>
                <a:cubicBezTo>
                  <a:pt x="412" y="88"/>
                  <a:pt x="414" y="88"/>
                  <a:pt x="414" y="88"/>
                </a:cubicBezTo>
                <a:cubicBezTo>
                  <a:pt x="414" y="87"/>
                  <a:pt x="416" y="88"/>
                  <a:pt x="416" y="88"/>
                </a:cubicBezTo>
                <a:cubicBezTo>
                  <a:pt x="417" y="88"/>
                  <a:pt x="417" y="88"/>
                  <a:pt x="418" y="88"/>
                </a:cubicBezTo>
                <a:cubicBezTo>
                  <a:pt x="418" y="88"/>
                  <a:pt x="418" y="88"/>
                  <a:pt x="418" y="88"/>
                </a:cubicBezTo>
                <a:cubicBezTo>
                  <a:pt x="418" y="87"/>
                  <a:pt x="420" y="88"/>
                  <a:pt x="420" y="88"/>
                </a:cubicBezTo>
                <a:cubicBezTo>
                  <a:pt x="420" y="87"/>
                  <a:pt x="420" y="87"/>
                  <a:pt x="421" y="87"/>
                </a:cubicBezTo>
                <a:cubicBezTo>
                  <a:pt x="421" y="87"/>
                  <a:pt x="420" y="87"/>
                  <a:pt x="420" y="86"/>
                </a:cubicBezTo>
                <a:cubicBezTo>
                  <a:pt x="420" y="86"/>
                  <a:pt x="421" y="86"/>
                  <a:pt x="420" y="85"/>
                </a:cubicBezTo>
                <a:cubicBezTo>
                  <a:pt x="422" y="85"/>
                  <a:pt x="421" y="85"/>
                  <a:pt x="422" y="87"/>
                </a:cubicBezTo>
                <a:cubicBezTo>
                  <a:pt x="422" y="87"/>
                  <a:pt x="423" y="87"/>
                  <a:pt x="423" y="88"/>
                </a:cubicBezTo>
                <a:cubicBezTo>
                  <a:pt x="424" y="87"/>
                  <a:pt x="425" y="88"/>
                  <a:pt x="425" y="87"/>
                </a:cubicBezTo>
                <a:cubicBezTo>
                  <a:pt x="425" y="86"/>
                  <a:pt x="426" y="88"/>
                  <a:pt x="426" y="88"/>
                </a:cubicBezTo>
                <a:cubicBezTo>
                  <a:pt x="426" y="88"/>
                  <a:pt x="427" y="87"/>
                  <a:pt x="427" y="87"/>
                </a:cubicBezTo>
                <a:cubicBezTo>
                  <a:pt x="427" y="87"/>
                  <a:pt x="427" y="88"/>
                  <a:pt x="427" y="88"/>
                </a:cubicBezTo>
                <a:cubicBezTo>
                  <a:pt x="427" y="88"/>
                  <a:pt x="428" y="88"/>
                  <a:pt x="428" y="88"/>
                </a:cubicBezTo>
                <a:cubicBezTo>
                  <a:pt x="429" y="88"/>
                  <a:pt x="430" y="87"/>
                  <a:pt x="431" y="87"/>
                </a:cubicBezTo>
                <a:cubicBezTo>
                  <a:pt x="432" y="87"/>
                  <a:pt x="436" y="88"/>
                  <a:pt x="436" y="85"/>
                </a:cubicBezTo>
                <a:cubicBezTo>
                  <a:pt x="435" y="85"/>
                  <a:pt x="435" y="84"/>
                  <a:pt x="435" y="84"/>
                </a:cubicBezTo>
                <a:cubicBezTo>
                  <a:pt x="436" y="84"/>
                  <a:pt x="436" y="84"/>
                  <a:pt x="437" y="83"/>
                </a:cubicBezTo>
                <a:cubicBezTo>
                  <a:pt x="438" y="82"/>
                  <a:pt x="437" y="83"/>
                  <a:pt x="438" y="82"/>
                </a:cubicBezTo>
                <a:cubicBezTo>
                  <a:pt x="438" y="82"/>
                  <a:pt x="438" y="82"/>
                  <a:pt x="439" y="82"/>
                </a:cubicBezTo>
                <a:cubicBezTo>
                  <a:pt x="439" y="82"/>
                  <a:pt x="439" y="82"/>
                  <a:pt x="439" y="82"/>
                </a:cubicBezTo>
                <a:cubicBezTo>
                  <a:pt x="439" y="81"/>
                  <a:pt x="439" y="81"/>
                  <a:pt x="439" y="81"/>
                </a:cubicBezTo>
                <a:cubicBezTo>
                  <a:pt x="439" y="81"/>
                  <a:pt x="439" y="79"/>
                  <a:pt x="438" y="79"/>
                </a:cubicBezTo>
                <a:cubicBezTo>
                  <a:pt x="438" y="79"/>
                  <a:pt x="438" y="79"/>
                  <a:pt x="438" y="79"/>
                </a:cubicBezTo>
                <a:cubicBezTo>
                  <a:pt x="437" y="79"/>
                  <a:pt x="437" y="79"/>
                  <a:pt x="437" y="79"/>
                </a:cubicBezTo>
                <a:cubicBezTo>
                  <a:pt x="436" y="78"/>
                  <a:pt x="436" y="79"/>
                  <a:pt x="436" y="78"/>
                </a:cubicBezTo>
                <a:cubicBezTo>
                  <a:pt x="436" y="78"/>
                  <a:pt x="435" y="78"/>
                  <a:pt x="435" y="78"/>
                </a:cubicBezTo>
                <a:cubicBezTo>
                  <a:pt x="434" y="78"/>
                  <a:pt x="435" y="77"/>
                  <a:pt x="434" y="77"/>
                </a:cubicBezTo>
                <a:cubicBezTo>
                  <a:pt x="434" y="77"/>
                  <a:pt x="433" y="77"/>
                  <a:pt x="433" y="77"/>
                </a:cubicBezTo>
                <a:cubicBezTo>
                  <a:pt x="433" y="77"/>
                  <a:pt x="433" y="77"/>
                  <a:pt x="433" y="77"/>
                </a:cubicBezTo>
                <a:cubicBezTo>
                  <a:pt x="432" y="77"/>
                  <a:pt x="431" y="78"/>
                  <a:pt x="430" y="77"/>
                </a:cubicBezTo>
                <a:cubicBezTo>
                  <a:pt x="430" y="77"/>
                  <a:pt x="428" y="77"/>
                  <a:pt x="428" y="77"/>
                </a:cubicBezTo>
                <a:cubicBezTo>
                  <a:pt x="428" y="76"/>
                  <a:pt x="428" y="76"/>
                  <a:pt x="428" y="76"/>
                </a:cubicBezTo>
                <a:cubicBezTo>
                  <a:pt x="428" y="75"/>
                  <a:pt x="426" y="75"/>
                  <a:pt x="426" y="75"/>
                </a:cubicBezTo>
                <a:cubicBezTo>
                  <a:pt x="426" y="75"/>
                  <a:pt x="423" y="75"/>
                  <a:pt x="422" y="75"/>
                </a:cubicBezTo>
                <a:cubicBezTo>
                  <a:pt x="422" y="76"/>
                  <a:pt x="421" y="77"/>
                  <a:pt x="421" y="76"/>
                </a:cubicBezTo>
                <a:cubicBezTo>
                  <a:pt x="421" y="76"/>
                  <a:pt x="419" y="75"/>
                  <a:pt x="419" y="75"/>
                </a:cubicBezTo>
                <a:cubicBezTo>
                  <a:pt x="419" y="75"/>
                  <a:pt x="417" y="75"/>
                  <a:pt x="417" y="75"/>
                </a:cubicBezTo>
                <a:cubicBezTo>
                  <a:pt x="417" y="76"/>
                  <a:pt x="415" y="76"/>
                  <a:pt x="415" y="76"/>
                </a:cubicBezTo>
                <a:cubicBezTo>
                  <a:pt x="415" y="76"/>
                  <a:pt x="415" y="75"/>
                  <a:pt x="414" y="76"/>
                </a:cubicBezTo>
                <a:cubicBezTo>
                  <a:pt x="414" y="77"/>
                  <a:pt x="414" y="76"/>
                  <a:pt x="413" y="76"/>
                </a:cubicBezTo>
                <a:cubicBezTo>
                  <a:pt x="411" y="76"/>
                  <a:pt x="410" y="77"/>
                  <a:pt x="409" y="77"/>
                </a:cubicBezTo>
                <a:cubicBezTo>
                  <a:pt x="408" y="77"/>
                  <a:pt x="407" y="77"/>
                  <a:pt x="407" y="78"/>
                </a:cubicBezTo>
                <a:cubicBezTo>
                  <a:pt x="407" y="78"/>
                  <a:pt x="405" y="78"/>
                  <a:pt x="405" y="78"/>
                </a:cubicBezTo>
                <a:cubicBezTo>
                  <a:pt x="405" y="78"/>
                  <a:pt x="404" y="78"/>
                  <a:pt x="404" y="78"/>
                </a:cubicBezTo>
                <a:cubicBezTo>
                  <a:pt x="404" y="78"/>
                  <a:pt x="403" y="78"/>
                  <a:pt x="403" y="77"/>
                </a:cubicBezTo>
                <a:cubicBezTo>
                  <a:pt x="402" y="77"/>
                  <a:pt x="402" y="77"/>
                  <a:pt x="401" y="77"/>
                </a:cubicBezTo>
                <a:cubicBezTo>
                  <a:pt x="401" y="77"/>
                  <a:pt x="401" y="78"/>
                  <a:pt x="401" y="79"/>
                </a:cubicBezTo>
                <a:cubicBezTo>
                  <a:pt x="400" y="78"/>
                  <a:pt x="400" y="78"/>
                  <a:pt x="399" y="78"/>
                </a:cubicBezTo>
                <a:cubicBezTo>
                  <a:pt x="399" y="78"/>
                  <a:pt x="398" y="79"/>
                  <a:pt x="398" y="78"/>
                </a:cubicBezTo>
                <a:cubicBezTo>
                  <a:pt x="398" y="77"/>
                  <a:pt x="396" y="77"/>
                  <a:pt x="395" y="77"/>
                </a:cubicBezTo>
                <a:cubicBezTo>
                  <a:pt x="394" y="77"/>
                  <a:pt x="394" y="76"/>
                  <a:pt x="393" y="76"/>
                </a:cubicBezTo>
                <a:cubicBezTo>
                  <a:pt x="393" y="77"/>
                  <a:pt x="393" y="77"/>
                  <a:pt x="392" y="77"/>
                </a:cubicBezTo>
                <a:cubicBezTo>
                  <a:pt x="392" y="77"/>
                  <a:pt x="392" y="75"/>
                  <a:pt x="392" y="75"/>
                </a:cubicBezTo>
                <a:cubicBezTo>
                  <a:pt x="391" y="74"/>
                  <a:pt x="390" y="76"/>
                  <a:pt x="390" y="76"/>
                </a:cubicBezTo>
                <a:cubicBezTo>
                  <a:pt x="390" y="75"/>
                  <a:pt x="391" y="74"/>
                  <a:pt x="389" y="75"/>
                </a:cubicBezTo>
                <a:cubicBezTo>
                  <a:pt x="388" y="75"/>
                  <a:pt x="387" y="76"/>
                  <a:pt x="386" y="76"/>
                </a:cubicBezTo>
                <a:cubicBezTo>
                  <a:pt x="386" y="75"/>
                  <a:pt x="387" y="75"/>
                  <a:pt x="387" y="74"/>
                </a:cubicBezTo>
                <a:cubicBezTo>
                  <a:pt x="387" y="74"/>
                  <a:pt x="386" y="74"/>
                  <a:pt x="386" y="74"/>
                </a:cubicBezTo>
                <a:cubicBezTo>
                  <a:pt x="386" y="73"/>
                  <a:pt x="387" y="74"/>
                  <a:pt x="388" y="74"/>
                </a:cubicBezTo>
                <a:cubicBezTo>
                  <a:pt x="388" y="74"/>
                  <a:pt x="388" y="74"/>
                  <a:pt x="389" y="74"/>
                </a:cubicBezTo>
                <a:cubicBezTo>
                  <a:pt x="389" y="73"/>
                  <a:pt x="389" y="73"/>
                  <a:pt x="390" y="73"/>
                </a:cubicBezTo>
                <a:cubicBezTo>
                  <a:pt x="391" y="73"/>
                  <a:pt x="391" y="72"/>
                  <a:pt x="391" y="72"/>
                </a:cubicBezTo>
                <a:cubicBezTo>
                  <a:pt x="391" y="72"/>
                  <a:pt x="387" y="70"/>
                  <a:pt x="387" y="71"/>
                </a:cubicBezTo>
                <a:cubicBezTo>
                  <a:pt x="387" y="70"/>
                  <a:pt x="387" y="70"/>
                  <a:pt x="386" y="70"/>
                </a:cubicBezTo>
                <a:cubicBezTo>
                  <a:pt x="386" y="69"/>
                  <a:pt x="385" y="70"/>
                  <a:pt x="384" y="69"/>
                </a:cubicBezTo>
                <a:cubicBezTo>
                  <a:pt x="383" y="69"/>
                  <a:pt x="383" y="68"/>
                  <a:pt x="383" y="68"/>
                </a:cubicBezTo>
                <a:cubicBezTo>
                  <a:pt x="382" y="68"/>
                  <a:pt x="382" y="68"/>
                  <a:pt x="381" y="68"/>
                </a:cubicBezTo>
                <a:cubicBezTo>
                  <a:pt x="381" y="68"/>
                  <a:pt x="381" y="68"/>
                  <a:pt x="381" y="68"/>
                </a:cubicBezTo>
                <a:cubicBezTo>
                  <a:pt x="380" y="68"/>
                  <a:pt x="380" y="68"/>
                  <a:pt x="380" y="68"/>
                </a:cubicBezTo>
                <a:cubicBezTo>
                  <a:pt x="379" y="68"/>
                  <a:pt x="375" y="69"/>
                  <a:pt x="375" y="68"/>
                </a:cubicBezTo>
                <a:cubicBezTo>
                  <a:pt x="375" y="68"/>
                  <a:pt x="375" y="68"/>
                  <a:pt x="374" y="69"/>
                </a:cubicBezTo>
                <a:cubicBezTo>
                  <a:pt x="374" y="68"/>
                  <a:pt x="374" y="67"/>
                  <a:pt x="373" y="67"/>
                </a:cubicBezTo>
                <a:cubicBezTo>
                  <a:pt x="372" y="66"/>
                  <a:pt x="372" y="66"/>
                  <a:pt x="371" y="66"/>
                </a:cubicBezTo>
                <a:cubicBezTo>
                  <a:pt x="369" y="66"/>
                  <a:pt x="367" y="66"/>
                  <a:pt x="365" y="65"/>
                </a:cubicBezTo>
                <a:cubicBezTo>
                  <a:pt x="364" y="64"/>
                  <a:pt x="364" y="65"/>
                  <a:pt x="363" y="65"/>
                </a:cubicBezTo>
                <a:cubicBezTo>
                  <a:pt x="363" y="64"/>
                  <a:pt x="362" y="64"/>
                  <a:pt x="361" y="65"/>
                </a:cubicBezTo>
                <a:cubicBezTo>
                  <a:pt x="361" y="65"/>
                  <a:pt x="360" y="66"/>
                  <a:pt x="360" y="66"/>
                </a:cubicBezTo>
                <a:cubicBezTo>
                  <a:pt x="359" y="67"/>
                  <a:pt x="359" y="67"/>
                  <a:pt x="360" y="68"/>
                </a:cubicBezTo>
                <a:cubicBezTo>
                  <a:pt x="361" y="68"/>
                  <a:pt x="360" y="68"/>
                  <a:pt x="361" y="68"/>
                </a:cubicBezTo>
                <a:cubicBezTo>
                  <a:pt x="361" y="68"/>
                  <a:pt x="361" y="69"/>
                  <a:pt x="361" y="69"/>
                </a:cubicBezTo>
                <a:cubicBezTo>
                  <a:pt x="362" y="69"/>
                  <a:pt x="361" y="69"/>
                  <a:pt x="362" y="69"/>
                </a:cubicBezTo>
                <a:cubicBezTo>
                  <a:pt x="362" y="69"/>
                  <a:pt x="362" y="70"/>
                  <a:pt x="362" y="70"/>
                </a:cubicBezTo>
                <a:cubicBezTo>
                  <a:pt x="363" y="71"/>
                  <a:pt x="363" y="71"/>
                  <a:pt x="363" y="71"/>
                </a:cubicBezTo>
                <a:cubicBezTo>
                  <a:pt x="364" y="71"/>
                  <a:pt x="364" y="71"/>
                  <a:pt x="364" y="71"/>
                </a:cubicBezTo>
                <a:cubicBezTo>
                  <a:pt x="365" y="71"/>
                  <a:pt x="366" y="71"/>
                  <a:pt x="367" y="71"/>
                </a:cubicBezTo>
                <a:cubicBezTo>
                  <a:pt x="368" y="71"/>
                  <a:pt x="370" y="73"/>
                  <a:pt x="371" y="73"/>
                </a:cubicBezTo>
                <a:cubicBezTo>
                  <a:pt x="372" y="73"/>
                  <a:pt x="372" y="71"/>
                  <a:pt x="373" y="71"/>
                </a:cubicBezTo>
                <a:cubicBezTo>
                  <a:pt x="373" y="71"/>
                  <a:pt x="374" y="71"/>
                  <a:pt x="374" y="72"/>
                </a:cubicBezTo>
                <a:cubicBezTo>
                  <a:pt x="374" y="72"/>
                  <a:pt x="374" y="72"/>
                  <a:pt x="374" y="72"/>
                </a:cubicBezTo>
                <a:cubicBezTo>
                  <a:pt x="375" y="72"/>
                  <a:pt x="375" y="72"/>
                  <a:pt x="376" y="72"/>
                </a:cubicBezTo>
                <a:cubicBezTo>
                  <a:pt x="376" y="72"/>
                  <a:pt x="376" y="73"/>
                  <a:pt x="376" y="73"/>
                </a:cubicBezTo>
                <a:cubicBezTo>
                  <a:pt x="377" y="73"/>
                  <a:pt x="377" y="73"/>
                  <a:pt x="377" y="73"/>
                </a:cubicBezTo>
                <a:cubicBezTo>
                  <a:pt x="378" y="73"/>
                  <a:pt x="378" y="73"/>
                  <a:pt x="378" y="73"/>
                </a:cubicBezTo>
                <a:cubicBezTo>
                  <a:pt x="378" y="73"/>
                  <a:pt x="378" y="74"/>
                  <a:pt x="378" y="74"/>
                </a:cubicBezTo>
                <a:cubicBezTo>
                  <a:pt x="379" y="74"/>
                  <a:pt x="380" y="74"/>
                  <a:pt x="380" y="75"/>
                </a:cubicBezTo>
                <a:cubicBezTo>
                  <a:pt x="380" y="75"/>
                  <a:pt x="380" y="76"/>
                  <a:pt x="381" y="76"/>
                </a:cubicBezTo>
                <a:cubicBezTo>
                  <a:pt x="382" y="76"/>
                  <a:pt x="381" y="78"/>
                  <a:pt x="381" y="79"/>
                </a:cubicBezTo>
                <a:cubicBezTo>
                  <a:pt x="381" y="79"/>
                  <a:pt x="381" y="81"/>
                  <a:pt x="380" y="80"/>
                </a:cubicBezTo>
                <a:cubicBezTo>
                  <a:pt x="380" y="81"/>
                  <a:pt x="381" y="82"/>
                  <a:pt x="381" y="82"/>
                </a:cubicBezTo>
                <a:cubicBezTo>
                  <a:pt x="381" y="83"/>
                  <a:pt x="381" y="83"/>
                  <a:pt x="380" y="83"/>
                </a:cubicBezTo>
                <a:cubicBezTo>
                  <a:pt x="380" y="84"/>
                  <a:pt x="380" y="84"/>
                  <a:pt x="380" y="84"/>
                </a:cubicBezTo>
                <a:cubicBezTo>
                  <a:pt x="380" y="85"/>
                  <a:pt x="380" y="85"/>
                  <a:pt x="380" y="85"/>
                </a:cubicBezTo>
                <a:cubicBezTo>
                  <a:pt x="380" y="86"/>
                  <a:pt x="381" y="86"/>
                  <a:pt x="381" y="87"/>
                </a:cubicBezTo>
                <a:cubicBezTo>
                  <a:pt x="381" y="87"/>
                  <a:pt x="381" y="88"/>
                  <a:pt x="381" y="89"/>
                </a:cubicBezTo>
                <a:cubicBezTo>
                  <a:pt x="381" y="90"/>
                  <a:pt x="383" y="89"/>
                  <a:pt x="384" y="88"/>
                </a:cubicBezTo>
                <a:cubicBezTo>
                  <a:pt x="384" y="87"/>
                  <a:pt x="385" y="88"/>
                  <a:pt x="385" y="88"/>
                </a:cubicBezTo>
                <a:cubicBezTo>
                  <a:pt x="386" y="88"/>
                  <a:pt x="386" y="89"/>
                  <a:pt x="386" y="89"/>
                </a:cubicBezTo>
                <a:cubicBezTo>
                  <a:pt x="388" y="89"/>
                  <a:pt x="390" y="88"/>
                  <a:pt x="392" y="88"/>
                </a:cubicBezTo>
                <a:cubicBezTo>
                  <a:pt x="392" y="87"/>
                  <a:pt x="392" y="88"/>
                  <a:pt x="392" y="88"/>
                </a:cubicBezTo>
                <a:close/>
                <a:moveTo>
                  <a:pt x="273" y="72"/>
                </a:moveTo>
                <a:cubicBezTo>
                  <a:pt x="273" y="73"/>
                  <a:pt x="272" y="72"/>
                  <a:pt x="272" y="72"/>
                </a:cubicBezTo>
                <a:cubicBezTo>
                  <a:pt x="272" y="71"/>
                  <a:pt x="271" y="71"/>
                  <a:pt x="270" y="71"/>
                </a:cubicBezTo>
                <a:cubicBezTo>
                  <a:pt x="269" y="71"/>
                  <a:pt x="267" y="73"/>
                  <a:pt x="267" y="72"/>
                </a:cubicBezTo>
                <a:cubicBezTo>
                  <a:pt x="266" y="72"/>
                  <a:pt x="265" y="72"/>
                  <a:pt x="265" y="73"/>
                </a:cubicBezTo>
                <a:cubicBezTo>
                  <a:pt x="265" y="74"/>
                  <a:pt x="264" y="76"/>
                  <a:pt x="265" y="76"/>
                </a:cubicBezTo>
                <a:cubicBezTo>
                  <a:pt x="265" y="76"/>
                  <a:pt x="267" y="75"/>
                  <a:pt x="267" y="76"/>
                </a:cubicBezTo>
                <a:cubicBezTo>
                  <a:pt x="267" y="76"/>
                  <a:pt x="266" y="77"/>
                  <a:pt x="265" y="77"/>
                </a:cubicBezTo>
                <a:cubicBezTo>
                  <a:pt x="264" y="77"/>
                  <a:pt x="264" y="77"/>
                  <a:pt x="263" y="77"/>
                </a:cubicBezTo>
                <a:cubicBezTo>
                  <a:pt x="263" y="77"/>
                  <a:pt x="263" y="77"/>
                  <a:pt x="262" y="77"/>
                </a:cubicBezTo>
                <a:cubicBezTo>
                  <a:pt x="262" y="78"/>
                  <a:pt x="262" y="78"/>
                  <a:pt x="263" y="79"/>
                </a:cubicBezTo>
                <a:cubicBezTo>
                  <a:pt x="264" y="79"/>
                  <a:pt x="266" y="78"/>
                  <a:pt x="267" y="78"/>
                </a:cubicBezTo>
                <a:cubicBezTo>
                  <a:pt x="266" y="80"/>
                  <a:pt x="264" y="80"/>
                  <a:pt x="262" y="80"/>
                </a:cubicBezTo>
                <a:cubicBezTo>
                  <a:pt x="261" y="80"/>
                  <a:pt x="261" y="82"/>
                  <a:pt x="262" y="82"/>
                </a:cubicBezTo>
                <a:cubicBezTo>
                  <a:pt x="263" y="82"/>
                  <a:pt x="263" y="83"/>
                  <a:pt x="264" y="82"/>
                </a:cubicBezTo>
                <a:cubicBezTo>
                  <a:pt x="264" y="82"/>
                  <a:pt x="264" y="82"/>
                  <a:pt x="265" y="82"/>
                </a:cubicBezTo>
                <a:cubicBezTo>
                  <a:pt x="265" y="82"/>
                  <a:pt x="266" y="82"/>
                  <a:pt x="266" y="81"/>
                </a:cubicBezTo>
                <a:cubicBezTo>
                  <a:pt x="268" y="82"/>
                  <a:pt x="268" y="82"/>
                  <a:pt x="268" y="83"/>
                </a:cubicBezTo>
                <a:cubicBezTo>
                  <a:pt x="268" y="83"/>
                  <a:pt x="269" y="83"/>
                  <a:pt x="269" y="83"/>
                </a:cubicBezTo>
                <a:cubicBezTo>
                  <a:pt x="269" y="82"/>
                  <a:pt x="269" y="82"/>
                  <a:pt x="269" y="81"/>
                </a:cubicBezTo>
                <a:cubicBezTo>
                  <a:pt x="269" y="81"/>
                  <a:pt x="270" y="81"/>
                  <a:pt x="270" y="81"/>
                </a:cubicBezTo>
                <a:cubicBezTo>
                  <a:pt x="270" y="82"/>
                  <a:pt x="270" y="83"/>
                  <a:pt x="271" y="83"/>
                </a:cubicBezTo>
                <a:cubicBezTo>
                  <a:pt x="272" y="83"/>
                  <a:pt x="272" y="83"/>
                  <a:pt x="272" y="83"/>
                </a:cubicBezTo>
                <a:cubicBezTo>
                  <a:pt x="272" y="82"/>
                  <a:pt x="273" y="83"/>
                  <a:pt x="273" y="81"/>
                </a:cubicBezTo>
                <a:cubicBezTo>
                  <a:pt x="273" y="81"/>
                  <a:pt x="272" y="80"/>
                  <a:pt x="273" y="80"/>
                </a:cubicBezTo>
                <a:cubicBezTo>
                  <a:pt x="274" y="79"/>
                  <a:pt x="273" y="78"/>
                  <a:pt x="273" y="77"/>
                </a:cubicBezTo>
                <a:cubicBezTo>
                  <a:pt x="274" y="77"/>
                  <a:pt x="275" y="77"/>
                  <a:pt x="275" y="78"/>
                </a:cubicBezTo>
                <a:cubicBezTo>
                  <a:pt x="274" y="79"/>
                  <a:pt x="274" y="80"/>
                  <a:pt x="274" y="82"/>
                </a:cubicBezTo>
                <a:cubicBezTo>
                  <a:pt x="275" y="82"/>
                  <a:pt x="276" y="81"/>
                  <a:pt x="277" y="81"/>
                </a:cubicBezTo>
                <a:cubicBezTo>
                  <a:pt x="278" y="82"/>
                  <a:pt x="278" y="82"/>
                  <a:pt x="279" y="81"/>
                </a:cubicBezTo>
                <a:cubicBezTo>
                  <a:pt x="280" y="81"/>
                  <a:pt x="280" y="81"/>
                  <a:pt x="281" y="81"/>
                </a:cubicBezTo>
                <a:cubicBezTo>
                  <a:pt x="281" y="81"/>
                  <a:pt x="282" y="80"/>
                  <a:pt x="282" y="80"/>
                </a:cubicBezTo>
                <a:cubicBezTo>
                  <a:pt x="282" y="80"/>
                  <a:pt x="283" y="80"/>
                  <a:pt x="283" y="80"/>
                </a:cubicBezTo>
                <a:cubicBezTo>
                  <a:pt x="284" y="79"/>
                  <a:pt x="284" y="80"/>
                  <a:pt x="284" y="80"/>
                </a:cubicBezTo>
                <a:cubicBezTo>
                  <a:pt x="285" y="81"/>
                  <a:pt x="286" y="80"/>
                  <a:pt x="287" y="80"/>
                </a:cubicBezTo>
                <a:cubicBezTo>
                  <a:pt x="287" y="81"/>
                  <a:pt x="288" y="81"/>
                  <a:pt x="288" y="81"/>
                </a:cubicBezTo>
                <a:cubicBezTo>
                  <a:pt x="288" y="80"/>
                  <a:pt x="289" y="81"/>
                  <a:pt x="289" y="81"/>
                </a:cubicBezTo>
                <a:cubicBezTo>
                  <a:pt x="289" y="80"/>
                  <a:pt x="290" y="80"/>
                  <a:pt x="290" y="79"/>
                </a:cubicBezTo>
                <a:cubicBezTo>
                  <a:pt x="290" y="79"/>
                  <a:pt x="290" y="79"/>
                  <a:pt x="290" y="79"/>
                </a:cubicBezTo>
                <a:cubicBezTo>
                  <a:pt x="291" y="79"/>
                  <a:pt x="291" y="79"/>
                  <a:pt x="291" y="80"/>
                </a:cubicBezTo>
                <a:cubicBezTo>
                  <a:pt x="291" y="80"/>
                  <a:pt x="290" y="81"/>
                  <a:pt x="290" y="81"/>
                </a:cubicBezTo>
                <a:cubicBezTo>
                  <a:pt x="289" y="82"/>
                  <a:pt x="288" y="82"/>
                  <a:pt x="287" y="83"/>
                </a:cubicBezTo>
                <a:cubicBezTo>
                  <a:pt x="287" y="83"/>
                  <a:pt x="285" y="84"/>
                  <a:pt x="285" y="83"/>
                </a:cubicBezTo>
                <a:cubicBezTo>
                  <a:pt x="283" y="83"/>
                  <a:pt x="282" y="84"/>
                  <a:pt x="281" y="84"/>
                </a:cubicBezTo>
                <a:cubicBezTo>
                  <a:pt x="280" y="84"/>
                  <a:pt x="281" y="84"/>
                  <a:pt x="280" y="84"/>
                </a:cubicBezTo>
                <a:cubicBezTo>
                  <a:pt x="279" y="84"/>
                  <a:pt x="279" y="85"/>
                  <a:pt x="278" y="85"/>
                </a:cubicBezTo>
                <a:cubicBezTo>
                  <a:pt x="278" y="85"/>
                  <a:pt x="276" y="85"/>
                  <a:pt x="276" y="86"/>
                </a:cubicBezTo>
                <a:cubicBezTo>
                  <a:pt x="276" y="86"/>
                  <a:pt x="275" y="86"/>
                  <a:pt x="275" y="87"/>
                </a:cubicBezTo>
                <a:cubicBezTo>
                  <a:pt x="275" y="88"/>
                  <a:pt x="276" y="90"/>
                  <a:pt x="278" y="90"/>
                </a:cubicBezTo>
                <a:cubicBezTo>
                  <a:pt x="279" y="90"/>
                  <a:pt x="280" y="89"/>
                  <a:pt x="281" y="90"/>
                </a:cubicBezTo>
                <a:cubicBezTo>
                  <a:pt x="281" y="89"/>
                  <a:pt x="282" y="89"/>
                  <a:pt x="283" y="89"/>
                </a:cubicBezTo>
                <a:cubicBezTo>
                  <a:pt x="283" y="89"/>
                  <a:pt x="284" y="88"/>
                  <a:pt x="284" y="88"/>
                </a:cubicBezTo>
                <a:cubicBezTo>
                  <a:pt x="286" y="88"/>
                  <a:pt x="285" y="88"/>
                  <a:pt x="286" y="87"/>
                </a:cubicBezTo>
                <a:cubicBezTo>
                  <a:pt x="287" y="86"/>
                  <a:pt x="286" y="87"/>
                  <a:pt x="287" y="86"/>
                </a:cubicBezTo>
                <a:cubicBezTo>
                  <a:pt x="287" y="86"/>
                  <a:pt x="287" y="86"/>
                  <a:pt x="287" y="86"/>
                </a:cubicBezTo>
                <a:cubicBezTo>
                  <a:pt x="287" y="86"/>
                  <a:pt x="288" y="85"/>
                  <a:pt x="288" y="85"/>
                </a:cubicBezTo>
                <a:cubicBezTo>
                  <a:pt x="289" y="84"/>
                  <a:pt x="288" y="86"/>
                  <a:pt x="289" y="84"/>
                </a:cubicBezTo>
                <a:cubicBezTo>
                  <a:pt x="290" y="84"/>
                  <a:pt x="291" y="84"/>
                  <a:pt x="292" y="85"/>
                </a:cubicBezTo>
                <a:cubicBezTo>
                  <a:pt x="292" y="84"/>
                  <a:pt x="292" y="84"/>
                  <a:pt x="293" y="84"/>
                </a:cubicBezTo>
                <a:cubicBezTo>
                  <a:pt x="294" y="84"/>
                  <a:pt x="293" y="84"/>
                  <a:pt x="294" y="83"/>
                </a:cubicBezTo>
                <a:cubicBezTo>
                  <a:pt x="295" y="83"/>
                  <a:pt x="296" y="84"/>
                  <a:pt x="297" y="83"/>
                </a:cubicBezTo>
                <a:cubicBezTo>
                  <a:pt x="297" y="83"/>
                  <a:pt x="297" y="83"/>
                  <a:pt x="298" y="83"/>
                </a:cubicBezTo>
                <a:cubicBezTo>
                  <a:pt x="298" y="82"/>
                  <a:pt x="299" y="82"/>
                  <a:pt x="300" y="82"/>
                </a:cubicBezTo>
                <a:cubicBezTo>
                  <a:pt x="300" y="82"/>
                  <a:pt x="300" y="83"/>
                  <a:pt x="300" y="84"/>
                </a:cubicBezTo>
                <a:cubicBezTo>
                  <a:pt x="301" y="84"/>
                  <a:pt x="302" y="84"/>
                  <a:pt x="303" y="84"/>
                </a:cubicBezTo>
                <a:cubicBezTo>
                  <a:pt x="304" y="83"/>
                  <a:pt x="304" y="83"/>
                  <a:pt x="304" y="82"/>
                </a:cubicBezTo>
                <a:cubicBezTo>
                  <a:pt x="305" y="81"/>
                  <a:pt x="306" y="82"/>
                  <a:pt x="307" y="82"/>
                </a:cubicBezTo>
                <a:cubicBezTo>
                  <a:pt x="307" y="82"/>
                  <a:pt x="310" y="82"/>
                  <a:pt x="310" y="82"/>
                </a:cubicBezTo>
                <a:cubicBezTo>
                  <a:pt x="311" y="82"/>
                  <a:pt x="312" y="82"/>
                  <a:pt x="312" y="82"/>
                </a:cubicBezTo>
                <a:cubicBezTo>
                  <a:pt x="312" y="82"/>
                  <a:pt x="313" y="82"/>
                  <a:pt x="313" y="81"/>
                </a:cubicBezTo>
                <a:cubicBezTo>
                  <a:pt x="314" y="80"/>
                  <a:pt x="314" y="81"/>
                  <a:pt x="314" y="79"/>
                </a:cubicBezTo>
                <a:cubicBezTo>
                  <a:pt x="314" y="78"/>
                  <a:pt x="314" y="77"/>
                  <a:pt x="314" y="76"/>
                </a:cubicBezTo>
                <a:cubicBezTo>
                  <a:pt x="314" y="76"/>
                  <a:pt x="313" y="75"/>
                  <a:pt x="313" y="74"/>
                </a:cubicBezTo>
                <a:cubicBezTo>
                  <a:pt x="313" y="74"/>
                  <a:pt x="313" y="74"/>
                  <a:pt x="313" y="74"/>
                </a:cubicBezTo>
                <a:cubicBezTo>
                  <a:pt x="313" y="74"/>
                  <a:pt x="313" y="74"/>
                  <a:pt x="313" y="73"/>
                </a:cubicBezTo>
                <a:cubicBezTo>
                  <a:pt x="313" y="73"/>
                  <a:pt x="313" y="73"/>
                  <a:pt x="313" y="73"/>
                </a:cubicBezTo>
                <a:cubicBezTo>
                  <a:pt x="313" y="73"/>
                  <a:pt x="312" y="73"/>
                  <a:pt x="312" y="72"/>
                </a:cubicBezTo>
                <a:cubicBezTo>
                  <a:pt x="312" y="72"/>
                  <a:pt x="312" y="72"/>
                  <a:pt x="311" y="72"/>
                </a:cubicBezTo>
                <a:cubicBezTo>
                  <a:pt x="311" y="71"/>
                  <a:pt x="311" y="71"/>
                  <a:pt x="310" y="71"/>
                </a:cubicBezTo>
                <a:cubicBezTo>
                  <a:pt x="310" y="71"/>
                  <a:pt x="309" y="72"/>
                  <a:pt x="309" y="73"/>
                </a:cubicBezTo>
                <a:cubicBezTo>
                  <a:pt x="309" y="74"/>
                  <a:pt x="311" y="74"/>
                  <a:pt x="310" y="75"/>
                </a:cubicBezTo>
                <a:cubicBezTo>
                  <a:pt x="309" y="76"/>
                  <a:pt x="309" y="75"/>
                  <a:pt x="309" y="76"/>
                </a:cubicBezTo>
                <a:cubicBezTo>
                  <a:pt x="309" y="77"/>
                  <a:pt x="309" y="77"/>
                  <a:pt x="308" y="77"/>
                </a:cubicBezTo>
                <a:cubicBezTo>
                  <a:pt x="308" y="77"/>
                  <a:pt x="308" y="76"/>
                  <a:pt x="308" y="75"/>
                </a:cubicBezTo>
                <a:cubicBezTo>
                  <a:pt x="308" y="74"/>
                  <a:pt x="308" y="74"/>
                  <a:pt x="306" y="74"/>
                </a:cubicBezTo>
                <a:cubicBezTo>
                  <a:pt x="306" y="74"/>
                  <a:pt x="307" y="74"/>
                  <a:pt x="306" y="75"/>
                </a:cubicBezTo>
                <a:cubicBezTo>
                  <a:pt x="306" y="75"/>
                  <a:pt x="306" y="75"/>
                  <a:pt x="306" y="75"/>
                </a:cubicBezTo>
                <a:cubicBezTo>
                  <a:pt x="306" y="75"/>
                  <a:pt x="305" y="75"/>
                  <a:pt x="305" y="75"/>
                </a:cubicBezTo>
                <a:cubicBezTo>
                  <a:pt x="305" y="75"/>
                  <a:pt x="305" y="76"/>
                  <a:pt x="305" y="76"/>
                </a:cubicBezTo>
                <a:cubicBezTo>
                  <a:pt x="305" y="76"/>
                  <a:pt x="305" y="76"/>
                  <a:pt x="305" y="75"/>
                </a:cubicBezTo>
                <a:cubicBezTo>
                  <a:pt x="305" y="75"/>
                  <a:pt x="305" y="75"/>
                  <a:pt x="305" y="74"/>
                </a:cubicBezTo>
                <a:cubicBezTo>
                  <a:pt x="305" y="74"/>
                  <a:pt x="306" y="71"/>
                  <a:pt x="305" y="71"/>
                </a:cubicBezTo>
                <a:cubicBezTo>
                  <a:pt x="305" y="71"/>
                  <a:pt x="304" y="71"/>
                  <a:pt x="304" y="71"/>
                </a:cubicBezTo>
                <a:cubicBezTo>
                  <a:pt x="304" y="71"/>
                  <a:pt x="304" y="72"/>
                  <a:pt x="303" y="72"/>
                </a:cubicBezTo>
                <a:cubicBezTo>
                  <a:pt x="301" y="73"/>
                  <a:pt x="301" y="70"/>
                  <a:pt x="299" y="70"/>
                </a:cubicBezTo>
                <a:cubicBezTo>
                  <a:pt x="299" y="70"/>
                  <a:pt x="298" y="69"/>
                  <a:pt x="298" y="69"/>
                </a:cubicBezTo>
                <a:cubicBezTo>
                  <a:pt x="297" y="68"/>
                  <a:pt x="297" y="68"/>
                  <a:pt x="297" y="67"/>
                </a:cubicBezTo>
                <a:cubicBezTo>
                  <a:pt x="298" y="66"/>
                  <a:pt x="296" y="65"/>
                  <a:pt x="296" y="64"/>
                </a:cubicBezTo>
                <a:cubicBezTo>
                  <a:pt x="295" y="64"/>
                  <a:pt x="296" y="65"/>
                  <a:pt x="296" y="65"/>
                </a:cubicBezTo>
                <a:cubicBezTo>
                  <a:pt x="295" y="65"/>
                  <a:pt x="294" y="65"/>
                  <a:pt x="294" y="65"/>
                </a:cubicBezTo>
                <a:cubicBezTo>
                  <a:pt x="294" y="66"/>
                  <a:pt x="295" y="67"/>
                  <a:pt x="295" y="68"/>
                </a:cubicBezTo>
                <a:cubicBezTo>
                  <a:pt x="294" y="68"/>
                  <a:pt x="294" y="68"/>
                  <a:pt x="294" y="68"/>
                </a:cubicBezTo>
                <a:cubicBezTo>
                  <a:pt x="294" y="69"/>
                  <a:pt x="295" y="70"/>
                  <a:pt x="294" y="70"/>
                </a:cubicBezTo>
                <a:cubicBezTo>
                  <a:pt x="294" y="71"/>
                  <a:pt x="294" y="71"/>
                  <a:pt x="294" y="72"/>
                </a:cubicBezTo>
                <a:cubicBezTo>
                  <a:pt x="294" y="72"/>
                  <a:pt x="297" y="73"/>
                  <a:pt x="297" y="73"/>
                </a:cubicBezTo>
                <a:cubicBezTo>
                  <a:pt x="297" y="74"/>
                  <a:pt x="296" y="75"/>
                  <a:pt x="296" y="76"/>
                </a:cubicBezTo>
                <a:cubicBezTo>
                  <a:pt x="296" y="76"/>
                  <a:pt x="297" y="76"/>
                  <a:pt x="298" y="76"/>
                </a:cubicBezTo>
                <a:cubicBezTo>
                  <a:pt x="298" y="77"/>
                  <a:pt x="298" y="77"/>
                  <a:pt x="298" y="78"/>
                </a:cubicBezTo>
                <a:cubicBezTo>
                  <a:pt x="296" y="78"/>
                  <a:pt x="294" y="78"/>
                  <a:pt x="292" y="78"/>
                </a:cubicBezTo>
                <a:cubicBezTo>
                  <a:pt x="291" y="77"/>
                  <a:pt x="290" y="77"/>
                  <a:pt x="289" y="77"/>
                </a:cubicBezTo>
                <a:cubicBezTo>
                  <a:pt x="287" y="77"/>
                  <a:pt x="287" y="77"/>
                  <a:pt x="287" y="76"/>
                </a:cubicBezTo>
                <a:cubicBezTo>
                  <a:pt x="286" y="76"/>
                  <a:pt x="285" y="76"/>
                  <a:pt x="285" y="76"/>
                </a:cubicBezTo>
                <a:cubicBezTo>
                  <a:pt x="284" y="75"/>
                  <a:pt x="285" y="75"/>
                  <a:pt x="284" y="75"/>
                </a:cubicBezTo>
                <a:cubicBezTo>
                  <a:pt x="283" y="74"/>
                  <a:pt x="283" y="74"/>
                  <a:pt x="281" y="74"/>
                </a:cubicBezTo>
                <a:cubicBezTo>
                  <a:pt x="281" y="74"/>
                  <a:pt x="281" y="74"/>
                  <a:pt x="280" y="74"/>
                </a:cubicBezTo>
                <a:cubicBezTo>
                  <a:pt x="280" y="74"/>
                  <a:pt x="280" y="74"/>
                  <a:pt x="280" y="74"/>
                </a:cubicBezTo>
                <a:cubicBezTo>
                  <a:pt x="279" y="73"/>
                  <a:pt x="278" y="73"/>
                  <a:pt x="278" y="72"/>
                </a:cubicBezTo>
                <a:cubicBezTo>
                  <a:pt x="277" y="72"/>
                  <a:pt x="277" y="72"/>
                  <a:pt x="277" y="72"/>
                </a:cubicBezTo>
                <a:cubicBezTo>
                  <a:pt x="276" y="72"/>
                  <a:pt x="276" y="72"/>
                  <a:pt x="275" y="72"/>
                </a:cubicBezTo>
                <a:cubicBezTo>
                  <a:pt x="275" y="72"/>
                  <a:pt x="276" y="72"/>
                  <a:pt x="275" y="72"/>
                </a:cubicBezTo>
                <a:cubicBezTo>
                  <a:pt x="274" y="72"/>
                  <a:pt x="274" y="72"/>
                  <a:pt x="273" y="72"/>
                </a:cubicBezTo>
                <a:close/>
                <a:moveTo>
                  <a:pt x="886" y="63"/>
                </a:moveTo>
                <a:cubicBezTo>
                  <a:pt x="885" y="63"/>
                  <a:pt x="885" y="63"/>
                  <a:pt x="885" y="63"/>
                </a:cubicBezTo>
                <a:cubicBezTo>
                  <a:pt x="885" y="63"/>
                  <a:pt x="885" y="63"/>
                  <a:pt x="886" y="63"/>
                </a:cubicBezTo>
                <a:cubicBezTo>
                  <a:pt x="886" y="63"/>
                  <a:pt x="886" y="63"/>
                  <a:pt x="886" y="63"/>
                </a:cubicBezTo>
                <a:close/>
                <a:moveTo>
                  <a:pt x="480" y="62"/>
                </a:moveTo>
                <a:cubicBezTo>
                  <a:pt x="479" y="62"/>
                  <a:pt x="479" y="62"/>
                  <a:pt x="478" y="62"/>
                </a:cubicBezTo>
                <a:cubicBezTo>
                  <a:pt x="479" y="62"/>
                  <a:pt x="479" y="62"/>
                  <a:pt x="480" y="62"/>
                </a:cubicBezTo>
                <a:cubicBezTo>
                  <a:pt x="480" y="62"/>
                  <a:pt x="480" y="62"/>
                  <a:pt x="480" y="62"/>
                </a:cubicBezTo>
                <a:cubicBezTo>
                  <a:pt x="479" y="62"/>
                  <a:pt x="480" y="62"/>
                  <a:pt x="480" y="62"/>
                </a:cubicBezTo>
                <a:close/>
                <a:moveTo>
                  <a:pt x="1445" y="314"/>
                </a:moveTo>
                <a:cubicBezTo>
                  <a:pt x="1445" y="314"/>
                  <a:pt x="1444" y="315"/>
                  <a:pt x="1445" y="315"/>
                </a:cubicBezTo>
                <a:cubicBezTo>
                  <a:pt x="1445" y="317"/>
                  <a:pt x="1444" y="317"/>
                  <a:pt x="1443" y="316"/>
                </a:cubicBezTo>
                <a:cubicBezTo>
                  <a:pt x="1443" y="316"/>
                  <a:pt x="1443" y="316"/>
                  <a:pt x="1443" y="316"/>
                </a:cubicBezTo>
                <a:cubicBezTo>
                  <a:pt x="1443" y="315"/>
                  <a:pt x="1443" y="314"/>
                  <a:pt x="1443" y="313"/>
                </a:cubicBezTo>
                <a:cubicBezTo>
                  <a:pt x="1443" y="313"/>
                  <a:pt x="1442" y="311"/>
                  <a:pt x="1442" y="311"/>
                </a:cubicBezTo>
                <a:cubicBezTo>
                  <a:pt x="1443" y="311"/>
                  <a:pt x="1443" y="311"/>
                  <a:pt x="1444" y="311"/>
                </a:cubicBezTo>
                <a:cubicBezTo>
                  <a:pt x="1445" y="312"/>
                  <a:pt x="1445" y="313"/>
                  <a:pt x="1445" y="314"/>
                </a:cubicBezTo>
                <a:cubicBezTo>
                  <a:pt x="1445" y="314"/>
                  <a:pt x="1445" y="314"/>
                  <a:pt x="1445" y="314"/>
                </a:cubicBezTo>
                <a:close/>
                <a:moveTo>
                  <a:pt x="1374" y="378"/>
                </a:moveTo>
                <a:cubicBezTo>
                  <a:pt x="1373" y="378"/>
                  <a:pt x="1374" y="378"/>
                  <a:pt x="1373" y="377"/>
                </a:cubicBezTo>
                <a:cubicBezTo>
                  <a:pt x="1374" y="378"/>
                  <a:pt x="1374" y="378"/>
                  <a:pt x="1374" y="378"/>
                </a:cubicBezTo>
                <a:close/>
                <a:moveTo>
                  <a:pt x="1372" y="412"/>
                </a:moveTo>
                <a:cubicBezTo>
                  <a:pt x="1371" y="412"/>
                  <a:pt x="1371" y="413"/>
                  <a:pt x="1371" y="412"/>
                </a:cubicBezTo>
                <a:cubicBezTo>
                  <a:pt x="1370" y="411"/>
                  <a:pt x="1370" y="411"/>
                  <a:pt x="1370" y="411"/>
                </a:cubicBezTo>
                <a:cubicBezTo>
                  <a:pt x="1370" y="410"/>
                  <a:pt x="1372" y="410"/>
                  <a:pt x="1373" y="410"/>
                </a:cubicBezTo>
                <a:cubicBezTo>
                  <a:pt x="1373" y="411"/>
                  <a:pt x="1372" y="411"/>
                  <a:pt x="1372" y="412"/>
                </a:cubicBezTo>
                <a:cubicBezTo>
                  <a:pt x="1372" y="412"/>
                  <a:pt x="1372" y="412"/>
                  <a:pt x="1372" y="412"/>
                </a:cubicBezTo>
                <a:close/>
                <a:moveTo>
                  <a:pt x="1386" y="398"/>
                </a:moveTo>
                <a:cubicBezTo>
                  <a:pt x="1387" y="398"/>
                  <a:pt x="1387" y="398"/>
                  <a:pt x="1388" y="398"/>
                </a:cubicBezTo>
                <a:cubicBezTo>
                  <a:pt x="1389" y="399"/>
                  <a:pt x="1388" y="399"/>
                  <a:pt x="1388" y="399"/>
                </a:cubicBezTo>
                <a:cubicBezTo>
                  <a:pt x="1388" y="399"/>
                  <a:pt x="1389" y="400"/>
                  <a:pt x="1388" y="400"/>
                </a:cubicBezTo>
                <a:cubicBezTo>
                  <a:pt x="1388" y="400"/>
                  <a:pt x="1387" y="401"/>
                  <a:pt x="1387" y="400"/>
                </a:cubicBezTo>
                <a:cubicBezTo>
                  <a:pt x="1387" y="400"/>
                  <a:pt x="1386" y="400"/>
                  <a:pt x="1386" y="400"/>
                </a:cubicBezTo>
                <a:cubicBezTo>
                  <a:pt x="1386" y="399"/>
                  <a:pt x="1386" y="399"/>
                  <a:pt x="1386" y="398"/>
                </a:cubicBezTo>
                <a:cubicBezTo>
                  <a:pt x="1387" y="398"/>
                  <a:pt x="1386" y="398"/>
                  <a:pt x="1386" y="398"/>
                </a:cubicBezTo>
                <a:close/>
                <a:moveTo>
                  <a:pt x="1352" y="415"/>
                </a:moveTo>
                <a:cubicBezTo>
                  <a:pt x="1351" y="415"/>
                  <a:pt x="1351" y="415"/>
                  <a:pt x="1350" y="415"/>
                </a:cubicBezTo>
                <a:cubicBezTo>
                  <a:pt x="1350" y="415"/>
                  <a:pt x="1349" y="414"/>
                  <a:pt x="1348" y="414"/>
                </a:cubicBezTo>
                <a:cubicBezTo>
                  <a:pt x="1349" y="414"/>
                  <a:pt x="1349" y="413"/>
                  <a:pt x="1349" y="413"/>
                </a:cubicBezTo>
                <a:cubicBezTo>
                  <a:pt x="1350" y="413"/>
                  <a:pt x="1349" y="414"/>
                  <a:pt x="1350" y="414"/>
                </a:cubicBezTo>
                <a:cubicBezTo>
                  <a:pt x="1350" y="414"/>
                  <a:pt x="1351" y="414"/>
                  <a:pt x="1351" y="414"/>
                </a:cubicBezTo>
                <a:cubicBezTo>
                  <a:pt x="1351" y="413"/>
                  <a:pt x="1351" y="413"/>
                  <a:pt x="1352" y="413"/>
                </a:cubicBezTo>
                <a:cubicBezTo>
                  <a:pt x="1352" y="413"/>
                  <a:pt x="1352" y="413"/>
                  <a:pt x="1353" y="413"/>
                </a:cubicBezTo>
                <a:cubicBezTo>
                  <a:pt x="1353" y="414"/>
                  <a:pt x="1352" y="414"/>
                  <a:pt x="1352" y="415"/>
                </a:cubicBezTo>
                <a:close/>
                <a:moveTo>
                  <a:pt x="1342" y="100"/>
                </a:moveTo>
                <a:cubicBezTo>
                  <a:pt x="1341" y="100"/>
                  <a:pt x="1342" y="101"/>
                  <a:pt x="1341" y="100"/>
                </a:cubicBezTo>
                <a:cubicBezTo>
                  <a:pt x="1341" y="100"/>
                  <a:pt x="1341" y="99"/>
                  <a:pt x="1342" y="99"/>
                </a:cubicBezTo>
                <a:cubicBezTo>
                  <a:pt x="1342" y="99"/>
                  <a:pt x="1342" y="100"/>
                  <a:pt x="1342" y="100"/>
                </a:cubicBezTo>
                <a:close/>
                <a:moveTo>
                  <a:pt x="1337" y="246"/>
                </a:moveTo>
                <a:cubicBezTo>
                  <a:pt x="1337" y="248"/>
                  <a:pt x="1335" y="249"/>
                  <a:pt x="1337" y="249"/>
                </a:cubicBezTo>
                <a:cubicBezTo>
                  <a:pt x="1337" y="251"/>
                  <a:pt x="1335" y="253"/>
                  <a:pt x="1335" y="255"/>
                </a:cubicBezTo>
                <a:cubicBezTo>
                  <a:pt x="1334" y="254"/>
                  <a:pt x="1334" y="254"/>
                  <a:pt x="1333" y="254"/>
                </a:cubicBezTo>
                <a:cubicBezTo>
                  <a:pt x="1333" y="255"/>
                  <a:pt x="1332" y="256"/>
                  <a:pt x="1332" y="257"/>
                </a:cubicBezTo>
                <a:cubicBezTo>
                  <a:pt x="1332" y="257"/>
                  <a:pt x="1333" y="257"/>
                  <a:pt x="1333" y="257"/>
                </a:cubicBezTo>
                <a:cubicBezTo>
                  <a:pt x="1333" y="257"/>
                  <a:pt x="1334" y="257"/>
                  <a:pt x="1333" y="258"/>
                </a:cubicBezTo>
                <a:cubicBezTo>
                  <a:pt x="1332" y="258"/>
                  <a:pt x="1331" y="258"/>
                  <a:pt x="1331" y="259"/>
                </a:cubicBezTo>
                <a:cubicBezTo>
                  <a:pt x="1331" y="259"/>
                  <a:pt x="1331" y="260"/>
                  <a:pt x="1331" y="260"/>
                </a:cubicBezTo>
                <a:cubicBezTo>
                  <a:pt x="1331" y="260"/>
                  <a:pt x="1331" y="259"/>
                  <a:pt x="1330" y="261"/>
                </a:cubicBezTo>
                <a:cubicBezTo>
                  <a:pt x="1330" y="261"/>
                  <a:pt x="1328" y="261"/>
                  <a:pt x="1327" y="261"/>
                </a:cubicBezTo>
                <a:cubicBezTo>
                  <a:pt x="1327" y="262"/>
                  <a:pt x="1328" y="262"/>
                  <a:pt x="1327" y="263"/>
                </a:cubicBezTo>
                <a:cubicBezTo>
                  <a:pt x="1326" y="263"/>
                  <a:pt x="1326" y="264"/>
                  <a:pt x="1325" y="264"/>
                </a:cubicBezTo>
                <a:cubicBezTo>
                  <a:pt x="1324" y="265"/>
                  <a:pt x="1324" y="265"/>
                  <a:pt x="1323" y="264"/>
                </a:cubicBezTo>
                <a:cubicBezTo>
                  <a:pt x="1322" y="264"/>
                  <a:pt x="1322" y="265"/>
                  <a:pt x="1321" y="266"/>
                </a:cubicBezTo>
                <a:cubicBezTo>
                  <a:pt x="1321" y="267"/>
                  <a:pt x="1320" y="267"/>
                  <a:pt x="1319" y="268"/>
                </a:cubicBezTo>
                <a:cubicBezTo>
                  <a:pt x="1319" y="269"/>
                  <a:pt x="1319" y="269"/>
                  <a:pt x="1319" y="270"/>
                </a:cubicBezTo>
                <a:cubicBezTo>
                  <a:pt x="1318" y="270"/>
                  <a:pt x="1318" y="270"/>
                  <a:pt x="1317" y="270"/>
                </a:cubicBezTo>
                <a:cubicBezTo>
                  <a:pt x="1317" y="271"/>
                  <a:pt x="1316" y="272"/>
                  <a:pt x="1315" y="272"/>
                </a:cubicBezTo>
                <a:cubicBezTo>
                  <a:pt x="1315" y="272"/>
                  <a:pt x="1315" y="272"/>
                  <a:pt x="1314" y="273"/>
                </a:cubicBezTo>
                <a:cubicBezTo>
                  <a:pt x="1313" y="273"/>
                  <a:pt x="1312" y="273"/>
                  <a:pt x="1311" y="273"/>
                </a:cubicBezTo>
                <a:cubicBezTo>
                  <a:pt x="1311" y="273"/>
                  <a:pt x="1310" y="273"/>
                  <a:pt x="1310" y="273"/>
                </a:cubicBezTo>
                <a:cubicBezTo>
                  <a:pt x="1310" y="272"/>
                  <a:pt x="1309" y="272"/>
                  <a:pt x="1309" y="272"/>
                </a:cubicBezTo>
                <a:cubicBezTo>
                  <a:pt x="1308" y="272"/>
                  <a:pt x="1308" y="272"/>
                  <a:pt x="1308" y="271"/>
                </a:cubicBezTo>
                <a:cubicBezTo>
                  <a:pt x="1309" y="271"/>
                  <a:pt x="1310" y="271"/>
                  <a:pt x="1311" y="270"/>
                </a:cubicBezTo>
                <a:cubicBezTo>
                  <a:pt x="1312" y="270"/>
                  <a:pt x="1312" y="270"/>
                  <a:pt x="1312" y="270"/>
                </a:cubicBezTo>
                <a:cubicBezTo>
                  <a:pt x="1313" y="270"/>
                  <a:pt x="1313" y="269"/>
                  <a:pt x="1314" y="269"/>
                </a:cubicBezTo>
                <a:cubicBezTo>
                  <a:pt x="1314" y="268"/>
                  <a:pt x="1314" y="269"/>
                  <a:pt x="1314" y="268"/>
                </a:cubicBezTo>
                <a:cubicBezTo>
                  <a:pt x="1314" y="268"/>
                  <a:pt x="1316" y="268"/>
                  <a:pt x="1316" y="267"/>
                </a:cubicBezTo>
                <a:cubicBezTo>
                  <a:pt x="1316" y="267"/>
                  <a:pt x="1316" y="267"/>
                  <a:pt x="1316" y="267"/>
                </a:cubicBezTo>
                <a:cubicBezTo>
                  <a:pt x="1317" y="266"/>
                  <a:pt x="1316" y="266"/>
                  <a:pt x="1317" y="266"/>
                </a:cubicBezTo>
                <a:cubicBezTo>
                  <a:pt x="1318" y="265"/>
                  <a:pt x="1318" y="262"/>
                  <a:pt x="1320" y="262"/>
                </a:cubicBezTo>
                <a:cubicBezTo>
                  <a:pt x="1321" y="261"/>
                  <a:pt x="1322" y="261"/>
                  <a:pt x="1323" y="259"/>
                </a:cubicBezTo>
                <a:cubicBezTo>
                  <a:pt x="1323" y="259"/>
                  <a:pt x="1323" y="259"/>
                  <a:pt x="1324" y="259"/>
                </a:cubicBezTo>
                <a:cubicBezTo>
                  <a:pt x="1324" y="259"/>
                  <a:pt x="1324" y="258"/>
                  <a:pt x="1325" y="258"/>
                </a:cubicBezTo>
                <a:cubicBezTo>
                  <a:pt x="1325" y="258"/>
                  <a:pt x="1327" y="256"/>
                  <a:pt x="1327" y="256"/>
                </a:cubicBezTo>
                <a:cubicBezTo>
                  <a:pt x="1328" y="255"/>
                  <a:pt x="1327" y="255"/>
                  <a:pt x="1328" y="255"/>
                </a:cubicBezTo>
                <a:cubicBezTo>
                  <a:pt x="1328" y="254"/>
                  <a:pt x="1329" y="254"/>
                  <a:pt x="1330" y="253"/>
                </a:cubicBezTo>
                <a:cubicBezTo>
                  <a:pt x="1330" y="253"/>
                  <a:pt x="1330" y="252"/>
                  <a:pt x="1331" y="251"/>
                </a:cubicBezTo>
                <a:cubicBezTo>
                  <a:pt x="1331" y="250"/>
                  <a:pt x="1332" y="250"/>
                  <a:pt x="1332" y="249"/>
                </a:cubicBezTo>
                <a:cubicBezTo>
                  <a:pt x="1333" y="248"/>
                  <a:pt x="1333" y="248"/>
                  <a:pt x="1333" y="247"/>
                </a:cubicBezTo>
                <a:cubicBezTo>
                  <a:pt x="1333" y="245"/>
                  <a:pt x="1333" y="247"/>
                  <a:pt x="1334" y="246"/>
                </a:cubicBezTo>
                <a:cubicBezTo>
                  <a:pt x="1334" y="245"/>
                  <a:pt x="1334" y="245"/>
                  <a:pt x="1335" y="244"/>
                </a:cubicBezTo>
                <a:cubicBezTo>
                  <a:pt x="1335" y="244"/>
                  <a:pt x="1335" y="243"/>
                  <a:pt x="1335" y="243"/>
                </a:cubicBezTo>
                <a:cubicBezTo>
                  <a:pt x="1335" y="243"/>
                  <a:pt x="1336" y="242"/>
                  <a:pt x="1336" y="242"/>
                </a:cubicBezTo>
                <a:cubicBezTo>
                  <a:pt x="1336" y="241"/>
                  <a:pt x="1336" y="241"/>
                  <a:pt x="1337" y="241"/>
                </a:cubicBezTo>
                <a:cubicBezTo>
                  <a:pt x="1337" y="241"/>
                  <a:pt x="1337" y="243"/>
                  <a:pt x="1338" y="243"/>
                </a:cubicBezTo>
                <a:cubicBezTo>
                  <a:pt x="1337" y="244"/>
                  <a:pt x="1336" y="244"/>
                  <a:pt x="1336" y="244"/>
                </a:cubicBezTo>
                <a:cubicBezTo>
                  <a:pt x="1336" y="245"/>
                  <a:pt x="1336" y="247"/>
                  <a:pt x="1337" y="246"/>
                </a:cubicBezTo>
                <a:cubicBezTo>
                  <a:pt x="1337" y="247"/>
                  <a:pt x="1337" y="246"/>
                  <a:pt x="1337" y="246"/>
                </a:cubicBezTo>
                <a:close/>
                <a:moveTo>
                  <a:pt x="1317" y="519"/>
                </a:moveTo>
                <a:cubicBezTo>
                  <a:pt x="1318" y="520"/>
                  <a:pt x="1317" y="520"/>
                  <a:pt x="1316" y="520"/>
                </a:cubicBezTo>
                <a:cubicBezTo>
                  <a:pt x="1316" y="520"/>
                  <a:pt x="1315" y="519"/>
                  <a:pt x="1315" y="518"/>
                </a:cubicBezTo>
                <a:cubicBezTo>
                  <a:pt x="1316" y="518"/>
                  <a:pt x="1316" y="519"/>
                  <a:pt x="1316" y="518"/>
                </a:cubicBezTo>
                <a:cubicBezTo>
                  <a:pt x="1317" y="519"/>
                  <a:pt x="1317" y="519"/>
                  <a:pt x="1317" y="519"/>
                </a:cubicBezTo>
                <a:close/>
                <a:moveTo>
                  <a:pt x="1307" y="109"/>
                </a:moveTo>
                <a:cubicBezTo>
                  <a:pt x="1309" y="109"/>
                  <a:pt x="1310" y="109"/>
                  <a:pt x="1311" y="109"/>
                </a:cubicBezTo>
                <a:cubicBezTo>
                  <a:pt x="1313" y="109"/>
                  <a:pt x="1310" y="110"/>
                  <a:pt x="1310" y="110"/>
                </a:cubicBezTo>
                <a:cubicBezTo>
                  <a:pt x="1309" y="110"/>
                  <a:pt x="1307" y="110"/>
                  <a:pt x="1307" y="109"/>
                </a:cubicBezTo>
                <a:cubicBezTo>
                  <a:pt x="1309" y="109"/>
                  <a:pt x="1307" y="109"/>
                  <a:pt x="1307" y="109"/>
                </a:cubicBezTo>
                <a:close/>
                <a:moveTo>
                  <a:pt x="1307" y="81"/>
                </a:moveTo>
                <a:cubicBezTo>
                  <a:pt x="1307" y="82"/>
                  <a:pt x="1306" y="82"/>
                  <a:pt x="1305" y="82"/>
                </a:cubicBezTo>
                <a:cubicBezTo>
                  <a:pt x="1305" y="83"/>
                  <a:pt x="1305" y="82"/>
                  <a:pt x="1305" y="83"/>
                </a:cubicBezTo>
                <a:cubicBezTo>
                  <a:pt x="1305" y="84"/>
                  <a:pt x="1305" y="83"/>
                  <a:pt x="1304" y="84"/>
                </a:cubicBezTo>
                <a:cubicBezTo>
                  <a:pt x="1303" y="84"/>
                  <a:pt x="1303" y="85"/>
                  <a:pt x="1303" y="85"/>
                </a:cubicBezTo>
                <a:cubicBezTo>
                  <a:pt x="1303" y="86"/>
                  <a:pt x="1302" y="86"/>
                  <a:pt x="1302" y="86"/>
                </a:cubicBezTo>
                <a:cubicBezTo>
                  <a:pt x="1301" y="86"/>
                  <a:pt x="1302" y="86"/>
                  <a:pt x="1301" y="86"/>
                </a:cubicBezTo>
                <a:cubicBezTo>
                  <a:pt x="1302" y="83"/>
                  <a:pt x="1299" y="85"/>
                  <a:pt x="1299" y="84"/>
                </a:cubicBezTo>
                <a:cubicBezTo>
                  <a:pt x="1299" y="83"/>
                  <a:pt x="1298" y="83"/>
                  <a:pt x="1299" y="83"/>
                </a:cubicBezTo>
                <a:cubicBezTo>
                  <a:pt x="1300" y="82"/>
                  <a:pt x="1300" y="82"/>
                  <a:pt x="1300" y="81"/>
                </a:cubicBezTo>
                <a:cubicBezTo>
                  <a:pt x="1300" y="80"/>
                  <a:pt x="1299" y="81"/>
                  <a:pt x="1299" y="80"/>
                </a:cubicBezTo>
                <a:cubicBezTo>
                  <a:pt x="1300" y="80"/>
                  <a:pt x="1300" y="80"/>
                  <a:pt x="1301" y="79"/>
                </a:cubicBezTo>
                <a:cubicBezTo>
                  <a:pt x="1301" y="81"/>
                  <a:pt x="1301" y="81"/>
                  <a:pt x="1303" y="81"/>
                </a:cubicBezTo>
                <a:cubicBezTo>
                  <a:pt x="1305" y="81"/>
                  <a:pt x="1307" y="80"/>
                  <a:pt x="1308" y="80"/>
                </a:cubicBezTo>
                <a:cubicBezTo>
                  <a:pt x="1309" y="80"/>
                  <a:pt x="1310" y="79"/>
                  <a:pt x="1310" y="78"/>
                </a:cubicBezTo>
                <a:cubicBezTo>
                  <a:pt x="1310" y="77"/>
                  <a:pt x="1310" y="78"/>
                  <a:pt x="1310" y="78"/>
                </a:cubicBezTo>
                <a:cubicBezTo>
                  <a:pt x="1310" y="78"/>
                  <a:pt x="1310" y="77"/>
                  <a:pt x="1310" y="77"/>
                </a:cubicBezTo>
                <a:cubicBezTo>
                  <a:pt x="1311" y="77"/>
                  <a:pt x="1311" y="77"/>
                  <a:pt x="1311" y="77"/>
                </a:cubicBezTo>
                <a:cubicBezTo>
                  <a:pt x="1312" y="78"/>
                  <a:pt x="1312" y="78"/>
                  <a:pt x="1313" y="78"/>
                </a:cubicBezTo>
                <a:cubicBezTo>
                  <a:pt x="1313" y="79"/>
                  <a:pt x="1313" y="79"/>
                  <a:pt x="1312" y="79"/>
                </a:cubicBezTo>
                <a:cubicBezTo>
                  <a:pt x="1311" y="80"/>
                  <a:pt x="1310" y="80"/>
                  <a:pt x="1309" y="80"/>
                </a:cubicBezTo>
                <a:cubicBezTo>
                  <a:pt x="1308" y="81"/>
                  <a:pt x="1308" y="81"/>
                  <a:pt x="1307" y="81"/>
                </a:cubicBezTo>
                <a:close/>
                <a:moveTo>
                  <a:pt x="1305" y="110"/>
                </a:moveTo>
                <a:cubicBezTo>
                  <a:pt x="1306" y="110"/>
                  <a:pt x="1306" y="110"/>
                  <a:pt x="1306" y="110"/>
                </a:cubicBezTo>
                <a:cubicBezTo>
                  <a:pt x="1306" y="110"/>
                  <a:pt x="1306" y="110"/>
                  <a:pt x="1305" y="110"/>
                </a:cubicBezTo>
                <a:cubicBezTo>
                  <a:pt x="1306" y="110"/>
                  <a:pt x="1305" y="110"/>
                  <a:pt x="1305" y="110"/>
                </a:cubicBezTo>
                <a:close/>
                <a:moveTo>
                  <a:pt x="1301" y="114"/>
                </a:moveTo>
                <a:cubicBezTo>
                  <a:pt x="1302" y="113"/>
                  <a:pt x="1302" y="113"/>
                  <a:pt x="1302" y="114"/>
                </a:cubicBezTo>
                <a:cubicBezTo>
                  <a:pt x="1302" y="114"/>
                  <a:pt x="1302" y="114"/>
                  <a:pt x="1301" y="114"/>
                </a:cubicBezTo>
                <a:cubicBezTo>
                  <a:pt x="1301" y="113"/>
                  <a:pt x="1301" y="114"/>
                  <a:pt x="1301" y="114"/>
                </a:cubicBezTo>
                <a:close/>
                <a:moveTo>
                  <a:pt x="1295" y="366"/>
                </a:moveTo>
                <a:cubicBezTo>
                  <a:pt x="1294" y="366"/>
                  <a:pt x="1293" y="366"/>
                  <a:pt x="1293" y="365"/>
                </a:cubicBezTo>
                <a:cubicBezTo>
                  <a:pt x="1293" y="365"/>
                  <a:pt x="1293" y="364"/>
                  <a:pt x="1293" y="364"/>
                </a:cubicBezTo>
                <a:cubicBezTo>
                  <a:pt x="1294" y="364"/>
                  <a:pt x="1295" y="365"/>
                  <a:pt x="1295" y="366"/>
                </a:cubicBezTo>
                <a:cubicBezTo>
                  <a:pt x="1294" y="366"/>
                  <a:pt x="1295" y="366"/>
                  <a:pt x="1295" y="366"/>
                </a:cubicBezTo>
                <a:close/>
                <a:moveTo>
                  <a:pt x="1294" y="272"/>
                </a:moveTo>
                <a:cubicBezTo>
                  <a:pt x="1295" y="271"/>
                  <a:pt x="1294" y="274"/>
                  <a:pt x="1294" y="275"/>
                </a:cubicBezTo>
                <a:cubicBezTo>
                  <a:pt x="1293" y="276"/>
                  <a:pt x="1294" y="274"/>
                  <a:pt x="1293" y="274"/>
                </a:cubicBezTo>
                <a:cubicBezTo>
                  <a:pt x="1293" y="273"/>
                  <a:pt x="1293" y="272"/>
                  <a:pt x="1294" y="272"/>
                </a:cubicBezTo>
                <a:close/>
                <a:moveTo>
                  <a:pt x="1290" y="473"/>
                </a:moveTo>
                <a:cubicBezTo>
                  <a:pt x="1289" y="473"/>
                  <a:pt x="1289" y="474"/>
                  <a:pt x="1289" y="472"/>
                </a:cubicBezTo>
                <a:cubicBezTo>
                  <a:pt x="1289" y="472"/>
                  <a:pt x="1290" y="472"/>
                  <a:pt x="1290" y="472"/>
                </a:cubicBezTo>
                <a:cubicBezTo>
                  <a:pt x="1290" y="472"/>
                  <a:pt x="1290" y="473"/>
                  <a:pt x="1290" y="473"/>
                </a:cubicBezTo>
                <a:cubicBezTo>
                  <a:pt x="1290" y="473"/>
                  <a:pt x="1290" y="473"/>
                  <a:pt x="1290" y="473"/>
                </a:cubicBezTo>
                <a:close/>
                <a:moveTo>
                  <a:pt x="1258" y="278"/>
                </a:moveTo>
                <a:cubicBezTo>
                  <a:pt x="1258" y="278"/>
                  <a:pt x="1256" y="279"/>
                  <a:pt x="1256" y="278"/>
                </a:cubicBezTo>
                <a:cubicBezTo>
                  <a:pt x="1257" y="277"/>
                  <a:pt x="1257" y="277"/>
                  <a:pt x="1257" y="276"/>
                </a:cubicBezTo>
                <a:cubicBezTo>
                  <a:pt x="1259" y="277"/>
                  <a:pt x="1259" y="277"/>
                  <a:pt x="1258" y="278"/>
                </a:cubicBezTo>
                <a:cubicBezTo>
                  <a:pt x="1258" y="278"/>
                  <a:pt x="1258" y="278"/>
                  <a:pt x="1258" y="278"/>
                </a:cubicBezTo>
                <a:close/>
                <a:moveTo>
                  <a:pt x="1228" y="99"/>
                </a:moveTo>
                <a:cubicBezTo>
                  <a:pt x="1227" y="99"/>
                  <a:pt x="1227" y="99"/>
                  <a:pt x="1227" y="99"/>
                </a:cubicBezTo>
                <a:cubicBezTo>
                  <a:pt x="1226" y="99"/>
                  <a:pt x="1226" y="101"/>
                  <a:pt x="1226" y="101"/>
                </a:cubicBezTo>
                <a:cubicBezTo>
                  <a:pt x="1224" y="101"/>
                  <a:pt x="1226" y="99"/>
                  <a:pt x="1226" y="99"/>
                </a:cubicBezTo>
                <a:cubicBezTo>
                  <a:pt x="1227" y="99"/>
                  <a:pt x="1228" y="99"/>
                  <a:pt x="1228" y="99"/>
                </a:cubicBezTo>
                <a:close/>
                <a:moveTo>
                  <a:pt x="1195" y="298"/>
                </a:moveTo>
                <a:cubicBezTo>
                  <a:pt x="1194" y="298"/>
                  <a:pt x="1195" y="299"/>
                  <a:pt x="1195" y="300"/>
                </a:cubicBezTo>
                <a:cubicBezTo>
                  <a:pt x="1195" y="300"/>
                  <a:pt x="1194" y="300"/>
                  <a:pt x="1194" y="300"/>
                </a:cubicBezTo>
                <a:cubicBezTo>
                  <a:pt x="1193" y="300"/>
                  <a:pt x="1192" y="300"/>
                  <a:pt x="1192" y="300"/>
                </a:cubicBezTo>
                <a:cubicBezTo>
                  <a:pt x="1192" y="301"/>
                  <a:pt x="1192" y="301"/>
                  <a:pt x="1192" y="302"/>
                </a:cubicBezTo>
                <a:cubicBezTo>
                  <a:pt x="1191" y="301"/>
                  <a:pt x="1191" y="301"/>
                  <a:pt x="1190" y="301"/>
                </a:cubicBezTo>
                <a:cubicBezTo>
                  <a:pt x="1190" y="301"/>
                  <a:pt x="1190" y="301"/>
                  <a:pt x="1190" y="302"/>
                </a:cubicBezTo>
                <a:cubicBezTo>
                  <a:pt x="1189" y="300"/>
                  <a:pt x="1188" y="301"/>
                  <a:pt x="1186" y="301"/>
                </a:cubicBezTo>
                <a:cubicBezTo>
                  <a:pt x="1186" y="301"/>
                  <a:pt x="1185" y="301"/>
                  <a:pt x="1184" y="301"/>
                </a:cubicBezTo>
                <a:cubicBezTo>
                  <a:pt x="1184" y="301"/>
                  <a:pt x="1184" y="302"/>
                  <a:pt x="1184" y="302"/>
                </a:cubicBezTo>
                <a:cubicBezTo>
                  <a:pt x="1183" y="301"/>
                  <a:pt x="1183" y="301"/>
                  <a:pt x="1182" y="301"/>
                </a:cubicBezTo>
                <a:cubicBezTo>
                  <a:pt x="1182" y="301"/>
                  <a:pt x="1182" y="301"/>
                  <a:pt x="1181" y="301"/>
                </a:cubicBezTo>
                <a:cubicBezTo>
                  <a:pt x="1181" y="301"/>
                  <a:pt x="1182" y="300"/>
                  <a:pt x="1181" y="300"/>
                </a:cubicBezTo>
                <a:cubicBezTo>
                  <a:pt x="1181" y="300"/>
                  <a:pt x="1180" y="302"/>
                  <a:pt x="1180" y="301"/>
                </a:cubicBezTo>
                <a:cubicBezTo>
                  <a:pt x="1180" y="300"/>
                  <a:pt x="1180" y="300"/>
                  <a:pt x="1179" y="300"/>
                </a:cubicBezTo>
                <a:cubicBezTo>
                  <a:pt x="1178" y="300"/>
                  <a:pt x="1178" y="301"/>
                  <a:pt x="1178" y="302"/>
                </a:cubicBezTo>
                <a:cubicBezTo>
                  <a:pt x="1178" y="302"/>
                  <a:pt x="1177" y="302"/>
                  <a:pt x="1177" y="303"/>
                </a:cubicBezTo>
                <a:cubicBezTo>
                  <a:pt x="1176" y="303"/>
                  <a:pt x="1176" y="303"/>
                  <a:pt x="1175" y="303"/>
                </a:cubicBezTo>
                <a:cubicBezTo>
                  <a:pt x="1174" y="303"/>
                  <a:pt x="1174" y="303"/>
                  <a:pt x="1174" y="304"/>
                </a:cubicBezTo>
                <a:cubicBezTo>
                  <a:pt x="1174" y="304"/>
                  <a:pt x="1173" y="304"/>
                  <a:pt x="1173" y="304"/>
                </a:cubicBezTo>
                <a:cubicBezTo>
                  <a:pt x="1173" y="305"/>
                  <a:pt x="1173" y="305"/>
                  <a:pt x="1172" y="305"/>
                </a:cubicBezTo>
                <a:cubicBezTo>
                  <a:pt x="1172" y="306"/>
                  <a:pt x="1172" y="306"/>
                  <a:pt x="1172" y="306"/>
                </a:cubicBezTo>
                <a:cubicBezTo>
                  <a:pt x="1171" y="306"/>
                  <a:pt x="1172" y="306"/>
                  <a:pt x="1171" y="306"/>
                </a:cubicBezTo>
                <a:cubicBezTo>
                  <a:pt x="1170" y="306"/>
                  <a:pt x="1170" y="306"/>
                  <a:pt x="1169" y="307"/>
                </a:cubicBezTo>
                <a:cubicBezTo>
                  <a:pt x="1169" y="307"/>
                  <a:pt x="1170" y="307"/>
                  <a:pt x="1169" y="308"/>
                </a:cubicBezTo>
                <a:cubicBezTo>
                  <a:pt x="1169" y="308"/>
                  <a:pt x="1168" y="308"/>
                  <a:pt x="1168" y="308"/>
                </a:cubicBezTo>
                <a:cubicBezTo>
                  <a:pt x="1167" y="308"/>
                  <a:pt x="1167" y="309"/>
                  <a:pt x="1167" y="309"/>
                </a:cubicBezTo>
                <a:cubicBezTo>
                  <a:pt x="1167" y="310"/>
                  <a:pt x="1166" y="311"/>
                  <a:pt x="1166" y="311"/>
                </a:cubicBezTo>
                <a:cubicBezTo>
                  <a:pt x="1166" y="311"/>
                  <a:pt x="1166" y="312"/>
                  <a:pt x="1166" y="312"/>
                </a:cubicBezTo>
                <a:cubicBezTo>
                  <a:pt x="1166" y="312"/>
                  <a:pt x="1166" y="312"/>
                  <a:pt x="1166" y="312"/>
                </a:cubicBezTo>
                <a:cubicBezTo>
                  <a:pt x="1166" y="313"/>
                  <a:pt x="1167" y="313"/>
                  <a:pt x="1167" y="313"/>
                </a:cubicBezTo>
                <a:cubicBezTo>
                  <a:pt x="1168" y="313"/>
                  <a:pt x="1167" y="313"/>
                  <a:pt x="1167" y="314"/>
                </a:cubicBezTo>
                <a:cubicBezTo>
                  <a:pt x="1167" y="313"/>
                  <a:pt x="1166" y="313"/>
                  <a:pt x="1165" y="313"/>
                </a:cubicBezTo>
                <a:cubicBezTo>
                  <a:pt x="1166" y="313"/>
                  <a:pt x="1164" y="312"/>
                  <a:pt x="1164" y="312"/>
                </a:cubicBezTo>
                <a:cubicBezTo>
                  <a:pt x="1165" y="312"/>
                  <a:pt x="1165" y="311"/>
                  <a:pt x="1165" y="311"/>
                </a:cubicBezTo>
                <a:cubicBezTo>
                  <a:pt x="1165" y="309"/>
                  <a:pt x="1165" y="309"/>
                  <a:pt x="1163" y="309"/>
                </a:cubicBezTo>
                <a:cubicBezTo>
                  <a:pt x="1162" y="309"/>
                  <a:pt x="1163" y="309"/>
                  <a:pt x="1163" y="308"/>
                </a:cubicBezTo>
                <a:cubicBezTo>
                  <a:pt x="1163" y="307"/>
                  <a:pt x="1163" y="306"/>
                  <a:pt x="1165" y="306"/>
                </a:cubicBezTo>
                <a:cubicBezTo>
                  <a:pt x="1166" y="306"/>
                  <a:pt x="1165" y="305"/>
                  <a:pt x="1166" y="304"/>
                </a:cubicBezTo>
                <a:cubicBezTo>
                  <a:pt x="1166" y="304"/>
                  <a:pt x="1167" y="304"/>
                  <a:pt x="1167" y="303"/>
                </a:cubicBezTo>
                <a:cubicBezTo>
                  <a:pt x="1168" y="303"/>
                  <a:pt x="1168" y="304"/>
                  <a:pt x="1169" y="303"/>
                </a:cubicBezTo>
                <a:cubicBezTo>
                  <a:pt x="1169" y="302"/>
                  <a:pt x="1170" y="301"/>
                  <a:pt x="1171" y="301"/>
                </a:cubicBezTo>
                <a:cubicBezTo>
                  <a:pt x="1172" y="301"/>
                  <a:pt x="1172" y="300"/>
                  <a:pt x="1172" y="299"/>
                </a:cubicBezTo>
                <a:cubicBezTo>
                  <a:pt x="1173" y="299"/>
                  <a:pt x="1175" y="299"/>
                  <a:pt x="1176" y="299"/>
                </a:cubicBezTo>
                <a:cubicBezTo>
                  <a:pt x="1176" y="300"/>
                  <a:pt x="1178" y="299"/>
                  <a:pt x="1178" y="299"/>
                </a:cubicBezTo>
                <a:cubicBezTo>
                  <a:pt x="1180" y="299"/>
                  <a:pt x="1181" y="299"/>
                  <a:pt x="1182" y="299"/>
                </a:cubicBezTo>
                <a:cubicBezTo>
                  <a:pt x="1182" y="300"/>
                  <a:pt x="1182" y="299"/>
                  <a:pt x="1183" y="299"/>
                </a:cubicBezTo>
                <a:cubicBezTo>
                  <a:pt x="1185" y="299"/>
                  <a:pt x="1184" y="300"/>
                  <a:pt x="1185" y="300"/>
                </a:cubicBezTo>
                <a:cubicBezTo>
                  <a:pt x="1185" y="300"/>
                  <a:pt x="1188" y="301"/>
                  <a:pt x="1188" y="299"/>
                </a:cubicBezTo>
                <a:cubicBezTo>
                  <a:pt x="1189" y="299"/>
                  <a:pt x="1191" y="301"/>
                  <a:pt x="1191" y="300"/>
                </a:cubicBezTo>
                <a:cubicBezTo>
                  <a:pt x="1192" y="299"/>
                  <a:pt x="1193" y="298"/>
                  <a:pt x="1193" y="297"/>
                </a:cubicBezTo>
                <a:cubicBezTo>
                  <a:pt x="1193" y="297"/>
                  <a:pt x="1193" y="298"/>
                  <a:pt x="1194" y="298"/>
                </a:cubicBezTo>
                <a:cubicBezTo>
                  <a:pt x="1193" y="297"/>
                  <a:pt x="1195" y="296"/>
                  <a:pt x="1196" y="297"/>
                </a:cubicBezTo>
                <a:cubicBezTo>
                  <a:pt x="1196" y="297"/>
                  <a:pt x="1196" y="297"/>
                  <a:pt x="1196" y="298"/>
                </a:cubicBezTo>
                <a:cubicBezTo>
                  <a:pt x="1196" y="298"/>
                  <a:pt x="1195" y="298"/>
                  <a:pt x="1195" y="298"/>
                </a:cubicBezTo>
                <a:close/>
                <a:moveTo>
                  <a:pt x="1189" y="327"/>
                </a:moveTo>
                <a:cubicBezTo>
                  <a:pt x="1189" y="328"/>
                  <a:pt x="1188" y="327"/>
                  <a:pt x="1187" y="327"/>
                </a:cubicBezTo>
                <a:cubicBezTo>
                  <a:pt x="1187" y="328"/>
                  <a:pt x="1187" y="329"/>
                  <a:pt x="1185" y="329"/>
                </a:cubicBezTo>
                <a:cubicBezTo>
                  <a:pt x="1185" y="329"/>
                  <a:pt x="1184" y="329"/>
                  <a:pt x="1184" y="330"/>
                </a:cubicBezTo>
                <a:cubicBezTo>
                  <a:pt x="1182" y="329"/>
                  <a:pt x="1181" y="328"/>
                  <a:pt x="1180" y="328"/>
                </a:cubicBezTo>
                <a:cubicBezTo>
                  <a:pt x="1181" y="327"/>
                  <a:pt x="1182" y="327"/>
                  <a:pt x="1183" y="327"/>
                </a:cubicBezTo>
                <a:cubicBezTo>
                  <a:pt x="1183" y="327"/>
                  <a:pt x="1184" y="327"/>
                  <a:pt x="1185" y="326"/>
                </a:cubicBezTo>
                <a:cubicBezTo>
                  <a:pt x="1186" y="326"/>
                  <a:pt x="1186" y="326"/>
                  <a:pt x="1187" y="326"/>
                </a:cubicBezTo>
                <a:cubicBezTo>
                  <a:pt x="1188" y="326"/>
                  <a:pt x="1190" y="326"/>
                  <a:pt x="1189" y="327"/>
                </a:cubicBezTo>
                <a:close/>
                <a:moveTo>
                  <a:pt x="1111" y="316"/>
                </a:moveTo>
                <a:cubicBezTo>
                  <a:pt x="1110" y="316"/>
                  <a:pt x="1110" y="316"/>
                  <a:pt x="1109" y="316"/>
                </a:cubicBezTo>
                <a:cubicBezTo>
                  <a:pt x="1109" y="317"/>
                  <a:pt x="1110" y="318"/>
                  <a:pt x="1110" y="318"/>
                </a:cubicBezTo>
                <a:cubicBezTo>
                  <a:pt x="1109" y="318"/>
                  <a:pt x="1108" y="318"/>
                  <a:pt x="1108" y="319"/>
                </a:cubicBezTo>
                <a:cubicBezTo>
                  <a:pt x="1108" y="320"/>
                  <a:pt x="1107" y="321"/>
                  <a:pt x="1106" y="322"/>
                </a:cubicBezTo>
                <a:cubicBezTo>
                  <a:pt x="1105" y="322"/>
                  <a:pt x="1105" y="323"/>
                  <a:pt x="1104" y="323"/>
                </a:cubicBezTo>
                <a:cubicBezTo>
                  <a:pt x="1104" y="324"/>
                  <a:pt x="1101" y="324"/>
                  <a:pt x="1101" y="324"/>
                </a:cubicBezTo>
                <a:cubicBezTo>
                  <a:pt x="1101" y="323"/>
                  <a:pt x="1101" y="323"/>
                  <a:pt x="1101" y="323"/>
                </a:cubicBezTo>
                <a:cubicBezTo>
                  <a:pt x="1101" y="322"/>
                  <a:pt x="1101" y="323"/>
                  <a:pt x="1101" y="322"/>
                </a:cubicBezTo>
                <a:cubicBezTo>
                  <a:pt x="1101" y="322"/>
                  <a:pt x="1100" y="321"/>
                  <a:pt x="1100" y="321"/>
                </a:cubicBezTo>
                <a:cubicBezTo>
                  <a:pt x="1100" y="321"/>
                  <a:pt x="1100" y="322"/>
                  <a:pt x="1100" y="323"/>
                </a:cubicBezTo>
                <a:cubicBezTo>
                  <a:pt x="1099" y="323"/>
                  <a:pt x="1099" y="326"/>
                  <a:pt x="1098" y="326"/>
                </a:cubicBezTo>
                <a:cubicBezTo>
                  <a:pt x="1098" y="326"/>
                  <a:pt x="1097" y="325"/>
                  <a:pt x="1097" y="325"/>
                </a:cubicBezTo>
                <a:cubicBezTo>
                  <a:pt x="1097" y="324"/>
                  <a:pt x="1098" y="324"/>
                  <a:pt x="1098" y="324"/>
                </a:cubicBezTo>
                <a:cubicBezTo>
                  <a:pt x="1098" y="324"/>
                  <a:pt x="1098" y="323"/>
                  <a:pt x="1098" y="322"/>
                </a:cubicBezTo>
                <a:cubicBezTo>
                  <a:pt x="1098" y="322"/>
                  <a:pt x="1099" y="322"/>
                  <a:pt x="1098" y="321"/>
                </a:cubicBezTo>
                <a:cubicBezTo>
                  <a:pt x="1097" y="321"/>
                  <a:pt x="1098" y="321"/>
                  <a:pt x="1097" y="321"/>
                </a:cubicBezTo>
                <a:cubicBezTo>
                  <a:pt x="1096" y="321"/>
                  <a:pt x="1095" y="322"/>
                  <a:pt x="1093" y="322"/>
                </a:cubicBezTo>
                <a:cubicBezTo>
                  <a:pt x="1093" y="322"/>
                  <a:pt x="1093" y="321"/>
                  <a:pt x="1093" y="321"/>
                </a:cubicBezTo>
                <a:cubicBezTo>
                  <a:pt x="1093" y="320"/>
                  <a:pt x="1094" y="320"/>
                  <a:pt x="1093" y="320"/>
                </a:cubicBezTo>
                <a:cubicBezTo>
                  <a:pt x="1093" y="320"/>
                  <a:pt x="1094" y="319"/>
                  <a:pt x="1093" y="320"/>
                </a:cubicBezTo>
                <a:cubicBezTo>
                  <a:pt x="1093" y="319"/>
                  <a:pt x="1093" y="319"/>
                  <a:pt x="1093" y="318"/>
                </a:cubicBezTo>
                <a:cubicBezTo>
                  <a:pt x="1092" y="319"/>
                  <a:pt x="1092" y="316"/>
                  <a:pt x="1093" y="316"/>
                </a:cubicBezTo>
                <a:cubicBezTo>
                  <a:pt x="1094" y="315"/>
                  <a:pt x="1093" y="314"/>
                  <a:pt x="1093" y="313"/>
                </a:cubicBezTo>
                <a:cubicBezTo>
                  <a:pt x="1093" y="312"/>
                  <a:pt x="1093" y="312"/>
                  <a:pt x="1094" y="312"/>
                </a:cubicBezTo>
                <a:cubicBezTo>
                  <a:pt x="1094" y="311"/>
                  <a:pt x="1095" y="311"/>
                  <a:pt x="1095" y="310"/>
                </a:cubicBezTo>
                <a:cubicBezTo>
                  <a:pt x="1095" y="309"/>
                  <a:pt x="1095" y="309"/>
                  <a:pt x="1096" y="308"/>
                </a:cubicBezTo>
                <a:cubicBezTo>
                  <a:pt x="1097" y="308"/>
                  <a:pt x="1097" y="308"/>
                  <a:pt x="1098" y="308"/>
                </a:cubicBezTo>
                <a:cubicBezTo>
                  <a:pt x="1098" y="308"/>
                  <a:pt x="1097" y="309"/>
                  <a:pt x="1097" y="310"/>
                </a:cubicBezTo>
                <a:cubicBezTo>
                  <a:pt x="1098" y="310"/>
                  <a:pt x="1099" y="310"/>
                  <a:pt x="1099" y="309"/>
                </a:cubicBezTo>
                <a:cubicBezTo>
                  <a:pt x="1099" y="308"/>
                  <a:pt x="1099" y="306"/>
                  <a:pt x="1099" y="306"/>
                </a:cubicBezTo>
                <a:cubicBezTo>
                  <a:pt x="1100" y="306"/>
                  <a:pt x="1101" y="307"/>
                  <a:pt x="1101" y="306"/>
                </a:cubicBezTo>
                <a:cubicBezTo>
                  <a:pt x="1101" y="306"/>
                  <a:pt x="1101" y="305"/>
                  <a:pt x="1102" y="306"/>
                </a:cubicBezTo>
                <a:cubicBezTo>
                  <a:pt x="1103" y="306"/>
                  <a:pt x="1103" y="305"/>
                  <a:pt x="1104" y="305"/>
                </a:cubicBezTo>
                <a:cubicBezTo>
                  <a:pt x="1104" y="305"/>
                  <a:pt x="1103" y="304"/>
                  <a:pt x="1103" y="303"/>
                </a:cubicBezTo>
                <a:cubicBezTo>
                  <a:pt x="1104" y="303"/>
                  <a:pt x="1106" y="303"/>
                  <a:pt x="1107" y="303"/>
                </a:cubicBezTo>
                <a:cubicBezTo>
                  <a:pt x="1107" y="303"/>
                  <a:pt x="1107" y="303"/>
                  <a:pt x="1107" y="302"/>
                </a:cubicBezTo>
                <a:cubicBezTo>
                  <a:pt x="1107" y="302"/>
                  <a:pt x="1108" y="302"/>
                  <a:pt x="1108" y="303"/>
                </a:cubicBezTo>
                <a:cubicBezTo>
                  <a:pt x="1109" y="303"/>
                  <a:pt x="1109" y="303"/>
                  <a:pt x="1110" y="303"/>
                </a:cubicBezTo>
                <a:cubicBezTo>
                  <a:pt x="1109" y="304"/>
                  <a:pt x="1109" y="305"/>
                  <a:pt x="1108" y="305"/>
                </a:cubicBezTo>
                <a:cubicBezTo>
                  <a:pt x="1107" y="306"/>
                  <a:pt x="1107" y="307"/>
                  <a:pt x="1107" y="307"/>
                </a:cubicBezTo>
                <a:cubicBezTo>
                  <a:pt x="1107" y="308"/>
                  <a:pt x="1107" y="308"/>
                  <a:pt x="1107" y="309"/>
                </a:cubicBezTo>
                <a:cubicBezTo>
                  <a:pt x="1107" y="309"/>
                  <a:pt x="1107" y="309"/>
                  <a:pt x="1107" y="309"/>
                </a:cubicBezTo>
                <a:cubicBezTo>
                  <a:pt x="1107" y="311"/>
                  <a:pt x="1107" y="312"/>
                  <a:pt x="1108" y="313"/>
                </a:cubicBezTo>
                <a:cubicBezTo>
                  <a:pt x="1108" y="314"/>
                  <a:pt x="1108" y="314"/>
                  <a:pt x="1109" y="315"/>
                </a:cubicBezTo>
                <a:cubicBezTo>
                  <a:pt x="1110" y="315"/>
                  <a:pt x="1111" y="315"/>
                  <a:pt x="1111" y="316"/>
                </a:cubicBezTo>
                <a:cubicBezTo>
                  <a:pt x="1110" y="316"/>
                  <a:pt x="1111" y="316"/>
                  <a:pt x="1111" y="316"/>
                </a:cubicBezTo>
                <a:close/>
                <a:moveTo>
                  <a:pt x="1074" y="340"/>
                </a:moveTo>
                <a:cubicBezTo>
                  <a:pt x="1074" y="340"/>
                  <a:pt x="1074" y="340"/>
                  <a:pt x="1074" y="340"/>
                </a:cubicBezTo>
                <a:cubicBezTo>
                  <a:pt x="1074" y="340"/>
                  <a:pt x="1074" y="340"/>
                  <a:pt x="1074" y="341"/>
                </a:cubicBezTo>
                <a:cubicBezTo>
                  <a:pt x="1074" y="341"/>
                  <a:pt x="1073" y="341"/>
                  <a:pt x="1073" y="341"/>
                </a:cubicBezTo>
                <a:cubicBezTo>
                  <a:pt x="1072" y="341"/>
                  <a:pt x="1072" y="340"/>
                  <a:pt x="1072" y="340"/>
                </a:cubicBezTo>
                <a:cubicBezTo>
                  <a:pt x="1071" y="340"/>
                  <a:pt x="1070" y="340"/>
                  <a:pt x="1070" y="340"/>
                </a:cubicBezTo>
                <a:cubicBezTo>
                  <a:pt x="1069" y="340"/>
                  <a:pt x="1069" y="341"/>
                  <a:pt x="1069" y="340"/>
                </a:cubicBezTo>
                <a:cubicBezTo>
                  <a:pt x="1069" y="340"/>
                  <a:pt x="1069" y="339"/>
                  <a:pt x="1069" y="338"/>
                </a:cubicBezTo>
                <a:cubicBezTo>
                  <a:pt x="1068" y="338"/>
                  <a:pt x="1068" y="338"/>
                  <a:pt x="1068" y="338"/>
                </a:cubicBezTo>
                <a:cubicBezTo>
                  <a:pt x="1068" y="340"/>
                  <a:pt x="1067" y="341"/>
                  <a:pt x="1067" y="343"/>
                </a:cubicBezTo>
                <a:cubicBezTo>
                  <a:pt x="1067" y="344"/>
                  <a:pt x="1067" y="344"/>
                  <a:pt x="1066" y="345"/>
                </a:cubicBezTo>
                <a:cubicBezTo>
                  <a:pt x="1066" y="345"/>
                  <a:pt x="1067" y="346"/>
                  <a:pt x="1067" y="346"/>
                </a:cubicBezTo>
                <a:cubicBezTo>
                  <a:pt x="1067" y="346"/>
                  <a:pt x="1068" y="345"/>
                  <a:pt x="1068" y="345"/>
                </a:cubicBezTo>
                <a:cubicBezTo>
                  <a:pt x="1069" y="345"/>
                  <a:pt x="1069" y="345"/>
                  <a:pt x="1069" y="345"/>
                </a:cubicBezTo>
                <a:cubicBezTo>
                  <a:pt x="1070" y="345"/>
                  <a:pt x="1069" y="344"/>
                  <a:pt x="1069" y="344"/>
                </a:cubicBezTo>
                <a:cubicBezTo>
                  <a:pt x="1070" y="344"/>
                  <a:pt x="1070" y="344"/>
                  <a:pt x="1071" y="344"/>
                </a:cubicBezTo>
                <a:cubicBezTo>
                  <a:pt x="1072" y="344"/>
                  <a:pt x="1074" y="345"/>
                  <a:pt x="1071" y="345"/>
                </a:cubicBezTo>
                <a:cubicBezTo>
                  <a:pt x="1070" y="345"/>
                  <a:pt x="1069" y="345"/>
                  <a:pt x="1070" y="347"/>
                </a:cubicBezTo>
                <a:cubicBezTo>
                  <a:pt x="1070" y="347"/>
                  <a:pt x="1071" y="347"/>
                  <a:pt x="1071" y="348"/>
                </a:cubicBezTo>
                <a:cubicBezTo>
                  <a:pt x="1072" y="348"/>
                  <a:pt x="1071" y="348"/>
                  <a:pt x="1071" y="349"/>
                </a:cubicBezTo>
                <a:cubicBezTo>
                  <a:pt x="1071" y="349"/>
                  <a:pt x="1071" y="349"/>
                  <a:pt x="1072" y="350"/>
                </a:cubicBezTo>
                <a:cubicBezTo>
                  <a:pt x="1072" y="350"/>
                  <a:pt x="1072" y="350"/>
                  <a:pt x="1073" y="350"/>
                </a:cubicBezTo>
                <a:cubicBezTo>
                  <a:pt x="1073" y="350"/>
                  <a:pt x="1073" y="351"/>
                  <a:pt x="1073" y="351"/>
                </a:cubicBezTo>
                <a:cubicBezTo>
                  <a:pt x="1074" y="351"/>
                  <a:pt x="1073" y="354"/>
                  <a:pt x="1073" y="354"/>
                </a:cubicBezTo>
                <a:cubicBezTo>
                  <a:pt x="1071" y="354"/>
                  <a:pt x="1072" y="355"/>
                  <a:pt x="1072" y="356"/>
                </a:cubicBezTo>
                <a:cubicBezTo>
                  <a:pt x="1072" y="357"/>
                  <a:pt x="1072" y="359"/>
                  <a:pt x="1073" y="360"/>
                </a:cubicBezTo>
                <a:cubicBezTo>
                  <a:pt x="1073" y="361"/>
                  <a:pt x="1073" y="363"/>
                  <a:pt x="1072" y="364"/>
                </a:cubicBezTo>
                <a:cubicBezTo>
                  <a:pt x="1072" y="365"/>
                  <a:pt x="1071" y="365"/>
                  <a:pt x="1070" y="365"/>
                </a:cubicBezTo>
                <a:cubicBezTo>
                  <a:pt x="1070" y="364"/>
                  <a:pt x="1070" y="364"/>
                  <a:pt x="1070" y="364"/>
                </a:cubicBezTo>
                <a:cubicBezTo>
                  <a:pt x="1069" y="364"/>
                  <a:pt x="1067" y="365"/>
                  <a:pt x="1065" y="365"/>
                </a:cubicBezTo>
                <a:cubicBezTo>
                  <a:pt x="1064" y="366"/>
                  <a:pt x="1064" y="366"/>
                  <a:pt x="1063" y="366"/>
                </a:cubicBezTo>
                <a:cubicBezTo>
                  <a:pt x="1063" y="366"/>
                  <a:pt x="1062" y="366"/>
                  <a:pt x="1062" y="366"/>
                </a:cubicBezTo>
                <a:cubicBezTo>
                  <a:pt x="1062" y="366"/>
                  <a:pt x="1062" y="365"/>
                  <a:pt x="1062" y="365"/>
                </a:cubicBezTo>
                <a:cubicBezTo>
                  <a:pt x="1061" y="365"/>
                  <a:pt x="1059" y="365"/>
                  <a:pt x="1058" y="364"/>
                </a:cubicBezTo>
                <a:cubicBezTo>
                  <a:pt x="1058" y="363"/>
                  <a:pt x="1057" y="364"/>
                  <a:pt x="1057" y="363"/>
                </a:cubicBezTo>
                <a:cubicBezTo>
                  <a:pt x="1056" y="362"/>
                  <a:pt x="1056" y="361"/>
                  <a:pt x="1055" y="361"/>
                </a:cubicBezTo>
                <a:cubicBezTo>
                  <a:pt x="1054" y="361"/>
                  <a:pt x="1054" y="361"/>
                  <a:pt x="1053" y="361"/>
                </a:cubicBezTo>
                <a:cubicBezTo>
                  <a:pt x="1053" y="360"/>
                  <a:pt x="1052" y="361"/>
                  <a:pt x="1052" y="361"/>
                </a:cubicBezTo>
                <a:cubicBezTo>
                  <a:pt x="1051" y="361"/>
                  <a:pt x="1051" y="361"/>
                  <a:pt x="1050" y="360"/>
                </a:cubicBezTo>
                <a:cubicBezTo>
                  <a:pt x="1050" y="360"/>
                  <a:pt x="1049" y="359"/>
                  <a:pt x="1049" y="359"/>
                </a:cubicBezTo>
                <a:cubicBezTo>
                  <a:pt x="1049" y="359"/>
                  <a:pt x="1049" y="358"/>
                  <a:pt x="1049" y="358"/>
                </a:cubicBezTo>
                <a:cubicBezTo>
                  <a:pt x="1048" y="358"/>
                  <a:pt x="1048" y="356"/>
                  <a:pt x="1048" y="355"/>
                </a:cubicBezTo>
                <a:cubicBezTo>
                  <a:pt x="1048" y="355"/>
                  <a:pt x="1048" y="355"/>
                  <a:pt x="1048" y="354"/>
                </a:cubicBezTo>
                <a:cubicBezTo>
                  <a:pt x="1048" y="354"/>
                  <a:pt x="1048" y="353"/>
                  <a:pt x="1048" y="353"/>
                </a:cubicBezTo>
                <a:cubicBezTo>
                  <a:pt x="1048" y="352"/>
                  <a:pt x="1048" y="352"/>
                  <a:pt x="1048" y="351"/>
                </a:cubicBezTo>
                <a:cubicBezTo>
                  <a:pt x="1049" y="351"/>
                  <a:pt x="1049" y="350"/>
                  <a:pt x="1050" y="350"/>
                </a:cubicBezTo>
                <a:cubicBezTo>
                  <a:pt x="1051" y="349"/>
                  <a:pt x="1049" y="349"/>
                  <a:pt x="1049" y="348"/>
                </a:cubicBezTo>
                <a:cubicBezTo>
                  <a:pt x="1050" y="348"/>
                  <a:pt x="1050" y="348"/>
                  <a:pt x="1050" y="347"/>
                </a:cubicBezTo>
                <a:cubicBezTo>
                  <a:pt x="1050" y="346"/>
                  <a:pt x="1051" y="347"/>
                  <a:pt x="1051" y="346"/>
                </a:cubicBezTo>
                <a:cubicBezTo>
                  <a:pt x="1051" y="345"/>
                  <a:pt x="1051" y="345"/>
                  <a:pt x="1051" y="344"/>
                </a:cubicBezTo>
                <a:cubicBezTo>
                  <a:pt x="1051" y="344"/>
                  <a:pt x="1053" y="342"/>
                  <a:pt x="1053" y="342"/>
                </a:cubicBezTo>
                <a:cubicBezTo>
                  <a:pt x="1053" y="341"/>
                  <a:pt x="1054" y="342"/>
                  <a:pt x="1055" y="342"/>
                </a:cubicBezTo>
                <a:cubicBezTo>
                  <a:pt x="1055" y="342"/>
                  <a:pt x="1055" y="341"/>
                  <a:pt x="1054" y="341"/>
                </a:cubicBezTo>
                <a:cubicBezTo>
                  <a:pt x="1054" y="340"/>
                  <a:pt x="1053" y="341"/>
                  <a:pt x="1053" y="340"/>
                </a:cubicBezTo>
                <a:cubicBezTo>
                  <a:pt x="1053" y="340"/>
                  <a:pt x="1052" y="340"/>
                  <a:pt x="1052" y="340"/>
                </a:cubicBezTo>
                <a:cubicBezTo>
                  <a:pt x="1052" y="340"/>
                  <a:pt x="1051" y="339"/>
                  <a:pt x="1051" y="338"/>
                </a:cubicBezTo>
                <a:cubicBezTo>
                  <a:pt x="1051" y="338"/>
                  <a:pt x="1051" y="338"/>
                  <a:pt x="1050" y="338"/>
                </a:cubicBezTo>
                <a:cubicBezTo>
                  <a:pt x="1050" y="337"/>
                  <a:pt x="1050" y="336"/>
                  <a:pt x="1050" y="336"/>
                </a:cubicBezTo>
                <a:cubicBezTo>
                  <a:pt x="1049" y="336"/>
                  <a:pt x="1050" y="336"/>
                  <a:pt x="1050" y="336"/>
                </a:cubicBezTo>
                <a:cubicBezTo>
                  <a:pt x="1050" y="335"/>
                  <a:pt x="1048" y="335"/>
                  <a:pt x="1048" y="334"/>
                </a:cubicBezTo>
                <a:cubicBezTo>
                  <a:pt x="1048" y="333"/>
                  <a:pt x="1048" y="334"/>
                  <a:pt x="1047" y="334"/>
                </a:cubicBezTo>
                <a:cubicBezTo>
                  <a:pt x="1047" y="333"/>
                  <a:pt x="1047" y="333"/>
                  <a:pt x="1046" y="332"/>
                </a:cubicBezTo>
                <a:cubicBezTo>
                  <a:pt x="1046" y="332"/>
                  <a:pt x="1046" y="332"/>
                  <a:pt x="1045" y="331"/>
                </a:cubicBezTo>
                <a:cubicBezTo>
                  <a:pt x="1045" y="331"/>
                  <a:pt x="1045" y="331"/>
                  <a:pt x="1045" y="330"/>
                </a:cubicBezTo>
                <a:cubicBezTo>
                  <a:pt x="1045" y="329"/>
                  <a:pt x="1044" y="330"/>
                  <a:pt x="1044" y="329"/>
                </a:cubicBezTo>
                <a:cubicBezTo>
                  <a:pt x="1044" y="328"/>
                  <a:pt x="1043" y="328"/>
                  <a:pt x="1043" y="328"/>
                </a:cubicBezTo>
                <a:cubicBezTo>
                  <a:pt x="1043" y="327"/>
                  <a:pt x="1043" y="327"/>
                  <a:pt x="1043" y="326"/>
                </a:cubicBezTo>
                <a:cubicBezTo>
                  <a:pt x="1042" y="326"/>
                  <a:pt x="1042" y="326"/>
                  <a:pt x="1042" y="326"/>
                </a:cubicBezTo>
                <a:cubicBezTo>
                  <a:pt x="1042" y="325"/>
                  <a:pt x="1042" y="324"/>
                  <a:pt x="1042" y="322"/>
                </a:cubicBezTo>
                <a:cubicBezTo>
                  <a:pt x="1041" y="323"/>
                  <a:pt x="1042" y="322"/>
                  <a:pt x="1041" y="322"/>
                </a:cubicBezTo>
                <a:cubicBezTo>
                  <a:pt x="1041" y="321"/>
                  <a:pt x="1042" y="320"/>
                  <a:pt x="1042" y="320"/>
                </a:cubicBezTo>
                <a:cubicBezTo>
                  <a:pt x="1042" y="319"/>
                  <a:pt x="1042" y="319"/>
                  <a:pt x="1041" y="318"/>
                </a:cubicBezTo>
                <a:cubicBezTo>
                  <a:pt x="1041" y="317"/>
                  <a:pt x="1039" y="319"/>
                  <a:pt x="1038" y="318"/>
                </a:cubicBezTo>
                <a:cubicBezTo>
                  <a:pt x="1038" y="318"/>
                  <a:pt x="1037" y="318"/>
                  <a:pt x="1037" y="318"/>
                </a:cubicBezTo>
                <a:cubicBezTo>
                  <a:pt x="1037" y="317"/>
                  <a:pt x="1039" y="317"/>
                  <a:pt x="1038" y="317"/>
                </a:cubicBezTo>
                <a:cubicBezTo>
                  <a:pt x="1038" y="316"/>
                  <a:pt x="1038" y="315"/>
                  <a:pt x="1039" y="315"/>
                </a:cubicBezTo>
                <a:cubicBezTo>
                  <a:pt x="1039" y="315"/>
                  <a:pt x="1039" y="311"/>
                  <a:pt x="1040" y="311"/>
                </a:cubicBezTo>
                <a:cubicBezTo>
                  <a:pt x="1040" y="311"/>
                  <a:pt x="1040" y="310"/>
                  <a:pt x="1040" y="310"/>
                </a:cubicBezTo>
                <a:cubicBezTo>
                  <a:pt x="1040" y="310"/>
                  <a:pt x="1040" y="309"/>
                  <a:pt x="1040" y="309"/>
                </a:cubicBezTo>
                <a:cubicBezTo>
                  <a:pt x="1041" y="309"/>
                  <a:pt x="1042" y="308"/>
                  <a:pt x="1041" y="308"/>
                </a:cubicBezTo>
                <a:cubicBezTo>
                  <a:pt x="1041" y="308"/>
                  <a:pt x="1041" y="308"/>
                  <a:pt x="1041" y="307"/>
                </a:cubicBezTo>
                <a:cubicBezTo>
                  <a:pt x="1041" y="307"/>
                  <a:pt x="1041" y="306"/>
                  <a:pt x="1041" y="306"/>
                </a:cubicBezTo>
                <a:cubicBezTo>
                  <a:pt x="1041" y="306"/>
                  <a:pt x="1042" y="305"/>
                  <a:pt x="1042" y="306"/>
                </a:cubicBezTo>
                <a:cubicBezTo>
                  <a:pt x="1042" y="305"/>
                  <a:pt x="1043" y="306"/>
                  <a:pt x="1043" y="305"/>
                </a:cubicBezTo>
                <a:cubicBezTo>
                  <a:pt x="1043" y="304"/>
                  <a:pt x="1044" y="304"/>
                  <a:pt x="1044" y="305"/>
                </a:cubicBezTo>
                <a:cubicBezTo>
                  <a:pt x="1044" y="305"/>
                  <a:pt x="1044" y="306"/>
                  <a:pt x="1044" y="306"/>
                </a:cubicBezTo>
                <a:cubicBezTo>
                  <a:pt x="1045" y="306"/>
                  <a:pt x="1045" y="306"/>
                  <a:pt x="1046" y="306"/>
                </a:cubicBezTo>
                <a:cubicBezTo>
                  <a:pt x="1045" y="306"/>
                  <a:pt x="1045" y="307"/>
                  <a:pt x="1045" y="307"/>
                </a:cubicBezTo>
                <a:cubicBezTo>
                  <a:pt x="1045" y="307"/>
                  <a:pt x="1047" y="306"/>
                  <a:pt x="1047" y="306"/>
                </a:cubicBezTo>
                <a:cubicBezTo>
                  <a:pt x="1047" y="306"/>
                  <a:pt x="1047" y="305"/>
                  <a:pt x="1047" y="305"/>
                </a:cubicBezTo>
                <a:cubicBezTo>
                  <a:pt x="1046" y="305"/>
                  <a:pt x="1045" y="304"/>
                  <a:pt x="1046" y="303"/>
                </a:cubicBezTo>
                <a:cubicBezTo>
                  <a:pt x="1047" y="305"/>
                  <a:pt x="1048" y="304"/>
                  <a:pt x="1048" y="303"/>
                </a:cubicBezTo>
                <a:cubicBezTo>
                  <a:pt x="1049" y="304"/>
                  <a:pt x="1050" y="303"/>
                  <a:pt x="1051" y="302"/>
                </a:cubicBezTo>
                <a:cubicBezTo>
                  <a:pt x="1052" y="302"/>
                  <a:pt x="1053" y="302"/>
                  <a:pt x="1054" y="302"/>
                </a:cubicBezTo>
                <a:cubicBezTo>
                  <a:pt x="1054" y="302"/>
                  <a:pt x="1055" y="302"/>
                  <a:pt x="1055" y="301"/>
                </a:cubicBezTo>
                <a:cubicBezTo>
                  <a:pt x="1055" y="301"/>
                  <a:pt x="1055" y="301"/>
                  <a:pt x="1056" y="301"/>
                </a:cubicBezTo>
                <a:cubicBezTo>
                  <a:pt x="1056" y="300"/>
                  <a:pt x="1057" y="301"/>
                  <a:pt x="1057" y="300"/>
                </a:cubicBezTo>
                <a:cubicBezTo>
                  <a:pt x="1057" y="299"/>
                  <a:pt x="1059" y="299"/>
                  <a:pt x="1058" y="298"/>
                </a:cubicBezTo>
                <a:cubicBezTo>
                  <a:pt x="1058" y="298"/>
                  <a:pt x="1058" y="298"/>
                  <a:pt x="1058" y="298"/>
                </a:cubicBezTo>
                <a:cubicBezTo>
                  <a:pt x="1059" y="298"/>
                  <a:pt x="1060" y="298"/>
                  <a:pt x="1061" y="299"/>
                </a:cubicBezTo>
                <a:cubicBezTo>
                  <a:pt x="1062" y="299"/>
                  <a:pt x="1061" y="299"/>
                  <a:pt x="1061" y="300"/>
                </a:cubicBezTo>
                <a:cubicBezTo>
                  <a:pt x="1062" y="300"/>
                  <a:pt x="1063" y="300"/>
                  <a:pt x="1064" y="300"/>
                </a:cubicBezTo>
                <a:cubicBezTo>
                  <a:pt x="1064" y="301"/>
                  <a:pt x="1066" y="301"/>
                  <a:pt x="1066" y="300"/>
                </a:cubicBezTo>
                <a:cubicBezTo>
                  <a:pt x="1066" y="301"/>
                  <a:pt x="1066" y="301"/>
                  <a:pt x="1067" y="301"/>
                </a:cubicBezTo>
                <a:cubicBezTo>
                  <a:pt x="1067" y="301"/>
                  <a:pt x="1068" y="302"/>
                  <a:pt x="1068" y="302"/>
                </a:cubicBezTo>
                <a:cubicBezTo>
                  <a:pt x="1068" y="302"/>
                  <a:pt x="1069" y="302"/>
                  <a:pt x="1069" y="303"/>
                </a:cubicBezTo>
                <a:cubicBezTo>
                  <a:pt x="1069" y="303"/>
                  <a:pt x="1069" y="304"/>
                  <a:pt x="1070" y="304"/>
                </a:cubicBezTo>
                <a:cubicBezTo>
                  <a:pt x="1070" y="304"/>
                  <a:pt x="1069" y="304"/>
                  <a:pt x="1070" y="304"/>
                </a:cubicBezTo>
                <a:cubicBezTo>
                  <a:pt x="1070" y="304"/>
                  <a:pt x="1071" y="304"/>
                  <a:pt x="1071" y="304"/>
                </a:cubicBezTo>
                <a:cubicBezTo>
                  <a:pt x="1072" y="304"/>
                  <a:pt x="1071" y="305"/>
                  <a:pt x="1072" y="305"/>
                </a:cubicBezTo>
                <a:cubicBezTo>
                  <a:pt x="1072" y="305"/>
                  <a:pt x="1072" y="307"/>
                  <a:pt x="1072" y="307"/>
                </a:cubicBezTo>
                <a:cubicBezTo>
                  <a:pt x="1073" y="307"/>
                  <a:pt x="1073" y="307"/>
                  <a:pt x="1073" y="308"/>
                </a:cubicBezTo>
                <a:cubicBezTo>
                  <a:pt x="1073" y="309"/>
                  <a:pt x="1073" y="308"/>
                  <a:pt x="1073" y="308"/>
                </a:cubicBezTo>
                <a:cubicBezTo>
                  <a:pt x="1073" y="309"/>
                  <a:pt x="1074" y="309"/>
                  <a:pt x="1074" y="310"/>
                </a:cubicBezTo>
                <a:cubicBezTo>
                  <a:pt x="1075" y="310"/>
                  <a:pt x="1075" y="310"/>
                  <a:pt x="1075" y="312"/>
                </a:cubicBezTo>
                <a:cubicBezTo>
                  <a:pt x="1075" y="312"/>
                  <a:pt x="1074" y="312"/>
                  <a:pt x="1074" y="312"/>
                </a:cubicBezTo>
                <a:cubicBezTo>
                  <a:pt x="1074" y="313"/>
                  <a:pt x="1075" y="313"/>
                  <a:pt x="1074" y="314"/>
                </a:cubicBezTo>
                <a:cubicBezTo>
                  <a:pt x="1074" y="314"/>
                  <a:pt x="1074" y="314"/>
                  <a:pt x="1074" y="314"/>
                </a:cubicBezTo>
                <a:cubicBezTo>
                  <a:pt x="1074" y="315"/>
                  <a:pt x="1073" y="314"/>
                  <a:pt x="1072" y="314"/>
                </a:cubicBezTo>
                <a:cubicBezTo>
                  <a:pt x="1072" y="314"/>
                  <a:pt x="1071" y="315"/>
                  <a:pt x="1070" y="315"/>
                </a:cubicBezTo>
                <a:cubicBezTo>
                  <a:pt x="1070" y="316"/>
                  <a:pt x="1069" y="316"/>
                  <a:pt x="1069" y="316"/>
                </a:cubicBezTo>
                <a:cubicBezTo>
                  <a:pt x="1068" y="317"/>
                  <a:pt x="1069" y="317"/>
                  <a:pt x="1068" y="317"/>
                </a:cubicBezTo>
                <a:cubicBezTo>
                  <a:pt x="1068" y="317"/>
                  <a:pt x="1068" y="318"/>
                  <a:pt x="1068" y="318"/>
                </a:cubicBezTo>
                <a:cubicBezTo>
                  <a:pt x="1067" y="319"/>
                  <a:pt x="1067" y="319"/>
                  <a:pt x="1066" y="319"/>
                </a:cubicBezTo>
                <a:cubicBezTo>
                  <a:pt x="1066" y="318"/>
                  <a:pt x="1066" y="318"/>
                  <a:pt x="1065" y="318"/>
                </a:cubicBezTo>
                <a:cubicBezTo>
                  <a:pt x="1065" y="318"/>
                  <a:pt x="1065" y="318"/>
                  <a:pt x="1065" y="318"/>
                </a:cubicBezTo>
                <a:cubicBezTo>
                  <a:pt x="1064" y="318"/>
                  <a:pt x="1065" y="317"/>
                  <a:pt x="1065" y="317"/>
                </a:cubicBezTo>
                <a:cubicBezTo>
                  <a:pt x="1066" y="317"/>
                  <a:pt x="1066" y="317"/>
                  <a:pt x="1067" y="318"/>
                </a:cubicBezTo>
                <a:cubicBezTo>
                  <a:pt x="1067" y="318"/>
                  <a:pt x="1068" y="316"/>
                  <a:pt x="1068" y="316"/>
                </a:cubicBezTo>
                <a:cubicBezTo>
                  <a:pt x="1069" y="316"/>
                  <a:pt x="1069" y="316"/>
                  <a:pt x="1069" y="315"/>
                </a:cubicBezTo>
                <a:cubicBezTo>
                  <a:pt x="1069" y="315"/>
                  <a:pt x="1070" y="315"/>
                  <a:pt x="1070" y="315"/>
                </a:cubicBezTo>
                <a:cubicBezTo>
                  <a:pt x="1070" y="315"/>
                  <a:pt x="1071" y="314"/>
                  <a:pt x="1071" y="314"/>
                </a:cubicBezTo>
                <a:cubicBezTo>
                  <a:pt x="1071" y="313"/>
                  <a:pt x="1068" y="313"/>
                  <a:pt x="1067" y="312"/>
                </a:cubicBezTo>
                <a:cubicBezTo>
                  <a:pt x="1066" y="311"/>
                  <a:pt x="1065" y="311"/>
                  <a:pt x="1064" y="311"/>
                </a:cubicBezTo>
                <a:cubicBezTo>
                  <a:pt x="1063" y="312"/>
                  <a:pt x="1064" y="313"/>
                  <a:pt x="1064" y="314"/>
                </a:cubicBezTo>
                <a:cubicBezTo>
                  <a:pt x="1063" y="314"/>
                  <a:pt x="1063" y="314"/>
                  <a:pt x="1062" y="314"/>
                </a:cubicBezTo>
                <a:cubicBezTo>
                  <a:pt x="1062" y="314"/>
                  <a:pt x="1062" y="314"/>
                  <a:pt x="1062" y="314"/>
                </a:cubicBezTo>
                <a:cubicBezTo>
                  <a:pt x="1062" y="315"/>
                  <a:pt x="1059" y="314"/>
                  <a:pt x="1059" y="314"/>
                </a:cubicBezTo>
                <a:cubicBezTo>
                  <a:pt x="1059" y="314"/>
                  <a:pt x="1059" y="314"/>
                  <a:pt x="1059" y="314"/>
                </a:cubicBezTo>
                <a:cubicBezTo>
                  <a:pt x="1059" y="315"/>
                  <a:pt x="1059" y="315"/>
                  <a:pt x="1059" y="316"/>
                </a:cubicBezTo>
                <a:cubicBezTo>
                  <a:pt x="1059" y="316"/>
                  <a:pt x="1060" y="316"/>
                  <a:pt x="1060" y="317"/>
                </a:cubicBezTo>
                <a:cubicBezTo>
                  <a:pt x="1060" y="317"/>
                  <a:pt x="1062" y="317"/>
                  <a:pt x="1062" y="317"/>
                </a:cubicBezTo>
                <a:cubicBezTo>
                  <a:pt x="1061" y="319"/>
                  <a:pt x="1059" y="317"/>
                  <a:pt x="1057" y="317"/>
                </a:cubicBezTo>
                <a:cubicBezTo>
                  <a:pt x="1056" y="318"/>
                  <a:pt x="1056" y="318"/>
                  <a:pt x="1055" y="318"/>
                </a:cubicBezTo>
                <a:cubicBezTo>
                  <a:pt x="1056" y="319"/>
                  <a:pt x="1056" y="319"/>
                  <a:pt x="1057" y="319"/>
                </a:cubicBezTo>
                <a:cubicBezTo>
                  <a:pt x="1058" y="319"/>
                  <a:pt x="1058" y="320"/>
                  <a:pt x="1059" y="321"/>
                </a:cubicBezTo>
                <a:cubicBezTo>
                  <a:pt x="1059" y="321"/>
                  <a:pt x="1059" y="321"/>
                  <a:pt x="1059" y="321"/>
                </a:cubicBezTo>
                <a:cubicBezTo>
                  <a:pt x="1059" y="322"/>
                  <a:pt x="1059" y="321"/>
                  <a:pt x="1059" y="322"/>
                </a:cubicBezTo>
                <a:cubicBezTo>
                  <a:pt x="1060" y="322"/>
                  <a:pt x="1059" y="322"/>
                  <a:pt x="1060" y="322"/>
                </a:cubicBezTo>
                <a:cubicBezTo>
                  <a:pt x="1060" y="323"/>
                  <a:pt x="1060" y="324"/>
                  <a:pt x="1061" y="324"/>
                </a:cubicBezTo>
                <a:cubicBezTo>
                  <a:pt x="1061" y="324"/>
                  <a:pt x="1060" y="324"/>
                  <a:pt x="1061" y="325"/>
                </a:cubicBezTo>
                <a:cubicBezTo>
                  <a:pt x="1061" y="325"/>
                  <a:pt x="1061" y="325"/>
                  <a:pt x="1061" y="325"/>
                </a:cubicBezTo>
                <a:cubicBezTo>
                  <a:pt x="1062" y="325"/>
                  <a:pt x="1061" y="325"/>
                  <a:pt x="1063" y="325"/>
                </a:cubicBezTo>
                <a:cubicBezTo>
                  <a:pt x="1063" y="326"/>
                  <a:pt x="1063" y="326"/>
                  <a:pt x="1064" y="327"/>
                </a:cubicBezTo>
                <a:cubicBezTo>
                  <a:pt x="1065" y="327"/>
                  <a:pt x="1066" y="327"/>
                  <a:pt x="1067" y="327"/>
                </a:cubicBezTo>
                <a:cubicBezTo>
                  <a:pt x="1067" y="328"/>
                  <a:pt x="1067" y="329"/>
                  <a:pt x="1066" y="329"/>
                </a:cubicBezTo>
                <a:cubicBezTo>
                  <a:pt x="1066" y="330"/>
                  <a:pt x="1066" y="330"/>
                  <a:pt x="1066" y="331"/>
                </a:cubicBezTo>
                <a:cubicBezTo>
                  <a:pt x="1066" y="332"/>
                  <a:pt x="1065" y="332"/>
                  <a:pt x="1065" y="333"/>
                </a:cubicBezTo>
                <a:cubicBezTo>
                  <a:pt x="1065" y="333"/>
                  <a:pt x="1065" y="334"/>
                  <a:pt x="1066" y="334"/>
                </a:cubicBezTo>
                <a:cubicBezTo>
                  <a:pt x="1066" y="335"/>
                  <a:pt x="1067" y="336"/>
                  <a:pt x="1067" y="335"/>
                </a:cubicBezTo>
                <a:cubicBezTo>
                  <a:pt x="1068" y="333"/>
                  <a:pt x="1067" y="334"/>
                  <a:pt x="1067" y="334"/>
                </a:cubicBezTo>
                <a:cubicBezTo>
                  <a:pt x="1067" y="333"/>
                  <a:pt x="1067" y="333"/>
                  <a:pt x="1068" y="333"/>
                </a:cubicBezTo>
                <a:cubicBezTo>
                  <a:pt x="1068" y="333"/>
                  <a:pt x="1069" y="332"/>
                  <a:pt x="1069" y="332"/>
                </a:cubicBezTo>
                <a:cubicBezTo>
                  <a:pt x="1070" y="331"/>
                  <a:pt x="1070" y="331"/>
                  <a:pt x="1071" y="332"/>
                </a:cubicBezTo>
                <a:cubicBezTo>
                  <a:pt x="1072" y="332"/>
                  <a:pt x="1073" y="332"/>
                  <a:pt x="1073" y="332"/>
                </a:cubicBezTo>
                <a:cubicBezTo>
                  <a:pt x="1074" y="333"/>
                  <a:pt x="1072" y="334"/>
                  <a:pt x="1074" y="335"/>
                </a:cubicBezTo>
                <a:cubicBezTo>
                  <a:pt x="1075" y="336"/>
                  <a:pt x="1077" y="337"/>
                  <a:pt x="1076" y="339"/>
                </a:cubicBezTo>
                <a:cubicBezTo>
                  <a:pt x="1076" y="339"/>
                  <a:pt x="1075" y="339"/>
                  <a:pt x="1074" y="340"/>
                </a:cubicBezTo>
                <a:close/>
                <a:moveTo>
                  <a:pt x="1036" y="364"/>
                </a:moveTo>
                <a:cubicBezTo>
                  <a:pt x="1036" y="364"/>
                  <a:pt x="1036" y="365"/>
                  <a:pt x="1035" y="365"/>
                </a:cubicBezTo>
                <a:cubicBezTo>
                  <a:pt x="1035" y="366"/>
                  <a:pt x="1034" y="366"/>
                  <a:pt x="1033" y="365"/>
                </a:cubicBezTo>
                <a:cubicBezTo>
                  <a:pt x="1032" y="365"/>
                  <a:pt x="1032" y="363"/>
                  <a:pt x="1031" y="363"/>
                </a:cubicBezTo>
                <a:cubicBezTo>
                  <a:pt x="1031" y="363"/>
                  <a:pt x="1031" y="362"/>
                  <a:pt x="1031" y="362"/>
                </a:cubicBezTo>
                <a:cubicBezTo>
                  <a:pt x="1031" y="361"/>
                  <a:pt x="1030" y="361"/>
                  <a:pt x="1030" y="360"/>
                </a:cubicBezTo>
                <a:cubicBezTo>
                  <a:pt x="1030" y="359"/>
                  <a:pt x="1031" y="358"/>
                  <a:pt x="1030" y="358"/>
                </a:cubicBezTo>
                <a:cubicBezTo>
                  <a:pt x="1029" y="357"/>
                  <a:pt x="1028" y="357"/>
                  <a:pt x="1028" y="356"/>
                </a:cubicBezTo>
                <a:cubicBezTo>
                  <a:pt x="1029" y="356"/>
                  <a:pt x="1031" y="356"/>
                  <a:pt x="1031" y="357"/>
                </a:cubicBezTo>
                <a:cubicBezTo>
                  <a:pt x="1032" y="357"/>
                  <a:pt x="1032" y="359"/>
                  <a:pt x="1033" y="359"/>
                </a:cubicBezTo>
                <a:cubicBezTo>
                  <a:pt x="1035" y="360"/>
                  <a:pt x="1034" y="361"/>
                  <a:pt x="1034" y="362"/>
                </a:cubicBezTo>
                <a:cubicBezTo>
                  <a:pt x="1036" y="363"/>
                  <a:pt x="1036" y="362"/>
                  <a:pt x="1036" y="364"/>
                </a:cubicBezTo>
                <a:close/>
                <a:moveTo>
                  <a:pt x="1031" y="342"/>
                </a:moveTo>
                <a:cubicBezTo>
                  <a:pt x="1031" y="343"/>
                  <a:pt x="1032" y="343"/>
                  <a:pt x="1032" y="344"/>
                </a:cubicBezTo>
                <a:cubicBezTo>
                  <a:pt x="1032" y="344"/>
                  <a:pt x="1032" y="344"/>
                  <a:pt x="1032" y="344"/>
                </a:cubicBezTo>
                <a:cubicBezTo>
                  <a:pt x="1031" y="345"/>
                  <a:pt x="1029" y="343"/>
                  <a:pt x="1029" y="342"/>
                </a:cubicBezTo>
                <a:cubicBezTo>
                  <a:pt x="1030" y="342"/>
                  <a:pt x="1030" y="343"/>
                  <a:pt x="1031" y="342"/>
                </a:cubicBezTo>
                <a:cubicBezTo>
                  <a:pt x="1032" y="343"/>
                  <a:pt x="1031" y="342"/>
                  <a:pt x="1031" y="342"/>
                </a:cubicBezTo>
                <a:close/>
                <a:moveTo>
                  <a:pt x="1022" y="354"/>
                </a:moveTo>
                <a:cubicBezTo>
                  <a:pt x="1021" y="354"/>
                  <a:pt x="1022" y="355"/>
                  <a:pt x="1022" y="355"/>
                </a:cubicBezTo>
                <a:cubicBezTo>
                  <a:pt x="1022" y="357"/>
                  <a:pt x="1021" y="355"/>
                  <a:pt x="1019" y="355"/>
                </a:cubicBezTo>
                <a:cubicBezTo>
                  <a:pt x="1019" y="355"/>
                  <a:pt x="1019" y="355"/>
                  <a:pt x="1018" y="356"/>
                </a:cubicBezTo>
                <a:cubicBezTo>
                  <a:pt x="1018" y="356"/>
                  <a:pt x="1018" y="356"/>
                  <a:pt x="1018" y="356"/>
                </a:cubicBezTo>
                <a:cubicBezTo>
                  <a:pt x="1017" y="356"/>
                  <a:pt x="1016" y="356"/>
                  <a:pt x="1016" y="356"/>
                </a:cubicBezTo>
                <a:cubicBezTo>
                  <a:pt x="1016" y="355"/>
                  <a:pt x="1016" y="355"/>
                  <a:pt x="1016" y="355"/>
                </a:cubicBezTo>
                <a:cubicBezTo>
                  <a:pt x="1016" y="355"/>
                  <a:pt x="1016" y="354"/>
                  <a:pt x="1016" y="354"/>
                </a:cubicBezTo>
                <a:cubicBezTo>
                  <a:pt x="1017" y="354"/>
                  <a:pt x="1019" y="354"/>
                  <a:pt x="1019" y="354"/>
                </a:cubicBezTo>
                <a:cubicBezTo>
                  <a:pt x="1020" y="354"/>
                  <a:pt x="1021" y="354"/>
                  <a:pt x="1021" y="353"/>
                </a:cubicBezTo>
                <a:cubicBezTo>
                  <a:pt x="1021" y="354"/>
                  <a:pt x="1022" y="353"/>
                  <a:pt x="1021" y="353"/>
                </a:cubicBezTo>
                <a:cubicBezTo>
                  <a:pt x="1022" y="352"/>
                  <a:pt x="1021" y="352"/>
                  <a:pt x="1022" y="352"/>
                </a:cubicBezTo>
                <a:cubicBezTo>
                  <a:pt x="1022" y="353"/>
                  <a:pt x="1022" y="353"/>
                  <a:pt x="1022" y="354"/>
                </a:cubicBezTo>
                <a:close/>
                <a:moveTo>
                  <a:pt x="987" y="398"/>
                </a:moveTo>
                <a:cubicBezTo>
                  <a:pt x="986" y="398"/>
                  <a:pt x="986" y="396"/>
                  <a:pt x="986" y="396"/>
                </a:cubicBezTo>
                <a:cubicBezTo>
                  <a:pt x="986" y="396"/>
                  <a:pt x="987" y="395"/>
                  <a:pt x="987" y="395"/>
                </a:cubicBezTo>
                <a:cubicBezTo>
                  <a:pt x="987" y="395"/>
                  <a:pt x="987" y="396"/>
                  <a:pt x="987" y="396"/>
                </a:cubicBezTo>
                <a:cubicBezTo>
                  <a:pt x="987" y="396"/>
                  <a:pt x="987" y="397"/>
                  <a:pt x="987" y="398"/>
                </a:cubicBezTo>
                <a:close/>
                <a:moveTo>
                  <a:pt x="972" y="409"/>
                </a:moveTo>
                <a:cubicBezTo>
                  <a:pt x="971" y="409"/>
                  <a:pt x="972" y="405"/>
                  <a:pt x="972" y="409"/>
                </a:cubicBezTo>
                <a:close/>
                <a:moveTo>
                  <a:pt x="972" y="570"/>
                </a:moveTo>
                <a:cubicBezTo>
                  <a:pt x="972" y="570"/>
                  <a:pt x="972" y="570"/>
                  <a:pt x="972" y="570"/>
                </a:cubicBezTo>
                <a:cubicBezTo>
                  <a:pt x="971" y="570"/>
                  <a:pt x="970" y="570"/>
                  <a:pt x="969" y="570"/>
                </a:cubicBezTo>
                <a:cubicBezTo>
                  <a:pt x="970" y="569"/>
                  <a:pt x="971" y="568"/>
                  <a:pt x="972" y="568"/>
                </a:cubicBezTo>
                <a:cubicBezTo>
                  <a:pt x="972" y="568"/>
                  <a:pt x="972" y="570"/>
                  <a:pt x="972" y="570"/>
                </a:cubicBezTo>
                <a:close/>
                <a:moveTo>
                  <a:pt x="973" y="577"/>
                </a:moveTo>
                <a:cubicBezTo>
                  <a:pt x="974" y="577"/>
                  <a:pt x="973" y="577"/>
                  <a:pt x="974" y="577"/>
                </a:cubicBezTo>
                <a:cubicBezTo>
                  <a:pt x="974" y="577"/>
                  <a:pt x="975" y="577"/>
                  <a:pt x="975" y="577"/>
                </a:cubicBezTo>
                <a:cubicBezTo>
                  <a:pt x="976" y="577"/>
                  <a:pt x="975" y="575"/>
                  <a:pt x="977" y="576"/>
                </a:cubicBezTo>
                <a:cubicBezTo>
                  <a:pt x="977" y="576"/>
                  <a:pt x="977" y="577"/>
                  <a:pt x="978" y="577"/>
                </a:cubicBezTo>
                <a:cubicBezTo>
                  <a:pt x="978" y="577"/>
                  <a:pt x="979" y="578"/>
                  <a:pt x="978" y="578"/>
                </a:cubicBezTo>
                <a:cubicBezTo>
                  <a:pt x="978" y="578"/>
                  <a:pt x="978" y="579"/>
                  <a:pt x="978" y="579"/>
                </a:cubicBezTo>
                <a:cubicBezTo>
                  <a:pt x="979" y="580"/>
                  <a:pt x="979" y="579"/>
                  <a:pt x="979" y="580"/>
                </a:cubicBezTo>
                <a:cubicBezTo>
                  <a:pt x="980" y="580"/>
                  <a:pt x="980" y="581"/>
                  <a:pt x="980" y="581"/>
                </a:cubicBezTo>
                <a:cubicBezTo>
                  <a:pt x="982" y="581"/>
                  <a:pt x="981" y="579"/>
                  <a:pt x="983" y="580"/>
                </a:cubicBezTo>
                <a:cubicBezTo>
                  <a:pt x="983" y="580"/>
                  <a:pt x="983" y="580"/>
                  <a:pt x="983" y="580"/>
                </a:cubicBezTo>
                <a:cubicBezTo>
                  <a:pt x="982" y="581"/>
                  <a:pt x="982" y="581"/>
                  <a:pt x="982" y="581"/>
                </a:cubicBezTo>
                <a:cubicBezTo>
                  <a:pt x="982" y="582"/>
                  <a:pt x="982" y="583"/>
                  <a:pt x="982" y="583"/>
                </a:cubicBezTo>
                <a:cubicBezTo>
                  <a:pt x="980" y="584"/>
                  <a:pt x="980" y="584"/>
                  <a:pt x="980" y="585"/>
                </a:cubicBezTo>
                <a:cubicBezTo>
                  <a:pt x="980" y="586"/>
                  <a:pt x="980" y="587"/>
                  <a:pt x="980" y="587"/>
                </a:cubicBezTo>
                <a:cubicBezTo>
                  <a:pt x="980" y="588"/>
                  <a:pt x="980" y="588"/>
                  <a:pt x="979" y="589"/>
                </a:cubicBezTo>
                <a:cubicBezTo>
                  <a:pt x="977" y="589"/>
                  <a:pt x="979" y="589"/>
                  <a:pt x="980" y="589"/>
                </a:cubicBezTo>
                <a:cubicBezTo>
                  <a:pt x="980" y="590"/>
                  <a:pt x="979" y="591"/>
                  <a:pt x="980" y="591"/>
                </a:cubicBezTo>
                <a:cubicBezTo>
                  <a:pt x="980" y="591"/>
                  <a:pt x="981" y="591"/>
                  <a:pt x="982" y="591"/>
                </a:cubicBezTo>
                <a:cubicBezTo>
                  <a:pt x="981" y="592"/>
                  <a:pt x="982" y="592"/>
                  <a:pt x="980" y="592"/>
                </a:cubicBezTo>
                <a:cubicBezTo>
                  <a:pt x="980" y="592"/>
                  <a:pt x="980" y="592"/>
                  <a:pt x="979" y="592"/>
                </a:cubicBezTo>
                <a:cubicBezTo>
                  <a:pt x="978" y="592"/>
                  <a:pt x="978" y="593"/>
                  <a:pt x="978" y="594"/>
                </a:cubicBezTo>
                <a:cubicBezTo>
                  <a:pt x="979" y="594"/>
                  <a:pt x="978" y="595"/>
                  <a:pt x="978" y="595"/>
                </a:cubicBezTo>
                <a:cubicBezTo>
                  <a:pt x="978" y="596"/>
                  <a:pt x="979" y="595"/>
                  <a:pt x="979" y="596"/>
                </a:cubicBezTo>
                <a:cubicBezTo>
                  <a:pt x="979" y="595"/>
                  <a:pt x="978" y="596"/>
                  <a:pt x="978" y="596"/>
                </a:cubicBezTo>
                <a:cubicBezTo>
                  <a:pt x="978" y="596"/>
                  <a:pt x="977" y="595"/>
                  <a:pt x="977" y="595"/>
                </a:cubicBezTo>
                <a:cubicBezTo>
                  <a:pt x="977" y="594"/>
                  <a:pt x="978" y="593"/>
                  <a:pt x="976" y="593"/>
                </a:cubicBezTo>
                <a:cubicBezTo>
                  <a:pt x="975" y="593"/>
                  <a:pt x="974" y="592"/>
                  <a:pt x="973" y="592"/>
                </a:cubicBezTo>
                <a:cubicBezTo>
                  <a:pt x="973" y="592"/>
                  <a:pt x="973" y="593"/>
                  <a:pt x="973" y="593"/>
                </a:cubicBezTo>
                <a:cubicBezTo>
                  <a:pt x="973" y="593"/>
                  <a:pt x="970" y="594"/>
                  <a:pt x="971" y="594"/>
                </a:cubicBezTo>
                <a:cubicBezTo>
                  <a:pt x="972" y="595"/>
                  <a:pt x="971" y="595"/>
                  <a:pt x="971" y="595"/>
                </a:cubicBezTo>
                <a:cubicBezTo>
                  <a:pt x="970" y="595"/>
                  <a:pt x="970" y="596"/>
                  <a:pt x="970" y="595"/>
                </a:cubicBezTo>
                <a:cubicBezTo>
                  <a:pt x="970" y="595"/>
                  <a:pt x="970" y="594"/>
                  <a:pt x="969" y="594"/>
                </a:cubicBezTo>
                <a:cubicBezTo>
                  <a:pt x="969" y="594"/>
                  <a:pt x="969" y="594"/>
                  <a:pt x="969" y="593"/>
                </a:cubicBezTo>
                <a:cubicBezTo>
                  <a:pt x="969" y="593"/>
                  <a:pt x="968" y="593"/>
                  <a:pt x="968" y="593"/>
                </a:cubicBezTo>
                <a:cubicBezTo>
                  <a:pt x="968" y="592"/>
                  <a:pt x="969" y="592"/>
                  <a:pt x="968" y="591"/>
                </a:cubicBezTo>
                <a:cubicBezTo>
                  <a:pt x="968" y="591"/>
                  <a:pt x="967" y="591"/>
                  <a:pt x="968" y="590"/>
                </a:cubicBezTo>
                <a:cubicBezTo>
                  <a:pt x="968" y="590"/>
                  <a:pt x="968" y="590"/>
                  <a:pt x="968" y="590"/>
                </a:cubicBezTo>
                <a:cubicBezTo>
                  <a:pt x="968" y="589"/>
                  <a:pt x="968" y="589"/>
                  <a:pt x="968" y="589"/>
                </a:cubicBezTo>
                <a:cubicBezTo>
                  <a:pt x="969" y="588"/>
                  <a:pt x="968" y="587"/>
                  <a:pt x="969" y="587"/>
                </a:cubicBezTo>
                <a:cubicBezTo>
                  <a:pt x="969" y="586"/>
                  <a:pt x="967" y="584"/>
                  <a:pt x="967" y="584"/>
                </a:cubicBezTo>
                <a:cubicBezTo>
                  <a:pt x="967" y="584"/>
                  <a:pt x="968" y="583"/>
                  <a:pt x="968" y="582"/>
                </a:cubicBezTo>
                <a:cubicBezTo>
                  <a:pt x="969" y="581"/>
                  <a:pt x="967" y="581"/>
                  <a:pt x="968" y="580"/>
                </a:cubicBezTo>
                <a:cubicBezTo>
                  <a:pt x="968" y="579"/>
                  <a:pt x="968" y="579"/>
                  <a:pt x="968" y="579"/>
                </a:cubicBezTo>
                <a:cubicBezTo>
                  <a:pt x="968" y="577"/>
                  <a:pt x="970" y="578"/>
                  <a:pt x="970" y="577"/>
                </a:cubicBezTo>
                <a:cubicBezTo>
                  <a:pt x="971" y="577"/>
                  <a:pt x="972" y="577"/>
                  <a:pt x="972" y="577"/>
                </a:cubicBezTo>
                <a:cubicBezTo>
                  <a:pt x="973" y="577"/>
                  <a:pt x="973" y="577"/>
                  <a:pt x="973" y="577"/>
                </a:cubicBezTo>
                <a:close/>
                <a:moveTo>
                  <a:pt x="984" y="599"/>
                </a:moveTo>
                <a:cubicBezTo>
                  <a:pt x="984" y="600"/>
                  <a:pt x="983" y="601"/>
                  <a:pt x="982" y="601"/>
                </a:cubicBezTo>
                <a:cubicBezTo>
                  <a:pt x="983" y="600"/>
                  <a:pt x="983" y="599"/>
                  <a:pt x="984" y="599"/>
                </a:cubicBezTo>
                <a:cubicBezTo>
                  <a:pt x="984" y="600"/>
                  <a:pt x="984" y="599"/>
                  <a:pt x="984" y="599"/>
                </a:cubicBezTo>
                <a:close/>
                <a:moveTo>
                  <a:pt x="983" y="656"/>
                </a:moveTo>
                <a:cubicBezTo>
                  <a:pt x="982" y="655"/>
                  <a:pt x="981" y="655"/>
                  <a:pt x="981" y="655"/>
                </a:cubicBezTo>
                <a:cubicBezTo>
                  <a:pt x="981" y="655"/>
                  <a:pt x="980" y="655"/>
                  <a:pt x="980" y="655"/>
                </a:cubicBezTo>
                <a:cubicBezTo>
                  <a:pt x="980" y="654"/>
                  <a:pt x="980" y="654"/>
                  <a:pt x="980" y="653"/>
                </a:cubicBezTo>
                <a:cubicBezTo>
                  <a:pt x="980" y="653"/>
                  <a:pt x="980" y="652"/>
                  <a:pt x="980" y="652"/>
                </a:cubicBezTo>
                <a:cubicBezTo>
                  <a:pt x="979" y="651"/>
                  <a:pt x="979" y="651"/>
                  <a:pt x="979" y="650"/>
                </a:cubicBezTo>
                <a:cubicBezTo>
                  <a:pt x="979" y="649"/>
                  <a:pt x="980" y="648"/>
                  <a:pt x="979" y="648"/>
                </a:cubicBezTo>
                <a:cubicBezTo>
                  <a:pt x="979" y="647"/>
                  <a:pt x="978" y="647"/>
                  <a:pt x="978" y="646"/>
                </a:cubicBezTo>
                <a:cubicBezTo>
                  <a:pt x="979" y="645"/>
                  <a:pt x="979" y="645"/>
                  <a:pt x="979" y="644"/>
                </a:cubicBezTo>
                <a:cubicBezTo>
                  <a:pt x="978" y="644"/>
                  <a:pt x="978" y="644"/>
                  <a:pt x="977" y="644"/>
                </a:cubicBezTo>
                <a:cubicBezTo>
                  <a:pt x="978" y="643"/>
                  <a:pt x="978" y="643"/>
                  <a:pt x="978" y="643"/>
                </a:cubicBezTo>
                <a:cubicBezTo>
                  <a:pt x="978" y="642"/>
                  <a:pt x="978" y="643"/>
                  <a:pt x="978" y="642"/>
                </a:cubicBezTo>
                <a:cubicBezTo>
                  <a:pt x="978" y="642"/>
                  <a:pt x="978" y="641"/>
                  <a:pt x="978" y="641"/>
                </a:cubicBezTo>
                <a:cubicBezTo>
                  <a:pt x="978" y="640"/>
                  <a:pt x="979" y="640"/>
                  <a:pt x="979" y="640"/>
                </a:cubicBezTo>
                <a:cubicBezTo>
                  <a:pt x="979" y="639"/>
                  <a:pt x="979" y="639"/>
                  <a:pt x="979" y="639"/>
                </a:cubicBezTo>
                <a:cubicBezTo>
                  <a:pt x="979" y="638"/>
                  <a:pt x="979" y="638"/>
                  <a:pt x="979" y="638"/>
                </a:cubicBezTo>
                <a:cubicBezTo>
                  <a:pt x="978" y="637"/>
                  <a:pt x="979" y="636"/>
                  <a:pt x="979" y="635"/>
                </a:cubicBezTo>
                <a:cubicBezTo>
                  <a:pt x="979" y="633"/>
                  <a:pt x="978" y="632"/>
                  <a:pt x="978" y="630"/>
                </a:cubicBezTo>
                <a:cubicBezTo>
                  <a:pt x="979" y="631"/>
                  <a:pt x="979" y="631"/>
                  <a:pt x="980" y="632"/>
                </a:cubicBezTo>
                <a:cubicBezTo>
                  <a:pt x="980" y="632"/>
                  <a:pt x="981" y="632"/>
                  <a:pt x="981" y="633"/>
                </a:cubicBezTo>
                <a:cubicBezTo>
                  <a:pt x="981" y="634"/>
                  <a:pt x="981" y="635"/>
                  <a:pt x="981" y="635"/>
                </a:cubicBezTo>
                <a:cubicBezTo>
                  <a:pt x="981" y="635"/>
                  <a:pt x="981" y="636"/>
                  <a:pt x="982" y="637"/>
                </a:cubicBezTo>
                <a:cubicBezTo>
                  <a:pt x="981" y="637"/>
                  <a:pt x="982" y="638"/>
                  <a:pt x="981" y="638"/>
                </a:cubicBezTo>
                <a:cubicBezTo>
                  <a:pt x="981" y="639"/>
                  <a:pt x="981" y="641"/>
                  <a:pt x="981" y="642"/>
                </a:cubicBezTo>
                <a:cubicBezTo>
                  <a:pt x="980" y="642"/>
                  <a:pt x="981" y="645"/>
                  <a:pt x="981" y="645"/>
                </a:cubicBezTo>
                <a:cubicBezTo>
                  <a:pt x="980" y="646"/>
                  <a:pt x="980" y="646"/>
                  <a:pt x="981" y="647"/>
                </a:cubicBezTo>
                <a:cubicBezTo>
                  <a:pt x="981" y="647"/>
                  <a:pt x="981" y="647"/>
                  <a:pt x="981" y="647"/>
                </a:cubicBezTo>
                <a:cubicBezTo>
                  <a:pt x="981" y="648"/>
                  <a:pt x="982" y="648"/>
                  <a:pt x="982" y="648"/>
                </a:cubicBezTo>
                <a:cubicBezTo>
                  <a:pt x="982" y="649"/>
                  <a:pt x="982" y="650"/>
                  <a:pt x="981" y="650"/>
                </a:cubicBezTo>
                <a:cubicBezTo>
                  <a:pt x="981" y="650"/>
                  <a:pt x="982" y="650"/>
                  <a:pt x="982" y="651"/>
                </a:cubicBezTo>
                <a:cubicBezTo>
                  <a:pt x="982" y="652"/>
                  <a:pt x="982" y="652"/>
                  <a:pt x="982" y="653"/>
                </a:cubicBezTo>
                <a:cubicBezTo>
                  <a:pt x="982" y="653"/>
                  <a:pt x="983" y="654"/>
                  <a:pt x="983" y="654"/>
                </a:cubicBezTo>
                <a:cubicBezTo>
                  <a:pt x="983" y="654"/>
                  <a:pt x="983" y="655"/>
                  <a:pt x="983" y="656"/>
                </a:cubicBezTo>
                <a:cubicBezTo>
                  <a:pt x="982" y="655"/>
                  <a:pt x="983" y="656"/>
                  <a:pt x="983" y="656"/>
                </a:cubicBezTo>
                <a:close/>
                <a:moveTo>
                  <a:pt x="975" y="622"/>
                </a:moveTo>
                <a:cubicBezTo>
                  <a:pt x="975" y="622"/>
                  <a:pt x="975" y="622"/>
                  <a:pt x="974" y="622"/>
                </a:cubicBezTo>
                <a:cubicBezTo>
                  <a:pt x="973" y="622"/>
                  <a:pt x="974" y="621"/>
                  <a:pt x="973" y="621"/>
                </a:cubicBezTo>
                <a:cubicBezTo>
                  <a:pt x="972" y="621"/>
                  <a:pt x="973" y="620"/>
                  <a:pt x="973" y="620"/>
                </a:cubicBezTo>
                <a:cubicBezTo>
                  <a:pt x="974" y="620"/>
                  <a:pt x="976" y="621"/>
                  <a:pt x="975" y="622"/>
                </a:cubicBezTo>
                <a:close/>
                <a:moveTo>
                  <a:pt x="968" y="625"/>
                </a:moveTo>
                <a:cubicBezTo>
                  <a:pt x="968" y="626"/>
                  <a:pt x="965" y="626"/>
                  <a:pt x="966" y="625"/>
                </a:cubicBezTo>
                <a:cubicBezTo>
                  <a:pt x="965" y="625"/>
                  <a:pt x="964" y="626"/>
                  <a:pt x="963" y="626"/>
                </a:cubicBezTo>
                <a:cubicBezTo>
                  <a:pt x="963" y="626"/>
                  <a:pt x="963" y="624"/>
                  <a:pt x="963" y="624"/>
                </a:cubicBezTo>
                <a:cubicBezTo>
                  <a:pt x="963" y="623"/>
                  <a:pt x="963" y="623"/>
                  <a:pt x="963" y="623"/>
                </a:cubicBezTo>
                <a:cubicBezTo>
                  <a:pt x="963" y="623"/>
                  <a:pt x="962" y="623"/>
                  <a:pt x="962" y="623"/>
                </a:cubicBezTo>
                <a:cubicBezTo>
                  <a:pt x="962" y="622"/>
                  <a:pt x="963" y="621"/>
                  <a:pt x="962" y="621"/>
                </a:cubicBezTo>
                <a:cubicBezTo>
                  <a:pt x="962" y="621"/>
                  <a:pt x="962" y="621"/>
                  <a:pt x="962" y="621"/>
                </a:cubicBezTo>
                <a:cubicBezTo>
                  <a:pt x="962" y="621"/>
                  <a:pt x="962" y="620"/>
                  <a:pt x="962" y="620"/>
                </a:cubicBezTo>
                <a:cubicBezTo>
                  <a:pt x="962" y="620"/>
                  <a:pt x="961" y="618"/>
                  <a:pt x="961" y="618"/>
                </a:cubicBezTo>
                <a:cubicBezTo>
                  <a:pt x="960" y="618"/>
                  <a:pt x="959" y="616"/>
                  <a:pt x="959" y="616"/>
                </a:cubicBezTo>
                <a:cubicBezTo>
                  <a:pt x="958" y="616"/>
                  <a:pt x="957" y="615"/>
                  <a:pt x="957" y="615"/>
                </a:cubicBezTo>
                <a:cubicBezTo>
                  <a:pt x="957" y="615"/>
                  <a:pt x="957" y="613"/>
                  <a:pt x="956" y="613"/>
                </a:cubicBezTo>
                <a:cubicBezTo>
                  <a:pt x="956" y="613"/>
                  <a:pt x="956" y="612"/>
                  <a:pt x="956" y="612"/>
                </a:cubicBezTo>
                <a:cubicBezTo>
                  <a:pt x="956" y="611"/>
                  <a:pt x="956" y="611"/>
                  <a:pt x="956" y="611"/>
                </a:cubicBezTo>
                <a:cubicBezTo>
                  <a:pt x="956" y="610"/>
                  <a:pt x="955" y="610"/>
                  <a:pt x="955" y="609"/>
                </a:cubicBezTo>
                <a:cubicBezTo>
                  <a:pt x="955" y="609"/>
                  <a:pt x="956" y="608"/>
                  <a:pt x="956" y="608"/>
                </a:cubicBezTo>
                <a:cubicBezTo>
                  <a:pt x="956" y="607"/>
                  <a:pt x="956" y="607"/>
                  <a:pt x="956" y="606"/>
                </a:cubicBezTo>
                <a:cubicBezTo>
                  <a:pt x="956" y="605"/>
                  <a:pt x="956" y="606"/>
                  <a:pt x="956" y="606"/>
                </a:cubicBezTo>
                <a:cubicBezTo>
                  <a:pt x="955" y="605"/>
                  <a:pt x="955" y="604"/>
                  <a:pt x="955" y="604"/>
                </a:cubicBezTo>
                <a:cubicBezTo>
                  <a:pt x="955" y="603"/>
                  <a:pt x="955" y="602"/>
                  <a:pt x="955" y="601"/>
                </a:cubicBezTo>
                <a:cubicBezTo>
                  <a:pt x="955" y="601"/>
                  <a:pt x="954" y="601"/>
                  <a:pt x="954" y="601"/>
                </a:cubicBezTo>
                <a:cubicBezTo>
                  <a:pt x="954" y="600"/>
                  <a:pt x="954" y="600"/>
                  <a:pt x="954" y="599"/>
                </a:cubicBezTo>
                <a:cubicBezTo>
                  <a:pt x="955" y="599"/>
                  <a:pt x="955" y="599"/>
                  <a:pt x="955" y="599"/>
                </a:cubicBezTo>
                <a:cubicBezTo>
                  <a:pt x="955" y="599"/>
                  <a:pt x="955" y="598"/>
                  <a:pt x="955" y="597"/>
                </a:cubicBezTo>
                <a:cubicBezTo>
                  <a:pt x="955" y="597"/>
                  <a:pt x="955" y="596"/>
                  <a:pt x="955" y="596"/>
                </a:cubicBezTo>
                <a:cubicBezTo>
                  <a:pt x="956" y="596"/>
                  <a:pt x="956" y="596"/>
                  <a:pt x="956" y="596"/>
                </a:cubicBezTo>
                <a:cubicBezTo>
                  <a:pt x="958" y="596"/>
                  <a:pt x="957" y="596"/>
                  <a:pt x="957" y="597"/>
                </a:cubicBezTo>
                <a:cubicBezTo>
                  <a:pt x="958" y="599"/>
                  <a:pt x="958" y="600"/>
                  <a:pt x="958" y="602"/>
                </a:cubicBezTo>
                <a:cubicBezTo>
                  <a:pt x="958" y="603"/>
                  <a:pt x="958" y="604"/>
                  <a:pt x="958" y="605"/>
                </a:cubicBezTo>
                <a:cubicBezTo>
                  <a:pt x="958" y="606"/>
                  <a:pt x="959" y="606"/>
                  <a:pt x="958" y="606"/>
                </a:cubicBezTo>
                <a:cubicBezTo>
                  <a:pt x="958" y="607"/>
                  <a:pt x="959" y="607"/>
                  <a:pt x="958" y="608"/>
                </a:cubicBezTo>
                <a:cubicBezTo>
                  <a:pt x="958" y="609"/>
                  <a:pt x="958" y="609"/>
                  <a:pt x="958" y="609"/>
                </a:cubicBezTo>
                <a:cubicBezTo>
                  <a:pt x="958" y="610"/>
                  <a:pt x="958" y="610"/>
                  <a:pt x="958" y="611"/>
                </a:cubicBezTo>
                <a:cubicBezTo>
                  <a:pt x="958" y="611"/>
                  <a:pt x="958" y="611"/>
                  <a:pt x="958" y="612"/>
                </a:cubicBezTo>
                <a:cubicBezTo>
                  <a:pt x="959" y="612"/>
                  <a:pt x="959" y="612"/>
                  <a:pt x="960" y="612"/>
                </a:cubicBezTo>
                <a:cubicBezTo>
                  <a:pt x="960" y="612"/>
                  <a:pt x="960" y="612"/>
                  <a:pt x="960" y="612"/>
                </a:cubicBezTo>
                <a:cubicBezTo>
                  <a:pt x="962" y="613"/>
                  <a:pt x="960" y="613"/>
                  <a:pt x="961" y="613"/>
                </a:cubicBezTo>
                <a:cubicBezTo>
                  <a:pt x="961" y="613"/>
                  <a:pt x="961" y="613"/>
                  <a:pt x="961" y="613"/>
                </a:cubicBezTo>
                <a:cubicBezTo>
                  <a:pt x="961" y="614"/>
                  <a:pt x="962" y="614"/>
                  <a:pt x="962" y="614"/>
                </a:cubicBezTo>
                <a:cubicBezTo>
                  <a:pt x="962" y="615"/>
                  <a:pt x="963" y="614"/>
                  <a:pt x="963" y="615"/>
                </a:cubicBezTo>
                <a:cubicBezTo>
                  <a:pt x="963" y="616"/>
                  <a:pt x="962" y="619"/>
                  <a:pt x="963" y="619"/>
                </a:cubicBezTo>
                <a:cubicBezTo>
                  <a:pt x="963" y="619"/>
                  <a:pt x="964" y="619"/>
                  <a:pt x="964" y="620"/>
                </a:cubicBezTo>
                <a:cubicBezTo>
                  <a:pt x="964" y="620"/>
                  <a:pt x="964" y="620"/>
                  <a:pt x="964" y="621"/>
                </a:cubicBezTo>
                <a:cubicBezTo>
                  <a:pt x="964" y="621"/>
                  <a:pt x="964" y="621"/>
                  <a:pt x="965" y="621"/>
                </a:cubicBezTo>
                <a:cubicBezTo>
                  <a:pt x="965" y="622"/>
                  <a:pt x="965" y="622"/>
                  <a:pt x="966" y="622"/>
                </a:cubicBezTo>
                <a:cubicBezTo>
                  <a:pt x="966" y="622"/>
                  <a:pt x="966" y="622"/>
                  <a:pt x="966" y="623"/>
                </a:cubicBezTo>
                <a:cubicBezTo>
                  <a:pt x="966" y="623"/>
                  <a:pt x="966" y="623"/>
                  <a:pt x="967" y="624"/>
                </a:cubicBezTo>
                <a:cubicBezTo>
                  <a:pt x="967" y="624"/>
                  <a:pt x="968" y="625"/>
                  <a:pt x="968" y="625"/>
                </a:cubicBezTo>
                <a:cubicBezTo>
                  <a:pt x="968" y="625"/>
                  <a:pt x="968" y="625"/>
                  <a:pt x="968" y="625"/>
                </a:cubicBezTo>
                <a:close/>
                <a:moveTo>
                  <a:pt x="953" y="591"/>
                </a:moveTo>
                <a:cubicBezTo>
                  <a:pt x="953" y="590"/>
                  <a:pt x="953" y="589"/>
                  <a:pt x="953" y="588"/>
                </a:cubicBezTo>
                <a:cubicBezTo>
                  <a:pt x="953" y="588"/>
                  <a:pt x="953" y="587"/>
                  <a:pt x="953" y="586"/>
                </a:cubicBezTo>
                <a:cubicBezTo>
                  <a:pt x="954" y="587"/>
                  <a:pt x="954" y="586"/>
                  <a:pt x="955" y="587"/>
                </a:cubicBezTo>
                <a:cubicBezTo>
                  <a:pt x="955" y="587"/>
                  <a:pt x="955" y="587"/>
                  <a:pt x="956" y="587"/>
                </a:cubicBezTo>
                <a:cubicBezTo>
                  <a:pt x="956" y="588"/>
                  <a:pt x="955" y="588"/>
                  <a:pt x="956" y="588"/>
                </a:cubicBezTo>
                <a:cubicBezTo>
                  <a:pt x="956" y="589"/>
                  <a:pt x="956" y="589"/>
                  <a:pt x="955" y="590"/>
                </a:cubicBezTo>
                <a:cubicBezTo>
                  <a:pt x="955" y="591"/>
                  <a:pt x="954" y="591"/>
                  <a:pt x="953" y="591"/>
                </a:cubicBezTo>
                <a:cubicBezTo>
                  <a:pt x="953" y="590"/>
                  <a:pt x="953" y="591"/>
                  <a:pt x="953" y="591"/>
                </a:cubicBezTo>
                <a:close/>
                <a:moveTo>
                  <a:pt x="952" y="627"/>
                </a:moveTo>
                <a:cubicBezTo>
                  <a:pt x="953" y="628"/>
                  <a:pt x="951" y="628"/>
                  <a:pt x="951" y="629"/>
                </a:cubicBezTo>
                <a:cubicBezTo>
                  <a:pt x="950" y="630"/>
                  <a:pt x="950" y="629"/>
                  <a:pt x="949" y="629"/>
                </a:cubicBezTo>
                <a:cubicBezTo>
                  <a:pt x="949" y="627"/>
                  <a:pt x="950" y="627"/>
                  <a:pt x="951" y="626"/>
                </a:cubicBezTo>
                <a:cubicBezTo>
                  <a:pt x="952" y="626"/>
                  <a:pt x="952" y="626"/>
                  <a:pt x="952" y="626"/>
                </a:cubicBezTo>
                <a:cubicBezTo>
                  <a:pt x="953" y="626"/>
                  <a:pt x="953" y="627"/>
                  <a:pt x="953" y="627"/>
                </a:cubicBezTo>
                <a:cubicBezTo>
                  <a:pt x="953" y="627"/>
                  <a:pt x="952" y="627"/>
                  <a:pt x="952" y="627"/>
                </a:cubicBezTo>
                <a:close/>
                <a:moveTo>
                  <a:pt x="954" y="582"/>
                </a:moveTo>
                <a:cubicBezTo>
                  <a:pt x="955" y="581"/>
                  <a:pt x="955" y="581"/>
                  <a:pt x="955" y="581"/>
                </a:cubicBezTo>
                <a:cubicBezTo>
                  <a:pt x="955" y="580"/>
                  <a:pt x="955" y="580"/>
                  <a:pt x="956" y="580"/>
                </a:cubicBezTo>
                <a:cubicBezTo>
                  <a:pt x="956" y="579"/>
                  <a:pt x="958" y="579"/>
                  <a:pt x="958" y="579"/>
                </a:cubicBezTo>
                <a:cubicBezTo>
                  <a:pt x="958" y="581"/>
                  <a:pt x="956" y="581"/>
                  <a:pt x="956" y="583"/>
                </a:cubicBezTo>
                <a:cubicBezTo>
                  <a:pt x="955" y="583"/>
                  <a:pt x="954" y="582"/>
                  <a:pt x="954" y="582"/>
                </a:cubicBezTo>
                <a:cubicBezTo>
                  <a:pt x="954" y="581"/>
                  <a:pt x="954" y="582"/>
                  <a:pt x="954" y="582"/>
                </a:cubicBezTo>
                <a:close/>
                <a:moveTo>
                  <a:pt x="963" y="569"/>
                </a:moveTo>
                <a:cubicBezTo>
                  <a:pt x="964" y="569"/>
                  <a:pt x="964" y="569"/>
                  <a:pt x="964" y="568"/>
                </a:cubicBezTo>
                <a:cubicBezTo>
                  <a:pt x="964" y="568"/>
                  <a:pt x="965" y="568"/>
                  <a:pt x="965" y="567"/>
                </a:cubicBezTo>
                <a:cubicBezTo>
                  <a:pt x="965" y="567"/>
                  <a:pt x="966" y="566"/>
                  <a:pt x="966" y="567"/>
                </a:cubicBezTo>
                <a:cubicBezTo>
                  <a:pt x="966" y="567"/>
                  <a:pt x="966" y="568"/>
                  <a:pt x="966" y="568"/>
                </a:cubicBezTo>
                <a:cubicBezTo>
                  <a:pt x="966" y="568"/>
                  <a:pt x="964" y="570"/>
                  <a:pt x="964" y="570"/>
                </a:cubicBezTo>
                <a:cubicBezTo>
                  <a:pt x="963" y="571"/>
                  <a:pt x="963" y="571"/>
                  <a:pt x="962" y="571"/>
                </a:cubicBezTo>
                <a:cubicBezTo>
                  <a:pt x="962" y="571"/>
                  <a:pt x="962" y="571"/>
                  <a:pt x="962" y="571"/>
                </a:cubicBezTo>
                <a:cubicBezTo>
                  <a:pt x="962" y="570"/>
                  <a:pt x="962" y="569"/>
                  <a:pt x="963" y="569"/>
                </a:cubicBezTo>
                <a:close/>
                <a:moveTo>
                  <a:pt x="971" y="512"/>
                </a:moveTo>
                <a:cubicBezTo>
                  <a:pt x="971" y="512"/>
                  <a:pt x="971" y="512"/>
                  <a:pt x="971" y="513"/>
                </a:cubicBezTo>
                <a:cubicBezTo>
                  <a:pt x="971" y="513"/>
                  <a:pt x="972" y="513"/>
                  <a:pt x="972" y="513"/>
                </a:cubicBezTo>
                <a:cubicBezTo>
                  <a:pt x="972" y="513"/>
                  <a:pt x="971" y="513"/>
                  <a:pt x="971" y="513"/>
                </a:cubicBezTo>
                <a:cubicBezTo>
                  <a:pt x="971" y="513"/>
                  <a:pt x="971" y="512"/>
                  <a:pt x="971" y="512"/>
                </a:cubicBezTo>
                <a:close/>
                <a:moveTo>
                  <a:pt x="988" y="556"/>
                </a:moveTo>
                <a:cubicBezTo>
                  <a:pt x="988" y="556"/>
                  <a:pt x="988" y="556"/>
                  <a:pt x="988" y="555"/>
                </a:cubicBezTo>
                <a:cubicBezTo>
                  <a:pt x="988" y="555"/>
                  <a:pt x="988" y="554"/>
                  <a:pt x="988" y="555"/>
                </a:cubicBezTo>
                <a:cubicBezTo>
                  <a:pt x="988" y="554"/>
                  <a:pt x="988" y="554"/>
                  <a:pt x="988" y="554"/>
                </a:cubicBezTo>
                <a:cubicBezTo>
                  <a:pt x="988" y="554"/>
                  <a:pt x="988" y="553"/>
                  <a:pt x="988" y="553"/>
                </a:cubicBezTo>
                <a:cubicBezTo>
                  <a:pt x="990" y="553"/>
                  <a:pt x="990" y="553"/>
                  <a:pt x="990" y="555"/>
                </a:cubicBezTo>
                <a:cubicBezTo>
                  <a:pt x="990" y="556"/>
                  <a:pt x="990" y="555"/>
                  <a:pt x="990" y="555"/>
                </a:cubicBezTo>
                <a:cubicBezTo>
                  <a:pt x="990" y="556"/>
                  <a:pt x="990" y="556"/>
                  <a:pt x="990" y="556"/>
                </a:cubicBezTo>
                <a:cubicBezTo>
                  <a:pt x="990" y="557"/>
                  <a:pt x="990" y="558"/>
                  <a:pt x="990" y="559"/>
                </a:cubicBezTo>
                <a:cubicBezTo>
                  <a:pt x="991" y="559"/>
                  <a:pt x="991" y="560"/>
                  <a:pt x="991" y="560"/>
                </a:cubicBezTo>
                <a:cubicBezTo>
                  <a:pt x="991" y="560"/>
                  <a:pt x="992" y="561"/>
                  <a:pt x="992" y="562"/>
                </a:cubicBezTo>
                <a:cubicBezTo>
                  <a:pt x="992" y="562"/>
                  <a:pt x="992" y="563"/>
                  <a:pt x="992" y="564"/>
                </a:cubicBezTo>
                <a:cubicBezTo>
                  <a:pt x="990" y="563"/>
                  <a:pt x="991" y="562"/>
                  <a:pt x="990" y="561"/>
                </a:cubicBezTo>
                <a:cubicBezTo>
                  <a:pt x="990" y="561"/>
                  <a:pt x="988" y="560"/>
                  <a:pt x="988" y="559"/>
                </a:cubicBezTo>
                <a:cubicBezTo>
                  <a:pt x="988" y="559"/>
                  <a:pt x="988" y="558"/>
                  <a:pt x="987" y="558"/>
                </a:cubicBezTo>
                <a:cubicBezTo>
                  <a:pt x="987" y="558"/>
                  <a:pt x="988" y="557"/>
                  <a:pt x="988" y="556"/>
                </a:cubicBezTo>
                <a:close/>
                <a:moveTo>
                  <a:pt x="992" y="513"/>
                </a:moveTo>
                <a:cubicBezTo>
                  <a:pt x="993" y="513"/>
                  <a:pt x="994" y="512"/>
                  <a:pt x="995" y="512"/>
                </a:cubicBezTo>
                <a:cubicBezTo>
                  <a:pt x="995" y="513"/>
                  <a:pt x="995" y="514"/>
                  <a:pt x="995" y="514"/>
                </a:cubicBezTo>
                <a:cubicBezTo>
                  <a:pt x="995" y="515"/>
                  <a:pt x="994" y="515"/>
                  <a:pt x="994" y="515"/>
                </a:cubicBezTo>
                <a:cubicBezTo>
                  <a:pt x="994" y="515"/>
                  <a:pt x="992" y="515"/>
                  <a:pt x="992" y="514"/>
                </a:cubicBezTo>
                <a:cubicBezTo>
                  <a:pt x="992" y="514"/>
                  <a:pt x="992" y="513"/>
                  <a:pt x="992" y="513"/>
                </a:cubicBezTo>
                <a:cubicBezTo>
                  <a:pt x="993" y="513"/>
                  <a:pt x="992" y="513"/>
                  <a:pt x="992" y="513"/>
                </a:cubicBezTo>
                <a:close/>
                <a:moveTo>
                  <a:pt x="890" y="501"/>
                </a:moveTo>
                <a:cubicBezTo>
                  <a:pt x="890" y="501"/>
                  <a:pt x="890" y="500"/>
                  <a:pt x="890" y="501"/>
                </a:cubicBezTo>
                <a:cubicBezTo>
                  <a:pt x="890" y="501"/>
                  <a:pt x="889" y="501"/>
                  <a:pt x="889" y="501"/>
                </a:cubicBezTo>
                <a:cubicBezTo>
                  <a:pt x="889" y="500"/>
                  <a:pt x="889" y="500"/>
                  <a:pt x="888" y="500"/>
                </a:cubicBezTo>
                <a:cubicBezTo>
                  <a:pt x="887" y="500"/>
                  <a:pt x="887" y="500"/>
                  <a:pt x="886" y="500"/>
                </a:cubicBezTo>
                <a:cubicBezTo>
                  <a:pt x="886" y="500"/>
                  <a:pt x="885" y="500"/>
                  <a:pt x="884" y="499"/>
                </a:cubicBezTo>
                <a:cubicBezTo>
                  <a:pt x="884" y="499"/>
                  <a:pt x="884" y="499"/>
                  <a:pt x="884" y="499"/>
                </a:cubicBezTo>
                <a:cubicBezTo>
                  <a:pt x="884" y="498"/>
                  <a:pt x="884" y="498"/>
                  <a:pt x="884" y="498"/>
                </a:cubicBezTo>
                <a:cubicBezTo>
                  <a:pt x="883" y="497"/>
                  <a:pt x="881" y="496"/>
                  <a:pt x="883" y="496"/>
                </a:cubicBezTo>
                <a:cubicBezTo>
                  <a:pt x="884" y="496"/>
                  <a:pt x="884" y="496"/>
                  <a:pt x="884" y="497"/>
                </a:cubicBezTo>
                <a:cubicBezTo>
                  <a:pt x="884" y="498"/>
                  <a:pt x="886" y="498"/>
                  <a:pt x="886" y="498"/>
                </a:cubicBezTo>
                <a:cubicBezTo>
                  <a:pt x="887" y="499"/>
                  <a:pt x="887" y="499"/>
                  <a:pt x="888" y="499"/>
                </a:cubicBezTo>
                <a:cubicBezTo>
                  <a:pt x="888" y="498"/>
                  <a:pt x="889" y="498"/>
                  <a:pt x="889" y="499"/>
                </a:cubicBezTo>
                <a:cubicBezTo>
                  <a:pt x="889" y="499"/>
                  <a:pt x="890" y="499"/>
                  <a:pt x="890" y="499"/>
                </a:cubicBezTo>
                <a:cubicBezTo>
                  <a:pt x="890" y="500"/>
                  <a:pt x="890" y="500"/>
                  <a:pt x="890" y="501"/>
                </a:cubicBezTo>
                <a:close/>
                <a:moveTo>
                  <a:pt x="886" y="688"/>
                </a:moveTo>
                <a:cubicBezTo>
                  <a:pt x="886" y="688"/>
                  <a:pt x="885" y="689"/>
                  <a:pt x="885" y="688"/>
                </a:cubicBezTo>
                <a:cubicBezTo>
                  <a:pt x="885" y="687"/>
                  <a:pt x="886" y="689"/>
                  <a:pt x="885" y="687"/>
                </a:cubicBezTo>
                <a:cubicBezTo>
                  <a:pt x="886" y="687"/>
                  <a:pt x="886" y="688"/>
                  <a:pt x="886" y="688"/>
                </a:cubicBezTo>
                <a:close/>
                <a:moveTo>
                  <a:pt x="1003" y="217"/>
                </a:moveTo>
                <a:cubicBezTo>
                  <a:pt x="1003" y="218"/>
                  <a:pt x="1002" y="218"/>
                  <a:pt x="1002" y="218"/>
                </a:cubicBezTo>
                <a:cubicBezTo>
                  <a:pt x="1002" y="218"/>
                  <a:pt x="1002" y="219"/>
                  <a:pt x="1002" y="220"/>
                </a:cubicBezTo>
                <a:cubicBezTo>
                  <a:pt x="1002" y="220"/>
                  <a:pt x="1001" y="220"/>
                  <a:pt x="1001" y="219"/>
                </a:cubicBezTo>
                <a:cubicBezTo>
                  <a:pt x="1001" y="221"/>
                  <a:pt x="1001" y="221"/>
                  <a:pt x="1000" y="221"/>
                </a:cubicBezTo>
                <a:cubicBezTo>
                  <a:pt x="999" y="221"/>
                  <a:pt x="999" y="221"/>
                  <a:pt x="998" y="221"/>
                </a:cubicBezTo>
                <a:cubicBezTo>
                  <a:pt x="998" y="221"/>
                  <a:pt x="998" y="220"/>
                  <a:pt x="998" y="220"/>
                </a:cubicBezTo>
                <a:cubicBezTo>
                  <a:pt x="997" y="220"/>
                  <a:pt x="997" y="220"/>
                  <a:pt x="997" y="220"/>
                </a:cubicBezTo>
                <a:cubicBezTo>
                  <a:pt x="996" y="219"/>
                  <a:pt x="996" y="219"/>
                  <a:pt x="996" y="219"/>
                </a:cubicBezTo>
                <a:cubicBezTo>
                  <a:pt x="996" y="218"/>
                  <a:pt x="993" y="217"/>
                  <a:pt x="994" y="216"/>
                </a:cubicBezTo>
                <a:cubicBezTo>
                  <a:pt x="994" y="216"/>
                  <a:pt x="994" y="216"/>
                  <a:pt x="995" y="216"/>
                </a:cubicBezTo>
                <a:cubicBezTo>
                  <a:pt x="995" y="216"/>
                  <a:pt x="995" y="217"/>
                  <a:pt x="995" y="217"/>
                </a:cubicBezTo>
                <a:cubicBezTo>
                  <a:pt x="996" y="217"/>
                  <a:pt x="996" y="216"/>
                  <a:pt x="996" y="217"/>
                </a:cubicBezTo>
                <a:cubicBezTo>
                  <a:pt x="996" y="217"/>
                  <a:pt x="997" y="217"/>
                  <a:pt x="997" y="217"/>
                </a:cubicBezTo>
                <a:cubicBezTo>
                  <a:pt x="998" y="217"/>
                  <a:pt x="998" y="217"/>
                  <a:pt x="998" y="216"/>
                </a:cubicBezTo>
                <a:cubicBezTo>
                  <a:pt x="998" y="216"/>
                  <a:pt x="998" y="215"/>
                  <a:pt x="998" y="214"/>
                </a:cubicBezTo>
                <a:cubicBezTo>
                  <a:pt x="997" y="214"/>
                  <a:pt x="996" y="214"/>
                  <a:pt x="997" y="213"/>
                </a:cubicBezTo>
                <a:cubicBezTo>
                  <a:pt x="996" y="213"/>
                  <a:pt x="995" y="213"/>
                  <a:pt x="995" y="214"/>
                </a:cubicBezTo>
                <a:cubicBezTo>
                  <a:pt x="994" y="212"/>
                  <a:pt x="996" y="213"/>
                  <a:pt x="996" y="213"/>
                </a:cubicBezTo>
                <a:cubicBezTo>
                  <a:pt x="996" y="212"/>
                  <a:pt x="997" y="211"/>
                  <a:pt x="997" y="212"/>
                </a:cubicBezTo>
                <a:cubicBezTo>
                  <a:pt x="998" y="213"/>
                  <a:pt x="998" y="213"/>
                  <a:pt x="998" y="214"/>
                </a:cubicBezTo>
                <a:cubicBezTo>
                  <a:pt x="998" y="215"/>
                  <a:pt x="999" y="215"/>
                  <a:pt x="999" y="215"/>
                </a:cubicBezTo>
                <a:cubicBezTo>
                  <a:pt x="1000" y="216"/>
                  <a:pt x="1001" y="216"/>
                  <a:pt x="1002" y="216"/>
                </a:cubicBezTo>
                <a:cubicBezTo>
                  <a:pt x="1002" y="217"/>
                  <a:pt x="1003" y="216"/>
                  <a:pt x="1003" y="217"/>
                </a:cubicBezTo>
                <a:cubicBezTo>
                  <a:pt x="1003" y="218"/>
                  <a:pt x="1003" y="217"/>
                  <a:pt x="1003" y="217"/>
                </a:cubicBezTo>
                <a:close/>
                <a:moveTo>
                  <a:pt x="993" y="204"/>
                </a:moveTo>
                <a:cubicBezTo>
                  <a:pt x="994" y="204"/>
                  <a:pt x="995" y="204"/>
                  <a:pt x="995" y="203"/>
                </a:cubicBezTo>
                <a:cubicBezTo>
                  <a:pt x="996" y="203"/>
                  <a:pt x="996" y="204"/>
                  <a:pt x="997" y="204"/>
                </a:cubicBezTo>
                <a:cubicBezTo>
                  <a:pt x="998" y="205"/>
                  <a:pt x="997" y="205"/>
                  <a:pt x="996" y="205"/>
                </a:cubicBezTo>
                <a:cubicBezTo>
                  <a:pt x="996" y="205"/>
                  <a:pt x="995" y="205"/>
                  <a:pt x="995" y="205"/>
                </a:cubicBezTo>
                <a:cubicBezTo>
                  <a:pt x="994" y="205"/>
                  <a:pt x="995" y="205"/>
                  <a:pt x="995" y="205"/>
                </a:cubicBezTo>
                <a:cubicBezTo>
                  <a:pt x="994" y="205"/>
                  <a:pt x="993" y="204"/>
                  <a:pt x="993" y="204"/>
                </a:cubicBezTo>
                <a:close/>
                <a:moveTo>
                  <a:pt x="991" y="198"/>
                </a:moveTo>
                <a:cubicBezTo>
                  <a:pt x="990" y="198"/>
                  <a:pt x="991" y="199"/>
                  <a:pt x="990" y="200"/>
                </a:cubicBezTo>
                <a:cubicBezTo>
                  <a:pt x="990" y="200"/>
                  <a:pt x="989" y="201"/>
                  <a:pt x="989" y="201"/>
                </a:cubicBezTo>
                <a:cubicBezTo>
                  <a:pt x="989" y="201"/>
                  <a:pt x="988" y="200"/>
                  <a:pt x="988" y="200"/>
                </a:cubicBezTo>
                <a:cubicBezTo>
                  <a:pt x="988" y="200"/>
                  <a:pt x="988" y="200"/>
                  <a:pt x="988" y="199"/>
                </a:cubicBezTo>
                <a:cubicBezTo>
                  <a:pt x="988" y="199"/>
                  <a:pt x="987" y="198"/>
                  <a:pt x="986" y="197"/>
                </a:cubicBezTo>
                <a:cubicBezTo>
                  <a:pt x="986" y="197"/>
                  <a:pt x="986" y="197"/>
                  <a:pt x="985" y="197"/>
                </a:cubicBezTo>
                <a:cubicBezTo>
                  <a:pt x="984" y="197"/>
                  <a:pt x="985" y="196"/>
                  <a:pt x="984" y="195"/>
                </a:cubicBezTo>
                <a:cubicBezTo>
                  <a:pt x="983" y="195"/>
                  <a:pt x="984" y="195"/>
                  <a:pt x="983" y="195"/>
                </a:cubicBezTo>
                <a:cubicBezTo>
                  <a:pt x="982" y="195"/>
                  <a:pt x="982" y="194"/>
                  <a:pt x="982" y="193"/>
                </a:cubicBezTo>
                <a:cubicBezTo>
                  <a:pt x="982" y="193"/>
                  <a:pt x="985" y="194"/>
                  <a:pt x="984" y="192"/>
                </a:cubicBezTo>
                <a:cubicBezTo>
                  <a:pt x="984" y="192"/>
                  <a:pt x="987" y="193"/>
                  <a:pt x="987" y="191"/>
                </a:cubicBezTo>
                <a:cubicBezTo>
                  <a:pt x="987" y="190"/>
                  <a:pt x="987" y="190"/>
                  <a:pt x="986" y="189"/>
                </a:cubicBezTo>
                <a:cubicBezTo>
                  <a:pt x="985" y="189"/>
                  <a:pt x="983" y="190"/>
                  <a:pt x="983" y="189"/>
                </a:cubicBezTo>
                <a:cubicBezTo>
                  <a:pt x="983" y="188"/>
                  <a:pt x="983" y="188"/>
                  <a:pt x="983" y="187"/>
                </a:cubicBezTo>
                <a:cubicBezTo>
                  <a:pt x="984" y="188"/>
                  <a:pt x="985" y="188"/>
                  <a:pt x="987" y="188"/>
                </a:cubicBezTo>
                <a:cubicBezTo>
                  <a:pt x="987" y="188"/>
                  <a:pt x="988" y="188"/>
                  <a:pt x="988" y="188"/>
                </a:cubicBezTo>
                <a:cubicBezTo>
                  <a:pt x="988" y="189"/>
                  <a:pt x="988" y="190"/>
                  <a:pt x="988" y="190"/>
                </a:cubicBezTo>
                <a:cubicBezTo>
                  <a:pt x="988" y="190"/>
                  <a:pt x="988" y="191"/>
                  <a:pt x="988" y="191"/>
                </a:cubicBezTo>
                <a:cubicBezTo>
                  <a:pt x="988" y="192"/>
                  <a:pt x="988" y="192"/>
                  <a:pt x="988" y="193"/>
                </a:cubicBezTo>
                <a:cubicBezTo>
                  <a:pt x="988" y="194"/>
                  <a:pt x="989" y="193"/>
                  <a:pt x="990" y="194"/>
                </a:cubicBezTo>
                <a:cubicBezTo>
                  <a:pt x="990" y="195"/>
                  <a:pt x="991" y="197"/>
                  <a:pt x="991" y="197"/>
                </a:cubicBezTo>
                <a:cubicBezTo>
                  <a:pt x="991" y="197"/>
                  <a:pt x="991" y="198"/>
                  <a:pt x="991" y="198"/>
                </a:cubicBezTo>
                <a:close/>
                <a:moveTo>
                  <a:pt x="980" y="179"/>
                </a:moveTo>
                <a:cubicBezTo>
                  <a:pt x="981" y="179"/>
                  <a:pt x="982" y="179"/>
                  <a:pt x="983" y="180"/>
                </a:cubicBezTo>
                <a:cubicBezTo>
                  <a:pt x="983" y="180"/>
                  <a:pt x="984" y="180"/>
                  <a:pt x="984" y="181"/>
                </a:cubicBezTo>
                <a:cubicBezTo>
                  <a:pt x="985" y="181"/>
                  <a:pt x="984" y="182"/>
                  <a:pt x="985" y="182"/>
                </a:cubicBezTo>
                <a:cubicBezTo>
                  <a:pt x="986" y="182"/>
                  <a:pt x="986" y="182"/>
                  <a:pt x="986" y="183"/>
                </a:cubicBezTo>
                <a:cubicBezTo>
                  <a:pt x="985" y="183"/>
                  <a:pt x="983" y="183"/>
                  <a:pt x="982" y="183"/>
                </a:cubicBezTo>
                <a:cubicBezTo>
                  <a:pt x="982" y="181"/>
                  <a:pt x="980" y="180"/>
                  <a:pt x="980" y="179"/>
                </a:cubicBezTo>
                <a:cubicBezTo>
                  <a:pt x="981" y="179"/>
                  <a:pt x="980" y="179"/>
                  <a:pt x="980" y="179"/>
                </a:cubicBezTo>
                <a:close/>
                <a:moveTo>
                  <a:pt x="972" y="203"/>
                </a:moveTo>
                <a:cubicBezTo>
                  <a:pt x="972" y="204"/>
                  <a:pt x="972" y="204"/>
                  <a:pt x="973" y="205"/>
                </a:cubicBezTo>
                <a:cubicBezTo>
                  <a:pt x="972" y="205"/>
                  <a:pt x="970" y="204"/>
                  <a:pt x="969" y="205"/>
                </a:cubicBezTo>
                <a:cubicBezTo>
                  <a:pt x="969" y="205"/>
                  <a:pt x="968" y="206"/>
                  <a:pt x="968" y="206"/>
                </a:cubicBezTo>
                <a:cubicBezTo>
                  <a:pt x="968" y="207"/>
                  <a:pt x="967" y="206"/>
                  <a:pt x="967" y="206"/>
                </a:cubicBezTo>
                <a:cubicBezTo>
                  <a:pt x="965" y="206"/>
                  <a:pt x="966" y="205"/>
                  <a:pt x="965" y="204"/>
                </a:cubicBezTo>
                <a:cubicBezTo>
                  <a:pt x="965" y="203"/>
                  <a:pt x="964" y="203"/>
                  <a:pt x="964" y="202"/>
                </a:cubicBezTo>
                <a:cubicBezTo>
                  <a:pt x="964" y="202"/>
                  <a:pt x="964" y="202"/>
                  <a:pt x="963" y="201"/>
                </a:cubicBezTo>
                <a:cubicBezTo>
                  <a:pt x="963" y="201"/>
                  <a:pt x="963" y="200"/>
                  <a:pt x="963" y="200"/>
                </a:cubicBezTo>
                <a:cubicBezTo>
                  <a:pt x="963" y="199"/>
                  <a:pt x="962" y="198"/>
                  <a:pt x="962" y="198"/>
                </a:cubicBezTo>
                <a:cubicBezTo>
                  <a:pt x="961" y="197"/>
                  <a:pt x="961" y="197"/>
                  <a:pt x="960" y="196"/>
                </a:cubicBezTo>
                <a:cubicBezTo>
                  <a:pt x="961" y="196"/>
                  <a:pt x="962" y="195"/>
                  <a:pt x="962" y="195"/>
                </a:cubicBezTo>
                <a:cubicBezTo>
                  <a:pt x="962" y="195"/>
                  <a:pt x="963" y="195"/>
                  <a:pt x="964" y="195"/>
                </a:cubicBezTo>
                <a:cubicBezTo>
                  <a:pt x="964" y="195"/>
                  <a:pt x="964" y="194"/>
                  <a:pt x="964" y="194"/>
                </a:cubicBezTo>
                <a:cubicBezTo>
                  <a:pt x="964" y="194"/>
                  <a:pt x="964" y="194"/>
                  <a:pt x="964" y="194"/>
                </a:cubicBezTo>
                <a:cubicBezTo>
                  <a:pt x="964" y="193"/>
                  <a:pt x="965" y="193"/>
                  <a:pt x="965" y="194"/>
                </a:cubicBezTo>
                <a:cubicBezTo>
                  <a:pt x="966" y="194"/>
                  <a:pt x="967" y="194"/>
                  <a:pt x="967" y="194"/>
                </a:cubicBezTo>
                <a:cubicBezTo>
                  <a:pt x="968" y="195"/>
                  <a:pt x="967" y="196"/>
                  <a:pt x="968" y="196"/>
                </a:cubicBezTo>
                <a:cubicBezTo>
                  <a:pt x="968" y="196"/>
                  <a:pt x="969" y="196"/>
                  <a:pt x="969" y="196"/>
                </a:cubicBezTo>
                <a:cubicBezTo>
                  <a:pt x="969" y="196"/>
                  <a:pt x="969" y="196"/>
                  <a:pt x="969" y="196"/>
                </a:cubicBezTo>
                <a:cubicBezTo>
                  <a:pt x="970" y="197"/>
                  <a:pt x="970" y="197"/>
                  <a:pt x="971" y="197"/>
                </a:cubicBezTo>
                <a:cubicBezTo>
                  <a:pt x="972" y="198"/>
                  <a:pt x="971" y="198"/>
                  <a:pt x="972" y="199"/>
                </a:cubicBezTo>
                <a:cubicBezTo>
                  <a:pt x="973" y="200"/>
                  <a:pt x="974" y="202"/>
                  <a:pt x="974" y="204"/>
                </a:cubicBezTo>
                <a:cubicBezTo>
                  <a:pt x="974" y="203"/>
                  <a:pt x="973" y="203"/>
                  <a:pt x="972" y="203"/>
                </a:cubicBezTo>
                <a:cubicBezTo>
                  <a:pt x="972" y="204"/>
                  <a:pt x="972" y="203"/>
                  <a:pt x="972" y="203"/>
                </a:cubicBezTo>
                <a:close/>
                <a:moveTo>
                  <a:pt x="952" y="224"/>
                </a:moveTo>
                <a:cubicBezTo>
                  <a:pt x="950" y="223"/>
                  <a:pt x="952" y="223"/>
                  <a:pt x="952" y="224"/>
                </a:cubicBezTo>
                <a:close/>
                <a:moveTo>
                  <a:pt x="949" y="222"/>
                </a:moveTo>
                <a:cubicBezTo>
                  <a:pt x="949" y="220"/>
                  <a:pt x="948" y="220"/>
                  <a:pt x="948" y="219"/>
                </a:cubicBezTo>
                <a:cubicBezTo>
                  <a:pt x="948" y="218"/>
                  <a:pt x="948" y="218"/>
                  <a:pt x="947" y="217"/>
                </a:cubicBezTo>
                <a:cubicBezTo>
                  <a:pt x="947" y="217"/>
                  <a:pt x="947" y="216"/>
                  <a:pt x="948" y="216"/>
                </a:cubicBezTo>
                <a:cubicBezTo>
                  <a:pt x="948" y="215"/>
                  <a:pt x="948" y="215"/>
                  <a:pt x="949" y="215"/>
                </a:cubicBezTo>
                <a:cubicBezTo>
                  <a:pt x="949" y="215"/>
                  <a:pt x="950" y="215"/>
                  <a:pt x="950" y="216"/>
                </a:cubicBezTo>
                <a:cubicBezTo>
                  <a:pt x="950" y="217"/>
                  <a:pt x="950" y="219"/>
                  <a:pt x="951" y="219"/>
                </a:cubicBezTo>
                <a:cubicBezTo>
                  <a:pt x="951" y="219"/>
                  <a:pt x="950" y="220"/>
                  <a:pt x="950" y="221"/>
                </a:cubicBezTo>
                <a:cubicBezTo>
                  <a:pt x="950" y="222"/>
                  <a:pt x="950" y="222"/>
                  <a:pt x="949" y="222"/>
                </a:cubicBezTo>
                <a:cubicBezTo>
                  <a:pt x="949" y="220"/>
                  <a:pt x="949" y="222"/>
                  <a:pt x="949" y="222"/>
                </a:cubicBezTo>
                <a:close/>
                <a:moveTo>
                  <a:pt x="862" y="255"/>
                </a:moveTo>
                <a:cubicBezTo>
                  <a:pt x="862" y="255"/>
                  <a:pt x="862" y="255"/>
                  <a:pt x="862" y="255"/>
                </a:cubicBezTo>
                <a:cubicBezTo>
                  <a:pt x="862" y="255"/>
                  <a:pt x="862" y="255"/>
                  <a:pt x="862" y="255"/>
                </a:cubicBezTo>
                <a:cubicBezTo>
                  <a:pt x="862" y="255"/>
                  <a:pt x="862" y="255"/>
                  <a:pt x="862" y="255"/>
                </a:cubicBezTo>
                <a:close/>
                <a:moveTo>
                  <a:pt x="901" y="211"/>
                </a:moveTo>
                <a:cubicBezTo>
                  <a:pt x="901" y="211"/>
                  <a:pt x="901" y="211"/>
                  <a:pt x="901" y="212"/>
                </a:cubicBezTo>
                <a:cubicBezTo>
                  <a:pt x="902" y="212"/>
                  <a:pt x="902" y="211"/>
                  <a:pt x="903" y="211"/>
                </a:cubicBezTo>
                <a:cubicBezTo>
                  <a:pt x="903" y="212"/>
                  <a:pt x="904" y="212"/>
                  <a:pt x="904" y="213"/>
                </a:cubicBezTo>
                <a:cubicBezTo>
                  <a:pt x="903" y="213"/>
                  <a:pt x="902" y="212"/>
                  <a:pt x="901" y="212"/>
                </a:cubicBezTo>
                <a:cubicBezTo>
                  <a:pt x="900" y="212"/>
                  <a:pt x="900" y="212"/>
                  <a:pt x="900" y="211"/>
                </a:cubicBezTo>
                <a:cubicBezTo>
                  <a:pt x="900" y="211"/>
                  <a:pt x="901" y="211"/>
                  <a:pt x="901" y="211"/>
                </a:cubicBezTo>
                <a:close/>
                <a:moveTo>
                  <a:pt x="898" y="211"/>
                </a:moveTo>
                <a:cubicBezTo>
                  <a:pt x="898" y="211"/>
                  <a:pt x="898" y="211"/>
                  <a:pt x="897" y="212"/>
                </a:cubicBezTo>
                <a:cubicBezTo>
                  <a:pt x="897" y="211"/>
                  <a:pt x="898" y="211"/>
                  <a:pt x="898" y="211"/>
                </a:cubicBezTo>
                <a:cubicBezTo>
                  <a:pt x="898" y="211"/>
                  <a:pt x="898" y="211"/>
                  <a:pt x="898" y="211"/>
                </a:cubicBezTo>
                <a:close/>
                <a:moveTo>
                  <a:pt x="894" y="153"/>
                </a:moveTo>
                <a:cubicBezTo>
                  <a:pt x="895" y="154"/>
                  <a:pt x="895" y="153"/>
                  <a:pt x="895" y="154"/>
                </a:cubicBezTo>
                <a:cubicBezTo>
                  <a:pt x="895" y="154"/>
                  <a:pt x="895" y="154"/>
                  <a:pt x="894" y="153"/>
                </a:cubicBezTo>
                <a:cubicBezTo>
                  <a:pt x="895" y="154"/>
                  <a:pt x="894" y="153"/>
                  <a:pt x="894" y="153"/>
                </a:cubicBezTo>
                <a:close/>
                <a:moveTo>
                  <a:pt x="888" y="219"/>
                </a:moveTo>
                <a:cubicBezTo>
                  <a:pt x="886" y="219"/>
                  <a:pt x="887" y="222"/>
                  <a:pt x="886" y="222"/>
                </a:cubicBezTo>
                <a:cubicBezTo>
                  <a:pt x="886" y="220"/>
                  <a:pt x="887" y="217"/>
                  <a:pt x="888" y="216"/>
                </a:cubicBezTo>
                <a:cubicBezTo>
                  <a:pt x="888" y="217"/>
                  <a:pt x="888" y="216"/>
                  <a:pt x="889" y="217"/>
                </a:cubicBezTo>
                <a:cubicBezTo>
                  <a:pt x="888" y="218"/>
                  <a:pt x="888" y="218"/>
                  <a:pt x="888" y="219"/>
                </a:cubicBezTo>
                <a:close/>
                <a:moveTo>
                  <a:pt x="887" y="162"/>
                </a:moveTo>
                <a:cubicBezTo>
                  <a:pt x="887" y="162"/>
                  <a:pt x="888" y="163"/>
                  <a:pt x="887" y="163"/>
                </a:cubicBezTo>
                <a:cubicBezTo>
                  <a:pt x="887" y="164"/>
                  <a:pt x="887" y="163"/>
                  <a:pt x="887" y="162"/>
                </a:cubicBezTo>
                <a:close/>
                <a:moveTo>
                  <a:pt x="884" y="215"/>
                </a:moveTo>
                <a:cubicBezTo>
                  <a:pt x="884" y="216"/>
                  <a:pt x="884" y="216"/>
                  <a:pt x="883" y="217"/>
                </a:cubicBezTo>
                <a:cubicBezTo>
                  <a:pt x="882" y="217"/>
                  <a:pt x="883" y="217"/>
                  <a:pt x="882" y="217"/>
                </a:cubicBezTo>
                <a:cubicBezTo>
                  <a:pt x="882" y="218"/>
                  <a:pt x="881" y="218"/>
                  <a:pt x="881" y="218"/>
                </a:cubicBezTo>
                <a:cubicBezTo>
                  <a:pt x="881" y="218"/>
                  <a:pt x="881" y="218"/>
                  <a:pt x="880" y="218"/>
                </a:cubicBezTo>
                <a:cubicBezTo>
                  <a:pt x="880" y="219"/>
                  <a:pt x="878" y="219"/>
                  <a:pt x="877" y="219"/>
                </a:cubicBezTo>
                <a:cubicBezTo>
                  <a:pt x="877" y="219"/>
                  <a:pt x="877" y="219"/>
                  <a:pt x="877" y="218"/>
                </a:cubicBezTo>
                <a:cubicBezTo>
                  <a:pt x="877" y="218"/>
                  <a:pt x="877" y="218"/>
                  <a:pt x="877" y="218"/>
                </a:cubicBezTo>
                <a:cubicBezTo>
                  <a:pt x="877" y="217"/>
                  <a:pt x="877" y="216"/>
                  <a:pt x="878" y="215"/>
                </a:cubicBezTo>
                <a:cubicBezTo>
                  <a:pt x="879" y="215"/>
                  <a:pt x="879" y="215"/>
                  <a:pt x="880" y="215"/>
                </a:cubicBezTo>
                <a:cubicBezTo>
                  <a:pt x="880" y="215"/>
                  <a:pt x="880" y="214"/>
                  <a:pt x="881" y="214"/>
                </a:cubicBezTo>
                <a:cubicBezTo>
                  <a:pt x="881" y="213"/>
                  <a:pt x="881" y="213"/>
                  <a:pt x="881" y="212"/>
                </a:cubicBezTo>
                <a:cubicBezTo>
                  <a:pt x="881" y="212"/>
                  <a:pt x="881" y="212"/>
                  <a:pt x="881" y="211"/>
                </a:cubicBezTo>
                <a:cubicBezTo>
                  <a:pt x="881" y="211"/>
                  <a:pt x="882" y="211"/>
                  <a:pt x="882" y="211"/>
                </a:cubicBezTo>
                <a:cubicBezTo>
                  <a:pt x="882" y="212"/>
                  <a:pt x="882" y="212"/>
                  <a:pt x="883" y="212"/>
                </a:cubicBezTo>
                <a:cubicBezTo>
                  <a:pt x="884" y="213"/>
                  <a:pt x="885" y="214"/>
                  <a:pt x="884" y="215"/>
                </a:cubicBezTo>
                <a:cubicBezTo>
                  <a:pt x="884" y="217"/>
                  <a:pt x="884" y="215"/>
                  <a:pt x="884" y="215"/>
                </a:cubicBezTo>
                <a:close/>
                <a:moveTo>
                  <a:pt x="856" y="188"/>
                </a:moveTo>
                <a:cubicBezTo>
                  <a:pt x="856" y="188"/>
                  <a:pt x="856" y="188"/>
                  <a:pt x="857" y="188"/>
                </a:cubicBezTo>
                <a:cubicBezTo>
                  <a:pt x="856" y="188"/>
                  <a:pt x="856" y="188"/>
                  <a:pt x="856" y="188"/>
                </a:cubicBezTo>
                <a:cubicBezTo>
                  <a:pt x="857" y="188"/>
                  <a:pt x="856" y="188"/>
                  <a:pt x="856" y="188"/>
                </a:cubicBezTo>
                <a:close/>
                <a:moveTo>
                  <a:pt x="1706" y="179"/>
                </a:moveTo>
                <a:cubicBezTo>
                  <a:pt x="1706" y="179"/>
                  <a:pt x="1706" y="178"/>
                  <a:pt x="1706" y="178"/>
                </a:cubicBezTo>
                <a:cubicBezTo>
                  <a:pt x="1707" y="179"/>
                  <a:pt x="1708" y="179"/>
                  <a:pt x="1709" y="179"/>
                </a:cubicBezTo>
                <a:cubicBezTo>
                  <a:pt x="1708" y="178"/>
                  <a:pt x="1707" y="176"/>
                  <a:pt x="1706" y="176"/>
                </a:cubicBezTo>
                <a:cubicBezTo>
                  <a:pt x="1706" y="176"/>
                  <a:pt x="1707" y="175"/>
                  <a:pt x="1707" y="175"/>
                </a:cubicBezTo>
                <a:cubicBezTo>
                  <a:pt x="1707" y="175"/>
                  <a:pt x="1706" y="175"/>
                  <a:pt x="1706" y="175"/>
                </a:cubicBezTo>
                <a:cubicBezTo>
                  <a:pt x="1705" y="174"/>
                  <a:pt x="1708" y="174"/>
                  <a:pt x="1708" y="174"/>
                </a:cubicBezTo>
                <a:cubicBezTo>
                  <a:pt x="1709" y="173"/>
                  <a:pt x="1709" y="172"/>
                  <a:pt x="1709" y="171"/>
                </a:cubicBezTo>
                <a:cubicBezTo>
                  <a:pt x="1708" y="171"/>
                  <a:pt x="1707" y="171"/>
                  <a:pt x="1707" y="171"/>
                </a:cubicBezTo>
                <a:cubicBezTo>
                  <a:pt x="1706" y="171"/>
                  <a:pt x="1707" y="171"/>
                  <a:pt x="1706" y="171"/>
                </a:cubicBezTo>
                <a:cubicBezTo>
                  <a:pt x="1706" y="169"/>
                  <a:pt x="1707" y="170"/>
                  <a:pt x="1709" y="170"/>
                </a:cubicBezTo>
                <a:cubicBezTo>
                  <a:pt x="1709" y="170"/>
                  <a:pt x="1710" y="171"/>
                  <a:pt x="1710" y="170"/>
                </a:cubicBezTo>
                <a:cubicBezTo>
                  <a:pt x="1711" y="170"/>
                  <a:pt x="1713" y="170"/>
                  <a:pt x="1713" y="171"/>
                </a:cubicBezTo>
                <a:cubicBezTo>
                  <a:pt x="1713" y="171"/>
                  <a:pt x="1713" y="171"/>
                  <a:pt x="1713" y="170"/>
                </a:cubicBezTo>
                <a:cubicBezTo>
                  <a:pt x="1713" y="170"/>
                  <a:pt x="1714" y="171"/>
                  <a:pt x="1714" y="171"/>
                </a:cubicBezTo>
                <a:cubicBezTo>
                  <a:pt x="1714" y="171"/>
                  <a:pt x="1715" y="170"/>
                  <a:pt x="1715" y="170"/>
                </a:cubicBezTo>
                <a:cubicBezTo>
                  <a:pt x="1715" y="170"/>
                  <a:pt x="1715" y="169"/>
                  <a:pt x="1715" y="169"/>
                </a:cubicBezTo>
                <a:cubicBezTo>
                  <a:pt x="1715" y="169"/>
                  <a:pt x="1718" y="169"/>
                  <a:pt x="1716" y="168"/>
                </a:cubicBezTo>
                <a:cubicBezTo>
                  <a:pt x="1716" y="168"/>
                  <a:pt x="1716" y="167"/>
                  <a:pt x="1717" y="167"/>
                </a:cubicBezTo>
                <a:cubicBezTo>
                  <a:pt x="1718" y="167"/>
                  <a:pt x="1718" y="166"/>
                  <a:pt x="1718" y="165"/>
                </a:cubicBezTo>
                <a:cubicBezTo>
                  <a:pt x="1717" y="165"/>
                  <a:pt x="1717" y="165"/>
                  <a:pt x="1716" y="165"/>
                </a:cubicBezTo>
                <a:cubicBezTo>
                  <a:pt x="1716" y="165"/>
                  <a:pt x="1716" y="165"/>
                  <a:pt x="1716" y="164"/>
                </a:cubicBezTo>
                <a:cubicBezTo>
                  <a:pt x="1715" y="164"/>
                  <a:pt x="1714" y="164"/>
                  <a:pt x="1714" y="163"/>
                </a:cubicBezTo>
                <a:cubicBezTo>
                  <a:pt x="1714" y="163"/>
                  <a:pt x="1713" y="163"/>
                  <a:pt x="1713" y="163"/>
                </a:cubicBezTo>
                <a:cubicBezTo>
                  <a:pt x="1713" y="163"/>
                  <a:pt x="1712" y="162"/>
                  <a:pt x="1712" y="162"/>
                </a:cubicBezTo>
                <a:cubicBezTo>
                  <a:pt x="1711" y="162"/>
                  <a:pt x="1711" y="162"/>
                  <a:pt x="1711" y="161"/>
                </a:cubicBezTo>
                <a:cubicBezTo>
                  <a:pt x="1711" y="161"/>
                  <a:pt x="1710" y="161"/>
                  <a:pt x="1710" y="161"/>
                </a:cubicBezTo>
                <a:cubicBezTo>
                  <a:pt x="1709" y="160"/>
                  <a:pt x="1709" y="160"/>
                  <a:pt x="1709" y="160"/>
                </a:cubicBezTo>
                <a:cubicBezTo>
                  <a:pt x="1708" y="158"/>
                  <a:pt x="1708" y="159"/>
                  <a:pt x="1707" y="158"/>
                </a:cubicBezTo>
                <a:cubicBezTo>
                  <a:pt x="1707" y="158"/>
                  <a:pt x="1708" y="158"/>
                  <a:pt x="1707" y="158"/>
                </a:cubicBezTo>
                <a:cubicBezTo>
                  <a:pt x="1707" y="158"/>
                  <a:pt x="1707" y="158"/>
                  <a:pt x="1707" y="158"/>
                </a:cubicBezTo>
                <a:cubicBezTo>
                  <a:pt x="1707" y="157"/>
                  <a:pt x="1705" y="158"/>
                  <a:pt x="1705" y="157"/>
                </a:cubicBezTo>
                <a:cubicBezTo>
                  <a:pt x="1702" y="157"/>
                  <a:pt x="1699" y="157"/>
                  <a:pt x="1697" y="158"/>
                </a:cubicBezTo>
                <a:cubicBezTo>
                  <a:pt x="1697" y="159"/>
                  <a:pt x="1697" y="160"/>
                  <a:pt x="1698" y="161"/>
                </a:cubicBezTo>
                <a:cubicBezTo>
                  <a:pt x="1697" y="161"/>
                  <a:pt x="1695" y="161"/>
                  <a:pt x="1695" y="160"/>
                </a:cubicBezTo>
                <a:cubicBezTo>
                  <a:pt x="1696" y="159"/>
                  <a:pt x="1696" y="158"/>
                  <a:pt x="1695" y="157"/>
                </a:cubicBezTo>
                <a:cubicBezTo>
                  <a:pt x="1695" y="157"/>
                  <a:pt x="1696" y="157"/>
                  <a:pt x="1696" y="157"/>
                </a:cubicBezTo>
                <a:cubicBezTo>
                  <a:pt x="1696" y="156"/>
                  <a:pt x="1695" y="156"/>
                  <a:pt x="1694" y="154"/>
                </a:cubicBezTo>
                <a:cubicBezTo>
                  <a:pt x="1694" y="154"/>
                  <a:pt x="1693" y="155"/>
                  <a:pt x="1693" y="154"/>
                </a:cubicBezTo>
                <a:cubicBezTo>
                  <a:pt x="1693" y="154"/>
                  <a:pt x="1694" y="153"/>
                  <a:pt x="1693" y="153"/>
                </a:cubicBezTo>
                <a:cubicBezTo>
                  <a:pt x="1693" y="153"/>
                  <a:pt x="1692" y="153"/>
                  <a:pt x="1692" y="153"/>
                </a:cubicBezTo>
                <a:cubicBezTo>
                  <a:pt x="1690" y="153"/>
                  <a:pt x="1690" y="152"/>
                  <a:pt x="1689" y="151"/>
                </a:cubicBezTo>
                <a:cubicBezTo>
                  <a:pt x="1689" y="151"/>
                  <a:pt x="1689" y="151"/>
                  <a:pt x="1688" y="151"/>
                </a:cubicBezTo>
                <a:cubicBezTo>
                  <a:pt x="1688" y="151"/>
                  <a:pt x="1688" y="151"/>
                  <a:pt x="1688" y="151"/>
                </a:cubicBezTo>
                <a:cubicBezTo>
                  <a:pt x="1688" y="151"/>
                  <a:pt x="1688" y="151"/>
                  <a:pt x="1688" y="151"/>
                </a:cubicBezTo>
                <a:cubicBezTo>
                  <a:pt x="1687" y="150"/>
                  <a:pt x="1688" y="150"/>
                  <a:pt x="1687" y="150"/>
                </a:cubicBezTo>
                <a:cubicBezTo>
                  <a:pt x="1687" y="150"/>
                  <a:pt x="1687" y="150"/>
                  <a:pt x="1687" y="150"/>
                </a:cubicBezTo>
                <a:cubicBezTo>
                  <a:pt x="1686" y="149"/>
                  <a:pt x="1686" y="149"/>
                  <a:pt x="1685" y="149"/>
                </a:cubicBezTo>
                <a:cubicBezTo>
                  <a:pt x="1684" y="148"/>
                  <a:pt x="1684" y="148"/>
                  <a:pt x="1683" y="148"/>
                </a:cubicBezTo>
                <a:cubicBezTo>
                  <a:pt x="1683" y="148"/>
                  <a:pt x="1682" y="147"/>
                  <a:pt x="1682" y="146"/>
                </a:cubicBezTo>
                <a:cubicBezTo>
                  <a:pt x="1681" y="146"/>
                  <a:pt x="1681" y="146"/>
                  <a:pt x="1680" y="146"/>
                </a:cubicBezTo>
                <a:cubicBezTo>
                  <a:pt x="1680" y="146"/>
                  <a:pt x="1679" y="145"/>
                  <a:pt x="1680" y="145"/>
                </a:cubicBezTo>
                <a:cubicBezTo>
                  <a:pt x="1680" y="145"/>
                  <a:pt x="1679" y="143"/>
                  <a:pt x="1679" y="143"/>
                </a:cubicBezTo>
                <a:cubicBezTo>
                  <a:pt x="1678" y="143"/>
                  <a:pt x="1678" y="143"/>
                  <a:pt x="1677" y="143"/>
                </a:cubicBezTo>
                <a:cubicBezTo>
                  <a:pt x="1676" y="143"/>
                  <a:pt x="1677" y="143"/>
                  <a:pt x="1676" y="142"/>
                </a:cubicBezTo>
                <a:cubicBezTo>
                  <a:pt x="1675" y="142"/>
                  <a:pt x="1674" y="142"/>
                  <a:pt x="1674" y="142"/>
                </a:cubicBezTo>
                <a:cubicBezTo>
                  <a:pt x="1672" y="141"/>
                  <a:pt x="1673" y="140"/>
                  <a:pt x="1671" y="139"/>
                </a:cubicBezTo>
                <a:cubicBezTo>
                  <a:pt x="1671" y="139"/>
                  <a:pt x="1672" y="138"/>
                  <a:pt x="1671" y="138"/>
                </a:cubicBezTo>
                <a:cubicBezTo>
                  <a:pt x="1670" y="138"/>
                  <a:pt x="1670" y="138"/>
                  <a:pt x="1669" y="138"/>
                </a:cubicBezTo>
                <a:cubicBezTo>
                  <a:pt x="1669" y="138"/>
                  <a:pt x="1669" y="137"/>
                  <a:pt x="1669" y="137"/>
                </a:cubicBezTo>
                <a:cubicBezTo>
                  <a:pt x="1668" y="137"/>
                  <a:pt x="1669" y="136"/>
                  <a:pt x="1669" y="136"/>
                </a:cubicBezTo>
                <a:cubicBezTo>
                  <a:pt x="1669" y="136"/>
                  <a:pt x="1668" y="135"/>
                  <a:pt x="1668" y="135"/>
                </a:cubicBezTo>
                <a:cubicBezTo>
                  <a:pt x="1668" y="135"/>
                  <a:pt x="1668" y="135"/>
                  <a:pt x="1668" y="135"/>
                </a:cubicBezTo>
                <a:cubicBezTo>
                  <a:pt x="1667" y="134"/>
                  <a:pt x="1663" y="135"/>
                  <a:pt x="1663" y="134"/>
                </a:cubicBezTo>
                <a:cubicBezTo>
                  <a:pt x="1664" y="134"/>
                  <a:pt x="1663" y="134"/>
                  <a:pt x="1663" y="134"/>
                </a:cubicBezTo>
                <a:cubicBezTo>
                  <a:pt x="1663" y="134"/>
                  <a:pt x="1663" y="134"/>
                  <a:pt x="1662" y="133"/>
                </a:cubicBezTo>
                <a:cubicBezTo>
                  <a:pt x="1662" y="133"/>
                  <a:pt x="1661" y="133"/>
                  <a:pt x="1661" y="133"/>
                </a:cubicBezTo>
                <a:cubicBezTo>
                  <a:pt x="1660" y="133"/>
                  <a:pt x="1660" y="133"/>
                  <a:pt x="1659" y="134"/>
                </a:cubicBezTo>
                <a:cubicBezTo>
                  <a:pt x="1659" y="134"/>
                  <a:pt x="1657" y="134"/>
                  <a:pt x="1657" y="133"/>
                </a:cubicBezTo>
                <a:cubicBezTo>
                  <a:pt x="1656" y="133"/>
                  <a:pt x="1656" y="133"/>
                  <a:pt x="1655" y="133"/>
                </a:cubicBezTo>
                <a:cubicBezTo>
                  <a:pt x="1655" y="132"/>
                  <a:pt x="1655" y="131"/>
                  <a:pt x="1655" y="131"/>
                </a:cubicBezTo>
                <a:cubicBezTo>
                  <a:pt x="1654" y="131"/>
                  <a:pt x="1654" y="131"/>
                  <a:pt x="1654" y="131"/>
                </a:cubicBezTo>
                <a:cubicBezTo>
                  <a:pt x="1654" y="130"/>
                  <a:pt x="1651" y="130"/>
                  <a:pt x="1650" y="130"/>
                </a:cubicBezTo>
                <a:cubicBezTo>
                  <a:pt x="1650" y="130"/>
                  <a:pt x="1650" y="130"/>
                  <a:pt x="1650" y="129"/>
                </a:cubicBezTo>
                <a:cubicBezTo>
                  <a:pt x="1649" y="129"/>
                  <a:pt x="1649" y="129"/>
                  <a:pt x="1649" y="129"/>
                </a:cubicBezTo>
                <a:cubicBezTo>
                  <a:pt x="1649" y="129"/>
                  <a:pt x="1648" y="129"/>
                  <a:pt x="1648" y="128"/>
                </a:cubicBezTo>
                <a:cubicBezTo>
                  <a:pt x="1648" y="127"/>
                  <a:pt x="1647" y="129"/>
                  <a:pt x="1647" y="129"/>
                </a:cubicBezTo>
                <a:cubicBezTo>
                  <a:pt x="1646" y="129"/>
                  <a:pt x="1644" y="129"/>
                  <a:pt x="1643" y="129"/>
                </a:cubicBezTo>
                <a:cubicBezTo>
                  <a:pt x="1642" y="129"/>
                  <a:pt x="1642" y="129"/>
                  <a:pt x="1641" y="129"/>
                </a:cubicBezTo>
                <a:cubicBezTo>
                  <a:pt x="1641" y="128"/>
                  <a:pt x="1641" y="128"/>
                  <a:pt x="1640" y="128"/>
                </a:cubicBezTo>
                <a:cubicBezTo>
                  <a:pt x="1640" y="128"/>
                  <a:pt x="1640" y="128"/>
                  <a:pt x="1640" y="128"/>
                </a:cubicBezTo>
                <a:cubicBezTo>
                  <a:pt x="1640" y="128"/>
                  <a:pt x="1639" y="128"/>
                  <a:pt x="1638" y="129"/>
                </a:cubicBezTo>
                <a:cubicBezTo>
                  <a:pt x="1638" y="129"/>
                  <a:pt x="1637" y="129"/>
                  <a:pt x="1637" y="129"/>
                </a:cubicBezTo>
                <a:cubicBezTo>
                  <a:pt x="1637" y="129"/>
                  <a:pt x="1635" y="128"/>
                  <a:pt x="1636" y="128"/>
                </a:cubicBezTo>
                <a:cubicBezTo>
                  <a:pt x="1635" y="128"/>
                  <a:pt x="1635" y="128"/>
                  <a:pt x="1634" y="128"/>
                </a:cubicBezTo>
                <a:cubicBezTo>
                  <a:pt x="1634" y="128"/>
                  <a:pt x="1634" y="128"/>
                  <a:pt x="1634" y="128"/>
                </a:cubicBezTo>
                <a:cubicBezTo>
                  <a:pt x="1632" y="128"/>
                  <a:pt x="1631" y="128"/>
                  <a:pt x="1630" y="128"/>
                </a:cubicBezTo>
                <a:cubicBezTo>
                  <a:pt x="1629" y="128"/>
                  <a:pt x="1630" y="128"/>
                  <a:pt x="1629" y="128"/>
                </a:cubicBezTo>
                <a:cubicBezTo>
                  <a:pt x="1628" y="127"/>
                  <a:pt x="1628" y="127"/>
                  <a:pt x="1627" y="127"/>
                </a:cubicBezTo>
                <a:cubicBezTo>
                  <a:pt x="1627" y="128"/>
                  <a:pt x="1627" y="129"/>
                  <a:pt x="1627" y="130"/>
                </a:cubicBezTo>
                <a:cubicBezTo>
                  <a:pt x="1627" y="130"/>
                  <a:pt x="1627" y="131"/>
                  <a:pt x="1627" y="132"/>
                </a:cubicBezTo>
                <a:cubicBezTo>
                  <a:pt x="1627" y="132"/>
                  <a:pt x="1628" y="132"/>
                  <a:pt x="1628" y="132"/>
                </a:cubicBezTo>
                <a:cubicBezTo>
                  <a:pt x="1629" y="133"/>
                  <a:pt x="1629" y="135"/>
                  <a:pt x="1629" y="136"/>
                </a:cubicBezTo>
                <a:cubicBezTo>
                  <a:pt x="1629" y="136"/>
                  <a:pt x="1628" y="136"/>
                  <a:pt x="1628" y="136"/>
                </a:cubicBezTo>
                <a:cubicBezTo>
                  <a:pt x="1627" y="136"/>
                  <a:pt x="1628" y="137"/>
                  <a:pt x="1627" y="137"/>
                </a:cubicBezTo>
                <a:cubicBezTo>
                  <a:pt x="1627" y="138"/>
                  <a:pt x="1627" y="138"/>
                  <a:pt x="1626" y="138"/>
                </a:cubicBezTo>
                <a:cubicBezTo>
                  <a:pt x="1625" y="138"/>
                  <a:pt x="1625" y="138"/>
                  <a:pt x="1625" y="139"/>
                </a:cubicBezTo>
                <a:cubicBezTo>
                  <a:pt x="1625" y="139"/>
                  <a:pt x="1626" y="139"/>
                  <a:pt x="1625" y="140"/>
                </a:cubicBezTo>
                <a:cubicBezTo>
                  <a:pt x="1625" y="140"/>
                  <a:pt x="1624" y="140"/>
                  <a:pt x="1623" y="140"/>
                </a:cubicBezTo>
                <a:cubicBezTo>
                  <a:pt x="1622" y="140"/>
                  <a:pt x="1619" y="141"/>
                  <a:pt x="1619" y="140"/>
                </a:cubicBezTo>
                <a:cubicBezTo>
                  <a:pt x="1619" y="139"/>
                  <a:pt x="1619" y="137"/>
                  <a:pt x="1618" y="136"/>
                </a:cubicBezTo>
                <a:cubicBezTo>
                  <a:pt x="1618" y="135"/>
                  <a:pt x="1616" y="136"/>
                  <a:pt x="1616" y="135"/>
                </a:cubicBezTo>
                <a:cubicBezTo>
                  <a:pt x="1616" y="134"/>
                  <a:pt x="1617" y="133"/>
                  <a:pt x="1616" y="133"/>
                </a:cubicBezTo>
                <a:cubicBezTo>
                  <a:pt x="1615" y="132"/>
                  <a:pt x="1616" y="132"/>
                  <a:pt x="1616" y="131"/>
                </a:cubicBezTo>
                <a:cubicBezTo>
                  <a:pt x="1615" y="131"/>
                  <a:pt x="1614" y="132"/>
                  <a:pt x="1614" y="133"/>
                </a:cubicBezTo>
                <a:cubicBezTo>
                  <a:pt x="1614" y="133"/>
                  <a:pt x="1613" y="133"/>
                  <a:pt x="1613" y="133"/>
                </a:cubicBezTo>
                <a:cubicBezTo>
                  <a:pt x="1613" y="133"/>
                  <a:pt x="1613" y="133"/>
                  <a:pt x="1613" y="133"/>
                </a:cubicBezTo>
                <a:cubicBezTo>
                  <a:pt x="1612" y="133"/>
                  <a:pt x="1612" y="133"/>
                  <a:pt x="1612" y="133"/>
                </a:cubicBezTo>
                <a:cubicBezTo>
                  <a:pt x="1611" y="133"/>
                  <a:pt x="1609" y="134"/>
                  <a:pt x="1608" y="134"/>
                </a:cubicBezTo>
                <a:cubicBezTo>
                  <a:pt x="1608" y="134"/>
                  <a:pt x="1608" y="133"/>
                  <a:pt x="1609" y="133"/>
                </a:cubicBezTo>
                <a:cubicBezTo>
                  <a:pt x="1608" y="133"/>
                  <a:pt x="1607" y="133"/>
                  <a:pt x="1607" y="133"/>
                </a:cubicBezTo>
                <a:cubicBezTo>
                  <a:pt x="1606" y="132"/>
                  <a:pt x="1605" y="131"/>
                  <a:pt x="1604" y="132"/>
                </a:cubicBezTo>
                <a:cubicBezTo>
                  <a:pt x="1604" y="133"/>
                  <a:pt x="1601" y="131"/>
                  <a:pt x="1601" y="132"/>
                </a:cubicBezTo>
                <a:cubicBezTo>
                  <a:pt x="1600" y="133"/>
                  <a:pt x="1600" y="133"/>
                  <a:pt x="1600" y="133"/>
                </a:cubicBezTo>
                <a:cubicBezTo>
                  <a:pt x="1599" y="133"/>
                  <a:pt x="1599" y="133"/>
                  <a:pt x="1599" y="133"/>
                </a:cubicBezTo>
                <a:cubicBezTo>
                  <a:pt x="1598" y="132"/>
                  <a:pt x="1598" y="132"/>
                  <a:pt x="1598" y="131"/>
                </a:cubicBezTo>
                <a:cubicBezTo>
                  <a:pt x="1596" y="131"/>
                  <a:pt x="1593" y="131"/>
                  <a:pt x="1590" y="131"/>
                </a:cubicBezTo>
                <a:cubicBezTo>
                  <a:pt x="1590" y="131"/>
                  <a:pt x="1589" y="131"/>
                  <a:pt x="1588" y="131"/>
                </a:cubicBezTo>
                <a:cubicBezTo>
                  <a:pt x="1588" y="132"/>
                  <a:pt x="1588" y="132"/>
                  <a:pt x="1588" y="132"/>
                </a:cubicBezTo>
                <a:cubicBezTo>
                  <a:pt x="1587" y="132"/>
                  <a:pt x="1587" y="132"/>
                  <a:pt x="1587" y="132"/>
                </a:cubicBezTo>
                <a:cubicBezTo>
                  <a:pt x="1586" y="132"/>
                  <a:pt x="1586" y="133"/>
                  <a:pt x="1586" y="133"/>
                </a:cubicBezTo>
                <a:cubicBezTo>
                  <a:pt x="1585" y="133"/>
                  <a:pt x="1585" y="132"/>
                  <a:pt x="1584" y="133"/>
                </a:cubicBezTo>
                <a:cubicBezTo>
                  <a:pt x="1584" y="133"/>
                  <a:pt x="1583" y="133"/>
                  <a:pt x="1583" y="133"/>
                </a:cubicBezTo>
                <a:cubicBezTo>
                  <a:pt x="1583" y="133"/>
                  <a:pt x="1583" y="134"/>
                  <a:pt x="1583" y="134"/>
                </a:cubicBezTo>
                <a:cubicBezTo>
                  <a:pt x="1582" y="134"/>
                  <a:pt x="1583" y="135"/>
                  <a:pt x="1583" y="135"/>
                </a:cubicBezTo>
                <a:cubicBezTo>
                  <a:pt x="1583" y="136"/>
                  <a:pt x="1582" y="136"/>
                  <a:pt x="1582" y="137"/>
                </a:cubicBezTo>
                <a:cubicBezTo>
                  <a:pt x="1582" y="137"/>
                  <a:pt x="1582" y="138"/>
                  <a:pt x="1582" y="139"/>
                </a:cubicBezTo>
                <a:cubicBezTo>
                  <a:pt x="1581" y="139"/>
                  <a:pt x="1581" y="139"/>
                  <a:pt x="1581" y="139"/>
                </a:cubicBezTo>
                <a:cubicBezTo>
                  <a:pt x="1581" y="138"/>
                  <a:pt x="1581" y="137"/>
                  <a:pt x="1581" y="137"/>
                </a:cubicBezTo>
                <a:cubicBezTo>
                  <a:pt x="1580" y="136"/>
                  <a:pt x="1581" y="135"/>
                  <a:pt x="1580" y="134"/>
                </a:cubicBezTo>
                <a:cubicBezTo>
                  <a:pt x="1579" y="134"/>
                  <a:pt x="1580" y="133"/>
                  <a:pt x="1579" y="132"/>
                </a:cubicBezTo>
                <a:cubicBezTo>
                  <a:pt x="1578" y="132"/>
                  <a:pt x="1577" y="132"/>
                  <a:pt x="1577" y="132"/>
                </a:cubicBezTo>
                <a:cubicBezTo>
                  <a:pt x="1577" y="131"/>
                  <a:pt x="1577" y="131"/>
                  <a:pt x="1577" y="130"/>
                </a:cubicBezTo>
                <a:cubicBezTo>
                  <a:pt x="1577" y="130"/>
                  <a:pt x="1577" y="130"/>
                  <a:pt x="1576" y="130"/>
                </a:cubicBezTo>
                <a:cubicBezTo>
                  <a:pt x="1577" y="129"/>
                  <a:pt x="1577" y="129"/>
                  <a:pt x="1578" y="128"/>
                </a:cubicBezTo>
                <a:cubicBezTo>
                  <a:pt x="1577" y="127"/>
                  <a:pt x="1577" y="127"/>
                  <a:pt x="1577" y="126"/>
                </a:cubicBezTo>
                <a:cubicBezTo>
                  <a:pt x="1576" y="126"/>
                  <a:pt x="1576" y="126"/>
                  <a:pt x="1576" y="126"/>
                </a:cubicBezTo>
                <a:cubicBezTo>
                  <a:pt x="1576" y="125"/>
                  <a:pt x="1574" y="125"/>
                  <a:pt x="1574" y="125"/>
                </a:cubicBezTo>
                <a:cubicBezTo>
                  <a:pt x="1573" y="125"/>
                  <a:pt x="1573" y="124"/>
                  <a:pt x="1573" y="123"/>
                </a:cubicBezTo>
                <a:cubicBezTo>
                  <a:pt x="1572" y="123"/>
                  <a:pt x="1572" y="123"/>
                  <a:pt x="1572" y="123"/>
                </a:cubicBezTo>
                <a:cubicBezTo>
                  <a:pt x="1572" y="122"/>
                  <a:pt x="1570" y="122"/>
                  <a:pt x="1569" y="122"/>
                </a:cubicBezTo>
                <a:cubicBezTo>
                  <a:pt x="1569" y="122"/>
                  <a:pt x="1569" y="122"/>
                  <a:pt x="1569" y="122"/>
                </a:cubicBezTo>
                <a:cubicBezTo>
                  <a:pt x="1568" y="122"/>
                  <a:pt x="1568" y="121"/>
                  <a:pt x="1567" y="121"/>
                </a:cubicBezTo>
                <a:cubicBezTo>
                  <a:pt x="1566" y="121"/>
                  <a:pt x="1565" y="121"/>
                  <a:pt x="1565" y="122"/>
                </a:cubicBezTo>
                <a:cubicBezTo>
                  <a:pt x="1565" y="122"/>
                  <a:pt x="1564" y="121"/>
                  <a:pt x="1564" y="121"/>
                </a:cubicBezTo>
                <a:cubicBezTo>
                  <a:pt x="1563" y="121"/>
                  <a:pt x="1564" y="122"/>
                  <a:pt x="1563" y="122"/>
                </a:cubicBezTo>
                <a:cubicBezTo>
                  <a:pt x="1563" y="122"/>
                  <a:pt x="1562" y="122"/>
                  <a:pt x="1563" y="122"/>
                </a:cubicBezTo>
                <a:cubicBezTo>
                  <a:pt x="1563" y="122"/>
                  <a:pt x="1562" y="122"/>
                  <a:pt x="1561" y="122"/>
                </a:cubicBezTo>
                <a:cubicBezTo>
                  <a:pt x="1561" y="122"/>
                  <a:pt x="1560" y="123"/>
                  <a:pt x="1560" y="122"/>
                </a:cubicBezTo>
                <a:cubicBezTo>
                  <a:pt x="1560" y="122"/>
                  <a:pt x="1560" y="122"/>
                  <a:pt x="1560" y="122"/>
                </a:cubicBezTo>
                <a:cubicBezTo>
                  <a:pt x="1559" y="121"/>
                  <a:pt x="1558" y="122"/>
                  <a:pt x="1557" y="122"/>
                </a:cubicBezTo>
                <a:cubicBezTo>
                  <a:pt x="1556" y="122"/>
                  <a:pt x="1557" y="122"/>
                  <a:pt x="1556" y="122"/>
                </a:cubicBezTo>
                <a:cubicBezTo>
                  <a:pt x="1555" y="122"/>
                  <a:pt x="1556" y="121"/>
                  <a:pt x="1555" y="121"/>
                </a:cubicBezTo>
                <a:cubicBezTo>
                  <a:pt x="1554" y="121"/>
                  <a:pt x="1553" y="122"/>
                  <a:pt x="1552" y="122"/>
                </a:cubicBezTo>
                <a:cubicBezTo>
                  <a:pt x="1550" y="123"/>
                  <a:pt x="1549" y="123"/>
                  <a:pt x="1547" y="122"/>
                </a:cubicBezTo>
                <a:cubicBezTo>
                  <a:pt x="1547" y="122"/>
                  <a:pt x="1546" y="122"/>
                  <a:pt x="1546" y="122"/>
                </a:cubicBezTo>
                <a:cubicBezTo>
                  <a:pt x="1545" y="122"/>
                  <a:pt x="1545" y="122"/>
                  <a:pt x="1544" y="122"/>
                </a:cubicBezTo>
                <a:cubicBezTo>
                  <a:pt x="1543" y="122"/>
                  <a:pt x="1544" y="123"/>
                  <a:pt x="1543" y="123"/>
                </a:cubicBezTo>
                <a:cubicBezTo>
                  <a:pt x="1542" y="123"/>
                  <a:pt x="1541" y="123"/>
                  <a:pt x="1541" y="123"/>
                </a:cubicBezTo>
                <a:cubicBezTo>
                  <a:pt x="1541" y="124"/>
                  <a:pt x="1541" y="124"/>
                  <a:pt x="1541" y="124"/>
                </a:cubicBezTo>
                <a:cubicBezTo>
                  <a:pt x="1540" y="124"/>
                  <a:pt x="1538" y="123"/>
                  <a:pt x="1538" y="124"/>
                </a:cubicBezTo>
                <a:cubicBezTo>
                  <a:pt x="1537" y="124"/>
                  <a:pt x="1535" y="124"/>
                  <a:pt x="1533" y="124"/>
                </a:cubicBezTo>
                <a:cubicBezTo>
                  <a:pt x="1533" y="124"/>
                  <a:pt x="1533" y="124"/>
                  <a:pt x="1532" y="124"/>
                </a:cubicBezTo>
                <a:cubicBezTo>
                  <a:pt x="1532" y="124"/>
                  <a:pt x="1531" y="124"/>
                  <a:pt x="1531" y="124"/>
                </a:cubicBezTo>
                <a:cubicBezTo>
                  <a:pt x="1531" y="124"/>
                  <a:pt x="1528" y="125"/>
                  <a:pt x="1528" y="124"/>
                </a:cubicBezTo>
                <a:cubicBezTo>
                  <a:pt x="1528" y="124"/>
                  <a:pt x="1527" y="124"/>
                  <a:pt x="1527" y="124"/>
                </a:cubicBezTo>
                <a:cubicBezTo>
                  <a:pt x="1527" y="124"/>
                  <a:pt x="1526" y="124"/>
                  <a:pt x="1526" y="124"/>
                </a:cubicBezTo>
                <a:cubicBezTo>
                  <a:pt x="1525" y="124"/>
                  <a:pt x="1525" y="124"/>
                  <a:pt x="1525" y="124"/>
                </a:cubicBezTo>
                <a:cubicBezTo>
                  <a:pt x="1524" y="124"/>
                  <a:pt x="1525" y="124"/>
                  <a:pt x="1524" y="124"/>
                </a:cubicBezTo>
                <a:cubicBezTo>
                  <a:pt x="1524" y="124"/>
                  <a:pt x="1524" y="124"/>
                  <a:pt x="1524" y="124"/>
                </a:cubicBezTo>
                <a:cubicBezTo>
                  <a:pt x="1524" y="124"/>
                  <a:pt x="1524" y="124"/>
                  <a:pt x="1524" y="124"/>
                </a:cubicBezTo>
                <a:cubicBezTo>
                  <a:pt x="1523" y="124"/>
                  <a:pt x="1523" y="124"/>
                  <a:pt x="1523" y="124"/>
                </a:cubicBezTo>
                <a:cubicBezTo>
                  <a:pt x="1524" y="123"/>
                  <a:pt x="1525" y="121"/>
                  <a:pt x="1526" y="120"/>
                </a:cubicBezTo>
                <a:cubicBezTo>
                  <a:pt x="1527" y="120"/>
                  <a:pt x="1527" y="119"/>
                  <a:pt x="1527" y="119"/>
                </a:cubicBezTo>
                <a:cubicBezTo>
                  <a:pt x="1527" y="118"/>
                  <a:pt x="1526" y="118"/>
                  <a:pt x="1526" y="118"/>
                </a:cubicBezTo>
                <a:cubicBezTo>
                  <a:pt x="1524" y="118"/>
                  <a:pt x="1524" y="119"/>
                  <a:pt x="1524" y="117"/>
                </a:cubicBezTo>
                <a:cubicBezTo>
                  <a:pt x="1524" y="117"/>
                  <a:pt x="1524" y="117"/>
                  <a:pt x="1524" y="116"/>
                </a:cubicBezTo>
                <a:cubicBezTo>
                  <a:pt x="1525" y="116"/>
                  <a:pt x="1525" y="117"/>
                  <a:pt x="1525" y="116"/>
                </a:cubicBezTo>
                <a:cubicBezTo>
                  <a:pt x="1525" y="116"/>
                  <a:pt x="1526" y="116"/>
                  <a:pt x="1526" y="116"/>
                </a:cubicBezTo>
                <a:cubicBezTo>
                  <a:pt x="1526" y="116"/>
                  <a:pt x="1526" y="118"/>
                  <a:pt x="1527" y="117"/>
                </a:cubicBezTo>
                <a:cubicBezTo>
                  <a:pt x="1529" y="117"/>
                  <a:pt x="1530" y="115"/>
                  <a:pt x="1529" y="114"/>
                </a:cubicBezTo>
                <a:cubicBezTo>
                  <a:pt x="1529" y="114"/>
                  <a:pt x="1527" y="113"/>
                  <a:pt x="1527" y="113"/>
                </a:cubicBezTo>
                <a:cubicBezTo>
                  <a:pt x="1526" y="113"/>
                  <a:pt x="1526" y="112"/>
                  <a:pt x="1526" y="112"/>
                </a:cubicBezTo>
                <a:cubicBezTo>
                  <a:pt x="1525" y="112"/>
                  <a:pt x="1525" y="112"/>
                  <a:pt x="1524" y="112"/>
                </a:cubicBezTo>
                <a:cubicBezTo>
                  <a:pt x="1523" y="112"/>
                  <a:pt x="1523" y="112"/>
                  <a:pt x="1523" y="111"/>
                </a:cubicBezTo>
                <a:cubicBezTo>
                  <a:pt x="1521" y="111"/>
                  <a:pt x="1520" y="111"/>
                  <a:pt x="1519" y="111"/>
                </a:cubicBezTo>
                <a:cubicBezTo>
                  <a:pt x="1519" y="111"/>
                  <a:pt x="1519" y="111"/>
                  <a:pt x="1519" y="111"/>
                </a:cubicBezTo>
                <a:cubicBezTo>
                  <a:pt x="1518" y="111"/>
                  <a:pt x="1517" y="110"/>
                  <a:pt x="1516" y="111"/>
                </a:cubicBezTo>
                <a:cubicBezTo>
                  <a:pt x="1515" y="111"/>
                  <a:pt x="1515" y="112"/>
                  <a:pt x="1515" y="112"/>
                </a:cubicBezTo>
                <a:cubicBezTo>
                  <a:pt x="1514" y="113"/>
                  <a:pt x="1514" y="113"/>
                  <a:pt x="1513" y="114"/>
                </a:cubicBezTo>
                <a:cubicBezTo>
                  <a:pt x="1513" y="115"/>
                  <a:pt x="1513" y="115"/>
                  <a:pt x="1512" y="116"/>
                </a:cubicBezTo>
                <a:cubicBezTo>
                  <a:pt x="1511" y="116"/>
                  <a:pt x="1512" y="116"/>
                  <a:pt x="1512" y="117"/>
                </a:cubicBezTo>
                <a:cubicBezTo>
                  <a:pt x="1511" y="117"/>
                  <a:pt x="1512" y="116"/>
                  <a:pt x="1511" y="117"/>
                </a:cubicBezTo>
                <a:cubicBezTo>
                  <a:pt x="1511" y="118"/>
                  <a:pt x="1511" y="118"/>
                  <a:pt x="1511" y="118"/>
                </a:cubicBezTo>
                <a:cubicBezTo>
                  <a:pt x="1510" y="118"/>
                  <a:pt x="1510" y="119"/>
                  <a:pt x="1510" y="119"/>
                </a:cubicBezTo>
                <a:cubicBezTo>
                  <a:pt x="1509" y="119"/>
                  <a:pt x="1509" y="119"/>
                  <a:pt x="1509" y="119"/>
                </a:cubicBezTo>
                <a:cubicBezTo>
                  <a:pt x="1509" y="119"/>
                  <a:pt x="1508" y="120"/>
                  <a:pt x="1508" y="120"/>
                </a:cubicBezTo>
                <a:cubicBezTo>
                  <a:pt x="1507" y="120"/>
                  <a:pt x="1506" y="119"/>
                  <a:pt x="1505" y="119"/>
                </a:cubicBezTo>
                <a:cubicBezTo>
                  <a:pt x="1505" y="118"/>
                  <a:pt x="1505" y="118"/>
                  <a:pt x="1506" y="118"/>
                </a:cubicBezTo>
                <a:cubicBezTo>
                  <a:pt x="1507" y="118"/>
                  <a:pt x="1507" y="118"/>
                  <a:pt x="1507" y="117"/>
                </a:cubicBezTo>
                <a:cubicBezTo>
                  <a:pt x="1507" y="117"/>
                  <a:pt x="1507" y="117"/>
                  <a:pt x="1506" y="117"/>
                </a:cubicBezTo>
                <a:cubicBezTo>
                  <a:pt x="1506" y="117"/>
                  <a:pt x="1506" y="116"/>
                  <a:pt x="1506" y="116"/>
                </a:cubicBezTo>
                <a:cubicBezTo>
                  <a:pt x="1506" y="115"/>
                  <a:pt x="1506" y="116"/>
                  <a:pt x="1507" y="116"/>
                </a:cubicBezTo>
                <a:cubicBezTo>
                  <a:pt x="1508" y="115"/>
                  <a:pt x="1508" y="115"/>
                  <a:pt x="1509" y="114"/>
                </a:cubicBezTo>
                <a:cubicBezTo>
                  <a:pt x="1509" y="113"/>
                  <a:pt x="1509" y="113"/>
                  <a:pt x="1510" y="113"/>
                </a:cubicBezTo>
                <a:cubicBezTo>
                  <a:pt x="1510" y="113"/>
                  <a:pt x="1511" y="113"/>
                  <a:pt x="1511" y="113"/>
                </a:cubicBezTo>
                <a:cubicBezTo>
                  <a:pt x="1511" y="114"/>
                  <a:pt x="1510" y="114"/>
                  <a:pt x="1510" y="114"/>
                </a:cubicBezTo>
                <a:cubicBezTo>
                  <a:pt x="1510" y="116"/>
                  <a:pt x="1511" y="114"/>
                  <a:pt x="1512" y="114"/>
                </a:cubicBezTo>
                <a:cubicBezTo>
                  <a:pt x="1512" y="112"/>
                  <a:pt x="1512" y="112"/>
                  <a:pt x="1511" y="112"/>
                </a:cubicBezTo>
                <a:cubicBezTo>
                  <a:pt x="1511" y="112"/>
                  <a:pt x="1510" y="112"/>
                  <a:pt x="1509" y="112"/>
                </a:cubicBezTo>
                <a:cubicBezTo>
                  <a:pt x="1509" y="112"/>
                  <a:pt x="1508" y="112"/>
                  <a:pt x="1508" y="112"/>
                </a:cubicBezTo>
                <a:cubicBezTo>
                  <a:pt x="1508" y="112"/>
                  <a:pt x="1508" y="112"/>
                  <a:pt x="1507" y="112"/>
                </a:cubicBezTo>
                <a:cubicBezTo>
                  <a:pt x="1506" y="112"/>
                  <a:pt x="1505" y="112"/>
                  <a:pt x="1505" y="112"/>
                </a:cubicBezTo>
                <a:cubicBezTo>
                  <a:pt x="1504" y="112"/>
                  <a:pt x="1503" y="113"/>
                  <a:pt x="1503" y="112"/>
                </a:cubicBezTo>
                <a:cubicBezTo>
                  <a:pt x="1501" y="112"/>
                  <a:pt x="1502" y="111"/>
                  <a:pt x="1501" y="110"/>
                </a:cubicBezTo>
                <a:cubicBezTo>
                  <a:pt x="1502" y="110"/>
                  <a:pt x="1503" y="109"/>
                  <a:pt x="1503" y="110"/>
                </a:cubicBezTo>
                <a:cubicBezTo>
                  <a:pt x="1503" y="110"/>
                  <a:pt x="1503" y="110"/>
                  <a:pt x="1503" y="110"/>
                </a:cubicBezTo>
                <a:cubicBezTo>
                  <a:pt x="1504" y="110"/>
                  <a:pt x="1505" y="110"/>
                  <a:pt x="1507" y="110"/>
                </a:cubicBezTo>
                <a:cubicBezTo>
                  <a:pt x="1506" y="109"/>
                  <a:pt x="1506" y="109"/>
                  <a:pt x="1506" y="109"/>
                </a:cubicBezTo>
                <a:cubicBezTo>
                  <a:pt x="1505" y="109"/>
                  <a:pt x="1504" y="109"/>
                  <a:pt x="1504" y="109"/>
                </a:cubicBezTo>
                <a:cubicBezTo>
                  <a:pt x="1503" y="109"/>
                  <a:pt x="1504" y="108"/>
                  <a:pt x="1503" y="108"/>
                </a:cubicBezTo>
                <a:cubicBezTo>
                  <a:pt x="1502" y="108"/>
                  <a:pt x="1500" y="108"/>
                  <a:pt x="1500" y="108"/>
                </a:cubicBezTo>
                <a:cubicBezTo>
                  <a:pt x="1499" y="108"/>
                  <a:pt x="1498" y="108"/>
                  <a:pt x="1497" y="108"/>
                </a:cubicBezTo>
                <a:cubicBezTo>
                  <a:pt x="1497" y="108"/>
                  <a:pt x="1494" y="107"/>
                  <a:pt x="1494" y="107"/>
                </a:cubicBezTo>
                <a:cubicBezTo>
                  <a:pt x="1493" y="107"/>
                  <a:pt x="1493" y="107"/>
                  <a:pt x="1492" y="107"/>
                </a:cubicBezTo>
                <a:cubicBezTo>
                  <a:pt x="1492" y="107"/>
                  <a:pt x="1492" y="107"/>
                  <a:pt x="1491" y="107"/>
                </a:cubicBezTo>
                <a:cubicBezTo>
                  <a:pt x="1491" y="107"/>
                  <a:pt x="1491" y="107"/>
                  <a:pt x="1491" y="107"/>
                </a:cubicBezTo>
                <a:cubicBezTo>
                  <a:pt x="1491" y="107"/>
                  <a:pt x="1490" y="107"/>
                  <a:pt x="1490" y="106"/>
                </a:cubicBezTo>
                <a:cubicBezTo>
                  <a:pt x="1490" y="106"/>
                  <a:pt x="1490" y="106"/>
                  <a:pt x="1489" y="106"/>
                </a:cubicBezTo>
                <a:cubicBezTo>
                  <a:pt x="1489" y="106"/>
                  <a:pt x="1489" y="106"/>
                  <a:pt x="1488" y="106"/>
                </a:cubicBezTo>
                <a:cubicBezTo>
                  <a:pt x="1488" y="106"/>
                  <a:pt x="1488" y="106"/>
                  <a:pt x="1488" y="106"/>
                </a:cubicBezTo>
                <a:cubicBezTo>
                  <a:pt x="1487" y="106"/>
                  <a:pt x="1487" y="105"/>
                  <a:pt x="1486" y="105"/>
                </a:cubicBezTo>
                <a:cubicBezTo>
                  <a:pt x="1486" y="104"/>
                  <a:pt x="1486" y="105"/>
                  <a:pt x="1486" y="105"/>
                </a:cubicBezTo>
                <a:cubicBezTo>
                  <a:pt x="1485" y="105"/>
                  <a:pt x="1484" y="105"/>
                  <a:pt x="1483" y="105"/>
                </a:cubicBezTo>
                <a:cubicBezTo>
                  <a:pt x="1483" y="106"/>
                  <a:pt x="1484" y="105"/>
                  <a:pt x="1485" y="106"/>
                </a:cubicBezTo>
                <a:cubicBezTo>
                  <a:pt x="1487" y="108"/>
                  <a:pt x="1481" y="108"/>
                  <a:pt x="1480" y="108"/>
                </a:cubicBezTo>
                <a:cubicBezTo>
                  <a:pt x="1480" y="108"/>
                  <a:pt x="1480" y="108"/>
                  <a:pt x="1480" y="109"/>
                </a:cubicBezTo>
                <a:cubicBezTo>
                  <a:pt x="1480" y="109"/>
                  <a:pt x="1480" y="109"/>
                  <a:pt x="1480" y="110"/>
                </a:cubicBezTo>
                <a:cubicBezTo>
                  <a:pt x="1480" y="110"/>
                  <a:pt x="1481" y="110"/>
                  <a:pt x="1481" y="110"/>
                </a:cubicBezTo>
                <a:cubicBezTo>
                  <a:pt x="1481" y="111"/>
                  <a:pt x="1483" y="110"/>
                  <a:pt x="1484" y="110"/>
                </a:cubicBezTo>
                <a:cubicBezTo>
                  <a:pt x="1485" y="111"/>
                  <a:pt x="1485" y="111"/>
                  <a:pt x="1485" y="112"/>
                </a:cubicBezTo>
                <a:cubicBezTo>
                  <a:pt x="1484" y="111"/>
                  <a:pt x="1483" y="112"/>
                  <a:pt x="1483" y="111"/>
                </a:cubicBezTo>
                <a:cubicBezTo>
                  <a:pt x="1481" y="111"/>
                  <a:pt x="1479" y="111"/>
                  <a:pt x="1479" y="113"/>
                </a:cubicBezTo>
                <a:cubicBezTo>
                  <a:pt x="1479" y="114"/>
                  <a:pt x="1479" y="115"/>
                  <a:pt x="1480" y="116"/>
                </a:cubicBezTo>
                <a:cubicBezTo>
                  <a:pt x="1480" y="116"/>
                  <a:pt x="1481" y="116"/>
                  <a:pt x="1480" y="117"/>
                </a:cubicBezTo>
                <a:cubicBezTo>
                  <a:pt x="1480" y="119"/>
                  <a:pt x="1480" y="119"/>
                  <a:pt x="1478" y="119"/>
                </a:cubicBezTo>
                <a:cubicBezTo>
                  <a:pt x="1478" y="119"/>
                  <a:pt x="1478" y="118"/>
                  <a:pt x="1477" y="118"/>
                </a:cubicBezTo>
                <a:cubicBezTo>
                  <a:pt x="1476" y="118"/>
                  <a:pt x="1477" y="119"/>
                  <a:pt x="1476" y="119"/>
                </a:cubicBezTo>
                <a:cubicBezTo>
                  <a:pt x="1476" y="118"/>
                  <a:pt x="1476" y="118"/>
                  <a:pt x="1476" y="118"/>
                </a:cubicBezTo>
                <a:cubicBezTo>
                  <a:pt x="1476" y="117"/>
                  <a:pt x="1475" y="117"/>
                  <a:pt x="1475" y="116"/>
                </a:cubicBezTo>
                <a:cubicBezTo>
                  <a:pt x="1475" y="116"/>
                  <a:pt x="1474" y="116"/>
                  <a:pt x="1474" y="117"/>
                </a:cubicBezTo>
                <a:cubicBezTo>
                  <a:pt x="1474" y="117"/>
                  <a:pt x="1474" y="116"/>
                  <a:pt x="1473" y="116"/>
                </a:cubicBezTo>
                <a:cubicBezTo>
                  <a:pt x="1473" y="117"/>
                  <a:pt x="1472" y="117"/>
                  <a:pt x="1473" y="118"/>
                </a:cubicBezTo>
                <a:cubicBezTo>
                  <a:pt x="1473" y="119"/>
                  <a:pt x="1473" y="119"/>
                  <a:pt x="1474" y="119"/>
                </a:cubicBezTo>
                <a:cubicBezTo>
                  <a:pt x="1473" y="120"/>
                  <a:pt x="1473" y="120"/>
                  <a:pt x="1472" y="120"/>
                </a:cubicBezTo>
                <a:cubicBezTo>
                  <a:pt x="1472" y="120"/>
                  <a:pt x="1472" y="121"/>
                  <a:pt x="1472" y="121"/>
                </a:cubicBezTo>
                <a:cubicBezTo>
                  <a:pt x="1471" y="121"/>
                  <a:pt x="1471" y="120"/>
                  <a:pt x="1471" y="120"/>
                </a:cubicBezTo>
                <a:cubicBezTo>
                  <a:pt x="1470" y="120"/>
                  <a:pt x="1470" y="120"/>
                  <a:pt x="1469" y="121"/>
                </a:cubicBezTo>
                <a:cubicBezTo>
                  <a:pt x="1469" y="121"/>
                  <a:pt x="1469" y="120"/>
                  <a:pt x="1468" y="120"/>
                </a:cubicBezTo>
                <a:cubicBezTo>
                  <a:pt x="1468" y="120"/>
                  <a:pt x="1467" y="120"/>
                  <a:pt x="1467" y="120"/>
                </a:cubicBezTo>
                <a:cubicBezTo>
                  <a:pt x="1466" y="120"/>
                  <a:pt x="1467" y="119"/>
                  <a:pt x="1466" y="119"/>
                </a:cubicBezTo>
                <a:cubicBezTo>
                  <a:pt x="1465" y="119"/>
                  <a:pt x="1465" y="118"/>
                  <a:pt x="1464" y="118"/>
                </a:cubicBezTo>
                <a:cubicBezTo>
                  <a:pt x="1464" y="118"/>
                  <a:pt x="1464" y="117"/>
                  <a:pt x="1463" y="117"/>
                </a:cubicBezTo>
                <a:cubicBezTo>
                  <a:pt x="1463" y="117"/>
                  <a:pt x="1463" y="117"/>
                  <a:pt x="1462" y="117"/>
                </a:cubicBezTo>
                <a:cubicBezTo>
                  <a:pt x="1462" y="116"/>
                  <a:pt x="1461" y="115"/>
                  <a:pt x="1461" y="115"/>
                </a:cubicBezTo>
                <a:cubicBezTo>
                  <a:pt x="1460" y="115"/>
                  <a:pt x="1460" y="116"/>
                  <a:pt x="1459" y="115"/>
                </a:cubicBezTo>
                <a:cubicBezTo>
                  <a:pt x="1458" y="114"/>
                  <a:pt x="1458" y="115"/>
                  <a:pt x="1457" y="115"/>
                </a:cubicBezTo>
                <a:cubicBezTo>
                  <a:pt x="1457" y="115"/>
                  <a:pt x="1456" y="115"/>
                  <a:pt x="1456" y="115"/>
                </a:cubicBezTo>
                <a:cubicBezTo>
                  <a:pt x="1456" y="116"/>
                  <a:pt x="1455" y="116"/>
                  <a:pt x="1454" y="116"/>
                </a:cubicBezTo>
                <a:cubicBezTo>
                  <a:pt x="1454" y="117"/>
                  <a:pt x="1453" y="118"/>
                  <a:pt x="1452" y="118"/>
                </a:cubicBezTo>
                <a:cubicBezTo>
                  <a:pt x="1452" y="118"/>
                  <a:pt x="1451" y="118"/>
                  <a:pt x="1451" y="118"/>
                </a:cubicBezTo>
                <a:cubicBezTo>
                  <a:pt x="1450" y="119"/>
                  <a:pt x="1450" y="119"/>
                  <a:pt x="1449" y="119"/>
                </a:cubicBezTo>
                <a:cubicBezTo>
                  <a:pt x="1449" y="118"/>
                  <a:pt x="1449" y="117"/>
                  <a:pt x="1449" y="116"/>
                </a:cubicBezTo>
                <a:cubicBezTo>
                  <a:pt x="1449" y="115"/>
                  <a:pt x="1448" y="115"/>
                  <a:pt x="1448" y="114"/>
                </a:cubicBezTo>
                <a:cubicBezTo>
                  <a:pt x="1448" y="114"/>
                  <a:pt x="1448" y="113"/>
                  <a:pt x="1448" y="113"/>
                </a:cubicBezTo>
                <a:cubicBezTo>
                  <a:pt x="1448" y="113"/>
                  <a:pt x="1447" y="113"/>
                  <a:pt x="1447" y="113"/>
                </a:cubicBezTo>
                <a:cubicBezTo>
                  <a:pt x="1446" y="112"/>
                  <a:pt x="1446" y="115"/>
                  <a:pt x="1445" y="115"/>
                </a:cubicBezTo>
                <a:cubicBezTo>
                  <a:pt x="1445" y="115"/>
                  <a:pt x="1445" y="117"/>
                  <a:pt x="1445" y="117"/>
                </a:cubicBezTo>
                <a:cubicBezTo>
                  <a:pt x="1446" y="118"/>
                  <a:pt x="1445" y="118"/>
                  <a:pt x="1444" y="119"/>
                </a:cubicBezTo>
                <a:cubicBezTo>
                  <a:pt x="1444" y="119"/>
                  <a:pt x="1444" y="120"/>
                  <a:pt x="1444" y="121"/>
                </a:cubicBezTo>
                <a:cubicBezTo>
                  <a:pt x="1444" y="122"/>
                  <a:pt x="1444" y="123"/>
                  <a:pt x="1443" y="124"/>
                </a:cubicBezTo>
                <a:cubicBezTo>
                  <a:pt x="1442" y="125"/>
                  <a:pt x="1440" y="128"/>
                  <a:pt x="1439" y="127"/>
                </a:cubicBezTo>
                <a:cubicBezTo>
                  <a:pt x="1439" y="126"/>
                  <a:pt x="1439" y="126"/>
                  <a:pt x="1439" y="125"/>
                </a:cubicBezTo>
                <a:cubicBezTo>
                  <a:pt x="1440" y="124"/>
                  <a:pt x="1440" y="124"/>
                  <a:pt x="1440" y="123"/>
                </a:cubicBezTo>
                <a:cubicBezTo>
                  <a:pt x="1439" y="123"/>
                  <a:pt x="1439" y="123"/>
                  <a:pt x="1439" y="124"/>
                </a:cubicBezTo>
                <a:cubicBezTo>
                  <a:pt x="1438" y="123"/>
                  <a:pt x="1438" y="123"/>
                  <a:pt x="1437" y="123"/>
                </a:cubicBezTo>
                <a:cubicBezTo>
                  <a:pt x="1436" y="123"/>
                  <a:pt x="1436" y="122"/>
                  <a:pt x="1436" y="122"/>
                </a:cubicBezTo>
                <a:cubicBezTo>
                  <a:pt x="1435" y="121"/>
                  <a:pt x="1433" y="122"/>
                  <a:pt x="1432" y="122"/>
                </a:cubicBezTo>
                <a:cubicBezTo>
                  <a:pt x="1432" y="121"/>
                  <a:pt x="1432" y="121"/>
                  <a:pt x="1431" y="121"/>
                </a:cubicBezTo>
                <a:cubicBezTo>
                  <a:pt x="1431" y="121"/>
                  <a:pt x="1430" y="119"/>
                  <a:pt x="1430" y="119"/>
                </a:cubicBezTo>
                <a:cubicBezTo>
                  <a:pt x="1429" y="119"/>
                  <a:pt x="1428" y="120"/>
                  <a:pt x="1427" y="119"/>
                </a:cubicBezTo>
                <a:cubicBezTo>
                  <a:pt x="1427" y="118"/>
                  <a:pt x="1429" y="117"/>
                  <a:pt x="1430" y="117"/>
                </a:cubicBezTo>
                <a:cubicBezTo>
                  <a:pt x="1430" y="116"/>
                  <a:pt x="1429" y="115"/>
                  <a:pt x="1428" y="115"/>
                </a:cubicBezTo>
                <a:cubicBezTo>
                  <a:pt x="1428" y="116"/>
                  <a:pt x="1429" y="116"/>
                  <a:pt x="1428" y="117"/>
                </a:cubicBezTo>
                <a:cubicBezTo>
                  <a:pt x="1428" y="117"/>
                  <a:pt x="1427" y="117"/>
                  <a:pt x="1426" y="117"/>
                </a:cubicBezTo>
                <a:cubicBezTo>
                  <a:pt x="1426" y="116"/>
                  <a:pt x="1426" y="115"/>
                  <a:pt x="1425" y="114"/>
                </a:cubicBezTo>
                <a:cubicBezTo>
                  <a:pt x="1425" y="114"/>
                  <a:pt x="1424" y="114"/>
                  <a:pt x="1424" y="114"/>
                </a:cubicBezTo>
                <a:cubicBezTo>
                  <a:pt x="1424" y="113"/>
                  <a:pt x="1424" y="114"/>
                  <a:pt x="1423" y="114"/>
                </a:cubicBezTo>
                <a:cubicBezTo>
                  <a:pt x="1423" y="113"/>
                  <a:pt x="1421" y="111"/>
                  <a:pt x="1420" y="111"/>
                </a:cubicBezTo>
                <a:cubicBezTo>
                  <a:pt x="1419" y="112"/>
                  <a:pt x="1419" y="112"/>
                  <a:pt x="1419" y="113"/>
                </a:cubicBezTo>
                <a:cubicBezTo>
                  <a:pt x="1419" y="114"/>
                  <a:pt x="1419" y="115"/>
                  <a:pt x="1420" y="115"/>
                </a:cubicBezTo>
                <a:cubicBezTo>
                  <a:pt x="1420" y="116"/>
                  <a:pt x="1420" y="116"/>
                  <a:pt x="1419" y="116"/>
                </a:cubicBezTo>
                <a:cubicBezTo>
                  <a:pt x="1419" y="116"/>
                  <a:pt x="1419" y="115"/>
                  <a:pt x="1418" y="114"/>
                </a:cubicBezTo>
                <a:cubicBezTo>
                  <a:pt x="1418" y="114"/>
                  <a:pt x="1418" y="114"/>
                  <a:pt x="1418" y="113"/>
                </a:cubicBezTo>
                <a:cubicBezTo>
                  <a:pt x="1418" y="113"/>
                  <a:pt x="1418" y="113"/>
                  <a:pt x="1418" y="113"/>
                </a:cubicBezTo>
                <a:cubicBezTo>
                  <a:pt x="1417" y="113"/>
                  <a:pt x="1417" y="112"/>
                  <a:pt x="1416" y="112"/>
                </a:cubicBezTo>
                <a:cubicBezTo>
                  <a:pt x="1416" y="112"/>
                  <a:pt x="1415" y="112"/>
                  <a:pt x="1415" y="112"/>
                </a:cubicBezTo>
                <a:cubicBezTo>
                  <a:pt x="1415" y="111"/>
                  <a:pt x="1414" y="112"/>
                  <a:pt x="1414" y="112"/>
                </a:cubicBezTo>
                <a:cubicBezTo>
                  <a:pt x="1414" y="112"/>
                  <a:pt x="1414" y="111"/>
                  <a:pt x="1414" y="111"/>
                </a:cubicBezTo>
                <a:cubicBezTo>
                  <a:pt x="1413" y="111"/>
                  <a:pt x="1413" y="111"/>
                  <a:pt x="1413" y="111"/>
                </a:cubicBezTo>
                <a:cubicBezTo>
                  <a:pt x="1412" y="111"/>
                  <a:pt x="1413" y="111"/>
                  <a:pt x="1412" y="111"/>
                </a:cubicBezTo>
                <a:cubicBezTo>
                  <a:pt x="1412" y="111"/>
                  <a:pt x="1411" y="111"/>
                  <a:pt x="1410" y="110"/>
                </a:cubicBezTo>
                <a:cubicBezTo>
                  <a:pt x="1410" y="110"/>
                  <a:pt x="1409" y="109"/>
                  <a:pt x="1409" y="109"/>
                </a:cubicBezTo>
                <a:cubicBezTo>
                  <a:pt x="1408" y="109"/>
                  <a:pt x="1407" y="109"/>
                  <a:pt x="1408" y="109"/>
                </a:cubicBezTo>
                <a:cubicBezTo>
                  <a:pt x="1409" y="109"/>
                  <a:pt x="1409" y="107"/>
                  <a:pt x="1410" y="107"/>
                </a:cubicBezTo>
                <a:cubicBezTo>
                  <a:pt x="1409" y="107"/>
                  <a:pt x="1407" y="106"/>
                  <a:pt x="1407" y="107"/>
                </a:cubicBezTo>
                <a:cubicBezTo>
                  <a:pt x="1407" y="107"/>
                  <a:pt x="1405" y="107"/>
                  <a:pt x="1405" y="106"/>
                </a:cubicBezTo>
                <a:cubicBezTo>
                  <a:pt x="1404" y="106"/>
                  <a:pt x="1403" y="106"/>
                  <a:pt x="1403" y="107"/>
                </a:cubicBezTo>
                <a:cubicBezTo>
                  <a:pt x="1403" y="107"/>
                  <a:pt x="1403" y="108"/>
                  <a:pt x="1403" y="108"/>
                </a:cubicBezTo>
                <a:cubicBezTo>
                  <a:pt x="1402" y="108"/>
                  <a:pt x="1401" y="108"/>
                  <a:pt x="1400" y="108"/>
                </a:cubicBezTo>
                <a:cubicBezTo>
                  <a:pt x="1399" y="108"/>
                  <a:pt x="1400" y="108"/>
                  <a:pt x="1399" y="108"/>
                </a:cubicBezTo>
                <a:cubicBezTo>
                  <a:pt x="1399" y="108"/>
                  <a:pt x="1398" y="108"/>
                  <a:pt x="1398" y="108"/>
                </a:cubicBezTo>
                <a:cubicBezTo>
                  <a:pt x="1397" y="107"/>
                  <a:pt x="1397" y="107"/>
                  <a:pt x="1396" y="106"/>
                </a:cubicBezTo>
                <a:cubicBezTo>
                  <a:pt x="1396" y="106"/>
                  <a:pt x="1396" y="107"/>
                  <a:pt x="1396" y="106"/>
                </a:cubicBezTo>
                <a:cubicBezTo>
                  <a:pt x="1395" y="106"/>
                  <a:pt x="1395" y="106"/>
                  <a:pt x="1394" y="106"/>
                </a:cubicBezTo>
                <a:cubicBezTo>
                  <a:pt x="1394" y="106"/>
                  <a:pt x="1394" y="106"/>
                  <a:pt x="1394" y="106"/>
                </a:cubicBezTo>
                <a:cubicBezTo>
                  <a:pt x="1393" y="106"/>
                  <a:pt x="1393" y="106"/>
                  <a:pt x="1393" y="106"/>
                </a:cubicBezTo>
                <a:cubicBezTo>
                  <a:pt x="1393" y="106"/>
                  <a:pt x="1393" y="105"/>
                  <a:pt x="1392" y="105"/>
                </a:cubicBezTo>
                <a:cubicBezTo>
                  <a:pt x="1392" y="105"/>
                  <a:pt x="1392" y="105"/>
                  <a:pt x="1392" y="105"/>
                </a:cubicBezTo>
                <a:cubicBezTo>
                  <a:pt x="1391" y="105"/>
                  <a:pt x="1391" y="105"/>
                  <a:pt x="1391" y="106"/>
                </a:cubicBezTo>
                <a:cubicBezTo>
                  <a:pt x="1389" y="105"/>
                  <a:pt x="1388" y="105"/>
                  <a:pt x="1386" y="105"/>
                </a:cubicBezTo>
                <a:cubicBezTo>
                  <a:pt x="1386" y="105"/>
                  <a:pt x="1386" y="106"/>
                  <a:pt x="1386" y="106"/>
                </a:cubicBezTo>
                <a:cubicBezTo>
                  <a:pt x="1385" y="106"/>
                  <a:pt x="1384" y="105"/>
                  <a:pt x="1383" y="104"/>
                </a:cubicBezTo>
                <a:cubicBezTo>
                  <a:pt x="1383" y="104"/>
                  <a:pt x="1382" y="104"/>
                  <a:pt x="1382" y="104"/>
                </a:cubicBezTo>
                <a:cubicBezTo>
                  <a:pt x="1381" y="104"/>
                  <a:pt x="1382" y="104"/>
                  <a:pt x="1381" y="103"/>
                </a:cubicBezTo>
                <a:cubicBezTo>
                  <a:pt x="1380" y="103"/>
                  <a:pt x="1379" y="103"/>
                  <a:pt x="1379" y="103"/>
                </a:cubicBezTo>
                <a:cubicBezTo>
                  <a:pt x="1379" y="103"/>
                  <a:pt x="1379" y="103"/>
                  <a:pt x="1378" y="103"/>
                </a:cubicBezTo>
                <a:cubicBezTo>
                  <a:pt x="1378" y="101"/>
                  <a:pt x="1378" y="103"/>
                  <a:pt x="1377" y="102"/>
                </a:cubicBezTo>
                <a:cubicBezTo>
                  <a:pt x="1377" y="102"/>
                  <a:pt x="1377" y="102"/>
                  <a:pt x="1377" y="102"/>
                </a:cubicBezTo>
                <a:cubicBezTo>
                  <a:pt x="1376" y="101"/>
                  <a:pt x="1378" y="101"/>
                  <a:pt x="1378" y="101"/>
                </a:cubicBezTo>
                <a:cubicBezTo>
                  <a:pt x="1378" y="100"/>
                  <a:pt x="1378" y="99"/>
                  <a:pt x="1378" y="99"/>
                </a:cubicBezTo>
                <a:cubicBezTo>
                  <a:pt x="1378" y="97"/>
                  <a:pt x="1378" y="97"/>
                  <a:pt x="1376" y="97"/>
                </a:cubicBezTo>
                <a:cubicBezTo>
                  <a:pt x="1376" y="97"/>
                  <a:pt x="1376" y="97"/>
                  <a:pt x="1376" y="97"/>
                </a:cubicBezTo>
                <a:cubicBezTo>
                  <a:pt x="1375" y="98"/>
                  <a:pt x="1376" y="97"/>
                  <a:pt x="1375" y="97"/>
                </a:cubicBezTo>
                <a:cubicBezTo>
                  <a:pt x="1374" y="97"/>
                  <a:pt x="1373" y="97"/>
                  <a:pt x="1373" y="97"/>
                </a:cubicBezTo>
                <a:cubicBezTo>
                  <a:pt x="1372" y="97"/>
                  <a:pt x="1371" y="98"/>
                  <a:pt x="1370" y="97"/>
                </a:cubicBezTo>
                <a:cubicBezTo>
                  <a:pt x="1369" y="97"/>
                  <a:pt x="1369" y="96"/>
                  <a:pt x="1368" y="96"/>
                </a:cubicBezTo>
                <a:cubicBezTo>
                  <a:pt x="1368" y="97"/>
                  <a:pt x="1366" y="97"/>
                  <a:pt x="1366" y="96"/>
                </a:cubicBezTo>
                <a:cubicBezTo>
                  <a:pt x="1366" y="96"/>
                  <a:pt x="1364" y="96"/>
                  <a:pt x="1363" y="95"/>
                </a:cubicBezTo>
                <a:cubicBezTo>
                  <a:pt x="1361" y="95"/>
                  <a:pt x="1361" y="97"/>
                  <a:pt x="1359" y="97"/>
                </a:cubicBezTo>
                <a:cubicBezTo>
                  <a:pt x="1359" y="98"/>
                  <a:pt x="1358" y="98"/>
                  <a:pt x="1358" y="99"/>
                </a:cubicBezTo>
                <a:cubicBezTo>
                  <a:pt x="1357" y="99"/>
                  <a:pt x="1357" y="98"/>
                  <a:pt x="1357" y="99"/>
                </a:cubicBezTo>
                <a:cubicBezTo>
                  <a:pt x="1357" y="99"/>
                  <a:pt x="1355" y="100"/>
                  <a:pt x="1355" y="100"/>
                </a:cubicBezTo>
                <a:cubicBezTo>
                  <a:pt x="1355" y="101"/>
                  <a:pt x="1354" y="101"/>
                  <a:pt x="1354" y="102"/>
                </a:cubicBezTo>
                <a:cubicBezTo>
                  <a:pt x="1354" y="103"/>
                  <a:pt x="1354" y="103"/>
                  <a:pt x="1355" y="103"/>
                </a:cubicBezTo>
                <a:cubicBezTo>
                  <a:pt x="1356" y="103"/>
                  <a:pt x="1356" y="104"/>
                  <a:pt x="1356" y="105"/>
                </a:cubicBezTo>
                <a:cubicBezTo>
                  <a:pt x="1356" y="105"/>
                  <a:pt x="1356" y="105"/>
                  <a:pt x="1356" y="105"/>
                </a:cubicBezTo>
                <a:cubicBezTo>
                  <a:pt x="1356" y="106"/>
                  <a:pt x="1356" y="105"/>
                  <a:pt x="1355" y="106"/>
                </a:cubicBezTo>
                <a:cubicBezTo>
                  <a:pt x="1355" y="107"/>
                  <a:pt x="1353" y="108"/>
                  <a:pt x="1353" y="109"/>
                </a:cubicBezTo>
                <a:cubicBezTo>
                  <a:pt x="1353" y="109"/>
                  <a:pt x="1354" y="109"/>
                  <a:pt x="1353" y="110"/>
                </a:cubicBezTo>
                <a:cubicBezTo>
                  <a:pt x="1353" y="111"/>
                  <a:pt x="1352" y="108"/>
                  <a:pt x="1352" y="108"/>
                </a:cubicBezTo>
                <a:cubicBezTo>
                  <a:pt x="1353" y="108"/>
                  <a:pt x="1353" y="107"/>
                  <a:pt x="1353" y="107"/>
                </a:cubicBezTo>
                <a:cubicBezTo>
                  <a:pt x="1354" y="107"/>
                  <a:pt x="1354" y="106"/>
                  <a:pt x="1354" y="106"/>
                </a:cubicBezTo>
                <a:cubicBezTo>
                  <a:pt x="1354" y="106"/>
                  <a:pt x="1353" y="106"/>
                  <a:pt x="1353" y="105"/>
                </a:cubicBezTo>
                <a:cubicBezTo>
                  <a:pt x="1353" y="105"/>
                  <a:pt x="1352" y="105"/>
                  <a:pt x="1353" y="105"/>
                </a:cubicBezTo>
                <a:cubicBezTo>
                  <a:pt x="1353" y="105"/>
                  <a:pt x="1353" y="105"/>
                  <a:pt x="1353" y="105"/>
                </a:cubicBezTo>
                <a:cubicBezTo>
                  <a:pt x="1353" y="104"/>
                  <a:pt x="1354" y="105"/>
                  <a:pt x="1354" y="105"/>
                </a:cubicBezTo>
                <a:cubicBezTo>
                  <a:pt x="1355" y="105"/>
                  <a:pt x="1355" y="103"/>
                  <a:pt x="1354" y="103"/>
                </a:cubicBezTo>
                <a:cubicBezTo>
                  <a:pt x="1353" y="102"/>
                  <a:pt x="1353" y="101"/>
                  <a:pt x="1354" y="100"/>
                </a:cubicBezTo>
                <a:cubicBezTo>
                  <a:pt x="1354" y="99"/>
                  <a:pt x="1354" y="98"/>
                  <a:pt x="1353" y="98"/>
                </a:cubicBezTo>
                <a:cubicBezTo>
                  <a:pt x="1353" y="98"/>
                  <a:pt x="1352" y="96"/>
                  <a:pt x="1352" y="97"/>
                </a:cubicBezTo>
                <a:cubicBezTo>
                  <a:pt x="1352" y="97"/>
                  <a:pt x="1352" y="98"/>
                  <a:pt x="1352" y="99"/>
                </a:cubicBezTo>
                <a:cubicBezTo>
                  <a:pt x="1352" y="100"/>
                  <a:pt x="1350" y="99"/>
                  <a:pt x="1349" y="99"/>
                </a:cubicBezTo>
                <a:cubicBezTo>
                  <a:pt x="1348" y="99"/>
                  <a:pt x="1348" y="99"/>
                  <a:pt x="1347" y="99"/>
                </a:cubicBezTo>
                <a:cubicBezTo>
                  <a:pt x="1346" y="99"/>
                  <a:pt x="1347" y="100"/>
                  <a:pt x="1346" y="100"/>
                </a:cubicBezTo>
                <a:cubicBezTo>
                  <a:pt x="1346" y="100"/>
                  <a:pt x="1346" y="99"/>
                  <a:pt x="1346" y="99"/>
                </a:cubicBezTo>
                <a:cubicBezTo>
                  <a:pt x="1345" y="99"/>
                  <a:pt x="1346" y="100"/>
                  <a:pt x="1345" y="99"/>
                </a:cubicBezTo>
                <a:cubicBezTo>
                  <a:pt x="1345" y="98"/>
                  <a:pt x="1344" y="97"/>
                  <a:pt x="1344" y="96"/>
                </a:cubicBezTo>
                <a:cubicBezTo>
                  <a:pt x="1343" y="96"/>
                  <a:pt x="1343" y="96"/>
                  <a:pt x="1343" y="96"/>
                </a:cubicBezTo>
                <a:cubicBezTo>
                  <a:pt x="1343" y="97"/>
                  <a:pt x="1343" y="97"/>
                  <a:pt x="1343" y="97"/>
                </a:cubicBezTo>
                <a:cubicBezTo>
                  <a:pt x="1342" y="97"/>
                  <a:pt x="1342" y="97"/>
                  <a:pt x="1342" y="96"/>
                </a:cubicBezTo>
                <a:cubicBezTo>
                  <a:pt x="1341" y="96"/>
                  <a:pt x="1341" y="96"/>
                  <a:pt x="1341" y="96"/>
                </a:cubicBezTo>
                <a:cubicBezTo>
                  <a:pt x="1340" y="95"/>
                  <a:pt x="1339" y="98"/>
                  <a:pt x="1338" y="99"/>
                </a:cubicBezTo>
                <a:cubicBezTo>
                  <a:pt x="1338" y="99"/>
                  <a:pt x="1338" y="98"/>
                  <a:pt x="1337" y="99"/>
                </a:cubicBezTo>
                <a:cubicBezTo>
                  <a:pt x="1337" y="100"/>
                  <a:pt x="1337" y="100"/>
                  <a:pt x="1337" y="100"/>
                </a:cubicBezTo>
                <a:cubicBezTo>
                  <a:pt x="1338" y="102"/>
                  <a:pt x="1339" y="102"/>
                  <a:pt x="1340" y="101"/>
                </a:cubicBezTo>
                <a:cubicBezTo>
                  <a:pt x="1340" y="102"/>
                  <a:pt x="1339" y="103"/>
                  <a:pt x="1338" y="103"/>
                </a:cubicBezTo>
                <a:cubicBezTo>
                  <a:pt x="1337" y="103"/>
                  <a:pt x="1336" y="102"/>
                  <a:pt x="1336" y="102"/>
                </a:cubicBezTo>
                <a:cubicBezTo>
                  <a:pt x="1336" y="102"/>
                  <a:pt x="1336" y="103"/>
                  <a:pt x="1336" y="103"/>
                </a:cubicBezTo>
                <a:cubicBezTo>
                  <a:pt x="1336" y="103"/>
                  <a:pt x="1336" y="103"/>
                  <a:pt x="1335" y="103"/>
                </a:cubicBezTo>
                <a:cubicBezTo>
                  <a:pt x="1335" y="104"/>
                  <a:pt x="1335" y="104"/>
                  <a:pt x="1334" y="104"/>
                </a:cubicBezTo>
                <a:cubicBezTo>
                  <a:pt x="1333" y="105"/>
                  <a:pt x="1331" y="105"/>
                  <a:pt x="1331" y="106"/>
                </a:cubicBezTo>
                <a:cubicBezTo>
                  <a:pt x="1330" y="106"/>
                  <a:pt x="1329" y="105"/>
                  <a:pt x="1328" y="105"/>
                </a:cubicBezTo>
                <a:cubicBezTo>
                  <a:pt x="1327" y="106"/>
                  <a:pt x="1327" y="106"/>
                  <a:pt x="1326" y="106"/>
                </a:cubicBezTo>
                <a:cubicBezTo>
                  <a:pt x="1326" y="106"/>
                  <a:pt x="1325" y="106"/>
                  <a:pt x="1325" y="106"/>
                </a:cubicBezTo>
                <a:cubicBezTo>
                  <a:pt x="1324" y="106"/>
                  <a:pt x="1325" y="106"/>
                  <a:pt x="1325" y="106"/>
                </a:cubicBezTo>
                <a:cubicBezTo>
                  <a:pt x="1324" y="106"/>
                  <a:pt x="1324" y="106"/>
                  <a:pt x="1324" y="106"/>
                </a:cubicBezTo>
                <a:cubicBezTo>
                  <a:pt x="1324" y="107"/>
                  <a:pt x="1324" y="107"/>
                  <a:pt x="1323" y="107"/>
                </a:cubicBezTo>
                <a:cubicBezTo>
                  <a:pt x="1322" y="108"/>
                  <a:pt x="1322" y="108"/>
                  <a:pt x="1321" y="108"/>
                </a:cubicBezTo>
                <a:cubicBezTo>
                  <a:pt x="1320" y="108"/>
                  <a:pt x="1321" y="108"/>
                  <a:pt x="1321" y="108"/>
                </a:cubicBezTo>
                <a:cubicBezTo>
                  <a:pt x="1320" y="109"/>
                  <a:pt x="1319" y="108"/>
                  <a:pt x="1318" y="108"/>
                </a:cubicBezTo>
                <a:cubicBezTo>
                  <a:pt x="1318" y="108"/>
                  <a:pt x="1314" y="109"/>
                  <a:pt x="1313" y="109"/>
                </a:cubicBezTo>
                <a:cubicBezTo>
                  <a:pt x="1313" y="108"/>
                  <a:pt x="1317" y="108"/>
                  <a:pt x="1317" y="108"/>
                </a:cubicBezTo>
                <a:cubicBezTo>
                  <a:pt x="1319" y="107"/>
                  <a:pt x="1320" y="107"/>
                  <a:pt x="1322" y="106"/>
                </a:cubicBezTo>
                <a:cubicBezTo>
                  <a:pt x="1323" y="106"/>
                  <a:pt x="1323" y="104"/>
                  <a:pt x="1324" y="104"/>
                </a:cubicBezTo>
                <a:cubicBezTo>
                  <a:pt x="1325" y="103"/>
                  <a:pt x="1326" y="103"/>
                  <a:pt x="1327" y="103"/>
                </a:cubicBezTo>
                <a:cubicBezTo>
                  <a:pt x="1328" y="103"/>
                  <a:pt x="1328" y="102"/>
                  <a:pt x="1329" y="102"/>
                </a:cubicBezTo>
                <a:cubicBezTo>
                  <a:pt x="1329" y="102"/>
                  <a:pt x="1329" y="102"/>
                  <a:pt x="1329" y="102"/>
                </a:cubicBezTo>
                <a:cubicBezTo>
                  <a:pt x="1329" y="102"/>
                  <a:pt x="1331" y="102"/>
                  <a:pt x="1331" y="101"/>
                </a:cubicBezTo>
                <a:cubicBezTo>
                  <a:pt x="1331" y="101"/>
                  <a:pt x="1333" y="100"/>
                  <a:pt x="1333" y="100"/>
                </a:cubicBezTo>
                <a:cubicBezTo>
                  <a:pt x="1333" y="99"/>
                  <a:pt x="1333" y="99"/>
                  <a:pt x="1333" y="99"/>
                </a:cubicBezTo>
                <a:cubicBezTo>
                  <a:pt x="1334" y="98"/>
                  <a:pt x="1335" y="98"/>
                  <a:pt x="1335" y="98"/>
                </a:cubicBezTo>
                <a:cubicBezTo>
                  <a:pt x="1335" y="97"/>
                  <a:pt x="1336" y="96"/>
                  <a:pt x="1335" y="96"/>
                </a:cubicBezTo>
                <a:cubicBezTo>
                  <a:pt x="1335" y="95"/>
                  <a:pt x="1335" y="95"/>
                  <a:pt x="1335" y="95"/>
                </a:cubicBezTo>
                <a:cubicBezTo>
                  <a:pt x="1335" y="95"/>
                  <a:pt x="1336" y="95"/>
                  <a:pt x="1336" y="95"/>
                </a:cubicBezTo>
                <a:cubicBezTo>
                  <a:pt x="1336" y="95"/>
                  <a:pt x="1336" y="94"/>
                  <a:pt x="1337" y="93"/>
                </a:cubicBezTo>
                <a:cubicBezTo>
                  <a:pt x="1337" y="92"/>
                  <a:pt x="1338" y="92"/>
                  <a:pt x="1339" y="92"/>
                </a:cubicBezTo>
                <a:cubicBezTo>
                  <a:pt x="1340" y="92"/>
                  <a:pt x="1341" y="92"/>
                  <a:pt x="1342" y="92"/>
                </a:cubicBezTo>
                <a:cubicBezTo>
                  <a:pt x="1342" y="91"/>
                  <a:pt x="1342" y="91"/>
                  <a:pt x="1343" y="91"/>
                </a:cubicBezTo>
                <a:cubicBezTo>
                  <a:pt x="1344" y="91"/>
                  <a:pt x="1343" y="91"/>
                  <a:pt x="1344" y="91"/>
                </a:cubicBezTo>
                <a:cubicBezTo>
                  <a:pt x="1344" y="91"/>
                  <a:pt x="1344" y="91"/>
                  <a:pt x="1344" y="91"/>
                </a:cubicBezTo>
                <a:cubicBezTo>
                  <a:pt x="1345" y="91"/>
                  <a:pt x="1345" y="90"/>
                  <a:pt x="1346" y="90"/>
                </a:cubicBezTo>
                <a:cubicBezTo>
                  <a:pt x="1347" y="90"/>
                  <a:pt x="1348" y="90"/>
                  <a:pt x="1350" y="90"/>
                </a:cubicBezTo>
                <a:cubicBezTo>
                  <a:pt x="1350" y="90"/>
                  <a:pt x="1349" y="90"/>
                  <a:pt x="1350" y="90"/>
                </a:cubicBezTo>
                <a:cubicBezTo>
                  <a:pt x="1351" y="90"/>
                  <a:pt x="1350" y="89"/>
                  <a:pt x="1351" y="89"/>
                </a:cubicBezTo>
                <a:cubicBezTo>
                  <a:pt x="1352" y="89"/>
                  <a:pt x="1351" y="89"/>
                  <a:pt x="1352" y="89"/>
                </a:cubicBezTo>
                <a:cubicBezTo>
                  <a:pt x="1354" y="89"/>
                  <a:pt x="1355" y="89"/>
                  <a:pt x="1356" y="88"/>
                </a:cubicBezTo>
                <a:cubicBezTo>
                  <a:pt x="1357" y="87"/>
                  <a:pt x="1358" y="88"/>
                  <a:pt x="1358" y="86"/>
                </a:cubicBezTo>
                <a:cubicBezTo>
                  <a:pt x="1357" y="85"/>
                  <a:pt x="1356" y="84"/>
                  <a:pt x="1356" y="83"/>
                </a:cubicBezTo>
                <a:cubicBezTo>
                  <a:pt x="1354" y="83"/>
                  <a:pt x="1354" y="82"/>
                  <a:pt x="1354" y="81"/>
                </a:cubicBezTo>
                <a:cubicBezTo>
                  <a:pt x="1355" y="81"/>
                  <a:pt x="1356" y="82"/>
                  <a:pt x="1357" y="82"/>
                </a:cubicBezTo>
                <a:cubicBezTo>
                  <a:pt x="1358" y="82"/>
                  <a:pt x="1358" y="80"/>
                  <a:pt x="1358" y="79"/>
                </a:cubicBezTo>
                <a:cubicBezTo>
                  <a:pt x="1357" y="79"/>
                  <a:pt x="1358" y="78"/>
                  <a:pt x="1357" y="78"/>
                </a:cubicBezTo>
                <a:cubicBezTo>
                  <a:pt x="1356" y="78"/>
                  <a:pt x="1356" y="77"/>
                  <a:pt x="1355" y="76"/>
                </a:cubicBezTo>
                <a:cubicBezTo>
                  <a:pt x="1355" y="75"/>
                  <a:pt x="1355" y="74"/>
                  <a:pt x="1354" y="74"/>
                </a:cubicBezTo>
                <a:cubicBezTo>
                  <a:pt x="1353" y="73"/>
                  <a:pt x="1352" y="73"/>
                  <a:pt x="1351" y="73"/>
                </a:cubicBezTo>
                <a:cubicBezTo>
                  <a:pt x="1351" y="73"/>
                  <a:pt x="1351" y="73"/>
                  <a:pt x="1350" y="73"/>
                </a:cubicBezTo>
                <a:cubicBezTo>
                  <a:pt x="1349" y="73"/>
                  <a:pt x="1349" y="72"/>
                  <a:pt x="1349" y="71"/>
                </a:cubicBezTo>
                <a:cubicBezTo>
                  <a:pt x="1349" y="70"/>
                  <a:pt x="1349" y="70"/>
                  <a:pt x="1349" y="69"/>
                </a:cubicBezTo>
                <a:cubicBezTo>
                  <a:pt x="1348" y="69"/>
                  <a:pt x="1348" y="68"/>
                  <a:pt x="1347" y="68"/>
                </a:cubicBezTo>
                <a:cubicBezTo>
                  <a:pt x="1346" y="68"/>
                  <a:pt x="1347" y="68"/>
                  <a:pt x="1346" y="68"/>
                </a:cubicBezTo>
                <a:cubicBezTo>
                  <a:pt x="1346" y="68"/>
                  <a:pt x="1346" y="69"/>
                  <a:pt x="1345" y="69"/>
                </a:cubicBezTo>
                <a:cubicBezTo>
                  <a:pt x="1345" y="69"/>
                  <a:pt x="1344" y="68"/>
                  <a:pt x="1343" y="69"/>
                </a:cubicBezTo>
                <a:cubicBezTo>
                  <a:pt x="1343" y="69"/>
                  <a:pt x="1344" y="69"/>
                  <a:pt x="1343" y="69"/>
                </a:cubicBezTo>
                <a:cubicBezTo>
                  <a:pt x="1342" y="69"/>
                  <a:pt x="1341" y="70"/>
                  <a:pt x="1341" y="69"/>
                </a:cubicBezTo>
                <a:cubicBezTo>
                  <a:pt x="1340" y="68"/>
                  <a:pt x="1340" y="68"/>
                  <a:pt x="1339" y="68"/>
                </a:cubicBezTo>
                <a:cubicBezTo>
                  <a:pt x="1338" y="69"/>
                  <a:pt x="1337" y="69"/>
                  <a:pt x="1336" y="69"/>
                </a:cubicBezTo>
                <a:cubicBezTo>
                  <a:pt x="1335" y="70"/>
                  <a:pt x="1333" y="70"/>
                  <a:pt x="1332" y="70"/>
                </a:cubicBezTo>
                <a:cubicBezTo>
                  <a:pt x="1331" y="71"/>
                  <a:pt x="1330" y="73"/>
                  <a:pt x="1329" y="73"/>
                </a:cubicBezTo>
                <a:cubicBezTo>
                  <a:pt x="1328" y="73"/>
                  <a:pt x="1327" y="73"/>
                  <a:pt x="1326" y="73"/>
                </a:cubicBezTo>
                <a:cubicBezTo>
                  <a:pt x="1326" y="73"/>
                  <a:pt x="1326" y="73"/>
                  <a:pt x="1326" y="72"/>
                </a:cubicBezTo>
                <a:cubicBezTo>
                  <a:pt x="1327" y="71"/>
                  <a:pt x="1327" y="72"/>
                  <a:pt x="1327" y="72"/>
                </a:cubicBezTo>
                <a:cubicBezTo>
                  <a:pt x="1327" y="71"/>
                  <a:pt x="1327" y="70"/>
                  <a:pt x="1328" y="70"/>
                </a:cubicBezTo>
                <a:cubicBezTo>
                  <a:pt x="1328" y="67"/>
                  <a:pt x="1323" y="69"/>
                  <a:pt x="1324" y="67"/>
                </a:cubicBezTo>
                <a:cubicBezTo>
                  <a:pt x="1323" y="67"/>
                  <a:pt x="1322" y="68"/>
                  <a:pt x="1321" y="68"/>
                </a:cubicBezTo>
                <a:cubicBezTo>
                  <a:pt x="1321" y="68"/>
                  <a:pt x="1320" y="68"/>
                  <a:pt x="1320" y="68"/>
                </a:cubicBezTo>
                <a:cubicBezTo>
                  <a:pt x="1320" y="68"/>
                  <a:pt x="1320" y="68"/>
                  <a:pt x="1319" y="68"/>
                </a:cubicBezTo>
                <a:cubicBezTo>
                  <a:pt x="1319" y="68"/>
                  <a:pt x="1320" y="68"/>
                  <a:pt x="1320" y="67"/>
                </a:cubicBezTo>
                <a:cubicBezTo>
                  <a:pt x="1320" y="67"/>
                  <a:pt x="1320" y="67"/>
                  <a:pt x="1320" y="67"/>
                </a:cubicBezTo>
                <a:cubicBezTo>
                  <a:pt x="1320" y="67"/>
                  <a:pt x="1320" y="67"/>
                  <a:pt x="1320" y="67"/>
                </a:cubicBezTo>
                <a:cubicBezTo>
                  <a:pt x="1319" y="67"/>
                  <a:pt x="1319" y="67"/>
                  <a:pt x="1319" y="67"/>
                </a:cubicBezTo>
                <a:cubicBezTo>
                  <a:pt x="1319" y="67"/>
                  <a:pt x="1318" y="68"/>
                  <a:pt x="1318" y="67"/>
                </a:cubicBezTo>
                <a:cubicBezTo>
                  <a:pt x="1318" y="66"/>
                  <a:pt x="1319" y="66"/>
                  <a:pt x="1319" y="65"/>
                </a:cubicBezTo>
                <a:cubicBezTo>
                  <a:pt x="1320" y="65"/>
                  <a:pt x="1320" y="65"/>
                  <a:pt x="1321" y="65"/>
                </a:cubicBezTo>
                <a:cubicBezTo>
                  <a:pt x="1321" y="63"/>
                  <a:pt x="1319" y="63"/>
                  <a:pt x="1317" y="63"/>
                </a:cubicBezTo>
                <a:cubicBezTo>
                  <a:pt x="1317" y="63"/>
                  <a:pt x="1317" y="62"/>
                  <a:pt x="1317" y="61"/>
                </a:cubicBezTo>
                <a:cubicBezTo>
                  <a:pt x="1316" y="62"/>
                  <a:pt x="1315" y="62"/>
                  <a:pt x="1314" y="61"/>
                </a:cubicBezTo>
                <a:cubicBezTo>
                  <a:pt x="1313" y="61"/>
                  <a:pt x="1313" y="61"/>
                  <a:pt x="1312" y="61"/>
                </a:cubicBezTo>
                <a:cubicBezTo>
                  <a:pt x="1312" y="61"/>
                  <a:pt x="1312" y="61"/>
                  <a:pt x="1312" y="61"/>
                </a:cubicBezTo>
                <a:cubicBezTo>
                  <a:pt x="1311" y="61"/>
                  <a:pt x="1311" y="61"/>
                  <a:pt x="1311" y="61"/>
                </a:cubicBezTo>
                <a:cubicBezTo>
                  <a:pt x="1311" y="62"/>
                  <a:pt x="1311" y="62"/>
                  <a:pt x="1311" y="62"/>
                </a:cubicBezTo>
                <a:cubicBezTo>
                  <a:pt x="1311" y="63"/>
                  <a:pt x="1310" y="63"/>
                  <a:pt x="1309" y="63"/>
                </a:cubicBezTo>
                <a:cubicBezTo>
                  <a:pt x="1308" y="63"/>
                  <a:pt x="1308" y="63"/>
                  <a:pt x="1308" y="62"/>
                </a:cubicBezTo>
                <a:cubicBezTo>
                  <a:pt x="1307" y="62"/>
                  <a:pt x="1306" y="62"/>
                  <a:pt x="1306" y="62"/>
                </a:cubicBezTo>
                <a:cubicBezTo>
                  <a:pt x="1305" y="63"/>
                  <a:pt x="1302" y="63"/>
                  <a:pt x="1302" y="64"/>
                </a:cubicBezTo>
                <a:cubicBezTo>
                  <a:pt x="1302" y="64"/>
                  <a:pt x="1302" y="65"/>
                  <a:pt x="1302" y="65"/>
                </a:cubicBezTo>
                <a:cubicBezTo>
                  <a:pt x="1302" y="65"/>
                  <a:pt x="1302" y="66"/>
                  <a:pt x="1301" y="66"/>
                </a:cubicBezTo>
                <a:cubicBezTo>
                  <a:pt x="1301" y="66"/>
                  <a:pt x="1300" y="66"/>
                  <a:pt x="1300" y="67"/>
                </a:cubicBezTo>
                <a:cubicBezTo>
                  <a:pt x="1299" y="67"/>
                  <a:pt x="1299" y="68"/>
                  <a:pt x="1299" y="68"/>
                </a:cubicBezTo>
                <a:cubicBezTo>
                  <a:pt x="1299" y="68"/>
                  <a:pt x="1299" y="68"/>
                  <a:pt x="1298" y="68"/>
                </a:cubicBezTo>
                <a:cubicBezTo>
                  <a:pt x="1294" y="69"/>
                  <a:pt x="1301" y="72"/>
                  <a:pt x="1300" y="73"/>
                </a:cubicBezTo>
                <a:cubicBezTo>
                  <a:pt x="1299" y="73"/>
                  <a:pt x="1298" y="73"/>
                  <a:pt x="1297" y="72"/>
                </a:cubicBezTo>
                <a:cubicBezTo>
                  <a:pt x="1297" y="71"/>
                  <a:pt x="1296" y="71"/>
                  <a:pt x="1295" y="72"/>
                </a:cubicBezTo>
                <a:cubicBezTo>
                  <a:pt x="1295" y="72"/>
                  <a:pt x="1294" y="73"/>
                  <a:pt x="1294" y="72"/>
                </a:cubicBezTo>
                <a:cubicBezTo>
                  <a:pt x="1294" y="72"/>
                  <a:pt x="1291" y="72"/>
                  <a:pt x="1291" y="72"/>
                </a:cubicBezTo>
                <a:cubicBezTo>
                  <a:pt x="1291" y="72"/>
                  <a:pt x="1288" y="72"/>
                  <a:pt x="1288" y="73"/>
                </a:cubicBezTo>
                <a:cubicBezTo>
                  <a:pt x="1288" y="73"/>
                  <a:pt x="1288" y="73"/>
                  <a:pt x="1289" y="73"/>
                </a:cubicBezTo>
                <a:cubicBezTo>
                  <a:pt x="1289" y="73"/>
                  <a:pt x="1289" y="74"/>
                  <a:pt x="1289" y="74"/>
                </a:cubicBezTo>
                <a:cubicBezTo>
                  <a:pt x="1290" y="74"/>
                  <a:pt x="1290" y="74"/>
                  <a:pt x="1290" y="74"/>
                </a:cubicBezTo>
                <a:cubicBezTo>
                  <a:pt x="1290" y="75"/>
                  <a:pt x="1291" y="75"/>
                  <a:pt x="1291" y="75"/>
                </a:cubicBezTo>
                <a:cubicBezTo>
                  <a:pt x="1291" y="75"/>
                  <a:pt x="1291" y="76"/>
                  <a:pt x="1291" y="77"/>
                </a:cubicBezTo>
                <a:cubicBezTo>
                  <a:pt x="1291" y="77"/>
                  <a:pt x="1291" y="78"/>
                  <a:pt x="1291" y="78"/>
                </a:cubicBezTo>
                <a:cubicBezTo>
                  <a:pt x="1290" y="78"/>
                  <a:pt x="1290" y="78"/>
                  <a:pt x="1290" y="79"/>
                </a:cubicBezTo>
                <a:cubicBezTo>
                  <a:pt x="1290" y="79"/>
                  <a:pt x="1290" y="79"/>
                  <a:pt x="1290" y="79"/>
                </a:cubicBezTo>
                <a:cubicBezTo>
                  <a:pt x="1290" y="79"/>
                  <a:pt x="1290" y="78"/>
                  <a:pt x="1290" y="78"/>
                </a:cubicBezTo>
                <a:cubicBezTo>
                  <a:pt x="1290" y="77"/>
                  <a:pt x="1290" y="77"/>
                  <a:pt x="1290" y="76"/>
                </a:cubicBezTo>
                <a:cubicBezTo>
                  <a:pt x="1290" y="75"/>
                  <a:pt x="1289" y="75"/>
                  <a:pt x="1288" y="74"/>
                </a:cubicBezTo>
                <a:cubicBezTo>
                  <a:pt x="1287" y="74"/>
                  <a:pt x="1285" y="75"/>
                  <a:pt x="1285" y="76"/>
                </a:cubicBezTo>
                <a:cubicBezTo>
                  <a:pt x="1284" y="76"/>
                  <a:pt x="1284" y="78"/>
                  <a:pt x="1283" y="78"/>
                </a:cubicBezTo>
                <a:cubicBezTo>
                  <a:pt x="1283" y="78"/>
                  <a:pt x="1283" y="77"/>
                  <a:pt x="1283" y="78"/>
                </a:cubicBezTo>
                <a:cubicBezTo>
                  <a:pt x="1282" y="78"/>
                  <a:pt x="1282" y="78"/>
                  <a:pt x="1282" y="77"/>
                </a:cubicBezTo>
                <a:cubicBezTo>
                  <a:pt x="1281" y="77"/>
                  <a:pt x="1281" y="78"/>
                  <a:pt x="1281" y="78"/>
                </a:cubicBezTo>
                <a:cubicBezTo>
                  <a:pt x="1281" y="78"/>
                  <a:pt x="1280" y="79"/>
                  <a:pt x="1280" y="79"/>
                </a:cubicBezTo>
                <a:cubicBezTo>
                  <a:pt x="1280" y="78"/>
                  <a:pt x="1280" y="78"/>
                  <a:pt x="1279" y="77"/>
                </a:cubicBezTo>
                <a:cubicBezTo>
                  <a:pt x="1279" y="79"/>
                  <a:pt x="1278" y="79"/>
                  <a:pt x="1277" y="79"/>
                </a:cubicBezTo>
                <a:cubicBezTo>
                  <a:pt x="1276" y="79"/>
                  <a:pt x="1277" y="79"/>
                  <a:pt x="1276" y="79"/>
                </a:cubicBezTo>
                <a:cubicBezTo>
                  <a:pt x="1276" y="79"/>
                  <a:pt x="1275" y="80"/>
                  <a:pt x="1275" y="79"/>
                </a:cubicBezTo>
                <a:cubicBezTo>
                  <a:pt x="1275" y="79"/>
                  <a:pt x="1277" y="78"/>
                  <a:pt x="1276" y="78"/>
                </a:cubicBezTo>
                <a:cubicBezTo>
                  <a:pt x="1277" y="78"/>
                  <a:pt x="1277" y="78"/>
                  <a:pt x="1277" y="77"/>
                </a:cubicBezTo>
                <a:cubicBezTo>
                  <a:pt x="1277" y="77"/>
                  <a:pt x="1278" y="76"/>
                  <a:pt x="1278" y="76"/>
                </a:cubicBezTo>
                <a:cubicBezTo>
                  <a:pt x="1279" y="75"/>
                  <a:pt x="1274" y="74"/>
                  <a:pt x="1274" y="75"/>
                </a:cubicBezTo>
                <a:cubicBezTo>
                  <a:pt x="1274" y="75"/>
                  <a:pt x="1273" y="75"/>
                  <a:pt x="1272" y="75"/>
                </a:cubicBezTo>
                <a:cubicBezTo>
                  <a:pt x="1272" y="74"/>
                  <a:pt x="1272" y="74"/>
                  <a:pt x="1271" y="74"/>
                </a:cubicBezTo>
                <a:cubicBezTo>
                  <a:pt x="1271" y="75"/>
                  <a:pt x="1271" y="75"/>
                  <a:pt x="1271" y="76"/>
                </a:cubicBezTo>
                <a:cubicBezTo>
                  <a:pt x="1270" y="75"/>
                  <a:pt x="1269" y="74"/>
                  <a:pt x="1269" y="74"/>
                </a:cubicBezTo>
                <a:cubicBezTo>
                  <a:pt x="1268" y="74"/>
                  <a:pt x="1267" y="74"/>
                  <a:pt x="1267" y="75"/>
                </a:cubicBezTo>
                <a:cubicBezTo>
                  <a:pt x="1267" y="75"/>
                  <a:pt x="1266" y="75"/>
                  <a:pt x="1266" y="74"/>
                </a:cubicBezTo>
                <a:cubicBezTo>
                  <a:pt x="1266" y="75"/>
                  <a:pt x="1266" y="75"/>
                  <a:pt x="1266" y="76"/>
                </a:cubicBezTo>
                <a:cubicBezTo>
                  <a:pt x="1265" y="75"/>
                  <a:pt x="1265" y="75"/>
                  <a:pt x="1264" y="75"/>
                </a:cubicBezTo>
                <a:cubicBezTo>
                  <a:pt x="1264" y="75"/>
                  <a:pt x="1264" y="74"/>
                  <a:pt x="1264" y="74"/>
                </a:cubicBezTo>
                <a:cubicBezTo>
                  <a:pt x="1263" y="74"/>
                  <a:pt x="1264" y="75"/>
                  <a:pt x="1263" y="75"/>
                </a:cubicBezTo>
                <a:cubicBezTo>
                  <a:pt x="1262" y="75"/>
                  <a:pt x="1262" y="75"/>
                  <a:pt x="1262" y="76"/>
                </a:cubicBezTo>
                <a:cubicBezTo>
                  <a:pt x="1262" y="76"/>
                  <a:pt x="1262" y="76"/>
                  <a:pt x="1262" y="77"/>
                </a:cubicBezTo>
                <a:cubicBezTo>
                  <a:pt x="1260" y="77"/>
                  <a:pt x="1258" y="77"/>
                  <a:pt x="1255" y="77"/>
                </a:cubicBezTo>
                <a:cubicBezTo>
                  <a:pt x="1255" y="77"/>
                  <a:pt x="1255" y="77"/>
                  <a:pt x="1255" y="78"/>
                </a:cubicBezTo>
                <a:cubicBezTo>
                  <a:pt x="1255" y="78"/>
                  <a:pt x="1255" y="77"/>
                  <a:pt x="1254" y="78"/>
                </a:cubicBezTo>
                <a:cubicBezTo>
                  <a:pt x="1254" y="78"/>
                  <a:pt x="1255" y="78"/>
                  <a:pt x="1254" y="78"/>
                </a:cubicBezTo>
                <a:cubicBezTo>
                  <a:pt x="1254" y="78"/>
                  <a:pt x="1254" y="78"/>
                  <a:pt x="1253" y="78"/>
                </a:cubicBezTo>
                <a:cubicBezTo>
                  <a:pt x="1253" y="78"/>
                  <a:pt x="1251" y="78"/>
                  <a:pt x="1251" y="78"/>
                </a:cubicBezTo>
                <a:cubicBezTo>
                  <a:pt x="1251" y="79"/>
                  <a:pt x="1250" y="78"/>
                  <a:pt x="1250" y="78"/>
                </a:cubicBezTo>
                <a:cubicBezTo>
                  <a:pt x="1250" y="79"/>
                  <a:pt x="1248" y="79"/>
                  <a:pt x="1248" y="79"/>
                </a:cubicBezTo>
                <a:cubicBezTo>
                  <a:pt x="1247" y="78"/>
                  <a:pt x="1247" y="78"/>
                  <a:pt x="1246" y="78"/>
                </a:cubicBezTo>
                <a:cubicBezTo>
                  <a:pt x="1246" y="78"/>
                  <a:pt x="1246" y="79"/>
                  <a:pt x="1246" y="79"/>
                </a:cubicBezTo>
                <a:cubicBezTo>
                  <a:pt x="1244" y="79"/>
                  <a:pt x="1244" y="79"/>
                  <a:pt x="1243" y="80"/>
                </a:cubicBezTo>
                <a:cubicBezTo>
                  <a:pt x="1243" y="80"/>
                  <a:pt x="1242" y="80"/>
                  <a:pt x="1242" y="80"/>
                </a:cubicBezTo>
                <a:cubicBezTo>
                  <a:pt x="1242" y="80"/>
                  <a:pt x="1241" y="81"/>
                  <a:pt x="1241" y="81"/>
                </a:cubicBezTo>
                <a:cubicBezTo>
                  <a:pt x="1240" y="81"/>
                  <a:pt x="1240" y="81"/>
                  <a:pt x="1239" y="81"/>
                </a:cubicBezTo>
                <a:cubicBezTo>
                  <a:pt x="1238" y="81"/>
                  <a:pt x="1238" y="81"/>
                  <a:pt x="1238" y="81"/>
                </a:cubicBezTo>
                <a:cubicBezTo>
                  <a:pt x="1238" y="81"/>
                  <a:pt x="1237" y="81"/>
                  <a:pt x="1237" y="82"/>
                </a:cubicBezTo>
                <a:cubicBezTo>
                  <a:pt x="1237" y="82"/>
                  <a:pt x="1236" y="81"/>
                  <a:pt x="1236" y="81"/>
                </a:cubicBezTo>
                <a:cubicBezTo>
                  <a:pt x="1235" y="81"/>
                  <a:pt x="1236" y="82"/>
                  <a:pt x="1235" y="82"/>
                </a:cubicBezTo>
                <a:cubicBezTo>
                  <a:pt x="1235" y="82"/>
                  <a:pt x="1235" y="81"/>
                  <a:pt x="1235" y="81"/>
                </a:cubicBezTo>
                <a:cubicBezTo>
                  <a:pt x="1235" y="81"/>
                  <a:pt x="1233" y="81"/>
                  <a:pt x="1233" y="82"/>
                </a:cubicBezTo>
                <a:cubicBezTo>
                  <a:pt x="1233" y="82"/>
                  <a:pt x="1233" y="82"/>
                  <a:pt x="1234" y="82"/>
                </a:cubicBezTo>
                <a:cubicBezTo>
                  <a:pt x="1235" y="82"/>
                  <a:pt x="1235" y="83"/>
                  <a:pt x="1236" y="83"/>
                </a:cubicBezTo>
                <a:cubicBezTo>
                  <a:pt x="1236" y="83"/>
                  <a:pt x="1235" y="84"/>
                  <a:pt x="1235" y="84"/>
                </a:cubicBezTo>
                <a:cubicBezTo>
                  <a:pt x="1235" y="84"/>
                  <a:pt x="1234" y="84"/>
                  <a:pt x="1234" y="85"/>
                </a:cubicBezTo>
                <a:cubicBezTo>
                  <a:pt x="1234" y="85"/>
                  <a:pt x="1233" y="85"/>
                  <a:pt x="1233" y="85"/>
                </a:cubicBezTo>
                <a:cubicBezTo>
                  <a:pt x="1233" y="86"/>
                  <a:pt x="1233" y="86"/>
                  <a:pt x="1233" y="86"/>
                </a:cubicBezTo>
                <a:cubicBezTo>
                  <a:pt x="1233" y="87"/>
                  <a:pt x="1233" y="87"/>
                  <a:pt x="1233" y="88"/>
                </a:cubicBezTo>
                <a:cubicBezTo>
                  <a:pt x="1232" y="88"/>
                  <a:pt x="1232" y="87"/>
                  <a:pt x="1231" y="87"/>
                </a:cubicBezTo>
                <a:cubicBezTo>
                  <a:pt x="1230" y="87"/>
                  <a:pt x="1232" y="87"/>
                  <a:pt x="1230" y="86"/>
                </a:cubicBezTo>
                <a:cubicBezTo>
                  <a:pt x="1230" y="86"/>
                  <a:pt x="1230" y="86"/>
                  <a:pt x="1229" y="86"/>
                </a:cubicBezTo>
                <a:cubicBezTo>
                  <a:pt x="1229" y="86"/>
                  <a:pt x="1228" y="87"/>
                  <a:pt x="1228" y="88"/>
                </a:cubicBezTo>
                <a:cubicBezTo>
                  <a:pt x="1229" y="88"/>
                  <a:pt x="1230" y="88"/>
                  <a:pt x="1231" y="88"/>
                </a:cubicBezTo>
                <a:cubicBezTo>
                  <a:pt x="1231" y="89"/>
                  <a:pt x="1232" y="90"/>
                  <a:pt x="1232" y="90"/>
                </a:cubicBezTo>
                <a:cubicBezTo>
                  <a:pt x="1231" y="90"/>
                  <a:pt x="1231" y="90"/>
                  <a:pt x="1230" y="90"/>
                </a:cubicBezTo>
                <a:cubicBezTo>
                  <a:pt x="1230" y="90"/>
                  <a:pt x="1228" y="90"/>
                  <a:pt x="1228" y="91"/>
                </a:cubicBezTo>
                <a:cubicBezTo>
                  <a:pt x="1228" y="91"/>
                  <a:pt x="1228" y="91"/>
                  <a:pt x="1229" y="92"/>
                </a:cubicBezTo>
                <a:cubicBezTo>
                  <a:pt x="1229" y="92"/>
                  <a:pt x="1231" y="92"/>
                  <a:pt x="1231" y="93"/>
                </a:cubicBezTo>
                <a:cubicBezTo>
                  <a:pt x="1231" y="93"/>
                  <a:pt x="1231" y="94"/>
                  <a:pt x="1231" y="94"/>
                </a:cubicBezTo>
                <a:cubicBezTo>
                  <a:pt x="1232" y="95"/>
                  <a:pt x="1232" y="95"/>
                  <a:pt x="1232" y="96"/>
                </a:cubicBezTo>
                <a:cubicBezTo>
                  <a:pt x="1232" y="96"/>
                  <a:pt x="1233" y="96"/>
                  <a:pt x="1233" y="97"/>
                </a:cubicBezTo>
                <a:cubicBezTo>
                  <a:pt x="1233" y="97"/>
                  <a:pt x="1233" y="98"/>
                  <a:pt x="1233" y="99"/>
                </a:cubicBezTo>
                <a:cubicBezTo>
                  <a:pt x="1232" y="99"/>
                  <a:pt x="1230" y="99"/>
                  <a:pt x="1229" y="99"/>
                </a:cubicBezTo>
                <a:cubicBezTo>
                  <a:pt x="1230" y="98"/>
                  <a:pt x="1231" y="98"/>
                  <a:pt x="1231" y="97"/>
                </a:cubicBezTo>
                <a:cubicBezTo>
                  <a:pt x="1231" y="97"/>
                  <a:pt x="1230" y="96"/>
                  <a:pt x="1230" y="96"/>
                </a:cubicBezTo>
                <a:cubicBezTo>
                  <a:pt x="1230" y="96"/>
                  <a:pt x="1229" y="96"/>
                  <a:pt x="1230" y="96"/>
                </a:cubicBezTo>
                <a:cubicBezTo>
                  <a:pt x="1229" y="95"/>
                  <a:pt x="1228" y="96"/>
                  <a:pt x="1228" y="95"/>
                </a:cubicBezTo>
                <a:cubicBezTo>
                  <a:pt x="1228" y="95"/>
                  <a:pt x="1227" y="95"/>
                  <a:pt x="1226" y="96"/>
                </a:cubicBezTo>
                <a:cubicBezTo>
                  <a:pt x="1226" y="96"/>
                  <a:pt x="1227" y="96"/>
                  <a:pt x="1226" y="96"/>
                </a:cubicBezTo>
                <a:cubicBezTo>
                  <a:pt x="1225" y="96"/>
                  <a:pt x="1224" y="96"/>
                  <a:pt x="1224" y="96"/>
                </a:cubicBezTo>
                <a:cubicBezTo>
                  <a:pt x="1224" y="96"/>
                  <a:pt x="1223" y="96"/>
                  <a:pt x="1222" y="96"/>
                </a:cubicBezTo>
                <a:cubicBezTo>
                  <a:pt x="1222" y="97"/>
                  <a:pt x="1222" y="97"/>
                  <a:pt x="1221" y="97"/>
                </a:cubicBezTo>
                <a:cubicBezTo>
                  <a:pt x="1220" y="96"/>
                  <a:pt x="1219" y="95"/>
                  <a:pt x="1218" y="95"/>
                </a:cubicBezTo>
                <a:cubicBezTo>
                  <a:pt x="1217" y="95"/>
                  <a:pt x="1217" y="96"/>
                  <a:pt x="1216" y="96"/>
                </a:cubicBezTo>
                <a:cubicBezTo>
                  <a:pt x="1215" y="96"/>
                  <a:pt x="1216" y="96"/>
                  <a:pt x="1215" y="96"/>
                </a:cubicBezTo>
                <a:cubicBezTo>
                  <a:pt x="1215" y="96"/>
                  <a:pt x="1215" y="96"/>
                  <a:pt x="1215" y="97"/>
                </a:cubicBezTo>
                <a:cubicBezTo>
                  <a:pt x="1213" y="97"/>
                  <a:pt x="1212" y="96"/>
                  <a:pt x="1211" y="96"/>
                </a:cubicBezTo>
                <a:cubicBezTo>
                  <a:pt x="1211" y="97"/>
                  <a:pt x="1211" y="97"/>
                  <a:pt x="1210" y="97"/>
                </a:cubicBezTo>
                <a:cubicBezTo>
                  <a:pt x="1210" y="97"/>
                  <a:pt x="1210" y="97"/>
                  <a:pt x="1210" y="97"/>
                </a:cubicBezTo>
                <a:cubicBezTo>
                  <a:pt x="1209" y="97"/>
                  <a:pt x="1208" y="97"/>
                  <a:pt x="1207" y="97"/>
                </a:cubicBezTo>
                <a:cubicBezTo>
                  <a:pt x="1206" y="97"/>
                  <a:pt x="1207" y="97"/>
                  <a:pt x="1206" y="97"/>
                </a:cubicBezTo>
                <a:cubicBezTo>
                  <a:pt x="1205" y="98"/>
                  <a:pt x="1204" y="97"/>
                  <a:pt x="1204" y="98"/>
                </a:cubicBezTo>
                <a:cubicBezTo>
                  <a:pt x="1204" y="99"/>
                  <a:pt x="1204" y="99"/>
                  <a:pt x="1203" y="99"/>
                </a:cubicBezTo>
                <a:cubicBezTo>
                  <a:pt x="1203" y="100"/>
                  <a:pt x="1203" y="100"/>
                  <a:pt x="1203" y="100"/>
                </a:cubicBezTo>
                <a:cubicBezTo>
                  <a:pt x="1203" y="101"/>
                  <a:pt x="1203" y="101"/>
                  <a:pt x="1203" y="102"/>
                </a:cubicBezTo>
                <a:cubicBezTo>
                  <a:pt x="1202" y="102"/>
                  <a:pt x="1203" y="102"/>
                  <a:pt x="1203" y="103"/>
                </a:cubicBezTo>
                <a:cubicBezTo>
                  <a:pt x="1203" y="103"/>
                  <a:pt x="1202" y="103"/>
                  <a:pt x="1202" y="103"/>
                </a:cubicBezTo>
                <a:cubicBezTo>
                  <a:pt x="1202" y="104"/>
                  <a:pt x="1202" y="104"/>
                  <a:pt x="1202" y="104"/>
                </a:cubicBezTo>
                <a:cubicBezTo>
                  <a:pt x="1202" y="105"/>
                  <a:pt x="1202" y="104"/>
                  <a:pt x="1202" y="105"/>
                </a:cubicBezTo>
                <a:cubicBezTo>
                  <a:pt x="1202" y="105"/>
                  <a:pt x="1202" y="106"/>
                  <a:pt x="1202" y="106"/>
                </a:cubicBezTo>
                <a:cubicBezTo>
                  <a:pt x="1202" y="108"/>
                  <a:pt x="1202" y="110"/>
                  <a:pt x="1204" y="111"/>
                </a:cubicBezTo>
                <a:cubicBezTo>
                  <a:pt x="1205" y="111"/>
                  <a:pt x="1205" y="111"/>
                  <a:pt x="1205" y="111"/>
                </a:cubicBezTo>
                <a:cubicBezTo>
                  <a:pt x="1205" y="111"/>
                  <a:pt x="1206" y="112"/>
                  <a:pt x="1206" y="112"/>
                </a:cubicBezTo>
                <a:cubicBezTo>
                  <a:pt x="1207" y="112"/>
                  <a:pt x="1208" y="112"/>
                  <a:pt x="1209" y="112"/>
                </a:cubicBezTo>
                <a:cubicBezTo>
                  <a:pt x="1209" y="112"/>
                  <a:pt x="1210" y="112"/>
                  <a:pt x="1211" y="113"/>
                </a:cubicBezTo>
                <a:cubicBezTo>
                  <a:pt x="1211" y="113"/>
                  <a:pt x="1211" y="114"/>
                  <a:pt x="1212" y="114"/>
                </a:cubicBezTo>
                <a:cubicBezTo>
                  <a:pt x="1212" y="114"/>
                  <a:pt x="1213" y="114"/>
                  <a:pt x="1214" y="114"/>
                </a:cubicBezTo>
                <a:cubicBezTo>
                  <a:pt x="1214" y="115"/>
                  <a:pt x="1215" y="115"/>
                  <a:pt x="1215" y="116"/>
                </a:cubicBezTo>
                <a:cubicBezTo>
                  <a:pt x="1215" y="118"/>
                  <a:pt x="1214" y="117"/>
                  <a:pt x="1214" y="118"/>
                </a:cubicBezTo>
                <a:cubicBezTo>
                  <a:pt x="1214" y="119"/>
                  <a:pt x="1214" y="118"/>
                  <a:pt x="1214" y="119"/>
                </a:cubicBezTo>
                <a:cubicBezTo>
                  <a:pt x="1214" y="119"/>
                  <a:pt x="1214" y="119"/>
                  <a:pt x="1213" y="119"/>
                </a:cubicBezTo>
                <a:cubicBezTo>
                  <a:pt x="1213" y="120"/>
                  <a:pt x="1213" y="120"/>
                  <a:pt x="1213" y="120"/>
                </a:cubicBezTo>
                <a:cubicBezTo>
                  <a:pt x="1213" y="121"/>
                  <a:pt x="1213" y="122"/>
                  <a:pt x="1214" y="123"/>
                </a:cubicBezTo>
                <a:cubicBezTo>
                  <a:pt x="1214" y="124"/>
                  <a:pt x="1215" y="124"/>
                  <a:pt x="1215" y="125"/>
                </a:cubicBezTo>
                <a:cubicBezTo>
                  <a:pt x="1215" y="126"/>
                  <a:pt x="1215" y="127"/>
                  <a:pt x="1214" y="128"/>
                </a:cubicBezTo>
                <a:cubicBezTo>
                  <a:pt x="1213" y="128"/>
                  <a:pt x="1211" y="127"/>
                  <a:pt x="1211" y="128"/>
                </a:cubicBezTo>
                <a:cubicBezTo>
                  <a:pt x="1211" y="128"/>
                  <a:pt x="1211" y="129"/>
                  <a:pt x="1211" y="129"/>
                </a:cubicBezTo>
                <a:cubicBezTo>
                  <a:pt x="1212" y="129"/>
                  <a:pt x="1212" y="130"/>
                  <a:pt x="1212" y="130"/>
                </a:cubicBezTo>
                <a:cubicBezTo>
                  <a:pt x="1213" y="130"/>
                  <a:pt x="1214" y="131"/>
                  <a:pt x="1214" y="131"/>
                </a:cubicBezTo>
                <a:cubicBezTo>
                  <a:pt x="1215" y="131"/>
                  <a:pt x="1216" y="132"/>
                  <a:pt x="1217" y="132"/>
                </a:cubicBezTo>
                <a:cubicBezTo>
                  <a:pt x="1217" y="133"/>
                  <a:pt x="1218" y="132"/>
                  <a:pt x="1218" y="132"/>
                </a:cubicBezTo>
                <a:cubicBezTo>
                  <a:pt x="1219" y="132"/>
                  <a:pt x="1220" y="131"/>
                  <a:pt x="1221" y="131"/>
                </a:cubicBezTo>
                <a:cubicBezTo>
                  <a:pt x="1222" y="132"/>
                  <a:pt x="1221" y="133"/>
                  <a:pt x="1223" y="133"/>
                </a:cubicBezTo>
                <a:cubicBezTo>
                  <a:pt x="1223" y="133"/>
                  <a:pt x="1223" y="133"/>
                  <a:pt x="1224" y="133"/>
                </a:cubicBezTo>
                <a:cubicBezTo>
                  <a:pt x="1224" y="133"/>
                  <a:pt x="1224" y="134"/>
                  <a:pt x="1224" y="134"/>
                </a:cubicBezTo>
                <a:cubicBezTo>
                  <a:pt x="1224" y="135"/>
                  <a:pt x="1224" y="136"/>
                  <a:pt x="1225" y="136"/>
                </a:cubicBezTo>
                <a:cubicBezTo>
                  <a:pt x="1223" y="136"/>
                  <a:pt x="1223" y="136"/>
                  <a:pt x="1223" y="134"/>
                </a:cubicBezTo>
                <a:cubicBezTo>
                  <a:pt x="1223" y="133"/>
                  <a:pt x="1223" y="134"/>
                  <a:pt x="1222" y="133"/>
                </a:cubicBezTo>
                <a:cubicBezTo>
                  <a:pt x="1221" y="133"/>
                  <a:pt x="1221" y="132"/>
                  <a:pt x="1219" y="133"/>
                </a:cubicBezTo>
                <a:cubicBezTo>
                  <a:pt x="1219" y="133"/>
                  <a:pt x="1218" y="134"/>
                  <a:pt x="1218" y="133"/>
                </a:cubicBezTo>
                <a:cubicBezTo>
                  <a:pt x="1218" y="133"/>
                  <a:pt x="1215" y="133"/>
                  <a:pt x="1215" y="133"/>
                </a:cubicBezTo>
                <a:cubicBezTo>
                  <a:pt x="1214" y="133"/>
                  <a:pt x="1214" y="133"/>
                  <a:pt x="1213" y="133"/>
                </a:cubicBezTo>
                <a:cubicBezTo>
                  <a:pt x="1213" y="133"/>
                  <a:pt x="1213" y="133"/>
                  <a:pt x="1213" y="133"/>
                </a:cubicBezTo>
                <a:cubicBezTo>
                  <a:pt x="1212" y="133"/>
                  <a:pt x="1211" y="133"/>
                  <a:pt x="1211" y="132"/>
                </a:cubicBezTo>
                <a:cubicBezTo>
                  <a:pt x="1211" y="131"/>
                  <a:pt x="1211" y="131"/>
                  <a:pt x="1211" y="131"/>
                </a:cubicBezTo>
                <a:cubicBezTo>
                  <a:pt x="1210" y="130"/>
                  <a:pt x="1209" y="128"/>
                  <a:pt x="1208" y="128"/>
                </a:cubicBezTo>
                <a:cubicBezTo>
                  <a:pt x="1208" y="128"/>
                  <a:pt x="1207" y="130"/>
                  <a:pt x="1207" y="130"/>
                </a:cubicBezTo>
                <a:cubicBezTo>
                  <a:pt x="1206" y="131"/>
                  <a:pt x="1206" y="131"/>
                  <a:pt x="1205" y="131"/>
                </a:cubicBezTo>
                <a:cubicBezTo>
                  <a:pt x="1205" y="130"/>
                  <a:pt x="1206" y="130"/>
                  <a:pt x="1206" y="129"/>
                </a:cubicBezTo>
                <a:cubicBezTo>
                  <a:pt x="1207" y="129"/>
                  <a:pt x="1207" y="129"/>
                  <a:pt x="1207" y="127"/>
                </a:cubicBezTo>
                <a:cubicBezTo>
                  <a:pt x="1207" y="127"/>
                  <a:pt x="1208" y="125"/>
                  <a:pt x="1208" y="125"/>
                </a:cubicBezTo>
                <a:cubicBezTo>
                  <a:pt x="1209" y="125"/>
                  <a:pt x="1208" y="122"/>
                  <a:pt x="1208" y="122"/>
                </a:cubicBezTo>
                <a:cubicBezTo>
                  <a:pt x="1208" y="121"/>
                  <a:pt x="1209" y="120"/>
                  <a:pt x="1209" y="119"/>
                </a:cubicBezTo>
                <a:cubicBezTo>
                  <a:pt x="1210" y="119"/>
                  <a:pt x="1210" y="119"/>
                  <a:pt x="1211" y="118"/>
                </a:cubicBezTo>
                <a:cubicBezTo>
                  <a:pt x="1211" y="117"/>
                  <a:pt x="1212" y="117"/>
                  <a:pt x="1212" y="117"/>
                </a:cubicBezTo>
                <a:cubicBezTo>
                  <a:pt x="1212" y="116"/>
                  <a:pt x="1212" y="116"/>
                  <a:pt x="1211" y="115"/>
                </a:cubicBezTo>
                <a:cubicBezTo>
                  <a:pt x="1210" y="115"/>
                  <a:pt x="1208" y="115"/>
                  <a:pt x="1206" y="115"/>
                </a:cubicBezTo>
                <a:cubicBezTo>
                  <a:pt x="1206" y="115"/>
                  <a:pt x="1205" y="115"/>
                  <a:pt x="1204" y="115"/>
                </a:cubicBezTo>
                <a:cubicBezTo>
                  <a:pt x="1203" y="115"/>
                  <a:pt x="1204" y="115"/>
                  <a:pt x="1203" y="115"/>
                </a:cubicBezTo>
                <a:cubicBezTo>
                  <a:pt x="1203" y="115"/>
                  <a:pt x="1202" y="114"/>
                  <a:pt x="1202" y="113"/>
                </a:cubicBezTo>
                <a:cubicBezTo>
                  <a:pt x="1201" y="112"/>
                  <a:pt x="1201" y="112"/>
                  <a:pt x="1200" y="112"/>
                </a:cubicBezTo>
                <a:cubicBezTo>
                  <a:pt x="1200" y="112"/>
                  <a:pt x="1199" y="111"/>
                  <a:pt x="1199" y="111"/>
                </a:cubicBezTo>
                <a:cubicBezTo>
                  <a:pt x="1199" y="111"/>
                  <a:pt x="1198" y="111"/>
                  <a:pt x="1198" y="111"/>
                </a:cubicBezTo>
                <a:cubicBezTo>
                  <a:pt x="1198" y="111"/>
                  <a:pt x="1198" y="110"/>
                  <a:pt x="1197" y="110"/>
                </a:cubicBezTo>
                <a:cubicBezTo>
                  <a:pt x="1197" y="110"/>
                  <a:pt x="1197" y="110"/>
                  <a:pt x="1197" y="110"/>
                </a:cubicBezTo>
                <a:cubicBezTo>
                  <a:pt x="1196" y="110"/>
                  <a:pt x="1196" y="110"/>
                  <a:pt x="1196" y="110"/>
                </a:cubicBezTo>
                <a:cubicBezTo>
                  <a:pt x="1196" y="110"/>
                  <a:pt x="1195" y="110"/>
                  <a:pt x="1195" y="110"/>
                </a:cubicBezTo>
                <a:cubicBezTo>
                  <a:pt x="1194" y="109"/>
                  <a:pt x="1194" y="109"/>
                  <a:pt x="1193" y="109"/>
                </a:cubicBezTo>
                <a:cubicBezTo>
                  <a:pt x="1192" y="109"/>
                  <a:pt x="1192" y="109"/>
                  <a:pt x="1192" y="110"/>
                </a:cubicBezTo>
                <a:cubicBezTo>
                  <a:pt x="1192" y="110"/>
                  <a:pt x="1191" y="110"/>
                  <a:pt x="1191" y="110"/>
                </a:cubicBezTo>
                <a:cubicBezTo>
                  <a:pt x="1190" y="110"/>
                  <a:pt x="1190" y="111"/>
                  <a:pt x="1190" y="111"/>
                </a:cubicBezTo>
                <a:cubicBezTo>
                  <a:pt x="1189" y="111"/>
                  <a:pt x="1189" y="111"/>
                  <a:pt x="1189" y="111"/>
                </a:cubicBezTo>
                <a:cubicBezTo>
                  <a:pt x="1189" y="111"/>
                  <a:pt x="1187" y="112"/>
                  <a:pt x="1187" y="112"/>
                </a:cubicBezTo>
                <a:cubicBezTo>
                  <a:pt x="1187" y="112"/>
                  <a:pt x="1189" y="112"/>
                  <a:pt x="1189" y="112"/>
                </a:cubicBezTo>
                <a:cubicBezTo>
                  <a:pt x="1189" y="112"/>
                  <a:pt x="1189" y="113"/>
                  <a:pt x="1189" y="113"/>
                </a:cubicBezTo>
                <a:cubicBezTo>
                  <a:pt x="1190" y="113"/>
                  <a:pt x="1190" y="113"/>
                  <a:pt x="1191" y="113"/>
                </a:cubicBezTo>
                <a:cubicBezTo>
                  <a:pt x="1191" y="114"/>
                  <a:pt x="1189" y="116"/>
                  <a:pt x="1188" y="116"/>
                </a:cubicBezTo>
                <a:cubicBezTo>
                  <a:pt x="1188" y="116"/>
                  <a:pt x="1188" y="116"/>
                  <a:pt x="1187" y="116"/>
                </a:cubicBezTo>
                <a:cubicBezTo>
                  <a:pt x="1186" y="115"/>
                  <a:pt x="1186" y="114"/>
                  <a:pt x="1185" y="114"/>
                </a:cubicBezTo>
                <a:cubicBezTo>
                  <a:pt x="1184" y="114"/>
                  <a:pt x="1184" y="114"/>
                  <a:pt x="1184" y="114"/>
                </a:cubicBezTo>
                <a:cubicBezTo>
                  <a:pt x="1183" y="114"/>
                  <a:pt x="1182" y="114"/>
                  <a:pt x="1182" y="114"/>
                </a:cubicBezTo>
                <a:cubicBezTo>
                  <a:pt x="1181" y="114"/>
                  <a:pt x="1181" y="115"/>
                  <a:pt x="1180" y="116"/>
                </a:cubicBezTo>
                <a:cubicBezTo>
                  <a:pt x="1180" y="116"/>
                  <a:pt x="1180" y="117"/>
                  <a:pt x="1181" y="117"/>
                </a:cubicBezTo>
                <a:cubicBezTo>
                  <a:pt x="1181" y="118"/>
                  <a:pt x="1182" y="118"/>
                  <a:pt x="1182" y="118"/>
                </a:cubicBezTo>
                <a:cubicBezTo>
                  <a:pt x="1183" y="118"/>
                  <a:pt x="1183" y="119"/>
                  <a:pt x="1183" y="119"/>
                </a:cubicBezTo>
                <a:cubicBezTo>
                  <a:pt x="1184" y="119"/>
                  <a:pt x="1184" y="119"/>
                  <a:pt x="1185" y="119"/>
                </a:cubicBezTo>
                <a:cubicBezTo>
                  <a:pt x="1185" y="119"/>
                  <a:pt x="1185" y="120"/>
                  <a:pt x="1185" y="120"/>
                </a:cubicBezTo>
                <a:cubicBezTo>
                  <a:pt x="1186" y="120"/>
                  <a:pt x="1186" y="120"/>
                  <a:pt x="1186" y="120"/>
                </a:cubicBezTo>
                <a:cubicBezTo>
                  <a:pt x="1187" y="120"/>
                  <a:pt x="1186" y="121"/>
                  <a:pt x="1187" y="121"/>
                </a:cubicBezTo>
                <a:cubicBezTo>
                  <a:pt x="1187" y="121"/>
                  <a:pt x="1187" y="121"/>
                  <a:pt x="1188" y="121"/>
                </a:cubicBezTo>
                <a:cubicBezTo>
                  <a:pt x="1188" y="122"/>
                  <a:pt x="1188" y="122"/>
                  <a:pt x="1187" y="123"/>
                </a:cubicBezTo>
                <a:cubicBezTo>
                  <a:pt x="1188" y="123"/>
                  <a:pt x="1190" y="124"/>
                  <a:pt x="1190" y="124"/>
                </a:cubicBezTo>
                <a:cubicBezTo>
                  <a:pt x="1190" y="124"/>
                  <a:pt x="1188" y="123"/>
                  <a:pt x="1188" y="124"/>
                </a:cubicBezTo>
                <a:cubicBezTo>
                  <a:pt x="1188" y="124"/>
                  <a:pt x="1188" y="122"/>
                  <a:pt x="1187" y="122"/>
                </a:cubicBezTo>
                <a:cubicBezTo>
                  <a:pt x="1186" y="122"/>
                  <a:pt x="1184" y="122"/>
                  <a:pt x="1184" y="122"/>
                </a:cubicBezTo>
                <a:cubicBezTo>
                  <a:pt x="1184" y="122"/>
                  <a:pt x="1182" y="123"/>
                  <a:pt x="1182" y="122"/>
                </a:cubicBezTo>
                <a:cubicBezTo>
                  <a:pt x="1182" y="122"/>
                  <a:pt x="1180" y="122"/>
                  <a:pt x="1180" y="122"/>
                </a:cubicBezTo>
                <a:cubicBezTo>
                  <a:pt x="1179" y="122"/>
                  <a:pt x="1179" y="122"/>
                  <a:pt x="1179" y="122"/>
                </a:cubicBezTo>
                <a:cubicBezTo>
                  <a:pt x="1178" y="123"/>
                  <a:pt x="1178" y="123"/>
                  <a:pt x="1177" y="123"/>
                </a:cubicBezTo>
                <a:cubicBezTo>
                  <a:pt x="1176" y="122"/>
                  <a:pt x="1175" y="121"/>
                  <a:pt x="1175" y="121"/>
                </a:cubicBezTo>
                <a:cubicBezTo>
                  <a:pt x="1175" y="121"/>
                  <a:pt x="1175" y="120"/>
                  <a:pt x="1175" y="119"/>
                </a:cubicBezTo>
                <a:cubicBezTo>
                  <a:pt x="1175" y="119"/>
                  <a:pt x="1175" y="119"/>
                  <a:pt x="1175" y="118"/>
                </a:cubicBezTo>
                <a:cubicBezTo>
                  <a:pt x="1175" y="117"/>
                  <a:pt x="1174" y="117"/>
                  <a:pt x="1174" y="117"/>
                </a:cubicBezTo>
                <a:cubicBezTo>
                  <a:pt x="1174" y="116"/>
                  <a:pt x="1174" y="116"/>
                  <a:pt x="1174" y="115"/>
                </a:cubicBezTo>
                <a:cubicBezTo>
                  <a:pt x="1174" y="115"/>
                  <a:pt x="1174" y="115"/>
                  <a:pt x="1174" y="114"/>
                </a:cubicBezTo>
                <a:cubicBezTo>
                  <a:pt x="1174" y="114"/>
                  <a:pt x="1173" y="114"/>
                  <a:pt x="1173" y="114"/>
                </a:cubicBezTo>
                <a:cubicBezTo>
                  <a:pt x="1173" y="114"/>
                  <a:pt x="1173" y="113"/>
                  <a:pt x="1173" y="113"/>
                </a:cubicBezTo>
                <a:cubicBezTo>
                  <a:pt x="1174" y="112"/>
                  <a:pt x="1174" y="112"/>
                  <a:pt x="1174" y="112"/>
                </a:cubicBezTo>
                <a:cubicBezTo>
                  <a:pt x="1174" y="112"/>
                  <a:pt x="1174" y="112"/>
                  <a:pt x="1174" y="112"/>
                </a:cubicBezTo>
                <a:cubicBezTo>
                  <a:pt x="1174" y="112"/>
                  <a:pt x="1175" y="111"/>
                  <a:pt x="1175" y="111"/>
                </a:cubicBezTo>
                <a:cubicBezTo>
                  <a:pt x="1174" y="111"/>
                  <a:pt x="1173" y="110"/>
                  <a:pt x="1173" y="110"/>
                </a:cubicBezTo>
                <a:cubicBezTo>
                  <a:pt x="1173" y="109"/>
                  <a:pt x="1173" y="108"/>
                  <a:pt x="1174" y="108"/>
                </a:cubicBezTo>
                <a:cubicBezTo>
                  <a:pt x="1174" y="107"/>
                  <a:pt x="1174" y="106"/>
                  <a:pt x="1173" y="106"/>
                </a:cubicBezTo>
                <a:cubicBezTo>
                  <a:pt x="1173" y="106"/>
                  <a:pt x="1173" y="106"/>
                  <a:pt x="1173" y="105"/>
                </a:cubicBezTo>
                <a:cubicBezTo>
                  <a:pt x="1172" y="104"/>
                  <a:pt x="1172" y="105"/>
                  <a:pt x="1171" y="105"/>
                </a:cubicBezTo>
                <a:cubicBezTo>
                  <a:pt x="1172" y="108"/>
                  <a:pt x="1172" y="110"/>
                  <a:pt x="1172" y="113"/>
                </a:cubicBezTo>
                <a:cubicBezTo>
                  <a:pt x="1171" y="114"/>
                  <a:pt x="1171" y="115"/>
                  <a:pt x="1171" y="115"/>
                </a:cubicBezTo>
                <a:cubicBezTo>
                  <a:pt x="1170" y="115"/>
                  <a:pt x="1170" y="115"/>
                  <a:pt x="1170" y="116"/>
                </a:cubicBezTo>
                <a:cubicBezTo>
                  <a:pt x="1170" y="116"/>
                  <a:pt x="1169" y="116"/>
                  <a:pt x="1169" y="117"/>
                </a:cubicBezTo>
                <a:cubicBezTo>
                  <a:pt x="1169" y="117"/>
                  <a:pt x="1169" y="117"/>
                  <a:pt x="1169" y="117"/>
                </a:cubicBezTo>
                <a:cubicBezTo>
                  <a:pt x="1168" y="117"/>
                  <a:pt x="1169" y="117"/>
                  <a:pt x="1168" y="117"/>
                </a:cubicBezTo>
                <a:cubicBezTo>
                  <a:pt x="1168" y="118"/>
                  <a:pt x="1168" y="118"/>
                  <a:pt x="1168" y="119"/>
                </a:cubicBezTo>
                <a:cubicBezTo>
                  <a:pt x="1168" y="120"/>
                  <a:pt x="1168" y="120"/>
                  <a:pt x="1167" y="121"/>
                </a:cubicBezTo>
                <a:cubicBezTo>
                  <a:pt x="1167" y="122"/>
                  <a:pt x="1166" y="122"/>
                  <a:pt x="1166" y="122"/>
                </a:cubicBezTo>
                <a:cubicBezTo>
                  <a:pt x="1167" y="123"/>
                  <a:pt x="1167" y="124"/>
                  <a:pt x="1167" y="124"/>
                </a:cubicBezTo>
                <a:cubicBezTo>
                  <a:pt x="1168" y="124"/>
                  <a:pt x="1168" y="124"/>
                  <a:pt x="1168" y="124"/>
                </a:cubicBezTo>
                <a:cubicBezTo>
                  <a:pt x="1168" y="124"/>
                  <a:pt x="1168" y="125"/>
                  <a:pt x="1168" y="125"/>
                </a:cubicBezTo>
                <a:cubicBezTo>
                  <a:pt x="1168" y="125"/>
                  <a:pt x="1168" y="125"/>
                  <a:pt x="1168" y="125"/>
                </a:cubicBezTo>
                <a:cubicBezTo>
                  <a:pt x="1168" y="125"/>
                  <a:pt x="1168" y="126"/>
                  <a:pt x="1169" y="126"/>
                </a:cubicBezTo>
                <a:cubicBezTo>
                  <a:pt x="1169" y="126"/>
                  <a:pt x="1169" y="127"/>
                  <a:pt x="1170" y="127"/>
                </a:cubicBezTo>
                <a:cubicBezTo>
                  <a:pt x="1169" y="128"/>
                  <a:pt x="1169" y="129"/>
                  <a:pt x="1169" y="129"/>
                </a:cubicBezTo>
                <a:cubicBezTo>
                  <a:pt x="1169" y="129"/>
                  <a:pt x="1168" y="129"/>
                  <a:pt x="1168" y="130"/>
                </a:cubicBezTo>
                <a:cubicBezTo>
                  <a:pt x="1168" y="131"/>
                  <a:pt x="1168" y="130"/>
                  <a:pt x="1168" y="131"/>
                </a:cubicBezTo>
                <a:cubicBezTo>
                  <a:pt x="1168" y="131"/>
                  <a:pt x="1168" y="131"/>
                  <a:pt x="1168" y="131"/>
                </a:cubicBezTo>
                <a:cubicBezTo>
                  <a:pt x="1168" y="131"/>
                  <a:pt x="1168" y="131"/>
                  <a:pt x="1168" y="132"/>
                </a:cubicBezTo>
                <a:cubicBezTo>
                  <a:pt x="1168" y="132"/>
                  <a:pt x="1168" y="133"/>
                  <a:pt x="1168" y="134"/>
                </a:cubicBezTo>
                <a:cubicBezTo>
                  <a:pt x="1168" y="134"/>
                  <a:pt x="1169" y="134"/>
                  <a:pt x="1169" y="135"/>
                </a:cubicBezTo>
                <a:cubicBezTo>
                  <a:pt x="1169" y="136"/>
                  <a:pt x="1169" y="137"/>
                  <a:pt x="1170" y="137"/>
                </a:cubicBezTo>
                <a:cubicBezTo>
                  <a:pt x="1170" y="138"/>
                  <a:pt x="1171" y="138"/>
                  <a:pt x="1171" y="137"/>
                </a:cubicBezTo>
                <a:cubicBezTo>
                  <a:pt x="1171" y="136"/>
                  <a:pt x="1174" y="137"/>
                  <a:pt x="1175" y="136"/>
                </a:cubicBezTo>
                <a:cubicBezTo>
                  <a:pt x="1175" y="136"/>
                  <a:pt x="1175" y="136"/>
                  <a:pt x="1175" y="136"/>
                </a:cubicBezTo>
                <a:cubicBezTo>
                  <a:pt x="1175" y="136"/>
                  <a:pt x="1176" y="136"/>
                  <a:pt x="1176" y="135"/>
                </a:cubicBezTo>
                <a:cubicBezTo>
                  <a:pt x="1177" y="135"/>
                  <a:pt x="1178" y="135"/>
                  <a:pt x="1179" y="135"/>
                </a:cubicBezTo>
                <a:cubicBezTo>
                  <a:pt x="1181" y="135"/>
                  <a:pt x="1179" y="135"/>
                  <a:pt x="1180" y="135"/>
                </a:cubicBezTo>
                <a:cubicBezTo>
                  <a:pt x="1180" y="135"/>
                  <a:pt x="1180" y="135"/>
                  <a:pt x="1181" y="135"/>
                </a:cubicBezTo>
                <a:cubicBezTo>
                  <a:pt x="1181" y="136"/>
                  <a:pt x="1179" y="136"/>
                  <a:pt x="1181" y="136"/>
                </a:cubicBezTo>
                <a:cubicBezTo>
                  <a:pt x="1182" y="136"/>
                  <a:pt x="1183" y="136"/>
                  <a:pt x="1183" y="136"/>
                </a:cubicBezTo>
                <a:cubicBezTo>
                  <a:pt x="1184" y="136"/>
                  <a:pt x="1185" y="137"/>
                  <a:pt x="1185" y="137"/>
                </a:cubicBezTo>
                <a:cubicBezTo>
                  <a:pt x="1186" y="137"/>
                  <a:pt x="1186" y="138"/>
                  <a:pt x="1186" y="139"/>
                </a:cubicBezTo>
                <a:cubicBezTo>
                  <a:pt x="1187" y="139"/>
                  <a:pt x="1187" y="139"/>
                  <a:pt x="1187" y="140"/>
                </a:cubicBezTo>
                <a:cubicBezTo>
                  <a:pt x="1187" y="140"/>
                  <a:pt x="1187" y="140"/>
                  <a:pt x="1187" y="141"/>
                </a:cubicBezTo>
                <a:cubicBezTo>
                  <a:pt x="1187" y="141"/>
                  <a:pt x="1187" y="141"/>
                  <a:pt x="1187" y="141"/>
                </a:cubicBezTo>
                <a:cubicBezTo>
                  <a:pt x="1188" y="141"/>
                  <a:pt x="1188" y="141"/>
                  <a:pt x="1188" y="142"/>
                </a:cubicBezTo>
                <a:cubicBezTo>
                  <a:pt x="1189" y="142"/>
                  <a:pt x="1189" y="142"/>
                  <a:pt x="1189" y="143"/>
                </a:cubicBezTo>
                <a:cubicBezTo>
                  <a:pt x="1189" y="143"/>
                  <a:pt x="1190" y="144"/>
                  <a:pt x="1190" y="145"/>
                </a:cubicBezTo>
                <a:cubicBezTo>
                  <a:pt x="1190" y="146"/>
                  <a:pt x="1188" y="146"/>
                  <a:pt x="1187" y="146"/>
                </a:cubicBezTo>
                <a:cubicBezTo>
                  <a:pt x="1187" y="147"/>
                  <a:pt x="1187" y="147"/>
                  <a:pt x="1187" y="148"/>
                </a:cubicBezTo>
                <a:cubicBezTo>
                  <a:pt x="1187" y="149"/>
                  <a:pt x="1187" y="149"/>
                  <a:pt x="1188" y="150"/>
                </a:cubicBezTo>
                <a:cubicBezTo>
                  <a:pt x="1188" y="150"/>
                  <a:pt x="1189" y="150"/>
                  <a:pt x="1189" y="150"/>
                </a:cubicBezTo>
                <a:cubicBezTo>
                  <a:pt x="1189" y="150"/>
                  <a:pt x="1190" y="151"/>
                  <a:pt x="1190" y="151"/>
                </a:cubicBezTo>
                <a:cubicBezTo>
                  <a:pt x="1190" y="151"/>
                  <a:pt x="1191" y="151"/>
                  <a:pt x="1191" y="151"/>
                </a:cubicBezTo>
                <a:cubicBezTo>
                  <a:pt x="1191" y="151"/>
                  <a:pt x="1192" y="151"/>
                  <a:pt x="1192" y="151"/>
                </a:cubicBezTo>
                <a:cubicBezTo>
                  <a:pt x="1193" y="151"/>
                  <a:pt x="1192" y="152"/>
                  <a:pt x="1193" y="152"/>
                </a:cubicBezTo>
                <a:cubicBezTo>
                  <a:pt x="1194" y="152"/>
                  <a:pt x="1193" y="152"/>
                  <a:pt x="1194" y="152"/>
                </a:cubicBezTo>
                <a:cubicBezTo>
                  <a:pt x="1194" y="152"/>
                  <a:pt x="1194" y="152"/>
                  <a:pt x="1195" y="152"/>
                </a:cubicBezTo>
                <a:cubicBezTo>
                  <a:pt x="1195" y="152"/>
                  <a:pt x="1195" y="152"/>
                  <a:pt x="1195" y="152"/>
                </a:cubicBezTo>
                <a:cubicBezTo>
                  <a:pt x="1196" y="153"/>
                  <a:pt x="1196" y="152"/>
                  <a:pt x="1196" y="153"/>
                </a:cubicBezTo>
                <a:cubicBezTo>
                  <a:pt x="1197" y="154"/>
                  <a:pt x="1195" y="154"/>
                  <a:pt x="1194" y="154"/>
                </a:cubicBezTo>
                <a:cubicBezTo>
                  <a:pt x="1194" y="153"/>
                  <a:pt x="1194" y="153"/>
                  <a:pt x="1194" y="153"/>
                </a:cubicBezTo>
                <a:cubicBezTo>
                  <a:pt x="1193" y="153"/>
                  <a:pt x="1194" y="153"/>
                  <a:pt x="1193" y="153"/>
                </a:cubicBezTo>
                <a:cubicBezTo>
                  <a:pt x="1192" y="153"/>
                  <a:pt x="1192" y="153"/>
                  <a:pt x="1191" y="153"/>
                </a:cubicBezTo>
                <a:cubicBezTo>
                  <a:pt x="1191" y="153"/>
                  <a:pt x="1190" y="152"/>
                  <a:pt x="1190" y="152"/>
                </a:cubicBezTo>
                <a:cubicBezTo>
                  <a:pt x="1189" y="152"/>
                  <a:pt x="1188" y="152"/>
                  <a:pt x="1188" y="152"/>
                </a:cubicBezTo>
                <a:cubicBezTo>
                  <a:pt x="1188" y="153"/>
                  <a:pt x="1188" y="153"/>
                  <a:pt x="1188" y="154"/>
                </a:cubicBezTo>
                <a:cubicBezTo>
                  <a:pt x="1188" y="154"/>
                  <a:pt x="1188" y="154"/>
                  <a:pt x="1188" y="154"/>
                </a:cubicBezTo>
                <a:cubicBezTo>
                  <a:pt x="1187" y="154"/>
                  <a:pt x="1186" y="153"/>
                  <a:pt x="1184" y="152"/>
                </a:cubicBezTo>
                <a:cubicBezTo>
                  <a:pt x="1183" y="151"/>
                  <a:pt x="1184" y="150"/>
                  <a:pt x="1184" y="149"/>
                </a:cubicBezTo>
                <a:cubicBezTo>
                  <a:pt x="1185" y="147"/>
                  <a:pt x="1185" y="145"/>
                  <a:pt x="1185" y="144"/>
                </a:cubicBezTo>
                <a:cubicBezTo>
                  <a:pt x="1185" y="143"/>
                  <a:pt x="1185" y="143"/>
                  <a:pt x="1185" y="142"/>
                </a:cubicBezTo>
                <a:cubicBezTo>
                  <a:pt x="1185" y="142"/>
                  <a:pt x="1184" y="143"/>
                  <a:pt x="1184" y="142"/>
                </a:cubicBezTo>
                <a:cubicBezTo>
                  <a:pt x="1184" y="142"/>
                  <a:pt x="1184" y="142"/>
                  <a:pt x="1183" y="141"/>
                </a:cubicBezTo>
                <a:cubicBezTo>
                  <a:pt x="1183" y="141"/>
                  <a:pt x="1183" y="137"/>
                  <a:pt x="1182" y="137"/>
                </a:cubicBezTo>
                <a:cubicBezTo>
                  <a:pt x="1181" y="137"/>
                  <a:pt x="1181" y="137"/>
                  <a:pt x="1180" y="137"/>
                </a:cubicBezTo>
                <a:cubicBezTo>
                  <a:pt x="1180" y="137"/>
                  <a:pt x="1179" y="137"/>
                  <a:pt x="1179" y="137"/>
                </a:cubicBezTo>
                <a:cubicBezTo>
                  <a:pt x="1179" y="137"/>
                  <a:pt x="1179" y="139"/>
                  <a:pt x="1178" y="139"/>
                </a:cubicBezTo>
                <a:cubicBezTo>
                  <a:pt x="1178" y="139"/>
                  <a:pt x="1178" y="139"/>
                  <a:pt x="1177" y="139"/>
                </a:cubicBezTo>
                <a:cubicBezTo>
                  <a:pt x="1177" y="139"/>
                  <a:pt x="1177" y="139"/>
                  <a:pt x="1177" y="139"/>
                </a:cubicBezTo>
                <a:cubicBezTo>
                  <a:pt x="1176" y="139"/>
                  <a:pt x="1175" y="139"/>
                  <a:pt x="1174" y="140"/>
                </a:cubicBezTo>
                <a:cubicBezTo>
                  <a:pt x="1174" y="140"/>
                  <a:pt x="1173" y="140"/>
                  <a:pt x="1172" y="140"/>
                </a:cubicBezTo>
                <a:cubicBezTo>
                  <a:pt x="1172" y="141"/>
                  <a:pt x="1172" y="142"/>
                  <a:pt x="1172" y="142"/>
                </a:cubicBezTo>
                <a:cubicBezTo>
                  <a:pt x="1172" y="143"/>
                  <a:pt x="1171" y="143"/>
                  <a:pt x="1171" y="144"/>
                </a:cubicBezTo>
                <a:cubicBezTo>
                  <a:pt x="1172" y="144"/>
                  <a:pt x="1172" y="145"/>
                  <a:pt x="1172" y="145"/>
                </a:cubicBezTo>
                <a:cubicBezTo>
                  <a:pt x="1172" y="147"/>
                  <a:pt x="1172" y="148"/>
                  <a:pt x="1171" y="150"/>
                </a:cubicBezTo>
                <a:cubicBezTo>
                  <a:pt x="1171" y="150"/>
                  <a:pt x="1171" y="150"/>
                  <a:pt x="1171" y="150"/>
                </a:cubicBezTo>
                <a:cubicBezTo>
                  <a:pt x="1171" y="151"/>
                  <a:pt x="1171" y="151"/>
                  <a:pt x="1171" y="151"/>
                </a:cubicBezTo>
                <a:cubicBezTo>
                  <a:pt x="1171" y="151"/>
                  <a:pt x="1171" y="152"/>
                  <a:pt x="1171" y="152"/>
                </a:cubicBezTo>
                <a:cubicBezTo>
                  <a:pt x="1171" y="153"/>
                  <a:pt x="1171" y="153"/>
                  <a:pt x="1170" y="153"/>
                </a:cubicBezTo>
                <a:cubicBezTo>
                  <a:pt x="1170" y="154"/>
                  <a:pt x="1170" y="154"/>
                  <a:pt x="1170" y="155"/>
                </a:cubicBezTo>
                <a:cubicBezTo>
                  <a:pt x="1169" y="155"/>
                  <a:pt x="1169" y="155"/>
                  <a:pt x="1169" y="155"/>
                </a:cubicBezTo>
                <a:cubicBezTo>
                  <a:pt x="1169" y="157"/>
                  <a:pt x="1166" y="157"/>
                  <a:pt x="1165" y="157"/>
                </a:cubicBezTo>
                <a:cubicBezTo>
                  <a:pt x="1164" y="157"/>
                  <a:pt x="1162" y="158"/>
                  <a:pt x="1161" y="159"/>
                </a:cubicBezTo>
                <a:cubicBezTo>
                  <a:pt x="1160" y="159"/>
                  <a:pt x="1160" y="159"/>
                  <a:pt x="1160" y="160"/>
                </a:cubicBezTo>
                <a:cubicBezTo>
                  <a:pt x="1161" y="160"/>
                  <a:pt x="1161" y="160"/>
                  <a:pt x="1162" y="160"/>
                </a:cubicBezTo>
                <a:cubicBezTo>
                  <a:pt x="1163" y="160"/>
                  <a:pt x="1163" y="160"/>
                  <a:pt x="1163" y="161"/>
                </a:cubicBezTo>
                <a:cubicBezTo>
                  <a:pt x="1163" y="162"/>
                  <a:pt x="1163" y="163"/>
                  <a:pt x="1163" y="164"/>
                </a:cubicBezTo>
                <a:cubicBezTo>
                  <a:pt x="1163" y="165"/>
                  <a:pt x="1163" y="165"/>
                  <a:pt x="1164" y="165"/>
                </a:cubicBezTo>
                <a:cubicBezTo>
                  <a:pt x="1164" y="165"/>
                  <a:pt x="1164" y="166"/>
                  <a:pt x="1164" y="166"/>
                </a:cubicBezTo>
                <a:cubicBezTo>
                  <a:pt x="1164" y="166"/>
                  <a:pt x="1163" y="166"/>
                  <a:pt x="1164" y="166"/>
                </a:cubicBezTo>
                <a:cubicBezTo>
                  <a:pt x="1163" y="165"/>
                  <a:pt x="1163" y="165"/>
                  <a:pt x="1162" y="165"/>
                </a:cubicBezTo>
                <a:cubicBezTo>
                  <a:pt x="1162" y="165"/>
                  <a:pt x="1161" y="164"/>
                  <a:pt x="1161" y="163"/>
                </a:cubicBezTo>
                <a:cubicBezTo>
                  <a:pt x="1161" y="163"/>
                  <a:pt x="1161" y="163"/>
                  <a:pt x="1160" y="163"/>
                </a:cubicBezTo>
                <a:cubicBezTo>
                  <a:pt x="1159" y="162"/>
                  <a:pt x="1160" y="162"/>
                  <a:pt x="1159" y="161"/>
                </a:cubicBezTo>
                <a:cubicBezTo>
                  <a:pt x="1158" y="161"/>
                  <a:pt x="1156" y="161"/>
                  <a:pt x="1155" y="161"/>
                </a:cubicBezTo>
                <a:cubicBezTo>
                  <a:pt x="1155" y="161"/>
                  <a:pt x="1154" y="161"/>
                  <a:pt x="1153" y="161"/>
                </a:cubicBezTo>
                <a:cubicBezTo>
                  <a:pt x="1154" y="161"/>
                  <a:pt x="1152" y="161"/>
                  <a:pt x="1151" y="161"/>
                </a:cubicBezTo>
                <a:cubicBezTo>
                  <a:pt x="1151" y="161"/>
                  <a:pt x="1151" y="161"/>
                  <a:pt x="1151" y="161"/>
                </a:cubicBezTo>
                <a:cubicBezTo>
                  <a:pt x="1150" y="159"/>
                  <a:pt x="1150" y="161"/>
                  <a:pt x="1149" y="160"/>
                </a:cubicBezTo>
                <a:cubicBezTo>
                  <a:pt x="1149" y="160"/>
                  <a:pt x="1150" y="160"/>
                  <a:pt x="1149" y="159"/>
                </a:cubicBezTo>
                <a:cubicBezTo>
                  <a:pt x="1148" y="159"/>
                  <a:pt x="1148" y="158"/>
                  <a:pt x="1148" y="157"/>
                </a:cubicBezTo>
                <a:cubicBezTo>
                  <a:pt x="1149" y="157"/>
                  <a:pt x="1151" y="157"/>
                  <a:pt x="1152" y="157"/>
                </a:cubicBezTo>
                <a:cubicBezTo>
                  <a:pt x="1153" y="157"/>
                  <a:pt x="1156" y="158"/>
                  <a:pt x="1156" y="157"/>
                </a:cubicBezTo>
                <a:cubicBezTo>
                  <a:pt x="1156" y="157"/>
                  <a:pt x="1157" y="157"/>
                  <a:pt x="1157" y="157"/>
                </a:cubicBezTo>
                <a:cubicBezTo>
                  <a:pt x="1158" y="157"/>
                  <a:pt x="1158" y="156"/>
                  <a:pt x="1158" y="155"/>
                </a:cubicBezTo>
                <a:cubicBezTo>
                  <a:pt x="1159" y="154"/>
                  <a:pt x="1160" y="155"/>
                  <a:pt x="1161" y="156"/>
                </a:cubicBezTo>
                <a:cubicBezTo>
                  <a:pt x="1161" y="156"/>
                  <a:pt x="1162" y="156"/>
                  <a:pt x="1162" y="156"/>
                </a:cubicBezTo>
                <a:cubicBezTo>
                  <a:pt x="1162" y="155"/>
                  <a:pt x="1162" y="155"/>
                  <a:pt x="1163" y="155"/>
                </a:cubicBezTo>
                <a:cubicBezTo>
                  <a:pt x="1163" y="155"/>
                  <a:pt x="1163" y="154"/>
                  <a:pt x="1163" y="154"/>
                </a:cubicBezTo>
                <a:cubicBezTo>
                  <a:pt x="1163" y="153"/>
                  <a:pt x="1162" y="154"/>
                  <a:pt x="1163" y="153"/>
                </a:cubicBezTo>
                <a:cubicBezTo>
                  <a:pt x="1164" y="153"/>
                  <a:pt x="1164" y="152"/>
                  <a:pt x="1164" y="151"/>
                </a:cubicBezTo>
                <a:cubicBezTo>
                  <a:pt x="1164" y="151"/>
                  <a:pt x="1166" y="150"/>
                  <a:pt x="1166" y="150"/>
                </a:cubicBezTo>
                <a:cubicBezTo>
                  <a:pt x="1166" y="149"/>
                  <a:pt x="1166" y="149"/>
                  <a:pt x="1166" y="148"/>
                </a:cubicBezTo>
                <a:cubicBezTo>
                  <a:pt x="1166" y="148"/>
                  <a:pt x="1165" y="148"/>
                  <a:pt x="1165" y="148"/>
                </a:cubicBezTo>
                <a:cubicBezTo>
                  <a:pt x="1164" y="148"/>
                  <a:pt x="1165" y="147"/>
                  <a:pt x="1165" y="147"/>
                </a:cubicBezTo>
                <a:cubicBezTo>
                  <a:pt x="1165" y="146"/>
                  <a:pt x="1165" y="145"/>
                  <a:pt x="1166" y="145"/>
                </a:cubicBezTo>
                <a:cubicBezTo>
                  <a:pt x="1166" y="144"/>
                  <a:pt x="1166" y="144"/>
                  <a:pt x="1166" y="143"/>
                </a:cubicBezTo>
                <a:cubicBezTo>
                  <a:pt x="1166" y="143"/>
                  <a:pt x="1167" y="144"/>
                  <a:pt x="1167" y="143"/>
                </a:cubicBezTo>
                <a:cubicBezTo>
                  <a:pt x="1167" y="141"/>
                  <a:pt x="1165" y="141"/>
                  <a:pt x="1164" y="140"/>
                </a:cubicBezTo>
                <a:cubicBezTo>
                  <a:pt x="1164" y="140"/>
                  <a:pt x="1164" y="140"/>
                  <a:pt x="1164" y="139"/>
                </a:cubicBezTo>
                <a:cubicBezTo>
                  <a:pt x="1164" y="139"/>
                  <a:pt x="1163" y="139"/>
                  <a:pt x="1163" y="138"/>
                </a:cubicBezTo>
                <a:cubicBezTo>
                  <a:pt x="1163" y="138"/>
                  <a:pt x="1162" y="136"/>
                  <a:pt x="1162" y="136"/>
                </a:cubicBezTo>
                <a:cubicBezTo>
                  <a:pt x="1162" y="136"/>
                  <a:pt x="1162" y="135"/>
                  <a:pt x="1162" y="135"/>
                </a:cubicBezTo>
                <a:cubicBezTo>
                  <a:pt x="1162" y="134"/>
                  <a:pt x="1162" y="135"/>
                  <a:pt x="1162" y="134"/>
                </a:cubicBezTo>
                <a:cubicBezTo>
                  <a:pt x="1162" y="134"/>
                  <a:pt x="1161" y="132"/>
                  <a:pt x="1162" y="132"/>
                </a:cubicBezTo>
                <a:cubicBezTo>
                  <a:pt x="1162" y="132"/>
                  <a:pt x="1162" y="130"/>
                  <a:pt x="1163" y="130"/>
                </a:cubicBezTo>
                <a:cubicBezTo>
                  <a:pt x="1163" y="130"/>
                  <a:pt x="1163" y="129"/>
                  <a:pt x="1163" y="129"/>
                </a:cubicBezTo>
                <a:cubicBezTo>
                  <a:pt x="1164" y="129"/>
                  <a:pt x="1163" y="128"/>
                  <a:pt x="1163" y="127"/>
                </a:cubicBezTo>
                <a:cubicBezTo>
                  <a:pt x="1163" y="127"/>
                  <a:pt x="1163" y="127"/>
                  <a:pt x="1162" y="126"/>
                </a:cubicBezTo>
                <a:cubicBezTo>
                  <a:pt x="1162" y="126"/>
                  <a:pt x="1162" y="125"/>
                  <a:pt x="1162" y="125"/>
                </a:cubicBezTo>
                <a:cubicBezTo>
                  <a:pt x="1163" y="125"/>
                  <a:pt x="1163" y="124"/>
                  <a:pt x="1163" y="124"/>
                </a:cubicBezTo>
                <a:cubicBezTo>
                  <a:pt x="1162" y="124"/>
                  <a:pt x="1161" y="124"/>
                  <a:pt x="1161" y="123"/>
                </a:cubicBezTo>
                <a:cubicBezTo>
                  <a:pt x="1160" y="123"/>
                  <a:pt x="1160" y="123"/>
                  <a:pt x="1160" y="122"/>
                </a:cubicBezTo>
                <a:cubicBezTo>
                  <a:pt x="1160" y="122"/>
                  <a:pt x="1160" y="121"/>
                  <a:pt x="1159" y="121"/>
                </a:cubicBezTo>
                <a:cubicBezTo>
                  <a:pt x="1159" y="120"/>
                  <a:pt x="1159" y="119"/>
                  <a:pt x="1160" y="119"/>
                </a:cubicBezTo>
                <a:cubicBezTo>
                  <a:pt x="1160" y="118"/>
                  <a:pt x="1160" y="119"/>
                  <a:pt x="1160" y="118"/>
                </a:cubicBezTo>
                <a:cubicBezTo>
                  <a:pt x="1161" y="118"/>
                  <a:pt x="1161" y="117"/>
                  <a:pt x="1161" y="117"/>
                </a:cubicBezTo>
                <a:cubicBezTo>
                  <a:pt x="1162" y="117"/>
                  <a:pt x="1162" y="114"/>
                  <a:pt x="1163" y="114"/>
                </a:cubicBezTo>
                <a:cubicBezTo>
                  <a:pt x="1162" y="113"/>
                  <a:pt x="1162" y="112"/>
                  <a:pt x="1162" y="111"/>
                </a:cubicBezTo>
                <a:cubicBezTo>
                  <a:pt x="1163" y="111"/>
                  <a:pt x="1162" y="110"/>
                  <a:pt x="1163" y="110"/>
                </a:cubicBezTo>
                <a:cubicBezTo>
                  <a:pt x="1164" y="109"/>
                  <a:pt x="1163" y="109"/>
                  <a:pt x="1163" y="109"/>
                </a:cubicBezTo>
                <a:cubicBezTo>
                  <a:pt x="1163" y="108"/>
                  <a:pt x="1163" y="108"/>
                  <a:pt x="1163" y="107"/>
                </a:cubicBezTo>
                <a:cubicBezTo>
                  <a:pt x="1163" y="107"/>
                  <a:pt x="1163" y="107"/>
                  <a:pt x="1163" y="107"/>
                </a:cubicBezTo>
                <a:cubicBezTo>
                  <a:pt x="1163" y="106"/>
                  <a:pt x="1163" y="107"/>
                  <a:pt x="1163" y="106"/>
                </a:cubicBezTo>
                <a:cubicBezTo>
                  <a:pt x="1162" y="106"/>
                  <a:pt x="1162" y="105"/>
                  <a:pt x="1162" y="104"/>
                </a:cubicBezTo>
                <a:cubicBezTo>
                  <a:pt x="1161" y="104"/>
                  <a:pt x="1160" y="104"/>
                  <a:pt x="1160" y="103"/>
                </a:cubicBezTo>
                <a:cubicBezTo>
                  <a:pt x="1159" y="103"/>
                  <a:pt x="1159" y="103"/>
                  <a:pt x="1159" y="103"/>
                </a:cubicBezTo>
                <a:cubicBezTo>
                  <a:pt x="1158" y="103"/>
                  <a:pt x="1158" y="103"/>
                  <a:pt x="1157" y="103"/>
                </a:cubicBezTo>
                <a:cubicBezTo>
                  <a:pt x="1156" y="103"/>
                  <a:pt x="1155" y="103"/>
                  <a:pt x="1154" y="103"/>
                </a:cubicBezTo>
                <a:cubicBezTo>
                  <a:pt x="1153" y="103"/>
                  <a:pt x="1152" y="103"/>
                  <a:pt x="1151" y="103"/>
                </a:cubicBezTo>
                <a:cubicBezTo>
                  <a:pt x="1150" y="103"/>
                  <a:pt x="1150" y="103"/>
                  <a:pt x="1150" y="103"/>
                </a:cubicBezTo>
                <a:cubicBezTo>
                  <a:pt x="1151" y="104"/>
                  <a:pt x="1147" y="104"/>
                  <a:pt x="1147" y="105"/>
                </a:cubicBezTo>
                <a:cubicBezTo>
                  <a:pt x="1147" y="106"/>
                  <a:pt x="1147" y="105"/>
                  <a:pt x="1147" y="106"/>
                </a:cubicBezTo>
                <a:cubicBezTo>
                  <a:pt x="1147" y="106"/>
                  <a:pt x="1147" y="106"/>
                  <a:pt x="1147" y="106"/>
                </a:cubicBezTo>
                <a:cubicBezTo>
                  <a:pt x="1147" y="107"/>
                  <a:pt x="1147" y="106"/>
                  <a:pt x="1147" y="106"/>
                </a:cubicBezTo>
                <a:cubicBezTo>
                  <a:pt x="1146" y="107"/>
                  <a:pt x="1146" y="107"/>
                  <a:pt x="1146" y="108"/>
                </a:cubicBezTo>
                <a:cubicBezTo>
                  <a:pt x="1146" y="108"/>
                  <a:pt x="1146" y="108"/>
                  <a:pt x="1146" y="108"/>
                </a:cubicBezTo>
                <a:cubicBezTo>
                  <a:pt x="1146" y="108"/>
                  <a:pt x="1146" y="109"/>
                  <a:pt x="1146" y="109"/>
                </a:cubicBezTo>
                <a:cubicBezTo>
                  <a:pt x="1146" y="109"/>
                  <a:pt x="1146" y="109"/>
                  <a:pt x="1145" y="109"/>
                </a:cubicBezTo>
                <a:cubicBezTo>
                  <a:pt x="1145" y="109"/>
                  <a:pt x="1146" y="109"/>
                  <a:pt x="1145" y="109"/>
                </a:cubicBezTo>
                <a:cubicBezTo>
                  <a:pt x="1145" y="110"/>
                  <a:pt x="1145" y="109"/>
                  <a:pt x="1145" y="110"/>
                </a:cubicBezTo>
                <a:cubicBezTo>
                  <a:pt x="1145" y="111"/>
                  <a:pt x="1144" y="110"/>
                  <a:pt x="1144" y="111"/>
                </a:cubicBezTo>
                <a:cubicBezTo>
                  <a:pt x="1144" y="112"/>
                  <a:pt x="1142" y="113"/>
                  <a:pt x="1142" y="113"/>
                </a:cubicBezTo>
                <a:cubicBezTo>
                  <a:pt x="1141" y="114"/>
                  <a:pt x="1140" y="116"/>
                  <a:pt x="1140" y="116"/>
                </a:cubicBezTo>
                <a:cubicBezTo>
                  <a:pt x="1140" y="116"/>
                  <a:pt x="1140" y="117"/>
                  <a:pt x="1139" y="117"/>
                </a:cubicBezTo>
                <a:cubicBezTo>
                  <a:pt x="1139" y="117"/>
                  <a:pt x="1139" y="117"/>
                  <a:pt x="1138" y="117"/>
                </a:cubicBezTo>
                <a:cubicBezTo>
                  <a:pt x="1136" y="117"/>
                  <a:pt x="1136" y="119"/>
                  <a:pt x="1137" y="121"/>
                </a:cubicBezTo>
                <a:cubicBezTo>
                  <a:pt x="1136" y="120"/>
                  <a:pt x="1136" y="121"/>
                  <a:pt x="1136" y="121"/>
                </a:cubicBezTo>
                <a:cubicBezTo>
                  <a:pt x="1136" y="122"/>
                  <a:pt x="1137" y="122"/>
                  <a:pt x="1137" y="122"/>
                </a:cubicBezTo>
                <a:cubicBezTo>
                  <a:pt x="1137" y="123"/>
                  <a:pt x="1137" y="123"/>
                  <a:pt x="1137" y="123"/>
                </a:cubicBezTo>
                <a:cubicBezTo>
                  <a:pt x="1137" y="123"/>
                  <a:pt x="1137" y="123"/>
                  <a:pt x="1137" y="123"/>
                </a:cubicBezTo>
                <a:cubicBezTo>
                  <a:pt x="1137" y="124"/>
                  <a:pt x="1138" y="124"/>
                  <a:pt x="1138" y="125"/>
                </a:cubicBezTo>
                <a:cubicBezTo>
                  <a:pt x="1138" y="125"/>
                  <a:pt x="1137" y="126"/>
                  <a:pt x="1137" y="127"/>
                </a:cubicBezTo>
                <a:cubicBezTo>
                  <a:pt x="1138" y="127"/>
                  <a:pt x="1138" y="127"/>
                  <a:pt x="1138" y="128"/>
                </a:cubicBezTo>
                <a:cubicBezTo>
                  <a:pt x="1138" y="128"/>
                  <a:pt x="1138" y="129"/>
                  <a:pt x="1137" y="129"/>
                </a:cubicBezTo>
                <a:cubicBezTo>
                  <a:pt x="1137" y="129"/>
                  <a:pt x="1136" y="129"/>
                  <a:pt x="1136" y="129"/>
                </a:cubicBezTo>
                <a:cubicBezTo>
                  <a:pt x="1136" y="130"/>
                  <a:pt x="1136" y="132"/>
                  <a:pt x="1136" y="133"/>
                </a:cubicBezTo>
                <a:cubicBezTo>
                  <a:pt x="1137" y="133"/>
                  <a:pt x="1137" y="133"/>
                  <a:pt x="1138" y="133"/>
                </a:cubicBezTo>
                <a:cubicBezTo>
                  <a:pt x="1139" y="134"/>
                  <a:pt x="1140" y="134"/>
                  <a:pt x="1140" y="134"/>
                </a:cubicBezTo>
                <a:cubicBezTo>
                  <a:pt x="1140" y="134"/>
                  <a:pt x="1140" y="134"/>
                  <a:pt x="1140" y="134"/>
                </a:cubicBezTo>
                <a:cubicBezTo>
                  <a:pt x="1141" y="134"/>
                  <a:pt x="1141" y="134"/>
                  <a:pt x="1141" y="134"/>
                </a:cubicBezTo>
                <a:cubicBezTo>
                  <a:pt x="1141" y="135"/>
                  <a:pt x="1140" y="136"/>
                  <a:pt x="1140" y="137"/>
                </a:cubicBezTo>
                <a:cubicBezTo>
                  <a:pt x="1140" y="137"/>
                  <a:pt x="1140" y="138"/>
                  <a:pt x="1140" y="138"/>
                </a:cubicBezTo>
                <a:cubicBezTo>
                  <a:pt x="1141" y="139"/>
                  <a:pt x="1141" y="139"/>
                  <a:pt x="1141" y="139"/>
                </a:cubicBezTo>
                <a:cubicBezTo>
                  <a:pt x="1141" y="141"/>
                  <a:pt x="1142" y="140"/>
                  <a:pt x="1143" y="140"/>
                </a:cubicBezTo>
                <a:cubicBezTo>
                  <a:pt x="1143" y="141"/>
                  <a:pt x="1142" y="142"/>
                  <a:pt x="1142" y="144"/>
                </a:cubicBezTo>
                <a:cubicBezTo>
                  <a:pt x="1142" y="144"/>
                  <a:pt x="1141" y="144"/>
                  <a:pt x="1141" y="145"/>
                </a:cubicBezTo>
                <a:cubicBezTo>
                  <a:pt x="1141" y="145"/>
                  <a:pt x="1141" y="145"/>
                  <a:pt x="1141" y="145"/>
                </a:cubicBezTo>
                <a:cubicBezTo>
                  <a:pt x="1141" y="146"/>
                  <a:pt x="1141" y="146"/>
                  <a:pt x="1140" y="146"/>
                </a:cubicBezTo>
                <a:cubicBezTo>
                  <a:pt x="1139" y="146"/>
                  <a:pt x="1139" y="146"/>
                  <a:pt x="1139" y="145"/>
                </a:cubicBezTo>
                <a:cubicBezTo>
                  <a:pt x="1139" y="144"/>
                  <a:pt x="1139" y="144"/>
                  <a:pt x="1138" y="144"/>
                </a:cubicBezTo>
                <a:cubicBezTo>
                  <a:pt x="1137" y="144"/>
                  <a:pt x="1137" y="144"/>
                  <a:pt x="1137" y="143"/>
                </a:cubicBezTo>
                <a:cubicBezTo>
                  <a:pt x="1137" y="143"/>
                  <a:pt x="1136" y="142"/>
                  <a:pt x="1136" y="142"/>
                </a:cubicBezTo>
                <a:cubicBezTo>
                  <a:pt x="1135" y="141"/>
                  <a:pt x="1136" y="142"/>
                  <a:pt x="1135" y="141"/>
                </a:cubicBezTo>
                <a:cubicBezTo>
                  <a:pt x="1135" y="140"/>
                  <a:pt x="1134" y="140"/>
                  <a:pt x="1134" y="140"/>
                </a:cubicBezTo>
                <a:cubicBezTo>
                  <a:pt x="1134" y="139"/>
                  <a:pt x="1133" y="140"/>
                  <a:pt x="1133" y="139"/>
                </a:cubicBezTo>
                <a:cubicBezTo>
                  <a:pt x="1133" y="139"/>
                  <a:pt x="1132" y="139"/>
                  <a:pt x="1132" y="139"/>
                </a:cubicBezTo>
                <a:cubicBezTo>
                  <a:pt x="1131" y="139"/>
                  <a:pt x="1130" y="139"/>
                  <a:pt x="1130" y="138"/>
                </a:cubicBezTo>
                <a:cubicBezTo>
                  <a:pt x="1130" y="138"/>
                  <a:pt x="1130" y="138"/>
                  <a:pt x="1131" y="137"/>
                </a:cubicBezTo>
                <a:cubicBezTo>
                  <a:pt x="1129" y="137"/>
                  <a:pt x="1128" y="136"/>
                  <a:pt x="1127" y="136"/>
                </a:cubicBezTo>
                <a:cubicBezTo>
                  <a:pt x="1126" y="137"/>
                  <a:pt x="1125" y="140"/>
                  <a:pt x="1125" y="137"/>
                </a:cubicBezTo>
                <a:cubicBezTo>
                  <a:pt x="1125" y="137"/>
                  <a:pt x="1125" y="137"/>
                  <a:pt x="1125" y="136"/>
                </a:cubicBezTo>
                <a:cubicBezTo>
                  <a:pt x="1125" y="136"/>
                  <a:pt x="1126" y="134"/>
                  <a:pt x="1125" y="134"/>
                </a:cubicBezTo>
                <a:cubicBezTo>
                  <a:pt x="1124" y="134"/>
                  <a:pt x="1124" y="134"/>
                  <a:pt x="1123" y="134"/>
                </a:cubicBezTo>
                <a:cubicBezTo>
                  <a:pt x="1122" y="134"/>
                  <a:pt x="1121" y="134"/>
                  <a:pt x="1120" y="134"/>
                </a:cubicBezTo>
                <a:cubicBezTo>
                  <a:pt x="1119" y="134"/>
                  <a:pt x="1119" y="133"/>
                  <a:pt x="1119" y="132"/>
                </a:cubicBezTo>
                <a:cubicBezTo>
                  <a:pt x="1119" y="132"/>
                  <a:pt x="1119" y="133"/>
                  <a:pt x="1118" y="133"/>
                </a:cubicBezTo>
                <a:cubicBezTo>
                  <a:pt x="1118" y="132"/>
                  <a:pt x="1118" y="132"/>
                  <a:pt x="1118" y="132"/>
                </a:cubicBezTo>
                <a:cubicBezTo>
                  <a:pt x="1118" y="131"/>
                  <a:pt x="1117" y="132"/>
                  <a:pt x="1117" y="131"/>
                </a:cubicBezTo>
                <a:cubicBezTo>
                  <a:pt x="1117" y="131"/>
                  <a:pt x="1115" y="131"/>
                  <a:pt x="1115" y="132"/>
                </a:cubicBezTo>
                <a:cubicBezTo>
                  <a:pt x="1115" y="132"/>
                  <a:pt x="1114" y="132"/>
                  <a:pt x="1114" y="133"/>
                </a:cubicBezTo>
                <a:cubicBezTo>
                  <a:pt x="1113" y="133"/>
                  <a:pt x="1113" y="133"/>
                  <a:pt x="1112" y="132"/>
                </a:cubicBezTo>
                <a:cubicBezTo>
                  <a:pt x="1110" y="132"/>
                  <a:pt x="1109" y="132"/>
                  <a:pt x="1108" y="132"/>
                </a:cubicBezTo>
                <a:cubicBezTo>
                  <a:pt x="1107" y="132"/>
                  <a:pt x="1107" y="133"/>
                  <a:pt x="1107" y="133"/>
                </a:cubicBezTo>
                <a:cubicBezTo>
                  <a:pt x="1107" y="134"/>
                  <a:pt x="1106" y="133"/>
                  <a:pt x="1105" y="133"/>
                </a:cubicBezTo>
                <a:cubicBezTo>
                  <a:pt x="1105" y="133"/>
                  <a:pt x="1105" y="134"/>
                  <a:pt x="1104" y="134"/>
                </a:cubicBezTo>
                <a:cubicBezTo>
                  <a:pt x="1105" y="135"/>
                  <a:pt x="1106" y="136"/>
                  <a:pt x="1106" y="137"/>
                </a:cubicBezTo>
                <a:cubicBezTo>
                  <a:pt x="1106" y="138"/>
                  <a:pt x="1107" y="139"/>
                  <a:pt x="1107" y="140"/>
                </a:cubicBezTo>
                <a:cubicBezTo>
                  <a:pt x="1107" y="141"/>
                  <a:pt x="1107" y="141"/>
                  <a:pt x="1106" y="141"/>
                </a:cubicBezTo>
                <a:cubicBezTo>
                  <a:pt x="1106" y="141"/>
                  <a:pt x="1106" y="142"/>
                  <a:pt x="1106" y="142"/>
                </a:cubicBezTo>
                <a:cubicBezTo>
                  <a:pt x="1106" y="143"/>
                  <a:pt x="1105" y="143"/>
                  <a:pt x="1104" y="143"/>
                </a:cubicBezTo>
                <a:cubicBezTo>
                  <a:pt x="1104" y="143"/>
                  <a:pt x="1103" y="143"/>
                  <a:pt x="1103" y="142"/>
                </a:cubicBezTo>
                <a:cubicBezTo>
                  <a:pt x="1103" y="142"/>
                  <a:pt x="1102" y="142"/>
                  <a:pt x="1102" y="142"/>
                </a:cubicBezTo>
                <a:cubicBezTo>
                  <a:pt x="1102" y="143"/>
                  <a:pt x="1100" y="142"/>
                  <a:pt x="1101" y="144"/>
                </a:cubicBezTo>
                <a:cubicBezTo>
                  <a:pt x="1101" y="145"/>
                  <a:pt x="1101" y="145"/>
                  <a:pt x="1100" y="146"/>
                </a:cubicBezTo>
                <a:cubicBezTo>
                  <a:pt x="1100" y="145"/>
                  <a:pt x="1099" y="145"/>
                  <a:pt x="1099" y="145"/>
                </a:cubicBezTo>
                <a:cubicBezTo>
                  <a:pt x="1099" y="144"/>
                  <a:pt x="1098" y="144"/>
                  <a:pt x="1098" y="143"/>
                </a:cubicBezTo>
                <a:cubicBezTo>
                  <a:pt x="1098" y="143"/>
                  <a:pt x="1098" y="142"/>
                  <a:pt x="1098" y="142"/>
                </a:cubicBezTo>
                <a:cubicBezTo>
                  <a:pt x="1097" y="141"/>
                  <a:pt x="1098" y="141"/>
                  <a:pt x="1098" y="140"/>
                </a:cubicBezTo>
                <a:cubicBezTo>
                  <a:pt x="1096" y="140"/>
                  <a:pt x="1095" y="140"/>
                  <a:pt x="1093" y="141"/>
                </a:cubicBezTo>
                <a:cubicBezTo>
                  <a:pt x="1092" y="141"/>
                  <a:pt x="1092" y="141"/>
                  <a:pt x="1091" y="142"/>
                </a:cubicBezTo>
                <a:cubicBezTo>
                  <a:pt x="1091" y="143"/>
                  <a:pt x="1090" y="143"/>
                  <a:pt x="1089" y="143"/>
                </a:cubicBezTo>
                <a:cubicBezTo>
                  <a:pt x="1088" y="142"/>
                  <a:pt x="1088" y="141"/>
                  <a:pt x="1087" y="141"/>
                </a:cubicBezTo>
                <a:cubicBezTo>
                  <a:pt x="1086" y="141"/>
                  <a:pt x="1085" y="141"/>
                  <a:pt x="1083" y="141"/>
                </a:cubicBezTo>
                <a:cubicBezTo>
                  <a:pt x="1082" y="142"/>
                  <a:pt x="1080" y="143"/>
                  <a:pt x="1078" y="143"/>
                </a:cubicBezTo>
                <a:cubicBezTo>
                  <a:pt x="1078" y="144"/>
                  <a:pt x="1079" y="144"/>
                  <a:pt x="1079" y="145"/>
                </a:cubicBezTo>
                <a:cubicBezTo>
                  <a:pt x="1079" y="145"/>
                  <a:pt x="1079" y="145"/>
                  <a:pt x="1078" y="145"/>
                </a:cubicBezTo>
                <a:cubicBezTo>
                  <a:pt x="1078" y="145"/>
                  <a:pt x="1077" y="145"/>
                  <a:pt x="1077" y="144"/>
                </a:cubicBezTo>
                <a:cubicBezTo>
                  <a:pt x="1076" y="144"/>
                  <a:pt x="1075" y="145"/>
                  <a:pt x="1074" y="145"/>
                </a:cubicBezTo>
                <a:cubicBezTo>
                  <a:pt x="1074" y="146"/>
                  <a:pt x="1073" y="145"/>
                  <a:pt x="1073" y="145"/>
                </a:cubicBezTo>
                <a:cubicBezTo>
                  <a:pt x="1072" y="145"/>
                  <a:pt x="1071" y="145"/>
                  <a:pt x="1070" y="145"/>
                </a:cubicBezTo>
                <a:cubicBezTo>
                  <a:pt x="1070" y="143"/>
                  <a:pt x="1071" y="144"/>
                  <a:pt x="1073" y="144"/>
                </a:cubicBezTo>
                <a:cubicBezTo>
                  <a:pt x="1073" y="144"/>
                  <a:pt x="1073" y="144"/>
                  <a:pt x="1073" y="144"/>
                </a:cubicBezTo>
                <a:cubicBezTo>
                  <a:pt x="1073" y="142"/>
                  <a:pt x="1072" y="142"/>
                  <a:pt x="1072" y="141"/>
                </a:cubicBezTo>
                <a:cubicBezTo>
                  <a:pt x="1072" y="140"/>
                  <a:pt x="1071" y="141"/>
                  <a:pt x="1070" y="141"/>
                </a:cubicBezTo>
                <a:cubicBezTo>
                  <a:pt x="1070" y="140"/>
                  <a:pt x="1071" y="139"/>
                  <a:pt x="1071" y="139"/>
                </a:cubicBezTo>
                <a:cubicBezTo>
                  <a:pt x="1070" y="139"/>
                  <a:pt x="1069" y="139"/>
                  <a:pt x="1069" y="139"/>
                </a:cubicBezTo>
                <a:cubicBezTo>
                  <a:pt x="1068" y="140"/>
                  <a:pt x="1070" y="140"/>
                  <a:pt x="1068" y="140"/>
                </a:cubicBezTo>
                <a:cubicBezTo>
                  <a:pt x="1068" y="140"/>
                  <a:pt x="1068" y="140"/>
                  <a:pt x="1068" y="141"/>
                </a:cubicBezTo>
                <a:cubicBezTo>
                  <a:pt x="1067" y="141"/>
                  <a:pt x="1067" y="141"/>
                  <a:pt x="1066" y="141"/>
                </a:cubicBezTo>
                <a:cubicBezTo>
                  <a:pt x="1065" y="141"/>
                  <a:pt x="1066" y="142"/>
                  <a:pt x="1066" y="143"/>
                </a:cubicBezTo>
                <a:cubicBezTo>
                  <a:pt x="1066" y="143"/>
                  <a:pt x="1066" y="144"/>
                  <a:pt x="1065" y="144"/>
                </a:cubicBezTo>
                <a:cubicBezTo>
                  <a:pt x="1065" y="144"/>
                  <a:pt x="1065" y="143"/>
                  <a:pt x="1065" y="142"/>
                </a:cubicBezTo>
                <a:cubicBezTo>
                  <a:pt x="1064" y="142"/>
                  <a:pt x="1063" y="142"/>
                  <a:pt x="1062" y="143"/>
                </a:cubicBezTo>
                <a:cubicBezTo>
                  <a:pt x="1061" y="143"/>
                  <a:pt x="1061" y="144"/>
                  <a:pt x="1060" y="144"/>
                </a:cubicBezTo>
                <a:cubicBezTo>
                  <a:pt x="1059" y="144"/>
                  <a:pt x="1059" y="144"/>
                  <a:pt x="1058" y="144"/>
                </a:cubicBezTo>
                <a:cubicBezTo>
                  <a:pt x="1059" y="144"/>
                  <a:pt x="1057" y="144"/>
                  <a:pt x="1058" y="144"/>
                </a:cubicBezTo>
                <a:cubicBezTo>
                  <a:pt x="1057" y="145"/>
                  <a:pt x="1056" y="145"/>
                  <a:pt x="1055" y="145"/>
                </a:cubicBezTo>
                <a:cubicBezTo>
                  <a:pt x="1055" y="145"/>
                  <a:pt x="1055" y="146"/>
                  <a:pt x="1055" y="146"/>
                </a:cubicBezTo>
                <a:cubicBezTo>
                  <a:pt x="1054" y="146"/>
                  <a:pt x="1054" y="146"/>
                  <a:pt x="1054" y="146"/>
                </a:cubicBezTo>
                <a:cubicBezTo>
                  <a:pt x="1053" y="147"/>
                  <a:pt x="1052" y="147"/>
                  <a:pt x="1051" y="147"/>
                </a:cubicBezTo>
                <a:cubicBezTo>
                  <a:pt x="1050" y="148"/>
                  <a:pt x="1049" y="148"/>
                  <a:pt x="1048" y="148"/>
                </a:cubicBezTo>
                <a:cubicBezTo>
                  <a:pt x="1048" y="148"/>
                  <a:pt x="1048" y="148"/>
                  <a:pt x="1048" y="149"/>
                </a:cubicBezTo>
                <a:cubicBezTo>
                  <a:pt x="1048" y="149"/>
                  <a:pt x="1047" y="149"/>
                  <a:pt x="1047" y="150"/>
                </a:cubicBezTo>
                <a:cubicBezTo>
                  <a:pt x="1047" y="149"/>
                  <a:pt x="1047" y="149"/>
                  <a:pt x="1046" y="149"/>
                </a:cubicBezTo>
                <a:cubicBezTo>
                  <a:pt x="1046" y="150"/>
                  <a:pt x="1045" y="150"/>
                  <a:pt x="1044" y="150"/>
                </a:cubicBezTo>
                <a:cubicBezTo>
                  <a:pt x="1044" y="152"/>
                  <a:pt x="1043" y="153"/>
                  <a:pt x="1043" y="155"/>
                </a:cubicBezTo>
                <a:cubicBezTo>
                  <a:pt x="1043" y="155"/>
                  <a:pt x="1043" y="156"/>
                  <a:pt x="1043" y="157"/>
                </a:cubicBezTo>
                <a:cubicBezTo>
                  <a:pt x="1043" y="157"/>
                  <a:pt x="1042" y="157"/>
                  <a:pt x="1041" y="156"/>
                </a:cubicBezTo>
                <a:cubicBezTo>
                  <a:pt x="1041" y="157"/>
                  <a:pt x="1041" y="158"/>
                  <a:pt x="1040" y="158"/>
                </a:cubicBezTo>
                <a:cubicBezTo>
                  <a:pt x="1040" y="158"/>
                  <a:pt x="1039" y="158"/>
                  <a:pt x="1039" y="158"/>
                </a:cubicBezTo>
                <a:cubicBezTo>
                  <a:pt x="1039" y="158"/>
                  <a:pt x="1039" y="158"/>
                  <a:pt x="1039" y="158"/>
                </a:cubicBezTo>
                <a:cubicBezTo>
                  <a:pt x="1038" y="158"/>
                  <a:pt x="1038" y="158"/>
                  <a:pt x="1037" y="158"/>
                </a:cubicBezTo>
                <a:cubicBezTo>
                  <a:pt x="1036" y="158"/>
                  <a:pt x="1036" y="159"/>
                  <a:pt x="1036" y="159"/>
                </a:cubicBezTo>
                <a:cubicBezTo>
                  <a:pt x="1035" y="159"/>
                  <a:pt x="1035" y="159"/>
                  <a:pt x="1034" y="158"/>
                </a:cubicBezTo>
                <a:cubicBezTo>
                  <a:pt x="1034" y="157"/>
                  <a:pt x="1034" y="156"/>
                  <a:pt x="1034" y="155"/>
                </a:cubicBezTo>
                <a:cubicBezTo>
                  <a:pt x="1033" y="155"/>
                  <a:pt x="1033" y="155"/>
                  <a:pt x="1033" y="154"/>
                </a:cubicBezTo>
                <a:cubicBezTo>
                  <a:pt x="1033" y="153"/>
                  <a:pt x="1033" y="153"/>
                  <a:pt x="1033" y="153"/>
                </a:cubicBezTo>
                <a:cubicBezTo>
                  <a:pt x="1034" y="152"/>
                  <a:pt x="1034" y="152"/>
                  <a:pt x="1034" y="151"/>
                </a:cubicBezTo>
                <a:cubicBezTo>
                  <a:pt x="1034" y="150"/>
                  <a:pt x="1036" y="151"/>
                  <a:pt x="1036" y="151"/>
                </a:cubicBezTo>
                <a:cubicBezTo>
                  <a:pt x="1036" y="150"/>
                  <a:pt x="1039" y="150"/>
                  <a:pt x="1040" y="150"/>
                </a:cubicBezTo>
                <a:cubicBezTo>
                  <a:pt x="1040" y="149"/>
                  <a:pt x="1039" y="149"/>
                  <a:pt x="1039" y="148"/>
                </a:cubicBezTo>
                <a:cubicBezTo>
                  <a:pt x="1039" y="148"/>
                  <a:pt x="1039" y="148"/>
                  <a:pt x="1039" y="148"/>
                </a:cubicBezTo>
                <a:cubicBezTo>
                  <a:pt x="1039" y="148"/>
                  <a:pt x="1039" y="147"/>
                  <a:pt x="1039" y="147"/>
                </a:cubicBezTo>
                <a:cubicBezTo>
                  <a:pt x="1038" y="146"/>
                  <a:pt x="1037" y="146"/>
                  <a:pt x="1037" y="145"/>
                </a:cubicBezTo>
                <a:cubicBezTo>
                  <a:pt x="1037" y="143"/>
                  <a:pt x="1035" y="142"/>
                  <a:pt x="1035" y="142"/>
                </a:cubicBezTo>
                <a:cubicBezTo>
                  <a:pt x="1033" y="142"/>
                  <a:pt x="1032" y="141"/>
                  <a:pt x="1030" y="141"/>
                </a:cubicBezTo>
                <a:cubicBezTo>
                  <a:pt x="1030" y="141"/>
                  <a:pt x="1029" y="141"/>
                  <a:pt x="1029" y="141"/>
                </a:cubicBezTo>
                <a:cubicBezTo>
                  <a:pt x="1029" y="140"/>
                  <a:pt x="1028" y="141"/>
                  <a:pt x="1027" y="140"/>
                </a:cubicBezTo>
                <a:cubicBezTo>
                  <a:pt x="1027" y="140"/>
                  <a:pt x="1026" y="139"/>
                  <a:pt x="1025" y="139"/>
                </a:cubicBezTo>
                <a:cubicBezTo>
                  <a:pt x="1025" y="140"/>
                  <a:pt x="1026" y="142"/>
                  <a:pt x="1027" y="142"/>
                </a:cubicBezTo>
                <a:cubicBezTo>
                  <a:pt x="1028" y="143"/>
                  <a:pt x="1027" y="143"/>
                  <a:pt x="1028" y="143"/>
                </a:cubicBezTo>
                <a:cubicBezTo>
                  <a:pt x="1028" y="143"/>
                  <a:pt x="1028" y="143"/>
                  <a:pt x="1028" y="143"/>
                </a:cubicBezTo>
                <a:cubicBezTo>
                  <a:pt x="1028" y="144"/>
                  <a:pt x="1028" y="144"/>
                  <a:pt x="1028" y="145"/>
                </a:cubicBezTo>
                <a:cubicBezTo>
                  <a:pt x="1028" y="145"/>
                  <a:pt x="1028" y="145"/>
                  <a:pt x="1028" y="145"/>
                </a:cubicBezTo>
                <a:cubicBezTo>
                  <a:pt x="1028" y="145"/>
                  <a:pt x="1028" y="146"/>
                  <a:pt x="1027" y="146"/>
                </a:cubicBezTo>
                <a:cubicBezTo>
                  <a:pt x="1027" y="146"/>
                  <a:pt x="1027" y="147"/>
                  <a:pt x="1027" y="147"/>
                </a:cubicBezTo>
                <a:cubicBezTo>
                  <a:pt x="1027" y="148"/>
                  <a:pt x="1027" y="148"/>
                  <a:pt x="1026" y="148"/>
                </a:cubicBezTo>
                <a:cubicBezTo>
                  <a:pt x="1026" y="148"/>
                  <a:pt x="1026" y="148"/>
                  <a:pt x="1026" y="149"/>
                </a:cubicBezTo>
                <a:cubicBezTo>
                  <a:pt x="1025" y="149"/>
                  <a:pt x="1026" y="149"/>
                  <a:pt x="1026" y="150"/>
                </a:cubicBezTo>
                <a:cubicBezTo>
                  <a:pt x="1025" y="150"/>
                  <a:pt x="1025" y="150"/>
                  <a:pt x="1025" y="151"/>
                </a:cubicBezTo>
                <a:cubicBezTo>
                  <a:pt x="1025" y="151"/>
                  <a:pt x="1024" y="152"/>
                  <a:pt x="1025" y="152"/>
                </a:cubicBezTo>
                <a:cubicBezTo>
                  <a:pt x="1026" y="152"/>
                  <a:pt x="1026" y="153"/>
                  <a:pt x="1027" y="153"/>
                </a:cubicBezTo>
                <a:cubicBezTo>
                  <a:pt x="1027" y="154"/>
                  <a:pt x="1027" y="154"/>
                  <a:pt x="1027" y="154"/>
                </a:cubicBezTo>
                <a:cubicBezTo>
                  <a:pt x="1027" y="154"/>
                  <a:pt x="1027" y="154"/>
                  <a:pt x="1027" y="154"/>
                </a:cubicBezTo>
                <a:cubicBezTo>
                  <a:pt x="1027" y="156"/>
                  <a:pt x="1026" y="156"/>
                  <a:pt x="1025" y="156"/>
                </a:cubicBezTo>
                <a:cubicBezTo>
                  <a:pt x="1025" y="157"/>
                  <a:pt x="1025" y="158"/>
                  <a:pt x="1025" y="158"/>
                </a:cubicBezTo>
                <a:cubicBezTo>
                  <a:pt x="1025" y="158"/>
                  <a:pt x="1024" y="158"/>
                  <a:pt x="1024" y="158"/>
                </a:cubicBezTo>
                <a:cubicBezTo>
                  <a:pt x="1024" y="159"/>
                  <a:pt x="1024" y="159"/>
                  <a:pt x="1024" y="159"/>
                </a:cubicBezTo>
                <a:cubicBezTo>
                  <a:pt x="1024" y="160"/>
                  <a:pt x="1023" y="162"/>
                  <a:pt x="1024" y="162"/>
                </a:cubicBezTo>
                <a:cubicBezTo>
                  <a:pt x="1023" y="162"/>
                  <a:pt x="1022" y="162"/>
                  <a:pt x="1021" y="162"/>
                </a:cubicBezTo>
                <a:cubicBezTo>
                  <a:pt x="1022" y="162"/>
                  <a:pt x="1022" y="161"/>
                  <a:pt x="1022" y="161"/>
                </a:cubicBezTo>
                <a:cubicBezTo>
                  <a:pt x="1022" y="161"/>
                  <a:pt x="1022" y="161"/>
                  <a:pt x="1021" y="160"/>
                </a:cubicBezTo>
                <a:cubicBezTo>
                  <a:pt x="1021" y="160"/>
                  <a:pt x="1021" y="160"/>
                  <a:pt x="1021" y="160"/>
                </a:cubicBezTo>
                <a:cubicBezTo>
                  <a:pt x="1020" y="160"/>
                  <a:pt x="1020" y="159"/>
                  <a:pt x="1019" y="159"/>
                </a:cubicBezTo>
                <a:cubicBezTo>
                  <a:pt x="1018" y="159"/>
                  <a:pt x="1018" y="159"/>
                  <a:pt x="1018" y="158"/>
                </a:cubicBezTo>
                <a:cubicBezTo>
                  <a:pt x="1017" y="158"/>
                  <a:pt x="1017" y="158"/>
                  <a:pt x="1016" y="158"/>
                </a:cubicBezTo>
                <a:cubicBezTo>
                  <a:pt x="1016" y="158"/>
                  <a:pt x="1016" y="159"/>
                  <a:pt x="1015" y="159"/>
                </a:cubicBezTo>
                <a:cubicBezTo>
                  <a:pt x="1014" y="159"/>
                  <a:pt x="1014" y="160"/>
                  <a:pt x="1013" y="160"/>
                </a:cubicBezTo>
                <a:cubicBezTo>
                  <a:pt x="1012" y="160"/>
                  <a:pt x="1011" y="160"/>
                  <a:pt x="1011" y="162"/>
                </a:cubicBezTo>
                <a:cubicBezTo>
                  <a:pt x="1011" y="162"/>
                  <a:pt x="1009" y="164"/>
                  <a:pt x="1008" y="164"/>
                </a:cubicBezTo>
                <a:cubicBezTo>
                  <a:pt x="1008" y="164"/>
                  <a:pt x="1008" y="164"/>
                  <a:pt x="1007" y="164"/>
                </a:cubicBezTo>
                <a:cubicBezTo>
                  <a:pt x="1007" y="165"/>
                  <a:pt x="1007" y="166"/>
                  <a:pt x="1007" y="167"/>
                </a:cubicBezTo>
                <a:cubicBezTo>
                  <a:pt x="1008" y="167"/>
                  <a:pt x="1008" y="168"/>
                  <a:pt x="1009" y="168"/>
                </a:cubicBezTo>
                <a:cubicBezTo>
                  <a:pt x="1009" y="168"/>
                  <a:pt x="1009" y="169"/>
                  <a:pt x="1009" y="169"/>
                </a:cubicBezTo>
                <a:cubicBezTo>
                  <a:pt x="1009" y="169"/>
                  <a:pt x="1010" y="169"/>
                  <a:pt x="1010" y="169"/>
                </a:cubicBezTo>
                <a:cubicBezTo>
                  <a:pt x="1011" y="171"/>
                  <a:pt x="1011" y="171"/>
                  <a:pt x="1011" y="172"/>
                </a:cubicBezTo>
                <a:cubicBezTo>
                  <a:pt x="1010" y="172"/>
                  <a:pt x="1010" y="172"/>
                  <a:pt x="1009" y="172"/>
                </a:cubicBezTo>
                <a:cubicBezTo>
                  <a:pt x="1009" y="172"/>
                  <a:pt x="1009" y="172"/>
                  <a:pt x="1009" y="172"/>
                </a:cubicBezTo>
                <a:cubicBezTo>
                  <a:pt x="1008" y="172"/>
                  <a:pt x="1007" y="172"/>
                  <a:pt x="1006" y="172"/>
                </a:cubicBezTo>
                <a:cubicBezTo>
                  <a:pt x="1006" y="172"/>
                  <a:pt x="1007" y="171"/>
                  <a:pt x="1006" y="171"/>
                </a:cubicBezTo>
                <a:cubicBezTo>
                  <a:pt x="1006" y="171"/>
                  <a:pt x="1005" y="171"/>
                  <a:pt x="1005" y="171"/>
                </a:cubicBezTo>
                <a:cubicBezTo>
                  <a:pt x="1005" y="171"/>
                  <a:pt x="1005" y="171"/>
                  <a:pt x="1005" y="171"/>
                </a:cubicBezTo>
                <a:cubicBezTo>
                  <a:pt x="1004" y="171"/>
                  <a:pt x="1003" y="171"/>
                  <a:pt x="1003" y="170"/>
                </a:cubicBezTo>
                <a:cubicBezTo>
                  <a:pt x="1003" y="170"/>
                  <a:pt x="1002" y="170"/>
                  <a:pt x="1002" y="171"/>
                </a:cubicBezTo>
                <a:cubicBezTo>
                  <a:pt x="1002" y="171"/>
                  <a:pt x="1002" y="172"/>
                  <a:pt x="1001" y="171"/>
                </a:cubicBezTo>
                <a:cubicBezTo>
                  <a:pt x="1001" y="171"/>
                  <a:pt x="1003" y="170"/>
                  <a:pt x="1003" y="169"/>
                </a:cubicBezTo>
                <a:cubicBezTo>
                  <a:pt x="1002" y="169"/>
                  <a:pt x="1002" y="169"/>
                  <a:pt x="1000" y="168"/>
                </a:cubicBezTo>
                <a:cubicBezTo>
                  <a:pt x="1000" y="168"/>
                  <a:pt x="1000" y="168"/>
                  <a:pt x="999" y="167"/>
                </a:cubicBezTo>
                <a:cubicBezTo>
                  <a:pt x="998" y="167"/>
                  <a:pt x="997" y="166"/>
                  <a:pt x="997" y="166"/>
                </a:cubicBezTo>
                <a:cubicBezTo>
                  <a:pt x="996" y="167"/>
                  <a:pt x="996" y="168"/>
                  <a:pt x="997" y="169"/>
                </a:cubicBezTo>
                <a:cubicBezTo>
                  <a:pt x="996" y="169"/>
                  <a:pt x="996" y="169"/>
                  <a:pt x="995" y="170"/>
                </a:cubicBezTo>
                <a:cubicBezTo>
                  <a:pt x="995" y="170"/>
                  <a:pt x="995" y="171"/>
                  <a:pt x="996" y="171"/>
                </a:cubicBezTo>
                <a:cubicBezTo>
                  <a:pt x="996" y="171"/>
                  <a:pt x="996" y="172"/>
                  <a:pt x="996" y="172"/>
                </a:cubicBezTo>
                <a:cubicBezTo>
                  <a:pt x="997" y="173"/>
                  <a:pt x="998" y="174"/>
                  <a:pt x="999" y="174"/>
                </a:cubicBezTo>
                <a:cubicBezTo>
                  <a:pt x="1000" y="174"/>
                  <a:pt x="1000" y="175"/>
                  <a:pt x="1000" y="176"/>
                </a:cubicBezTo>
                <a:cubicBezTo>
                  <a:pt x="1000" y="177"/>
                  <a:pt x="1000" y="177"/>
                  <a:pt x="1000" y="177"/>
                </a:cubicBezTo>
                <a:cubicBezTo>
                  <a:pt x="1000" y="178"/>
                  <a:pt x="999" y="178"/>
                  <a:pt x="999" y="178"/>
                </a:cubicBezTo>
                <a:cubicBezTo>
                  <a:pt x="1000" y="178"/>
                  <a:pt x="1000" y="179"/>
                  <a:pt x="1000" y="179"/>
                </a:cubicBezTo>
                <a:cubicBezTo>
                  <a:pt x="1000" y="179"/>
                  <a:pt x="998" y="179"/>
                  <a:pt x="998" y="179"/>
                </a:cubicBezTo>
                <a:cubicBezTo>
                  <a:pt x="997" y="180"/>
                  <a:pt x="999" y="180"/>
                  <a:pt x="997" y="180"/>
                </a:cubicBezTo>
                <a:cubicBezTo>
                  <a:pt x="997" y="180"/>
                  <a:pt x="997" y="180"/>
                  <a:pt x="997" y="180"/>
                </a:cubicBezTo>
                <a:cubicBezTo>
                  <a:pt x="997" y="179"/>
                  <a:pt x="995" y="179"/>
                  <a:pt x="995" y="179"/>
                </a:cubicBezTo>
                <a:cubicBezTo>
                  <a:pt x="994" y="178"/>
                  <a:pt x="992" y="178"/>
                  <a:pt x="991" y="179"/>
                </a:cubicBezTo>
                <a:cubicBezTo>
                  <a:pt x="990" y="178"/>
                  <a:pt x="990" y="177"/>
                  <a:pt x="990" y="177"/>
                </a:cubicBezTo>
                <a:cubicBezTo>
                  <a:pt x="990" y="176"/>
                  <a:pt x="990" y="176"/>
                  <a:pt x="989" y="175"/>
                </a:cubicBezTo>
                <a:cubicBezTo>
                  <a:pt x="989" y="175"/>
                  <a:pt x="988" y="175"/>
                  <a:pt x="988" y="176"/>
                </a:cubicBezTo>
                <a:cubicBezTo>
                  <a:pt x="987" y="176"/>
                  <a:pt x="986" y="176"/>
                  <a:pt x="986" y="174"/>
                </a:cubicBezTo>
                <a:cubicBezTo>
                  <a:pt x="986" y="174"/>
                  <a:pt x="986" y="173"/>
                  <a:pt x="986" y="172"/>
                </a:cubicBezTo>
                <a:cubicBezTo>
                  <a:pt x="986" y="172"/>
                  <a:pt x="986" y="172"/>
                  <a:pt x="986" y="172"/>
                </a:cubicBezTo>
                <a:cubicBezTo>
                  <a:pt x="985" y="172"/>
                  <a:pt x="986" y="171"/>
                  <a:pt x="986" y="171"/>
                </a:cubicBezTo>
                <a:cubicBezTo>
                  <a:pt x="986" y="170"/>
                  <a:pt x="986" y="169"/>
                  <a:pt x="986" y="169"/>
                </a:cubicBezTo>
                <a:cubicBezTo>
                  <a:pt x="985" y="169"/>
                  <a:pt x="985" y="169"/>
                  <a:pt x="985" y="168"/>
                </a:cubicBezTo>
                <a:cubicBezTo>
                  <a:pt x="985" y="168"/>
                  <a:pt x="985" y="167"/>
                  <a:pt x="984" y="167"/>
                </a:cubicBezTo>
                <a:cubicBezTo>
                  <a:pt x="985" y="167"/>
                  <a:pt x="984" y="165"/>
                  <a:pt x="985" y="165"/>
                </a:cubicBezTo>
                <a:cubicBezTo>
                  <a:pt x="986" y="165"/>
                  <a:pt x="985" y="163"/>
                  <a:pt x="985" y="163"/>
                </a:cubicBezTo>
                <a:cubicBezTo>
                  <a:pt x="984" y="163"/>
                  <a:pt x="984" y="163"/>
                  <a:pt x="984" y="163"/>
                </a:cubicBezTo>
                <a:cubicBezTo>
                  <a:pt x="983" y="162"/>
                  <a:pt x="983" y="162"/>
                  <a:pt x="983" y="162"/>
                </a:cubicBezTo>
                <a:cubicBezTo>
                  <a:pt x="983" y="161"/>
                  <a:pt x="981" y="162"/>
                  <a:pt x="981" y="162"/>
                </a:cubicBezTo>
                <a:cubicBezTo>
                  <a:pt x="980" y="162"/>
                  <a:pt x="981" y="161"/>
                  <a:pt x="980" y="161"/>
                </a:cubicBezTo>
                <a:cubicBezTo>
                  <a:pt x="980" y="161"/>
                  <a:pt x="980" y="161"/>
                  <a:pt x="980" y="161"/>
                </a:cubicBezTo>
                <a:cubicBezTo>
                  <a:pt x="979" y="161"/>
                  <a:pt x="980" y="161"/>
                  <a:pt x="980" y="161"/>
                </a:cubicBezTo>
                <a:cubicBezTo>
                  <a:pt x="979" y="161"/>
                  <a:pt x="978" y="161"/>
                  <a:pt x="977" y="160"/>
                </a:cubicBezTo>
                <a:cubicBezTo>
                  <a:pt x="977" y="160"/>
                  <a:pt x="976" y="160"/>
                  <a:pt x="975" y="160"/>
                </a:cubicBezTo>
                <a:cubicBezTo>
                  <a:pt x="975" y="160"/>
                  <a:pt x="975" y="160"/>
                  <a:pt x="975" y="160"/>
                </a:cubicBezTo>
                <a:cubicBezTo>
                  <a:pt x="976" y="160"/>
                  <a:pt x="976" y="160"/>
                  <a:pt x="977" y="160"/>
                </a:cubicBezTo>
                <a:cubicBezTo>
                  <a:pt x="977" y="160"/>
                  <a:pt x="977" y="159"/>
                  <a:pt x="977" y="159"/>
                </a:cubicBezTo>
                <a:cubicBezTo>
                  <a:pt x="977" y="159"/>
                  <a:pt x="977" y="158"/>
                  <a:pt x="977" y="159"/>
                </a:cubicBezTo>
                <a:cubicBezTo>
                  <a:pt x="976" y="159"/>
                  <a:pt x="975" y="158"/>
                  <a:pt x="975" y="158"/>
                </a:cubicBezTo>
                <a:cubicBezTo>
                  <a:pt x="974" y="158"/>
                  <a:pt x="974" y="157"/>
                  <a:pt x="974" y="157"/>
                </a:cubicBezTo>
                <a:cubicBezTo>
                  <a:pt x="975" y="157"/>
                  <a:pt x="975" y="157"/>
                  <a:pt x="976" y="156"/>
                </a:cubicBezTo>
                <a:cubicBezTo>
                  <a:pt x="974" y="155"/>
                  <a:pt x="974" y="155"/>
                  <a:pt x="973" y="156"/>
                </a:cubicBezTo>
                <a:cubicBezTo>
                  <a:pt x="973" y="156"/>
                  <a:pt x="973" y="156"/>
                  <a:pt x="973" y="155"/>
                </a:cubicBezTo>
                <a:cubicBezTo>
                  <a:pt x="973" y="155"/>
                  <a:pt x="972" y="155"/>
                  <a:pt x="972" y="155"/>
                </a:cubicBezTo>
                <a:cubicBezTo>
                  <a:pt x="972" y="155"/>
                  <a:pt x="973" y="155"/>
                  <a:pt x="973" y="154"/>
                </a:cubicBezTo>
                <a:cubicBezTo>
                  <a:pt x="973" y="154"/>
                  <a:pt x="973" y="154"/>
                  <a:pt x="972" y="154"/>
                </a:cubicBezTo>
                <a:cubicBezTo>
                  <a:pt x="972" y="154"/>
                  <a:pt x="972" y="153"/>
                  <a:pt x="972" y="153"/>
                </a:cubicBezTo>
                <a:cubicBezTo>
                  <a:pt x="972" y="153"/>
                  <a:pt x="972" y="152"/>
                  <a:pt x="971" y="152"/>
                </a:cubicBezTo>
                <a:cubicBezTo>
                  <a:pt x="971" y="152"/>
                  <a:pt x="970" y="152"/>
                  <a:pt x="971" y="151"/>
                </a:cubicBezTo>
                <a:cubicBezTo>
                  <a:pt x="971" y="151"/>
                  <a:pt x="971" y="151"/>
                  <a:pt x="972" y="151"/>
                </a:cubicBezTo>
                <a:cubicBezTo>
                  <a:pt x="972" y="152"/>
                  <a:pt x="972" y="151"/>
                  <a:pt x="973" y="152"/>
                </a:cubicBezTo>
                <a:cubicBezTo>
                  <a:pt x="974" y="152"/>
                  <a:pt x="973" y="153"/>
                  <a:pt x="974" y="153"/>
                </a:cubicBezTo>
                <a:cubicBezTo>
                  <a:pt x="974" y="153"/>
                  <a:pt x="974" y="153"/>
                  <a:pt x="975" y="153"/>
                </a:cubicBezTo>
                <a:cubicBezTo>
                  <a:pt x="975" y="153"/>
                  <a:pt x="975" y="154"/>
                  <a:pt x="975" y="154"/>
                </a:cubicBezTo>
                <a:cubicBezTo>
                  <a:pt x="976" y="154"/>
                  <a:pt x="976" y="154"/>
                  <a:pt x="976" y="154"/>
                </a:cubicBezTo>
                <a:cubicBezTo>
                  <a:pt x="977" y="154"/>
                  <a:pt x="978" y="154"/>
                  <a:pt x="978" y="154"/>
                </a:cubicBezTo>
                <a:cubicBezTo>
                  <a:pt x="978" y="155"/>
                  <a:pt x="981" y="155"/>
                  <a:pt x="981" y="156"/>
                </a:cubicBezTo>
                <a:cubicBezTo>
                  <a:pt x="981" y="157"/>
                  <a:pt x="981" y="157"/>
                  <a:pt x="982" y="157"/>
                </a:cubicBezTo>
                <a:cubicBezTo>
                  <a:pt x="982" y="157"/>
                  <a:pt x="982" y="156"/>
                  <a:pt x="982" y="155"/>
                </a:cubicBezTo>
                <a:cubicBezTo>
                  <a:pt x="982" y="155"/>
                  <a:pt x="982" y="155"/>
                  <a:pt x="982" y="155"/>
                </a:cubicBezTo>
                <a:cubicBezTo>
                  <a:pt x="983" y="155"/>
                  <a:pt x="983" y="156"/>
                  <a:pt x="983" y="157"/>
                </a:cubicBezTo>
                <a:cubicBezTo>
                  <a:pt x="983" y="158"/>
                  <a:pt x="985" y="158"/>
                  <a:pt x="986" y="158"/>
                </a:cubicBezTo>
                <a:cubicBezTo>
                  <a:pt x="987" y="158"/>
                  <a:pt x="987" y="159"/>
                  <a:pt x="988" y="159"/>
                </a:cubicBezTo>
                <a:cubicBezTo>
                  <a:pt x="989" y="159"/>
                  <a:pt x="989" y="159"/>
                  <a:pt x="990" y="159"/>
                </a:cubicBezTo>
                <a:cubicBezTo>
                  <a:pt x="990" y="159"/>
                  <a:pt x="990" y="159"/>
                  <a:pt x="990" y="159"/>
                </a:cubicBezTo>
                <a:cubicBezTo>
                  <a:pt x="991" y="159"/>
                  <a:pt x="991" y="159"/>
                  <a:pt x="992" y="160"/>
                </a:cubicBezTo>
                <a:cubicBezTo>
                  <a:pt x="993" y="160"/>
                  <a:pt x="992" y="160"/>
                  <a:pt x="993" y="160"/>
                </a:cubicBezTo>
                <a:cubicBezTo>
                  <a:pt x="993" y="160"/>
                  <a:pt x="994" y="160"/>
                  <a:pt x="995" y="160"/>
                </a:cubicBezTo>
                <a:cubicBezTo>
                  <a:pt x="996" y="160"/>
                  <a:pt x="996" y="160"/>
                  <a:pt x="997" y="160"/>
                </a:cubicBezTo>
                <a:cubicBezTo>
                  <a:pt x="997" y="160"/>
                  <a:pt x="997" y="160"/>
                  <a:pt x="997" y="160"/>
                </a:cubicBezTo>
                <a:cubicBezTo>
                  <a:pt x="997" y="161"/>
                  <a:pt x="998" y="161"/>
                  <a:pt x="998" y="161"/>
                </a:cubicBezTo>
                <a:cubicBezTo>
                  <a:pt x="1000" y="161"/>
                  <a:pt x="1002" y="161"/>
                  <a:pt x="1003" y="161"/>
                </a:cubicBezTo>
                <a:cubicBezTo>
                  <a:pt x="1003" y="161"/>
                  <a:pt x="1003" y="161"/>
                  <a:pt x="1004" y="161"/>
                </a:cubicBezTo>
                <a:cubicBezTo>
                  <a:pt x="1004" y="161"/>
                  <a:pt x="1004" y="160"/>
                  <a:pt x="1004" y="160"/>
                </a:cubicBezTo>
                <a:cubicBezTo>
                  <a:pt x="1004" y="160"/>
                  <a:pt x="1005" y="160"/>
                  <a:pt x="1005" y="160"/>
                </a:cubicBezTo>
                <a:cubicBezTo>
                  <a:pt x="1005" y="160"/>
                  <a:pt x="1005" y="160"/>
                  <a:pt x="1005" y="160"/>
                </a:cubicBezTo>
                <a:cubicBezTo>
                  <a:pt x="1005" y="160"/>
                  <a:pt x="1005" y="160"/>
                  <a:pt x="1006" y="160"/>
                </a:cubicBezTo>
                <a:cubicBezTo>
                  <a:pt x="1006" y="159"/>
                  <a:pt x="1006" y="159"/>
                  <a:pt x="1006" y="159"/>
                </a:cubicBezTo>
                <a:cubicBezTo>
                  <a:pt x="1007" y="159"/>
                  <a:pt x="1008" y="158"/>
                  <a:pt x="1008" y="158"/>
                </a:cubicBezTo>
                <a:cubicBezTo>
                  <a:pt x="1009" y="157"/>
                  <a:pt x="1009" y="157"/>
                  <a:pt x="1009" y="157"/>
                </a:cubicBezTo>
                <a:cubicBezTo>
                  <a:pt x="1009" y="157"/>
                  <a:pt x="1009" y="157"/>
                  <a:pt x="1009" y="156"/>
                </a:cubicBezTo>
                <a:cubicBezTo>
                  <a:pt x="1010" y="156"/>
                  <a:pt x="1010" y="156"/>
                  <a:pt x="1011" y="155"/>
                </a:cubicBezTo>
                <a:cubicBezTo>
                  <a:pt x="1012" y="155"/>
                  <a:pt x="1012" y="154"/>
                  <a:pt x="1012" y="154"/>
                </a:cubicBezTo>
                <a:cubicBezTo>
                  <a:pt x="1012" y="153"/>
                  <a:pt x="1012" y="152"/>
                  <a:pt x="1012" y="151"/>
                </a:cubicBezTo>
                <a:cubicBezTo>
                  <a:pt x="1012" y="151"/>
                  <a:pt x="1012" y="150"/>
                  <a:pt x="1012" y="150"/>
                </a:cubicBezTo>
                <a:cubicBezTo>
                  <a:pt x="1012" y="150"/>
                  <a:pt x="1011" y="149"/>
                  <a:pt x="1011" y="149"/>
                </a:cubicBezTo>
                <a:cubicBezTo>
                  <a:pt x="1011" y="149"/>
                  <a:pt x="1011" y="149"/>
                  <a:pt x="1011" y="149"/>
                </a:cubicBezTo>
                <a:cubicBezTo>
                  <a:pt x="1010" y="149"/>
                  <a:pt x="1010" y="148"/>
                  <a:pt x="1010" y="148"/>
                </a:cubicBezTo>
                <a:cubicBezTo>
                  <a:pt x="1009" y="148"/>
                  <a:pt x="1009" y="147"/>
                  <a:pt x="1009" y="147"/>
                </a:cubicBezTo>
                <a:cubicBezTo>
                  <a:pt x="1009" y="146"/>
                  <a:pt x="1005" y="147"/>
                  <a:pt x="1005" y="145"/>
                </a:cubicBezTo>
                <a:cubicBezTo>
                  <a:pt x="1005" y="145"/>
                  <a:pt x="1005" y="145"/>
                  <a:pt x="1005" y="144"/>
                </a:cubicBezTo>
                <a:cubicBezTo>
                  <a:pt x="1005" y="144"/>
                  <a:pt x="1005" y="144"/>
                  <a:pt x="1004" y="144"/>
                </a:cubicBezTo>
                <a:cubicBezTo>
                  <a:pt x="1004" y="144"/>
                  <a:pt x="1004" y="144"/>
                  <a:pt x="1003" y="144"/>
                </a:cubicBezTo>
                <a:cubicBezTo>
                  <a:pt x="1003" y="144"/>
                  <a:pt x="1003" y="143"/>
                  <a:pt x="1002" y="143"/>
                </a:cubicBezTo>
                <a:cubicBezTo>
                  <a:pt x="1001" y="142"/>
                  <a:pt x="1000" y="142"/>
                  <a:pt x="1000" y="142"/>
                </a:cubicBezTo>
                <a:cubicBezTo>
                  <a:pt x="999" y="141"/>
                  <a:pt x="999" y="141"/>
                  <a:pt x="999" y="141"/>
                </a:cubicBezTo>
                <a:cubicBezTo>
                  <a:pt x="999" y="140"/>
                  <a:pt x="998" y="141"/>
                  <a:pt x="998" y="141"/>
                </a:cubicBezTo>
                <a:cubicBezTo>
                  <a:pt x="998" y="140"/>
                  <a:pt x="998" y="140"/>
                  <a:pt x="998" y="140"/>
                </a:cubicBezTo>
                <a:cubicBezTo>
                  <a:pt x="997" y="140"/>
                  <a:pt x="997" y="140"/>
                  <a:pt x="996" y="140"/>
                </a:cubicBezTo>
                <a:cubicBezTo>
                  <a:pt x="995" y="139"/>
                  <a:pt x="995" y="139"/>
                  <a:pt x="993" y="138"/>
                </a:cubicBezTo>
                <a:cubicBezTo>
                  <a:pt x="992" y="138"/>
                  <a:pt x="990" y="137"/>
                  <a:pt x="988" y="136"/>
                </a:cubicBezTo>
                <a:cubicBezTo>
                  <a:pt x="988" y="137"/>
                  <a:pt x="988" y="136"/>
                  <a:pt x="987" y="136"/>
                </a:cubicBezTo>
                <a:cubicBezTo>
                  <a:pt x="987" y="136"/>
                  <a:pt x="986" y="135"/>
                  <a:pt x="986" y="135"/>
                </a:cubicBezTo>
                <a:cubicBezTo>
                  <a:pt x="985" y="135"/>
                  <a:pt x="985" y="135"/>
                  <a:pt x="984" y="135"/>
                </a:cubicBezTo>
                <a:cubicBezTo>
                  <a:pt x="984" y="135"/>
                  <a:pt x="984" y="135"/>
                  <a:pt x="983" y="135"/>
                </a:cubicBezTo>
                <a:cubicBezTo>
                  <a:pt x="983" y="134"/>
                  <a:pt x="982" y="134"/>
                  <a:pt x="982" y="134"/>
                </a:cubicBezTo>
                <a:cubicBezTo>
                  <a:pt x="981" y="134"/>
                  <a:pt x="981" y="134"/>
                  <a:pt x="980" y="133"/>
                </a:cubicBezTo>
                <a:cubicBezTo>
                  <a:pt x="979" y="133"/>
                  <a:pt x="978" y="133"/>
                  <a:pt x="977" y="133"/>
                </a:cubicBezTo>
                <a:cubicBezTo>
                  <a:pt x="977" y="133"/>
                  <a:pt x="978" y="132"/>
                  <a:pt x="977" y="132"/>
                </a:cubicBezTo>
                <a:cubicBezTo>
                  <a:pt x="977" y="132"/>
                  <a:pt x="977" y="132"/>
                  <a:pt x="977" y="133"/>
                </a:cubicBezTo>
                <a:cubicBezTo>
                  <a:pt x="976" y="133"/>
                  <a:pt x="976" y="132"/>
                  <a:pt x="975" y="132"/>
                </a:cubicBezTo>
                <a:cubicBezTo>
                  <a:pt x="975" y="132"/>
                  <a:pt x="974" y="132"/>
                  <a:pt x="973" y="133"/>
                </a:cubicBezTo>
                <a:cubicBezTo>
                  <a:pt x="974" y="131"/>
                  <a:pt x="971" y="133"/>
                  <a:pt x="971" y="131"/>
                </a:cubicBezTo>
                <a:cubicBezTo>
                  <a:pt x="971" y="131"/>
                  <a:pt x="972" y="131"/>
                  <a:pt x="972" y="131"/>
                </a:cubicBezTo>
                <a:cubicBezTo>
                  <a:pt x="973" y="131"/>
                  <a:pt x="973" y="130"/>
                  <a:pt x="974" y="130"/>
                </a:cubicBezTo>
                <a:cubicBezTo>
                  <a:pt x="974" y="129"/>
                  <a:pt x="973" y="129"/>
                  <a:pt x="973" y="129"/>
                </a:cubicBezTo>
                <a:cubicBezTo>
                  <a:pt x="971" y="129"/>
                  <a:pt x="971" y="128"/>
                  <a:pt x="970" y="128"/>
                </a:cubicBezTo>
                <a:cubicBezTo>
                  <a:pt x="970" y="128"/>
                  <a:pt x="969" y="128"/>
                  <a:pt x="970" y="129"/>
                </a:cubicBezTo>
                <a:cubicBezTo>
                  <a:pt x="969" y="129"/>
                  <a:pt x="968" y="128"/>
                  <a:pt x="968" y="129"/>
                </a:cubicBezTo>
                <a:cubicBezTo>
                  <a:pt x="968" y="129"/>
                  <a:pt x="968" y="129"/>
                  <a:pt x="967" y="129"/>
                </a:cubicBezTo>
                <a:cubicBezTo>
                  <a:pt x="967" y="129"/>
                  <a:pt x="967" y="129"/>
                  <a:pt x="967" y="129"/>
                </a:cubicBezTo>
                <a:cubicBezTo>
                  <a:pt x="966" y="129"/>
                  <a:pt x="966" y="129"/>
                  <a:pt x="965" y="129"/>
                </a:cubicBezTo>
                <a:cubicBezTo>
                  <a:pt x="964" y="129"/>
                  <a:pt x="963" y="127"/>
                  <a:pt x="962" y="129"/>
                </a:cubicBezTo>
                <a:cubicBezTo>
                  <a:pt x="962" y="129"/>
                  <a:pt x="962" y="129"/>
                  <a:pt x="961" y="128"/>
                </a:cubicBezTo>
                <a:cubicBezTo>
                  <a:pt x="961" y="129"/>
                  <a:pt x="961" y="129"/>
                  <a:pt x="961" y="129"/>
                </a:cubicBezTo>
                <a:cubicBezTo>
                  <a:pt x="961" y="130"/>
                  <a:pt x="960" y="130"/>
                  <a:pt x="959" y="130"/>
                </a:cubicBezTo>
                <a:cubicBezTo>
                  <a:pt x="959" y="129"/>
                  <a:pt x="958" y="128"/>
                  <a:pt x="958" y="127"/>
                </a:cubicBezTo>
                <a:cubicBezTo>
                  <a:pt x="958" y="127"/>
                  <a:pt x="959" y="127"/>
                  <a:pt x="959" y="128"/>
                </a:cubicBezTo>
                <a:cubicBezTo>
                  <a:pt x="959" y="128"/>
                  <a:pt x="960" y="128"/>
                  <a:pt x="960" y="128"/>
                </a:cubicBezTo>
                <a:cubicBezTo>
                  <a:pt x="960" y="127"/>
                  <a:pt x="961" y="127"/>
                  <a:pt x="962" y="127"/>
                </a:cubicBezTo>
                <a:cubicBezTo>
                  <a:pt x="962" y="125"/>
                  <a:pt x="964" y="126"/>
                  <a:pt x="965" y="126"/>
                </a:cubicBezTo>
                <a:cubicBezTo>
                  <a:pt x="965" y="125"/>
                  <a:pt x="965" y="125"/>
                  <a:pt x="965" y="124"/>
                </a:cubicBezTo>
                <a:cubicBezTo>
                  <a:pt x="965" y="124"/>
                  <a:pt x="964" y="124"/>
                  <a:pt x="964" y="124"/>
                </a:cubicBezTo>
                <a:cubicBezTo>
                  <a:pt x="964" y="123"/>
                  <a:pt x="964" y="123"/>
                  <a:pt x="963" y="123"/>
                </a:cubicBezTo>
                <a:cubicBezTo>
                  <a:pt x="963" y="123"/>
                  <a:pt x="962" y="123"/>
                  <a:pt x="961" y="123"/>
                </a:cubicBezTo>
                <a:cubicBezTo>
                  <a:pt x="962" y="123"/>
                  <a:pt x="962" y="122"/>
                  <a:pt x="962" y="122"/>
                </a:cubicBezTo>
                <a:cubicBezTo>
                  <a:pt x="962" y="121"/>
                  <a:pt x="962" y="121"/>
                  <a:pt x="961" y="121"/>
                </a:cubicBezTo>
                <a:cubicBezTo>
                  <a:pt x="961" y="121"/>
                  <a:pt x="961" y="122"/>
                  <a:pt x="960" y="122"/>
                </a:cubicBezTo>
                <a:cubicBezTo>
                  <a:pt x="960" y="122"/>
                  <a:pt x="960" y="121"/>
                  <a:pt x="960" y="121"/>
                </a:cubicBezTo>
                <a:cubicBezTo>
                  <a:pt x="959" y="121"/>
                  <a:pt x="959" y="121"/>
                  <a:pt x="958" y="120"/>
                </a:cubicBezTo>
                <a:cubicBezTo>
                  <a:pt x="958" y="119"/>
                  <a:pt x="957" y="119"/>
                  <a:pt x="957" y="119"/>
                </a:cubicBezTo>
                <a:cubicBezTo>
                  <a:pt x="956" y="119"/>
                  <a:pt x="956" y="120"/>
                  <a:pt x="956" y="120"/>
                </a:cubicBezTo>
                <a:cubicBezTo>
                  <a:pt x="955" y="121"/>
                  <a:pt x="956" y="121"/>
                  <a:pt x="956" y="122"/>
                </a:cubicBezTo>
                <a:cubicBezTo>
                  <a:pt x="956" y="123"/>
                  <a:pt x="955" y="123"/>
                  <a:pt x="955" y="124"/>
                </a:cubicBezTo>
                <a:cubicBezTo>
                  <a:pt x="954" y="124"/>
                  <a:pt x="954" y="123"/>
                  <a:pt x="954" y="122"/>
                </a:cubicBezTo>
                <a:cubicBezTo>
                  <a:pt x="955" y="122"/>
                  <a:pt x="955" y="121"/>
                  <a:pt x="955" y="121"/>
                </a:cubicBezTo>
                <a:cubicBezTo>
                  <a:pt x="954" y="121"/>
                  <a:pt x="954" y="121"/>
                  <a:pt x="953" y="122"/>
                </a:cubicBezTo>
                <a:cubicBezTo>
                  <a:pt x="953" y="121"/>
                  <a:pt x="952" y="120"/>
                  <a:pt x="953" y="120"/>
                </a:cubicBezTo>
                <a:cubicBezTo>
                  <a:pt x="954" y="119"/>
                  <a:pt x="955" y="119"/>
                  <a:pt x="955" y="118"/>
                </a:cubicBezTo>
                <a:cubicBezTo>
                  <a:pt x="955" y="118"/>
                  <a:pt x="954" y="119"/>
                  <a:pt x="954" y="118"/>
                </a:cubicBezTo>
                <a:cubicBezTo>
                  <a:pt x="954" y="118"/>
                  <a:pt x="954" y="117"/>
                  <a:pt x="954" y="117"/>
                </a:cubicBezTo>
                <a:cubicBezTo>
                  <a:pt x="954" y="117"/>
                  <a:pt x="953" y="118"/>
                  <a:pt x="952" y="117"/>
                </a:cubicBezTo>
                <a:cubicBezTo>
                  <a:pt x="952" y="117"/>
                  <a:pt x="952" y="116"/>
                  <a:pt x="952" y="116"/>
                </a:cubicBezTo>
                <a:cubicBezTo>
                  <a:pt x="951" y="116"/>
                  <a:pt x="951" y="116"/>
                  <a:pt x="950" y="116"/>
                </a:cubicBezTo>
                <a:cubicBezTo>
                  <a:pt x="950" y="117"/>
                  <a:pt x="951" y="118"/>
                  <a:pt x="950" y="118"/>
                </a:cubicBezTo>
                <a:cubicBezTo>
                  <a:pt x="950" y="118"/>
                  <a:pt x="950" y="118"/>
                  <a:pt x="950" y="118"/>
                </a:cubicBezTo>
                <a:cubicBezTo>
                  <a:pt x="950" y="118"/>
                  <a:pt x="949" y="118"/>
                  <a:pt x="949" y="118"/>
                </a:cubicBezTo>
                <a:cubicBezTo>
                  <a:pt x="949" y="119"/>
                  <a:pt x="949" y="120"/>
                  <a:pt x="950" y="121"/>
                </a:cubicBezTo>
                <a:cubicBezTo>
                  <a:pt x="948" y="121"/>
                  <a:pt x="948" y="121"/>
                  <a:pt x="948" y="123"/>
                </a:cubicBezTo>
                <a:cubicBezTo>
                  <a:pt x="948" y="124"/>
                  <a:pt x="946" y="124"/>
                  <a:pt x="946" y="124"/>
                </a:cubicBezTo>
                <a:cubicBezTo>
                  <a:pt x="945" y="125"/>
                  <a:pt x="946" y="126"/>
                  <a:pt x="945" y="126"/>
                </a:cubicBezTo>
                <a:cubicBezTo>
                  <a:pt x="945" y="125"/>
                  <a:pt x="945" y="124"/>
                  <a:pt x="945" y="123"/>
                </a:cubicBezTo>
                <a:cubicBezTo>
                  <a:pt x="945" y="123"/>
                  <a:pt x="945" y="123"/>
                  <a:pt x="945" y="122"/>
                </a:cubicBezTo>
                <a:cubicBezTo>
                  <a:pt x="945" y="122"/>
                  <a:pt x="945" y="122"/>
                  <a:pt x="946" y="121"/>
                </a:cubicBezTo>
                <a:cubicBezTo>
                  <a:pt x="946" y="121"/>
                  <a:pt x="946" y="120"/>
                  <a:pt x="946" y="121"/>
                </a:cubicBezTo>
                <a:cubicBezTo>
                  <a:pt x="946" y="120"/>
                  <a:pt x="946" y="119"/>
                  <a:pt x="946" y="119"/>
                </a:cubicBezTo>
                <a:cubicBezTo>
                  <a:pt x="946" y="119"/>
                  <a:pt x="945" y="119"/>
                  <a:pt x="945" y="119"/>
                </a:cubicBezTo>
                <a:cubicBezTo>
                  <a:pt x="945" y="121"/>
                  <a:pt x="945" y="120"/>
                  <a:pt x="945" y="120"/>
                </a:cubicBezTo>
                <a:cubicBezTo>
                  <a:pt x="944" y="121"/>
                  <a:pt x="944" y="122"/>
                  <a:pt x="943" y="122"/>
                </a:cubicBezTo>
                <a:cubicBezTo>
                  <a:pt x="943" y="122"/>
                  <a:pt x="942" y="124"/>
                  <a:pt x="942" y="124"/>
                </a:cubicBezTo>
                <a:cubicBezTo>
                  <a:pt x="942" y="125"/>
                  <a:pt x="942" y="125"/>
                  <a:pt x="941" y="125"/>
                </a:cubicBezTo>
                <a:cubicBezTo>
                  <a:pt x="940" y="125"/>
                  <a:pt x="940" y="127"/>
                  <a:pt x="940" y="127"/>
                </a:cubicBezTo>
                <a:cubicBezTo>
                  <a:pt x="940" y="128"/>
                  <a:pt x="939" y="128"/>
                  <a:pt x="939" y="129"/>
                </a:cubicBezTo>
                <a:cubicBezTo>
                  <a:pt x="939" y="129"/>
                  <a:pt x="938" y="129"/>
                  <a:pt x="938" y="129"/>
                </a:cubicBezTo>
                <a:cubicBezTo>
                  <a:pt x="938" y="128"/>
                  <a:pt x="938" y="128"/>
                  <a:pt x="938" y="127"/>
                </a:cubicBezTo>
                <a:cubicBezTo>
                  <a:pt x="939" y="126"/>
                  <a:pt x="938" y="125"/>
                  <a:pt x="939" y="124"/>
                </a:cubicBezTo>
                <a:cubicBezTo>
                  <a:pt x="940" y="124"/>
                  <a:pt x="940" y="124"/>
                  <a:pt x="941" y="124"/>
                </a:cubicBezTo>
                <a:cubicBezTo>
                  <a:pt x="941" y="123"/>
                  <a:pt x="941" y="122"/>
                  <a:pt x="941" y="122"/>
                </a:cubicBezTo>
                <a:cubicBezTo>
                  <a:pt x="941" y="121"/>
                  <a:pt x="941" y="122"/>
                  <a:pt x="941" y="121"/>
                </a:cubicBezTo>
                <a:cubicBezTo>
                  <a:pt x="940" y="121"/>
                  <a:pt x="940" y="122"/>
                  <a:pt x="939" y="122"/>
                </a:cubicBezTo>
                <a:cubicBezTo>
                  <a:pt x="939" y="121"/>
                  <a:pt x="940" y="121"/>
                  <a:pt x="939" y="121"/>
                </a:cubicBezTo>
                <a:cubicBezTo>
                  <a:pt x="938" y="121"/>
                  <a:pt x="939" y="121"/>
                  <a:pt x="939" y="121"/>
                </a:cubicBezTo>
                <a:cubicBezTo>
                  <a:pt x="938" y="121"/>
                  <a:pt x="938" y="121"/>
                  <a:pt x="937" y="121"/>
                </a:cubicBezTo>
                <a:cubicBezTo>
                  <a:pt x="937" y="120"/>
                  <a:pt x="936" y="120"/>
                  <a:pt x="935" y="119"/>
                </a:cubicBezTo>
                <a:cubicBezTo>
                  <a:pt x="935" y="120"/>
                  <a:pt x="935" y="122"/>
                  <a:pt x="935" y="122"/>
                </a:cubicBezTo>
                <a:cubicBezTo>
                  <a:pt x="935" y="123"/>
                  <a:pt x="936" y="124"/>
                  <a:pt x="935" y="124"/>
                </a:cubicBezTo>
                <a:cubicBezTo>
                  <a:pt x="934" y="124"/>
                  <a:pt x="934" y="123"/>
                  <a:pt x="934" y="122"/>
                </a:cubicBezTo>
                <a:cubicBezTo>
                  <a:pt x="934" y="121"/>
                  <a:pt x="933" y="122"/>
                  <a:pt x="932" y="122"/>
                </a:cubicBezTo>
                <a:cubicBezTo>
                  <a:pt x="932" y="122"/>
                  <a:pt x="932" y="122"/>
                  <a:pt x="932" y="123"/>
                </a:cubicBezTo>
                <a:cubicBezTo>
                  <a:pt x="932" y="123"/>
                  <a:pt x="932" y="123"/>
                  <a:pt x="932" y="124"/>
                </a:cubicBezTo>
                <a:cubicBezTo>
                  <a:pt x="931" y="124"/>
                  <a:pt x="931" y="124"/>
                  <a:pt x="930" y="124"/>
                </a:cubicBezTo>
                <a:cubicBezTo>
                  <a:pt x="930" y="125"/>
                  <a:pt x="930" y="125"/>
                  <a:pt x="930" y="125"/>
                </a:cubicBezTo>
                <a:cubicBezTo>
                  <a:pt x="929" y="126"/>
                  <a:pt x="928" y="125"/>
                  <a:pt x="928" y="126"/>
                </a:cubicBezTo>
                <a:cubicBezTo>
                  <a:pt x="928" y="126"/>
                  <a:pt x="928" y="127"/>
                  <a:pt x="928" y="127"/>
                </a:cubicBezTo>
                <a:cubicBezTo>
                  <a:pt x="927" y="127"/>
                  <a:pt x="928" y="127"/>
                  <a:pt x="928" y="127"/>
                </a:cubicBezTo>
                <a:cubicBezTo>
                  <a:pt x="927" y="127"/>
                  <a:pt x="927" y="127"/>
                  <a:pt x="927" y="127"/>
                </a:cubicBezTo>
                <a:cubicBezTo>
                  <a:pt x="927" y="127"/>
                  <a:pt x="927" y="127"/>
                  <a:pt x="926" y="127"/>
                </a:cubicBezTo>
                <a:cubicBezTo>
                  <a:pt x="925" y="126"/>
                  <a:pt x="924" y="125"/>
                  <a:pt x="924" y="124"/>
                </a:cubicBezTo>
                <a:cubicBezTo>
                  <a:pt x="924" y="124"/>
                  <a:pt x="923" y="124"/>
                  <a:pt x="923" y="125"/>
                </a:cubicBezTo>
                <a:cubicBezTo>
                  <a:pt x="922" y="124"/>
                  <a:pt x="922" y="124"/>
                  <a:pt x="921" y="123"/>
                </a:cubicBezTo>
                <a:cubicBezTo>
                  <a:pt x="920" y="125"/>
                  <a:pt x="920" y="124"/>
                  <a:pt x="919" y="124"/>
                </a:cubicBezTo>
                <a:cubicBezTo>
                  <a:pt x="919" y="125"/>
                  <a:pt x="919" y="126"/>
                  <a:pt x="919" y="126"/>
                </a:cubicBezTo>
                <a:cubicBezTo>
                  <a:pt x="920" y="126"/>
                  <a:pt x="920" y="125"/>
                  <a:pt x="921" y="126"/>
                </a:cubicBezTo>
                <a:cubicBezTo>
                  <a:pt x="922" y="127"/>
                  <a:pt x="922" y="128"/>
                  <a:pt x="922" y="129"/>
                </a:cubicBezTo>
                <a:cubicBezTo>
                  <a:pt x="921" y="128"/>
                  <a:pt x="920" y="127"/>
                  <a:pt x="918" y="127"/>
                </a:cubicBezTo>
                <a:cubicBezTo>
                  <a:pt x="918" y="127"/>
                  <a:pt x="918" y="127"/>
                  <a:pt x="918" y="127"/>
                </a:cubicBezTo>
                <a:cubicBezTo>
                  <a:pt x="918" y="128"/>
                  <a:pt x="919" y="128"/>
                  <a:pt x="919" y="128"/>
                </a:cubicBezTo>
                <a:cubicBezTo>
                  <a:pt x="918" y="130"/>
                  <a:pt x="918" y="130"/>
                  <a:pt x="917" y="129"/>
                </a:cubicBezTo>
                <a:cubicBezTo>
                  <a:pt x="917" y="129"/>
                  <a:pt x="917" y="128"/>
                  <a:pt x="917" y="127"/>
                </a:cubicBezTo>
                <a:cubicBezTo>
                  <a:pt x="917" y="127"/>
                  <a:pt x="916" y="128"/>
                  <a:pt x="916" y="128"/>
                </a:cubicBezTo>
                <a:cubicBezTo>
                  <a:pt x="917" y="130"/>
                  <a:pt x="915" y="129"/>
                  <a:pt x="915" y="131"/>
                </a:cubicBezTo>
                <a:cubicBezTo>
                  <a:pt x="914" y="130"/>
                  <a:pt x="915" y="129"/>
                  <a:pt x="915" y="129"/>
                </a:cubicBezTo>
                <a:cubicBezTo>
                  <a:pt x="915" y="128"/>
                  <a:pt x="915" y="128"/>
                  <a:pt x="914" y="127"/>
                </a:cubicBezTo>
                <a:cubicBezTo>
                  <a:pt x="914" y="129"/>
                  <a:pt x="913" y="128"/>
                  <a:pt x="913" y="129"/>
                </a:cubicBezTo>
                <a:cubicBezTo>
                  <a:pt x="913" y="129"/>
                  <a:pt x="913" y="129"/>
                  <a:pt x="913" y="130"/>
                </a:cubicBezTo>
                <a:cubicBezTo>
                  <a:pt x="912" y="130"/>
                  <a:pt x="911" y="131"/>
                  <a:pt x="911" y="131"/>
                </a:cubicBezTo>
                <a:cubicBezTo>
                  <a:pt x="910" y="130"/>
                  <a:pt x="910" y="130"/>
                  <a:pt x="910" y="129"/>
                </a:cubicBezTo>
                <a:cubicBezTo>
                  <a:pt x="910" y="129"/>
                  <a:pt x="910" y="129"/>
                  <a:pt x="910" y="129"/>
                </a:cubicBezTo>
                <a:cubicBezTo>
                  <a:pt x="910" y="129"/>
                  <a:pt x="909" y="129"/>
                  <a:pt x="909" y="129"/>
                </a:cubicBezTo>
                <a:cubicBezTo>
                  <a:pt x="909" y="130"/>
                  <a:pt x="909" y="130"/>
                  <a:pt x="908" y="130"/>
                </a:cubicBezTo>
                <a:cubicBezTo>
                  <a:pt x="908" y="131"/>
                  <a:pt x="908" y="131"/>
                  <a:pt x="908" y="132"/>
                </a:cubicBezTo>
                <a:cubicBezTo>
                  <a:pt x="908" y="132"/>
                  <a:pt x="909" y="132"/>
                  <a:pt x="909" y="132"/>
                </a:cubicBezTo>
                <a:cubicBezTo>
                  <a:pt x="909" y="133"/>
                  <a:pt x="909" y="134"/>
                  <a:pt x="909" y="135"/>
                </a:cubicBezTo>
                <a:cubicBezTo>
                  <a:pt x="909" y="135"/>
                  <a:pt x="909" y="134"/>
                  <a:pt x="909" y="134"/>
                </a:cubicBezTo>
                <a:cubicBezTo>
                  <a:pt x="909" y="133"/>
                  <a:pt x="909" y="134"/>
                  <a:pt x="908" y="133"/>
                </a:cubicBezTo>
                <a:cubicBezTo>
                  <a:pt x="908" y="133"/>
                  <a:pt x="907" y="132"/>
                  <a:pt x="906" y="132"/>
                </a:cubicBezTo>
                <a:cubicBezTo>
                  <a:pt x="907" y="133"/>
                  <a:pt x="907" y="133"/>
                  <a:pt x="908" y="134"/>
                </a:cubicBezTo>
                <a:cubicBezTo>
                  <a:pt x="907" y="134"/>
                  <a:pt x="907" y="134"/>
                  <a:pt x="907" y="135"/>
                </a:cubicBezTo>
                <a:cubicBezTo>
                  <a:pt x="906" y="134"/>
                  <a:pt x="905" y="135"/>
                  <a:pt x="905" y="134"/>
                </a:cubicBezTo>
                <a:cubicBezTo>
                  <a:pt x="905" y="134"/>
                  <a:pt x="905" y="133"/>
                  <a:pt x="905" y="133"/>
                </a:cubicBezTo>
                <a:cubicBezTo>
                  <a:pt x="904" y="133"/>
                  <a:pt x="904" y="134"/>
                  <a:pt x="904" y="135"/>
                </a:cubicBezTo>
                <a:cubicBezTo>
                  <a:pt x="904" y="136"/>
                  <a:pt x="905" y="136"/>
                  <a:pt x="903" y="136"/>
                </a:cubicBezTo>
                <a:cubicBezTo>
                  <a:pt x="903" y="136"/>
                  <a:pt x="902" y="138"/>
                  <a:pt x="902" y="138"/>
                </a:cubicBezTo>
                <a:cubicBezTo>
                  <a:pt x="902" y="139"/>
                  <a:pt x="902" y="139"/>
                  <a:pt x="902" y="140"/>
                </a:cubicBezTo>
                <a:cubicBezTo>
                  <a:pt x="902" y="140"/>
                  <a:pt x="902" y="140"/>
                  <a:pt x="902" y="140"/>
                </a:cubicBezTo>
                <a:cubicBezTo>
                  <a:pt x="902" y="140"/>
                  <a:pt x="902" y="141"/>
                  <a:pt x="902" y="142"/>
                </a:cubicBezTo>
                <a:cubicBezTo>
                  <a:pt x="901" y="142"/>
                  <a:pt x="900" y="142"/>
                  <a:pt x="900" y="142"/>
                </a:cubicBezTo>
                <a:cubicBezTo>
                  <a:pt x="900" y="143"/>
                  <a:pt x="899" y="143"/>
                  <a:pt x="898" y="143"/>
                </a:cubicBezTo>
                <a:cubicBezTo>
                  <a:pt x="898" y="143"/>
                  <a:pt x="898" y="143"/>
                  <a:pt x="897" y="144"/>
                </a:cubicBezTo>
                <a:cubicBezTo>
                  <a:pt x="897" y="144"/>
                  <a:pt x="897" y="143"/>
                  <a:pt x="897" y="144"/>
                </a:cubicBezTo>
                <a:cubicBezTo>
                  <a:pt x="897" y="145"/>
                  <a:pt x="898" y="145"/>
                  <a:pt x="898" y="145"/>
                </a:cubicBezTo>
                <a:cubicBezTo>
                  <a:pt x="899" y="145"/>
                  <a:pt x="900" y="145"/>
                  <a:pt x="900" y="144"/>
                </a:cubicBezTo>
                <a:cubicBezTo>
                  <a:pt x="901" y="143"/>
                  <a:pt x="901" y="144"/>
                  <a:pt x="902" y="144"/>
                </a:cubicBezTo>
                <a:cubicBezTo>
                  <a:pt x="901" y="146"/>
                  <a:pt x="900" y="145"/>
                  <a:pt x="899" y="145"/>
                </a:cubicBezTo>
                <a:cubicBezTo>
                  <a:pt x="898" y="146"/>
                  <a:pt x="898" y="148"/>
                  <a:pt x="898" y="149"/>
                </a:cubicBezTo>
                <a:cubicBezTo>
                  <a:pt x="898" y="149"/>
                  <a:pt x="897" y="146"/>
                  <a:pt x="896" y="146"/>
                </a:cubicBezTo>
                <a:cubicBezTo>
                  <a:pt x="895" y="146"/>
                  <a:pt x="894" y="146"/>
                  <a:pt x="894" y="147"/>
                </a:cubicBezTo>
                <a:cubicBezTo>
                  <a:pt x="894" y="147"/>
                  <a:pt x="894" y="147"/>
                  <a:pt x="895" y="147"/>
                </a:cubicBezTo>
                <a:cubicBezTo>
                  <a:pt x="895" y="147"/>
                  <a:pt x="896" y="147"/>
                  <a:pt x="896" y="148"/>
                </a:cubicBezTo>
                <a:cubicBezTo>
                  <a:pt x="895" y="149"/>
                  <a:pt x="894" y="147"/>
                  <a:pt x="894" y="149"/>
                </a:cubicBezTo>
                <a:cubicBezTo>
                  <a:pt x="895" y="149"/>
                  <a:pt x="896" y="149"/>
                  <a:pt x="896" y="149"/>
                </a:cubicBezTo>
                <a:cubicBezTo>
                  <a:pt x="896" y="149"/>
                  <a:pt x="896" y="150"/>
                  <a:pt x="896" y="151"/>
                </a:cubicBezTo>
                <a:cubicBezTo>
                  <a:pt x="896" y="151"/>
                  <a:pt x="897" y="150"/>
                  <a:pt x="897" y="151"/>
                </a:cubicBezTo>
                <a:cubicBezTo>
                  <a:pt x="897" y="152"/>
                  <a:pt x="896" y="152"/>
                  <a:pt x="896" y="152"/>
                </a:cubicBezTo>
                <a:cubicBezTo>
                  <a:pt x="895" y="152"/>
                  <a:pt x="894" y="152"/>
                  <a:pt x="894" y="152"/>
                </a:cubicBezTo>
                <a:cubicBezTo>
                  <a:pt x="893" y="152"/>
                  <a:pt x="893" y="153"/>
                  <a:pt x="893" y="153"/>
                </a:cubicBezTo>
                <a:cubicBezTo>
                  <a:pt x="893" y="154"/>
                  <a:pt x="893" y="154"/>
                  <a:pt x="894" y="154"/>
                </a:cubicBezTo>
                <a:cubicBezTo>
                  <a:pt x="893" y="155"/>
                  <a:pt x="893" y="154"/>
                  <a:pt x="892" y="155"/>
                </a:cubicBezTo>
                <a:cubicBezTo>
                  <a:pt x="891" y="155"/>
                  <a:pt x="891" y="156"/>
                  <a:pt x="891" y="156"/>
                </a:cubicBezTo>
                <a:cubicBezTo>
                  <a:pt x="890" y="156"/>
                  <a:pt x="890" y="156"/>
                  <a:pt x="890" y="156"/>
                </a:cubicBezTo>
                <a:cubicBezTo>
                  <a:pt x="890" y="157"/>
                  <a:pt x="889" y="156"/>
                  <a:pt x="888" y="156"/>
                </a:cubicBezTo>
                <a:cubicBezTo>
                  <a:pt x="888" y="156"/>
                  <a:pt x="888" y="158"/>
                  <a:pt x="888" y="158"/>
                </a:cubicBezTo>
                <a:cubicBezTo>
                  <a:pt x="889" y="158"/>
                  <a:pt x="888" y="158"/>
                  <a:pt x="887" y="158"/>
                </a:cubicBezTo>
                <a:cubicBezTo>
                  <a:pt x="887" y="158"/>
                  <a:pt x="887" y="159"/>
                  <a:pt x="887" y="159"/>
                </a:cubicBezTo>
                <a:cubicBezTo>
                  <a:pt x="886" y="159"/>
                  <a:pt x="886" y="159"/>
                  <a:pt x="885" y="159"/>
                </a:cubicBezTo>
                <a:cubicBezTo>
                  <a:pt x="885" y="159"/>
                  <a:pt x="885" y="160"/>
                  <a:pt x="885" y="160"/>
                </a:cubicBezTo>
                <a:cubicBezTo>
                  <a:pt x="885" y="161"/>
                  <a:pt x="886" y="160"/>
                  <a:pt x="886" y="160"/>
                </a:cubicBezTo>
                <a:cubicBezTo>
                  <a:pt x="886" y="162"/>
                  <a:pt x="885" y="160"/>
                  <a:pt x="885" y="161"/>
                </a:cubicBezTo>
                <a:cubicBezTo>
                  <a:pt x="884" y="162"/>
                  <a:pt x="885" y="162"/>
                  <a:pt x="885" y="162"/>
                </a:cubicBezTo>
                <a:cubicBezTo>
                  <a:pt x="885" y="163"/>
                  <a:pt x="885" y="163"/>
                  <a:pt x="885" y="164"/>
                </a:cubicBezTo>
                <a:cubicBezTo>
                  <a:pt x="884" y="164"/>
                  <a:pt x="884" y="165"/>
                  <a:pt x="883" y="165"/>
                </a:cubicBezTo>
                <a:cubicBezTo>
                  <a:pt x="883" y="165"/>
                  <a:pt x="883" y="165"/>
                  <a:pt x="882" y="165"/>
                </a:cubicBezTo>
                <a:cubicBezTo>
                  <a:pt x="881" y="165"/>
                  <a:pt x="881" y="165"/>
                  <a:pt x="881" y="166"/>
                </a:cubicBezTo>
                <a:cubicBezTo>
                  <a:pt x="881" y="167"/>
                  <a:pt x="879" y="167"/>
                  <a:pt x="879" y="167"/>
                </a:cubicBezTo>
                <a:cubicBezTo>
                  <a:pt x="878" y="168"/>
                  <a:pt x="878" y="168"/>
                  <a:pt x="878" y="169"/>
                </a:cubicBezTo>
                <a:cubicBezTo>
                  <a:pt x="879" y="170"/>
                  <a:pt x="878" y="170"/>
                  <a:pt x="878" y="171"/>
                </a:cubicBezTo>
                <a:cubicBezTo>
                  <a:pt x="877" y="171"/>
                  <a:pt x="876" y="170"/>
                  <a:pt x="876" y="170"/>
                </a:cubicBezTo>
                <a:cubicBezTo>
                  <a:pt x="875" y="170"/>
                  <a:pt x="875" y="170"/>
                  <a:pt x="874" y="171"/>
                </a:cubicBezTo>
                <a:cubicBezTo>
                  <a:pt x="874" y="171"/>
                  <a:pt x="875" y="172"/>
                  <a:pt x="874" y="172"/>
                </a:cubicBezTo>
                <a:cubicBezTo>
                  <a:pt x="873" y="172"/>
                  <a:pt x="873" y="172"/>
                  <a:pt x="873" y="173"/>
                </a:cubicBezTo>
                <a:cubicBezTo>
                  <a:pt x="872" y="173"/>
                  <a:pt x="872" y="173"/>
                  <a:pt x="871" y="173"/>
                </a:cubicBezTo>
                <a:cubicBezTo>
                  <a:pt x="871" y="173"/>
                  <a:pt x="871" y="173"/>
                  <a:pt x="871" y="174"/>
                </a:cubicBezTo>
                <a:cubicBezTo>
                  <a:pt x="871" y="175"/>
                  <a:pt x="870" y="175"/>
                  <a:pt x="869" y="176"/>
                </a:cubicBezTo>
                <a:cubicBezTo>
                  <a:pt x="869" y="176"/>
                  <a:pt x="868" y="178"/>
                  <a:pt x="867" y="178"/>
                </a:cubicBezTo>
                <a:cubicBezTo>
                  <a:pt x="867" y="178"/>
                  <a:pt x="866" y="178"/>
                  <a:pt x="866" y="179"/>
                </a:cubicBezTo>
                <a:cubicBezTo>
                  <a:pt x="866" y="179"/>
                  <a:pt x="867" y="179"/>
                  <a:pt x="867" y="179"/>
                </a:cubicBezTo>
                <a:cubicBezTo>
                  <a:pt x="867" y="180"/>
                  <a:pt x="866" y="179"/>
                  <a:pt x="866" y="180"/>
                </a:cubicBezTo>
                <a:cubicBezTo>
                  <a:pt x="867" y="181"/>
                  <a:pt x="868" y="180"/>
                  <a:pt x="868" y="180"/>
                </a:cubicBezTo>
                <a:cubicBezTo>
                  <a:pt x="869" y="180"/>
                  <a:pt x="869" y="179"/>
                  <a:pt x="869" y="179"/>
                </a:cubicBezTo>
                <a:cubicBezTo>
                  <a:pt x="870" y="179"/>
                  <a:pt x="869" y="180"/>
                  <a:pt x="870" y="179"/>
                </a:cubicBezTo>
                <a:cubicBezTo>
                  <a:pt x="870" y="179"/>
                  <a:pt x="871" y="178"/>
                  <a:pt x="871" y="178"/>
                </a:cubicBezTo>
                <a:cubicBezTo>
                  <a:pt x="871" y="178"/>
                  <a:pt x="871" y="178"/>
                  <a:pt x="871" y="178"/>
                </a:cubicBezTo>
                <a:cubicBezTo>
                  <a:pt x="872" y="178"/>
                  <a:pt x="872" y="177"/>
                  <a:pt x="873" y="177"/>
                </a:cubicBezTo>
                <a:cubicBezTo>
                  <a:pt x="873" y="178"/>
                  <a:pt x="872" y="178"/>
                  <a:pt x="872" y="179"/>
                </a:cubicBezTo>
                <a:cubicBezTo>
                  <a:pt x="872" y="179"/>
                  <a:pt x="870" y="180"/>
                  <a:pt x="870" y="180"/>
                </a:cubicBezTo>
                <a:cubicBezTo>
                  <a:pt x="869" y="180"/>
                  <a:pt x="869" y="181"/>
                  <a:pt x="869" y="182"/>
                </a:cubicBezTo>
                <a:cubicBezTo>
                  <a:pt x="869" y="183"/>
                  <a:pt x="868" y="182"/>
                  <a:pt x="867" y="182"/>
                </a:cubicBezTo>
                <a:cubicBezTo>
                  <a:pt x="865" y="182"/>
                  <a:pt x="865" y="182"/>
                  <a:pt x="865" y="181"/>
                </a:cubicBezTo>
                <a:cubicBezTo>
                  <a:pt x="865" y="180"/>
                  <a:pt x="865" y="180"/>
                  <a:pt x="864" y="180"/>
                </a:cubicBezTo>
                <a:cubicBezTo>
                  <a:pt x="864" y="180"/>
                  <a:pt x="865" y="179"/>
                  <a:pt x="864" y="179"/>
                </a:cubicBezTo>
                <a:cubicBezTo>
                  <a:pt x="864" y="180"/>
                  <a:pt x="863" y="180"/>
                  <a:pt x="863" y="181"/>
                </a:cubicBezTo>
                <a:cubicBezTo>
                  <a:pt x="863" y="181"/>
                  <a:pt x="860" y="180"/>
                  <a:pt x="860" y="180"/>
                </a:cubicBezTo>
                <a:cubicBezTo>
                  <a:pt x="860" y="181"/>
                  <a:pt x="860" y="182"/>
                  <a:pt x="861" y="182"/>
                </a:cubicBezTo>
                <a:cubicBezTo>
                  <a:pt x="860" y="183"/>
                  <a:pt x="859" y="183"/>
                  <a:pt x="858" y="184"/>
                </a:cubicBezTo>
                <a:cubicBezTo>
                  <a:pt x="858" y="184"/>
                  <a:pt x="858" y="185"/>
                  <a:pt x="859" y="185"/>
                </a:cubicBezTo>
                <a:cubicBezTo>
                  <a:pt x="860" y="185"/>
                  <a:pt x="860" y="185"/>
                  <a:pt x="860" y="186"/>
                </a:cubicBezTo>
                <a:cubicBezTo>
                  <a:pt x="859" y="185"/>
                  <a:pt x="858" y="184"/>
                  <a:pt x="857" y="184"/>
                </a:cubicBezTo>
                <a:cubicBezTo>
                  <a:pt x="857" y="185"/>
                  <a:pt x="857" y="185"/>
                  <a:pt x="857" y="186"/>
                </a:cubicBezTo>
                <a:cubicBezTo>
                  <a:pt x="856" y="185"/>
                  <a:pt x="856" y="185"/>
                  <a:pt x="855" y="185"/>
                </a:cubicBezTo>
                <a:cubicBezTo>
                  <a:pt x="854" y="186"/>
                  <a:pt x="853" y="185"/>
                  <a:pt x="852" y="185"/>
                </a:cubicBezTo>
                <a:cubicBezTo>
                  <a:pt x="852" y="186"/>
                  <a:pt x="852" y="187"/>
                  <a:pt x="853" y="187"/>
                </a:cubicBezTo>
                <a:cubicBezTo>
                  <a:pt x="853" y="187"/>
                  <a:pt x="854" y="187"/>
                  <a:pt x="854" y="187"/>
                </a:cubicBezTo>
                <a:cubicBezTo>
                  <a:pt x="854" y="188"/>
                  <a:pt x="854" y="188"/>
                  <a:pt x="853" y="188"/>
                </a:cubicBezTo>
                <a:cubicBezTo>
                  <a:pt x="853" y="189"/>
                  <a:pt x="853" y="189"/>
                  <a:pt x="852" y="189"/>
                </a:cubicBezTo>
                <a:cubicBezTo>
                  <a:pt x="852" y="189"/>
                  <a:pt x="852" y="189"/>
                  <a:pt x="852" y="190"/>
                </a:cubicBezTo>
                <a:cubicBezTo>
                  <a:pt x="852" y="189"/>
                  <a:pt x="851" y="189"/>
                  <a:pt x="850" y="189"/>
                </a:cubicBezTo>
                <a:cubicBezTo>
                  <a:pt x="849" y="189"/>
                  <a:pt x="849" y="189"/>
                  <a:pt x="849" y="190"/>
                </a:cubicBezTo>
                <a:cubicBezTo>
                  <a:pt x="849" y="190"/>
                  <a:pt x="848" y="191"/>
                  <a:pt x="849" y="191"/>
                </a:cubicBezTo>
                <a:cubicBezTo>
                  <a:pt x="849" y="191"/>
                  <a:pt x="850" y="191"/>
                  <a:pt x="851" y="191"/>
                </a:cubicBezTo>
                <a:cubicBezTo>
                  <a:pt x="851" y="191"/>
                  <a:pt x="851" y="192"/>
                  <a:pt x="852" y="192"/>
                </a:cubicBezTo>
                <a:cubicBezTo>
                  <a:pt x="853" y="193"/>
                  <a:pt x="852" y="192"/>
                  <a:pt x="852" y="193"/>
                </a:cubicBezTo>
                <a:cubicBezTo>
                  <a:pt x="852" y="193"/>
                  <a:pt x="852" y="194"/>
                  <a:pt x="851" y="194"/>
                </a:cubicBezTo>
                <a:cubicBezTo>
                  <a:pt x="851" y="193"/>
                  <a:pt x="851" y="192"/>
                  <a:pt x="851" y="192"/>
                </a:cubicBezTo>
                <a:cubicBezTo>
                  <a:pt x="850" y="192"/>
                  <a:pt x="850" y="192"/>
                  <a:pt x="849" y="193"/>
                </a:cubicBezTo>
                <a:cubicBezTo>
                  <a:pt x="848" y="191"/>
                  <a:pt x="848" y="192"/>
                  <a:pt x="848" y="193"/>
                </a:cubicBezTo>
                <a:cubicBezTo>
                  <a:pt x="848" y="193"/>
                  <a:pt x="846" y="194"/>
                  <a:pt x="846" y="192"/>
                </a:cubicBezTo>
                <a:cubicBezTo>
                  <a:pt x="846" y="193"/>
                  <a:pt x="844" y="193"/>
                  <a:pt x="844" y="193"/>
                </a:cubicBezTo>
                <a:cubicBezTo>
                  <a:pt x="844" y="194"/>
                  <a:pt x="844" y="194"/>
                  <a:pt x="843" y="193"/>
                </a:cubicBezTo>
                <a:cubicBezTo>
                  <a:pt x="843" y="193"/>
                  <a:pt x="843" y="194"/>
                  <a:pt x="843" y="195"/>
                </a:cubicBezTo>
                <a:cubicBezTo>
                  <a:pt x="844" y="195"/>
                  <a:pt x="847" y="195"/>
                  <a:pt x="848" y="196"/>
                </a:cubicBezTo>
                <a:cubicBezTo>
                  <a:pt x="847" y="196"/>
                  <a:pt x="841" y="196"/>
                  <a:pt x="841" y="196"/>
                </a:cubicBezTo>
                <a:cubicBezTo>
                  <a:pt x="841" y="197"/>
                  <a:pt x="841" y="197"/>
                  <a:pt x="841" y="198"/>
                </a:cubicBezTo>
                <a:cubicBezTo>
                  <a:pt x="842" y="198"/>
                  <a:pt x="842" y="198"/>
                  <a:pt x="841" y="198"/>
                </a:cubicBezTo>
                <a:cubicBezTo>
                  <a:pt x="841" y="198"/>
                  <a:pt x="841" y="199"/>
                  <a:pt x="841" y="200"/>
                </a:cubicBezTo>
                <a:cubicBezTo>
                  <a:pt x="842" y="200"/>
                  <a:pt x="843" y="199"/>
                  <a:pt x="844" y="199"/>
                </a:cubicBezTo>
                <a:cubicBezTo>
                  <a:pt x="844" y="199"/>
                  <a:pt x="844" y="200"/>
                  <a:pt x="845" y="200"/>
                </a:cubicBezTo>
                <a:cubicBezTo>
                  <a:pt x="845" y="200"/>
                  <a:pt x="845" y="200"/>
                  <a:pt x="845" y="200"/>
                </a:cubicBezTo>
                <a:cubicBezTo>
                  <a:pt x="846" y="200"/>
                  <a:pt x="846" y="200"/>
                  <a:pt x="847" y="200"/>
                </a:cubicBezTo>
                <a:cubicBezTo>
                  <a:pt x="847" y="200"/>
                  <a:pt x="847" y="199"/>
                  <a:pt x="847" y="199"/>
                </a:cubicBezTo>
                <a:cubicBezTo>
                  <a:pt x="847" y="198"/>
                  <a:pt x="848" y="199"/>
                  <a:pt x="848" y="199"/>
                </a:cubicBezTo>
                <a:cubicBezTo>
                  <a:pt x="849" y="199"/>
                  <a:pt x="849" y="199"/>
                  <a:pt x="849" y="199"/>
                </a:cubicBezTo>
                <a:cubicBezTo>
                  <a:pt x="850" y="199"/>
                  <a:pt x="850" y="199"/>
                  <a:pt x="850" y="200"/>
                </a:cubicBezTo>
                <a:cubicBezTo>
                  <a:pt x="850" y="200"/>
                  <a:pt x="850" y="200"/>
                  <a:pt x="850" y="200"/>
                </a:cubicBezTo>
                <a:cubicBezTo>
                  <a:pt x="851" y="200"/>
                  <a:pt x="850" y="199"/>
                  <a:pt x="851" y="199"/>
                </a:cubicBezTo>
                <a:cubicBezTo>
                  <a:pt x="852" y="199"/>
                  <a:pt x="852" y="199"/>
                  <a:pt x="852" y="200"/>
                </a:cubicBezTo>
                <a:cubicBezTo>
                  <a:pt x="852" y="200"/>
                  <a:pt x="851" y="200"/>
                  <a:pt x="850" y="200"/>
                </a:cubicBezTo>
                <a:cubicBezTo>
                  <a:pt x="850" y="200"/>
                  <a:pt x="849" y="202"/>
                  <a:pt x="849" y="201"/>
                </a:cubicBezTo>
                <a:cubicBezTo>
                  <a:pt x="848" y="201"/>
                  <a:pt x="848" y="200"/>
                  <a:pt x="848" y="200"/>
                </a:cubicBezTo>
                <a:cubicBezTo>
                  <a:pt x="848" y="201"/>
                  <a:pt x="846" y="200"/>
                  <a:pt x="845" y="200"/>
                </a:cubicBezTo>
                <a:cubicBezTo>
                  <a:pt x="844" y="200"/>
                  <a:pt x="842" y="200"/>
                  <a:pt x="842" y="201"/>
                </a:cubicBezTo>
                <a:cubicBezTo>
                  <a:pt x="842" y="201"/>
                  <a:pt x="841" y="201"/>
                  <a:pt x="841" y="201"/>
                </a:cubicBezTo>
                <a:cubicBezTo>
                  <a:pt x="841" y="202"/>
                  <a:pt x="843" y="202"/>
                  <a:pt x="844" y="202"/>
                </a:cubicBezTo>
                <a:cubicBezTo>
                  <a:pt x="843" y="202"/>
                  <a:pt x="843" y="204"/>
                  <a:pt x="843" y="204"/>
                </a:cubicBezTo>
                <a:cubicBezTo>
                  <a:pt x="843" y="204"/>
                  <a:pt x="842" y="204"/>
                  <a:pt x="842" y="204"/>
                </a:cubicBezTo>
                <a:cubicBezTo>
                  <a:pt x="842" y="205"/>
                  <a:pt x="842" y="205"/>
                  <a:pt x="841" y="205"/>
                </a:cubicBezTo>
                <a:cubicBezTo>
                  <a:pt x="841" y="205"/>
                  <a:pt x="842" y="206"/>
                  <a:pt x="843" y="205"/>
                </a:cubicBezTo>
                <a:cubicBezTo>
                  <a:pt x="844" y="205"/>
                  <a:pt x="844" y="205"/>
                  <a:pt x="845" y="206"/>
                </a:cubicBezTo>
                <a:cubicBezTo>
                  <a:pt x="844" y="206"/>
                  <a:pt x="844" y="206"/>
                  <a:pt x="843" y="207"/>
                </a:cubicBezTo>
                <a:cubicBezTo>
                  <a:pt x="844" y="207"/>
                  <a:pt x="845" y="207"/>
                  <a:pt x="845" y="207"/>
                </a:cubicBezTo>
                <a:cubicBezTo>
                  <a:pt x="845" y="208"/>
                  <a:pt x="845" y="208"/>
                  <a:pt x="847" y="208"/>
                </a:cubicBezTo>
                <a:cubicBezTo>
                  <a:pt x="847" y="207"/>
                  <a:pt x="847" y="206"/>
                  <a:pt x="849" y="206"/>
                </a:cubicBezTo>
                <a:cubicBezTo>
                  <a:pt x="849" y="206"/>
                  <a:pt x="849" y="205"/>
                  <a:pt x="850" y="205"/>
                </a:cubicBezTo>
                <a:cubicBezTo>
                  <a:pt x="850" y="205"/>
                  <a:pt x="850" y="205"/>
                  <a:pt x="851" y="205"/>
                </a:cubicBezTo>
                <a:cubicBezTo>
                  <a:pt x="851" y="205"/>
                  <a:pt x="851" y="205"/>
                  <a:pt x="851" y="205"/>
                </a:cubicBezTo>
                <a:cubicBezTo>
                  <a:pt x="851" y="206"/>
                  <a:pt x="850" y="206"/>
                  <a:pt x="849" y="206"/>
                </a:cubicBezTo>
                <a:cubicBezTo>
                  <a:pt x="848" y="206"/>
                  <a:pt x="848" y="207"/>
                  <a:pt x="848" y="208"/>
                </a:cubicBezTo>
                <a:cubicBezTo>
                  <a:pt x="848" y="209"/>
                  <a:pt x="847" y="209"/>
                  <a:pt x="847" y="209"/>
                </a:cubicBezTo>
                <a:cubicBezTo>
                  <a:pt x="847" y="210"/>
                  <a:pt x="847" y="210"/>
                  <a:pt x="847" y="211"/>
                </a:cubicBezTo>
                <a:cubicBezTo>
                  <a:pt x="847" y="211"/>
                  <a:pt x="846" y="211"/>
                  <a:pt x="846" y="211"/>
                </a:cubicBezTo>
                <a:cubicBezTo>
                  <a:pt x="846" y="211"/>
                  <a:pt x="846" y="211"/>
                  <a:pt x="846" y="212"/>
                </a:cubicBezTo>
                <a:cubicBezTo>
                  <a:pt x="845" y="212"/>
                  <a:pt x="844" y="212"/>
                  <a:pt x="843" y="212"/>
                </a:cubicBezTo>
                <a:cubicBezTo>
                  <a:pt x="843" y="212"/>
                  <a:pt x="843" y="212"/>
                  <a:pt x="842" y="213"/>
                </a:cubicBezTo>
                <a:cubicBezTo>
                  <a:pt x="842" y="214"/>
                  <a:pt x="844" y="213"/>
                  <a:pt x="844" y="214"/>
                </a:cubicBezTo>
                <a:cubicBezTo>
                  <a:pt x="844" y="216"/>
                  <a:pt x="844" y="215"/>
                  <a:pt x="845" y="215"/>
                </a:cubicBezTo>
                <a:cubicBezTo>
                  <a:pt x="845" y="215"/>
                  <a:pt x="845" y="213"/>
                  <a:pt x="845" y="213"/>
                </a:cubicBezTo>
                <a:cubicBezTo>
                  <a:pt x="846" y="213"/>
                  <a:pt x="847" y="215"/>
                  <a:pt x="847" y="213"/>
                </a:cubicBezTo>
                <a:cubicBezTo>
                  <a:pt x="847" y="213"/>
                  <a:pt x="848" y="213"/>
                  <a:pt x="848" y="213"/>
                </a:cubicBezTo>
                <a:cubicBezTo>
                  <a:pt x="848" y="213"/>
                  <a:pt x="848" y="214"/>
                  <a:pt x="847" y="214"/>
                </a:cubicBezTo>
                <a:cubicBezTo>
                  <a:pt x="847" y="215"/>
                  <a:pt x="847" y="215"/>
                  <a:pt x="848" y="216"/>
                </a:cubicBezTo>
                <a:cubicBezTo>
                  <a:pt x="847" y="216"/>
                  <a:pt x="847" y="217"/>
                  <a:pt x="847" y="218"/>
                </a:cubicBezTo>
                <a:cubicBezTo>
                  <a:pt x="846" y="218"/>
                  <a:pt x="846" y="218"/>
                  <a:pt x="845" y="218"/>
                </a:cubicBezTo>
                <a:cubicBezTo>
                  <a:pt x="845" y="220"/>
                  <a:pt x="845" y="220"/>
                  <a:pt x="846" y="221"/>
                </a:cubicBezTo>
                <a:cubicBezTo>
                  <a:pt x="847" y="222"/>
                  <a:pt x="847" y="222"/>
                  <a:pt x="847" y="223"/>
                </a:cubicBezTo>
                <a:cubicBezTo>
                  <a:pt x="848" y="223"/>
                  <a:pt x="849" y="223"/>
                  <a:pt x="850" y="223"/>
                </a:cubicBezTo>
                <a:cubicBezTo>
                  <a:pt x="850" y="222"/>
                  <a:pt x="850" y="222"/>
                  <a:pt x="851" y="222"/>
                </a:cubicBezTo>
                <a:cubicBezTo>
                  <a:pt x="851" y="223"/>
                  <a:pt x="851" y="223"/>
                  <a:pt x="851" y="224"/>
                </a:cubicBezTo>
                <a:cubicBezTo>
                  <a:pt x="852" y="224"/>
                  <a:pt x="852" y="224"/>
                  <a:pt x="853" y="224"/>
                </a:cubicBezTo>
                <a:cubicBezTo>
                  <a:pt x="854" y="224"/>
                  <a:pt x="854" y="224"/>
                  <a:pt x="855" y="223"/>
                </a:cubicBezTo>
                <a:cubicBezTo>
                  <a:pt x="855" y="223"/>
                  <a:pt x="856" y="223"/>
                  <a:pt x="856" y="223"/>
                </a:cubicBezTo>
                <a:cubicBezTo>
                  <a:pt x="856" y="222"/>
                  <a:pt x="856" y="223"/>
                  <a:pt x="857" y="223"/>
                </a:cubicBezTo>
                <a:cubicBezTo>
                  <a:pt x="857" y="223"/>
                  <a:pt x="857" y="223"/>
                  <a:pt x="857" y="223"/>
                </a:cubicBezTo>
                <a:cubicBezTo>
                  <a:pt x="858" y="222"/>
                  <a:pt x="858" y="222"/>
                  <a:pt x="859" y="222"/>
                </a:cubicBezTo>
                <a:cubicBezTo>
                  <a:pt x="859" y="221"/>
                  <a:pt x="859" y="221"/>
                  <a:pt x="859" y="221"/>
                </a:cubicBezTo>
                <a:cubicBezTo>
                  <a:pt x="859" y="221"/>
                  <a:pt x="859" y="221"/>
                  <a:pt x="860" y="221"/>
                </a:cubicBezTo>
                <a:cubicBezTo>
                  <a:pt x="860" y="221"/>
                  <a:pt x="860" y="221"/>
                  <a:pt x="860" y="221"/>
                </a:cubicBezTo>
                <a:cubicBezTo>
                  <a:pt x="860" y="220"/>
                  <a:pt x="861" y="221"/>
                  <a:pt x="861" y="221"/>
                </a:cubicBezTo>
                <a:cubicBezTo>
                  <a:pt x="862" y="221"/>
                  <a:pt x="862" y="219"/>
                  <a:pt x="862" y="219"/>
                </a:cubicBezTo>
                <a:cubicBezTo>
                  <a:pt x="863" y="219"/>
                  <a:pt x="863" y="219"/>
                  <a:pt x="863" y="218"/>
                </a:cubicBezTo>
                <a:cubicBezTo>
                  <a:pt x="864" y="218"/>
                  <a:pt x="864" y="218"/>
                  <a:pt x="865" y="218"/>
                </a:cubicBezTo>
                <a:cubicBezTo>
                  <a:pt x="866" y="218"/>
                  <a:pt x="865" y="218"/>
                  <a:pt x="866" y="218"/>
                </a:cubicBezTo>
                <a:cubicBezTo>
                  <a:pt x="866" y="218"/>
                  <a:pt x="867" y="217"/>
                  <a:pt x="867" y="217"/>
                </a:cubicBezTo>
                <a:cubicBezTo>
                  <a:pt x="868" y="217"/>
                  <a:pt x="868" y="217"/>
                  <a:pt x="869" y="217"/>
                </a:cubicBezTo>
                <a:cubicBezTo>
                  <a:pt x="869" y="217"/>
                  <a:pt x="869" y="217"/>
                  <a:pt x="869" y="216"/>
                </a:cubicBezTo>
                <a:cubicBezTo>
                  <a:pt x="869" y="216"/>
                  <a:pt x="870" y="216"/>
                  <a:pt x="870" y="216"/>
                </a:cubicBezTo>
                <a:cubicBezTo>
                  <a:pt x="870" y="216"/>
                  <a:pt x="870" y="216"/>
                  <a:pt x="870" y="216"/>
                </a:cubicBezTo>
                <a:cubicBezTo>
                  <a:pt x="871" y="215"/>
                  <a:pt x="871" y="215"/>
                  <a:pt x="871" y="215"/>
                </a:cubicBezTo>
                <a:cubicBezTo>
                  <a:pt x="871" y="217"/>
                  <a:pt x="871" y="218"/>
                  <a:pt x="871" y="219"/>
                </a:cubicBezTo>
                <a:cubicBezTo>
                  <a:pt x="871" y="220"/>
                  <a:pt x="871" y="220"/>
                  <a:pt x="872" y="220"/>
                </a:cubicBezTo>
                <a:cubicBezTo>
                  <a:pt x="872" y="220"/>
                  <a:pt x="872" y="220"/>
                  <a:pt x="873" y="221"/>
                </a:cubicBezTo>
                <a:cubicBezTo>
                  <a:pt x="873" y="221"/>
                  <a:pt x="873" y="222"/>
                  <a:pt x="874" y="222"/>
                </a:cubicBezTo>
                <a:cubicBezTo>
                  <a:pt x="874" y="223"/>
                  <a:pt x="873" y="223"/>
                  <a:pt x="873" y="223"/>
                </a:cubicBezTo>
                <a:cubicBezTo>
                  <a:pt x="873" y="224"/>
                  <a:pt x="873" y="224"/>
                  <a:pt x="873" y="224"/>
                </a:cubicBezTo>
                <a:cubicBezTo>
                  <a:pt x="872" y="225"/>
                  <a:pt x="873" y="225"/>
                  <a:pt x="873" y="226"/>
                </a:cubicBezTo>
                <a:cubicBezTo>
                  <a:pt x="874" y="226"/>
                  <a:pt x="873" y="227"/>
                  <a:pt x="874" y="227"/>
                </a:cubicBezTo>
                <a:cubicBezTo>
                  <a:pt x="875" y="227"/>
                  <a:pt x="875" y="227"/>
                  <a:pt x="875" y="228"/>
                </a:cubicBezTo>
                <a:cubicBezTo>
                  <a:pt x="875" y="228"/>
                  <a:pt x="876" y="229"/>
                  <a:pt x="876" y="230"/>
                </a:cubicBezTo>
                <a:cubicBezTo>
                  <a:pt x="877" y="230"/>
                  <a:pt x="877" y="231"/>
                  <a:pt x="878" y="231"/>
                </a:cubicBezTo>
                <a:cubicBezTo>
                  <a:pt x="878" y="232"/>
                  <a:pt x="878" y="232"/>
                  <a:pt x="878" y="232"/>
                </a:cubicBezTo>
                <a:cubicBezTo>
                  <a:pt x="878" y="233"/>
                  <a:pt x="879" y="233"/>
                  <a:pt x="880" y="233"/>
                </a:cubicBezTo>
                <a:cubicBezTo>
                  <a:pt x="880" y="234"/>
                  <a:pt x="879" y="234"/>
                  <a:pt x="879" y="234"/>
                </a:cubicBezTo>
                <a:cubicBezTo>
                  <a:pt x="878" y="234"/>
                  <a:pt x="878" y="235"/>
                  <a:pt x="879" y="236"/>
                </a:cubicBezTo>
                <a:cubicBezTo>
                  <a:pt x="877" y="237"/>
                  <a:pt x="878" y="237"/>
                  <a:pt x="878" y="238"/>
                </a:cubicBezTo>
                <a:cubicBezTo>
                  <a:pt x="878" y="239"/>
                  <a:pt x="877" y="239"/>
                  <a:pt x="878" y="239"/>
                </a:cubicBezTo>
                <a:cubicBezTo>
                  <a:pt x="879" y="239"/>
                  <a:pt x="878" y="241"/>
                  <a:pt x="878" y="242"/>
                </a:cubicBezTo>
                <a:cubicBezTo>
                  <a:pt x="878" y="242"/>
                  <a:pt x="880" y="242"/>
                  <a:pt x="880" y="242"/>
                </a:cubicBezTo>
                <a:cubicBezTo>
                  <a:pt x="880" y="242"/>
                  <a:pt x="882" y="242"/>
                  <a:pt x="883" y="242"/>
                </a:cubicBezTo>
                <a:cubicBezTo>
                  <a:pt x="883" y="242"/>
                  <a:pt x="885" y="241"/>
                  <a:pt x="885" y="241"/>
                </a:cubicBezTo>
                <a:cubicBezTo>
                  <a:pt x="886" y="240"/>
                  <a:pt x="885" y="240"/>
                  <a:pt x="885" y="239"/>
                </a:cubicBezTo>
                <a:cubicBezTo>
                  <a:pt x="885" y="239"/>
                  <a:pt x="886" y="237"/>
                  <a:pt x="886" y="237"/>
                </a:cubicBezTo>
                <a:cubicBezTo>
                  <a:pt x="886" y="237"/>
                  <a:pt x="887" y="237"/>
                  <a:pt x="887" y="237"/>
                </a:cubicBezTo>
                <a:cubicBezTo>
                  <a:pt x="887" y="235"/>
                  <a:pt x="888" y="236"/>
                  <a:pt x="889" y="235"/>
                </a:cubicBezTo>
                <a:cubicBezTo>
                  <a:pt x="889" y="236"/>
                  <a:pt x="892" y="236"/>
                  <a:pt x="892" y="236"/>
                </a:cubicBezTo>
                <a:cubicBezTo>
                  <a:pt x="893" y="236"/>
                  <a:pt x="893" y="236"/>
                  <a:pt x="894" y="235"/>
                </a:cubicBezTo>
                <a:cubicBezTo>
                  <a:pt x="894" y="235"/>
                  <a:pt x="895" y="234"/>
                  <a:pt x="894" y="234"/>
                </a:cubicBezTo>
                <a:cubicBezTo>
                  <a:pt x="895" y="234"/>
                  <a:pt x="895" y="234"/>
                  <a:pt x="895" y="235"/>
                </a:cubicBezTo>
                <a:cubicBezTo>
                  <a:pt x="895" y="235"/>
                  <a:pt x="895" y="235"/>
                  <a:pt x="895" y="235"/>
                </a:cubicBezTo>
                <a:cubicBezTo>
                  <a:pt x="896" y="236"/>
                  <a:pt x="896" y="235"/>
                  <a:pt x="896" y="235"/>
                </a:cubicBezTo>
                <a:cubicBezTo>
                  <a:pt x="897" y="234"/>
                  <a:pt x="897" y="233"/>
                  <a:pt x="897" y="231"/>
                </a:cubicBezTo>
                <a:cubicBezTo>
                  <a:pt x="896" y="232"/>
                  <a:pt x="896" y="233"/>
                  <a:pt x="895" y="233"/>
                </a:cubicBezTo>
                <a:cubicBezTo>
                  <a:pt x="895" y="233"/>
                  <a:pt x="895" y="231"/>
                  <a:pt x="896" y="231"/>
                </a:cubicBezTo>
                <a:cubicBezTo>
                  <a:pt x="896" y="231"/>
                  <a:pt x="896" y="230"/>
                  <a:pt x="896" y="230"/>
                </a:cubicBezTo>
                <a:cubicBezTo>
                  <a:pt x="896" y="229"/>
                  <a:pt x="896" y="227"/>
                  <a:pt x="897" y="227"/>
                </a:cubicBezTo>
                <a:cubicBezTo>
                  <a:pt x="897" y="226"/>
                  <a:pt x="896" y="226"/>
                  <a:pt x="897" y="225"/>
                </a:cubicBezTo>
                <a:cubicBezTo>
                  <a:pt x="897" y="225"/>
                  <a:pt x="897" y="224"/>
                  <a:pt x="897" y="224"/>
                </a:cubicBezTo>
                <a:cubicBezTo>
                  <a:pt x="897" y="222"/>
                  <a:pt x="898" y="221"/>
                  <a:pt x="897" y="219"/>
                </a:cubicBezTo>
                <a:cubicBezTo>
                  <a:pt x="897" y="219"/>
                  <a:pt x="898" y="219"/>
                  <a:pt x="898" y="219"/>
                </a:cubicBezTo>
                <a:cubicBezTo>
                  <a:pt x="898" y="219"/>
                  <a:pt x="898" y="218"/>
                  <a:pt x="897" y="218"/>
                </a:cubicBezTo>
                <a:cubicBezTo>
                  <a:pt x="897" y="218"/>
                  <a:pt x="896" y="218"/>
                  <a:pt x="896" y="217"/>
                </a:cubicBezTo>
                <a:cubicBezTo>
                  <a:pt x="897" y="217"/>
                  <a:pt x="898" y="218"/>
                  <a:pt x="899" y="218"/>
                </a:cubicBezTo>
                <a:cubicBezTo>
                  <a:pt x="899" y="218"/>
                  <a:pt x="899" y="217"/>
                  <a:pt x="900" y="217"/>
                </a:cubicBezTo>
                <a:cubicBezTo>
                  <a:pt x="900" y="217"/>
                  <a:pt x="900" y="217"/>
                  <a:pt x="901" y="217"/>
                </a:cubicBezTo>
                <a:cubicBezTo>
                  <a:pt x="901" y="217"/>
                  <a:pt x="902" y="216"/>
                  <a:pt x="902" y="216"/>
                </a:cubicBezTo>
                <a:cubicBezTo>
                  <a:pt x="902" y="217"/>
                  <a:pt x="902" y="218"/>
                  <a:pt x="903" y="217"/>
                </a:cubicBezTo>
                <a:cubicBezTo>
                  <a:pt x="903" y="216"/>
                  <a:pt x="904" y="216"/>
                  <a:pt x="905" y="216"/>
                </a:cubicBezTo>
                <a:cubicBezTo>
                  <a:pt x="905" y="216"/>
                  <a:pt x="906" y="215"/>
                  <a:pt x="906" y="215"/>
                </a:cubicBezTo>
                <a:cubicBezTo>
                  <a:pt x="906" y="214"/>
                  <a:pt x="906" y="214"/>
                  <a:pt x="908" y="214"/>
                </a:cubicBezTo>
                <a:cubicBezTo>
                  <a:pt x="907" y="213"/>
                  <a:pt x="907" y="213"/>
                  <a:pt x="906" y="213"/>
                </a:cubicBezTo>
                <a:cubicBezTo>
                  <a:pt x="904" y="213"/>
                  <a:pt x="907" y="212"/>
                  <a:pt x="908" y="211"/>
                </a:cubicBezTo>
                <a:cubicBezTo>
                  <a:pt x="908" y="211"/>
                  <a:pt x="909" y="210"/>
                  <a:pt x="908" y="209"/>
                </a:cubicBezTo>
                <a:cubicBezTo>
                  <a:pt x="908" y="209"/>
                  <a:pt x="908" y="209"/>
                  <a:pt x="908" y="208"/>
                </a:cubicBezTo>
                <a:cubicBezTo>
                  <a:pt x="908" y="207"/>
                  <a:pt x="908" y="207"/>
                  <a:pt x="907" y="207"/>
                </a:cubicBezTo>
                <a:cubicBezTo>
                  <a:pt x="906" y="207"/>
                  <a:pt x="905" y="206"/>
                  <a:pt x="906" y="205"/>
                </a:cubicBezTo>
                <a:cubicBezTo>
                  <a:pt x="906" y="205"/>
                  <a:pt x="905" y="205"/>
                  <a:pt x="905" y="205"/>
                </a:cubicBezTo>
                <a:cubicBezTo>
                  <a:pt x="905" y="205"/>
                  <a:pt x="904" y="203"/>
                  <a:pt x="903" y="203"/>
                </a:cubicBezTo>
                <a:cubicBezTo>
                  <a:pt x="903" y="204"/>
                  <a:pt x="903" y="204"/>
                  <a:pt x="902" y="204"/>
                </a:cubicBezTo>
                <a:cubicBezTo>
                  <a:pt x="900" y="204"/>
                  <a:pt x="900" y="204"/>
                  <a:pt x="900" y="202"/>
                </a:cubicBezTo>
                <a:cubicBezTo>
                  <a:pt x="901" y="202"/>
                  <a:pt x="900" y="201"/>
                  <a:pt x="901" y="201"/>
                </a:cubicBezTo>
                <a:cubicBezTo>
                  <a:pt x="900" y="200"/>
                  <a:pt x="900" y="200"/>
                  <a:pt x="900" y="199"/>
                </a:cubicBezTo>
                <a:cubicBezTo>
                  <a:pt x="900" y="198"/>
                  <a:pt x="899" y="199"/>
                  <a:pt x="900" y="198"/>
                </a:cubicBezTo>
                <a:cubicBezTo>
                  <a:pt x="900" y="197"/>
                  <a:pt x="900" y="197"/>
                  <a:pt x="900" y="197"/>
                </a:cubicBezTo>
                <a:cubicBezTo>
                  <a:pt x="900" y="197"/>
                  <a:pt x="900" y="197"/>
                  <a:pt x="900" y="196"/>
                </a:cubicBezTo>
                <a:cubicBezTo>
                  <a:pt x="900" y="196"/>
                  <a:pt x="899" y="195"/>
                  <a:pt x="900" y="195"/>
                </a:cubicBezTo>
                <a:cubicBezTo>
                  <a:pt x="901" y="195"/>
                  <a:pt x="900" y="194"/>
                  <a:pt x="900" y="193"/>
                </a:cubicBezTo>
                <a:cubicBezTo>
                  <a:pt x="900" y="193"/>
                  <a:pt x="901" y="192"/>
                  <a:pt x="901" y="192"/>
                </a:cubicBezTo>
                <a:cubicBezTo>
                  <a:pt x="902" y="192"/>
                  <a:pt x="900" y="189"/>
                  <a:pt x="900" y="188"/>
                </a:cubicBezTo>
                <a:cubicBezTo>
                  <a:pt x="900" y="187"/>
                  <a:pt x="902" y="189"/>
                  <a:pt x="902" y="188"/>
                </a:cubicBezTo>
                <a:cubicBezTo>
                  <a:pt x="902" y="187"/>
                  <a:pt x="903" y="187"/>
                  <a:pt x="903" y="187"/>
                </a:cubicBezTo>
                <a:cubicBezTo>
                  <a:pt x="904" y="187"/>
                  <a:pt x="904" y="186"/>
                  <a:pt x="904" y="185"/>
                </a:cubicBezTo>
                <a:cubicBezTo>
                  <a:pt x="904" y="185"/>
                  <a:pt x="904" y="185"/>
                  <a:pt x="904" y="185"/>
                </a:cubicBezTo>
                <a:cubicBezTo>
                  <a:pt x="904" y="185"/>
                  <a:pt x="906" y="184"/>
                  <a:pt x="906" y="184"/>
                </a:cubicBezTo>
                <a:cubicBezTo>
                  <a:pt x="907" y="184"/>
                  <a:pt x="906" y="183"/>
                  <a:pt x="907" y="183"/>
                </a:cubicBezTo>
                <a:cubicBezTo>
                  <a:pt x="907" y="183"/>
                  <a:pt x="906" y="182"/>
                  <a:pt x="906" y="182"/>
                </a:cubicBezTo>
                <a:cubicBezTo>
                  <a:pt x="907" y="182"/>
                  <a:pt x="907" y="181"/>
                  <a:pt x="907" y="181"/>
                </a:cubicBezTo>
                <a:cubicBezTo>
                  <a:pt x="908" y="180"/>
                  <a:pt x="908" y="181"/>
                  <a:pt x="909" y="181"/>
                </a:cubicBezTo>
                <a:cubicBezTo>
                  <a:pt x="909" y="180"/>
                  <a:pt x="911" y="181"/>
                  <a:pt x="911" y="180"/>
                </a:cubicBezTo>
                <a:cubicBezTo>
                  <a:pt x="911" y="180"/>
                  <a:pt x="911" y="180"/>
                  <a:pt x="912" y="179"/>
                </a:cubicBezTo>
                <a:cubicBezTo>
                  <a:pt x="913" y="178"/>
                  <a:pt x="913" y="178"/>
                  <a:pt x="914" y="178"/>
                </a:cubicBezTo>
                <a:cubicBezTo>
                  <a:pt x="914" y="179"/>
                  <a:pt x="915" y="179"/>
                  <a:pt x="915" y="178"/>
                </a:cubicBezTo>
                <a:cubicBezTo>
                  <a:pt x="916" y="178"/>
                  <a:pt x="916" y="178"/>
                  <a:pt x="916" y="177"/>
                </a:cubicBezTo>
                <a:cubicBezTo>
                  <a:pt x="917" y="177"/>
                  <a:pt x="917" y="176"/>
                  <a:pt x="917" y="175"/>
                </a:cubicBezTo>
                <a:cubicBezTo>
                  <a:pt x="918" y="175"/>
                  <a:pt x="918" y="175"/>
                  <a:pt x="918" y="175"/>
                </a:cubicBezTo>
                <a:cubicBezTo>
                  <a:pt x="919" y="174"/>
                  <a:pt x="919" y="174"/>
                  <a:pt x="919" y="173"/>
                </a:cubicBezTo>
                <a:cubicBezTo>
                  <a:pt x="919" y="173"/>
                  <a:pt x="919" y="173"/>
                  <a:pt x="918" y="173"/>
                </a:cubicBezTo>
                <a:cubicBezTo>
                  <a:pt x="918" y="172"/>
                  <a:pt x="919" y="172"/>
                  <a:pt x="918" y="171"/>
                </a:cubicBezTo>
                <a:cubicBezTo>
                  <a:pt x="919" y="170"/>
                  <a:pt x="917" y="169"/>
                  <a:pt x="918" y="168"/>
                </a:cubicBezTo>
                <a:cubicBezTo>
                  <a:pt x="919" y="168"/>
                  <a:pt x="919" y="167"/>
                  <a:pt x="920" y="167"/>
                </a:cubicBezTo>
                <a:cubicBezTo>
                  <a:pt x="920" y="167"/>
                  <a:pt x="919" y="166"/>
                  <a:pt x="919" y="166"/>
                </a:cubicBezTo>
                <a:cubicBezTo>
                  <a:pt x="920" y="166"/>
                  <a:pt x="920" y="166"/>
                  <a:pt x="920" y="165"/>
                </a:cubicBezTo>
                <a:cubicBezTo>
                  <a:pt x="920" y="165"/>
                  <a:pt x="920" y="165"/>
                  <a:pt x="920" y="164"/>
                </a:cubicBezTo>
                <a:cubicBezTo>
                  <a:pt x="920" y="164"/>
                  <a:pt x="921" y="164"/>
                  <a:pt x="921" y="164"/>
                </a:cubicBezTo>
                <a:cubicBezTo>
                  <a:pt x="921" y="164"/>
                  <a:pt x="921" y="165"/>
                  <a:pt x="922" y="164"/>
                </a:cubicBezTo>
                <a:cubicBezTo>
                  <a:pt x="922" y="164"/>
                  <a:pt x="923" y="163"/>
                  <a:pt x="924" y="163"/>
                </a:cubicBezTo>
                <a:cubicBezTo>
                  <a:pt x="924" y="163"/>
                  <a:pt x="923" y="162"/>
                  <a:pt x="923" y="162"/>
                </a:cubicBezTo>
                <a:cubicBezTo>
                  <a:pt x="924" y="162"/>
                  <a:pt x="924" y="161"/>
                  <a:pt x="924" y="160"/>
                </a:cubicBezTo>
                <a:cubicBezTo>
                  <a:pt x="924" y="161"/>
                  <a:pt x="925" y="161"/>
                  <a:pt x="925" y="161"/>
                </a:cubicBezTo>
                <a:cubicBezTo>
                  <a:pt x="926" y="162"/>
                  <a:pt x="925" y="161"/>
                  <a:pt x="926" y="161"/>
                </a:cubicBezTo>
                <a:cubicBezTo>
                  <a:pt x="926" y="161"/>
                  <a:pt x="927" y="161"/>
                  <a:pt x="927" y="162"/>
                </a:cubicBezTo>
                <a:cubicBezTo>
                  <a:pt x="927" y="162"/>
                  <a:pt x="927" y="162"/>
                  <a:pt x="927" y="162"/>
                </a:cubicBezTo>
                <a:cubicBezTo>
                  <a:pt x="928" y="161"/>
                  <a:pt x="928" y="161"/>
                  <a:pt x="929" y="161"/>
                </a:cubicBezTo>
                <a:cubicBezTo>
                  <a:pt x="930" y="161"/>
                  <a:pt x="932" y="162"/>
                  <a:pt x="933" y="161"/>
                </a:cubicBezTo>
                <a:cubicBezTo>
                  <a:pt x="934" y="161"/>
                  <a:pt x="935" y="162"/>
                  <a:pt x="935" y="163"/>
                </a:cubicBezTo>
                <a:cubicBezTo>
                  <a:pt x="935" y="163"/>
                  <a:pt x="936" y="162"/>
                  <a:pt x="936" y="163"/>
                </a:cubicBezTo>
                <a:cubicBezTo>
                  <a:pt x="937" y="164"/>
                  <a:pt x="936" y="163"/>
                  <a:pt x="937" y="163"/>
                </a:cubicBezTo>
                <a:cubicBezTo>
                  <a:pt x="937" y="164"/>
                  <a:pt x="936" y="164"/>
                  <a:pt x="936" y="165"/>
                </a:cubicBezTo>
                <a:cubicBezTo>
                  <a:pt x="936" y="165"/>
                  <a:pt x="936" y="165"/>
                  <a:pt x="937" y="165"/>
                </a:cubicBezTo>
                <a:cubicBezTo>
                  <a:pt x="937" y="166"/>
                  <a:pt x="936" y="166"/>
                  <a:pt x="937" y="167"/>
                </a:cubicBezTo>
                <a:cubicBezTo>
                  <a:pt x="937" y="167"/>
                  <a:pt x="937" y="168"/>
                  <a:pt x="937" y="168"/>
                </a:cubicBezTo>
                <a:cubicBezTo>
                  <a:pt x="937" y="169"/>
                  <a:pt x="936" y="168"/>
                  <a:pt x="937" y="169"/>
                </a:cubicBezTo>
                <a:cubicBezTo>
                  <a:pt x="936" y="169"/>
                  <a:pt x="936" y="170"/>
                  <a:pt x="936" y="169"/>
                </a:cubicBezTo>
                <a:cubicBezTo>
                  <a:pt x="934" y="169"/>
                  <a:pt x="934" y="170"/>
                  <a:pt x="933" y="172"/>
                </a:cubicBezTo>
                <a:cubicBezTo>
                  <a:pt x="933" y="173"/>
                  <a:pt x="933" y="173"/>
                  <a:pt x="933" y="174"/>
                </a:cubicBezTo>
                <a:cubicBezTo>
                  <a:pt x="932" y="174"/>
                  <a:pt x="932" y="174"/>
                  <a:pt x="932" y="175"/>
                </a:cubicBezTo>
                <a:cubicBezTo>
                  <a:pt x="932" y="175"/>
                  <a:pt x="931" y="175"/>
                  <a:pt x="931" y="176"/>
                </a:cubicBezTo>
                <a:cubicBezTo>
                  <a:pt x="931" y="176"/>
                  <a:pt x="930" y="176"/>
                  <a:pt x="930" y="176"/>
                </a:cubicBezTo>
                <a:cubicBezTo>
                  <a:pt x="930" y="177"/>
                  <a:pt x="930" y="177"/>
                  <a:pt x="930" y="177"/>
                </a:cubicBezTo>
                <a:cubicBezTo>
                  <a:pt x="930" y="177"/>
                  <a:pt x="930" y="177"/>
                  <a:pt x="930" y="178"/>
                </a:cubicBezTo>
                <a:cubicBezTo>
                  <a:pt x="930" y="178"/>
                  <a:pt x="929" y="178"/>
                  <a:pt x="929" y="178"/>
                </a:cubicBezTo>
                <a:cubicBezTo>
                  <a:pt x="928" y="179"/>
                  <a:pt x="929" y="179"/>
                  <a:pt x="928" y="179"/>
                </a:cubicBezTo>
                <a:cubicBezTo>
                  <a:pt x="927" y="179"/>
                  <a:pt x="927" y="179"/>
                  <a:pt x="926" y="180"/>
                </a:cubicBezTo>
                <a:cubicBezTo>
                  <a:pt x="926" y="180"/>
                  <a:pt x="925" y="181"/>
                  <a:pt x="925" y="181"/>
                </a:cubicBezTo>
                <a:cubicBezTo>
                  <a:pt x="925" y="182"/>
                  <a:pt x="925" y="182"/>
                  <a:pt x="924" y="182"/>
                </a:cubicBezTo>
                <a:cubicBezTo>
                  <a:pt x="923" y="182"/>
                  <a:pt x="922" y="183"/>
                  <a:pt x="922" y="184"/>
                </a:cubicBezTo>
                <a:cubicBezTo>
                  <a:pt x="922" y="184"/>
                  <a:pt x="922" y="185"/>
                  <a:pt x="921" y="185"/>
                </a:cubicBezTo>
                <a:cubicBezTo>
                  <a:pt x="920" y="186"/>
                  <a:pt x="920" y="186"/>
                  <a:pt x="920" y="187"/>
                </a:cubicBezTo>
                <a:cubicBezTo>
                  <a:pt x="920" y="187"/>
                  <a:pt x="920" y="188"/>
                  <a:pt x="921" y="188"/>
                </a:cubicBezTo>
                <a:cubicBezTo>
                  <a:pt x="922" y="188"/>
                  <a:pt x="921" y="189"/>
                  <a:pt x="921" y="190"/>
                </a:cubicBezTo>
                <a:cubicBezTo>
                  <a:pt x="922" y="190"/>
                  <a:pt x="922" y="190"/>
                  <a:pt x="922" y="191"/>
                </a:cubicBezTo>
                <a:cubicBezTo>
                  <a:pt x="922" y="191"/>
                  <a:pt x="922" y="192"/>
                  <a:pt x="922" y="192"/>
                </a:cubicBezTo>
                <a:cubicBezTo>
                  <a:pt x="922" y="192"/>
                  <a:pt x="922" y="192"/>
                  <a:pt x="923" y="192"/>
                </a:cubicBezTo>
                <a:cubicBezTo>
                  <a:pt x="923" y="193"/>
                  <a:pt x="922" y="194"/>
                  <a:pt x="921" y="194"/>
                </a:cubicBezTo>
                <a:cubicBezTo>
                  <a:pt x="922" y="195"/>
                  <a:pt x="922" y="195"/>
                  <a:pt x="922" y="196"/>
                </a:cubicBezTo>
                <a:cubicBezTo>
                  <a:pt x="921" y="196"/>
                  <a:pt x="922" y="197"/>
                  <a:pt x="921" y="198"/>
                </a:cubicBezTo>
                <a:cubicBezTo>
                  <a:pt x="921" y="197"/>
                  <a:pt x="921" y="198"/>
                  <a:pt x="921" y="198"/>
                </a:cubicBezTo>
                <a:cubicBezTo>
                  <a:pt x="922" y="198"/>
                  <a:pt x="922" y="198"/>
                  <a:pt x="922" y="199"/>
                </a:cubicBezTo>
                <a:cubicBezTo>
                  <a:pt x="922" y="200"/>
                  <a:pt x="922" y="199"/>
                  <a:pt x="923" y="199"/>
                </a:cubicBezTo>
                <a:cubicBezTo>
                  <a:pt x="923" y="200"/>
                  <a:pt x="923" y="201"/>
                  <a:pt x="924" y="202"/>
                </a:cubicBezTo>
                <a:cubicBezTo>
                  <a:pt x="924" y="202"/>
                  <a:pt x="924" y="202"/>
                  <a:pt x="925" y="202"/>
                </a:cubicBezTo>
                <a:cubicBezTo>
                  <a:pt x="925" y="201"/>
                  <a:pt x="924" y="201"/>
                  <a:pt x="924" y="200"/>
                </a:cubicBezTo>
                <a:cubicBezTo>
                  <a:pt x="925" y="201"/>
                  <a:pt x="926" y="201"/>
                  <a:pt x="927" y="201"/>
                </a:cubicBezTo>
                <a:cubicBezTo>
                  <a:pt x="928" y="202"/>
                  <a:pt x="927" y="203"/>
                  <a:pt x="927" y="203"/>
                </a:cubicBezTo>
                <a:cubicBezTo>
                  <a:pt x="928" y="203"/>
                  <a:pt x="929" y="203"/>
                  <a:pt x="929" y="203"/>
                </a:cubicBezTo>
                <a:cubicBezTo>
                  <a:pt x="929" y="203"/>
                  <a:pt x="930" y="204"/>
                  <a:pt x="929" y="204"/>
                </a:cubicBezTo>
                <a:cubicBezTo>
                  <a:pt x="927" y="204"/>
                  <a:pt x="926" y="204"/>
                  <a:pt x="926" y="205"/>
                </a:cubicBezTo>
                <a:cubicBezTo>
                  <a:pt x="926" y="205"/>
                  <a:pt x="926" y="205"/>
                  <a:pt x="926" y="206"/>
                </a:cubicBezTo>
                <a:cubicBezTo>
                  <a:pt x="925" y="206"/>
                  <a:pt x="926" y="207"/>
                  <a:pt x="926" y="207"/>
                </a:cubicBezTo>
                <a:cubicBezTo>
                  <a:pt x="927" y="207"/>
                  <a:pt x="927" y="207"/>
                  <a:pt x="928" y="207"/>
                </a:cubicBezTo>
                <a:cubicBezTo>
                  <a:pt x="928" y="207"/>
                  <a:pt x="927" y="206"/>
                  <a:pt x="928" y="206"/>
                </a:cubicBezTo>
                <a:cubicBezTo>
                  <a:pt x="928" y="206"/>
                  <a:pt x="928" y="205"/>
                  <a:pt x="928" y="205"/>
                </a:cubicBezTo>
                <a:cubicBezTo>
                  <a:pt x="928" y="205"/>
                  <a:pt x="929" y="205"/>
                  <a:pt x="929" y="205"/>
                </a:cubicBezTo>
                <a:cubicBezTo>
                  <a:pt x="929" y="205"/>
                  <a:pt x="929" y="205"/>
                  <a:pt x="929" y="205"/>
                </a:cubicBezTo>
                <a:cubicBezTo>
                  <a:pt x="930" y="206"/>
                  <a:pt x="930" y="206"/>
                  <a:pt x="930" y="207"/>
                </a:cubicBezTo>
                <a:cubicBezTo>
                  <a:pt x="931" y="207"/>
                  <a:pt x="931" y="207"/>
                  <a:pt x="931" y="208"/>
                </a:cubicBezTo>
                <a:cubicBezTo>
                  <a:pt x="931" y="208"/>
                  <a:pt x="932" y="208"/>
                  <a:pt x="933" y="208"/>
                </a:cubicBezTo>
                <a:cubicBezTo>
                  <a:pt x="933" y="208"/>
                  <a:pt x="933" y="207"/>
                  <a:pt x="933" y="207"/>
                </a:cubicBezTo>
                <a:cubicBezTo>
                  <a:pt x="935" y="207"/>
                  <a:pt x="935" y="208"/>
                  <a:pt x="935" y="206"/>
                </a:cubicBezTo>
                <a:cubicBezTo>
                  <a:pt x="936" y="206"/>
                  <a:pt x="936" y="206"/>
                  <a:pt x="937" y="205"/>
                </a:cubicBezTo>
                <a:cubicBezTo>
                  <a:pt x="937" y="204"/>
                  <a:pt x="938" y="204"/>
                  <a:pt x="939" y="204"/>
                </a:cubicBezTo>
                <a:cubicBezTo>
                  <a:pt x="941" y="204"/>
                  <a:pt x="941" y="204"/>
                  <a:pt x="941" y="203"/>
                </a:cubicBezTo>
                <a:cubicBezTo>
                  <a:pt x="942" y="203"/>
                  <a:pt x="942" y="203"/>
                  <a:pt x="943" y="202"/>
                </a:cubicBezTo>
                <a:cubicBezTo>
                  <a:pt x="943" y="202"/>
                  <a:pt x="943" y="202"/>
                  <a:pt x="943" y="202"/>
                </a:cubicBezTo>
                <a:cubicBezTo>
                  <a:pt x="943" y="203"/>
                  <a:pt x="945" y="203"/>
                  <a:pt x="945" y="203"/>
                </a:cubicBezTo>
                <a:cubicBezTo>
                  <a:pt x="945" y="202"/>
                  <a:pt x="946" y="202"/>
                  <a:pt x="947" y="201"/>
                </a:cubicBezTo>
                <a:cubicBezTo>
                  <a:pt x="947" y="201"/>
                  <a:pt x="947" y="202"/>
                  <a:pt x="947" y="202"/>
                </a:cubicBezTo>
                <a:cubicBezTo>
                  <a:pt x="949" y="202"/>
                  <a:pt x="950" y="201"/>
                  <a:pt x="952" y="200"/>
                </a:cubicBezTo>
                <a:cubicBezTo>
                  <a:pt x="952" y="201"/>
                  <a:pt x="952" y="201"/>
                  <a:pt x="951" y="201"/>
                </a:cubicBezTo>
                <a:cubicBezTo>
                  <a:pt x="952" y="203"/>
                  <a:pt x="954" y="203"/>
                  <a:pt x="955" y="204"/>
                </a:cubicBezTo>
                <a:cubicBezTo>
                  <a:pt x="956" y="205"/>
                  <a:pt x="956" y="205"/>
                  <a:pt x="957" y="205"/>
                </a:cubicBezTo>
                <a:cubicBezTo>
                  <a:pt x="958" y="205"/>
                  <a:pt x="958" y="205"/>
                  <a:pt x="959" y="205"/>
                </a:cubicBezTo>
                <a:cubicBezTo>
                  <a:pt x="959" y="205"/>
                  <a:pt x="959" y="205"/>
                  <a:pt x="959" y="205"/>
                </a:cubicBezTo>
                <a:cubicBezTo>
                  <a:pt x="960" y="205"/>
                  <a:pt x="961" y="206"/>
                  <a:pt x="961" y="207"/>
                </a:cubicBezTo>
                <a:cubicBezTo>
                  <a:pt x="962" y="207"/>
                  <a:pt x="962" y="207"/>
                  <a:pt x="963" y="207"/>
                </a:cubicBezTo>
                <a:cubicBezTo>
                  <a:pt x="962" y="208"/>
                  <a:pt x="962" y="208"/>
                  <a:pt x="961" y="208"/>
                </a:cubicBezTo>
                <a:cubicBezTo>
                  <a:pt x="960" y="208"/>
                  <a:pt x="959" y="208"/>
                  <a:pt x="958" y="207"/>
                </a:cubicBezTo>
                <a:cubicBezTo>
                  <a:pt x="958" y="208"/>
                  <a:pt x="957" y="208"/>
                  <a:pt x="957" y="208"/>
                </a:cubicBezTo>
                <a:cubicBezTo>
                  <a:pt x="957" y="209"/>
                  <a:pt x="956" y="209"/>
                  <a:pt x="956" y="209"/>
                </a:cubicBezTo>
                <a:cubicBezTo>
                  <a:pt x="955" y="209"/>
                  <a:pt x="954" y="209"/>
                  <a:pt x="953" y="209"/>
                </a:cubicBezTo>
                <a:cubicBezTo>
                  <a:pt x="953" y="209"/>
                  <a:pt x="953" y="209"/>
                  <a:pt x="953" y="209"/>
                </a:cubicBezTo>
                <a:cubicBezTo>
                  <a:pt x="952" y="209"/>
                  <a:pt x="952" y="209"/>
                  <a:pt x="952" y="208"/>
                </a:cubicBezTo>
                <a:cubicBezTo>
                  <a:pt x="952" y="209"/>
                  <a:pt x="951" y="210"/>
                  <a:pt x="951" y="212"/>
                </a:cubicBezTo>
                <a:cubicBezTo>
                  <a:pt x="950" y="212"/>
                  <a:pt x="949" y="211"/>
                  <a:pt x="948" y="211"/>
                </a:cubicBezTo>
                <a:cubicBezTo>
                  <a:pt x="947" y="211"/>
                  <a:pt x="948" y="211"/>
                  <a:pt x="948" y="210"/>
                </a:cubicBezTo>
                <a:cubicBezTo>
                  <a:pt x="947" y="210"/>
                  <a:pt x="947" y="210"/>
                  <a:pt x="947" y="210"/>
                </a:cubicBezTo>
                <a:cubicBezTo>
                  <a:pt x="947" y="210"/>
                  <a:pt x="946" y="210"/>
                  <a:pt x="946" y="210"/>
                </a:cubicBezTo>
                <a:cubicBezTo>
                  <a:pt x="946" y="211"/>
                  <a:pt x="945" y="210"/>
                  <a:pt x="945" y="210"/>
                </a:cubicBezTo>
                <a:cubicBezTo>
                  <a:pt x="945" y="211"/>
                  <a:pt x="945" y="211"/>
                  <a:pt x="945" y="211"/>
                </a:cubicBezTo>
                <a:cubicBezTo>
                  <a:pt x="945" y="212"/>
                  <a:pt x="944" y="212"/>
                  <a:pt x="944" y="212"/>
                </a:cubicBezTo>
                <a:cubicBezTo>
                  <a:pt x="944" y="212"/>
                  <a:pt x="943" y="212"/>
                  <a:pt x="942" y="212"/>
                </a:cubicBezTo>
                <a:cubicBezTo>
                  <a:pt x="942" y="212"/>
                  <a:pt x="941" y="212"/>
                  <a:pt x="941" y="212"/>
                </a:cubicBezTo>
                <a:cubicBezTo>
                  <a:pt x="941" y="211"/>
                  <a:pt x="940" y="212"/>
                  <a:pt x="940" y="211"/>
                </a:cubicBezTo>
                <a:cubicBezTo>
                  <a:pt x="939" y="211"/>
                  <a:pt x="939" y="211"/>
                  <a:pt x="939" y="212"/>
                </a:cubicBezTo>
                <a:cubicBezTo>
                  <a:pt x="939" y="212"/>
                  <a:pt x="939" y="212"/>
                  <a:pt x="938" y="212"/>
                </a:cubicBezTo>
                <a:cubicBezTo>
                  <a:pt x="938" y="212"/>
                  <a:pt x="937" y="212"/>
                  <a:pt x="937" y="212"/>
                </a:cubicBezTo>
                <a:cubicBezTo>
                  <a:pt x="937" y="212"/>
                  <a:pt x="936" y="212"/>
                  <a:pt x="936" y="212"/>
                </a:cubicBezTo>
                <a:cubicBezTo>
                  <a:pt x="936" y="212"/>
                  <a:pt x="936" y="213"/>
                  <a:pt x="935" y="213"/>
                </a:cubicBezTo>
                <a:cubicBezTo>
                  <a:pt x="935" y="213"/>
                  <a:pt x="935" y="213"/>
                  <a:pt x="935" y="213"/>
                </a:cubicBezTo>
                <a:cubicBezTo>
                  <a:pt x="934" y="213"/>
                  <a:pt x="934" y="213"/>
                  <a:pt x="933" y="213"/>
                </a:cubicBezTo>
                <a:cubicBezTo>
                  <a:pt x="933" y="213"/>
                  <a:pt x="933" y="213"/>
                  <a:pt x="933" y="213"/>
                </a:cubicBezTo>
                <a:cubicBezTo>
                  <a:pt x="932" y="214"/>
                  <a:pt x="932" y="214"/>
                  <a:pt x="931" y="213"/>
                </a:cubicBezTo>
                <a:cubicBezTo>
                  <a:pt x="931" y="214"/>
                  <a:pt x="931" y="214"/>
                  <a:pt x="930" y="214"/>
                </a:cubicBezTo>
                <a:cubicBezTo>
                  <a:pt x="930" y="215"/>
                  <a:pt x="931" y="216"/>
                  <a:pt x="931" y="216"/>
                </a:cubicBezTo>
                <a:cubicBezTo>
                  <a:pt x="930" y="216"/>
                  <a:pt x="931" y="217"/>
                  <a:pt x="930" y="217"/>
                </a:cubicBezTo>
                <a:cubicBezTo>
                  <a:pt x="930" y="218"/>
                  <a:pt x="930" y="219"/>
                  <a:pt x="930" y="219"/>
                </a:cubicBezTo>
                <a:cubicBezTo>
                  <a:pt x="930" y="220"/>
                  <a:pt x="930" y="220"/>
                  <a:pt x="931" y="221"/>
                </a:cubicBezTo>
                <a:cubicBezTo>
                  <a:pt x="931" y="220"/>
                  <a:pt x="932" y="220"/>
                  <a:pt x="932" y="220"/>
                </a:cubicBezTo>
                <a:cubicBezTo>
                  <a:pt x="932" y="221"/>
                  <a:pt x="932" y="222"/>
                  <a:pt x="932" y="224"/>
                </a:cubicBezTo>
                <a:cubicBezTo>
                  <a:pt x="932" y="224"/>
                  <a:pt x="931" y="223"/>
                  <a:pt x="931" y="224"/>
                </a:cubicBezTo>
                <a:cubicBezTo>
                  <a:pt x="931" y="225"/>
                  <a:pt x="931" y="225"/>
                  <a:pt x="931" y="226"/>
                </a:cubicBezTo>
                <a:cubicBezTo>
                  <a:pt x="931" y="227"/>
                  <a:pt x="932" y="227"/>
                  <a:pt x="932" y="229"/>
                </a:cubicBezTo>
                <a:cubicBezTo>
                  <a:pt x="932" y="230"/>
                  <a:pt x="931" y="230"/>
                  <a:pt x="930" y="230"/>
                </a:cubicBezTo>
                <a:cubicBezTo>
                  <a:pt x="929" y="230"/>
                  <a:pt x="926" y="231"/>
                  <a:pt x="926" y="230"/>
                </a:cubicBezTo>
                <a:cubicBezTo>
                  <a:pt x="926" y="229"/>
                  <a:pt x="925" y="227"/>
                  <a:pt x="924" y="227"/>
                </a:cubicBezTo>
                <a:cubicBezTo>
                  <a:pt x="924" y="226"/>
                  <a:pt x="924" y="226"/>
                  <a:pt x="924" y="225"/>
                </a:cubicBezTo>
                <a:cubicBezTo>
                  <a:pt x="923" y="225"/>
                  <a:pt x="923" y="225"/>
                  <a:pt x="922" y="226"/>
                </a:cubicBezTo>
                <a:cubicBezTo>
                  <a:pt x="921" y="226"/>
                  <a:pt x="921" y="226"/>
                  <a:pt x="920" y="227"/>
                </a:cubicBezTo>
                <a:cubicBezTo>
                  <a:pt x="920" y="227"/>
                  <a:pt x="920" y="227"/>
                  <a:pt x="920" y="227"/>
                </a:cubicBezTo>
                <a:cubicBezTo>
                  <a:pt x="920" y="228"/>
                  <a:pt x="920" y="227"/>
                  <a:pt x="920" y="228"/>
                </a:cubicBezTo>
                <a:cubicBezTo>
                  <a:pt x="920" y="228"/>
                  <a:pt x="920" y="228"/>
                  <a:pt x="920" y="228"/>
                </a:cubicBezTo>
                <a:cubicBezTo>
                  <a:pt x="919" y="229"/>
                  <a:pt x="919" y="229"/>
                  <a:pt x="919" y="229"/>
                </a:cubicBezTo>
                <a:cubicBezTo>
                  <a:pt x="919" y="229"/>
                  <a:pt x="918" y="230"/>
                  <a:pt x="918" y="230"/>
                </a:cubicBezTo>
                <a:cubicBezTo>
                  <a:pt x="918" y="231"/>
                  <a:pt x="918" y="231"/>
                  <a:pt x="918" y="232"/>
                </a:cubicBezTo>
                <a:cubicBezTo>
                  <a:pt x="918" y="232"/>
                  <a:pt x="918" y="232"/>
                  <a:pt x="917" y="232"/>
                </a:cubicBezTo>
                <a:cubicBezTo>
                  <a:pt x="917" y="232"/>
                  <a:pt x="917" y="233"/>
                  <a:pt x="917" y="234"/>
                </a:cubicBezTo>
                <a:cubicBezTo>
                  <a:pt x="917" y="234"/>
                  <a:pt x="917" y="233"/>
                  <a:pt x="917" y="234"/>
                </a:cubicBezTo>
                <a:cubicBezTo>
                  <a:pt x="917" y="235"/>
                  <a:pt x="917" y="236"/>
                  <a:pt x="917" y="236"/>
                </a:cubicBezTo>
                <a:cubicBezTo>
                  <a:pt x="916" y="237"/>
                  <a:pt x="916" y="239"/>
                  <a:pt x="916" y="240"/>
                </a:cubicBezTo>
                <a:cubicBezTo>
                  <a:pt x="916" y="240"/>
                  <a:pt x="917" y="240"/>
                  <a:pt x="917" y="240"/>
                </a:cubicBezTo>
                <a:cubicBezTo>
                  <a:pt x="917" y="241"/>
                  <a:pt x="917" y="241"/>
                  <a:pt x="917" y="241"/>
                </a:cubicBezTo>
                <a:cubicBezTo>
                  <a:pt x="916" y="241"/>
                  <a:pt x="917" y="241"/>
                  <a:pt x="917" y="242"/>
                </a:cubicBezTo>
                <a:cubicBezTo>
                  <a:pt x="917" y="242"/>
                  <a:pt x="917" y="243"/>
                  <a:pt x="916" y="243"/>
                </a:cubicBezTo>
                <a:cubicBezTo>
                  <a:pt x="917" y="244"/>
                  <a:pt x="915" y="245"/>
                  <a:pt x="914" y="245"/>
                </a:cubicBezTo>
                <a:cubicBezTo>
                  <a:pt x="915" y="244"/>
                  <a:pt x="915" y="244"/>
                  <a:pt x="915" y="242"/>
                </a:cubicBezTo>
                <a:cubicBezTo>
                  <a:pt x="914" y="243"/>
                  <a:pt x="913" y="243"/>
                  <a:pt x="913" y="244"/>
                </a:cubicBezTo>
                <a:cubicBezTo>
                  <a:pt x="912" y="244"/>
                  <a:pt x="912" y="244"/>
                  <a:pt x="912" y="244"/>
                </a:cubicBezTo>
                <a:cubicBezTo>
                  <a:pt x="912" y="245"/>
                  <a:pt x="911" y="246"/>
                  <a:pt x="911" y="246"/>
                </a:cubicBezTo>
                <a:cubicBezTo>
                  <a:pt x="912" y="246"/>
                  <a:pt x="912" y="246"/>
                  <a:pt x="912" y="247"/>
                </a:cubicBezTo>
                <a:cubicBezTo>
                  <a:pt x="912" y="247"/>
                  <a:pt x="912" y="247"/>
                  <a:pt x="911" y="247"/>
                </a:cubicBezTo>
                <a:cubicBezTo>
                  <a:pt x="911" y="248"/>
                  <a:pt x="911" y="248"/>
                  <a:pt x="911" y="249"/>
                </a:cubicBezTo>
                <a:cubicBezTo>
                  <a:pt x="910" y="249"/>
                  <a:pt x="910" y="250"/>
                  <a:pt x="910" y="251"/>
                </a:cubicBezTo>
                <a:cubicBezTo>
                  <a:pt x="909" y="251"/>
                  <a:pt x="909" y="250"/>
                  <a:pt x="909" y="250"/>
                </a:cubicBezTo>
                <a:cubicBezTo>
                  <a:pt x="909" y="250"/>
                  <a:pt x="909" y="250"/>
                  <a:pt x="909" y="249"/>
                </a:cubicBezTo>
                <a:cubicBezTo>
                  <a:pt x="908" y="249"/>
                  <a:pt x="908" y="250"/>
                  <a:pt x="907" y="250"/>
                </a:cubicBezTo>
                <a:cubicBezTo>
                  <a:pt x="906" y="250"/>
                  <a:pt x="906" y="251"/>
                  <a:pt x="905" y="251"/>
                </a:cubicBezTo>
                <a:cubicBezTo>
                  <a:pt x="904" y="251"/>
                  <a:pt x="905" y="250"/>
                  <a:pt x="904" y="249"/>
                </a:cubicBezTo>
                <a:cubicBezTo>
                  <a:pt x="905" y="249"/>
                  <a:pt x="905" y="250"/>
                  <a:pt x="906" y="249"/>
                </a:cubicBezTo>
                <a:cubicBezTo>
                  <a:pt x="906" y="249"/>
                  <a:pt x="907" y="249"/>
                  <a:pt x="905" y="248"/>
                </a:cubicBezTo>
                <a:cubicBezTo>
                  <a:pt x="905" y="248"/>
                  <a:pt x="904" y="248"/>
                  <a:pt x="904" y="248"/>
                </a:cubicBezTo>
                <a:cubicBezTo>
                  <a:pt x="904" y="247"/>
                  <a:pt x="903" y="248"/>
                  <a:pt x="904" y="248"/>
                </a:cubicBezTo>
                <a:cubicBezTo>
                  <a:pt x="903" y="248"/>
                  <a:pt x="902" y="248"/>
                  <a:pt x="901" y="248"/>
                </a:cubicBezTo>
                <a:cubicBezTo>
                  <a:pt x="901" y="248"/>
                  <a:pt x="901" y="249"/>
                  <a:pt x="901" y="249"/>
                </a:cubicBezTo>
                <a:cubicBezTo>
                  <a:pt x="900" y="249"/>
                  <a:pt x="900" y="249"/>
                  <a:pt x="900" y="249"/>
                </a:cubicBezTo>
                <a:cubicBezTo>
                  <a:pt x="899" y="249"/>
                  <a:pt x="899" y="249"/>
                  <a:pt x="899" y="249"/>
                </a:cubicBezTo>
                <a:cubicBezTo>
                  <a:pt x="898" y="249"/>
                  <a:pt x="899" y="250"/>
                  <a:pt x="898" y="250"/>
                </a:cubicBezTo>
                <a:cubicBezTo>
                  <a:pt x="898" y="250"/>
                  <a:pt x="898" y="250"/>
                  <a:pt x="898" y="250"/>
                </a:cubicBezTo>
                <a:cubicBezTo>
                  <a:pt x="897" y="250"/>
                  <a:pt x="896" y="250"/>
                  <a:pt x="896" y="250"/>
                </a:cubicBezTo>
                <a:cubicBezTo>
                  <a:pt x="896" y="250"/>
                  <a:pt x="895" y="251"/>
                  <a:pt x="895" y="251"/>
                </a:cubicBezTo>
                <a:cubicBezTo>
                  <a:pt x="894" y="251"/>
                  <a:pt x="894" y="251"/>
                  <a:pt x="894" y="252"/>
                </a:cubicBezTo>
                <a:cubicBezTo>
                  <a:pt x="893" y="252"/>
                  <a:pt x="893" y="251"/>
                  <a:pt x="892" y="251"/>
                </a:cubicBezTo>
                <a:cubicBezTo>
                  <a:pt x="892" y="252"/>
                  <a:pt x="891" y="252"/>
                  <a:pt x="891" y="252"/>
                </a:cubicBezTo>
                <a:cubicBezTo>
                  <a:pt x="889" y="252"/>
                  <a:pt x="887" y="253"/>
                  <a:pt x="885" y="253"/>
                </a:cubicBezTo>
                <a:cubicBezTo>
                  <a:pt x="885" y="253"/>
                  <a:pt x="884" y="252"/>
                  <a:pt x="884" y="252"/>
                </a:cubicBezTo>
                <a:cubicBezTo>
                  <a:pt x="883" y="252"/>
                  <a:pt x="883" y="252"/>
                  <a:pt x="883" y="252"/>
                </a:cubicBezTo>
                <a:cubicBezTo>
                  <a:pt x="882" y="252"/>
                  <a:pt x="882" y="252"/>
                  <a:pt x="882" y="251"/>
                </a:cubicBezTo>
                <a:cubicBezTo>
                  <a:pt x="881" y="251"/>
                  <a:pt x="881" y="252"/>
                  <a:pt x="881" y="252"/>
                </a:cubicBezTo>
                <a:cubicBezTo>
                  <a:pt x="881" y="251"/>
                  <a:pt x="877" y="251"/>
                  <a:pt x="878" y="250"/>
                </a:cubicBezTo>
                <a:cubicBezTo>
                  <a:pt x="876" y="250"/>
                  <a:pt x="874" y="251"/>
                  <a:pt x="874" y="253"/>
                </a:cubicBezTo>
                <a:cubicBezTo>
                  <a:pt x="874" y="253"/>
                  <a:pt x="874" y="252"/>
                  <a:pt x="874" y="252"/>
                </a:cubicBezTo>
                <a:cubicBezTo>
                  <a:pt x="874" y="253"/>
                  <a:pt x="872" y="253"/>
                  <a:pt x="872" y="253"/>
                </a:cubicBezTo>
                <a:cubicBezTo>
                  <a:pt x="872" y="254"/>
                  <a:pt x="872" y="254"/>
                  <a:pt x="872" y="254"/>
                </a:cubicBezTo>
                <a:cubicBezTo>
                  <a:pt x="872" y="254"/>
                  <a:pt x="870" y="253"/>
                  <a:pt x="870" y="253"/>
                </a:cubicBezTo>
                <a:cubicBezTo>
                  <a:pt x="870" y="252"/>
                  <a:pt x="870" y="252"/>
                  <a:pt x="869" y="252"/>
                </a:cubicBezTo>
                <a:cubicBezTo>
                  <a:pt x="868" y="252"/>
                  <a:pt x="867" y="252"/>
                  <a:pt x="867" y="252"/>
                </a:cubicBezTo>
                <a:cubicBezTo>
                  <a:pt x="867" y="252"/>
                  <a:pt x="866" y="252"/>
                  <a:pt x="866" y="252"/>
                </a:cubicBezTo>
                <a:cubicBezTo>
                  <a:pt x="866" y="251"/>
                  <a:pt x="866" y="251"/>
                  <a:pt x="866" y="250"/>
                </a:cubicBezTo>
                <a:cubicBezTo>
                  <a:pt x="866" y="250"/>
                  <a:pt x="866" y="250"/>
                  <a:pt x="866" y="250"/>
                </a:cubicBezTo>
                <a:cubicBezTo>
                  <a:pt x="866" y="249"/>
                  <a:pt x="865" y="250"/>
                  <a:pt x="865" y="249"/>
                </a:cubicBezTo>
                <a:cubicBezTo>
                  <a:pt x="865" y="248"/>
                  <a:pt x="865" y="248"/>
                  <a:pt x="864" y="248"/>
                </a:cubicBezTo>
                <a:cubicBezTo>
                  <a:pt x="863" y="248"/>
                  <a:pt x="864" y="247"/>
                  <a:pt x="864" y="247"/>
                </a:cubicBezTo>
                <a:cubicBezTo>
                  <a:pt x="865" y="247"/>
                  <a:pt x="865" y="246"/>
                  <a:pt x="866" y="245"/>
                </a:cubicBezTo>
                <a:cubicBezTo>
                  <a:pt x="866" y="245"/>
                  <a:pt x="865" y="245"/>
                  <a:pt x="865" y="245"/>
                </a:cubicBezTo>
                <a:cubicBezTo>
                  <a:pt x="865" y="246"/>
                  <a:pt x="864" y="246"/>
                  <a:pt x="863" y="246"/>
                </a:cubicBezTo>
                <a:cubicBezTo>
                  <a:pt x="863" y="246"/>
                  <a:pt x="863" y="244"/>
                  <a:pt x="864" y="244"/>
                </a:cubicBezTo>
                <a:cubicBezTo>
                  <a:pt x="864" y="244"/>
                  <a:pt x="864" y="243"/>
                  <a:pt x="864" y="243"/>
                </a:cubicBezTo>
                <a:cubicBezTo>
                  <a:pt x="864" y="243"/>
                  <a:pt x="864" y="243"/>
                  <a:pt x="864" y="242"/>
                </a:cubicBezTo>
                <a:cubicBezTo>
                  <a:pt x="864" y="241"/>
                  <a:pt x="865" y="242"/>
                  <a:pt x="865" y="241"/>
                </a:cubicBezTo>
                <a:cubicBezTo>
                  <a:pt x="865" y="241"/>
                  <a:pt x="865" y="240"/>
                  <a:pt x="865" y="240"/>
                </a:cubicBezTo>
                <a:cubicBezTo>
                  <a:pt x="866" y="240"/>
                  <a:pt x="866" y="240"/>
                  <a:pt x="866" y="239"/>
                </a:cubicBezTo>
                <a:cubicBezTo>
                  <a:pt x="866" y="238"/>
                  <a:pt x="867" y="237"/>
                  <a:pt x="867" y="236"/>
                </a:cubicBezTo>
                <a:cubicBezTo>
                  <a:pt x="867" y="236"/>
                  <a:pt x="868" y="237"/>
                  <a:pt x="868" y="237"/>
                </a:cubicBezTo>
                <a:cubicBezTo>
                  <a:pt x="869" y="237"/>
                  <a:pt x="869" y="236"/>
                  <a:pt x="870" y="235"/>
                </a:cubicBezTo>
                <a:cubicBezTo>
                  <a:pt x="869" y="235"/>
                  <a:pt x="868" y="235"/>
                  <a:pt x="868" y="235"/>
                </a:cubicBezTo>
                <a:cubicBezTo>
                  <a:pt x="867" y="234"/>
                  <a:pt x="867" y="234"/>
                  <a:pt x="867" y="233"/>
                </a:cubicBezTo>
                <a:cubicBezTo>
                  <a:pt x="867" y="232"/>
                  <a:pt x="867" y="231"/>
                  <a:pt x="867" y="230"/>
                </a:cubicBezTo>
                <a:cubicBezTo>
                  <a:pt x="866" y="230"/>
                  <a:pt x="866" y="230"/>
                  <a:pt x="865" y="230"/>
                </a:cubicBezTo>
                <a:cubicBezTo>
                  <a:pt x="865" y="230"/>
                  <a:pt x="864" y="230"/>
                  <a:pt x="864" y="230"/>
                </a:cubicBezTo>
                <a:cubicBezTo>
                  <a:pt x="865" y="229"/>
                  <a:pt x="866" y="229"/>
                  <a:pt x="867" y="229"/>
                </a:cubicBezTo>
                <a:cubicBezTo>
                  <a:pt x="866" y="229"/>
                  <a:pt x="867" y="228"/>
                  <a:pt x="867" y="228"/>
                </a:cubicBezTo>
                <a:cubicBezTo>
                  <a:pt x="868" y="228"/>
                  <a:pt x="868" y="228"/>
                  <a:pt x="868" y="227"/>
                </a:cubicBezTo>
                <a:cubicBezTo>
                  <a:pt x="868" y="225"/>
                  <a:pt x="868" y="225"/>
                  <a:pt x="868" y="224"/>
                </a:cubicBezTo>
                <a:cubicBezTo>
                  <a:pt x="868" y="224"/>
                  <a:pt x="867" y="225"/>
                  <a:pt x="867" y="225"/>
                </a:cubicBezTo>
                <a:cubicBezTo>
                  <a:pt x="867" y="225"/>
                  <a:pt x="864" y="225"/>
                  <a:pt x="864" y="226"/>
                </a:cubicBezTo>
                <a:cubicBezTo>
                  <a:pt x="864" y="226"/>
                  <a:pt x="864" y="227"/>
                  <a:pt x="863" y="228"/>
                </a:cubicBezTo>
                <a:cubicBezTo>
                  <a:pt x="863" y="229"/>
                  <a:pt x="861" y="228"/>
                  <a:pt x="860" y="228"/>
                </a:cubicBezTo>
                <a:cubicBezTo>
                  <a:pt x="860" y="228"/>
                  <a:pt x="860" y="228"/>
                  <a:pt x="859" y="228"/>
                </a:cubicBezTo>
                <a:cubicBezTo>
                  <a:pt x="859" y="228"/>
                  <a:pt x="858" y="229"/>
                  <a:pt x="858" y="229"/>
                </a:cubicBezTo>
                <a:cubicBezTo>
                  <a:pt x="858" y="229"/>
                  <a:pt x="857" y="230"/>
                  <a:pt x="857" y="230"/>
                </a:cubicBezTo>
                <a:cubicBezTo>
                  <a:pt x="856" y="231"/>
                  <a:pt x="856" y="231"/>
                  <a:pt x="856" y="232"/>
                </a:cubicBezTo>
                <a:cubicBezTo>
                  <a:pt x="856" y="232"/>
                  <a:pt x="857" y="232"/>
                  <a:pt x="857" y="232"/>
                </a:cubicBezTo>
                <a:cubicBezTo>
                  <a:pt x="858" y="232"/>
                  <a:pt x="858" y="232"/>
                  <a:pt x="858" y="231"/>
                </a:cubicBezTo>
                <a:cubicBezTo>
                  <a:pt x="859" y="230"/>
                  <a:pt x="860" y="230"/>
                  <a:pt x="860" y="230"/>
                </a:cubicBezTo>
                <a:cubicBezTo>
                  <a:pt x="861" y="230"/>
                  <a:pt x="862" y="230"/>
                  <a:pt x="863" y="230"/>
                </a:cubicBezTo>
                <a:cubicBezTo>
                  <a:pt x="863" y="230"/>
                  <a:pt x="862" y="231"/>
                  <a:pt x="862" y="231"/>
                </a:cubicBezTo>
                <a:cubicBezTo>
                  <a:pt x="863" y="232"/>
                  <a:pt x="863" y="232"/>
                  <a:pt x="863" y="232"/>
                </a:cubicBezTo>
                <a:cubicBezTo>
                  <a:pt x="863" y="233"/>
                  <a:pt x="863" y="234"/>
                  <a:pt x="863" y="233"/>
                </a:cubicBezTo>
                <a:cubicBezTo>
                  <a:pt x="863" y="233"/>
                  <a:pt x="862" y="232"/>
                  <a:pt x="862" y="232"/>
                </a:cubicBezTo>
                <a:cubicBezTo>
                  <a:pt x="861" y="232"/>
                  <a:pt x="861" y="232"/>
                  <a:pt x="860" y="233"/>
                </a:cubicBezTo>
                <a:cubicBezTo>
                  <a:pt x="860" y="233"/>
                  <a:pt x="860" y="233"/>
                  <a:pt x="860" y="234"/>
                </a:cubicBezTo>
                <a:cubicBezTo>
                  <a:pt x="859" y="235"/>
                  <a:pt x="859" y="234"/>
                  <a:pt x="858" y="234"/>
                </a:cubicBezTo>
                <a:cubicBezTo>
                  <a:pt x="857" y="234"/>
                  <a:pt x="857" y="234"/>
                  <a:pt x="856" y="234"/>
                </a:cubicBezTo>
                <a:cubicBezTo>
                  <a:pt x="856" y="234"/>
                  <a:pt x="856" y="235"/>
                  <a:pt x="856" y="235"/>
                </a:cubicBezTo>
                <a:cubicBezTo>
                  <a:pt x="856" y="236"/>
                  <a:pt x="855" y="238"/>
                  <a:pt x="856" y="238"/>
                </a:cubicBezTo>
                <a:cubicBezTo>
                  <a:pt x="857" y="238"/>
                  <a:pt x="857" y="239"/>
                  <a:pt x="857" y="239"/>
                </a:cubicBezTo>
                <a:cubicBezTo>
                  <a:pt x="857" y="240"/>
                  <a:pt x="856" y="240"/>
                  <a:pt x="856" y="241"/>
                </a:cubicBezTo>
                <a:cubicBezTo>
                  <a:pt x="856" y="242"/>
                  <a:pt x="857" y="242"/>
                  <a:pt x="857" y="243"/>
                </a:cubicBezTo>
                <a:cubicBezTo>
                  <a:pt x="858" y="244"/>
                  <a:pt x="858" y="244"/>
                  <a:pt x="858" y="244"/>
                </a:cubicBezTo>
                <a:cubicBezTo>
                  <a:pt x="859" y="244"/>
                  <a:pt x="859" y="245"/>
                  <a:pt x="859" y="245"/>
                </a:cubicBezTo>
                <a:cubicBezTo>
                  <a:pt x="859" y="246"/>
                  <a:pt x="858" y="246"/>
                  <a:pt x="858" y="248"/>
                </a:cubicBezTo>
                <a:cubicBezTo>
                  <a:pt x="860" y="247"/>
                  <a:pt x="860" y="250"/>
                  <a:pt x="860" y="251"/>
                </a:cubicBezTo>
                <a:cubicBezTo>
                  <a:pt x="860" y="251"/>
                  <a:pt x="860" y="251"/>
                  <a:pt x="860" y="251"/>
                </a:cubicBezTo>
                <a:cubicBezTo>
                  <a:pt x="859" y="251"/>
                  <a:pt x="859" y="253"/>
                  <a:pt x="859" y="253"/>
                </a:cubicBezTo>
                <a:cubicBezTo>
                  <a:pt x="860" y="254"/>
                  <a:pt x="861" y="254"/>
                  <a:pt x="861" y="255"/>
                </a:cubicBezTo>
                <a:cubicBezTo>
                  <a:pt x="860" y="255"/>
                  <a:pt x="859" y="255"/>
                  <a:pt x="859" y="255"/>
                </a:cubicBezTo>
                <a:cubicBezTo>
                  <a:pt x="859" y="256"/>
                  <a:pt x="859" y="257"/>
                  <a:pt x="858" y="257"/>
                </a:cubicBezTo>
                <a:cubicBezTo>
                  <a:pt x="858" y="257"/>
                  <a:pt x="857" y="258"/>
                  <a:pt x="857" y="258"/>
                </a:cubicBezTo>
                <a:cubicBezTo>
                  <a:pt x="857" y="258"/>
                  <a:pt x="857" y="258"/>
                  <a:pt x="857" y="257"/>
                </a:cubicBezTo>
                <a:cubicBezTo>
                  <a:pt x="856" y="256"/>
                  <a:pt x="854" y="257"/>
                  <a:pt x="853" y="258"/>
                </a:cubicBezTo>
                <a:cubicBezTo>
                  <a:pt x="851" y="259"/>
                  <a:pt x="854" y="260"/>
                  <a:pt x="854" y="261"/>
                </a:cubicBezTo>
                <a:cubicBezTo>
                  <a:pt x="853" y="261"/>
                  <a:pt x="852" y="260"/>
                  <a:pt x="852" y="259"/>
                </a:cubicBezTo>
                <a:cubicBezTo>
                  <a:pt x="852" y="258"/>
                  <a:pt x="851" y="258"/>
                  <a:pt x="850" y="258"/>
                </a:cubicBezTo>
                <a:cubicBezTo>
                  <a:pt x="850" y="258"/>
                  <a:pt x="847" y="259"/>
                  <a:pt x="847" y="258"/>
                </a:cubicBezTo>
                <a:cubicBezTo>
                  <a:pt x="847" y="258"/>
                  <a:pt x="846" y="258"/>
                  <a:pt x="845" y="258"/>
                </a:cubicBezTo>
                <a:cubicBezTo>
                  <a:pt x="845" y="258"/>
                  <a:pt x="844" y="258"/>
                  <a:pt x="844" y="259"/>
                </a:cubicBezTo>
                <a:cubicBezTo>
                  <a:pt x="844" y="260"/>
                  <a:pt x="844" y="259"/>
                  <a:pt x="844" y="259"/>
                </a:cubicBezTo>
                <a:cubicBezTo>
                  <a:pt x="844" y="260"/>
                  <a:pt x="843" y="260"/>
                  <a:pt x="843" y="260"/>
                </a:cubicBezTo>
                <a:cubicBezTo>
                  <a:pt x="842" y="261"/>
                  <a:pt x="841" y="260"/>
                  <a:pt x="840" y="261"/>
                </a:cubicBezTo>
                <a:cubicBezTo>
                  <a:pt x="840" y="262"/>
                  <a:pt x="840" y="261"/>
                  <a:pt x="840" y="262"/>
                </a:cubicBezTo>
                <a:cubicBezTo>
                  <a:pt x="840" y="262"/>
                  <a:pt x="839" y="263"/>
                  <a:pt x="839" y="263"/>
                </a:cubicBezTo>
                <a:cubicBezTo>
                  <a:pt x="839" y="265"/>
                  <a:pt x="838" y="266"/>
                  <a:pt x="839" y="267"/>
                </a:cubicBezTo>
                <a:cubicBezTo>
                  <a:pt x="839" y="267"/>
                  <a:pt x="837" y="268"/>
                  <a:pt x="837" y="268"/>
                </a:cubicBezTo>
                <a:cubicBezTo>
                  <a:pt x="837" y="269"/>
                  <a:pt x="838" y="269"/>
                  <a:pt x="838" y="269"/>
                </a:cubicBezTo>
                <a:cubicBezTo>
                  <a:pt x="838" y="270"/>
                  <a:pt x="837" y="270"/>
                  <a:pt x="837" y="270"/>
                </a:cubicBezTo>
                <a:cubicBezTo>
                  <a:pt x="837" y="270"/>
                  <a:pt x="836" y="270"/>
                  <a:pt x="836" y="270"/>
                </a:cubicBezTo>
                <a:cubicBezTo>
                  <a:pt x="835" y="270"/>
                  <a:pt x="835" y="271"/>
                  <a:pt x="834" y="270"/>
                </a:cubicBezTo>
                <a:cubicBezTo>
                  <a:pt x="834" y="270"/>
                  <a:pt x="834" y="269"/>
                  <a:pt x="833" y="270"/>
                </a:cubicBezTo>
                <a:cubicBezTo>
                  <a:pt x="832" y="270"/>
                  <a:pt x="833" y="270"/>
                  <a:pt x="832" y="270"/>
                </a:cubicBezTo>
                <a:cubicBezTo>
                  <a:pt x="831" y="270"/>
                  <a:pt x="831" y="270"/>
                  <a:pt x="830" y="270"/>
                </a:cubicBezTo>
                <a:cubicBezTo>
                  <a:pt x="830" y="270"/>
                  <a:pt x="830" y="271"/>
                  <a:pt x="830" y="271"/>
                </a:cubicBezTo>
                <a:cubicBezTo>
                  <a:pt x="830" y="271"/>
                  <a:pt x="830" y="271"/>
                  <a:pt x="829" y="271"/>
                </a:cubicBezTo>
                <a:cubicBezTo>
                  <a:pt x="829" y="271"/>
                  <a:pt x="829" y="271"/>
                  <a:pt x="829" y="271"/>
                </a:cubicBezTo>
                <a:cubicBezTo>
                  <a:pt x="828" y="271"/>
                  <a:pt x="828" y="271"/>
                  <a:pt x="827" y="272"/>
                </a:cubicBezTo>
                <a:cubicBezTo>
                  <a:pt x="826" y="272"/>
                  <a:pt x="825" y="272"/>
                  <a:pt x="825" y="272"/>
                </a:cubicBezTo>
                <a:cubicBezTo>
                  <a:pt x="825" y="272"/>
                  <a:pt x="825" y="272"/>
                  <a:pt x="825" y="272"/>
                </a:cubicBezTo>
                <a:cubicBezTo>
                  <a:pt x="824" y="273"/>
                  <a:pt x="824" y="273"/>
                  <a:pt x="823" y="273"/>
                </a:cubicBezTo>
                <a:cubicBezTo>
                  <a:pt x="824" y="274"/>
                  <a:pt x="824" y="276"/>
                  <a:pt x="823" y="277"/>
                </a:cubicBezTo>
                <a:cubicBezTo>
                  <a:pt x="823" y="278"/>
                  <a:pt x="824" y="278"/>
                  <a:pt x="824" y="278"/>
                </a:cubicBezTo>
                <a:cubicBezTo>
                  <a:pt x="824" y="278"/>
                  <a:pt x="824" y="278"/>
                  <a:pt x="824" y="279"/>
                </a:cubicBezTo>
                <a:cubicBezTo>
                  <a:pt x="823" y="278"/>
                  <a:pt x="821" y="279"/>
                  <a:pt x="821" y="279"/>
                </a:cubicBezTo>
                <a:cubicBezTo>
                  <a:pt x="819" y="280"/>
                  <a:pt x="818" y="280"/>
                  <a:pt x="818" y="282"/>
                </a:cubicBezTo>
                <a:cubicBezTo>
                  <a:pt x="818" y="282"/>
                  <a:pt x="818" y="282"/>
                  <a:pt x="817" y="282"/>
                </a:cubicBezTo>
                <a:cubicBezTo>
                  <a:pt x="816" y="282"/>
                  <a:pt x="816" y="283"/>
                  <a:pt x="815" y="283"/>
                </a:cubicBezTo>
                <a:cubicBezTo>
                  <a:pt x="815" y="283"/>
                  <a:pt x="814" y="283"/>
                  <a:pt x="813" y="283"/>
                </a:cubicBezTo>
                <a:cubicBezTo>
                  <a:pt x="812" y="283"/>
                  <a:pt x="812" y="283"/>
                  <a:pt x="811" y="284"/>
                </a:cubicBezTo>
                <a:cubicBezTo>
                  <a:pt x="811" y="283"/>
                  <a:pt x="811" y="282"/>
                  <a:pt x="811" y="281"/>
                </a:cubicBezTo>
                <a:cubicBezTo>
                  <a:pt x="810" y="281"/>
                  <a:pt x="809" y="281"/>
                  <a:pt x="808" y="281"/>
                </a:cubicBezTo>
                <a:cubicBezTo>
                  <a:pt x="808" y="282"/>
                  <a:pt x="808" y="282"/>
                  <a:pt x="808" y="283"/>
                </a:cubicBezTo>
                <a:cubicBezTo>
                  <a:pt x="808" y="284"/>
                  <a:pt x="809" y="283"/>
                  <a:pt x="809" y="284"/>
                </a:cubicBezTo>
                <a:cubicBezTo>
                  <a:pt x="809" y="284"/>
                  <a:pt x="809" y="284"/>
                  <a:pt x="809" y="284"/>
                </a:cubicBezTo>
                <a:cubicBezTo>
                  <a:pt x="809" y="284"/>
                  <a:pt x="809" y="284"/>
                  <a:pt x="809" y="284"/>
                </a:cubicBezTo>
                <a:cubicBezTo>
                  <a:pt x="810" y="285"/>
                  <a:pt x="809" y="287"/>
                  <a:pt x="810" y="287"/>
                </a:cubicBezTo>
                <a:cubicBezTo>
                  <a:pt x="810" y="288"/>
                  <a:pt x="811" y="289"/>
                  <a:pt x="810" y="289"/>
                </a:cubicBezTo>
                <a:cubicBezTo>
                  <a:pt x="809" y="289"/>
                  <a:pt x="809" y="289"/>
                  <a:pt x="808" y="289"/>
                </a:cubicBezTo>
                <a:cubicBezTo>
                  <a:pt x="808" y="289"/>
                  <a:pt x="808" y="289"/>
                  <a:pt x="807" y="289"/>
                </a:cubicBezTo>
                <a:cubicBezTo>
                  <a:pt x="808" y="289"/>
                  <a:pt x="807" y="287"/>
                  <a:pt x="807" y="288"/>
                </a:cubicBezTo>
                <a:cubicBezTo>
                  <a:pt x="807" y="289"/>
                  <a:pt x="806" y="288"/>
                  <a:pt x="806" y="288"/>
                </a:cubicBezTo>
                <a:cubicBezTo>
                  <a:pt x="806" y="288"/>
                  <a:pt x="806" y="289"/>
                  <a:pt x="806" y="289"/>
                </a:cubicBezTo>
                <a:cubicBezTo>
                  <a:pt x="805" y="289"/>
                  <a:pt x="804" y="289"/>
                  <a:pt x="804" y="289"/>
                </a:cubicBezTo>
                <a:cubicBezTo>
                  <a:pt x="804" y="289"/>
                  <a:pt x="803" y="290"/>
                  <a:pt x="803" y="290"/>
                </a:cubicBezTo>
                <a:cubicBezTo>
                  <a:pt x="802" y="290"/>
                  <a:pt x="802" y="289"/>
                  <a:pt x="801" y="289"/>
                </a:cubicBezTo>
                <a:cubicBezTo>
                  <a:pt x="801" y="288"/>
                  <a:pt x="800" y="288"/>
                  <a:pt x="799" y="288"/>
                </a:cubicBezTo>
                <a:cubicBezTo>
                  <a:pt x="799" y="288"/>
                  <a:pt x="798" y="288"/>
                  <a:pt x="798" y="289"/>
                </a:cubicBezTo>
                <a:cubicBezTo>
                  <a:pt x="797" y="289"/>
                  <a:pt x="794" y="289"/>
                  <a:pt x="794" y="290"/>
                </a:cubicBezTo>
                <a:cubicBezTo>
                  <a:pt x="795" y="291"/>
                  <a:pt x="795" y="291"/>
                  <a:pt x="796" y="291"/>
                </a:cubicBezTo>
                <a:cubicBezTo>
                  <a:pt x="796" y="292"/>
                  <a:pt x="796" y="292"/>
                  <a:pt x="796" y="292"/>
                </a:cubicBezTo>
                <a:cubicBezTo>
                  <a:pt x="795" y="292"/>
                  <a:pt x="795" y="292"/>
                  <a:pt x="794" y="292"/>
                </a:cubicBezTo>
                <a:cubicBezTo>
                  <a:pt x="794" y="293"/>
                  <a:pt x="795" y="293"/>
                  <a:pt x="793" y="294"/>
                </a:cubicBezTo>
                <a:cubicBezTo>
                  <a:pt x="794" y="295"/>
                  <a:pt x="795" y="294"/>
                  <a:pt x="796" y="294"/>
                </a:cubicBezTo>
                <a:cubicBezTo>
                  <a:pt x="797" y="294"/>
                  <a:pt x="797" y="293"/>
                  <a:pt x="798" y="294"/>
                </a:cubicBezTo>
                <a:cubicBezTo>
                  <a:pt x="798" y="295"/>
                  <a:pt x="798" y="295"/>
                  <a:pt x="799" y="295"/>
                </a:cubicBezTo>
                <a:cubicBezTo>
                  <a:pt x="799" y="295"/>
                  <a:pt x="799" y="295"/>
                  <a:pt x="799" y="296"/>
                </a:cubicBezTo>
                <a:cubicBezTo>
                  <a:pt x="800" y="296"/>
                  <a:pt x="800" y="296"/>
                  <a:pt x="800" y="296"/>
                </a:cubicBezTo>
                <a:cubicBezTo>
                  <a:pt x="801" y="297"/>
                  <a:pt x="801" y="299"/>
                  <a:pt x="801" y="297"/>
                </a:cubicBezTo>
                <a:cubicBezTo>
                  <a:pt x="802" y="296"/>
                  <a:pt x="801" y="296"/>
                  <a:pt x="802" y="296"/>
                </a:cubicBezTo>
                <a:cubicBezTo>
                  <a:pt x="803" y="296"/>
                  <a:pt x="802" y="296"/>
                  <a:pt x="803" y="296"/>
                </a:cubicBezTo>
                <a:cubicBezTo>
                  <a:pt x="803" y="296"/>
                  <a:pt x="803" y="296"/>
                  <a:pt x="804" y="296"/>
                </a:cubicBezTo>
                <a:cubicBezTo>
                  <a:pt x="803" y="297"/>
                  <a:pt x="802" y="297"/>
                  <a:pt x="802" y="298"/>
                </a:cubicBezTo>
                <a:cubicBezTo>
                  <a:pt x="802" y="298"/>
                  <a:pt x="804" y="298"/>
                  <a:pt x="804" y="298"/>
                </a:cubicBezTo>
                <a:cubicBezTo>
                  <a:pt x="804" y="298"/>
                  <a:pt x="804" y="299"/>
                  <a:pt x="804" y="299"/>
                </a:cubicBezTo>
                <a:cubicBezTo>
                  <a:pt x="804" y="299"/>
                  <a:pt x="804" y="299"/>
                  <a:pt x="804" y="299"/>
                </a:cubicBezTo>
                <a:cubicBezTo>
                  <a:pt x="805" y="299"/>
                  <a:pt x="805" y="299"/>
                  <a:pt x="806" y="299"/>
                </a:cubicBezTo>
                <a:cubicBezTo>
                  <a:pt x="806" y="300"/>
                  <a:pt x="806" y="300"/>
                  <a:pt x="805" y="300"/>
                </a:cubicBezTo>
                <a:cubicBezTo>
                  <a:pt x="806" y="301"/>
                  <a:pt x="806" y="301"/>
                  <a:pt x="806" y="301"/>
                </a:cubicBezTo>
                <a:cubicBezTo>
                  <a:pt x="806" y="303"/>
                  <a:pt x="806" y="303"/>
                  <a:pt x="807" y="303"/>
                </a:cubicBezTo>
                <a:cubicBezTo>
                  <a:pt x="807" y="303"/>
                  <a:pt x="807" y="304"/>
                  <a:pt x="807" y="304"/>
                </a:cubicBezTo>
                <a:cubicBezTo>
                  <a:pt x="808" y="304"/>
                  <a:pt x="808" y="304"/>
                  <a:pt x="808" y="305"/>
                </a:cubicBezTo>
                <a:cubicBezTo>
                  <a:pt x="809" y="306"/>
                  <a:pt x="810" y="306"/>
                  <a:pt x="811" y="306"/>
                </a:cubicBezTo>
                <a:cubicBezTo>
                  <a:pt x="811" y="307"/>
                  <a:pt x="811" y="307"/>
                  <a:pt x="812" y="307"/>
                </a:cubicBezTo>
                <a:cubicBezTo>
                  <a:pt x="812" y="308"/>
                  <a:pt x="812" y="309"/>
                  <a:pt x="812" y="309"/>
                </a:cubicBezTo>
                <a:cubicBezTo>
                  <a:pt x="812" y="310"/>
                  <a:pt x="812" y="310"/>
                  <a:pt x="812" y="311"/>
                </a:cubicBezTo>
                <a:cubicBezTo>
                  <a:pt x="813" y="311"/>
                  <a:pt x="813" y="312"/>
                  <a:pt x="812" y="312"/>
                </a:cubicBezTo>
                <a:cubicBezTo>
                  <a:pt x="812" y="312"/>
                  <a:pt x="812" y="313"/>
                  <a:pt x="812" y="313"/>
                </a:cubicBezTo>
                <a:cubicBezTo>
                  <a:pt x="812" y="314"/>
                  <a:pt x="812" y="314"/>
                  <a:pt x="812" y="315"/>
                </a:cubicBezTo>
                <a:cubicBezTo>
                  <a:pt x="812" y="316"/>
                  <a:pt x="813" y="315"/>
                  <a:pt x="813" y="316"/>
                </a:cubicBezTo>
                <a:cubicBezTo>
                  <a:pt x="813" y="316"/>
                  <a:pt x="812" y="319"/>
                  <a:pt x="812" y="319"/>
                </a:cubicBezTo>
                <a:cubicBezTo>
                  <a:pt x="812" y="319"/>
                  <a:pt x="812" y="320"/>
                  <a:pt x="812" y="321"/>
                </a:cubicBezTo>
                <a:cubicBezTo>
                  <a:pt x="812" y="322"/>
                  <a:pt x="810" y="324"/>
                  <a:pt x="809" y="324"/>
                </a:cubicBezTo>
                <a:cubicBezTo>
                  <a:pt x="808" y="324"/>
                  <a:pt x="806" y="324"/>
                  <a:pt x="805" y="324"/>
                </a:cubicBezTo>
                <a:cubicBezTo>
                  <a:pt x="805" y="324"/>
                  <a:pt x="804" y="323"/>
                  <a:pt x="804" y="323"/>
                </a:cubicBezTo>
                <a:cubicBezTo>
                  <a:pt x="804" y="323"/>
                  <a:pt x="801" y="323"/>
                  <a:pt x="801" y="322"/>
                </a:cubicBezTo>
                <a:cubicBezTo>
                  <a:pt x="800" y="322"/>
                  <a:pt x="800" y="323"/>
                  <a:pt x="799" y="323"/>
                </a:cubicBezTo>
                <a:cubicBezTo>
                  <a:pt x="799" y="323"/>
                  <a:pt x="799" y="322"/>
                  <a:pt x="798" y="322"/>
                </a:cubicBezTo>
                <a:cubicBezTo>
                  <a:pt x="798" y="322"/>
                  <a:pt x="797" y="322"/>
                  <a:pt x="797" y="322"/>
                </a:cubicBezTo>
                <a:cubicBezTo>
                  <a:pt x="796" y="322"/>
                  <a:pt x="796" y="323"/>
                  <a:pt x="796" y="323"/>
                </a:cubicBezTo>
                <a:cubicBezTo>
                  <a:pt x="795" y="323"/>
                  <a:pt x="795" y="322"/>
                  <a:pt x="794" y="322"/>
                </a:cubicBezTo>
                <a:cubicBezTo>
                  <a:pt x="794" y="322"/>
                  <a:pt x="794" y="322"/>
                  <a:pt x="793" y="322"/>
                </a:cubicBezTo>
                <a:cubicBezTo>
                  <a:pt x="793" y="322"/>
                  <a:pt x="792" y="322"/>
                  <a:pt x="792" y="322"/>
                </a:cubicBezTo>
                <a:cubicBezTo>
                  <a:pt x="791" y="322"/>
                  <a:pt x="790" y="322"/>
                  <a:pt x="788" y="322"/>
                </a:cubicBezTo>
                <a:cubicBezTo>
                  <a:pt x="788" y="322"/>
                  <a:pt x="785" y="322"/>
                  <a:pt x="785" y="322"/>
                </a:cubicBezTo>
                <a:cubicBezTo>
                  <a:pt x="784" y="322"/>
                  <a:pt x="784" y="321"/>
                  <a:pt x="784" y="321"/>
                </a:cubicBezTo>
                <a:cubicBezTo>
                  <a:pt x="783" y="321"/>
                  <a:pt x="782" y="321"/>
                  <a:pt x="782" y="321"/>
                </a:cubicBezTo>
                <a:cubicBezTo>
                  <a:pt x="780" y="321"/>
                  <a:pt x="780" y="322"/>
                  <a:pt x="779" y="322"/>
                </a:cubicBezTo>
                <a:cubicBezTo>
                  <a:pt x="778" y="322"/>
                  <a:pt x="778" y="323"/>
                  <a:pt x="778" y="323"/>
                </a:cubicBezTo>
                <a:cubicBezTo>
                  <a:pt x="778" y="323"/>
                  <a:pt x="777" y="323"/>
                  <a:pt x="776" y="323"/>
                </a:cubicBezTo>
                <a:cubicBezTo>
                  <a:pt x="776" y="323"/>
                  <a:pt x="776" y="323"/>
                  <a:pt x="776" y="323"/>
                </a:cubicBezTo>
                <a:cubicBezTo>
                  <a:pt x="776" y="322"/>
                  <a:pt x="773" y="324"/>
                  <a:pt x="773" y="325"/>
                </a:cubicBezTo>
                <a:cubicBezTo>
                  <a:pt x="772" y="325"/>
                  <a:pt x="772" y="324"/>
                  <a:pt x="772" y="325"/>
                </a:cubicBezTo>
                <a:cubicBezTo>
                  <a:pt x="772" y="326"/>
                  <a:pt x="773" y="326"/>
                  <a:pt x="773" y="326"/>
                </a:cubicBezTo>
                <a:cubicBezTo>
                  <a:pt x="773" y="326"/>
                  <a:pt x="773" y="327"/>
                  <a:pt x="774" y="327"/>
                </a:cubicBezTo>
                <a:cubicBezTo>
                  <a:pt x="774" y="327"/>
                  <a:pt x="773" y="327"/>
                  <a:pt x="773" y="328"/>
                </a:cubicBezTo>
                <a:cubicBezTo>
                  <a:pt x="775" y="328"/>
                  <a:pt x="774" y="328"/>
                  <a:pt x="775" y="329"/>
                </a:cubicBezTo>
                <a:cubicBezTo>
                  <a:pt x="775" y="330"/>
                  <a:pt x="775" y="330"/>
                  <a:pt x="776" y="330"/>
                </a:cubicBezTo>
                <a:cubicBezTo>
                  <a:pt x="775" y="331"/>
                  <a:pt x="774" y="331"/>
                  <a:pt x="774" y="332"/>
                </a:cubicBezTo>
                <a:cubicBezTo>
                  <a:pt x="775" y="332"/>
                  <a:pt x="775" y="333"/>
                  <a:pt x="775" y="334"/>
                </a:cubicBezTo>
                <a:cubicBezTo>
                  <a:pt x="775" y="335"/>
                  <a:pt x="775" y="335"/>
                  <a:pt x="775" y="336"/>
                </a:cubicBezTo>
                <a:cubicBezTo>
                  <a:pt x="776" y="337"/>
                  <a:pt x="776" y="336"/>
                  <a:pt x="776" y="337"/>
                </a:cubicBezTo>
                <a:cubicBezTo>
                  <a:pt x="776" y="337"/>
                  <a:pt x="776" y="337"/>
                  <a:pt x="776" y="338"/>
                </a:cubicBezTo>
                <a:cubicBezTo>
                  <a:pt x="776" y="338"/>
                  <a:pt x="776" y="338"/>
                  <a:pt x="776" y="339"/>
                </a:cubicBezTo>
                <a:cubicBezTo>
                  <a:pt x="776" y="339"/>
                  <a:pt x="776" y="339"/>
                  <a:pt x="776" y="339"/>
                </a:cubicBezTo>
                <a:cubicBezTo>
                  <a:pt x="775" y="339"/>
                  <a:pt x="776" y="340"/>
                  <a:pt x="776" y="340"/>
                </a:cubicBezTo>
                <a:cubicBezTo>
                  <a:pt x="776" y="341"/>
                  <a:pt x="776" y="341"/>
                  <a:pt x="776" y="341"/>
                </a:cubicBezTo>
                <a:cubicBezTo>
                  <a:pt x="776" y="341"/>
                  <a:pt x="775" y="341"/>
                  <a:pt x="775" y="341"/>
                </a:cubicBezTo>
                <a:cubicBezTo>
                  <a:pt x="775" y="341"/>
                  <a:pt x="775" y="342"/>
                  <a:pt x="775" y="342"/>
                </a:cubicBezTo>
                <a:cubicBezTo>
                  <a:pt x="775" y="342"/>
                  <a:pt x="774" y="343"/>
                  <a:pt x="774" y="343"/>
                </a:cubicBezTo>
                <a:cubicBezTo>
                  <a:pt x="774" y="343"/>
                  <a:pt x="774" y="343"/>
                  <a:pt x="775" y="344"/>
                </a:cubicBezTo>
                <a:cubicBezTo>
                  <a:pt x="775" y="346"/>
                  <a:pt x="774" y="344"/>
                  <a:pt x="774" y="344"/>
                </a:cubicBezTo>
                <a:cubicBezTo>
                  <a:pt x="774" y="345"/>
                  <a:pt x="773" y="346"/>
                  <a:pt x="773" y="347"/>
                </a:cubicBezTo>
                <a:cubicBezTo>
                  <a:pt x="773" y="347"/>
                  <a:pt x="773" y="347"/>
                  <a:pt x="772" y="348"/>
                </a:cubicBezTo>
                <a:cubicBezTo>
                  <a:pt x="772" y="348"/>
                  <a:pt x="773" y="349"/>
                  <a:pt x="772" y="349"/>
                </a:cubicBezTo>
                <a:cubicBezTo>
                  <a:pt x="772" y="350"/>
                  <a:pt x="772" y="350"/>
                  <a:pt x="772" y="351"/>
                </a:cubicBezTo>
                <a:cubicBezTo>
                  <a:pt x="772" y="352"/>
                  <a:pt x="772" y="351"/>
                  <a:pt x="772" y="352"/>
                </a:cubicBezTo>
                <a:cubicBezTo>
                  <a:pt x="772" y="352"/>
                  <a:pt x="772" y="353"/>
                  <a:pt x="773" y="352"/>
                </a:cubicBezTo>
                <a:cubicBezTo>
                  <a:pt x="773" y="351"/>
                  <a:pt x="774" y="351"/>
                  <a:pt x="774" y="351"/>
                </a:cubicBezTo>
                <a:cubicBezTo>
                  <a:pt x="774" y="352"/>
                  <a:pt x="774" y="352"/>
                  <a:pt x="773" y="352"/>
                </a:cubicBezTo>
                <a:cubicBezTo>
                  <a:pt x="773" y="353"/>
                  <a:pt x="773" y="353"/>
                  <a:pt x="773" y="353"/>
                </a:cubicBezTo>
                <a:cubicBezTo>
                  <a:pt x="773" y="354"/>
                  <a:pt x="773" y="354"/>
                  <a:pt x="774" y="354"/>
                </a:cubicBezTo>
                <a:cubicBezTo>
                  <a:pt x="774" y="354"/>
                  <a:pt x="774" y="357"/>
                  <a:pt x="774" y="358"/>
                </a:cubicBezTo>
                <a:cubicBezTo>
                  <a:pt x="774" y="357"/>
                  <a:pt x="773" y="361"/>
                  <a:pt x="773" y="362"/>
                </a:cubicBezTo>
                <a:cubicBezTo>
                  <a:pt x="774" y="362"/>
                  <a:pt x="775" y="361"/>
                  <a:pt x="776" y="362"/>
                </a:cubicBezTo>
                <a:cubicBezTo>
                  <a:pt x="776" y="362"/>
                  <a:pt x="776" y="362"/>
                  <a:pt x="777" y="362"/>
                </a:cubicBezTo>
                <a:cubicBezTo>
                  <a:pt x="777" y="362"/>
                  <a:pt x="778" y="362"/>
                  <a:pt x="778" y="363"/>
                </a:cubicBezTo>
                <a:cubicBezTo>
                  <a:pt x="779" y="363"/>
                  <a:pt x="779" y="363"/>
                  <a:pt x="780" y="363"/>
                </a:cubicBezTo>
                <a:cubicBezTo>
                  <a:pt x="781" y="362"/>
                  <a:pt x="781" y="362"/>
                  <a:pt x="782" y="362"/>
                </a:cubicBezTo>
                <a:cubicBezTo>
                  <a:pt x="783" y="362"/>
                  <a:pt x="783" y="362"/>
                  <a:pt x="783" y="362"/>
                </a:cubicBezTo>
                <a:cubicBezTo>
                  <a:pt x="784" y="362"/>
                  <a:pt x="784" y="362"/>
                  <a:pt x="785" y="362"/>
                </a:cubicBezTo>
                <a:cubicBezTo>
                  <a:pt x="785" y="363"/>
                  <a:pt x="785" y="363"/>
                  <a:pt x="786" y="363"/>
                </a:cubicBezTo>
                <a:cubicBezTo>
                  <a:pt x="785" y="363"/>
                  <a:pt x="787" y="364"/>
                  <a:pt x="786" y="364"/>
                </a:cubicBezTo>
                <a:cubicBezTo>
                  <a:pt x="787" y="364"/>
                  <a:pt x="787" y="365"/>
                  <a:pt x="787" y="365"/>
                </a:cubicBezTo>
                <a:cubicBezTo>
                  <a:pt x="787" y="367"/>
                  <a:pt x="787" y="365"/>
                  <a:pt x="787" y="366"/>
                </a:cubicBezTo>
                <a:cubicBezTo>
                  <a:pt x="788" y="366"/>
                  <a:pt x="788" y="367"/>
                  <a:pt x="789" y="367"/>
                </a:cubicBezTo>
                <a:cubicBezTo>
                  <a:pt x="789" y="368"/>
                  <a:pt x="789" y="368"/>
                  <a:pt x="790" y="368"/>
                </a:cubicBezTo>
                <a:cubicBezTo>
                  <a:pt x="791" y="368"/>
                  <a:pt x="791" y="368"/>
                  <a:pt x="791" y="367"/>
                </a:cubicBezTo>
                <a:cubicBezTo>
                  <a:pt x="792" y="367"/>
                  <a:pt x="793" y="367"/>
                  <a:pt x="793" y="366"/>
                </a:cubicBezTo>
                <a:cubicBezTo>
                  <a:pt x="793" y="366"/>
                  <a:pt x="793" y="366"/>
                  <a:pt x="794" y="366"/>
                </a:cubicBezTo>
                <a:cubicBezTo>
                  <a:pt x="795" y="366"/>
                  <a:pt x="795" y="366"/>
                  <a:pt x="796" y="365"/>
                </a:cubicBezTo>
                <a:cubicBezTo>
                  <a:pt x="796" y="364"/>
                  <a:pt x="797" y="364"/>
                  <a:pt x="798" y="365"/>
                </a:cubicBezTo>
                <a:cubicBezTo>
                  <a:pt x="798" y="365"/>
                  <a:pt x="797" y="366"/>
                  <a:pt x="798" y="365"/>
                </a:cubicBezTo>
                <a:cubicBezTo>
                  <a:pt x="799" y="365"/>
                  <a:pt x="799" y="365"/>
                  <a:pt x="799" y="365"/>
                </a:cubicBezTo>
                <a:cubicBezTo>
                  <a:pt x="799" y="366"/>
                  <a:pt x="801" y="365"/>
                  <a:pt x="801" y="366"/>
                </a:cubicBezTo>
                <a:cubicBezTo>
                  <a:pt x="801" y="365"/>
                  <a:pt x="802" y="365"/>
                  <a:pt x="802" y="365"/>
                </a:cubicBezTo>
                <a:cubicBezTo>
                  <a:pt x="802" y="365"/>
                  <a:pt x="802" y="365"/>
                  <a:pt x="803" y="365"/>
                </a:cubicBezTo>
                <a:cubicBezTo>
                  <a:pt x="803" y="365"/>
                  <a:pt x="804" y="365"/>
                  <a:pt x="804" y="365"/>
                </a:cubicBezTo>
                <a:cubicBezTo>
                  <a:pt x="805" y="365"/>
                  <a:pt x="805" y="364"/>
                  <a:pt x="805" y="364"/>
                </a:cubicBezTo>
                <a:cubicBezTo>
                  <a:pt x="806" y="364"/>
                  <a:pt x="806" y="364"/>
                  <a:pt x="806" y="363"/>
                </a:cubicBezTo>
                <a:cubicBezTo>
                  <a:pt x="806" y="362"/>
                  <a:pt x="807" y="362"/>
                  <a:pt x="807" y="361"/>
                </a:cubicBezTo>
                <a:cubicBezTo>
                  <a:pt x="808" y="361"/>
                  <a:pt x="808" y="361"/>
                  <a:pt x="808" y="361"/>
                </a:cubicBezTo>
                <a:cubicBezTo>
                  <a:pt x="809" y="360"/>
                  <a:pt x="809" y="360"/>
                  <a:pt x="810" y="360"/>
                </a:cubicBezTo>
                <a:cubicBezTo>
                  <a:pt x="810" y="359"/>
                  <a:pt x="811" y="359"/>
                  <a:pt x="811" y="359"/>
                </a:cubicBezTo>
                <a:cubicBezTo>
                  <a:pt x="812" y="359"/>
                  <a:pt x="813" y="358"/>
                  <a:pt x="813" y="358"/>
                </a:cubicBezTo>
                <a:cubicBezTo>
                  <a:pt x="813" y="357"/>
                  <a:pt x="813" y="357"/>
                  <a:pt x="813" y="356"/>
                </a:cubicBezTo>
                <a:cubicBezTo>
                  <a:pt x="813" y="355"/>
                  <a:pt x="814" y="355"/>
                  <a:pt x="815" y="354"/>
                </a:cubicBezTo>
                <a:cubicBezTo>
                  <a:pt x="815" y="354"/>
                  <a:pt x="815" y="354"/>
                  <a:pt x="815" y="354"/>
                </a:cubicBezTo>
                <a:cubicBezTo>
                  <a:pt x="815" y="354"/>
                  <a:pt x="815" y="353"/>
                  <a:pt x="816" y="353"/>
                </a:cubicBezTo>
                <a:cubicBezTo>
                  <a:pt x="816" y="353"/>
                  <a:pt x="816" y="352"/>
                  <a:pt x="817" y="352"/>
                </a:cubicBezTo>
                <a:cubicBezTo>
                  <a:pt x="818" y="351"/>
                  <a:pt x="818" y="351"/>
                  <a:pt x="818" y="350"/>
                </a:cubicBezTo>
                <a:cubicBezTo>
                  <a:pt x="818" y="350"/>
                  <a:pt x="817" y="350"/>
                  <a:pt x="817" y="349"/>
                </a:cubicBezTo>
                <a:cubicBezTo>
                  <a:pt x="816" y="348"/>
                  <a:pt x="816" y="347"/>
                  <a:pt x="816" y="347"/>
                </a:cubicBezTo>
                <a:cubicBezTo>
                  <a:pt x="816" y="346"/>
                  <a:pt x="817" y="346"/>
                  <a:pt x="817" y="346"/>
                </a:cubicBezTo>
                <a:cubicBezTo>
                  <a:pt x="817" y="345"/>
                  <a:pt x="818" y="346"/>
                  <a:pt x="818" y="345"/>
                </a:cubicBezTo>
                <a:cubicBezTo>
                  <a:pt x="818" y="344"/>
                  <a:pt x="818" y="344"/>
                  <a:pt x="819" y="344"/>
                </a:cubicBezTo>
                <a:cubicBezTo>
                  <a:pt x="819" y="344"/>
                  <a:pt x="819" y="343"/>
                  <a:pt x="819" y="343"/>
                </a:cubicBezTo>
                <a:cubicBezTo>
                  <a:pt x="819" y="343"/>
                  <a:pt x="819" y="343"/>
                  <a:pt x="819" y="343"/>
                </a:cubicBezTo>
                <a:cubicBezTo>
                  <a:pt x="819" y="343"/>
                  <a:pt x="819" y="343"/>
                  <a:pt x="819" y="343"/>
                </a:cubicBezTo>
                <a:cubicBezTo>
                  <a:pt x="819" y="342"/>
                  <a:pt x="820" y="342"/>
                  <a:pt x="820" y="342"/>
                </a:cubicBezTo>
                <a:cubicBezTo>
                  <a:pt x="821" y="341"/>
                  <a:pt x="820" y="340"/>
                  <a:pt x="822" y="340"/>
                </a:cubicBezTo>
                <a:cubicBezTo>
                  <a:pt x="822" y="339"/>
                  <a:pt x="824" y="337"/>
                  <a:pt x="824" y="337"/>
                </a:cubicBezTo>
                <a:cubicBezTo>
                  <a:pt x="825" y="337"/>
                  <a:pt x="825" y="336"/>
                  <a:pt x="825" y="336"/>
                </a:cubicBezTo>
                <a:cubicBezTo>
                  <a:pt x="826" y="336"/>
                  <a:pt x="826" y="336"/>
                  <a:pt x="826" y="336"/>
                </a:cubicBezTo>
                <a:cubicBezTo>
                  <a:pt x="827" y="336"/>
                  <a:pt x="826" y="336"/>
                  <a:pt x="826" y="336"/>
                </a:cubicBezTo>
                <a:cubicBezTo>
                  <a:pt x="827" y="336"/>
                  <a:pt x="827" y="336"/>
                  <a:pt x="828" y="336"/>
                </a:cubicBezTo>
                <a:cubicBezTo>
                  <a:pt x="828" y="336"/>
                  <a:pt x="828" y="336"/>
                  <a:pt x="828" y="336"/>
                </a:cubicBezTo>
                <a:cubicBezTo>
                  <a:pt x="828" y="335"/>
                  <a:pt x="828" y="335"/>
                  <a:pt x="829" y="335"/>
                </a:cubicBezTo>
                <a:cubicBezTo>
                  <a:pt x="830" y="335"/>
                  <a:pt x="831" y="334"/>
                  <a:pt x="831" y="333"/>
                </a:cubicBezTo>
                <a:cubicBezTo>
                  <a:pt x="832" y="333"/>
                  <a:pt x="832" y="332"/>
                  <a:pt x="833" y="332"/>
                </a:cubicBezTo>
                <a:cubicBezTo>
                  <a:pt x="832" y="332"/>
                  <a:pt x="833" y="329"/>
                  <a:pt x="832" y="329"/>
                </a:cubicBezTo>
                <a:cubicBezTo>
                  <a:pt x="832" y="328"/>
                  <a:pt x="832" y="327"/>
                  <a:pt x="832" y="327"/>
                </a:cubicBezTo>
                <a:cubicBezTo>
                  <a:pt x="832" y="326"/>
                  <a:pt x="832" y="326"/>
                  <a:pt x="832" y="325"/>
                </a:cubicBezTo>
                <a:cubicBezTo>
                  <a:pt x="833" y="325"/>
                  <a:pt x="833" y="325"/>
                  <a:pt x="833" y="325"/>
                </a:cubicBezTo>
                <a:cubicBezTo>
                  <a:pt x="834" y="325"/>
                  <a:pt x="834" y="325"/>
                  <a:pt x="834" y="324"/>
                </a:cubicBezTo>
                <a:cubicBezTo>
                  <a:pt x="834" y="324"/>
                  <a:pt x="835" y="324"/>
                  <a:pt x="835" y="324"/>
                </a:cubicBezTo>
                <a:cubicBezTo>
                  <a:pt x="836" y="324"/>
                  <a:pt x="835" y="323"/>
                  <a:pt x="836" y="323"/>
                </a:cubicBezTo>
                <a:cubicBezTo>
                  <a:pt x="837" y="323"/>
                  <a:pt x="840" y="322"/>
                  <a:pt x="840" y="324"/>
                </a:cubicBezTo>
                <a:cubicBezTo>
                  <a:pt x="841" y="323"/>
                  <a:pt x="841" y="323"/>
                  <a:pt x="841" y="323"/>
                </a:cubicBezTo>
                <a:cubicBezTo>
                  <a:pt x="842" y="323"/>
                  <a:pt x="842" y="324"/>
                  <a:pt x="842" y="324"/>
                </a:cubicBezTo>
                <a:cubicBezTo>
                  <a:pt x="843" y="324"/>
                  <a:pt x="843" y="324"/>
                  <a:pt x="843" y="324"/>
                </a:cubicBezTo>
                <a:cubicBezTo>
                  <a:pt x="843" y="324"/>
                  <a:pt x="843" y="324"/>
                  <a:pt x="843" y="324"/>
                </a:cubicBezTo>
                <a:cubicBezTo>
                  <a:pt x="845" y="325"/>
                  <a:pt x="845" y="326"/>
                  <a:pt x="846" y="325"/>
                </a:cubicBezTo>
                <a:cubicBezTo>
                  <a:pt x="847" y="325"/>
                  <a:pt x="848" y="325"/>
                  <a:pt x="848" y="325"/>
                </a:cubicBezTo>
                <a:cubicBezTo>
                  <a:pt x="848" y="324"/>
                  <a:pt x="849" y="324"/>
                  <a:pt x="849" y="324"/>
                </a:cubicBezTo>
                <a:cubicBezTo>
                  <a:pt x="849" y="323"/>
                  <a:pt x="850" y="323"/>
                  <a:pt x="850" y="323"/>
                </a:cubicBezTo>
                <a:cubicBezTo>
                  <a:pt x="851" y="323"/>
                  <a:pt x="850" y="322"/>
                  <a:pt x="851" y="322"/>
                </a:cubicBezTo>
                <a:cubicBezTo>
                  <a:pt x="851" y="322"/>
                  <a:pt x="852" y="322"/>
                  <a:pt x="852" y="322"/>
                </a:cubicBezTo>
                <a:cubicBezTo>
                  <a:pt x="852" y="322"/>
                  <a:pt x="852" y="322"/>
                  <a:pt x="853" y="322"/>
                </a:cubicBezTo>
                <a:cubicBezTo>
                  <a:pt x="853" y="322"/>
                  <a:pt x="853" y="321"/>
                  <a:pt x="853" y="321"/>
                </a:cubicBezTo>
                <a:cubicBezTo>
                  <a:pt x="853" y="321"/>
                  <a:pt x="854" y="321"/>
                  <a:pt x="855" y="321"/>
                </a:cubicBezTo>
                <a:cubicBezTo>
                  <a:pt x="855" y="320"/>
                  <a:pt x="855" y="320"/>
                  <a:pt x="856" y="319"/>
                </a:cubicBezTo>
                <a:cubicBezTo>
                  <a:pt x="857" y="319"/>
                  <a:pt x="856" y="318"/>
                  <a:pt x="856" y="318"/>
                </a:cubicBezTo>
                <a:cubicBezTo>
                  <a:pt x="856" y="318"/>
                  <a:pt x="856" y="318"/>
                  <a:pt x="857" y="318"/>
                </a:cubicBezTo>
                <a:cubicBezTo>
                  <a:pt x="857" y="318"/>
                  <a:pt x="857" y="318"/>
                  <a:pt x="857" y="317"/>
                </a:cubicBezTo>
                <a:cubicBezTo>
                  <a:pt x="858" y="317"/>
                  <a:pt x="859" y="317"/>
                  <a:pt x="860" y="317"/>
                </a:cubicBezTo>
                <a:cubicBezTo>
                  <a:pt x="860" y="317"/>
                  <a:pt x="860" y="318"/>
                  <a:pt x="860" y="318"/>
                </a:cubicBezTo>
                <a:cubicBezTo>
                  <a:pt x="861" y="318"/>
                  <a:pt x="862" y="318"/>
                  <a:pt x="862" y="318"/>
                </a:cubicBezTo>
                <a:cubicBezTo>
                  <a:pt x="862" y="319"/>
                  <a:pt x="862" y="319"/>
                  <a:pt x="863" y="319"/>
                </a:cubicBezTo>
                <a:cubicBezTo>
                  <a:pt x="863" y="319"/>
                  <a:pt x="863" y="319"/>
                  <a:pt x="863" y="319"/>
                </a:cubicBezTo>
                <a:cubicBezTo>
                  <a:pt x="863" y="320"/>
                  <a:pt x="866" y="320"/>
                  <a:pt x="866" y="322"/>
                </a:cubicBezTo>
                <a:cubicBezTo>
                  <a:pt x="866" y="322"/>
                  <a:pt x="865" y="323"/>
                  <a:pt x="866" y="323"/>
                </a:cubicBezTo>
                <a:cubicBezTo>
                  <a:pt x="866" y="323"/>
                  <a:pt x="866" y="323"/>
                  <a:pt x="867" y="324"/>
                </a:cubicBezTo>
                <a:cubicBezTo>
                  <a:pt x="867" y="324"/>
                  <a:pt x="867" y="324"/>
                  <a:pt x="867" y="324"/>
                </a:cubicBezTo>
                <a:cubicBezTo>
                  <a:pt x="867" y="325"/>
                  <a:pt x="867" y="324"/>
                  <a:pt x="867" y="325"/>
                </a:cubicBezTo>
                <a:cubicBezTo>
                  <a:pt x="867" y="326"/>
                  <a:pt x="867" y="326"/>
                  <a:pt x="868" y="327"/>
                </a:cubicBezTo>
                <a:cubicBezTo>
                  <a:pt x="868" y="327"/>
                  <a:pt x="868" y="328"/>
                  <a:pt x="868" y="328"/>
                </a:cubicBezTo>
                <a:cubicBezTo>
                  <a:pt x="869" y="329"/>
                  <a:pt x="869" y="330"/>
                  <a:pt x="869" y="330"/>
                </a:cubicBezTo>
                <a:cubicBezTo>
                  <a:pt x="870" y="331"/>
                  <a:pt x="870" y="332"/>
                  <a:pt x="871" y="332"/>
                </a:cubicBezTo>
                <a:cubicBezTo>
                  <a:pt x="872" y="332"/>
                  <a:pt x="872" y="333"/>
                  <a:pt x="873" y="333"/>
                </a:cubicBezTo>
                <a:cubicBezTo>
                  <a:pt x="873" y="333"/>
                  <a:pt x="874" y="334"/>
                  <a:pt x="874" y="334"/>
                </a:cubicBezTo>
                <a:cubicBezTo>
                  <a:pt x="874" y="335"/>
                  <a:pt x="874" y="336"/>
                  <a:pt x="875" y="336"/>
                </a:cubicBezTo>
                <a:cubicBezTo>
                  <a:pt x="876" y="337"/>
                  <a:pt x="877" y="337"/>
                  <a:pt x="878" y="337"/>
                </a:cubicBezTo>
                <a:cubicBezTo>
                  <a:pt x="878" y="338"/>
                  <a:pt x="878" y="338"/>
                  <a:pt x="879" y="338"/>
                </a:cubicBezTo>
                <a:cubicBezTo>
                  <a:pt x="879" y="338"/>
                  <a:pt x="879" y="338"/>
                  <a:pt x="879" y="339"/>
                </a:cubicBezTo>
                <a:cubicBezTo>
                  <a:pt x="880" y="338"/>
                  <a:pt x="880" y="338"/>
                  <a:pt x="881" y="338"/>
                </a:cubicBezTo>
                <a:cubicBezTo>
                  <a:pt x="882" y="338"/>
                  <a:pt x="881" y="339"/>
                  <a:pt x="882" y="339"/>
                </a:cubicBezTo>
                <a:cubicBezTo>
                  <a:pt x="882" y="340"/>
                  <a:pt x="884" y="341"/>
                  <a:pt x="884" y="341"/>
                </a:cubicBezTo>
                <a:cubicBezTo>
                  <a:pt x="884" y="342"/>
                  <a:pt x="884" y="342"/>
                  <a:pt x="885" y="342"/>
                </a:cubicBezTo>
                <a:cubicBezTo>
                  <a:pt x="886" y="342"/>
                  <a:pt x="887" y="343"/>
                  <a:pt x="887" y="343"/>
                </a:cubicBezTo>
                <a:cubicBezTo>
                  <a:pt x="887" y="345"/>
                  <a:pt x="888" y="345"/>
                  <a:pt x="889" y="346"/>
                </a:cubicBezTo>
                <a:cubicBezTo>
                  <a:pt x="890" y="346"/>
                  <a:pt x="890" y="346"/>
                  <a:pt x="891" y="347"/>
                </a:cubicBezTo>
                <a:cubicBezTo>
                  <a:pt x="891" y="347"/>
                  <a:pt x="891" y="349"/>
                  <a:pt x="892" y="349"/>
                </a:cubicBezTo>
                <a:cubicBezTo>
                  <a:pt x="892" y="350"/>
                  <a:pt x="891" y="351"/>
                  <a:pt x="892" y="351"/>
                </a:cubicBezTo>
                <a:cubicBezTo>
                  <a:pt x="892" y="351"/>
                  <a:pt x="892" y="351"/>
                  <a:pt x="892" y="351"/>
                </a:cubicBezTo>
                <a:cubicBezTo>
                  <a:pt x="892" y="352"/>
                  <a:pt x="892" y="352"/>
                  <a:pt x="892" y="353"/>
                </a:cubicBezTo>
                <a:cubicBezTo>
                  <a:pt x="892" y="354"/>
                  <a:pt x="891" y="353"/>
                  <a:pt x="891" y="354"/>
                </a:cubicBezTo>
                <a:cubicBezTo>
                  <a:pt x="891" y="355"/>
                  <a:pt x="891" y="355"/>
                  <a:pt x="891" y="356"/>
                </a:cubicBezTo>
                <a:cubicBezTo>
                  <a:pt x="891" y="356"/>
                  <a:pt x="891" y="356"/>
                  <a:pt x="891" y="356"/>
                </a:cubicBezTo>
                <a:cubicBezTo>
                  <a:pt x="890" y="357"/>
                  <a:pt x="890" y="357"/>
                  <a:pt x="890" y="358"/>
                </a:cubicBezTo>
                <a:cubicBezTo>
                  <a:pt x="890" y="359"/>
                  <a:pt x="890" y="359"/>
                  <a:pt x="891" y="359"/>
                </a:cubicBezTo>
                <a:cubicBezTo>
                  <a:pt x="892" y="359"/>
                  <a:pt x="893" y="360"/>
                  <a:pt x="893" y="359"/>
                </a:cubicBezTo>
                <a:cubicBezTo>
                  <a:pt x="893" y="359"/>
                  <a:pt x="892" y="358"/>
                  <a:pt x="893" y="358"/>
                </a:cubicBezTo>
                <a:cubicBezTo>
                  <a:pt x="893" y="358"/>
                  <a:pt x="895" y="356"/>
                  <a:pt x="895" y="356"/>
                </a:cubicBezTo>
                <a:cubicBezTo>
                  <a:pt x="895" y="355"/>
                  <a:pt x="895" y="355"/>
                  <a:pt x="895" y="354"/>
                </a:cubicBezTo>
                <a:cubicBezTo>
                  <a:pt x="896" y="353"/>
                  <a:pt x="896" y="354"/>
                  <a:pt x="896" y="353"/>
                </a:cubicBezTo>
                <a:cubicBezTo>
                  <a:pt x="897" y="353"/>
                  <a:pt x="897" y="352"/>
                  <a:pt x="897" y="351"/>
                </a:cubicBezTo>
                <a:cubicBezTo>
                  <a:pt x="897" y="351"/>
                  <a:pt x="897" y="351"/>
                  <a:pt x="897" y="351"/>
                </a:cubicBezTo>
                <a:cubicBezTo>
                  <a:pt x="897" y="350"/>
                  <a:pt x="895" y="349"/>
                  <a:pt x="895" y="348"/>
                </a:cubicBezTo>
                <a:cubicBezTo>
                  <a:pt x="895" y="347"/>
                  <a:pt x="894" y="347"/>
                  <a:pt x="894" y="347"/>
                </a:cubicBezTo>
                <a:cubicBezTo>
                  <a:pt x="894" y="346"/>
                  <a:pt x="895" y="345"/>
                  <a:pt x="895" y="344"/>
                </a:cubicBezTo>
                <a:cubicBezTo>
                  <a:pt x="896" y="343"/>
                  <a:pt x="896" y="342"/>
                  <a:pt x="897" y="342"/>
                </a:cubicBezTo>
                <a:cubicBezTo>
                  <a:pt x="897" y="342"/>
                  <a:pt x="897" y="342"/>
                  <a:pt x="897" y="343"/>
                </a:cubicBezTo>
                <a:cubicBezTo>
                  <a:pt x="897" y="344"/>
                  <a:pt x="898" y="343"/>
                  <a:pt x="898" y="344"/>
                </a:cubicBezTo>
                <a:cubicBezTo>
                  <a:pt x="899" y="344"/>
                  <a:pt x="900" y="344"/>
                  <a:pt x="901" y="344"/>
                </a:cubicBezTo>
                <a:cubicBezTo>
                  <a:pt x="901" y="345"/>
                  <a:pt x="901" y="346"/>
                  <a:pt x="902" y="346"/>
                </a:cubicBezTo>
                <a:cubicBezTo>
                  <a:pt x="902" y="346"/>
                  <a:pt x="903" y="344"/>
                  <a:pt x="903" y="344"/>
                </a:cubicBezTo>
                <a:cubicBezTo>
                  <a:pt x="902" y="344"/>
                  <a:pt x="902" y="343"/>
                  <a:pt x="902" y="343"/>
                </a:cubicBezTo>
                <a:cubicBezTo>
                  <a:pt x="902" y="342"/>
                  <a:pt x="901" y="342"/>
                  <a:pt x="901" y="342"/>
                </a:cubicBezTo>
                <a:cubicBezTo>
                  <a:pt x="900" y="342"/>
                  <a:pt x="899" y="340"/>
                  <a:pt x="899" y="340"/>
                </a:cubicBezTo>
                <a:cubicBezTo>
                  <a:pt x="898" y="340"/>
                  <a:pt x="898" y="340"/>
                  <a:pt x="898" y="339"/>
                </a:cubicBezTo>
                <a:cubicBezTo>
                  <a:pt x="898" y="339"/>
                  <a:pt x="897" y="339"/>
                  <a:pt x="897" y="339"/>
                </a:cubicBezTo>
                <a:cubicBezTo>
                  <a:pt x="896" y="339"/>
                  <a:pt x="895" y="338"/>
                  <a:pt x="894" y="338"/>
                </a:cubicBezTo>
                <a:cubicBezTo>
                  <a:pt x="894" y="338"/>
                  <a:pt x="893" y="337"/>
                  <a:pt x="892" y="336"/>
                </a:cubicBezTo>
                <a:cubicBezTo>
                  <a:pt x="892" y="336"/>
                  <a:pt x="893" y="335"/>
                  <a:pt x="893" y="334"/>
                </a:cubicBezTo>
                <a:cubicBezTo>
                  <a:pt x="892" y="334"/>
                  <a:pt x="891" y="334"/>
                  <a:pt x="891" y="334"/>
                </a:cubicBezTo>
                <a:cubicBezTo>
                  <a:pt x="890" y="334"/>
                  <a:pt x="890" y="334"/>
                  <a:pt x="890" y="334"/>
                </a:cubicBezTo>
                <a:cubicBezTo>
                  <a:pt x="890" y="333"/>
                  <a:pt x="889" y="334"/>
                  <a:pt x="888" y="334"/>
                </a:cubicBezTo>
                <a:cubicBezTo>
                  <a:pt x="888" y="334"/>
                  <a:pt x="888" y="334"/>
                  <a:pt x="887" y="334"/>
                </a:cubicBezTo>
                <a:cubicBezTo>
                  <a:pt x="887" y="332"/>
                  <a:pt x="887" y="334"/>
                  <a:pt x="886" y="333"/>
                </a:cubicBezTo>
                <a:cubicBezTo>
                  <a:pt x="886" y="333"/>
                  <a:pt x="887" y="333"/>
                  <a:pt x="886" y="332"/>
                </a:cubicBezTo>
                <a:cubicBezTo>
                  <a:pt x="885" y="332"/>
                  <a:pt x="885" y="332"/>
                  <a:pt x="885" y="331"/>
                </a:cubicBezTo>
                <a:cubicBezTo>
                  <a:pt x="885" y="331"/>
                  <a:pt x="883" y="330"/>
                  <a:pt x="883" y="330"/>
                </a:cubicBezTo>
                <a:cubicBezTo>
                  <a:pt x="883" y="329"/>
                  <a:pt x="883" y="329"/>
                  <a:pt x="883" y="329"/>
                </a:cubicBezTo>
                <a:cubicBezTo>
                  <a:pt x="882" y="329"/>
                  <a:pt x="882" y="326"/>
                  <a:pt x="882" y="326"/>
                </a:cubicBezTo>
                <a:cubicBezTo>
                  <a:pt x="882" y="326"/>
                  <a:pt x="881" y="326"/>
                  <a:pt x="881" y="326"/>
                </a:cubicBezTo>
                <a:cubicBezTo>
                  <a:pt x="881" y="325"/>
                  <a:pt x="881" y="325"/>
                  <a:pt x="881" y="324"/>
                </a:cubicBezTo>
                <a:cubicBezTo>
                  <a:pt x="880" y="324"/>
                  <a:pt x="880" y="324"/>
                  <a:pt x="880" y="323"/>
                </a:cubicBezTo>
                <a:cubicBezTo>
                  <a:pt x="880" y="323"/>
                  <a:pt x="879" y="324"/>
                  <a:pt x="879" y="323"/>
                </a:cubicBezTo>
                <a:cubicBezTo>
                  <a:pt x="879" y="323"/>
                  <a:pt x="878" y="322"/>
                  <a:pt x="878" y="322"/>
                </a:cubicBezTo>
                <a:cubicBezTo>
                  <a:pt x="878" y="322"/>
                  <a:pt x="878" y="322"/>
                  <a:pt x="877" y="322"/>
                </a:cubicBezTo>
                <a:cubicBezTo>
                  <a:pt x="877" y="322"/>
                  <a:pt x="877" y="321"/>
                  <a:pt x="877" y="321"/>
                </a:cubicBezTo>
                <a:cubicBezTo>
                  <a:pt x="876" y="321"/>
                  <a:pt x="876" y="321"/>
                  <a:pt x="876" y="321"/>
                </a:cubicBezTo>
                <a:cubicBezTo>
                  <a:pt x="875" y="321"/>
                  <a:pt x="876" y="321"/>
                  <a:pt x="875" y="321"/>
                </a:cubicBezTo>
                <a:cubicBezTo>
                  <a:pt x="875" y="321"/>
                  <a:pt x="875" y="321"/>
                  <a:pt x="874" y="320"/>
                </a:cubicBezTo>
                <a:cubicBezTo>
                  <a:pt x="874" y="319"/>
                  <a:pt x="874" y="319"/>
                  <a:pt x="874" y="319"/>
                </a:cubicBezTo>
                <a:cubicBezTo>
                  <a:pt x="874" y="318"/>
                  <a:pt x="874" y="318"/>
                  <a:pt x="874" y="317"/>
                </a:cubicBezTo>
                <a:cubicBezTo>
                  <a:pt x="874" y="316"/>
                  <a:pt x="874" y="316"/>
                  <a:pt x="875" y="315"/>
                </a:cubicBezTo>
                <a:cubicBezTo>
                  <a:pt x="876" y="314"/>
                  <a:pt x="876" y="313"/>
                  <a:pt x="874" y="312"/>
                </a:cubicBezTo>
                <a:cubicBezTo>
                  <a:pt x="874" y="311"/>
                  <a:pt x="874" y="311"/>
                  <a:pt x="875" y="311"/>
                </a:cubicBezTo>
                <a:cubicBezTo>
                  <a:pt x="875" y="311"/>
                  <a:pt x="875" y="311"/>
                  <a:pt x="876" y="311"/>
                </a:cubicBezTo>
                <a:cubicBezTo>
                  <a:pt x="876" y="311"/>
                  <a:pt x="876" y="311"/>
                  <a:pt x="877" y="311"/>
                </a:cubicBezTo>
                <a:cubicBezTo>
                  <a:pt x="877" y="310"/>
                  <a:pt x="877" y="310"/>
                  <a:pt x="878" y="310"/>
                </a:cubicBezTo>
                <a:cubicBezTo>
                  <a:pt x="879" y="310"/>
                  <a:pt x="879" y="310"/>
                  <a:pt x="879" y="309"/>
                </a:cubicBezTo>
                <a:cubicBezTo>
                  <a:pt x="879" y="309"/>
                  <a:pt x="879" y="309"/>
                  <a:pt x="879" y="309"/>
                </a:cubicBezTo>
                <a:cubicBezTo>
                  <a:pt x="880" y="309"/>
                  <a:pt x="881" y="310"/>
                  <a:pt x="881" y="309"/>
                </a:cubicBezTo>
                <a:cubicBezTo>
                  <a:pt x="881" y="309"/>
                  <a:pt x="881" y="310"/>
                  <a:pt x="881" y="310"/>
                </a:cubicBezTo>
                <a:cubicBezTo>
                  <a:pt x="881" y="310"/>
                  <a:pt x="880" y="311"/>
                  <a:pt x="880" y="312"/>
                </a:cubicBezTo>
                <a:cubicBezTo>
                  <a:pt x="880" y="312"/>
                  <a:pt x="880" y="312"/>
                  <a:pt x="880" y="312"/>
                </a:cubicBezTo>
                <a:cubicBezTo>
                  <a:pt x="880" y="313"/>
                  <a:pt x="880" y="312"/>
                  <a:pt x="881" y="313"/>
                </a:cubicBezTo>
                <a:cubicBezTo>
                  <a:pt x="881" y="314"/>
                  <a:pt x="880" y="316"/>
                  <a:pt x="882" y="316"/>
                </a:cubicBezTo>
                <a:cubicBezTo>
                  <a:pt x="882" y="316"/>
                  <a:pt x="882" y="316"/>
                  <a:pt x="882" y="316"/>
                </a:cubicBezTo>
                <a:cubicBezTo>
                  <a:pt x="882" y="315"/>
                  <a:pt x="882" y="315"/>
                  <a:pt x="883" y="315"/>
                </a:cubicBezTo>
                <a:cubicBezTo>
                  <a:pt x="883" y="315"/>
                  <a:pt x="883" y="315"/>
                  <a:pt x="883" y="315"/>
                </a:cubicBezTo>
                <a:cubicBezTo>
                  <a:pt x="884" y="315"/>
                  <a:pt x="884" y="312"/>
                  <a:pt x="885" y="312"/>
                </a:cubicBezTo>
                <a:cubicBezTo>
                  <a:pt x="887" y="313"/>
                  <a:pt x="886" y="314"/>
                  <a:pt x="886" y="316"/>
                </a:cubicBezTo>
                <a:cubicBezTo>
                  <a:pt x="886" y="317"/>
                  <a:pt x="887" y="317"/>
                  <a:pt x="888" y="318"/>
                </a:cubicBezTo>
                <a:cubicBezTo>
                  <a:pt x="888" y="319"/>
                  <a:pt x="889" y="319"/>
                  <a:pt x="890" y="320"/>
                </a:cubicBezTo>
                <a:cubicBezTo>
                  <a:pt x="889" y="320"/>
                  <a:pt x="888" y="320"/>
                  <a:pt x="888" y="321"/>
                </a:cubicBezTo>
                <a:cubicBezTo>
                  <a:pt x="888" y="321"/>
                  <a:pt x="890" y="322"/>
                  <a:pt x="890" y="322"/>
                </a:cubicBezTo>
                <a:cubicBezTo>
                  <a:pt x="890" y="322"/>
                  <a:pt x="892" y="323"/>
                  <a:pt x="892" y="323"/>
                </a:cubicBezTo>
                <a:cubicBezTo>
                  <a:pt x="892" y="323"/>
                  <a:pt x="892" y="323"/>
                  <a:pt x="892" y="323"/>
                </a:cubicBezTo>
                <a:cubicBezTo>
                  <a:pt x="892" y="324"/>
                  <a:pt x="893" y="324"/>
                  <a:pt x="893" y="324"/>
                </a:cubicBezTo>
                <a:cubicBezTo>
                  <a:pt x="893" y="324"/>
                  <a:pt x="894" y="324"/>
                  <a:pt x="894" y="324"/>
                </a:cubicBezTo>
                <a:cubicBezTo>
                  <a:pt x="894" y="324"/>
                  <a:pt x="895" y="324"/>
                  <a:pt x="895" y="324"/>
                </a:cubicBezTo>
                <a:cubicBezTo>
                  <a:pt x="895" y="324"/>
                  <a:pt x="896" y="325"/>
                  <a:pt x="897" y="326"/>
                </a:cubicBezTo>
                <a:cubicBezTo>
                  <a:pt x="898" y="326"/>
                  <a:pt x="899" y="328"/>
                  <a:pt x="899" y="328"/>
                </a:cubicBezTo>
                <a:cubicBezTo>
                  <a:pt x="900" y="328"/>
                  <a:pt x="900" y="329"/>
                  <a:pt x="901" y="328"/>
                </a:cubicBezTo>
                <a:cubicBezTo>
                  <a:pt x="902" y="328"/>
                  <a:pt x="903" y="329"/>
                  <a:pt x="903" y="330"/>
                </a:cubicBezTo>
                <a:cubicBezTo>
                  <a:pt x="904" y="331"/>
                  <a:pt x="905" y="331"/>
                  <a:pt x="906" y="331"/>
                </a:cubicBezTo>
                <a:cubicBezTo>
                  <a:pt x="906" y="331"/>
                  <a:pt x="906" y="331"/>
                  <a:pt x="906" y="332"/>
                </a:cubicBezTo>
                <a:cubicBezTo>
                  <a:pt x="907" y="332"/>
                  <a:pt x="907" y="332"/>
                  <a:pt x="907" y="332"/>
                </a:cubicBezTo>
                <a:cubicBezTo>
                  <a:pt x="908" y="332"/>
                  <a:pt x="908" y="333"/>
                  <a:pt x="909" y="333"/>
                </a:cubicBezTo>
                <a:cubicBezTo>
                  <a:pt x="910" y="333"/>
                  <a:pt x="910" y="333"/>
                  <a:pt x="910" y="334"/>
                </a:cubicBezTo>
                <a:cubicBezTo>
                  <a:pt x="910" y="334"/>
                  <a:pt x="910" y="335"/>
                  <a:pt x="910" y="335"/>
                </a:cubicBezTo>
                <a:cubicBezTo>
                  <a:pt x="910" y="335"/>
                  <a:pt x="910" y="335"/>
                  <a:pt x="910" y="336"/>
                </a:cubicBezTo>
                <a:cubicBezTo>
                  <a:pt x="910" y="336"/>
                  <a:pt x="909" y="336"/>
                  <a:pt x="909" y="337"/>
                </a:cubicBezTo>
                <a:cubicBezTo>
                  <a:pt x="910" y="337"/>
                  <a:pt x="910" y="337"/>
                  <a:pt x="910" y="337"/>
                </a:cubicBezTo>
                <a:cubicBezTo>
                  <a:pt x="909" y="337"/>
                  <a:pt x="910" y="339"/>
                  <a:pt x="910" y="339"/>
                </a:cubicBezTo>
                <a:cubicBezTo>
                  <a:pt x="910" y="339"/>
                  <a:pt x="909" y="339"/>
                  <a:pt x="909" y="340"/>
                </a:cubicBezTo>
                <a:cubicBezTo>
                  <a:pt x="909" y="340"/>
                  <a:pt x="909" y="341"/>
                  <a:pt x="909" y="342"/>
                </a:cubicBezTo>
                <a:cubicBezTo>
                  <a:pt x="909" y="342"/>
                  <a:pt x="909" y="342"/>
                  <a:pt x="910" y="343"/>
                </a:cubicBezTo>
                <a:cubicBezTo>
                  <a:pt x="910" y="343"/>
                  <a:pt x="910" y="344"/>
                  <a:pt x="910" y="344"/>
                </a:cubicBezTo>
                <a:cubicBezTo>
                  <a:pt x="911" y="345"/>
                  <a:pt x="911" y="344"/>
                  <a:pt x="912" y="345"/>
                </a:cubicBezTo>
                <a:cubicBezTo>
                  <a:pt x="912" y="345"/>
                  <a:pt x="912" y="345"/>
                  <a:pt x="912" y="345"/>
                </a:cubicBezTo>
                <a:cubicBezTo>
                  <a:pt x="912" y="345"/>
                  <a:pt x="912" y="346"/>
                  <a:pt x="913" y="346"/>
                </a:cubicBezTo>
                <a:cubicBezTo>
                  <a:pt x="913" y="346"/>
                  <a:pt x="913" y="347"/>
                  <a:pt x="913" y="347"/>
                </a:cubicBezTo>
                <a:cubicBezTo>
                  <a:pt x="913" y="348"/>
                  <a:pt x="913" y="347"/>
                  <a:pt x="913" y="348"/>
                </a:cubicBezTo>
                <a:cubicBezTo>
                  <a:pt x="913" y="348"/>
                  <a:pt x="914" y="348"/>
                  <a:pt x="914" y="348"/>
                </a:cubicBezTo>
                <a:cubicBezTo>
                  <a:pt x="914" y="349"/>
                  <a:pt x="914" y="349"/>
                  <a:pt x="914" y="349"/>
                </a:cubicBezTo>
                <a:cubicBezTo>
                  <a:pt x="914" y="349"/>
                  <a:pt x="915" y="350"/>
                  <a:pt x="915" y="350"/>
                </a:cubicBezTo>
                <a:cubicBezTo>
                  <a:pt x="915" y="351"/>
                  <a:pt x="915" y="351"/>
                  <a:pt x="916" y="351"/>
                </a:cubicBezTo>
                <a:cubicBezTo>
                  <a:pt x="916" y="352"/>
                  <a:pt x="917" y="352"/>
                  <a:pt x="917" y="352"/>
                </a:cubicBezTo>
                <a:cubicBezTo>
                  <a:pt x="917" y="352"/>
                  <a:pt x="918" y="352"/>
                  <a:pt x="919" y="352"/>
                </a:cubicBezTo>
                <a:cubicBezTo>
                  <a:pt x="919" y="353"/>
                  <a:pt x="919" y="353"/>
                  <a:pt x="918" y="353"/>
                </a:cubicBezTo>
                <a:cubicBezTo>
                  <a:pt x="917" y="353"/>
                  <a:pt x="917" y="355"/>
                  <a:pt x="918" y="355"/>
                </a:cubicBezTo>
                <a:cubicBezTo>
                  <a:pt x="918" y="357"/>
                  <a:pt x="920" y="356"/>
                  <a:pt x="921" y="356"/>
                </a:cubicBezTo>
                <a:cubicBezTo>
                  <a:pt x="922" y="357"/>
                  <a:pt x="923" y="356"/>
                  <a:pt x="924" y="357"/>
                </a:cubicBezTo>
                <a:cubicBezTo>
                  <a:pt x="925" y="358"/>
                  <a:pt x="925" y="358"/>
                  <a:pt x="926" y="358"/>
                </a:cubicBezTo>
                <a:cubicBezTo>
                  <a:pt x="925" y="359"/>
                  <a:pt x="924" y="359"/>
                  <a:pt x="923" y="359"/>
                </a:cubicBezTo>
                <a:cubicBezTo>
                  <a:pt x="923" y="358"/>
                  <a:pt x="923" y="358"/>
                  <a:pt x="923" y="358"/>
                </a:cubicBezTo>
                <a:cubicBezTo>
                  <a:pt x="922" y="357"/>
                  <a:pt x="922" y="358"/>
                  <a:pt x="922" y="358"/>
                </a:cubicBezTo>
                <a:cubicBezTo>
                  <a:pt x="922" y="357"/>
                  <a:pt x="922" y="357"/>
                  <a:pt x="921" y="357"/>
                </a:cubicBezTo>
                <a:cubicBezTo>
                  <a:pt x="921" y="357"/>
                  <a:pt x="920" y="357"/>
                  <a:pt x="920" y="358"/>
                </a:cubicBezTo>
                <a:cubicBezTo>
                  <a:pt x="919" y="357"/>
                  <a:pt x="919" y="358"/>
                  <a:pt x="918" y="359"/>
                </a:cubicBezTo>
                <a:cubicBezTo>
                  <a:pt x="919" y="359"/>
                  <a:pt x="918" y="359"/>
                  <a:pt x="919" y="360"/>
                </a:cubicBezTo>
                <a:cubicBezTo>
                  <a:pt x="919" y="360"/>
                  <a:pt x="919" y="360"/>
                  <a:pt x="920" y="361"/>
                </a:cubicBezTo>
                <a:cubicBezTo>
                  <a:pt x="920" y="362"/>
                  <a:pt x="919" y="362"/>
                  <a:pt x="919" y="363"/>
                </a:cubicBezTo>
                <a:cubicBezTo>
                  <a:pt x="920" y="364"/>
                  <a:pt x="920" y="364"/>
                  <a:pt x="921" y="365"/>
                </a:cubicBezTo>
                <a:cubicBezTo>
                  <a:pt x="921" y="364"/>
                  <a:pt x="921" y="364"/>
                  <a:pt x="921" y="364"/>
                </a:cubicBezTo>
                <a:cubicBezTo>
                  <a:pt x="922" y="364"/>
                  <a:pt x="924" y="364"/>
                  <a:pt x="926" y="365"/>
                </a:cubicBezTo>
                <a:cubicBezTo>
                  <a:pt x="925" y="364"/>
                  <a:pt x="925" y="363"/>
                  <a:pt x="925" y="362"/>
                </a:cubicBezTo>
                <a:cubicBezTo>
                  <a:pt x="926" y="362"/>
                  <a:pt x="927" y="362"/>
                  <a:pt x="928" y="363"/>
                </a:cubicBezTo>
                <a:cubicBezTo>
                  <a:pt x="929" y="363"/>
                  <a:pt x="928" y="362"/>
                  <a:pt x="929" y="362"/>
                </a:cubicBezTo>
                <a:cubicBezTo>
                  <a:pt x="929" y="362"/>
                  <a:pt x="929" y="362"/>
                  <a:pt x="929" y="361"/>
                </a:cubicBezTo>
                <a:cubicBezTo>
                  <a:pt x="928" y="360"/>
                  <a:pt x="928" y="361"/>
                  <a:pt x="928" y="361"/>
                </a:cubicBezTo>
                <a:cubicBezTo>
                  <a:pt x="928" y="360"/>
                  <a:pt x="927" y="360"/>
                  <a:pt x="927" y="360"/>
                </a:cubicBezTo>
                <a:cubicBezTo>
                  <a:pt x="927" y="360"/>
                  <a:pt x="927" y="359"/>
                  <a:pt x="927" y="359"/>
                </a:cubicBezTo>
                <a:cubicBezTo>
                  <a:pt x="928" y="359"/>
                  <a:pt x="928" y="359"/>
                  <a:pt x="929" y="359"/>
                </a:cubicBezTo>
                <a:cubicBezTo>
                  <a:pt x="929" y="359"/>
                  <a:pt x="929" y="359"/>
                  <a:pt x="929" y="359"/>
                </a:cubicBezTo>
                <a:cubicBezTo>
                  <a:pt x="929" y="359"/>
                  <a:pt x="931" y="360"/>
                  <a:pt x="931" y="361"/>
                </a:cubicBezTo>
                <a:cubicBezTo>
                  <a:pt x="931" y="360"/>
                  <a:pt x="932" y="359"/>
                  <a:pt x="932" y="358"/>
                </a:cubicBezTo>
                <a:cubicBezTo>
                  <a:pt x="931" y="358"/>
                  <a:pt x="931" y="357"/>
                  <a:pt x="930" y="357"/>
                </a:cubicBezTo>
                <a:cubicBezTo>
                  <a:pt x="930" y="357"/>
                  <a:pt x="930" y="356"/>
                  <a:pt x="929" y="356"/>
                </a:cubicBezTo>
                <a:cubicBezTo>
                  <a:pt x="928" y="356"/>
                  <a:pt x="928" y="355"/>
                  <a:pt x="928" y="355"/>
                </a:cubicBezTo>
                <a:cubicBezTo>
                  <a:pt x="928" y="354"/>
                  <a:pt x="927" y="355"/>
                  <a:pt x="927" y="354"/>
                </a:cubicBezTo>
                <a:cubicBezTo>
                  <a:pt x="928" y="354"/>
                  <a:pt x="929" y="355"/>
                  <a:pt x="930" y="356"/>
                </a:cubicBezTo>
                <a:cubicBezTo>
                  <a:pt x="930" y="356"/>
                  <a:pt x="931" y="357"/>
                  <a:pt x="931" y="357"/>
                </a:cubicBezTo>
                <a:cubicBezTo>
                  <a:pt x="931" y="357"/>
                  <a:pt x="932" y="357"/>
                  <a:pt x="933" y="357"/>
                </a:cubicBezTo>
                <a:cubicBezTo>
                  <a:pt x="933" y="357"/>
                  <a:pt x="934" y="358"/>
                  <a:pt x="933" y="358"/>
                </a:cubicBezTo>
                <a:cubicBezTo>
                  <a:pt x="934" y="358"/>
                  <a:pt x="934" y="359"/>
                  <a:pt x="935" y="359"/>
                </a:cubicBezTo>
                <a:cubicBezTo>
                  <a:pt x="935" y="359"/>
                  <a:pt x="935" y="359"/>
                  <a:pt x="935" y="359"/>
                </a:cubicBezTo>
                <a:cubicBezTo>
                  <a:pt x="935" y="358"/>
                  <a:pt x="935" y="358"/>
                  <a:pt x="935" y="357"/>
                </a:cubicBezTo>
                <a:cubicBezTo>
                  <a:pt x="935" y="357"/>
                  <a:pt x="934" y="357"/>
                  <a:pt x="934" y="357"/>
                </a:cubicBezTo>
                <a:cubicBezTo>
                  <a:pt x="934" y="356"/>
                  <a:pt x="933" y="356"/>
                  <a:pt x="932" y="355"/>
                </a:cubicBezTo>
                <a:cubicBezTo>
                  <a:pt x="932" y="355"/>
                  <a:pt x="931" y="355"/>
                  <a:pt x="931" y="354"/>
                </a:cubicBezTo>
                <a:cubicBezTo>
                  <a:pt x="930" y="354"/>
                  <a:pt x="930" y="354"/>
                  <a:pt x="930" y="353"/>
                </a:cubicBezTo>
                <a:cubicBezTo>
                  <a:pt x="930" y="353"/>
                  <a:pt x="929" y="353"/>
                  <a:pt x="929" y="352"/>
                </a:cubicBezTo>
                <a:cubicBezTo>
                  <a:pt x="928" y="352"/>
                  <a:pt x="927" y="353"/>
                  <a:pt x="927" y="353"/>
                </a:cubicBezTo>
                <a:cubicBezTo>
                  <a:pt x="927" y="353"/>
                  <a:pt x="927" y="354"/>
                  <a:pt x="927" y="354"/>
                </a:cubicBezTo>
                <a:cubicBezTo>
                  <a:pt x="927" y="354"/>
                  <a:pt x="926" y="353"/>
                  <a:pt x="926" y="353"/>
                </a:cubicBezTo>
                <a:cubicBezTo>
                  <a:pt x="926" y="353"/>
                  <a:pt x="924" y="353"/>
                  <a:pt x="926" y="353"/>
                </a:cubicBezTo>
                <a:cubicBezTo>
                  <a:pt x="926" y="353"/>
                  <a:pt x="926" y="352"/>
                  <a:pt x="927" y="352"/>
                </a:cubicBezTo>
                <a:cubicBezTo>
                  <a:pt x="927" y="352"/>
                  <a:pt x="925" y="350"/>
                  <a:pt x="926" y="350"/>
                </a:cubicBezTo>
                <a:cubicBezTo>
                  <a:pt x="927" y="350"/>
                  <a:pt x="927" y="351"/>
                  <a:pt x="927" y="351"/>
                </a:cubicBezTo>
                <a:cubicBezTo>
                  <a:pt x="928" y="351"/>
                  <a:pt x="928" y="351"/>
                  <a:pt x="928" y="351"/>
                </a:cubicBezTo>
                <a:cubicBezTo>
                  <a:pt x="928" y="349"/>
                  <a:pt x="927" y="349"/>
                  <a:pt x="926" y="348"/>
                </a:cubicBezTo>
                <a:cubicBezTo>
                  <a:pt x="926" y="347"/>
                  <a:pt x="926" y="346"/>
                  <a:pt x="925" y="346"/>
                </a:cubicBezTo>
                <a:cubicBezTo>
                  <a:pt x="925" y="346"/>
                  <a:pt x="925" y="345"/>
                  <a:pt x="924" y="345"/>
                </a:cubicBezTo>
                <a:cubicBezTo>
                  <a:pt x="925" y="344"/>
                  <a:pt x="926" y="344"/>
                  <a:pt x="926" y="343"/>
                </a:cubicBezTo>
                <a:cubicBezTo>
                  <a:pt x="926" y="342"/>
                  <a:pt x="926" y="342"/>
                  <a:pt x="926" y="341"/>
                </a:cubicBezTo>
                <a:cubicBezTo>
                  <a:pt x="927" y="343"/>
                  <a:pt x="928" y="343"/>
                  <a:pt x="928" y="344"/>
                </a:cubicBezTo>
                <a:cubicBezTo>
                  <a:pt x="928" y="344"/>
                  <a:pt x="928" y="345"/>
                  <a:pt x="928" y="345"/>
                </a:cubicBezTo>
                <a:cubicBezTo>
                  <a:pt x="929" y="346"/>
                  <a:pt x="929" y="345"/>
                  <a:pt x="930" y="345"/>
                </a:cubicBezTo>
                <a:cubicBezTo>
                  <a:pt x="929" y="345"/>
                  <a:pt x="929" y="345"/>
                  <a:pt x="929" y="344"/>
                </a:cubicBezTo>
                <a:cubicBezTo>
                  <a:pt x="929" y="344"/>
                  <a:pt x="930" y="344"/>
                  <a:pt x="930" y="344"/>
                </a:cubicBezTo>
                <a:cubicBezTo>
                  <a:pt x="930" y="344"/>
                  <a:pt x="931" y="344"/>
                  <a:pt x="931" y="344"/>
                </a:cubicBezTo>
                <a:cubicBezTo>
                  <a:pt x="931" y="344"/>
                  <a:pt x="931" y="344"/>
                  <a:pt x="931" y="344"/>
                </a:cubicBezTo>
                <a:cubicBezTo>
                  <a:pt x="931" y="344"/>
                  <a:pt x="931" y="343"/>
                  <a:pt x="931" y="343"/>
                </a:cubicBezTo>
                <a:cubicBezTo>
                  <a:pt x="932" y="343"/>
                  <a:pt x="932" y="343"/>
                  <a:pt x="933" y="343"/>
                </a:cubicBezTo>
                <a:cubicBezTo>
                  <a:pt x="932" y="342"/>
                  <a:pt x="930" y="342"/>
                  <a:pt x="930" y="341"/>
                </a:cubicBezTo>
                <a:cubicBezTo>
                  <a:pt x="930" y="340"/>
                  <a:pt x="930" y="340"/>
                  <a:pt x="931" y="340"/>
                </a:cubicBezTo>
                <a:cubicBezTo>
                  <a:pt x="932" y="339"/>
                  <a:pt x="933" y="339"/>
                  <a:pt x="934" y="339"/>
                </a:cubicBezTo>
                <a:cubicBezTo>
                  <a:pt x="934" y="340"/>
                  <a:pt x="937" y="340"/>
                  <a:pt x="937" y="340"/>
                </a:cubicBezTo>
                <a:cubicBezTo>
                  <a:pt x="937" y="340"/>
                  <a:pt x="938" y="340"/>
                  <a:pt x="939" y="340"/>
                </a:cubicBezTo>
                <a:cubicBezTo>
                  <a:pt x="940" y="340"/>
                  <a:pt x="940" y="339"/>
                  <a:pt x="941" y="339"/>
                </a:cubicBezTo>
                <a:cubicBezTo>
                  <a:pt x="941" y="340"/>
                  <a:pt x="941" y="340"/>
                  <a:pt x="942" y="341"/>
                </a:cubicBezTo>
                <a:cubicBezTo>
                  <a:pt x="942" y="341"/>
                  <a:pt x="943" y="341"/>
                  <a:pt x="943" y="341"/>
                </a:cubicBezTo>
                <a:cubicBezTo>
                  <a:pt x="943" y="342"/>
                  <a:pt x="942" y="342"/>
                  <a:pt x="942" y="342"/>
                </a:cubicBezTo>
                <a:cubicBezTo>
                  <a:pt x="942" y="343"/>
                  <a:pt x="942" y="344"/>
                  <a:pt x="942" y="344"/>
                </a:cubicBezTo>
                <a:cubicBezTo>
                  <a:pt x="942" y="344"/>
                  <a:pt x="943" y="344"/>
                  <a:pt x="943" y="344"/>
                </a:cubicBezTo>
                <a:cubicBezTo>
                  <a:pt x="944" y="344"/>
                  <a:pt x="942" y="344"/>
                  <a:pt x="944" y="343"/>
                </a:cubicBezTo>
                <a:cubicBezTo>
                  <a:pt x="944" y="343"/>
                  <a:pt x="944" y="342"/>
                  <a:pt x="945" y="342"/>
                </a:cubicBezTo>
                <a:cubicBezTo>
                  <a:pt x="945" y="342"/>
                  <a:pt x="946" y="342"/>
                  <a:pt x="946" y="342"/>
                </a:cubicBezTo>
                <a:cubicBezTo>
                  <a:pt x="946" y="341"/>
                  <a:pt x="947" y="341"/>
                  <a:pt x="948" y="341"/>
                </a:cubicBezTo>
                <a:cubicBezTo>
                  <a:pt x="948" y="341"/>
                  <a:pt x="949" y="340"/>
                  <a:pt x="949" y="340"/>
                </a:cubicBezTo>
                <a:cubicBezTo>
                  <a:pt x="950" y="340"/>
                  <a:pt x="951" y="340"/>
                  <a:pt x="952" y="340"/>
                </a:cubicBezTo>
                <a:cubicBezTo>
                  <a:pt x="952" y="339"/>
                  <a:pt x="952" y="339"/>
                  <a:pt x="952" y="339"/>
                </a:cubicBezTo>
                <a:cubicBezTo>
                  <a:pt x="952" y="339"/>
                  <a:pt x="953" y="339"/>
                  <a:pt x="953" y="339"/>
                </a:cubicBezTo>
                <a:cubicBezTo>
                  <a:pt x="953" y="339"/>
                  <a:pt x="953" y="339"/>
                  <a:pt x="953" y="339"/>
                </a:cubicBezTo>
                <a:cubicBezTo>
                  <a:pt x="953" y="339"/>
                  <a:pt x="954" y="339"/>
                  <a:pt x="954" y="339"/>
                </a:cubicBezTo>
                <a:cubicBezTo>
                  <a:pt x="955" y="339"/>
                  <a:pt x="956" y="338"/>
                  <a:pt x="955" y="337"/>
                </a:cubicBezTo>
                <a:cubicBezTo>
                  <a:pt x="954" y="337"/>
                  <a:pt x="953" y="336"/>
                  <a:pt x="952" y="336"/>
                </a:cubicBezTo>
                <a:cubicBezTo>
                  <a:pt x="951" y="336"/>
                  <a:pt x="951" y="335"/>
                  <a:pt x="951" y="335"/>
                </a:cubicBezTo>
                <a:cubicBezTo>
                  <a:pt x="951" y="335"/>
                  <a:pt x="951" y="335"/>
                  <a:pt x="950" y="335"/>
                </a:cubicBezTo>
                <a:cubicBezTo>
                  <a:pt x="950" y="335"/>
                  <a:pt x="950" y="334"/>
                  <a:pt x="950" y="334"/>
                </a:cubicBezTo>
                <a:cubicBezTo>
                  <a:pt x="950" y="334"/>
                  <a:pt x="950" y="334"/>
                  <a:pt x="950" y="333"/>
                </a:cubicBezTo>
                <a:cubicBezTo>
                  <a:pt x="950" y="332"/>
                  <a:pt x="949" y="332"/>
                  <a:pt x="948" y="331"/>
                </a:cubicBezTo>
                <a:cubicBezTo>
                  <a:pt x="949" y="330"/>
                  <a:pt x="950" y="330"/>
                  <a:pt x="950" y="329"/>
                </a:cubicBezTo>
                <a:cubicBezTo>
                  <a:pt x="950" y="329"/>
                  <a:pt x="950" y="328"/>
                  <a:pt x="950" y="327"/>
                </a:cubicBezTo>
                <a:cubicBezTo>
                  <a:pt x="951" y="327"/>
                  <a:pt x="951" y="327"/>
                  <a:pt x="951" y="326"/>
                </a:cubicBezTo>
                <a:cubicBezTo>
                  <a:pt x="951" y="326"/>
                  <a:pt x="953" y="325"/>
                  <a:pt x="953" y="325"/>
                </a:cubicBezTo>
                <a:cubicBezTo>
                  <a:pt x="954" y="325"/>
                  <a:pt x="953" y="320"/>
                  <a:pt x="953" y="320"/>
                </a:cubicBezTo>
                <a:cubicBezTo>
                  <a:pt x="955" y="320"/>
                  <a:pt x="954" y="318"/>
                  <a:pt x="955" y="318"/>
                </a:cubicBezTo>
                <a:cubicBezTo>
                  <a:pt x="955" y="318"/>
                  <a:pt x="955" y="317"/>
                  <a:pt x="955" y="317"/>
                </a:cubicBezTo>
                <a:cubicBezTo>
                  <a:pt x="955" y="317"/>
                  <a:pt x="955" y="316"/>
                  <a:pt x="956" y="316"/>
                </a:cubicBezTo>
                <a:cubicBezTo>
                  <a:pt x="956" y="316"/>
                  <a:pt x="956" y="317"/>
                  <a:pt x="957" y="317"/>
                </a:cubicBezTo>
                <a:cubicBezTo>
                  <a:pt x="957" y="316"/>
                  <a:pt x="957" y="316"/>
                  <a:pt x="957" y="316"/>
                </a:cubicBezTo>
                <a:cubicBezTo>
                  <a:pt x="957" y="316"/>
                  <a:pt x="957" y="315"/>
                  <a:pt x="957" y="315"/>
                </a:cubicBezTo>
                <a:cubicBezTo>
                  <a:pt x="958" y="315"/>
                  <a:pt x="957" y="314"/>
                  <a:pt x="958" y="314"/>
                </a:cubicBezTo>
                <a:cubicBezTo>
                  <a:pt x="957" y="313"/>
                  <a:pt x="958" y="313"/>
                  <a:pt x="958" y="312"/>
                </a:cubicBezTo>
                <a:cubicBezTo>
                  <a:pt x="957" y="312"/>
                  <a:pt x="957" y="312"/>
                  <a:pt x="957" y="311"/>
                </a:cubicBezTo>
                <a:cubicBezTo>
                  <a:pt x="957" y="311"/>
                  <a:pt x="958" y="311"/>
                  <a:pt x="958" y="311"/>
                </a:cubicBezTo>
                <a:cubicBezTo>
                  <a:pt x="958" y="311"/>
                  <a:pt x="958" y="312"/>
                  <a:pt x="959" y="312"/>
                </a:cubicBezTo>
                <a:cubicBezTo>
                  <a:pt x="959" y="311"/>
                  <a:pt x="959" y="310"/>
                  <a:pt x="958" y="310"/>
                </a:cubicBezTo>
                <a:cubicBezTo>
                  <a:pt x="959" y="310"/>
                  <a:pt x="960" y="309"/>
                  <a:pt x="960" y="309"/>
                </a:cubicBezTo>
                <a:cubicBezTo>
                  <a:pt x="960" y="309"/>
                  <a:pt x="961" y="308"/>
                  <a:pt x="961" y="308"/>
                </a:cubicBezTo>
                <a:cubicBezTo>
                  <a:pt x="961" y="308"/>
                  <a:pt x="962" y="306"/>
                  <a:pt x="962" y="306"/>
                </a:cubicBezTo>
                <a:cubicBezTo>
                  <a:pt x="963" y="306"/>
                  <a:pt x="963" y="305"/>
                  <a:pt x="964" y="304"/>
                </a:cubicBezTo>
                <a:cubicBezTo>
                  <a:pt x="965" y="304"/>
                  <a:pt x="965" y="304"/>
                  <a:pt x="965" y="304"/>
                </a:cubicBezTo>
                <a:cubicBezTo>
                  <a:pt x="966" y="304"/>
                  <a:pt x="967" y="304"/>
                  <a:pt x="968" y="304"/>
                </a:cubicBezTo>
                <a:cubicBezTo>
                  <a:pt x="968" y="304"/>
                  <a:pt x="969" y="303"/>
                  <a:pt x="969" y="303"/>
                </a:cubicBezTo>
                <a:cubicBezTo>
                  <a:pt x="969" y="303"/>
                  <a:pt x="969" y="304"/>
                  <a:pt x="970" y="304"/>
                </a:cubicBezTo>
                <a:cubicBezTo>
                  <a:pt x="970" y="304"/>
                  <a:pt x="971" y="304"/>
                  <a:pt x="971" y="304"/>
                </a:cubicBezTo>
                <a:cubicBezTo>
                  <a:pt x="971" y="305"/>
                  <a:pt x="971" y="305"/>
                  <a:pt x="970" y="305"/>
                </a:cubicBezTo>
                <a:cubicBezTo>
                  <a:pt x="970" y="305"/>
                  <a:pt x="969" y="305"/>
                  <a:pt x="968" y="305"/>
                </a:cubicBezTo>
                <a:cubicBezTo>
                  <a:pt x="968" y="305"/>
                  <a:pt x="968" y="305"/>
                  <a:pt x="968" y="305"/>
                </a:cubicBezTo>
                <a:cubicBezTo>
                  <a:pt x="967" y="305"/>
                  <a:pt x="968" y="306"/>
                  <a:pt x="968" y="306"/>
                </a:cubicBezTo>
                <a:cubicBezTo>
                  <a:pt x="969" y="306"/>
                  <a:pt x="969" y="306"/>
                  <a:pt x="969" y="307"/>
                </a:cubicBezTo>
                <a:cubicBezTo>
                  <a:pt x="969" y="307"/>
                  <a:pt x="971" y="307"/>
                  <a:pt x="971" y="307"/>
                </a:cubicBezTo>
                <a:cubicBezTo>
                  <a:pt x="972" y="307"/>
                  <a:pt x="972" y="309"/>
                  <a:pt x="973" y="308"/>
                </a:cubicBezTo>
                <a:cubicBezTo>
                  <a:pt x="973" y="307"/>
                  <a:pt x="973" y="307"/>
                  <a:pt x="974" y="307"/>
                </a:cubicBezTo>
                <a:cubicBezTo>
                  <a:pt x="975" y="307"/>
                  <a:pt x="976" y="306"/>
                  <a:pt x="976" y="307"/>
                </a:cubicBezTo>
                <a:cubicBezTo>
                  <a:pt x="977" y="308"/>
                  <a:pt x="978" y="306"/>
                  <a:pt x="978" y="307"/>
                </a:cubicBezTo>
                <a:cubicBezTo>
                  <a:pt x="978" y="308"/>
                  <a:pt x="979" y="309"/>
                  <a:pt x="979" y="309"/>
                </a:cubicBezTo>
                <a:cubicBezTo>
                  <a:pt x="978" y="309"/>
                  <a:pt x="977" y="309"/>
                  <a:pt x="977" y="309"/>
                </a:cubicBezTo>
                <a:cubicBezTo>
                  <a:pt x="976" y="310"/>
                  <a:pt x="975" y="310"/>
                  <a:pt x="974" y="310"/>
                </a:cubicBezTo>
                <a:cubicBezTo>
                  <a:pt x="974" y="311"/>
                  <a:pt x="972" y="311"/>
                  <a:pt x="972" y="313"/>
                </a:cubicBezTo>
                <a:cubicBezTo>
                  <a:pt x="973" y="313"/>
                  <a:pt x="973" y="313"/>
                  <a:pt x="974" y="313"/>
                </a:cubicBezTo>
                <a:cubicBezTo>
                  <a:pt x="974" y="313"/>
                  <a:pt x="974" y="312"/>
                  <a:pt x="974" y="312"/>
                </a:cubicBezTo>
                <a:cubicBezTo>
                  <a:pt x="974" y="312"/>
                  <a:pt x="974" y="313"/>
                  <a:pt x="974" y="313"/>
                </a:cubicBezTo>
                <a:cubicBezTo>
                  <a:pt x="975" y="313"/>
                  <a:pt x="975" y="313"/>
                  <a:pt x="976" y="313"/>
                </a:cubicBezTo>
                <a:cubicBezTo>
                  <a:pt x="977" y="313"/>
                  <a:pt x="977" y="313"/>
                  <a:pt x="977" y="314"/>
                </a:cubicBezTo>
                <a:cubicBezTo>
                  <a:pt x="977" y="315"/>
                  <a:pt x="977" y="316"/>
                  <a:pt x="977" y="317"/>
                </a:cubicBezTo>
                <a:cubicBezTo>
                  <a:pt x="977" y="317"/>
                  <a:pt x="976" y="318"/>
                  <a:pt x="976" y="318"/>
                </a:cubicBezTo>
                <a:cubicBezTo>
                  <a:pt x="977" y="318"/>
                  <a:pt x="977" y="318"/>
                  <a:pt x="977" y="318"/>
                </a:cubicBezTo>
                <a:cubicBezTo>
                  <a:pt x="978" y="318"/>
                  <a:pt x="978" y="318"/>
                  <a:pt x="979" y="318"/>
                </a:cubicBezTo>
                <a:cubicBezTo>
                  <a:pt x="980" y="317"/>
                  <a:pt x="981" y="317"/>
                  <a:pt x="983" y="316"/>
                </a:cubicBezTo>
                <a:cubicBezTo>
                  <a:pt x="983" y="316"/>
                  <a:pt x="982" y="316"/>
                  <a:pt x="983" y="316"/>
                </a:cubicBezTo>
                <a:cubicBezTo>
                  <a:pt x="983" y="316"/>
                  <a:pt x="984" y="316"/>
                  <a:pt x="984" y="316"/>
                </a:cubicBezTo>
                <a:cubicBezTo>
                  <a:pt x="984" y="316"/>
                  <a:pt x="985" y="315"/>
                  <a:pt x="985" y="315"/>
                </a:cubicBezTo>
                <a:cubicBezTo>
                  <a:pt x="986" y="315"/>
                  <a:pt x="987" y="315"/>
                  <a:pt x="987" y="314"/>
                </a:cubicBezTo>
                <a:cubicBezTo>
                  <a:pt x="987" y="314"/>
                  <a:pt x="988" y="315"/>
                  <a:pt x="988" y="315"/>
                </a:cubicBezTo>
                <a:cubicBezTo>
                  <a:pt x="989" y="314"/>
                  <a:pt x="989" y="314"/>
                  <a:pt x="989" y="314"/>
                </a:cubicBezTo>
                <a:cubicBezTo>
                  <a:pt x="991" y="314"/>
                  <a:pt x="991" y="314"/>
                  <a:pt x="991" y="312"/>
                </a:cubicBezTo>
                <a:cubicBezTo>
                  <a:pt x="991" y="312"/>
                  <a:pt x="991" y="312"/>
                  <a:pt x="991" y="312"/>
                </a:cubicBezTo>
                <a:cubicBezTo>
                  <a:pt x="991" y="312"/>
                  <a:pt x="989" y="312"/>
                  <a:pt x="989" y="312"/>
                </a:cubicBezTo>
                <a:cubicBezTo>
                  <a:pt x="988" y="312"/>
                  <a:pt x="988" y="312"/>
                  <a:pt x="987" y="312"/>
                </a:cubicBezTo>
                <a:cubicBezTo>
                  <a:pt x="987" y="312"/>
                  <a:pt x="987" y="312"/>
                  <a:pt x="987" y="312"/>
                </a:cubicBezTo>
                <a:cubicBezTo>
                  <a:pt x="987" y="312"/>
                  <a:pt x="986" y="312"/>
                  <a:pt x="986" y="312"/>
                </a:cubicBezTo>
                <a:cubicBezTo>
                  <a:pt x="985" y="312"/>
                  <a:pt x="984" y="313"/>
                  <a:pt x="984" y="312"/>
                </a:cubicBezTo>
                <a:cubicBezTo>
                  <a:pt x="983" y="311"/>
                  <a:pt x="983" y="311"/>
                  <a:pt x="983" y="311"/>
                </a:cubicBezTo>
                <a:cubicBezTo>
                  <a:pt x="983" y="310"/>
                  <a:pt x="983" y="310"/>
                  <a:pt x="983" y="309"/>
                </a:cubicBezTo>
                <a:cubicBezTo>
                  <a:pt x="983" y="309"/>
                  <a:pt x="982" y="309"/>
                  <a:pt x="982" y="309"/>
                </a:cubicBezTo>
                <a:cubicBezTo>
                  <a:pt x="981" y="309"/>
                  <a:pt x="981" y="308"/>
                  <a:pt x="981" y="308"/>
                </a:cubicBezTo>
                <a:cubicBezTo>
                  <a:pt x="981" y="308"/>
                  <a:pt x="980" y="308"/>
                  <a:pt x="980" y="308"/>
                </a:cubicBezTo>
                <a:cubicBezTo>
                  <a:pt x="980" y="307"/>
                  <a:pt x="979" y="307"/>
                  <a:pt x="979" y="307"/>
                </a:cubicBezTo>
                <a:cubicBezTo>
                  <a:pt x="979" y="307"/>
                  <a:pt x="979" y="306"/>
                  <a:pt x="979" y="306"/>
                </a:cubicBezTo>
                <a:cubicBezTo>
                  <a:pt x="980" y="306"/>
                  <a:pt x="981" y="306"/>
                  <a:pt x="982" y="306"/>
                </a:cubicBezTo>
                <a:cubicBezTo>
                  <a:pt x="981" y="307"/>
                  <a:pt x="982" y="306"/>
                  <a:pt x="983" y="306"/>
                </a:cubicBezTo>
                <a:cubicBezTo>
                  <a:pt x="984" y="306"/>
                  <a:pt x="985" y="307"/>
                  <a:pt x="986" y="306"/>
                </a:cubicBezTo>
                <a:cubicBezTo>
                  <a:pt x="986" y="305"/>
                  <a:pt x="987" y="305"/>
                  <a:pt x="987" y="305"/>
                </a:cubicBezTo>
                <a:cubicBezTo>
                  <a:pt x="987" y="305"/>
                  <a:pt x="990" y="302"/>
                  <a:pt x="989" y="304"/>
                </a:cubicBezTo>
                <a:cubicBezTo>
                  <a:pt x="990" y="304"/>
                  <a:pt x="990" y="304"/>
                  <a:pt x="990" y="304"/>
                </a:cubicBezTo>
                <a:cubicBezTo>
                  <a:pt x="991" y="304"/>
                  <a:pt x="991" y="303"/>
                  <a:pt x="992" y="303"/>
                </a:cubicBezTo>
                <a:cubicBezTo>
                  <a:pt x="993" y="303"/>
                  <a:pt x="994" y="303"/>
                  <a:pt x="995" y="302"/>
                </a:cubicBezTo>
                <a:cubicBezTo>
                  <a:pt x="996" y="302"/>
                  <a:pt x="997" y="301"/>
                  <a:pt x="998" y="301"/>
                </a:cubicBezTo>
                <a:cubicBezTo>
                  <a:pt x="998" y="301"/>
                  <a:pt x="998" y="301"/>
                  <a:pt x="998" y="300"/>
                </a:cubicBezTo>
                <a:cubicBezTo>
                  <a:pt x="999" y="300"/>
                  <a:pt x="1000" y="300"/>
                  <a:pt x="1001" y="300"/>
                </a:cubicBezTo>
                <a:cubicBezTo>
                  <a:pt x="1001" y="300"/>
                  <a:pt x="1001" y="300"/>
                  <a:pt x="1001" y="300"/>
                </a:cubicBezTo>
                <a:cubicBezTo>
                  <a:pt x="1001" y="300"/>
                  <a:pt x="1002" y="300"/>
                  <a:pt x="1003" y="300"/>
                </a:cubicBezTo>
                <a:cubicBezTo>
                  <a:pt x="1004" y="300"/>
                  <a:pt x="1004" y="299"/>
                  <a:pt x="1005" y="299"/>
                </a:cubicBezTo>
                <a:cubicBezTo>
                  <a:pt x="1005" y="300"/>
                  <a:pt x="1006" y="299"/>
                  <a:pt x="1005" y="300"/>
                </a:cubicBezTo>
                <a:cubicBezTo>
                  <a:pt x="1005" y="300"/>
                  <a:pt x="1004" y="300"/>
                  <a:pt x="1004" y="300"/>
                </a:cubicBezTo>
                <a:cubicBezTo>
                  <a:pt x="1004" y="301"/>
                  <a:pt x="1004" y="301"/>
                  <a:pt x="1003" y="301"/>
                </a:cubicBezTo>
                <a:cubicBezTo>
                  <a:pt x="1003" y="301"/>
                  <a:pt x="1002" y="301"/>
                  <a:pt x="1002" y="301"/>
                </a:cubicBezTo>
                <a:cubicBezTo>
                  <a:pt x="1002" y="302"/>
                  <a:pt x="1001" y="303"/>
                  <a:pt x="1001" y="303"/>
                </a:cubicBezTo>
                <a:cubicBezTo>
                  <a:pt x="1000" y="303"/>
                  <a:pt x="1001" y="302"/>
                  <a:pt x="1000" y="302"/>
                </a:cubicBezTo>
                <a:cubicBezTo>
                  <a:pt x="1000" y="302"/>
                  <a:pt x="999" y="303"/>
                  <a:pt x="999" y="304"/>
                </a:cubicBezTo>
                <a:cubicBezTo>
                  <a:pt x="1000" y="304"/>
                  <a:pt x="1000" y="304"/>
                  <a:pt x="1000" y="304"/>
                </a:cubicBezTo>
                <a:cubicBezTo>
                  <a:pt x="998" y="304"/>
                  <a:pt x="997" y="304"/>
                  <a:pt x="996" y="305"/>
                </a:cubicBezTo>
                <a:cubicBezTo>
                  <a:pt x="996" y="305"/>
                  <a:pt x="997" y="306"/>
                  <a:pt x="997" y="306"/>
                </a:cubicBezTo>
                <a:cubicBezTo>
                  <a:pt x="997" y="306"/>
                  <a:pt x="998" y="306"/>
                  <a:pt x="998" y="306"/>
                </a:cubicBezTo>
                <a:cubicBezTo>
                  <a:pt x="999" y="306"/>
                  <a:pt x="999" y="307"/>
                  <a:pt x="999" y="307"/>
                </a:cubicBezTo>
                <a:cubicBezTo>
                  <a:pt x="999" y="308"/>
                  <a:pt x="999" y="307"/>
                  <a:pt x="998" y="307"/>
                </a:cubicBezTo>
                <a:cubicBezTo>
                  <a:pt x="998" y="308"/>
                  <a:pt x="998" y="308"/>
                  <a:pt x="998" y="309"/>
                </a:cubicBezTo>
                <a:cubicBezTo>
                  <a:pt x="998" y="309"/>
                  <a:pt x="997" y="309"/>
                  <a:pt x="997" y="309"/>
                </a:cubicBezTo>
                <a:cubicBezTo>
                  <a:pt x="997" y="309"/>
                  <a:pt x="997" y="310"/>
                  <a:pt x="997" y="311"/>
                </a:cubicBezTo>
                <a:cubicBezTo>
                  <a:pt x="997" y="311"/>
                  <a:pt x="996" y="311"/>
                  <a:pt x="995" y="311"/>
                </a:cubicBezTo>
                <a:cubicBezTo>
                  <a:pt x="995" y="311"/>
                  <a:pt x="994" y="311"/>
                  <a:pt x="994" y="311"/>
                </a:cubicBezTo>
                <a:cubicBezTo>
                  <a:pt x="994" y="312"/>
                  <a:pt x="994" y="312"/>
                  <a:pt x="993" y="312"/>
                </a:cubicBezTo>
                <a:cubicBezTo>
                  <a:pt x="992" y="313"/>
                  <a:pt x="992" y="312"/>
                  <a:pt x="992" y="314"/>
                </a:cubicBezTo>
                <a:cubicBezTo>
                  <a:pt x="993" y="313"/>
                  <a:pt x="994" y="313"/>
                  <a:pt x="995" y="313"/>
                </a:cubicBezTo>
                <a:cubicBezTo>
                  <a:pt x="995" y="313"/>
                  <a:pt x="995" y="314"/>
                  <a:pt x="995" y="314"/>
                </a:cubicBezTo>
                <a:cubicBezTo>
                  <a:pt x="995" y="315"/>
                  <a:pt x="996" y="314"/>
                  <a:pt x="996" y="314"/>
                </a:cubicBezTo>
                <a:cubicBezTo>
                  <a:pt x="996" y="315"/>
                  <a:pt x="996" y="316"/>
                  <a:pt x="997" y="316"/>
                </a:cubicBezTo>
                <a:cubicBezTo>
                  <a:pt x="998" y="316"/>
                  <a:pt x="998" y="316"/>
                  <a:pt x="998" y="317"/>
                </a:cubicBezTo>
                <a:cubicBezTo>
                  <a:pt x="999" y="317"/>
                  <a:pt x="999" y="317"/>
                  <a:pt x="999" y="317"/>
                </a:cubicBezTo>
                <a:cubicBezTo>
                  <a:pt x="999" y="318"/>
                  <a:pt x="999" y="317"/>
                  <a:pt x="999" y="317"/>
                </a:cubicBezTo>
                <a:cubicBezTo>
                  <a:pt x="1000" y="318"/>
                  <a:pt x="1000" y="318"/>
                  <a:pt x="1000" y="318"/>
                </a:cubicBezTo>
                <a:cubicBezTo>
                  <a:pt x="1001" y="318"/>
                  <a:pt x="1001" y="318"/>
                  <a:pt x="1001" y="319"/>
                </a:cubicBezTo>
                <a:cubicBezTo>
                  <a:pt x="1001" y="319"/>
                  <a:pt x="1001" y="319"/>
                  <a:pt x="1001" y="319"/>
                </a:cubicBezTo>
                <a:cubicBezTo>
                  <a:pt x="1002" y="320"/>
                  <a:pt x="1002" y="321"/>
                  <a:pt x="1003" y="321"/>
                </a:cubicBezTo>
                <a:cubicBezTo>
                  <a:pt x="1004" y="321"/>
                  <a:pt x="1004" y="322"/>
                  <a:pt x="1005" y="323"/>
                </a:cubicBezTo>
                <a:cubicBezTo>
                  <a:pt x="1005" y="323"/>
                  <a:pt x="1005" y="323"/>
                  <a:pt x="1006" y="323"/>
                </a:cubicBezTo>
                <a:cubicBezTo>
                  <a:pt x="1006" y="323"/>
                  <a:pt x="1006" y="324"/>
                  <a:pt x="1006" y="324"/>
                </a:cubicBezTo>
                <a:cubicBezTo>
                  <a:pt x="1006" y="324"/>
                  <a:pt x="1006" y="324"/>
                  <a:pt x="1007" y="324"/>
                </a:cubicBezTo>
                <a:cubicBezTo>
                  <a:pt x="1008" y="325"/>
                  <a:pt x="1007" y="324"/>
                  <a:pt x="1008" y="325"/>
                </a:cubicBezTo>
                <a:cubicBezTo>
                  <a:pt x="1008" y="325"/>
                  <a:pt x="1009" y="325"/>
                  <a:pt x="1009" y="325"/>
                </a:cubicBezTo>
                <a:cubicBezTo>
                  <a:pt x="1010" y="325"/>
                  <a:pt x="1010" y="326"/>
                  <a:pt x="1010" y="326"/>
                </a:cubicBezTo>
                <a:cubicBezTo>
                  <a:pt x="1011" y="326"/>
                  <a:pt x="1011" y="326"/>
                  <a:pt x="1011" y="326"/>
                </a:cubicBezTo>
                <a:cubicBezTo>
                  <a:pt x="1011" y="327"/>
                  <a:pt x="1011" y="326"/>
                  <a:pt x="1012" y="326"/>
                </a:cubicBezTo>
                <a:cubicBezTo>
                  <a:pt x="1012" y="326"/>
                  <a:pt x="1012" y="327"/>
                  <a:pt x="1012" y="327"/>
                </a:cubicBezTo>
                <a:cubicBezTo>
                  <a:pt x="1012" y="328"/>
                  <a:pt x="1013" y="328"/>
                  <a:pt x="1013" y="328"/>
                </a:cubicBezTo>
                <a:cubicBezTo>
                  <a:pt x="1014" y="330"/>
                  <a:pt x="1015" y="331"/>
                  <a:pt x="1015" y="333"/>
                </a:cubicBezTo>
                <a:cubicBezTo>
                  <a:pt x="1015" y="333"/>
                  <a:pt x="1015" y="333"/>
                  <a:pt x="1014" y="333"/>
                </a:cubicBezTo>
                <a:cubicBezTo>
                  <a:pt x="1014" y="334"/>
                  <a:pt x="1014" y="335"/>
                  <a:pt x="1013" y="335"/>
                </a:cubicBezTo>
                <a:cubicBezTo>
                  <a:pt x="1013" y="336"/>
                  <a:pt x="1012" y="337"/>
                  <a:pt x="1012" y="337"/>
                </a:cubicBezTo>
                <a:cubicBezTo>
                  <a:pt x="1012" y="337"/>
                  <a:pt x="1012" y="337"/>
                  <a:pt x="1012" y="337"/>
                </a:cubicBezTo>
                <a:cubicBezTo>
                  <a:pt x="1011" y="337"/>
                  <a:pt x="1012" y="337"/>
                  <a:pt x="1012" y="337"/>
                </a:cubicBezTo>
                <a:cubicBezTo>
                  <a:pt x="1011" y="337"/>
                  <a:pt x="1011" y="337"/>
                  <a:pt x="1011" y="337"/>
                </a:cubicBezTo>
                <a:cubicBezTo>
                  <a:pt x="1011" y="337"/>
                  <a:pt x="1011" y="337"/>
                  <a:pt x="1011" y="337"/>
                </a:cubicBezTo>
                <a:cubicBezTo>
                  <a:pt x="1010" y="338"/>
                  <a:pt x="1010" y="337"/>
                  <a:pt x="1010" y="337"/>
                </a:cubicBezTo>
                <a:cubicBezTo>
                  <a:pt x="1010" y="337"/>
                  <a:pt x="1009" y="338"/>
                  <a:pt x="1009" y="338"/>
                </a:cubicBezTo>
                <a:cubicBezTo>
                  <a:pt x="1008" y="339"/>
                  <a:pt x="1007" y="338"/>
                  <a:pt x="1006" y="338"/>
                </a:cubicBezTo>
                <a:cubicBezTo>
                  <a:pt x="1005" y="338"/>
                  <a:pt x="1005" y="337"/>
                  <a:pt x="1004" y="337"/>
                </a:cubicBezTo>
                <a:cubicBezTo>
                  <a:pt x="1004" y="338"/>
                  <a:pt x="1004" y="338"/>
                  <a:pt x="1004" y="338"/>
                </a:cubicBezTo>
                <a:cubicBezTo>
                  <a:pt x="1004" y="338"/>
                  <a:pt x="1004" y="338"/>
                  <a:pt x="1003" y="338"/>
                </a:cubicBezTo>
                <a:cubicBezTo>
                  <a:pt x="1003" y="339"/>
                  <a:pt x="1003" y="339"/>
                  <a:pt x="1002" y="339"/>
                </a:cubicBezTo>
                <a:cubicBezTo>
                  <a:pt x="1002" y="339"/>
                  <a:pt x="1001" y="338"/>
                  <a:pt x="1001" y="339"/>
                </a:cubicBezTo>
                <a:cubicBezTo>
                  <a:pt x="1000" y="339"/>
                  <a:pt x="998" y="339"/>
                  <a:pt x="997" y="338"/>
                </a:cubicBezTo>
                <a:cubicBezTo>
                  <a:pt x="997" y="338"/>
                  <a:pt x="996" y="338"/>
                  <a:pt x="995" y="338"/>
                </a:cubicBezTo>
                <a:cubicBezTo>
                  <a:pt x="995" y="338"/>
                  <a:pt x="995" y="337"/>
                  <a:pt x="994" y="336"/>
                </a:cubicBezTo>
                <a:cubicBezTo>
                  <a:pt x="993" y="336"/>
                  <a:pt x="992" y="336"/>
                  <a:pt x="992" y="336"/>
                </a:cubicBezTo>
                <a:cubicBezTo>
                  <a:pt x="991" y="336"/>
                  <a:pt x="991" y="337"/>
                  <a:pt x="991" y="337"/>
                </a:cubicBezTo>
                <a:cubicBezTo>
                  <a:pt x="990" y="337"/>
                  <a:pt x="990" y="337"/>
                  <a:pt x="989" y="337"/>
                </a:cubicBezTo>
                <a:cubicBezTo>
                  <a:pt x="989" y="336"/>
                  <a:pt x="988" y="334"/>
                  <a:pt x="988" y="334"/>
                </a:cubicBezTo>
                <a:cubicBezTo>
                  <a:pt x="988" y="334"/>
                  <a:pt x="986" y="335"/>
                  <a:pt x="986" y="334"/>
                </a:cubicBezTo>
                <a:cubicBezTo>
                  <a:pt x="986" y="334"/>
                  <a:pt x="985" y="334"/>
                  <a:pt x="984" y="334"/>
                </a:cubicBezTo>
                <a:cubicBezTo>
                  <a:pt x="984" y="333"/>
                  <a:pt x="984" y="333"/>
                  <a:pt x="984" y="332"/>
                </a:cubicBezTo>
                <a:cubicBezTo>
                  <a:pt x="983" y="333"/>
                  <a:pt x="983" y="333"/>
                  <a:pt x="982" y="333"/>
                </a:cubicBezTo>
                <a:cubicBezTo>
                  <a:pt x="981" y="333"/>
                  <a:pt x="981" y="334"/>
                  <a:pt x="980" y="333"/>
                </a:cubicBezTo>
                <a:cubicBezTo>
                  <a:pt x="980" y="333"/>
                  <a:pt x="980" y="333"/>
                  <a:pt x="980" y="333"/>
                </a:cubicBezTo>
                <a:cubicBezTo>
                  <a:pt x="980" y="333"/>
                  <a:pt x="979" y="333"/>
                  <a:pt x="979" y="332"/>
                </a:cubicBezTo>
                <a:cubicBezTo>
                  <a:pt x="979" y="332"/>
                  <a:pt x="977" y="332"/>
                  <a:pt x="976" y="332"/>
                </a:cubicBezTo>
                <a:cubicBezTo>
                  <a:pt x="976" y="332"/>
                  <a:pt x="976" y="332"/>
                  <a:pt x="975" y="332"/>
                </a:cubicBezTo>
                <a:cubicBezTo>
                  <a:pt x="975" y="334"/>
                  <a:pt x="972" y="333"/>
                  <a:pt x="971" y="334"/>
                </a:cubicBezTo>
                <a:cubicBezTo>
                  <a:pt x="971" y="335"/>
                  <a:pt x="971" y="335"/>
                  <a:pt x="970" y="335"/>
                </a:cubicBezTo>
                <a:cubicBezTo>
                  <a:pt x="970" y="335"/>
                  <a:pt x="968" y="336"/>
                  <a:pt x="968" y="336"/>
                </a:cubicBezTo>
                <a:cubicBezTo>
                  <a:pt x="968" y="337"/>
                  <a:pt x="967" y="336"/>
                  <a:pt x="967" y="336"/>
                </a:cubicBezTo>
                <a:cubicBezTo>
                  <a:pt x="966" y="337"/>
                  <a:pt x="966" y="338"/>
                  <a:pt x="965" y="338"/>
                </a:cubicBezTo>
                <a:cubicBezTo>
                  <a:pt x="964" y="338"/>
                  <a:pt x="963" y="338"/>
                  <a:pt x="962" y="338"/>
                </a:cubicBezTo>
                <a:cubicBezTo>
                  <a:pt x="962" y="337"/>
                  <a:pt x="961" y="337"/>
                  <a:pt x="961" y="338"/>
                </a:cubicBezTo>
                <a:cubicBezTo>
                  <a:pt x="960" y="338"/>
                  <a:pt x="959" y="337"/>
                  <a:pt x="958" y="338"/>
                </a:cubicBezTo>
                <a:cubicBezTo>
                  <a:pt x="957" y="338"/>
                  <a:pt x="956" y="337"/>
                  <a:pt x="956" y="339"/>
                </a:cubicBezTo>
                <a:cubicBezTo>
                  <a:pt x="956" y="339"/>
                  <a:pt x="959" y="340"/>
                  <a:pt x="959" y="340"/>
                </a:cubicBezTo>
                <a:cubicBezTo>
                  <a:pt x="959" y="340"/>
                  <a:pt x="958" y="340"/>
                  <a:pt x="958" y="340"/>
                </a:cubicBezTo>
                <a:cubicBezTo>
                  <a:pt x="957" y="340"/>
                  <a:pt x="956" y="340"/>
                  <a:pt x="956" y="341"/>
                </a:cubicBezTo>
                <a:cubicBezTo>
                  <a:pt x="956" y="341"/>
                  <a:pt x="956" y="341"/>
                  <a:pt x="956" y="341"/>
                </a:cubicBezTo>
                <a:cubicBezTo>
                  <a:pt x="955" y="342"/>
                  <a:pt x="953" y="342"/>
                  <a:pt x="952" y="342"/>
                </a:cubicBezTo>
                <a:cubicBezTo>
                  <a:pt x="952" y="341"/>
                  <a:pt x="951" y="341"/>
                  <a:pt x="950" y="341"/>
                </a:cubicBezTo>
                <a:cubicBezTo>
                  <a:pt x="949" y="341"/>
                  <a:pt x="950" y="342"/>
                  <a:pt x="950" y="343"/>
                </a:cubicBezTo>
                <a:cubicBezTo>
                  <a:pt x="948" y="343"/>
                  <a:pt x="945" y="342"/>
                  <a:pt x="944" y="344"/>
                </a:cubicBezTo>
                <a:cubicBezTo>
                  <a:pt x="944" y="345"/>
                  <a:pt x="943" y="345"/>
                  <a:pt x="943" y="345"/>
                </a:cubicBezTo>
                <a:cubicBezTo>
                  <a:pt x="942" y="346"/>
                  <a:pt x="942" y="346"/>
                  <a:pt x="943" y="347"/>
                </a:cubicBezTo>
                <a:cubicBezTo>
                  <a:pt x="943" y="348"/>
                  <a:pt x="942" y="348"/>
                  <a:pt x="942" y="349"/>
                </a:cubicBezTo>
                <a:cubicBezTo>
                  <a:pt x="943" y="349"/>
                  <a:pt x="944" y="349"/>
                  <a:pt x="945" y="349"/>
                </a:cubicBezTo>
                <a:cubicBezTo>
                  <a:pt x="945" y="350"/>
                  <a:pt x="946" y="350"/>
                  <a:pt x="946" y="351"/>
                </a:cubicBezTo>
                <a:cubicBezTo>
                  <a:pt x="946" y="352"/>
                  <a:pt x="946" y="353"/>
                  <a:pt x="945" y="353"/>
                </a:cubicBezTo>
                <a:cubicBezTo>
                  <a:pt x="945" y="354"/>
                  <a:pt x="946" y="354"/>
                  <a:pt x="946" y="354"/>
                </a:cubicBezTo>
                <a:cubicBezTo>
                  <a:pt x="946" y="355"/>
                  <a:pt x="945" y="355"/>
                  <a:pt x="945" y="356"/>
                </a:cubicBezTo>
                <a:cubicBezTo>
                  <a:pt x="944" y="356"/>
                  <a:pt x="944" y="355"/>
                  <a:pt x="943" y="355"/>
                </a:cubicBezTo>
                <a:cubicBezTo>
                  <a:pt x="943" y="356"/>
                  <a:pt x="944" y="356"/>
                  <a:pt x="943" y="358"/>
                </a:cubicBezTo>
                <a:cubicBezTo>
                  <a:pt x="944" y="357"/>
                  <a:pt x="945" y="357"/>
                  <a:pt x="945" y="357"/>
                </a:cubicBezTo>
                <a:cubicBezTo>
                  <a:pt x="946" y="358"/>
                  <a:pt x="946" y="358"/>
                  <a:pt x="947" y="359"/>
                </a:cubicBezTo>
                <a:cubicBezTo>
                  <a:pt x="947" y="359"/>
                  <a:pt x="947" y="361"/>
                  <a:pt x="947" y="361"/>
                </a:cubicBezTo>
                <a:cubicBezTo>
                  <a:pt x="947" y="361"/>
                  <a:pt x="948" y="361"/>
                  <a:pt x="948" y="361"/>
                </a:cubicBezTo>
                <a:cubicBezTo>
                  <a:pt x="948" y="362"/>
                  <a:pt x="948" y="362"/>
                  <a:pt x="948" y="362"/>
                </a:cubicBezTo>
                <a:cubicBezTo>
                  <a:pt x="947" y="363"/>
                  <a:pt x="947" y="362"/>
                  <a:pt x="947" y="363"/>
                </a:cubicBezTo>
                <a:cubicBezTo>
                  <a:pt x="947" y="363"/>
                  <a:pt x="947" y="363"/>
                  <a:pt x="948" y="364"/>
                </a:cubicBezTo>
                <a:cubicBezTo>
                  <a:pt x="949" y="364"/>
                  <a:pt x="950" y="364"/>
                  <a:pt x="951" y="364"/>
                </a:cubicBezTo>
                <a:cubicBezTo>
                  <a:pt x="951" y="364"/>
                  <a:pt x="951" y="364"/>
                  <a:pt x="950" y="365"/>
                </a:cubicBezTo>
                <a:cubicBezTo>
                  <a:pt x="950" y="365"/>
                  <a:pt x="951" y="365"/>
                  <a:pt x="951" y="365"/>
                </a:cubicBezTo>
                <a:cubicBezTo>
                  <a:pt x="951" y="366"/>
                  <a:pt x="952" y="366"/>
                  <a:pt x="952" y="366"/>
                </a:cubicBezTo>
                <a:cubicBezTo>
                  <a:pt x="952" y="365"/>
                  <a:pt x="951" y="365"/>
                  <a:pt x="952" y="365"/>
                </a:cubicBezTo>
                <a:cubicBezTo>
                  <a:pt x="953" y="365"/>
                  <a:pt x="953" y="367"/>
                  <a:pt x="954" y="367"/>
                </a:cubicBezTo>
                <a:cubicBezTo>
                  <a:pt x="954" y="367"/>
                  <a:pt x="955" y="366"/>
                  <a:pt x="955" y="366"/>
                </a:cubicBezTo>
                <a:cubicBezTo>
                  <a:pt x="956" y="367"/>
                  <a:pt x="955" y="367"/>
                  <a:pt x="956" y="367"/>
                </a:cubicBezTo>
                <a:cubicBezTo>
                  <a:pt x="956" y="367"/>
                  <a:pt x="956" y="368"/>
                  <a:pt x="956" y="368"/>
                </a:cubicBezTo>
                <a:cubicBezTo>
                  <a:pt x="956" y="368"/>
                  <a:pt x="956" y="369"/>
                  <a:pt x="957" y="369"/>
                </a:cubicBezTo>
                <a:cubicBezTo>
                  <a:pt x="958" y="369"/>
                  <a:pt x="958" y="371"/>
                  <a:pt x="959" y="371"/>
                </a:cubicBezTo>
                <a:cubicBezTo>
                  <a:pt x="960" y="370"/>
                  <a:pt x="960" y="370"/>
                  <a:pt x="961" y="370"/>
                </a:cubicBezTo>
                <a:cubicBezTo>
                  <a:pt x="962" y="369"/>
                  <a:pt x="962" y="369"/>
                  <a:pt x="963" y="368"/>
                </a:cubicBezTo>
                <a:cubicBezTo>
                  <a:pt x="963" y="367"/>
                  <a:pt x="963" y="366"/>
                  <a:pt x="964" y="366"/>
                </a:cubicBezTo>
                <a:cubicBezTo>
                  <a:pt x="964" y="366"/>
                  <a:pt x="964" y="366"/>
                  <a:pt x="965" y="366"/>
                </a:cubicBezTo>
                <a:cubicBezTo>
                  <a:pt x="965" y="366"/>
                  <a:pt x="965" y="366"/>
                  <a:pt x="965" y="366"/>
                </a:cubicBezTo>
                <a:cubicBezTo>
                  <a:pt x="967" y="366"/>
                  <a:pt x="965" y="366"/>
                  <a:pt x="966" y="366"/>
                </a:cubicBezTo>
                <a:cubicBezTo>
                  <a:pt x="966" y="366"/>
                  <a:pt x="966" y="366"/>
                  <a:pt x="967" y="366"/>
                </a:cubicBezTo>
                <a:cubicBezTo>
                  <a:pt x="967" y="366"/>
                  <a:pt x="966" y="367"/>
                  <a:pt x="967" y="367"/>
                </a:cubicBezTo>
                <a:cubicBezTo>
                  <a:pt x="967" y="367"/>
                  <a:pt x="967" y="367"/>
                  <a:pt x="968" y="367"/>
                </a:cubicBezTo>
                <a:cubicBezTo>
                  <a:pt x="968" y="367"/>
                  <a:pt x="968" y="367"/>
                  <a:pt x="969" y="367"/>
                </a:cubicBezTo>
                <a:cubicBezTo>
                  <a:pt x="969" y="367"/>
                  <a:pt x="970" y="368"/>
                  <a:pt x="970" y="368"/>
                </a:cubicBezTo>
                <a:cubicBezTo>
                  <a:pt x="970" y="368"/>
                  <a:pt x="970" y="369"/>
                  <a:pt x="971" y="369"/>
                </a:cubicBezTo>
                <a:cubicBezTo>
                  <a:pt x="971" y="369"/>
                  <a:pt x="972" y="369"/>
                  <a:pt x="972" y="370"/>
                </a:cubicBezTo>
                <a:cubicBezTo>
                  <a:pt x="973" y="370"/>
                  <a:pt x="975" y="370"/>
                  <a:pt x="976" y="370"/>
                </a:cubicBezTo>
                <a:cubicBezTo>
                  <a:pt x="978" y="370"/>
                  <a:pt x="980" y="369"/>
                  <a:pt x="981" y="368"/>
                </a:cubicBezTo>
                <a:cubicBezTo>
                  <a:pt x="982" y="367"/>
                  <a:pt x="982" y="367"/>
                  <a:pt x="983" y="367"/>
                </a:cubicBezTo>
                <a:cubicBezTo>
                  <a:pt x="983" y="367"/>
                  <a:pt x="984" y="366"/>
                  <a:pt x="984" y="367"/>
                </a:cubicBezTo>
                <a:cubicBezTo>
                  <a:pt x="985" y="367"/>
                  <a:pt x="986" y="366"/>
                  <a:pt x="986" y="365"/>
                </a:cubicBezTo>
                <a:cubicBezTo>
                  <a:pt x="986" y="365"/>
                  <a:pt x="987" y="364"/>
                  <a:pt x="988" y="365"/>
                </a:cubicBezTo>
                <a:cubicBezTo>
                  <a:pt x="988" y="366"/>
                  <a:pt x="988" y="367"/>
                  <a:pt x="988" y="368"/>
                </a:cubicBezTo>
                <a:cubicBezTo>
                  <a:pt x="987" y="368"/>
                  <a:pt x="987" y="368"/>
                  <a:pt x="987" y="369"/>
                </a:cubicBezTo>
                <a:cubicBezTo>
                  <a:pt x="987" y="370"/>
                  <a:pt x="987" y="371"/>
                  <a:pt x="987" y="371"/>
                </a:cubicBezTo>
                <a:cubicBezTo>
                  <a:pt x="987" y="371"/>
                  <a:pt x="986" y="373"/>
                  <a:pt x="987" y="372"/>
                </a:cubicBezTo>
                <a:cubicBezTo>
                  <a:pt x="987" y="373"/>
                  <a:pt x="987" y="374"/>
                  <a:pt x="988" y="374"/>
                </a:cubicBezTo>
                <a:cubicBezTo>
                  <a:pt x="988" y="375"/>
                  <a:pt x="988" y="376"/>
                  <a:pt x="988" y="377"/>
                </a:cubicBezTo>
                <a:cubicBezTo>
                  <a:pt x="988" y="377"/>
                  <a:pt x="987" y="377"/>
                  <a:pt x="988" y="378"/>
                </a:cubicBezTo>
                <a:cubicBezTo>
                  <a:pt x="988" y="379"/>
                  <a:pt x="988" y="379"/>
                  <a:pt x="989" y="379"/>
                </a:cubicBezTo>
                <a:cubicBezTo>
                  <a:pt x="989" y="380"/>
                  <a:pt x="988" y="380"/>
                  <a:pt x="988" y="380"/>
                </a:cubicBezTo>
                <a:cubicBezTo>
                  <a:pt x="988" y="381"/>
                  <a:pt x="988" y="382"/>
                  <a:pt x="987" y="382"/>
                </a:cubicBezTo>
                <a:cubicBezTo>
                  <a:pt x="986" y="383"/>
                  <a:pt x="986" y="384"/>
                  <a:pt x="986" y="385"/>
                </a:cubicBezTo>
                <a:cubicBezTo>
                  <a:pt x="986" y="385"/>
                  <a:pt x="986" y="385"/>
                  <a:pt x="986" y="385"/>
                </a:cubicBezTo>
                <a:cubicBezTo>
                  <a:pt x="986" y="385"/>
                  <a:pt x="986" y="386"/>
                  <a:pt x="986" y="386"/>
                </a:cubicBezTo>
                <a:cubicBezTo>
                  <a:pt x="986" y="388"/>
                  <a:pt x="986" y="387"/>
                  <a:pt x="985" y="388"/>
                </a:cubicBezTo>
                <a:cubicBezTo>
                  <a:pt x="985" y="389"/>
                  <a:pt x="985" y="388"/>
                  <a:pt x="984" y="389"/>
                </a:cubicBezTo>
                <a:cubicBezTo>
                  <a:pt x="984" y="390"/>
                  <a:pt x="984" y="391"/>
                  <a:pt x="984" y="392"/>
                </a:cubicBezTo>
                <a:cubicBezTo>
                  <a:pt x="984" y="393"/>
                  <a:pt x="983" y="393"/>
                  <a:pt x="983" y="393"/>
                </a:cubicBezTo>
                <a:cubicBezTo>
                  <a:pt x="983" y="394"/>
                  <a:pt x="983" y="394"/>
                  <a:pt x="982" y="395"/>
                </a:cubicBezTo>
                <a:cubicBezTo>
                  <a:pt x="982" y="396"/>
                  <a:pt x="983" y="396"/>
                  <a:pt x="982" y="397"/>
                </a:cubicBezTo>
                <a:cubicBezTo>
                  <a:pt x="982" y="397"/>
                  <a:pt x="982" y="397"/>
                  <a:pt x="982" y="397"/>
                </a:cubicBezTo>
                <a:cubicBezTo>
                  <a:pt x="981" y="398"/>
                  <a:pt x="981" y="398"/>
                  <a:pt x="980" y="399"/>
                </a:cubicBezTo>
                <a:cubicBezTo>
                  <a:pt x="978" y="399"/>
                  <a:pt x="976" y="399"/>
                  <a:pt x="974" y="400"/>
                </a:cubicBezTo>
                <a:cubicBezTo>
                  <a:pt x="974" y="399"/>
                  <a:pt x="974" y="399"/>
                  <a:pt x="974" y="399"/>
                </a:cubicBezTo>
                <a:cubicBezTo>
                  <a:pt x="973" y="399"/>
                  <a:pt x="972" y="399"/>
                  <a:pt x="972" y="399"/>
                </a:cubicBezTo>
                <a:cubicBezTo>
                  <a:pt x="971" y="399"/>
                  <a:pt x="970" y="401"/>
                  <a:pt x="970" y="400"/>
                </a:cubicBezTo>
                <a:cubicBezTo>
                  <a:pt x="970" y="399"/>
                  <a:pt x="969" y="399"/>
                  <a:pt x="968" y="399"/>
                </a:cubicBezTo>
                <a:cubicBezTo>
                  <a:pt x="968" y="399"/>
                  <a:pt x="968" y="399"/>
                  <a:pt x="968" y="398"/>
                </a:cubicBezTo>
                <a:cubicBezTo>
                  <a:pt x="967" y="398"/>
                  <a:pt x="967" y="398"/>
                  <a:pt x="966" y="398"/>
                </a:cubicBezTo>
                <a:cubicBezTo>
                  <a:pt x="966" y="399"/>
                  <a:pt x="967" y="399"/>
                  <a:pt x="966" y="400"/>
                </a:cubicBezTo>
                <a:cubicBezTo>
                  <a:pt x="965" y="401"/>
                  <a:pt x="965" y="399"/>
                  <a:pt x="965" y="399"/>
                </a:cubicBezTo>
                <a:cubicBezTo>
                  <a:pt x="965" y="399"/>
                  <a:pt x="964" y="399"/>
                  <a:pt x="964" y="399"/>
                </a:cubicBezTo>
                <a:cubicBezTo>
                  <a:pt x="963" y="399"/>
                  <a:pt x="963" y="399"/>
                  <a:pt x="962" y="399"/>
                </a:cubicBezTo>
                <a:cubicBezTo>
                  <a:pt x="961" y="399"/>
                  <a:pt x="961" y="400"/>
                  <a:pt x="961" y="401"/>
                </a:cubicBezTo>
                <a:cubicBezTo>
                  <a:pt x="960" y="401"/>
                  <a:pt x="958" y="399"/>
                  <a:pt x="958" y="400"/>
                </a:cubicBezTo>
                <a:cubicBezTo>
                  <a:pt x="958" y="401"/>
                  <a:pt x="956" y="401"/>
                  <a:pt x="956" y="401"/>
                </a:cubicBezTo>
                <a:cubicBezTo>
                  <a:pt x="955" y="401"/>
                  <a:pt x="955" y="400"/>
                  <a:pt x="954" y="400"/>
                </a:cubicBezTo>
                <a:cubicBezTo>
                  <a:pt x="954" y="400"/>
                  <a:pt x="954" y="399"/>
                  <a:pt x="953" y="399"/>
                </a:cubicBezTo>
                <a:cubicBezTo>
                  <a:pt x="953" y="399"/>
                  <a:pt x="953" y="400"/>
                  <a:pt x="953" y="400"/>
                </a:cubicBezTo>
                <a:cubicBezTo>
                  <a:pt x="952" y="400"/>
                  <a:pt x="951" y="400"/>
                  <a:pt x="950" y="399"/>
                </a:cubicBezTo>
                <a:cubicBezTo>
                  <a:pt x="950" y="400"/>
                  <a:pt x="948" y="400"/>
                  <a:pt x="948" y="400"/>
                </a:cubicBezTo>
                <a:cubicBezTo>
                  <a:pt x="947" y="399"/>
                  <a:pt x="947" y="399"/>
                  <a:pt x="946" y="399"/>
                </a:cubicBezTo>
                <a:cubicBezTo>
                  <a:pt x="946" y="399"/>
                  <a:pt x="946" y="399"/>
                  <a:pt x="946" y="399"/>
                </a:cubicBezTo>
                <a:cubicBezTo>
                  <a:pt x="945" y="399"/>
                  <a:pt x="946" y="398"/>
                  <a:pt x="945" y="398"/>
                </a:cubicBezTo>
                <a:cubicBezTo>
                  <a:pt x="944" y="398"/>
                  <a:pt x="944" y="398"/>
                  <a:pt x="944" y="397"/>
                </a:cubicBezTo>
                <a:cubicBezTo>
                  <a:pt x="943" y="397"/>
                  <a:pt x="941" y="397"/>
                  <a:pt x="940" y="397"/>
                </a:cubicBezTo>
                <a:cubicBezTo>
                  <a:pt x="940" y="397"/>
                  <a:pt x="940" y="397"/>
                  <a:pt x="940" y="397"/>
                </a:cubicBezTo>
                <a:cubicBezTo>
                  <a:pt x="939" y="397"/>
                  <a:pt x="939" y="397"/>
                  <a:pt x="938" y="397"/>
                </a:cubicBezTo>
                <a:cubicBezTo>
                  <a:pt x="937" y="397"/>
                  <a:pt x="938" y="397"/>
                  <a:pt x="937" y="397"/>
                </a:cubicBezTo>
                <a:cubicBezTo>
                  <a:pt x="936" y="396"/>
                  <a:pt x="937" y="395"/>
                  <a:pt x="936" y="395"/>
                </a:cubicBezTo>
                <a:cubicBezTo>
                  <a:pt x="935" y="395"/>
                  <a:pt x="933" y="395"/>
                  <a:pt x="932" y="395"/>
                </a:cubicBezTo>
                <a:cubicBezTo>
                  <a:pt x="932" y="394"/>
                  <a:pt x="933" y="394"/>
                  <a:pt x="932" y="394"/>
                </a:cubicBezTo>
                <a:cubicBezTo>
                  <a:pt x="931" y="393"/>
                  <a:pt x="930" y="393"/>
                  <a:pt x="929" y="393"/>
                </a:cubicBezTo>
                <a:cubicBezTo>
                  <a:pt x="928" y="393"/>
                  <a:pt x="927" y="394"/>
                  <a:pt x="927" y="393"/>
                </a:cubicBezTo>
                <a:cubicBezTo>
                  <a:pt x="927" y="393"/>
                  <a:pt x="927" y="393"/>
                  <a:pt x="927" y="392"/>
                </a:cubicBezTo>
                <a:cubicBezTo>
                  <a:pt x="926" y="392"/>
                  <a:pt x="926" y="392"/>
                  <a:pt x="926" y="391"/>
                </a:cubicBezTo>
                <a:cubicBezTo>
                  <a:pt x="926" y="391"/>
                  <a:pt x="924" y="391"/>
                  <a:pt x="924" y="391"/>
                </a:cubicBezTo>
                <a:cubicBezTo>
                  <a:pt x="923" y="391"/>
                  <a:pt x="922" y="390"/>
                  <a:pt x="921" y="390"/>
                </a:cubicBezTo>
                <a:cubicBezTo>
                  <a:pt x="920" y="389"/>
                  <a:pt x="919" y="389"/>
                  <a:pt x="919" y="389"/>
                </a:cubicBezTo>
                <a:cubicBezTo>
                  <a:pt x="918" y="389"/>
                  <a:pt x="918" y="389"/>
                  <a:pt x="918" y="389"/>
                </a:cubicBezTo>
                <a:cubicBezTo>
                  <a:pt x="918" y="389"/>
                  <a:pt x="917" y="389"/>
                  <a:pt x="917" y="390"/>
                </a:cubicBezTo>
                <a:cubicBezTo>
                  <a:pt x="917" y="390"/>
                  <a:pt x="917" y="390"/>
                  <a:pt x="916" y="390"/>
                </a:cubicBezTo>
                <a:cubicBezTo>
                  <a:pt x="916" y="390"/>
                  <a:pt x="916" y="391"/>
                  <a:pt x="915" y="391"/>
                </a:cubicBezTo>
                <a:cubicBezTo>
                  <a:pt x="915" y="391"/>
                  <a:pt x="915" y="391"/>
                  <a:pt x="915" y="391"/>
                </a:cubicBezTo>
                <a:cubicBezTo>
                  <a:pt x="914" y="391"/>
                  <a:pt x="914" y="391"/>
                  <a:pt x="913" y="392"/>
                </a:cubicBezTo>
                <a:cubicBezTo>
                  <a:pt x="913" y="393"/>
                  <a:pt x="912" y="395"/>
                  <a:pt x="911" y="395"/>
                </a:cubicBezTo>
                <a:cubicBezTo>
                  <a:pt x="911" y="396"/>
                  <a:pt x="911" y="397"/>
                  <a:pt x="912" y="397"/>
                </a:cubicBezTo>
                <a:cubicBezTo>
                  <a:pt x="913" y="398"/>
                  <a:pt x="912" y="398"/>
                  <a:pt x="913" y="398"/>
                </a:cubicBezTo>
                <a:cubicBezTo>
                  <a:pt x="913" y="400"/>
                  <a:pt x="911" y="401"/>
                  <a:pt x="910" y="402"/>
                </a:cubicBezTo>
                <a:cubicBezTo>
                  <a:pt x="910" y="403"/>
                  <a:pt x="910" y="403"/>
                  <a:pt x="909" y="403"/>
                </a:cubicBezTo>
                <a:cubicBezTo>
                  <a:pt x="909" y="404"/>
                  <a:pt x="908" y="403"/>
                  <a:pt x="907" y="403"/>
                </a:cubicBezTo>
                <a:cubicBezTo>
                  <a:pt x="906" y="403"/>
                  <a:pt x="904" y="403"/>
                  <a:pt x="903" y="402"/>
                </a:cubicBezTo>
                <a:cubicBezTo>
                  <a:pt x="902" y="402"/>
                  <a:pt x="900" y="402"/>
                  <a:pt x="900" y="401"/>
                </a:cubicBezTo>
                <a:cubicBezTo>
                  <a:pt x="900" y="401"/>
                  <a:pt x="899" y="401"/>
                  <a:pt x="899" y="401"/>
                </a:cubicBezTo>
                <a:cubicBezTo>
                  <a:pt x="898" y="401"/>
                  <a:pt x="898" y="401"/>
                  <a:pt x="897" y="401"/>
                </a:cubicBezTo>
                <a:cubicBezTo>
                  <a:pt x="897" y="400"/>
                  <a:pt x="896" y="400"/>
                  <a:pt x="896" y="400"/>
                </a:cubicBezTo>
                <a:cubicBezTo>
                  <a:pt x="895" y="400"/>
                  <a:pt x="894" y="400"/>
                  <a:pt x="894" y="400"/>
                </a:cubicBezTo>
                <a:cubicBezTo>
                  <a:pt x="893" y="399"/>
                  <a:pt x="893" y="399"/>
                  <a:pt x="892" y="399"/>
                </a:cubicBezTo>
                <a:cubicBezTo>
                  <a:pt x="891" y="398"/>
                  <a:pt x="891" y="397"/>
                  <a:pt x="890" y="396"/>
                </a:cubicBezTo>
                <a:cubicBezTo>
                  <a:pt x="889" y="395"/>
                  <a:pt x="888" y="395"/>
                  <a:pt x="888" y="394"/>
                </a:cubicBezTo>
                <a:cubicBezTo>
                  <a:pt x="888" y="393"/>
                  <a:pt x="887" y="393"/>
                  <a:pt x="886" y="393"/>
                </a:cubicBezTo>
                <a:cubicBezTo>
                  <a:pt x="886" y="393"/>
                  <a:pt x="885" y="393"/>
                  <a:pt x="885" y="393"/>
                </a:cubicBezTo>
                <a:cubicBezTo>
                  <a:pt x="885" y="392"/>
                  <a:pt x="885" y="392"/>
                  <a:pt x="884" y="392"/>
                </a:cubicBezTo>
                <a:cubicBezTo>
                  <a:pt x="883" y="392"/>
                  <a:pt x="883" y="392"/>
                  <a:pt x="883" y="391"/>
                </a:cubicBezTo>
                <a:cubicBezTo>
                  <a:pt x="882" y="391"/>
                  <a:pt x="882" y="391"/>
                  <a:pt x="882" y="391"/>
                </a:cubicBezTo>
                <a:cubicBezTo>
                  <a:pt x="881" y="391"/>
                  <a:pt x="881" y="390"/>
                  <a:pt x="880" y="390"/>
                </a:cubicBezTo>
                <a:cubicBezTo>
                  <a:pt x="880" y="390"/>
                  <a:pt x="879" y="390"/>
                  <a:pt x="879" y="390"/>
                </a:cubicBezTo>
                <a:cubicBezTo>
                  <a:pt x="879" y="389"/>
                  <a:pt x="877" y="390"/>
                  <a:pt x="877" y="390"/>
                </a:cubicBezTo>
                <a:cubicBezTo>
                  <a:pt x="876" y="390"/>
                  <a:pt x="876" y="390"/>
                  <a:pt x="875" y="390"/>
                </a:cubicBezTo>
                <a:cubicBezTo>
                  <a:pt x="874" y="390"/>
                  <a:pt x="874" y="390"/>
                  <a:pt x="874" y="390"/>
                </a:cubicBezTo>
                <a:cubicBezTo>
                  <a:pt x="874" y="390"/>
                  <a:pt x="874" y="389"/>
                  <a:pt x="874" y="389"/>
                </a:cubicBezTo>
                <a:cubicBezTo>
                  <a:pt x="873" y="389"/>
                  <a:pt x="873" y="389"/>
                  <a:pt x="873" y="388"/>
                </a:cubicBezTo>
                <a:cubicBezTo>
                  <a:pt x="873" y="388"/>
                  <a:pt x="872" y="388"/>
                  <a:pt x="871" y="388"/>
                </a:cubicBezTo>
                <a:cubicBezTo>
                  <a:pt x="871" y="388"/>
                  <a:pt x="871" y="388"/>
                  <a:pt x="871" y="388"/>
                </a:cubicBezTo>
                <a:cubicBezTo>
                  <a:pt x="871" y="387"/>
                  <a:pt x="870" y="387"/>
                  <a:pt x="870" y="387"/>
                </a:cubicBezTo>
                <a:cubicBezTo>
                  <a:pt x="870" y="387"/>
                  <a:pt x="870" y="387"/>
                  <a:pt x="870" y="387"/>
                </a:cubicBezTo>
                <a:cubicBezTo>
                  <a:pt x="870" y="386"/>
                  <a:pt x="869" y="385"/>
                  <a:pt x="868" y="385"/>
                </a:cubicBezTo>
                <a:cubicBezTo>
                  <a:pt x="868" y="386"/>
                  <a:pt x="867" y="384"/>
                  <a:pt x="867" y="384"/>
                </a:cubicBezTo>
                <a:cubicBezTo>
                  <a:pt x="867" y="384"/>
                  <a:pt x="866" y="384"/>
                  <a:pt x="866" y="383"/>
                </a:cubicBezTo>
                <a:cubicBezTo>
                  <a:pt x="865" y="383"/>
                  <a:pt x="866" y="382"/>
                  <a:pt x="866" y="382"/>
                </a:cubicBezTo>
                <a:cubicBezTo>
                  <a:pt x="866" y="382"/>
                  <a:pt x="866" y="381"/>
                  <a:pt x="866" y="381"/>
                </a:cubicBezTo>
                <a:cubicBezTo>
                  <a:pt x="866" y="381"/>
                  <a:pt x="867" y="380"/>
                  <a:pt x="867" y="380"/>
                </a:cubicBezTo>
                <a:cubicBezTo>
                  <a:pt x="867" y="379"/>
                  <a:pt x="868" y="379"/>
                  <a:pt x="868" y="378"/>
                </a:cubicBezTo>
                <a:cubicBezTo>
                  <a:pt x="868" y="377"/>
                  <a:pt x="868" y="377"/>
                  <a:pt x="869" y="377"/>
                </a:cubicBezTo>
                <a:cubicBezTo>
                  <a:pt x="869" y="376"/>
                  <a:pt x="869" y="375"/>
                  <a:pt x="868" y="374"/>
                </a:cubicBezTo>
                <a:cubicBezTo>
                  <a:pt x="869" y="374"/>
                  <a:pt x="869" y="373"/>
                  <a:pt x="869" y="372"/>
                </a:cubicBezTo>
                <a:cubicBezTo>
                  <a:pt x="869" y="372"/>
                  <a:pt x="868" y="373"/>
                  <a:pt x="867" y="372"/>
                </a:cubicBezTo>
                <a:cubicBezTo>
                  <a:pt x="867" y="372"/>
                  <a:pt x="867" y="371"/>
                  <a:pt x="867" y="370"/>
                </a:cubicBezTo>
                <a:cubicBezTo>
                  <a:pt x="867" y="369"/>
                  <a:pt x="868" y="369"/>
                  <a:pt x="869" y="368"/>
                </a:cubicBezTo>
                <a:cubicBezTo>
                  <a:pt x="869" y="367"/>
                  <a:pt x="870" y="367"/>
                  <a:pt x="870" y="367"/>
                </a:cubicBezTo>
                <a:cubicBezTo>
                  <a:pt x="870" y="366"/>
                  <a:pt x="871" y="365"/>
                  <a:pt x="871" y="364"/>
                </a:cubicBezTo>
                <a:cubicBezTo>
                  <a:pt x="870" y="364"/>
                  <a:pt x="868" y="364"/>
                  <a:pt x="868" y="365"/>
                </a:cubicBezTo>
                <a:cubicBezTo>
                  <a:pt x="867" y="365"/>
                  <a:pt x="866" y="364"/>
                  <a:pt x="866" y="362"/>
                </a:cubicBezTo>
                <a:cubicBezTo>
                  <a:pt x="864" y="363"/>
                  <a:pt x="865" y="362"/>
                  <a:pt x="864" y="362"/>
                </a:cubicBezTo>
                <a:cubicBezTo>
                  <a:pt x="863" y="362"/>
                  <a:pt x="864" y="362"/>
                  <a:pt x="863" y="362"/>
                </a:cubicBezTo>
                <a:cubicBezTo>
                  <a:pt x="863" y="362"/>
                  <a:pt x="862" y="362"/>
                  <a:pt x="862" y="362"/>
                </a:cubicBezTo>
                <a:cubicBezTo>
                  <a:pt x="862" y="363"/>
                  <a:pt x="862" y="363"/>
                  <a:pt x="861" y="363"/>
                </a:cubicBezTo>
                <a:cubicBezTo>
                  <a:pt x="861" y="363"/>
                  <a:pt x="861" y="363"/>
                  <a:pt x="861" y="363"/>
                </a:cubicBezTo>
                <a:cubicBezTo>
                  <a:pt x="860" y="363"/>
                  <a:pt x="860" y="364"/>
                  <a:pt x="859" y="364"/>
                </a:cubicBezTo>
                <a:cubicBezTo>
                  <a:pt x="858" y="364"/>
                  <a:pt x="857" y="364"/>
                  <a:pt x="856" y="364"/>
                </a:cubicBezTo>
                <a:cubicBezTo>
                  <a:pt x="856" y="364"/>
                  <a:pt x="856" y="364"/>
                  <a:pt x="856" y="363"/>
                </a:cubicBezTo>
                <a:cubicBezTo>
                  <a:pt x="856" y="364"/>
                  <a:pt x="855" y="364"/>
                  <a:pt x="854" y="364"/>
                </a:cubicBezTo>
                <a:cubicBezTo>
                  <a:pt x="854" y="363"/>
                  <a:pt x="854" y="364"/>
                  <a:pt x="853" y="363"/>
                </a:cubicBezTo>
                <a:cubicBezTo>
                  <a:pt x="852" y="363"/>
                  <a:pt x="852" y="363"/>
                  <a:pt x="852" y="364"/>
                </a:cubicBezTo>
                <a:cubicBezTo>
                  <a:pt x="852" y="365"/>
                  <a:pt x="851" y="365"/>
                  <a:pt x="851" y="365"/>
                </a:cubicBezTo>
                <a:cubicBezTo>
                  <a:pt x="850" y="364"/>
                  <a:pt x="849" y="363"/>
                  <a:pt x="848" y="363"/>
                </a:cubicBezTo>
                <a:cubicBezTo>
                  <a:pt x="847" y="363"/>
                  <a:pt x="846" y="363"/>
                  <a:pt x="846" y="364"/>
                </a:cubicBezTo>
                <a:cubicBezTo>
                  <a:pt x="845" y="364"/>
                  <a:pt x="844" y="364"/>
                  <a:pt x="844" y="364"/>
                </a:cubicBezTo>
                <a:cubicBezTo>
                  <a:pt x="844" y="364"/>
                  <a:pt x="843" y="364"/>
                  <a:pt x="843" y="364"/>
                </a:cubicBezTo>
                <a:cubicBezTo>
                  <a:pt x="842" y="364"/>
                  <a:pt x="842" y="365"/>
                  <a:pt x="841" y="364"/>
                </a:cubicBezTo>
                <a:cubicBezTo>
                  <a:pt x="840" y="363"/>
                  <a:pt x="839" y="365"/>
                  <a:pt x="838" y="364"/>
                </a:cubicBezTo>
                <a:cubicBezTo>
                  <a:pt x="837" y="363"/>
                  <a:pt x="834" y="364"/>
                  <a:pt x="833" y="364"/>
                </a:cubicBezTo>
                <a:cubicBezTo>
                  <a:pt x="833" y="365"/>
                  <a:pt x="833" y="365"/>
                  <a:pt x="832" y="365"/>
                </a:cubicBezTo>
                <a:cubicBezTo>
                  <a:pt x="832" y="365"/>
                  <a:pt x="832" y="365"/>
                  <a:pt x="832" y="365"/>
                </a:cubicBezTo>
                <a:cubicBezTo>
                  <a:pt x="830" y="365"/>
                  <a:pt x="826" y="364"/>
                  <a:pt x="825" y="365"/>
                </a:cubicBezTo>
                <a:cubicBezTo>
                  <a:pt x="824" y="366"/>
                  <a:pt x="823" y="365"/>
                  <a:pt x="822" y="367"/>
                </a:cubicBezTo>
                <a:cubicBezTo>
                  <a:pt x="822" y="367"/>
                  <a:pt x="822" y="367"/>
                  <a:pt x="822" y="367"/>
                </a:cubicBezTo>
                <a:cubicBezTo>
                  <a:pt x="821" y="368"/>
                  <a:pt x="822" y="368"/>
                  <a:pt x="821" y="368"/>
                </a:cubicBezTo>
                <a:cubicBezTo>
                  <a:pt x="820" y="368"/>
                  <a:pt x="820" y="368"/>
                  <a:pt x="819" y="368"/>
                </a:cubicBezTo>
                <a:cubicBezTo>
                  <a:pt x="818" y="368"/>
                  <a:pt x="818" y="369"/>
                  <a:pt x="817" y="369"/>
                </a:cubicBezTo>
                <a:cubicBezTo>
                  <a:pt x="817" y="369"/>
                  <a:pt x="817" y="369"/>
                  <a:pt x="817" y="370"/>
                </a:cubicBezTo>
                <a:cubicBezTo>
                  <a:pt x="816" y="370"/>
                  <a:pt x="815" y="369"/>
                  <a:pt x="815" y="369"/>
                </a:cubicBezTo>
                <a:cubicBezTo>
                  <a:pt x="814" y="371"/>
                  <a:pt x="813" y="370"/>
                  <a:pt x="812" y="370"/>
                </a:cubicBezTo>
                <a:cubicBezTo>
                  <a:pt x="812" y="370"/>
                  <a:pt x="812" y="371"/>
                  <a:pt x="811" y="371"/>
                </a:cubicBezTo>
                <a:cubicBezTo>
                  <a:pt x="811" y="371"/>
                  <a:pt x="811" y="371"/>
                  <a:pt x="811" y="372"/>
                </a:cubicBezTo>
                <a:cubicBezTo>
                  <a:pt x="811" y="372"/>
                  <a:pt x="811" y="372"/>
                  <a:pt x="811" y="372"/>
                </a:cubicBezTo>
                <a:cubicBezTo>
                  <a:pt x="810" y="373"/>
                  <a:pt x="810" y="374"/>
                  <a:pt x="808" y="374"/>
                </a:cubicBezTo>
                <a:cubicBezTo>
                  <a:pt x="808" y="374"/>
                  <a:pt x="807" y="373"/>
                  <a:pt x="807" y="374"/>
                </a:cubicBezTo>
                <a:cubicBezTo>
                  <a:pt x="807" y="374"/>
                  <a:pt x="807" y="374"/>
                  <a:pt x="807" y="374"/>
                </a:cubicBezTo>
                <a:cubicBezTo>
                  <a:pt x="806" y="374"/>
                  <a:pt x="807" y="374"/>
                  <a:pt x="807" y="374"/>
                </a:cubicBezTo>
                <a:cubicBezTo>
                  <a:pt x="806" y="374"/>
                  <a:pt x="805" y="374"/>
                  <a:pt x="804" y="374"/>
                </a:cubicBezTo>
                <a:cubicBezTo>
                  <a:pt x="804" y="373"/>
                  <a:pt x="804" y="374"/>
                  <a:pt x="804" y="373"/>
                </a:cubicBezTo>
                <a:cubicBezTo>
                  <a:pt x="804" y="373"/>
                  <a:pt x="804" y="373"/>
                  <a:pt x="804" y="372"/>
                </a:cubicBezTo>
                <a:cubicBezTo>
                  <a:pt x="803" y="373"/>
                  <a:pt x="802" y="373"/>
                  <a:pt x="802" y="373"/>
                </a:cubicBezTo>
                <a:cubicBezTo>
                  <a:pt x="802" y="374"/>
                  <a:pt x="801" y="373"/>
                  <a:pt x="801" y="374"/>
                </a:cubicBezTo>
                <a:cubicBezTo>
                  <a:pt x="800" y="374"/>
                  <a:pt x="799" y="374"/>
                  <a:pt x="797" y="374"/>
                </a:cubicBezTo>
                <a:cubicBezTo>
                  <a:pt x="797" y="375"/>
                  <a:pt x="793" y="374"/>
                  <a:pt x="793" y="373"/>
                </a:cubicBezTo>
                <a:cubicBezTo>
                  <a:pt x="792" y="372"/>
                  <a:pt x="791" y="371"/>
                  <a:pt x="791" y="370"/>
                </a:cubicBezTo>
                <a:cubicBezTo>
                  <a:pt x="791" y="370"/>
                  <a:pt x="790" y="370"/>
                  <a:pt x="790" y="370"/>
                </a:cubicBezTo>
                <a:cubicBezTo>
                  <a:pt x="790" y="371"/>
                  <a:pt x="789" y="371"/>
                  <a:pt x="789" y="371"/>
                </a:cubicBezTo>
                <a:cubicBezTo>
                  <a:pt x="788" y="372"/>
                  <a:pt x="788" y="372"/>
                  <a:pt x="788" y="373"/>
                </a:cubicBezTo>
                <a:cubicBezTo>
                  <a:pt x="787" y="375"/>
                  <a:pt x="788" y="373"/>
                  <a:pt x="787" y="374"/>
                </a:cubicBezTo>
                <a:cubicBezTo>
                  <a:pt x="787" y="374"/>
                  <a:pt x="787" y="374"/>
                  <a:pt x="787" y="375"/>
                </a:cubicBezTo>
                <a:cubicBezTo>
                  <a:pt x="786" y="375"/>
                  <a:pt x="786" y="375"/>
                  <a:pt x="786" y="376"/>
                </a:cubicBezTo>
                <a:cubicBezTo>
                  <a:pt x="786" y="376"/>
                  <a:pt x="786" y="377"/>
                  <a:pt x="786" y="377"/>
                </a:cubicBezTo>
                <a:cubicBezTo>
                  <a:pt x="786" y="378"/>
                  <a:pt x="786" y="377"/>
                  <a:pt x="786" y="377"/>
                </a:cubicBezTo>
                <a:cubicBezTo>
                  <a:pt x="786" y="378"/>
                  <a:pt x="785" y="379"/>
                  <a:pt x="785" y="379"/>
                </a:cubicBezTo>
                <a:cubicBezTo>
                  <a:pt x="785" y="380"/>
                  <a:pt x="785" y="380"/>
                  <a:pt x="784" y="380"/>
                </a:cubicBezTo>
                <a:cubicBezTo>
                  <a:pt x="784" y="381"/>
                  <a:pt x="784" y="381"/>
                  <a:pt x="784" y="382"/>
                </a:cubicBezTo>
                <a:cubicBezTo>
                  <a:pt x="784" y="382"/>
                  <a:pt x="782" y="383"/>
                  <a:pt x="782" y="383"/>
                </a:cubicBezTo>
                <a:cubicBezTo>
                  <a:pt x="782" y="383"/>
                  <a:pt x="782" y="383"/>
                  <a:pt x="781" y="384"/>
                </a:cubicBezTo>
                <a:cubicBezTo>
                  <a:pt x="781" y="384"/>
                  <a:pt x="781" y="384"/>
                  <a:pt x="781" y="384"/>
                </a:cubicBezTo>
                <a:cubicBezTo>
                  <a:pt x="781" y="384"/>
                  <a:pt x="780" y="384"/>
                  <a:pt x="780" y="384"/>
                </a:cubicBezTo>
                <a:cubicBezTo>
                  <a:pt x="780" y="384"/>
                  <a:pt x="780" y="385"/>
                  <a:pt x="780" y="385"/>
                </a:cubicBezTo>
                <a:cubicBezTo>
                  <a:pt x="779" y="385"/>
                  <a:pt x="778" y="385"/>
                  <a:pt x="778" y="385"/>
                </a:cubicBezTo>
                <a:cubicBezTo>
                  <a:pt x="778" y="386"/>
                  <a:pt x="778" y="386"/>
                  <a:pt x="778" y="386"/>
                </a:cubicBezTo>
                <a:cubicBezTo>
                  <a:pt x="777" y="386"/>
                  <a:pt x="776" y="385"/>
                  <a:pt x="776" y="386"/>
                </a:cubicBezTo>
                <a:cubicBezTo>
                  <a:pt x="775" y="387"/>
                  <a:pt x="775" y="386"/>
                  <a:pt x="774" y="387"/>
                </a:cubicBezTo>
                <a:cubicBezTo>
                  <a:pt x="774" y="389"/>
                  <a:pt x="772" y="389"/>
                  <a:pt x="772" y="390"/>
                </a:cubicBezTo>
                <a:cubicBezTo>
                  <a:pt x="772" y="391"/>
                  <a:pt x="772" y="391"/>
                  <a:pt x="772" y="392"/>
                </a:cubicBezTo>
                <a:cubicBezTo>
                  <a:pt x="772" y="392"/>
                  <a:pt x="772" y="393"/>
                  <a:pt x="772" y="393"/>
                </a:cubicBezTo>
                <a:cubicBezTo>
                  <a:pt x="771" y="393"/>
                  <a:pt x="771" y="393"/>
                  <a:pt x="771" y="393"/>
                </a:cubicBezTo>
                <a:cubicBezTo>
                  <a:pt x="771" y="394"/>
                  <a:pt x="771" y="394"/>
                  <a:pt x="770" y="395"/>
                </a:cubicBezTo>
                <a:cubicBezTo>
                  <a:pt x="770" y="395"/>
                  <a:pt x="770" y="395"/>
                  <a:pt x="770" y="395"/>
                </a:cubicBezTo>
                <a:cubicBezTo>
                  <a:pt x="770" y="396"/>
                  <a:pt x="770" y="397"/>
                  <a:pt x="770" y="397"/>
                </a:cubicBezTo>
                <a:cubicBezTo>
                  <a:pt x="770" y="398"/>
                  <a:pt x="769" y="398"/>
                  <a:pt x="769" y="398"/>
                </a:cubicBezTo>
                <a:cubicBezTo>
                  <a:pt x="769" y="399"/>
                  <a:pt x="769" y="399"/>
                  <a:pt x="769" y="399"/>
                </a:cubicBezTo>
                <a:cubicBezTo>
                  <a:pt x="769" y="400"/>
                  <a:pt x="769" y="401"/>
                  <a:pt x="769" y="401"/>
                </a:cubicBezTo>
                <a:cubicBezTo>
                  <a:pt x="770" y="402"/>
                  <a:pt x="770" y="402"/>
                  <a:pt x="770" y="403"/>
                </a:cubicBezTo>
                <a:cubicBezTo>
                  <a:pt x="770" y="404"/>
                  <a:pt x="771" y="405"/>
                  <a:pt x="770" y="406"/>
                </a:cubicBezTo>
                <a:cubicBezTo>
                  <a:pt x="770" y="406"/>
                  <a:pt x="770" y="407"/>
                  <a:pt x="770" y="407"/>
                </a:cubicBezTo>
                <a:cubicBezTo>
                  <a:pt x="769" y="407"/>
                  <a:pt x="769" y="408"/>
                  <a:pt x="769" y="408"/>
                </a:cubicBezTo>
                <a:cubicBezTo>
                  <a:pt x="769" y="409"/>
                  <a:pt x="768" y="409"/>
                  <a:pt x="768" y="410"/>
                </a:cubicBezTo>
                <a:cubicBezTo>
                  <a:pt x="768" y="411"/>
                  <a:pt x="767" y="411"/>
                  <a:pt x="767" y="412"/>
                </a:cubicBezTo>
                <a:cubicBezTo>
                  <a:pt x="767" y="412"/>
                  <a:pt x="767" y="412"/>
                  <a:pt x="767" y="412"/>
                </a:cubicBezTo>
                <a:cubicBezTo>
                  <a:pt x="766" y="414"/>
                  <a:pt x="765" y="415"/>
                  <a:pt x="763" y="415"/>
                </a:cubicBezTo>
                <a:cubicBezTo>
                  <a:pt x="762" y="416"/>
                  <a:pt x="762" y="417"/>
                  <a:pt x="761" y="418"/>
                </a:cubicBezTo>
                <a:cubicBezTo>
                  <a:pt x="760" y="418"/>
                  <a:pt x="759" y="418"/>
                  <a:pt x="759" y="419"/>
                </a:cubicBezTo>
                <a:cubicBezTo>
                  <a:pt x="759" y="420"/>
                  <a:pt x="758" y="419"/>
                  <a:pt x="757" y="420"/>
                </a:cubicBezTo>
                <a:cubicBezTo>
                  <a:pt x="757" y="421"/>
                  <a:pt x="757" y="421"/>
                  <a:pt x="757" y="422"/>
                </a:cubicBezTo>
                <a:cubicBezTo>
                  <a:pt x="756" y="422"/>
                  <a:pt x="755" y="421"/>
                  <a:pt x="755" y="421"/>
                </a:cubicBezTo>
                <a:cubicBezTo>
                  <a:pt x="754" y="421"/>
                  <a:pt x="754" y="422"/>
                  <a:pt x="753" y="423"/>
                </a:cubicBezTo>
                <a:cubicBezTo>
                  <a:pt x="753" y="423"/>
                  <a:pt x="752" y="424"/>
                  <a:pt x="752" y="424"/>
                </a:cubicBezTo>
                <a:cubicBezTo>
                  <a:pt x="752" y="424"/>
                  <a:pt x="752" y="425"/>
                  <a:pt x="752" y="425"/>
                </a:cubicBezTo>
                <a:cubicBezTo>
                  <a:pt x="752" y="425"/>
                  <a:pt x="752" y="425"/>
                  <a:pt x="752" y="426"/>
                </a:cubicBezTo>
                <a:cubicBezTo>
                  <a:pt x="752" y="427"/>
                  <a:pt x="751" y="426"/>
                  <a:pt x="751" y="427"/>
                </a:cubicBezTo>
                <a:cubicBezTo>
                  <a:pt x="750" y="428"/>
                  <a:pt x="750" y="428"/>
                  <a:pt x="749" y="429"/>
                </a:cubicBezTo>
                <a:cubicBezTo>
                  <a:pt x="749" y="429"/>
                  <a:pt x="748" y="429"/>
                  <a:pt x="748" y="430"/>
                </a:cubicBezTo>
                <a:cubicBezTo>
                  <a:pt x="748" y="430"/>
                  <a:pt x="748" y="430"/>
                  <a:pt x="748" y="430"/>
                </a:cubicBezTo>
                <a:cubicBezTo>
                  <a:pt x="747" y="431"/>
                  <a:pt x="747" y="432"/>
                  <a:pt x="747" y="432"/>
                </a:cubicBezTo>
                <a:cubicBezTo>
                  <a:pt x="747" y="433"/>
                  <a:pt x="747" y="433"/>
                  <a:pt x="747" y="433"/>
                </a:cubicBezTo>
                <a:cubicBezTo>
                  <a:pt x="746" y="433"/>
                  <a:pt x="747" y="434"/>
                  <a:pt x="747" y="434"/>
                </a:cubicBezTo>
                <a:cubicBezTo>
                  <a:pt x="747" y="434"/>
                  <a:pt x="746" y="435"/>
                  <a:pt x="746" y="435"/>
                </a:cubicBezTo>
                <a:cubicBezTo>
                  <a:pt x="746" y="435"/>
                  <a:pt x="746" y="435"/>
                  <a:pt x="746" y="435"/>
                </a:cubicBezTo>
                <a:cubicBezTo>
                  <a:pt x="746" y="435"/>
                  <a:pt x="745" y="437"/>
                  <a:pt x="745" y="437"/>
                </a:cubicBezTo>
                <a:cubicBezTo>
                  <a:pt x="745" y="438"/>
                  <a:pt x="745" y="438"/>
                  <a:pt x="745" y="438"/>
                </a:cubicBezTo>
                <a:cubicBezTo>
                  <a:pt x="745" y="438"/>
                  <a:pt x="744" y="438"/>
                  <a:pt x="744" y="438"/>
                </a:cubicBezTo>
                <a:cubicBezTo>
                  <a:pt x="744" y="440"/>
                  <a:pt x="744" y="439"/>
                  <a:pt x="743" y="441"/>
                </a:cubicBezTo>
                <a:cubicBezTo>
                  <a:pt x="743" y="442"/>
                  <a:pt x="742" y="441"/>
                  <a:pt x="742" y="442"/>
                </a:cubicBezTo>
                <a:cubicBezTo>
                  <a:pt x="742" y="442"/>
                  <a:pt x="742" y="442"/>
                  <a:pt x="742" y="442"/>
                </a:cubicBezTo>
                <a:cubicBezTo>
                  <a:pt x="742" y="443"/>
                  <a:pt x="742" y="443"/>
                  <a:pt x="741" y="443"/>
                </a:cubicBezTo>
                <a:cubicBezTo>
                  <a:pt x="741" y="444"/>
                  <a:pt x="742" y="444"/>
                  <a:pt x="741" y="444"/>
                </a:cubicBezTo>
                <a:cubicBezTo>
                  <a:pt x="741" y="444"/>
                  <a:pt x="741" y="445"/>
                  <a:pt x="741" y="445"/>
                </a:cubicBezTo>
                <a:cubicBezTo>
                  <a:pt x="740" y="445"/>
                  <a:pt x="740" y="446"/>
                  <a:pt x="740" y="447"/>
                </a:cubicBezTo>
                <a:cubicBezTo>
                  <a:pt x="739" y="447"/>
                  <a:pt x="739" y="447"/>
                  <a:pt x="739" y="448"/>
                </a:cubicBezTo>
                <a:cubicBezTo>
                  <a:pt x="739" y="448"/>
                  <a:pt x="739" y="449"/>
                  <a:pt x="739" y="449"/>
                </a:cubicBezTo>
                <a:cubicBezTo>
                  <a:pt x="738" y="449"/>
                  <a:pt x="738" y="450"/>
                  <a:pt x="738" y="451"/>
                </a:cubicBezTo>
                <a:cubicBezTo>
                  <a:pt x="738" y="452"/>
                  <a:pt x="738" y="452"/>
                  <a:pt x="737" y="452"/>
                </a:cubicBezTo>
                <a:cubicBezTo>
                  <a:pt x="736" y="452"/>
                  <a:pt x="736" y="453"/>
                  <a:pt x="736" y="453"/>
                </a:cubicBezTo>
                <a:cubicBezTo>
                  <a:pt x="736" y="453"/>
                  <a:pt x="736" y="454"/>
                  <a:pt x="736" y="455"/>
                </a:cubicBezTo>
                <a:cubicBezTo>
                  <a:pt x="735" y="455"/>
                  <a:pt x="736" y="456"/>
                  <a:pt x="735" y="456"/>
                </a:cubicBezTo>
                <a:cubicBezTo>
                  <a:pt x="735" y="456"/>
                  <a:pt x="735" y="458"/>
                  <a:pt x="735" y="458"/>
                </a:cubicBezTo>
                <a:cubicBezTo>
                  <a:pt x="736" y="458"/>
                  <a:pt x="736" y="459"/>
                  <a:pt x="737" y="459"/>
                </a:cubicBezTo>
                <a:cubicBezTo>
                  <a:pt x="737" y="460"/>
                  <a:pt x="737" y="460"/>
                  <a:pt x="737" y="461"/>
                </a:cubicBezTo>
                <a:cubicBezTo>
                  <a:pt x="738" y="461"/>
                  <a:pt x="738" y="461"/>
                  <a:pt x="738" y="461"/>
                </a:cubicBezTo>
                <a:cubicBezTo>
                  <a:pt x="738" y="462"/>
                  <a:pt x="738" y="461"/>
                  <a:pt x="738" y="462"/>
                </a:cubicBezTo>
                <a:cubicBezTo>
                  <a:pt x="738" y="462"/>
                  <a:pt x="738" y="463"/>
                  <a:pt x="738" y="463"/>
                </a:cubicBezTo>
                <a:cubicBezTo>
                  <a:pt x="737" y="464"/>
                  <a:pt x="738" y="464"/>
                  <a:pt x="738" y="464"/>
                </a:cubicBezTo>
                <a:cubicBezTo>
                  <a:pt x="738" y="466"/>
                  <a:pt x="738" y="466"/>
                  <a:pt x="737" y="467"/>
                </a:cubicBezTo>
                <a:cubicBezTo>
                  <a:pt x="737" y="467"/>
                  <a:pt x="737" y="468"/>
                  <a:pt x="737" y="469"/>
                </a:cubicBezTo>
                <a:cubicBezTo>
                  <a:pt x="737" y="469"/>
                  <a:pt x="738" y="470"/>
                  <a:pt x="738" y="470"/>
                </a:cubicBezTo>
                <a:cubicBezTo>
                  <a:pt x="739" y="470"/>
                  <a:pt x="738" y="471"/>
                  <a:pt x="739" y="471"/>
                </a:cubicBezTo>
                <a:cubicBezTo>
                  <a:pt x="739" y="472"/>
                  <a:pt x="739" y="473"/>
                  <a:pt x="739" y="474"/>
                </a:cubicBezTo>
                <a:cubicBezTo>
                  <a:pt x="739" y="475"/>
                  <a:pt x="738" y="475"/>
                  <a:pt x="739" y="476"/>
                </a:cubicBezTo>
                <a:cubicBezTo>
                  <a:pt x="740" y="477"/>
                  <a:pt x="739" y="476"/>
                  <a:pt x="739" y="477"/>
                </a:cubicBezTo>
                <a:cubicBezTo>
                  <a:pt x="739" y="478"/>
                  <a:pt x="739" y="479"/>
                  <a:pt x="739" y="481"/>
                </a:cubicBezTo>
                <a:cubicBezTo>
                  <a:pt x="738" y="481"/>
                  <a:pt x="739" y="481"/>
                  <a:pt x="739" y="482"/>
                </a:cubicBezTo>
                <a:cubicBezTo>
                  <a:pt x="739" y="482"/>
                  <a:pt x="738" y="482"/>
                  <a:pt x="738" y="482"/>
                </a:cubicBezTo>
                <a:cubicBezTo>
                  <a:pt x="738" y="482"/>
                  <a:pt x="738" y="483"/>
                  <a:pt x="738" y="483"/>
                </a:cubicBezTo>
                <a:cubicBezTo>
                  <a:pt x="738" y="483"/>
                  <a:pt x="738" y="484"/>
                  <a:pt x="738" y="484"/>
                </a:cubicBezTo>
                <a:cubicBezTo>
                  <a:pt x="737" y="485"/>
                  <a:pt x="738" y="482"/>
                  <a:pt x="737" y="485"/>
                </a:cubicBezTo>
                <a:cubicBezTo>
                  <a:pt x="737" y="486"/>
                  <a:pt x="737" y="486"/>
                  <a:pt x="737" y="487"/>
                </a:cubicBezTo>
                <a:cubicBezTo>
                  <a:pt x="738" y="487"/>
                  <a:pt x="737" y="489"/>
                  <a:pt x="737" y="489"/>
                </a:cubicBezTo>
                <a:cubicBezTo>
                  <a:pt x="737" y="490"/>
                  <a:pt x="736" y="491"/>
                  <a:pt x="736" y="491"/>
                </a:cubicBezTo>
                <a:cubicBezTo>
                  <a:pt x="736" y="492"/>
                  <a:pt x="735" y="492"/>
                  <a:pt x="735" y="493"/>
                </a:cubicBezTo>
                <a:cubicBezTo>
                  <a:pt x="735" y="494"/>
                  <a:pt x="734" y="494"/>
                  <a:pt x="733" y="494"/>
                </a:cubicBezTo>
                <a:cubicBezTo>
                  <a:pt x="734" y="495"/>
                  <a:pt x="734" y="495"/>
                  <a:pt x="734" y="495"/>
                </a:cubicBezTo>
                <a:cubicBezTo>
                  <a:pt x="735" y="495"/>
                  <a:pt x="735" y="497"/>
                  <a:pt x="735" y="497"/>
                </a:cubicBezTo>
                <a:cubicBezTo>
                  <a:pt x="735" y="498"/>
                  <a:pt x="735" y="499"/>
                  <a:pt x="736" y="500"/>
                </a:cubicBezTo>
                <a:cubicBezTo>
                  <a:pt x="737" y="500"/>
                  <a:pt x="737" y="501"/>
                  <a:pt x="737" y="502"/>
                </a:cubicBezTo>
                <a:cubicBezTo>
                  <a:pt x="737" y="502"/>
                  <a:pt x="737" y="502"/>
                  <a:pt x="736" y="502"/>
                </a:cubicBezTo>
                <a:cubicBezTo>
                  <a:pt x="736" y="503"/>
                  <a:pt x="736" y="504"/>
                  <a:pt x="737" y="504"/>
                </a:cubicBezTo>
                <a:cubicBezTo>
                  <a:pt x="738" y="505"/>
                  <a:pt x="737" y="505"/>
                  <a:pt x="737" y="505"/>
                </a:cubicBezTo>
                <a:cubicBezTo>
                  <a:pt x="737" y="506"/>
                  <a:pt x="737" y="507"/>
                  <a:pt x="738" y="507"/>
                </a:cubicBezTo>
                <a:cubicBezTo>
                  <a:pt x="738" y="508"/>
                  <a:pt x="738" y="508"/>
                  <a:pt x="739" y="509"/>
                </a:cubicBezTo>
                <a:cubicBezTo>
                  <a:pt x="739" y="509"/>
                  <a:pt x="740" y="509"/>
                  <a:pt x="740" y="509"/>
                </a:cubicBezTo>
                <a:cubicBezTo>
                  <a:pt x="741" y="509"/>
                  <a:pt x="740" y="510"/>
                  <a:pt x="741" y="510"/>
                </a:cubicBezTo>
                <a:cubicBezTo>
                  <a:pt x="741" y="510"/>
                  <a:pt x="742" y="510"/>
                  <a:pt x="742" y="510"/>
                </a:cubicBezTo>
                <a:cubicBezTo>
                  <a:pt x="742" y="510"/>
                  <a:pt x="742" y="511"/>
                  <a:pt x="742" y="511"/>
                </a:cubicBezTo>
                <a:cubicBezTo>
                  <a:pt x="743" y="511"/>
                  <a:pt x="742" y="512"/>
                  <a:pt x="742" y="512"/>
                </a:cubicBezTo>
                <a:cubicBezTo>
                  <a:pt x="742" y="513"/>
                  <a:pt x="744" y="513"/>
                  <a:pt x="744" y="514"/>
                </a:cubicBezTo>
                <a:cubicBezTo>
                  <a:pt x="745" y="514"/>
                  <a:pt x="744" y="514"/>
                  <a:pt x="745" y="514"/>
                </a:cubicBezTo>
                <a:cubicBezTo>
                  <a:pt x="745" y="514"/>
                  <a:pt x="745" y="514"/>
                  <a:pt x="746" y="515"/>
                </a:cubicBezTo>
                <a:cubicBezTo>
                  <a:pt x="746" y="515"/>
                  <a:pt x="746" y="516"/>
                  <a:pt x="747" y="516"/>
                </a:cubicBezTo>
                <a:cubicBezTo>
                  <a:pt x="748" y="516"/>
                  <a:pt x="747" y="517"/>
                  <a:pt x="747" y="517"/>
                </a:cubicBezTo>
                <a:cubicBezTo>
                  <a:pt x="747" y="517"/>
                  <a:pt x="747" y="518"/>
                  <a:pt x="747" y="518"/>
                </a:cubicBezTo>
                <a:cubicBezTo>
                  <a:pt x="748" y="518"/>
                  <a:pt x="748" y="519"/>
                  <a:pt x="748" y="519"/>
                </a:cubicBezTo>
                <a:cubicBezTo>
                  <a:pt x="748" y="519"/>
                  <a:pt x="749" y="519"/>
                  <a:pt x="750" y="520"/>
                </a:cubicBezTo>
                <a:cubicBezTo>
                  <a:pt x="749" y="521"/>
                  <a:pt x="749" y="522"/>
                  <a:pt x="749" y="523"/>
                </a:cubicBezTo>
                <a:cubicBezTo>
                  <a:pt x="750" y="522"/>
                  <a:pt x="750" y="523"/>
                  <a:pt x="750" y="523"/>
                </a:cubicBezTo>
                <a:cubicBezTo>
                  <a:pt x="750" y="525"/>
                  <a:pt x="750" y="524"/>
                  <a:pt x="751" y="525"/>
                </a:cubicBezTo>
                <a:cubicBezTo>
                  <a:pt x="752" y="525"/>
                  <a:pt x="752" y="525"/>
                  <a:pt x="752" y="526"/>
                </a:cubicBezTo>
                <a:cubicBezTo>
                  <a:pt x="752" y="527"/>
                  <a:pt x="752" y="527"/>
                  <a:pt x="752" y="528"/>
                </a:cubicBezTo>
                <a:cubicBezTo>
                  <a:pt x="752" y="528"/>
                  <a:pt x="752" y="529"/>
                  <a:pt x="752" y="529"/>
                </a:cubicBezTo>
                <a:cubicBezTo>
                  <a:pt x="753" y="529"/>
                  <a:pt x="753" y="529"/>
                  <a:pt x="753" y="529"/>
                </a:cubicBezTo>
                <a:cubicBezTo>
                  <a:pt x="753" y="530"/>
                  <a:pt x="754" y="529"/>
                  <a:pt x="754" y="530"/>
                </a:cubicBezTo>
                <a:cubicBezTo>
                  <a:pt x="754" y="530"/>
                  <a:pt x="753" y="530"/>
                  <a:pt x="753" y="531"/>
                </a:cubicBezTo>
                <a:cubicBezTo>
                  <a:pt x="753" y="531"/>
                  <a:pt x="752" y="530"/>
                  <a:pt x="752" y="531"/>
                </a:cubicBezTo>
                <a:cubicBezTo>
                  <a:pt x="752" y="531"/>
                  <a:pt x="754" y="532"/>
                  <a:pt x="755" y="532"/>
                </a:cubicBezTo>
                <a:cubicBezTo>
                  <a:pt x="755" y="532"/>
                  <a:pt x="755" y="533"/>
                  <a:pt x="755" y="533"/>
                </a:cubicBezTo>
                <a:cubicBezTo>
                  <a:pt x="755" y="534"/>
                  <a:pt x="756" y="534"/>
                  <a:pt x="756" y="535"/>
                </a:cubicBezTo>
                <a:cubicBezTo>
                  <a:pt x="757" y="535"/>
                  <a:pt x="757" y="537"/>
                  <a:pt x="757" y="537"/>
                </a:cubicBezTo>
                <a:cubicBezTo>
                  <a:pt x="758" y="537"/>
                  <a:pt x="758" y="537"/>
                  <a:pt x="758" y="538"/>
                </a:cubicBezTo>
                <a:cubicBezTo>
                  <a:pt x="759" y="538"/>
                  <a:pt x="759" y="538"/>
                  <a:pt x="759" y="538"/>
                </a:cubicBezTo>
                <a:cubicBezTo>
                  <a:pt x="761" y="538"/>
                  <a:pt x="761" y="538"/>
                  <a:pt x="761" y="539"/>
                </a:cubicBezTo>
                <a:cubicBezTo>
                  <a:pt x="762" y="540"/>
                  <a:pt x="762" y="541"/>
                  <a:pt x="763" y="541"/>
                </a:cubicBezTo>
                <a:cubicBezTo>
                  <a:pt x="764" y="541"/>
                  <a:pt x="763" y="541"/>
                  <a:pt x="763" y="542"/>
                </a:cubicBezTo>
                <a:cubicBezTo>
                  <a:pt x="763" y="542"/>
                  <a:pt x="764" y="542"/>
                  <a:pt x="764" y="542"/>
                </a:cubicBezTo>
                <a:cubicBezTo>
                  <a:pt x="764" y="543"/>
                  <a:pt x="764" y="543"/>
                  <a:pt x="765" y="543"/>
                </a:cubicBezTo>
                <a:cubicBezTo>
                  <a:pt x="766" y="543"/>
                  <a:pt x="766" y="543"/>
                  <a:pt x="766" y="544"/>
                </a:cubicBezTo>
                <a:cubicBezTo>
                  <a:pt x="767" y="544"/>
                  <a:pt x="768" y="544"/>
                  <a:pt x="768" y="545"/>
                </a:cubicBezTo>
                <a:cubicBezTo>
                  <a:pt x="769" y="546"/>
                  <a:pt x="769" y="546"/>
                  <a:pt x="770" y="546"/>
                </a:cubicBezTo>
                <a:cubicBezTo>
                  <a:pt x="770" y="546"/>
                  <a:pt x="770" y="547"/>
                  <a:pt x="770" y="547"/>
                </a:cubicBezTo>
                <a:cubicBezTo>
                  <a:pt x="771" y="548"/>
                  <a:pt x="772" y="549"/>
                  <a:pt x="772" y="549"/>
                </a:cubicBezTo>
                <a:cubicBezTo>
                  <a:pt x="773" y="549"/>
                  <a:pt x="773" y="550"/>
                  <a:pt x="774" y="550"/>
                </a:cubicBezTo>
                <a:cubicBezTo>
                  <a:pt x="774" y="550"/>
                  <a:pt x="774" y="551"/>
                  <a:pt x="775" y="551"/>
                </a:cubicBezTo>
                <a:cubicBezTo>
                  <a:pt x="775" y="551"/>
                  <a:pt x="776" y="551"/>
                  <a:pt x="776" y="551"/>
                </a:cubicBezTo>
                <a:cubicBezTo>
                  <a:pt x="776" y="552"/>
                  <a:pt x="778" y="553"/>
                  <a:pt x="779" y="553"/>
                </a:cubicBezTo>
                <a:cubicBezTo>
                  <a:pt x="781" y="553"/>
                  <a:pt x="784" y="551"/>
                  <a:pt x="786" y="550"/>
                </a:cubicBezTo>
                <a:cubicBezTo>
                  <a:pt x="787" y="549"/>
                  <a:pt x="787" y="548"/>
                  <a:pt x="788" y="548"/>
                </a:cubicBezTo>
                <a:cubicBezTo>
                  <a:pt x="790" y="548"/>
                  <a:pt x="792" y="548"/>
                  <a:pt x="793" y="548"/>
                </a:cubicBezTo>
                <a:cubicBezTo>
                  <a:pt x="794" y="548"/>
                  <a:pt x="794" y="548"/>
                  <a:pt x="795" y="548"/>
                </a:cubicBezTo>
                <a:cubicBezTo>
                  <a:pt x="795" y="548"/>
                  <a:pt x="795" y="548"/>
                  <a:pt x="795" y="548"/>
                </a:cubicBezTo>
                <a:cubicBezTo>
                  <a:pt x="796" y="549"/>
                  <a:pt x="797" y="549"/>
                  <a:pt x="797" y="549"/>
                </a:cubicBezTo>
                <a:cubicBezTo>
                  <a:pt x="798" y="549"/>
                  <a:pt x="798" y="550"/>
                  <a:pt x="798" y="550"/>
                </a:cubicBezTo>
                <a:cubicBezTo>
                  <a:pt x="798" y="550"/>
                  <a:pt x="799" y="550"/>
                  <a:pt x="799" y="550"/>
                </a:cubicBezTo>
                <a:cubicBezTo>
                  <a:pt x="799" y="550"/>
                  <a:pt x="802" y="550"/>
                  <a:pt x="802" y="549"/>
                </a:cubicBezTo>
                <a:cubicBezTo>
                  <a:pt x="802" y="549"/>
                  <a:pt x="805" y="548"/>
                  <a:pt x="806" y="548"/>
                </a:cubicBezTo>
                <a:cubicBezTo>
                  <a:pt x="806" y="548"/>
                  <a:pt x="806" y="548"/>
                  <a:pt x="807" y="548"/>
                </a:cubicBezTo>
                <a:cubicBezTo>
                  <a:pt x="808" y="548"/>
                  <a:pt x="808" y="548"/>
                  <a:pt x="809" y="547"/>
                </a:cubicBezTo>
                <a:cubicBezTo>
                  <a:pt x="809" y="546"/>
                  <a:pt x="810" y="547"/>
                  <a:pt x="810" y="547"/>
                </a:cubicBezTo>
                <a:cubicBezTo>
                  <a:pt x="811" y="547"/>
                  <a:pt x="810" y="546"/>
                  <a:pt x="810" y="546"/>
                </a:cubicBezTo>
                <a:cubicBezTo>
                  <a:pt x="811" y="546"/>
                  <a:pt x="811" y="546"/>
                  <a:pt x="811" y="546"/>
                </a:cubicBezTo>
                <a:cubicBezTo>
                  <a:pt x="812" y="546"/>
                  <a:pt x="813" y="546"/>
                  <a:pt x="814" y="546"/>
                </a:cubicBezTo>
                <a:cubicBezTo>
                  <a:pt x="814" y="546"/>
                  <a:pt x="815" y="546"/>
                  <a:pt x="815" y="546"/>
                </a:cubicBezTo>
                <a:cubicBezTo>
                  <a:pt x="815" y="546"/>
                  <a:pt x="815" y="546"/>
                  <a:pt x="815" y="546"/>
                </a:cubicBezTo>
                <a:cubicBezTo>
                  <a:pt x="816" y="545"/>
                  <a:pt x="816" y="546"/>
                  <a:pt x="817" y="545"/>
                </a:cubicBezTo>
                <a:cubicBezTo>
                  <a:pt x="817" y="545"/>
                  <a:pt x="818" y="545"/>
                  <a:pt x="819" y="545"/>
                </a:cubicBezTo>
                <a:cubicBezTo>
                  <a:pt x="819" y="544"/>
                  <a:pt x="819" y="543"/>
                  <a:pt x="819" y="543"/>
                </a:cubicBezTo>
                <a:cubicBezTo>
                  <a:pt x="818" y="542"/>
                  <a:pt x="818" y="542"/>
                  <a:pt x="818" y="542"/>
                </a:cubicBezTo>
                <a:cubicBezTo>
                  <a:pt x="818" y="542"/>
                  <a:pt x="818" y="542"/>
                  <a:pt x="819" y="542"/>
                </a:cubicBezTo>
                <a:cubicBezTo>
                  <a:pt x="820" y="542"/>
                  <a:pt x="819" y="543"/>
                  <a:pt x="820" y="543"/>
                </a:cubicBezTo>
                <a:cubicBezTo>
                  <a:pt x="820" y="544"/>
                  <a:pt x="820" y="544"/>
                  <a:pt x="821" y="544"/>
                </a:cubicBezTo>
                <a:cubicBezTo>
                  <a:pt x="821" y="543"/>
                  <a:pt x="822" y="542"/>
                  <a:pt x="822" y="542"/>
                </a:cubicBezTo>
                <a:cubicBezTo>
                  <a:pt x="822" y="542"/>
                  <a:pt x="823" y="543"/>
                  <a:pt x="823" y="543"/>
                </a:cubicBezTo>
                <a:cubicBezTo>
                  <a:pt x="822" y="544"/>
                  <a:pt x="821" y="544"/>
                  <a:pt x="822" y="544"/>
                </a:cubicBezTo>
                <a:cubicBezTo>
                  <a:pt x="822" y="544"/>
                  <a:pt x="824" y="544"/>
                  <a:pt x="823" y="543"/>
                </a:cubicBezTo>
                <a:cubicBezTo>
                  <a:pt x="824" y="543"/>
                  <a:pt x="824" y="543"/>
                  <a:pt x="824" y="543"/>
                </a:cubicBezTo>
                <a:cubicBezTo>
                  <a:pt x="824" y="543"/>
                  <a:pt x="825" y="543"/>
                  <a:pt x="825" y="543"/>
                </a:cubicBezTo>
                <a:cubicBezTo>
                  <a:pt x="825" y="543"/>
                  <a:pt x="826" y="542"/>
                  <a:pt x="826" y="541"/>
                </a:cubicBezTo>
                <a:cubicBezTo>
                  <a:pt x="827" y="541"/>
                  <a:pt x="829" y="541"/>
                  <a:pt x="830" y="541"/>
                </a:cubicBezTo>
                <a:cubicBezTo>
                  <a:pt x="830" y="540"/>
                  <a:pt x="830" y="540"/>
                  <a:pt x="831" y="540"/>
                </a:cubicBezTo>
                <a:cubicBezTo>
                  <a:pt x="831" y="540"/>
                  <a:pt x="831" y="540"/>
                  <a:pt x="831" y="540"/>
                </a:cubicBezTo>
                <a:cubicBezTo>
                  <a:pt x="831" y="539"/>
                  <a:pt x="833" y="539"/>
                  <a:pt x="833" y="540"/>
                </a:cubicBezTo>
                <a:cubicBezTo>
                  <a:pt x="833" y="540"/>
                  <a:pt x="832" y="540"/>
                  <a:pt x="832" y="540"/>
                </a:cubicBezTo>
                <a:cubicBezTo>
                  <a:pt x="832" y="541"/>
                  <a:pt x="833" y="541"/>
                  <a:pt x="833" y="541"/>
                </a:cubicBezTo>
                <a:cubicBezTo>
                  <a:pt x="834" y="541"/>
                  <a:pt x="836" y="541"/>
                  <a:pt x="837" y="541"/>
                </a:cubicBezTo>
                <a:cubicBezTo>
                  <a:pt x="837" y="541"/>
                  <a:pt x="837" y="541"/>
                  <a:pt x="838" y="541"/>
                </a:cubicBezTo>
                <a:cubicBezTo>
                  <a:pt x="838" y="542"/>
                  <a:pt x="839" y="542"/>
                  <a:pt x="839" y="542"/>
                </a:cubicBezTo>
                <a:cubicBezTo>
                  <a:pt x="839" y="543"/>
                  <a:pt x="839" y="543"/>
                  <a:pt x="840" y="543"/>
                </a:cubicBezTo>
                <a:cubicBezTo>
                  <a:pt x="841" y="543"/>
                  <a:pt x="842" y="543"/>
                  <a:pt x="842" y="544"/>
                </a:cubicBezTo>
                <a:cubicBezTo>
                  <a:pt x="842" y="544"/>
                  <a:pt x="842" y="545"/>
                  <a:pt x="842" y="545"/>
                </a:cubicBezTo>
                <a:cubicBezTo>
                  <a:pt x="843" y="545"/>
                  <a:pt x="843" y="546"/>
                  <a:pt x="844" y="547"/>
                </a:cubicBezTo>
                <a:cubicBezTo>
                  <a:pt x="843" y="547"/>
                  <a:pt x="843" y="548"/>
                  <a:pt x="842" y="548"/>
                </a:cubicBezTo>
                <a:cubicBezTo>
                  <a:pt x="842" y="548"/>
                  <a:pt x="842" y="549"/>
                  <a:pt x="842" y="549"/>
                </a:cubicBezTo>
                <a:cubicBezTo>
                  <a:pt x="843" y="549"/>
                  <a:pt x="843" y="549"/>
                  <a:pt x="843" y="549"/>
                </a:cubicBezTo>
                <a:cubicBezTo>
                  <a:pt x="843" y="549"/>
                  <a:pt x="843" y="550"/>
                  <a:pt x="843" y="550"/>
                </a:cubicBezTo>
                <a:cubicBezTo>
                  <a:pt x="843" y="550"/>
                  <a:pt x="843" y="550"/>
                  <a:pt x="843" y="550"/>
                </a:cubicBezTo>
                <a:cubicBezTo>
                  <a:pt x="843" y="551"/>
                  <a:pt x="845" y="552"/>
                  <a:pt x="845" y="553"/>
                </a:cubicBezTo>
                <a:cubicBezTo>
                  <a:pt x="846" y="553"/>
                  <a:pt x="849" y="553"/>
                  <a:pt x="849" y="552"/>
                </a:cubicBezTo>
                <a:cubicBezTo>
                  <a:pt x="849" y="552"/>
                  <a:pt x="851" y="552"/>
                  <a:pt x="851" y="551"/>
                </a:cubicBezTo>
                <a:cubicBezTo>
                  <a:pt x="851" y="551"/>
                  <a:pt x="852" y="552"/>
                  <a:pt x="852" y="551"/>
                </a:cubicBezTo>
                <a:cubicBezTo>
                  <a:pt x="852" y="550"/>
                  <a:pt x="853" y="551"/>
                  <a:pt x="853" y="550"/>
                </a:cubicBezTo>
                <a:cubicBezTo>
                  <a:pt x="854" y="550"/>
                  <a:pt x="855" y="550"/>
                  <a:pt x="855" y="550"/>
                </a:cubicBezTo>
                <a:cubicBezTo>
                  <a:pt x="855" y="551"/>
                  <a:pt x="855" y="551"/>
                  <a:pt x="855" y="551"/>
                </a:cubicBezTo>
                <a:cubicBezTo>
                  <a:pt x="856" y="551"/>
                  <a:pt x="856" y="551"/>
                  <a:pt x="856" y="551"/>
                </a:cubicBezTo>
                <a:cubicBezTo>
                  <a:pt x="856" y="549"/>
                  <a:pt x="857" y="551"/>
                  <a:pt x="857" y="551"/>
                </a:cubicBezTo>
                <a:cubicBezTo>
                  <a:pt x="858" y="551"/>
                  <a:pt x="858" y="550"/>
                  <a:pt x="859" y="550"/>
                </a:cubicBezTo>
                <a:cubicBezTo>
                  <a:pt x="859" y="551"/>
                  <a:pt x="859" y="552"/>
                  <a:pt x="859" y="553"/>
                </a:cubicBezTo>
                <a:cubicBezTo>
                  <a:pt x="859" y="553"/>
                  <a:pt x="860" y="554"/>
                  <a:pt x="861" y="553"/>
                </a:cubicBezTo>
                <a:cubicBezTo>
                  <a:pt x="861" y="553"/>
                  <a:pt x="862" y="552"/>
                  <a:pt x="863" y="553"/>
                </a:cubicBezTo>
                <a:cubicBezTo>
                  <a:pt x="863" y="553"/>
                  <a:pt x="862" y="554"/>
                  <a:pt x="862" y="553"/>
                </a:cubicBezTo>
                <a:cubicBezTo>
                  <a:pt x="862" y="554"/>
                  <a:pt x="862" y="554"/>
                  <a:pt x="862" y="555"/>
                </a:cubicBezTo>
                <a:cubicBezTo>
                  <a:pt x="862" y="555"/>
                  <a:pt x="862" y="555"/>
                  <a:pt x="862" y="555"/>
                </a:cubicBezTo>
                <a:cubicBezTo>
                  <a:pt x="862" y="556"/>
                  <a:pt x="862" y="556"/>
                  <a:pt x="862" y="556"/>
                </a:cubicBezTo>
                <a:cubicBezTo>
                  <a:pt x="862" y="557"/>
                  <a:pt x="863" y="557"/>
                  <a:pt x="863" y="557"/>
                </a:cubicBezTo>
                <a:cubicBezTo>
                  <a:pt x="863" y="558"/>
                  <a:pt x="863" y="558"/>
                  <a:pt x="864" y="558"/>
                </a:cubicBezTo>
                <a:cubicBezTo>
                  <a:pt x="864" y="559"/>
                  <a:pt x="863" y="559"/>
                  <a:pt x="863" y="559"/>
                </a:cubicBezTo>
                <a:cubicBezTo>
                  <a:pt x="863" y="560"/>
                  <a:pt x="863" y="560"/>
                  <a:pt x="863" y="561"/>
                </a:cubicBezTo>
                <a:cubicBezTo>
                  <a:pt x="863" y="561"/>
                  <a:pt x="863" y="561"/>
                  <a:pt x="863" y="561"/>
                </a:cubicBezTo>
                <a:cubicBezTo>
                  <a:pt x="863" y="562"/>
                  <a:pt x="863" y="563"/>
                  <a:pt x="863" y="563"/>
                </a:cubicBezTo>
                <a:cubicBezTo>
                  <a:pt x="862" y="564"/>
                  <a:pt x="862" y="564"/>
                  <a:pt x="863" y="565"/>
                </a:cubicBezTo>
                <a:cubicBezTo>
                  <a:pt x="863" y="566"/>
                  <a:pt x="862" y="566"/>
                  <a:pt x="862" y="567"/>
                </a:cubicBezTo>
                <a:cubicBezTo>
                  <a:pt x="862" y="568"/>
                  <a:pt x="861" y="569"/>
                  <a:pt x="861" y="570"/>
                </a:cubicBezTo>
                <a:cubicBezTo>
                  <a:pt x="862" y="571"/>
                  <a:pt x="862" y="573"/>
                  <a:pt x="862" y="574"/>
                </a:cubicBezTo>
                <a:cubicBezTo>
                  <a:pt x="862" y="574"/>
                  <a:pt x="860" y="574"/>
                  <a:pt x="860" y="574"/>
                </a:cubicBezTo>
                <a:cubicBezTo>
                  <a:pt x="860" y="575"/>
                  <a:pt x="861" y="575"/>
                  <a:pt x="862" y="576"/>
                </a:cubicBezTo>
                <a:cubicBezTo>
                  <a:pt x="861" y="576"/>
                  <a:pt x="861" y="576"/>
                  <a:pt x="860" y="576"/>
                </a:cubicBezTo>
                <a:cubicBezTo>
                  <a:pt x="861" y="577"/>
                  <a:pt x="860" y="578"/>
                  <a:pt x="860" y="580"/>
                </a:cubicBezTo>
                <a:cubicBezTo>
                  <a:pt x="860" y="580"/>
                  <a:pt x="859" y="582"/>
                  <a:pt x="859" y="582"/>
                </a:cubicBezTo>
                <a:cubicBezTo>
                  <a:pt x="859" y="582"/>
                  <a:pt x="858" y="582"/>
                  <a:pt x="858" y="582"/>
                </a:cubicBezTo>
                <a:cubicBezTo>
                  <a:pt x="858" y="582"/>
                  <a:pt x="858" y="583"/>
                  <a:pt x="858" y="583"/>
                </a:cubicBezTo>
                <a:cubicBezTo>
                  <a:pt x="858" y="583"/>
                  <a:pt x="858" y="583"/>
                  <a:pt x="858" y="583"/>
                </a:cubicBezTo>
                <a:cubicBezTo>
                  <a:pt x="859" y="583"/>
                  <a:pt x="859" y="583"/>
                  <a:pt x="859" y="583"/>
                </a:cubicBezTo>
                <a:cubicBezTo>
                  <a:pt x="859" y="584"/>
                  <a:pt x="859" y="584"/>
                  <a:pt x="859" y="585"/>
                </a:cubicBezTo>
                <a:cubicBezTo>
                  <a:pt x="860" y="585"/>
                  <a:pt x="860" y="585"/>
                  <a:pt x="861" y="585"/>
                </a:cubicBezTo>
                <a:cubicBezTo>
                  <a:pt x="861" y="585"/>
                  <a:pt x="861" y="586"/>
                  <a:pt x="861" y="586"/>
                </a:cubicBezTo>
                <a:cubicBezTo>
                  <a:pt x="861" y="586"/>
                  <a:pt x="862" y="586"/>
                  <a:pt x="862" y="587"/>
                </a:cubicBezTo>
                <a:cubicBezTo>
                  <a:pt x="862" y="587"/>
                  <a:pt x="860" y="587"/>
                  <a:pt x="860" y="587"/>
                </a:cubicBezTo>
                <a:cubicBezTo>
                  <a:pt x="860" y="588"/>
                  <a:pt x="861" y="588"/>
                  <a:pt x="862" y="589"/>
                </a:cubicBezTo>
                <a:cubicBezTo>
                  <a:pt x="862" y="589"/>
                  <a:pt x="862" y="589"/>
                  <a:pt x="862" y="589"/>
                </a:cubicBezTo>
                <a:cubicBezTo>
                  <a:pt x="862" y="589"/>
                  <a:pt x="862" y="589"/>
                  <a:pt x="862" y="589"/>
                </a:cubicBezTo>
                <a:cubicBezTo>
                  <a:pt x="863" y="589"/>
                  <a:pt x="863" y="590"/>
                  <a:pt x="863" y="590"/>
                </a:cubicBezTo>
                <a:cubicBezTo>
                  <a:pt x="863" y="591"/>
                  <a:pt x="864" y="591"/>
                  <a:pt x="864" y="591"/>
                </a:cubicBezTo>
                <a:cubicBezTo>
                  <a:pt x="865" y="592"/>
                  <a:pt x="865" y="593"/>
                  <a:pt x="866" y="593"/>
                </a:cubicBezTo>
                <a:cubicBezTo>
                  <a:pt x="867" y="593"/>
                  <a:pt x="867" y="593"/>
                  <a:pt x="867" y="594"/>
                </a:cubicBezTo>
                <a:cubicBezTo>
                  <a:pt x="868" y="594"/>
                  <a:pt x="868" y="595"/>
                  <a:pt x="867" y="596"/>
                </a:cubicBezTo>
                <a:cubicBezTo>
                  <a:pt x="868" y="596"/>
                  <a:pt x="868" y="596"/>
                  <a:pt x="868" y="596"/>
                </a:cubicBezTo>
                <a:cubicBezTo>
                  <a:pt x="868" y="597"/>
                  <a:pt x="868" y="597"/>
                  <a:pt x="869" y="597"/>
                </a:cubicBezTo>
                <a:cubicBezTo>
                  <a:pt x="869" y="598"/>
                  <a:pt x="870" y="598"/>
                  <a:pt x="871" y="598"/>
                </a:cubicBezTo>
                <a:cubicBezTo>
                  <a:pt x="871" y="599"/>
                  <a:pt x="871" y="599"/>
                  <a:pt x="872" y="599"/>
                </a:cubicBezTo>
                <a:cubicBezTo>
                  <a:pt x="872" y="599"/>
                  <a:pt x="871" y="601"/>
                  <a:pt x="872" y="601"/>
                </a:cubicBezTo>
                <a:cubicBezTo>
                  <a:pt x="872" y="601"/>
                  <a:pt x="873" y="603"/>
                  <a:pt x="873" y="603"/>
                </a:cubicBezTo>
                <a:cubicBezTo>
                  <a:pt x="873" y="603"/>
                  <a:pt x="874" y="603"/>
                  <a:pt x="874" y="603"/>
                </a:cubicBezTo>
                <a:cubicBezTo>
                  <a:pt x="874" y="604"/>
                  <a:pt x="874" y="604"/>
                  <a:pt x="874" y="604"/>
                </a:cubicBezTo>
                <a:cubicBezTo>
                  <a:pt x="875" y="604"/>
                  <a:pt x="875" y="605"/>
                  <a:pt x="875" y="605"/>
                </a:cubicBezTo>
                <a:cubicBezTo>
                  <a:pt x="874" y="605"/>
                  <a:pt x="874" y="605"/>
                  <a:pt x="874" y="606"/>
                </a:cubicBezTo>
                <a:cubicBezTo>
                  <a:pt x="874" y="606"/>
                  <a:pt x="874" y="606"/>
                  <a:pt x="874" y="606"/>
                </a:cubicBezTo>
                <a:cubicBezTo>
                  <a:pt x="875" y="607"/>
                  <a:pt x="874" y="607"/>
                  <a:pt x="875" y="607"/>
                </a:cubicBezTo>
                <a:cubicBezTo>
                  <a:pt x="876" y="608"/>
                  <a:pt x="876" y="608"/>
                  <a:pt x="875" y="609"/>
                </a:cubicBezTo>
                <a:cubicBezTo>
                  <a:pt x="876" y="609"/>
                  <a:pt x="876" y="611"/>
                  <a:pt x="876" y="611"/>
                </a:cubicBezTo>
                <a:cubicBezTo>
                  <a:pt x="876" y="612"/>
                  <a:pt x="877" y="611"/>
                  <a:pt x="877" y="612"/>
                </a:cubicBezTo>
                <a:cubicBezTo>
                  <a:pt x="877" y="612"/>
                  <a:pt x="877" y="612"/>
                  <a:pt x="877" y="613"/>
                </a:cubicBezTo>
                <a:cubicBezTo>
                  <a:pt x="877" y="614"/>
                  <a:pt x="877" y="613"/>
                  <a:pt x="877" y="614"/>
                </a:cubicBezTo>
                <a:cubicBezTo>
                  <a:pt x="878" y="615"/>
                  <a:pt x="879" y="616"/>
                  <a:pt x="879" y="617"/>
                </a:cubicBezTo>
                <a:cubicBezTo>
                  <a:pt x="879" y="618"/>
                  <a:pt x="879" y="619"/>
                  <a:pt x="880" y="620"/>
                </a:cubicBezTo>
                <a:cubicBezTo>
                  <a:pt x="880" y="620"/>
                  <a:pt x="879" y="620"/>
                  <a:pt x="880" y="620"/>
                </a:cubicBezTo>
                <a:cubicBezTo>
                  <a:pt x="880" y="621"/>
                  <a:pt x="880" y="622"/>
                  <a:pt x="880" y="622"/>
                </a:cubicBezTo>
                <a:cubicBezTo>
                  <a:pt x="881" y="622"/>
                  <a:pt x="881" y="624"/>
                  <a:pt x="880" y="624"/>
                </a:cubicBezTo>
                <a:cubicBezTo>
                  <a:pt x="880" y="624"/>
                  <a:pt x="881" y="625"/>
                  <a:pt x="881" y="625"/>
                </a:cubicBezTo>
                <a:cubicBezTo>
                  <a:pt x="880" y="626"/>
                  <a:pt x="879" y="626"/>
                  <a:pt x="880" y="627"/>
                </a:cubicBezTo>
                <a:cubicBezTo>
                  <a:pt x="880" y="627"/>
                  <a:pt x="880" y="628"/>
                  <a:pt x="880" y="629"/>
                </a:cubicBezTo>
                <a:cubicBezTo>
                  <a:pt x="879" y="629"/>
                  <a:pt x="879" y="630"/>
                  <a:pt x="880" y="630"/>
                </a:cubicBezTo>
                <a:cubicBezTo>
                  <a:pt x="880" y="630"/>
                  <a:pt x="879" y="631"/>
                  <a:pt x="880" y="631"/>
                </a:cubicBezTo>
                <a:cubicBezTo>
                  <a:pt x="880" y="632"/>
                  <a:pt x="880" y="633"/>
                  <a:pt x="880" y="633"/>
                </a:cubicBezTo>
                <a:cubicBezTo>
                  <a:pt x="880" y="634"/>
                  <a:pt x="881" y="634"/>
                  <a:pt x="881" y="635"/>
                </a:cubicBezTo>
                <a:cubicBezTo>
                  <a:pt x="881" y="635"/>
                  <a:pt x="881" y="635"/>
                  <a:pt x="882" y="635"/>
                </a:cubicBezTo>
                <a:cubicBezTo>
                  <a:pt x="882" y="636"/>
                  <a:pt x="882" y="636"/>
                  <a:pt x="882" y="637"/>
                </a:cubicBezTo>
                <a:cubicBezTo>
                  <a:pt x="882" y="637"/>
                  <a:pt x="882" y="637"/>
                  <a:pt x="882" y="638"/>
                </a:cubicBezTo>
                <a:cubicBezTo>
                  <a:pt x="882" y="638"/>
                  <a:pt x="882" y="639"/>
                  <a:pt x="882" y="639"/>
                </a:cubicBezTo>
                <a:cubicBezTo>
                  <a:pt x="882" y="641"/>
                  <a:pt x="882" y="642"/>
                  <a:pt x="882" y="644"/>
                </a:cubicBezTo>
                <a:cubicBezTo>
                  <a:pt x="882" y="644"/>
                  <a:pt x="882" y="644"/>
                  <a:pt x="882" y="644"/>
                </a:cubicBezTo>
                <a:cubicBezTo>
                  <a:pt x="882" y="644"/>
                  <a:pt x="882" y="645"/>
                  <a:pt x="882" y="645"/>
                </a:cubicBezTo>
                <a:cubicBezTo>
                  <a:pt x="882" y="646"/>
                  <a:pt x="881" y="646"/>
                  <a:pt x="881" y="646"/>
                </a:cubicBezTo>
                <a:cubicBezTo>
                  <a:pt x="881" y="647"/>
                  <a:pt x="881" y="647"/>
                  <a:pt x="880" y="647"/>
                </a:cubicBezTo>
                <a:cubicBezTo>
                  <a:pt x="879" y="647"/>
                  <a:pt x="880" y="647"/>
                  <a:pt x="880" y="648"/>
                </a:cubicBezTo>
                <a:cubicBezTo>
                  <a:pt x="879" y="648"/>
                  <a:pt x="879" y="648"/>
                  <a:pt x="879" y="649"/>
                </a:cubicBezTo>
                <a:cubicBezTo>
                  <a:pt x="879" y="650"/>
                  <a:pt x="879" y="650"/>
                  <a:pt x="878" y="650"/>
                </a:cubicBezTo>
                <a:cubicBezTo>
                  <a:pt x="878" y="651"/>
                  <a:pt x="878" y="651"/>
                  <a:pt x="877" y="651"/>
                </a:cubicBezTo>
                <a:cubicBezTo>
                  <a:pt x="877" y="651"/>
                  <a:pt x="877" y="651"/>
                  <a:pt x="877" y="652"/>
                </a:cubicBezTo>
                <a:cubicBezTo>
                  <a:pt x="877" y="653"/>
                  <a:pt x="877" y="655"/>
                  <a:pt x="876" y="655"/>
                </a:cubicBezTo>
                <a:cubicBezTo>
                  <a:pt x="876" y="656"/>
                  <a:pt x="876" y="657"/>
                  <a:pt x="876" y="658"/>
                </a:cubicBezTo>
                <a:cubicBezTo>
                  <a:pt x="876" y="659"/>
                  <a:pt x="875" y="659"/>
                  <a:pt x="875" y="660"/>
                </a:cubicBezTo>
                <a:cubicBezTo>
                  <a:pt x="875" y="661"/>
                  <a:pt x="874" y="661"/>
                  <a:pt x="874" y="662"/>
                </a:cubicBezTo>
                <a:cubicBezTo>
                  <a:pt x="874" y="662"/>
                  <a:pt x="874" y="663"/>
                  <a:pt x="873" y="663"/>
                </a:cubicBezTo>
                <a:cubicBezTo>
                  <a:pt x="873" y="663"/>
                  <a:pt x="872" y="666"/>
                  <a:pt x="872" y="666"/>
                </a:cubicBezTo>
                <a:cubicBezTo>
                  <a:pt x="872" y="668"/>
                  <a:pt x="874" y="670"/>
                  <a:pt x="872" y="671"/>
                </a:cubicBezTo>
                <a:cubicBezTo>
                  <a:pt x="873" y="671"/>
                  <a:pt x="872" y="674"/>
                  <a:pt x="873" y="674"/>
                </a:cubicBezTo>
                <a:cubicBezTo>
                  <a:pt x="873" y="674"/>
                  <a:pt x="873" y="675"/>
                  <a:pt x="872" y="675"/>
                </a:cubicBezTo>
                <a:cubicBezTo>
                  <a:pt x="872" y="676"/>
                  <a:pt x="872" y="676"/>
                  <a:pt x="872" y="677"/>
                </a:cubicBezTo>
                <a:cubicBezTo>
                  <a:pt x="872" y="678"/>
                  <a:pt x="872" y="679"/>
                  <a:pt x="873" y="680"/>
                </a:cubicBezTo>
                <a:cubicBezTo>
                  <a:pt x="873" y="680"/>
                  <a:pt x="874" y="680"/>
                  <a:pt x="874" y="680"/>
                </a:cubicBezTo>
                <a:cubicBezTo>
                  <a:pt x="875" y="681"/>
                  <a:pt x="875" y="682"/>
                  <a:pt x="875" y="682"/>
                </a:cubicBezTo>
                <a:cubicBezTo>
                  <a:pt x="876" y="683"/>
                  <a:pt x="876" y="683"/>
                  <a:pt x="877" y="683"/>
                </a:cubicBezTo>
                <a:cubicBezTo>
                  <a:pt x="877" y="684"/>
                  <a:pt x="877" y="684"/>
                  <a:pt x="878" y="684"/>
                </a:cubicBezTo>
                <a:cubicBezTo>
                  <a:pt x="879" y="685"/>
                  <a:pt x="878" y="686"/>
                  <a:pt x="878" y="687"/>
                </a:cubicBezTo>
                <a:cubicBezTo>
                  <a:pt x="878" y="687"/>
                  <a:pt x="878" y="687"/>
                  <a:pt x="878" y="688"/>
                </a:cubicBezTo>
                <a:cubicBezTo>
                  <a:pt x="878" y="689"/>
                  <a:pt x="878" y="688"/>
                  <a:pt x="878" y="688"/>
                </a:cubicBezTo>
                <a:cubicBezTo>
                  <a:pt x="878" y="689"/>
                  <a:pt x="879" y="691"/>
                  <a:pt x="879" y="692"/>
                </a:cubicBezTo>
                <a:cubicBezTo>
                  <a:pt x="880" y="692"/>
                  <a:pt x="879" y="692"/>
                  <a:pt x="879" y="693"/>
                </a:cubicBezTo>
                <a:cubicBezTo>
                  <a:pt x="880" y="693"/>
                  <a:pt x="880" y="693"/>
                  <a:pt x="880" y="693"/>
                </a:cubicBezTo>
                <a:cubicBezTo>
                  <a:pt x="880" y="693"/>
                  <a:pt x="880" y="694"/>
                  <a:pt x="880" y="694"/>
                </a:cubicBezTo>
                <a:cubicBezTo>
                  <a:pt x="880" y="695"/>
                  <a:pt x="881" y="695"/>
                  <a:pt x="881" y="695"/>
                </a:cubicBezTo>
                <a:cubicBezTo>
                  <a:pt x="882" y="695"/>
                  <a:pt x="882" y="695"/>
                  <a:pt x="882" y="696"/>
                </a:cubicBezTo>
                <a:cubicBezTo>
                  <a:pt x="882" y="696"/>
                  <a:pt x="883" y="696"/>
                  <a:pt x="883" y="696"/>
                </a:cubicBezTo>
                <a:cubicBezTo>
                  <a:pt x="883" y="697"/>
                  <a:pt x="883" y="698"/>
                  <a:pt x="882" y="699"/>
                </a:cubicBezTo>
                <a:cubicBezTo>
                  <a:pt x="883" y="699"/>
                  <a:pt x="883" y="700"/>
                  <a:pt x="884" y="700"/>
                </a:cubicBezTo>
                <a:cubicBezTo>
                  <a:pt x="884" y="701"/>
                  <a:pt x="885" y="701"/>
                  <a:pt x="885" y="702"/>
                </a:cubicBezTo>
                <a:cubicBezTo>
                  <a:pt x="885" y="703"/>
                  <a:pt x="885" y="703"/>
                  <a:pt x="885" y="704"/>
                </a:cubicBezTo>
                <a:cubicBezTo>
                  <a:pt x="885" y="704"/>
                  <a:pt x="886" y="704"/>
                  <a:pt x="886" y="704"/>
                </a:cubicBezTo>
                <a:cubicBezTo>
                  <a:pt x="886" y="704"/>
                  <a:pt x="885" y="704"/>
                  <a:pt x="885" y="704"/>
                </a:cubicBezTo>
                <a:cubicBezTo>
                  <a:pt x="885" y="704"/>
                  <a:pt x="885" y="705"/>
                  <a:pt x="885" y="705"/>
                </a:cubicBezTo>
                <a:cubicBezTo>
                  <a:pt x="886" y="705"/>
                  <a:pt x="885" y="706"/>
                  <a:pt x="885" y="707"/>
                </a:cubicBezTo>
                <a:cubicBezTo>
                  <a:pt x="885" y="708"/>
                  <a:pt x="885" y="708"/>
                  <a:pt x="886" y="709"/>
                </a:cubicBezTo>
                <a:cubicBezTo>
                  <a:pt x="885" y="709"/>
                  <a:pt x="885" y="709"/>
                  <a:pt x="885" y="709"/>
                </a:cubicBezTo>
                <a:cubicBezTo>
                  <a:pt x="885" y="710"/>
                  <a:pt x="885" y="712"/>
                  <a:pt x="886" y="712"/>
                </a:cubicBezTo>
                <a:cubicBezTo>
                  <a:pt x="886" y="712"/>
                  <a:pt x="885" y="714"/>
                  <a:pt x="885" y="714"/>
                </a:cubicBezTo>
                <a:cubicBezTo>
                  <a:pt x="886" y="714"/>
                  <a:pt x="886" y="715"/>
                  <a:pt x="886" y="715"/>
                </a:cubicBezTo>
                <a:cubicBezTo>
                  <a:pt x="886" y="716"/>
                  <a:pt x="887" y="716"/>
                  <a:pt x="887" y="716"/>
                </a:cubicBezTo>
                <a:cubicBezTo>
                  <a:pt x="887" y="717"/>
                  <a:pt x="887" y="717"/>
                  <a:pt x="887" y="718"/>
                </a:cubicBezTo>
                <a:cubicBezTo>
                  <a:pt x="887" y="718"/>
                  <a:pt x="888" y="718"/>
                  <a:pt x="887" y="718"/>
                </a:cubicBezTo>
                <a:cubicBezTo>
                  <a:pt x="887" y="719"/>
                  <a:pt x="887" y="720"/>
                  <a:pt x="887" y="721"/>
                </a:cubicBezTo>
                <a:cubicBezTo>
                  <a:pt x="887" y="722"/>
                  <a:pt x="887" y="721"/>
                  <a:pt x="886" y="722"/>
                </a:cubicBezTo>
                <a:cubicBezTo>
                  <a:pt x="886" y="723"/>
                  <a:pt x="887" y="722"/>
                  <a:pt x="887" y="723"/>
                </a:cubicBezTo>
                <a:cubicBezTo>
                  <a:pt x="887" y="723"/>
                  <a:pt x="887" y="724"/>
                  <a:pt x="887" y="724"/>
                </a:cubicBezTo>
                <a:cubicBezTo>
                  <a:pt x="888" y="725"/>
                  <a:pt x="886" y="725"/>
                  <a:pt x="887" y="726"/>
                </a:cubicBezTo>
                <a:cubicBezTo>
                  <a:pt x="888" y="726"/>
                  <a:pt x="887" y="727"/>
                  <a:pt x="887" y="728"/>
                </a:cubicBezTo>
                <a:cubicBezTo>
                  <a:pt x="887" y="729"/>
                  <a:pt x="888" y="728"/>
                  <a:pt x="888" y="729"/>
                </a:cubicBezTo>
                <a:cubicBezTo>
                  <a:pt x="888" y="729"/>
                  <a:pt x="888" y="730"/>
                  <a:pt x="888" y="730"/>
                </a:cubicBezTo>
                <a:cubicBezTo>
                  <a:pt x="889" y="730"/>
                  <a:pt x="889" y="732"/>
                  <a:pt x="889" y="732"/>
                </a:cubicBezTo>
                <a:cubicBezTo>
                  <a:pt x="889" y="732"/>
                  <a:pt x="889" y="733"/>
                  <a:pt x="890" y="734"/>
                </a:cubicBezTo>
                <a:cubicBezTo>
                  <a:pt x="890" y="734"/>
                  <a:pt x="890" y="735"/>
                  <a:pt x="890" y="735"/>
                </a:cubicBezTo>
                <a:cubicBezTo>
                  <a:pt x="891" y="735"/>
                  <a:pt x="891" y="735"/>
                  <a:pt x="891" y="735"/>
                </a:cubicBezTo>
                <a:cubicBezTo>
                  <a:pt x="891" y="736"/>
                  <a:pt x="891" y="736"/>
                  <a:pt x="892" y="736"/>
                </a:cubicBezTo>
                <a:cubicBezTo>
                  <a:pt x="892" y="736"/>
                  <a:pt x="893" y="736"/>
                  <a:pt x="893" y="736"/>
                </a:cubicBezTo>
                <a:cubicBezTo>
                  <a:pt x="894" y="737"/>
                  <a:pt x="894" y="740"/>
                  <a:pt x="895" y="741"/>
                </a:cubicBezTo>
                <a:cubicBezTo>
                  <a:pt x="896" y="741"/>
                  <a:pt x="896" y="741"/>
                  <a:pt x="896" y="742"/>
                </a:cubicBezTo>
                <a:cubicBezTo>
                  <a:pt x="896" y="743"/>
                  <a:pt x="896" y="741"/>
                  <a:pt x="897" y="743"/>
                </a:cubicBezTo>
                <a:cubicBezTo>
                  <a:pt x="897" y="744"/>
                  <a:pt x="897" y="743"/>
                  <a:pt x="897" y="744"/>
                </a:cubicBezTo>
                <a:cubicBezTo>
                  <a:pt x="896" y="744"/>
                  <a:pt x="897" y="744"/>
                  <a:pt x="897" y="744"/>
                </a:cubicBezTo>
                <a:cubicBezTo>
                  <a:pt x="897" y="744"/>
                  <a:pt x="898" y="745"/>
                  <a:pt x="897" y="745"/>
                </a:cubicBezTo>
                <a:cubicBezTo>
                  <a:pt x="897" y="746"/>
                  <a:pt x="898" y="747"/>
                  <a:pt x="898" y="747"/>
                </a:cubicBezTo>
                <a:cubicBezTo>
                  <a:pt x="898" y="748"/>
                  <a:pt x="898" y="748"/>
                  <a:pt x="898" y="749"/>
                </a:cubicBezTo>
                <a:cubicBezTo>
                  <a:pt x="898" y="749"/>
                  <a:pt x="898" y="749"/>
                  <a:pt x="898" y="749"/>
                </a:cubicBezTo>
                <a:cubicBezTo>
                  <a:pt x="898" y="749"/>
                  <a:pt x="898" y="750"/>
                  <a:pt x="898" y="750"/>
                </a:cubicBezTo>
                <a:cubicBezTo>
                  <a:pt x="899" y="751"/>
                  <a:pt x="899" y="750"/>
                  <a:pt x="899" y="751"/>
                </a:cubicBezTo>
                <a:cubicBezTo>
                  <a:pt x="900" y="751"/>
                  <a:pt x="900" y="752"/>
                  <a:pt x="900" y="753"/>
                </a:cubicBezTo>
                <a:cubicBezTo>
                  <a:pt x="900" y="754"/>
                  <a:pt x="900" y="753"/>
                  <a:pt x="901" y="753"/>
                </a:cubicBezTo>
                <a:cubicBezTo>
                  <a:pt x="901" y="754"/>
                  <a:pt x="900" y="754"/>
                  <a:pt x="901" y="754"/>
                </a:cubicBezTo>
                <a:cubicBezTo>
                  <a:pt x="902" y="754"/>
                  <a:pt x="902" y="758"/>
                  <a:pt x="902" y="759"/>
                </a:cubicBezTo>
                <a:cubicBezTo>
                  <a:pt x="903" y="760"/>
                  <a:pt x="903" y="760"/>
                  <a:pt x="902" y="760"/>
                </a:cubicBezTo>
                <a:cubicBezTo>
                  <a:pt x="901" y="761"/>
                  <a:pt x="902" y="761"/>
                  <a:pt x="902" y="762"/>
                </a:cubicBezTo>
                <a:cubicBezTo>
                  <a:pt x="901" y="762"/>
                  <a:pt x="902" y="762"/>
                  <a:pt x="901" y="763"/>
                </a:cubicBezTo>
                <a:cubicBezTo>
                  <a:pt x="900" y="762"/>
                  <a:pt x="900" y="762"/>
                  <a:pt x="900" y="763"/>
                </a:cubicBezTo>
                <a:cubicBezTo>
                  <a:pt x="900" y="764"/>
                  <a:pt x="900" y="764"/>
                  <a:pt x="901" y="765"/>
                </a:cubicBezTo>
                <a:cubicBezTo>
                  <a:pt x="901" y="766"/>
                  <a:pt x="900" y="766"/>
                  <a:pt x="900" y="766"/>
                </a:cubicBezTo>
                <a:cubicBezTo>
                  <a:pt x="900" y="767"/>
                  <a:pt x="901" y="768"/>
                  <a:pt x="901" y="768"/>
                </a:cubicBezTo>
                <a:cubicBezTo>
                  <a:pt x="902" y="769"/>
                  <a:pt x="902" y="770"/>
                  <a:pt x="901" y="770"/>
                </a:cubicBezTo>
                <a:cubicBezTo>
                  <a:pt x="901" y="771"/>
                  <a:pt x="902" y="773"/>
                  <a:pt x="902" y="773"/>
                </a:cubicBezTo>
                <a:cubicBezTo>
                  <a:pt x="902" y="773"/>
                  <a:pt x="902" y="773"/>
                  <a:pt x="902" y="773"/>
                </a:cubicBezTo>
                <a:cubicBezTo>
                  <a:pt x="902" y="773"/>
                  <a:pt x="903" y="773"/>
                  <a:pt x="903" y="773"/>
                </a:cubicBezTo>
                <a:cubicBezTo>
                  <a:pt x="904" y="773"/>
                  <a:pt x="903" y="772"/>
                  <a:pt x="904" y="772"/>
                </a:cubicBezTo>
                <a:cubicBezTo>
                  <a:pt x="904" y="772"/>
                  <a:pt x="904" y="772"/>
                  <a:pt x="905" y="773"/>
                </a:cubicBezTo>
                <a:cubicBezTo>
                  <a:pt x="905" y="773"/>
                  <a:pt x="905" y="773"/>
                  <a:pt x="905" y="773"/>
                </a:cubicBezTo>
                <a:cubicBezTo>
                  <a:pt x="905" y="773"/>
                  <a:pt x="905" y="773"/>
                  <a:pt x="906" y="773"/>
                </a:cubicBezTo>
                <a:cubicBezTo>
                  <a:pt x="906" y="773"/>
                  <a:pt x="906" y="774"/>
                  <a:pt x="907" y="774"/>
                </a:cubicBezTo>
                <a:cubicBezTo>
                  <a:pt x="908" y="774"/>
                  <a:pt x="908" y="775"/>
                  <a:pt x="909" y="775"/>
                </a:cubicBezTo>
                <a:cubicBezTo>
                  <a:pt x="910" y="774"/>
                  <a:pt x="911" y="774"/>
                  <a:pt x="912" y="773"/>
                </a:cubicBezTo>
                <a:cubicBezTo>
                  <a:pt x="914" y="773"/>
                  <a:pt x="915" y="773"/>
                  <a:pt x="915" y="772"/>
                </a:cubicBezTo>
                <a:cubicBezTo>
                  <a:pt x="916" y="772"/>
                  <a:pt x="918" y="771"/>
                  <a:pt x="919" y="773"/>
                </a:cubicBezTo>
                <a:cubicBezTo>
                  <a:pt x="920" y="772"/>
                  <a:pt x="920" y="772"/>
                  <a:pt x="921" y="772"/>
                </a:cubicBezTo>
                <a:cubicBezTo>
                  <a:pt x="921" y="771"/>
                  <a:pt x="921" y="771"/>
                  <a:pt x="922" y="771"/>
                </a:cubicBezTo>
                <a:cubicBezTo>
                  <a:pt x="922" y="771"/>
                  <a:pt x="922" y="772"/>
                  <a:pt x="923" y="771"/>
                </a:cubicBezTo>
                <a:cubicBezTo>
                  <a:pt x="923" y="770"/>
                  <a:pt x="924" y="771"/>
                  <a:pt x="924" y="770"/>
                </a:cubicBezTo>
                <a:cubicBezTo>
                  <a:pt x="925" y="770"/>
                  <a:pt x="925" y="771"/>
                  <a:pt x="926" y="771"/>
                </a:cubicBezTo>
                <a:cubicBezTo>
                  <a:pt x="926" y="770"/>
                  <a:pt x="926" y="770"/>
                  <a:pt x="927" y="770"/>
                </a:cubicBezTo>
                <a:cubicBezTo>
                  <a:pt x="927" y="770"/>
                  <a:pt x="927" y="770"/>
                  <a:pt x="928" y="770"/>
                </a:cubicBezTo>
                <a:cubicBezTo>
                  <a:pt x="929" y="770"/>
                  <a:pt x="930" y="771"/>
                  <a:pt x="931" y="771"/>
                </a:cubicBezTo>
                <a:cubicBezTo>
                  <a:pt x="933" y="772"/>
                  <a:pt x="934" y="771"/>
                  <a:pt x="935" y="770"/>
                </a:cubicBezTo>
                <a:cubicBezTo>
                  <a:pt x="935" y="770"/>
                  <a:pt x="935" y="770"/>
                  <a:pt x="935" y="770"/>
                </a:cubicBezTo>
                <a:cubicBezTo>
                  <a:pt x="935" y="770"/>
                  <a:pt x="935" y="770"/>
                  <a:pt x="936" y="770"/>
                </a:cubicBezTo>
                <a:cubicBezTo>
                  <a:pt x="937" y="770"/>
                  <a:pt x="938" y="770"/>
                  <a:pt x="939" y="770"/>
                </a:cubicBezTo>
                <a:cubicBezTo>
                  <a:pt x="939" y="770"/>
                  <a:pt x="939" y="769"/>
                  <a:pt x="939" y="769"/>
                </a:cubicBezTo>
                <a:cubicBezTo>
                  <a:pt x="939" y="768"/>
                  <a:pt x="939" y="769"/>
                  <a:pt x="939" y="769"/>
                </a:cubicBezTo>
                <a:cubicBezTo>
                  <a:pt x="940" y="768"/>
                  <a:pt x="942" y="769"/>
                  <a:pt x="942" y="769"/>
                </a:cubicBezTo>
                <a:cubicBezTo>
                  <a:pt x="942" y="768"/>
                  <a:pt x="943" y="769"/>
                  <a:pt x="943" y="768"/>
                </a:cubicBezTo>
                <a:cubicBezTo>
                  <a:pt x="944" y="767"/>
                  <a:pt x="944" y="768"/>
                  <a:pt x="945" y="767"/>
                </a:cubicBezTo>
                <a:cubicBezTo>
                  <a:pt x="946" y="767"/>
                  <a:pt x="946" y="766"/>
                  <a:pt x="947" y="766"/>
                </a:cubicBezTo>
                <a:cubicBezTo>
                  <a:pt x="947" y="766"/>
                  <a:pt x="948" y="766"/>
                  <a:pt x="948" y="765"/>
                </a:cubicBezTo>
                <a:cubicBezTo>
                  <a:pt x="948" y="764"/>
                  <a:pt x="949" y="764"/>
                  <a:pt x="949" y="763"/>
                </a:cubicBezTo>
                <a:cubicBezTo>
                  <a:pt x="949" y="763"/>
                  <a:pt x="950" y="763"/>
                  <a:pt x="950" y="762"/>
                </a:cubicBezTo>
                <a:cubicBezTo>
                  <a:pt x="951" y="761"/>
                  <a:pt x="951" y="761"/>
                  <a:pt x="952" y="761"/>
                </a:cubicBezTo>
                <a:cubicBezTo>
                  <a:pt x="953" y="761"/>
                  <a:pt x="953" y="760"/>
                  <a:pt x="953" y="760"/>
                </a:cubicBezTo>
                <a:cubicBezTo>
                  <a:pt x="953" y="759"/>
                  <a:pt x="954" y="759"/>
                  <a:pt x="954" y="759"/>
                </a:cubicBezTo>
                <a:cubicBezTo>
                  <a:pt x="955" y="758"/>
                  <a:pt x="955" y="758"/>
                  <a:pt x="955" y="758"/>
                </a:cubicBezTo>
                <a:cubicBezTo>
                  <a:pt x="956" y="757"/>
                  <a:pt x="957" y="757"/>
                  <a:pt x="957" y="756"/>
                </a:cubicBezTo>
                <a:cubicBezTo>
                  <a:pt x="957" y="755"/>
                  <a:pt x="957" y="755"/>
                  <a:pt x="958" y="755"/>
                </a:cubicBezTo>
                <a:cubicBezTo>
                  <a:pt x="958" y="755"/>
                  <a:pt x="957" y="754"/>
                  <a:pt x="958" y="754"/>
                </a:cubicBezTo>
                <a:cubicBezTo>
                  <a:pt x="959" y="754"/>
                  <a:pt x="960" y="752"/>
                  <a:pt x="961" y="751"/>
                </a:cubicBezTo>
                <a:cubicBezTo>
                  <a:pt x="961" y="750"/>
                  <a:pt x="961" y="750"/>
                  <a:pt x="962" y="750"/>
                </a:cubicBezTo>
                <a:cubicBezTo>
                  <a:pt x="962" y="749"/>
                  <a:pt x="962" y="749"/>
                  <a:pt x="962" y="748"/>
                </a:cubicBezTo>
                <a:cubicBezTo>
                  <a:pt x="962" y="748"/>
                  <a:pt x="963" y="748"/>
                  <a:pt x="963" y="748"/>
                </a:cubicBezTo>
                <a:cubicBezTo>
                  <a:pt x="963" y="747"/>
                  <a:pt x="963" y="746"/>
                  <a:pt x="963" y="746"/>
                </a:cubicBezTo>
                <a:cubicBezTo>
                  <a:pt x="963" y="746"/>
                  <a:pt x="964" y="745"/>
                  <a:pt x="964" y="745"/>
                </a:cubicBezTo>
                <a:cubicBezTo>
                  <a:pt x="964" y="744"/>
                  <a:pt x="964" y="745"/>
                  <a:pt x="965" y="744"/>
                </a:cubicBezTo>
                <a:cubicBezTo>
                  <a:pt x="965" y="743"/>
                  <a:pt x="965" y="743"/>
                  <a:pt x="966" y="743"/>
                </a:cubicBezTo>
                <a:cubicBezTo>
                  <a:pt x="966" y="743"/>
                  <a:pt x="967" y="743"/>
                  <a:pt x="967" y="742"/>
                </a:cubicBezTo>
                <a:cubicBezTo>
                  <a:pt x="967" y="741"/>
                  <a:pt x="968" y="741"/>
                  <a:pt x="968" y="741"/>
                </a:cubicBezTo>
                <a:cubicBezTo>
                  <a:pt x="969" y="741"/>
                  <a:pt x="970" y="741"/>
                  <a:pt x="970" y="740"/>
                </a:cubicBezTo>
                <a:cubicBezTo>
                  <a:pt x="970" y="739"/>
                  <a:pt x="970" y="737"/>
                  <a:pt x="969" y="737"/>
                </a:cubicBezTo>
                <a:cubicBezTo>
                  <a:pt x="969" y="737"/>
                  <a:pt x="969" y="736"/>
                  <a:pt x="969" y="736"/>
                </a:cubicBezTo>
                <a:cubicBezTo>
                  <a:pt x="970" y="736"/>
                  <a:pt x="970" y="736"/>
                  <a:pt x="971" y="734"/>
                </a:cubicBezTo>
                <a:cubicBezTo>
                  <a:pt x="971" y="734"/>
                  <a:pt x="972" y="729"/>
                  <a:pt x="971" y="729"/>
                </a:cubicBezTo>
                <a:cubicBezTo>
                  <a:pt x="971" y="729"/>
                  <a:pt x="971" y="727"/>
                  <a:pt x="971" y="727"/>
                </a:cubicBezTo>
                <a:cubicBezTo>
                  <a:pt x="971" y="726"/>
                  <a:pt x="971" y="727"/>
                  <a:pt x="971" y="726"/>
                </a:cubicBezTo>
                <a:cubicBezTo>
                  <a:pt x="972" y="725"/>
                  <a:pt x="972" y="725"/>
                  <a:pt x="971" y="725"/>
                </a:cubicBezTo>
                <a:cubicBezTo>
                  <a:pt x="970" y="724"/>
                  <a:pt x="970" y="724"/>
                  <a:pt x="970" y="723"/>
                </a:cubicBezTo>
                <a:cubicBezTo>
                  <a:pt x="970" y="722"/>
                  <a:pt x="971" y="722"/>
                  <a:pt x="971" y="721"/>
                </a:cubicBezTo>
                <a:cubicBezTo>
                  <a:pt x="972" y="720"/>
                  <a:pt x="972" y="721"/>
                  <a:pt x="973" y="720"/>
                </a:cubicBezTo>
                <a:cubicBezTo>
                  <a:pt x="973" y="720"/>
                  <a:pt x="974" y="720"/>
                  <a:pt x="974" y="720"/>
                </a:cubicBezTo>
                <a:cubicBezTo>
                  <a:pt x="974" y="720"/>
                  <a:pt x="974" y="720"/>
                  <a:pt x="974" y="720"/>
                </a:cubicBezTo>
                <a:cubicBezTo>
                  <a:pt x="975" y="720"/>
                  <a:pt x="975" y="719"/>
                  <a:pt x="976" y="719"/>
                </a:cubicBezTo>
                <a:cubicBezTo>
                  <a:pt x="977" y="719"/>
                  <a:pt x="975" y="719"/>
                  <a:pt x="977" y="719"/>
                </a:cubicBezTo>
                <a:cubicBezTo>
                  <a:pt x="977" y="719"/>
                  <a:pt x="978" y="718"/>
                  <a:pt x="978" y="718"/>
                </a:cubicBezTo>
                <a:cubicBezTo>
                  <a:pt x="979" y="718"/>
                  <a:pt x="979" y="718"/>
                  <a:pt x="979" y="718"/>
                </a:cubicBezTo>
                <a:cubicBezTo>
                  <a:pt x="980" y="718"/>
                  <a:pt x="979" y="718"/>
                  <a:pt x="980" y="718"/>
                </a:cubicBezTo>
                <a:cubicBezTo>
                  <a:pt x="981" y="718"/>
                  <a:pt x="981" y="718"/>
                  <a:pt x="982" y="717"/>
                </a:cubicBezTo>
                <a:cubicBezTo>
                  <a:pt x="982" y="716"/>
                  <a:pt x="982" y="716"/>
                  <a:pt x="982" y="716"/>
                </a:cubicBezTo>
                <a:cubicBezTo>
                  <a:pt x="983" y="716"/>
                  <a:pt x="982" y="716"/>
                  <a:pt x="983" y="716"/>
                </a:cubicBezTo>
                <a:cubicBezTo>
                  <a:pt x="983" y="716"/>
                  <a:pt x="984" y="715"/>
                  <a:pt x="984" y="715"/>
                </a:cubicBezTo>
                <a:cubicBezTo>
                  <a:pt x="984" y="714"/>
                  <a:pt x="984" y="714"/>
                  <a:pt x="984" y="713"/>
                </a:cubicBezTo>
                <a:cubicBezTo>
                  <a:pt x="984" y="713"/>
                  <a:pt x="985" y="712"/>
                  <a:pt x="984" y="712"/>
                </a:cubicBezTo>
                <a:cubicBezTo>
                  <a:pt x="984" y="712"/>
                  <a:pt x="984" y="711"/>
                  <a:pt x="984" y="711"/>
                </a:cubicBezTo>
                <a:cubicBezTo>
                  <a:pt x="984" y="711"/>
                  <a:pt x="984" y="711"/>
                  <a:pt x="984" y="711"/>
                </a:cubicBezTo>
                <a:cubicBezTo>
                  <a:pt x="984" y="710"/>
                  <a:pt x="984" y="708"/>
                  <a:pt x="984" y="707"/>
                </a:cubicBezTo>
                <a:cubicBezTo>
                  <a:pt x="983" y="707"/>
                  <a:pt x="984" y="706"/>
                  <a:pt x="984" y="706"/>
                </a:cubicBezTo>
                <a:cubicBezTo>
                  <a:pt x="984" y="705"/>
                  <a:pt x="983" y="706"/>
                  <a:pt x="983" y="705"/>
                </a:cubicBezTo>
                <a:cubicBezTo>
                  <a:pt x="983" y="704"/>
                  <a:pt x="984" y="704"/>
                  <a:pt x="984" y="703"/>
                </a:cubicBezTo>
                <a:cubicBezTo>
                  <a:pt x="983" y="703"/>
                  <a:pt x="983" y="703"/>
                  <a:pt x="983" y="702"/>
                </a:cubicBezTo>
                <a:cubicBezTo>
                  <a:pt x="983" y="702"/>
                  <a:pt x="983" y="702"/>
                  <a:pt x="983" y="702"/>
                </a:cubicBezTo>
                <a:cubicBezTo>
                  <a:pt x="983" y="701"/>
                  <a:pt x="983" y="702"/>
                  <a:pt x="983" y="701"/>
                </a:cubicBezTo>
                <a:cubicBezTo>
                  <a:pt x="983" y="701"/>
                  <a:pt x="983" y="700"/>
                  <a:pt x="982" y="700"/>
                </a:cubicBezTo>
                <a:cubicBezTo>
                  <a:pt x="982" y="700"/>
                  <a:pt x="983" y="699"/>
                  <a:pt x="982" y="699"/>
                </a:cubicBezTo>
                <a:cubicBezTo>
                  <a:pt x="982" y="699"/>
                  <a:pt x="982" y="696"/>
                  <a:pt x="982" y="696"/>
                </a:cubicBezTo>
                <a:cubicBezTo>
                  <a:pt x="982" y="695"/>
                  <a:pt x="982" y="695"/>
                  <a:pt x="981" y="694"/>
                </a:cubicBezTo>
                <a:cubicBezTo>
                  <a:pt x="980" y="694"/>
                  <a:pt x="980" y="693"/>
                  <a:pt x="980" y="692"/>
                </a:cubicBezTo>
                <a:cubicBezTo>
                  <a:pt x="980" y="691"/>
                  <a:pt x="980" y="690"/>
                  <a:pt x="980" y="689"/>
                </a:cubicBezTo>
                <a:cubicBezTo>
                  <a:pt x="980" y="688"/>
                  <a:pt x="980" y="688"/>
                  <a:pt x="980" y="688"/>
                </a:cubicBezTo>
                <a:cubicBezTo>
                  <a:pt x="981" y="687"/>
                  <a:pt x="982" y="687"/>
                  <a:pt x="982" y="687"/>
                </a:cubicBezTo>
                <a:cubicBezTo>
                  <a:pt x="983" y="686"/>
                  <a:pt x="983" y="686"/>
                  <a:pt x="983" y="685"/>
                </a:cubicBezTo>
                <a:cubicBezTo>
                  <a:pt x="984" y="685"/>
                  <a:pt x="984" y="685"/>
                  <a:pt x="984" y="684"/>
                </a:cubicBezTo>
                <a:cubicBezTo>
                  <a:pt x="984" y="684"/>
                  <a:pt x="985" y="684"/>
                  <a:pt x="985" y="683"/>
                </a:cubicBezTo>
                <a:cubicBezTo>
                  <a:pt x="986" y="683"/>
                  <a:pt x="986" y="682"/>
                  <a:pt x="987" y="682"/>
                </a:cubicBezTo>
                <a:cubicBezTo>
                  <a:pt x="987" y="682"/>
                  <a:pt x="987" y="681"/>
                  <a:pt x="987" y="681"/>
                </a:cubicBezTo>
                <a:cubicBezTo>
                  <a:pt x="987" y="680"/>
                  <a:pt x="987" y="680"/>
                  <a:pt x="987" y="679"/>
                </a:cubicBezTo>
                <a:cubicBezTo>
                  <a:pt x="987" y="679"/>
                  <a:pt x="988" y="679"/>
                  <a:pt x="987" y="679"/>
                </a:cubicBezTo>
                <a:cubicBezTo>
                  <a:pt x="987" y="679"/>
                  <a:pt x="987" y="678"/>
                  <a:pt x="987" y="678"/>
                </a:cubicBezTo>
                <a:cubicBezTo>
                  <a:pt x="988" y="678"/>
                  <a:pt x="988" y="678"/>
                  <a:pt x="989" y="678"/>
                </a:cubicBezTo>
                <a:cubicBezTo>
                  <a:pt x="989" y="678"/>
                  <a:pt x="990" y="679"/>
                  <a:pt x="990" y="678"/>
                </a:cubicBezTo>
                <a:cubicBezTo>
                  <a:pt x="990" y="678"/>
                  <a:pt x="991" y="679"/>
                  <a:pt x="991" y="678"/>
                </a:cubicBezTo>
                <a:cubicBezTo>
                  <a:pt x="991" y="678"/>
                  <a:pt x="992" y="678"/>
                  <a:pt x="992" y="678"/>
                </a:cubicBezTo>
                <a:cubicBezTo>
                  <a:pt x="993" y="678"/>
                  <a:pt x="994" y="678"/>
                  <a:pt x="994" y="677"/>
                </a:cubicBezTo>
                <a:cubicBezTo>
                  <a:pt x="994" y="677"/>
                  <a:pt x="996" y="676"/>
                  <a:pt x="996" y="676"/>
                </a:cubicBezTo>
                <a:cubicBezTo>
                  <a:pt x="997" y="676"/>
                  <a:pt x="997" y="675"/>
                  <a:pt x="998" y="675"/>
                </a:cubicBezTo>
                <a:cubicBezTo>
                  <a:pt x="998" y="675"/>
                  <a:pt x="999" y="675"/>
                  <a:pt x="999" y="675"/>
                </a:cubicBezTo>
                <a:cubicBezTo>
                  <a:pt x="999" y="674"/>
                  <a:pt x="999" y="674"/>
                  <a:pt x="999" y="674"/>
                </a:cubicBezTo>
                <a:cubicBezTo>
                  <a:pt x="1000" y="674"/>
                  <a:pt x="1000" y="674"/>
                  <a:pt x="1000" y="674"/>
                </a:cubicBezTo>
                <a:cubicBezTo>
                  <a:pt x="1000" y="674"/>
                  <a:pt x="1000" y="674"/>
                  <a:pt x="1000" y="674"/>
                </a:cubicBezTo>
                <a:cubicBezTo>
                  <a:pt x="1001" y="674"/>
                  <a:pt x="1001" y="674"/>
                  <a:pt x="1001" y="674"/>
                </a:cubicBezTo>
                <a:cubicBezTo>
                  <a:pt x="1001" y="674"/>
                  <a:pt x="1002" y="673"/>
                  <a:pt x="1002" y="673"/>
                </a:cubicBezTo>
                <a:cubicBezTo>
                  <a:pt x="1004" y="672"/>
                  <a:pt x="1003" y="671"/>
                  <a:pt x="1004" y="671"/>
                </a:cubicBezTo>
                <a:cubicBezTo>
                  <a:pt x="1005" y="671"/>
                  <a:pt x="1005" y="671"/>
                  <a:pt x="1005" y="671"/>
                </a:cubicBezTo>
                <a:cubicBezTo>
                  <a:pt x="1005" y="670"/>
                  <a:pt x="1006" y="670"/>
                  <a:pt x="1006" y="670"/>
                </a:cubicBezTo>
                <a:cubicBezTo>
                  <a:pt x="1006" y="669"/>
                  <a:pt x="1006" y="669"/>
                  <a:pt x="1006" y="668"/>
                </a:cubicBezTo>
                <a:cubicBezTo>
                  <a:pt x="1006" y="668"/>
                  <a:pt x="1007" y="668"/>
                  <a:pt x="1007" y="668"/>
                </a:cubicBezTo>
                <a:cubicBezTo>
                  <a:pt x="1008" y="666"/>
                  <a:pt x="1009" y="666"/>
                  <a:pt x="1008" y="664"/>
                </a:cubicBezTo>
                <a:cubicBezTo>
                  <a:pt x="1009" y="664"/>
                  <a:pt x="1009" y="664"/>
                  <a:pt x="1009" y="663"/>
                </a:cubicBezTo>
                <a:cubicBezTo>
                  <a:pt x="1010" y="663"/>
                  <a:pt x="1009" y="662"/>
                  <a:pt x="1009" y="662"/>
                </a:cubicBezTo>
                <a:cubicBezTo>
                  <a:pt x="1008" y="661"/>
                  <a:pt x="1008" y="657"/>
                  <a:pt x="1009" y="657"/>
                </a:cubicBezTo>
                <a:cubicBezTo>
                  <a:pt x="1009" y="657"/>
                  <a:pt x="1009" y="656"/>
                  <a:pt x="1009" y="655"/>
                </a:cubicBezTo>
                <a:cubicBezTo>
                  <a:pt x="1009" y="655"/>
                  <a:pt x="1009" y="654"/>
                  <a:pt x="1009" y="654"/>
                </a:cubicBezTo>
                <a:cubicBezTo>
                  <a:pt x="1009" y="653"/>
                  <a:pt x="1010" y="653"/>
                  <a:pt x="1010" y="653"/>
                </a:cubicBezTo>
                <a:cubicBezTo>
                  <a:pt x="1009" y="653"/>
                  <a:pt x="1010" y="652"/>
                  <a:pt x="1009" y="652"/>
                </a:cubicBezTo>
                <a:cubicBezTo>
                  <a:pt x="1009" y="652"/>
                  <a:pt x="1009" y="649"/>
                  <a:pt x="1009" y="649"/>
                </a:cubicBezTo>
                <a:cubicBezTo>
                  <a:pt x="1010" y="649"/>
                  <a:pt x="1009" y="647"/>
                  <a:pt x="1009" y="647"/>
                </a:cubicBezTo>
                <a:cubicBezTo>
                  <a:pt x="1009" y="646"/>
                  <a:pt x="1009" y="643"/>
                  <a:pt x="1009" y="643"/>
                </a:cubicBezTo>
                <a:cubicBezTo>
                  <a:pt x="1009" y="643"/>
                  <a:pt x="1009" y="643"/>
                  <a:pt x="1009" y="642"/>
                </a:cubicBezTo>
                <a:cubicBezTo>
                  <a:pt x="1008" y="643"/>
                  <a:pt x="1009" y="639"/>
                  <a:pt x="1008" y="640"/>
                </a:cubicBezTo>
                <a:cubicBezTo>
                  <a:pt x="1008" y="639"/>
                  <a:pt x="1008" y="638"/>
                  <a:pt x="1008" y="638"/>
                </a:cubicBezTo>
                <a:cubicBezTo>
                  <a:pt x="1008" y="638"/>
                  <a:pt x="1009" y="638"/>
                  <a:pt x="1009" y="638"/>
                </a:cubicBezTo>
                <a:cubicBezTo>
                  <a:pt x="1009" y="637"/>
                  <a:pt x="1009" y="636"/>
                  <a:pt x="1009" y="636"/>
                </a:cubicBezTo>
                <a:cubicBezTo>
                  <a:pt x="1009" y="635"/>
                  <a:pt x="1008" y="636"/>
                  <a:pt x="1008" y="635"/>
                </a:cubicBezTo>
                <a:cubicBezTo>
                  <a:pt x="1007" y="634"/>
                  <a:pt x="1006" y="633"/>
                  <a:pt x="1005" y="632"/>
                </a:cubicBezTo>
                <a:cubicBezTo>
                  <a:pt x="1005" y="632"/>
                  <a:pt x="1005" y="631"/>
                  <a:pt x="1005" y="631"/>
                </a:cubicBezTo>
                <a:cubicBezTo>
                  <a:pt x="1005" y="631"/>
                  <a:pt x="1004" y="631"/>
                  <a:pt x="1004" y="631"/>
                </a:cubicBezTo>
                <a:cubicBezTo>
                  <a:pt x="1004" y="630"/>
                  <a:pt x="1004" y="629"/>
                  <a:pt x="1004" y="629"/>
                </a:cubicBezTo>
                <a:cubicBezTo>
                  <a:pt x="1004" y="627"/>
                  <a:pt x="1004" y="627"/>
                  <a:pt x="1004" y="626"/>
                </a:cubicBezTo>
                <a:cubicBezTo>
                  <a:pt x="1004" y="625"/>
                  <a:pt x="1003" y="624"/>
                  <a:pt x="1003" y="623"/>
                </a:cubicBezTo>
                <a:cubicBezTo>
                  <a:pt x="1004" y="622"/>
                  <a:pt x="1004" y="621"/>
                  <a:pt x="1004" y="620"/>
                </a:cubicBezTo>
                <a:cubicBezTo>
                  <a:pt x="1004" y="619"/>
                  <a:pt x="1005" y="619"/>
                  <a:pt x="1005" y="618"/>
                </a:cubicBezTo>
                <a:cubicBezTo>
                  <a:pt x="1005" y="617"/>
                  <a:pt x="1005" y="617"/>
                  <a:pt x="1004" y="617"/>
                </a:cubicBezTo>
                <a:cubicBezTo>
                  <a:pt x="1004" y="616"/>
                  <a:pt x="1004" y="617"/>
                  <a:pt x="1004" y="616"/>
                </a:cubicBezTo>
                <a:cubicBezTo>
                  <a:pt x="1004" y="616"/>
                  <a:pt x="1004" y="616"/>
                  <a:pt x="1003" y="616"/>
                </a:cubicBezTo>
                <a:cubicBezTo>
                  <a:pt x="1002" y="615"/>
                  <a:pt x="1002" y="614"/>
                  <a:pt x="1001" y="614"/>
                </a:cubicBezTo>
                <a:cubicBezTo>
                  <a:pt x="1001" y="614"/>
                  <a:pt x="1002" y="611"/>
                  <a:pt x="1001" y="611"/>
                </a:cubicBezTo>
                <a:cubicBezTo>
                  <a:pt x="1000" y="610"/>
                  <a:pt x="1001" y="611"/>
                  <a:pt x="1001" y="610"/>
                </a:cubicBezTo>
                <a:cubicBezTo>
                  <a:pt x="1001" y="609"/>
                  <a:pt x="1002" y="610"/>
                  <a:pt x="1002" y="609"/>
                </a:cubicBezTo>
                <a:cubicBezTo>
                  <a:pt x="1002" y="609"/>
                  <a:pt x="1002" y="606"/>
                  <a:pt x="1003" y="606"/>
                </a:cubicBezTo>
                <a:cubicBezTo>
                  <a:pt x="1003" y="605"/>
                  <a:pt x="1002" y="605"/>
                  <a:pt x="1003" y="605"/>
                </a:cubicBezTo>
                <a:cubicBezTo>
                  <a:pt x="1003" y="605"/>
                  <a:pt x="1003" y="604"/>
                  <a:pt x="1004" y="603"/>
                </a:cubicBezTo>
                <a:cubicBezTo>
                  <a:pt x="1004" y="602"/>
                  <a:pt x="1005" y="602"/>
                  <a:pt x="1005" y="602"/>
                </a:cubicBezTo>
                <a:cubicBezTo>
                  <a:pt x="1005" y="601"/>
                  <a:pt x="1004" y="601"/>
                  <a:pt x="1005" y="601"/>
                </a:cubicBezTo>
                <a:cubicBezTo>
                  <a:pt x="1005" y="601"/>
                  <a:pt x="1004" y="599"/>
                  <a:pt x="1005" y="599"/>
                </a:cubicBezTo>
                <a:cubicBezTo>
                  <a:pt x="1005" y="598"/>
                  <a:pt x="1005" y="598"/>
                  <a:pt x="1005" y="597"/>
                </a:cubicBezTo>
                <a:cubicBezTo>
                  <a:pt x="1005" y="596"/>
                  <a:pt x="1006" y="597"/>
                  <a:pt x="1006" y="596"/>
                </a:cubicBezTo>
                <a:cubicBezTo>
                  <a:pt x="1006" y="595"/>
                  <a:pt x="1007" y="594"/>
                  <a:pt x="1007" y="593"/>
                </a:cubicBezTo>
                <a:cubicBezTo>
                  <a:pt x="1009" y="592"/>
                  <a:pt x="1010" y="593"/>
                  <a:pt x="1011" y="592"/>
                </a:cubicBezTo>
                <a:cubicBezTo>
                  <a:pt x="1011" y="591"/>
                  <a:pt x="1012" y="591"/>
                  <a:pt x="1012" y="590"/>
                </a:cubicBezTo>
                <a:cubicBezTo>
                  <a:pt x="1012" y="589"/>
                  <a:pt x="1012" y="589"/>
                  <a:pt x="1012" y="589"/>
                </a:cubicBezTo>
                <a:cubicBezTo>
                  <a:pt x="1013" y="589"/>
                  <a:pt x="1014" y="589"/>
                  <a:pt x="1015" y="588"/>
                </a:cubicBezTo>
                <a:cubicBezTo>
                  <a:pt x="1015" y="587"/>
                  <a:pt x="1015" y="587"/>
                  <a:pt x="1015" y="586"/>
                </a:cubicBezTo>
                <a:cubicBezTo>
                  <a:pt x="1015" y="586"/>
                  <a:pt x="1015" y="586"/>
                  <a:pt x="1015" y="586"/>
                </a:cubicBezTo>
                <a:cubicBezTo>
                  <a:pt x="1015" y="585"/>
                  <a:pt x="1015" y="585"/>
                  <a:pt x="1016" y="584"/>
                </a:cubicBezTo>
                <a:cubicBezTo>
                  <a:pt x="1017" y="584"/>
                  <a:pt x="1017" y="584"/>
                  <a:pt x="1017" y="583"/>
                </a:cubicBezTo>
                <a:cubicBezTo>
                  <a:pt x="1016" y="581"/>
                  <a:pt x="1018" y="582"/>
                  <a:pt x="1018" y="581"/>
                </a:cubicBezTo>
                <a:cubicBezTo>
                  <a:pt x="1018" y="580"/>
                  <a:pt x="1019" y="580"/>
                  <a:pt x="1019" y="579"/>
                </a:cubicBezTo>
                <a:cubicBezTo>
                  <a:pt x="1018" y="578"/>
                  <a:pt x="1020" y="578"/>
                  <a:pt x="1020" y="577"/>
                </a:cubicBezTo>
                <a:cubicBezTo>
                  <a:pt x="1020" y="576"/>
                  <a:pt x="1020" y="577"/>
                  <a:pt x="1021" y="576"/>
                </a:cubicBezTo>
                <a:cubicBezTo>
                  <a:pt x="1021" y="576"/>
                  <a:pt x="1022" y="576"/>
                  <a:pt x="1022" y="576"/>
                </a:cubicBezTo>
                <a:cubicBezTo>
                  <a:pt x="1022" y="575"/>
                  <a:pt x="1023" y="575"/>
                  <a:pt x="1023" y="574"/>
                </a:cubicBezTo>
                <a:cubicBezTo>
                  <a:pt x="1023" y="573"/>
                  <a:pt x="1023" y="573"/>
                  <a:pt x="1024" y="573"/>
                </a:cubicBezTo>
                <a:cubicBezTo>
                  <a:pt x="1024" y="573"/>
                  <a:pt x="1024" y="573"/>
                  <a:pt x="1024" y="572"/>
                </a:cubicBezTo>
                <a:cubicBezTo>
                  <a:pt x="1025" y="572"/>
                  <a:pt x="1025" y="572"/>
                  <a:pt x="1025" y="572"/>
                </a:cubicBezTo>
                <a:cubicBezTo>
                  <a:pt x="1025" y="571"/>
                  <a:pt x="1025" y="571"/>
                  <a:pt x="1026" y="571"/>
                </a:cubicBezTo>
                <a:cubicBezTo>
                  <a:pt x="1027" y="571"/>
                  <a:pt x="1027" y="571"/>
                  <a:pt x="1027" y="570"/>
                </a:cubicBezTo>
                <a:cubicBezTo>
                  <a:pt x="1027" y="570"/>
                  <a:pt x="1027" y="570"/>
                  <a:pt x="1027" y="570"/>
                </a:cubicBezTo>
                <a:cubicBezTo>
                  <a:pt x="1027" y="570"/>
                  <a:pt x="1027" y="569"/>
                  <a:pt x="1028" y="569"/>
                </a:cubicBezTo>
                <a:cubicBezTo>
                  <a:pt x="1029" y="569"/>
                  <a:pt x="1028" y="568"/>
                  <a:pt x="1029" y="568"/>
                </a:cubicBezTo>
                <a:cubicBezTo>
                  <a:pt x="1030" y="568"/>
                  <a:pt x="1029" y="568"/>
                  <a:pt x="1030" y="568"/>
                </a:cubicBezTo>
                <a:cubicBezTo>
                  <a:pt x="1030" y="567"/>
                  <a:pt x="1031" y="567"/>
                  <a:pt x="1031" y="567"/>
                </a:cubicBezTo>
                <a:cubicBezTo>
                  <a:pt x="1032" y="567"/>
                  <a:pt x="1033" y="566"/>
                  <a:pt x="1033" y="566"/>
                </a:cubicBezTo>
                <a:cubicBezTo>
                  <a:pt x="1033" y="564"/>
                  <a:pt x="1038" y="563"/>
                  <a:pt x="1038" y="561"/>
                </a:cubicBezTo>
                <a:cubicBezTo>
                  <a:pt x="1038" y="559"/>
                  <a:pt x="1039" y="560"/>
                  <a:pt x="1039" y="560"/>
                </a:cubicBezTo>
                <a:cubicBezTo>
                  <a:pt x="1039" y="559"/>
                  <a:pt x="1041" y="559"/>
                  <a:pt x="1041" y="558"/>
                </a:cubicBezTo>
                <a:cubicBezTo>
                  <a:pt x="1041" y="557"/>
                  <a:pt x="1041" y="556"/>
                  <a:pt x="1041" y="556"/>
                </a:cubicBezTo>
                <a:cubicBezTo>
                  <a:pt x="1042" y="555"/>
                  <a:pt x="1043" y="555"/>
                  <a:pt x="1044" y="555"/>
                </a:cubicBezTo>
                <a:cubicBezTo>
                  <a:pt x="1044" y="554"/>
                  <a:pt x="1043" y="554"/>
                  <a:pt x="1044" y="554"/>
                </a:cubicBezTo>
                <a:cubicBezTo>
                  <a:pt x="1044" y="554"/>
                  <a:pt x="1045" y="554"/>
                  <a:pt x="1045" y="554"/>
                </a:cubicBezTo>
                <a:cubicBezTo>
                  <a:pt x="1045" y="553"/>
                  <a:pt x="1044" y="553"/>
                  <a:pt x="1045" y="552"/>
                </a:cubicBezTo>
                <a:cubicBezTo>
                  <a:pt x="1046" y="552"/>
                  <a:pt x="1046" y="551"/>
                  <a:pt x="1047" y="550"/>
                </a:cubicBezTo>
                <a:cubicBezTo>
                  <a:pt x="1047" y="550"/>
                  <a:pt x="1047" y="549"/>
                  <a:pt x="1047" y="549"/>
                </a:cubicBezTo>
                <a:cubicBezTo>
                  <a:pt x="1047" y="549"/>
                  <a:pt x="1047" y="548"/>
                  <a:pt x="1048" y="548"/>
                </a:cubicBezTo>
                <a:cubicBezTo>
                  <a:pt x="1048" y="547"/>
                  <a:pt x="1048" y="546"/>
                  <a:pt x="1048" y="545"/>
                </a:cubicBezTo>
                <a:cubicBezTo>
                  <a:pt x="1049" y="545"/>
                  <a:pt x="1049" y="544"/>
                  <a:pt x="1050" y="544"/>
                </a:cubicBezTo>
                <a:cubicBezTo>
                  <a:pt x="1050" y="543"/>
                  <a:pt x="1050" y="543"/>
                  <a:pt x="1050" y="542"/>
                </a:cubicBezTo>
                <a:cubicBezTo>
                  <a:pt x="1050" y="542"/>
                  <a:pt x="1050" y="542"/>
                  <a:pt x="1050" y="541"/>
                </a:cubicBezTo>
                <a:cubicBezTo>
                  <a:pt x="1050" y="541"/>
                  <a:pt x="1050" y="541"/>
                  <a:pt x="1050" y="541"/>
                </a:cubicBezTo>
                <a:cubicBezTo>
                  <a:pt x="1050" y="541"/>
                  <a:pt x="1051" y="540"/>
                  <a:pt x="1051" y="539"/>
                </a:cubicBezTo>
                <a:cubicBezTo>
                  <a:pt x="1051" y="539"/>
                  <a:pt x="1051" y="539"/>
                  <a:pt x="1051" y="539"/>
                </a:cubicBezTo>
                <a:cubicBezTo>
                  <a:pt x="1051" y="539"/>
                  <a:pt x="1051" y="538"/>
                  <a:pt x="1051" y="538"/>
                </a:cubicBezTo>
                <a:cubicBezTo>
                  <a:pt x="1051" y="538"/>
                  <a:pt x="1051" y="538"/>
                  <a:pt x="1052" y="537"/>
                </a:cubicBezTo>
                <a:cubicBezTo>
                  <a:pt x="1052" y="537"/>
                  <a:pt x="1052" y="536"/>
                  <a:pt x="1052" y="535"/>
                </a:cubicBezTo>
                <a:cubicBezTo>
                  <a:pt x="1052" y="534"/>
                  <a:pt x="1053" y="534"/>
                  <a:pt x="1053" y="534"/>
                </a:cubicBezTo>
                <a:cubicBezTo>
                  <a:pt x="1053" y="532"/>
                  <a:pt x="1053" y="532"/>
                  <a:pt x="1054" y="532"/>
                </a:cubicBezTo>
                <a:cubicBezTo>
                  <a:pt x="1055" y="531"/>
                  <a:pt x="1055" y="531"/>
                  <a:pt x="1055" y="530"/>
                </a:cubicBezTo>
                <a:cubicBezTo>
                  <a:pt x="1055" y="530"/>
                  <a:pt x="1055" y="530"/>
                  <a:pt x="1056" y="530"/>
                </a:cubicBezTo>
                <a:cubicBezTo>
                  <a:pt x="1056" y="529"/>
                  <a:pt x="1056" y="529"/>
                  <a:pt x="1056" y="528"/>
                </a:cubicBezTo>
                <a:cubicBezTo>
                  <a:pt x="1056" y="527"/>
                  <a:pt x="1056" y="526"/>
                  <a:pt x="1057" y="526"/>
                </a:cubicBezTo>
                <a:cubicBezTo>
                  <a:pt x="1058" y="526"/>
                  <a:pt x="1057" y="524"/>
                  <a:pt x="1058" y="523"/>
                </a:cubicBezTo>
                <a:cubicBezTo>
                  <a:pt x="1058" y="522"/>
                  <a:pt x="1058" y="523"/>
                  <a:pt x="1058" y="522"/>
                </a:cubicBezTo>
                <a:cubicBezTo>
                  <a:pt x="1058" y="522"/>
                  <a:pt x="1058" y="521"/>
                  <a:pt x="1058" y="521"/>
                </a:cubicBezTo>
                <a:cubicBezTo>
                  <a:pt x="1058" y="521"/>
                  <a:pt x="1058" y="521"/>
                  <a:pt x="1058" y="521"/>
                </a:cubicBezTo>
                <a:cubicBezTo>
                  <a:pt x="1059" y="520"/>
                  <a:pt x="1058" y="519"/>
                  <a:pt x="1059" y="518"/>
                </a:cubicBezTo>
                <a:cubicBezTo>
                  <a:pt x="1059" y="518"/>
                  <a:pt x="1059" y="518"/>
                  <a:pt x="1059" y="518"/>
                </a:cubicBezTo>
                <a:cubicBezTo>
                  <a:pt x="1059" y="517"/>
                  <a:pt x="1059" y="516"/>
                  <a:pt x="1059" y="515"/>
                </a:cubicBezTo>
                <a:cubicBezTo>
                  <a:pt x="1059" y="515"/>
                  <a:pt x="1059" y="514"/>
                  <a:pt x="1059" y="513"/>
                </a:cubicBezTo>
                <a:cubicBezTo>
                  <a:pt x="1059" y="513"/>
                  <a:pt x="1060" y="512"/>
                  <a:pt x="1059" y="512"/>
                </a:cubicBezTo>
                <a:cubicBezTo>
                  <a:pt x="1058" y="511"/>
                  <a:pt x="1057" y="512"/>
                  <a:pt x="1056" y="512"/>
                </a:cubicBezTo>
                <a:cubicBezTo>
                  <a:pt x="1056" y="512"/>
                  <a:pt x="1056" y="513"/>
                  <a:pt x="1056" y="513"/>
                </a:cubicBezTo>
                <a:cubicBezTo>
                  <a:pt x="1056" y="513"/>
                  <a:pt x="1055" y="513"/>
                  <a:pt x="1055" y="513"/>
                </a:cubicBezTo>
                <a:cubicBezTo>
                  <a:pt x="1054" y="513"/>
                  <a:pt x="1056" y="513"/>
                  <a:pt x="1054" y="513"/>
                </a:cubicBezTo>
                <a:cubicBezTo>
                  <a:pt x="1054" y="513"/>
                  <a:pt x="1054" y="513"/>
                  <a:pt x="1053" y="513"/>
                </a:cubicBezTo>
                <a:cubicBezTo>
                  <a:pt x="1053" y="513"/>
                  <a:pt x="1053" y="514"/>
                  <a:pt x="1053" y="514"/>
                </a:cubicBezTo>
                <a:cubicBezTo>
                  <a:pt x="1052" y="514"/>
                  <a:pt x="1051" y="514"/>
                  <a:pt x="1049" y="514"/>
                </a:cubicBezTo>
                <a:cubicBezTo>
                  <a:pt x="1049" y="514"/>
                  <a:pt x="1048" y="514"/>
                  <a:pt x="1048" y="514"/>
                </a:cubicBezTo>
                <a:cubicBezTo>
                  <a:pt x="1046" y="514"/>
                  <a:pt x="1048" y="514"/>
                  <a:pt x="1047" y="514"/>
                </a:cubicBezTo>
                <a:cubicBezTo>
                  <a:pt x="1047" y="514"/>
                  <a:pt x="1046" y="514"/>
                  <a:pt x="1046" y="514"/>
                </a:cubicBezTo>
                <a:cubicBezTo>
                  <a:pt x="1046" y="515"/>
                  <a:pt x="1046" y="515"/>
                  <a:pt x="1045" y="515"/>
                </a:cubicBezTo>
                <a:cubicBezTo>
                  <a:pt x="1045" y="515"/>
                  <a:pt x="1044" y="515"/>
                  <a:pt x="1044" y="515"/>
                </a:cubicBezTo>
                <a:cubicBezTo>
                  <a:pt x="1044" y="515"/>
                  <a:pt x="1044" y="515"/>
                  <a:pt x="1043" y="516"/>
                </a:cubicBezTo>
                <a:cubicBezTo>
                  <a:pt x="1042" y="516"/>
                  <a:pt x="1042" y="516"/>
                  <a:pt x="1042" y="516"/>
                </a:cubicBezTo>
                <a:cubicBezTo>
                  <a:pt x="1041" y="517"/>
                  <a:pt x="1041" y="517"/>
                  <a:pt x="1041" y="517"/>
                </a:cubicBezTo>
                <a:cubicBezTo>
                  <a:pt x="1040" y="517"/>
                  <a:pt x="1041" y="517"/>
                  <a:pt x="1040" y="517"/>
                </a:cubicBezTo>
                <a:cubicBezTo>
                  <a:pt x="1040" y="517"/>
                  <a:pt x="1040" y="517"/>
                  <a:pt x="1040" y="517"/>
                </a:cubicBezTo>
                <a:cubicBezTo>
                  <a:pt x="1039" y="517"/>
                  <a:pt x="1040" y="517"/>
                  <a:pt x="1039" y="517"/>
                </a:cubicBezTo>
                <a:cubicBezTo>
                  <a:pt x="1038" y="517"/>
                  <a:pt x="1038" y="518"/>
                  <a:pt x="1037" y="518"/>
                </a:cubicBezTo>
                <a:cubicBezTo>
                  <a:pt x="1037" y="518"/>
                  <a:pt x="1036" y="518"/>
                  <a:pt x="1036" y="517"/>
                </a:cubicBezTo>
                <a:cubicBezTo>
                  <a:pt x="1035" y="516"/>
                  <a:pt x="1032" y="517"/>
                  <a:pt x="1031" y="518"/>
                </a:cubicBezTo>
                <a:cubicBezTo>
                  <a:pt x="1030" y="518"/>
                  <a:pt x="1029" y="519"/>
                  <a:pt x="1028" y="519"/>
                </a:cubicBezTo>
                <a:cubicBezTo>
                  <a:pt x="1027" y="518"/>
                  <a:pt x="1027" y="518"/>
                  <a:pt x="1027" y="518"/>
                </a:cubicBezTo>
                <a:cubicBezTo>
                  <a:pt x="1026" y="518"/>
                  <a:pt x="1027" y="518"/>
                  <a:pt x="1027" y="517"/>
                </a:cubicBezTo>
                <a:cubicBezTo>
                  <a:pt x="1026" y="517"/>
                  <a:pt x="1026" y="517"/>
                  <a:pt x="1026" y="517"/>
                </a:cubicBezTo>
                <a:cubicBezTo>
                  <a:pt x="1026" y="517"/>
                  <a:pt x="1025" y="517"/>
                  <a:pt x="1025" y="517"/>
                </a:cubicBezTo>
                <a:cubicBezTo>
                  <a:pt x="1024" y="516"/>
                  <a:pt x="1024" y="516"/>
                  <a:pt x="1024" y="515"/>
                </a:cubicBezTo>
                <a:cubicBezTo>
                  <a:pt x="1023" y="515"/>
                  <a:pt x="1023" y="515"/>
                  <a:pt x="1023" y="514"/>
                </a:cubicBezTo>
                <a:cubicBezTo>
                  <a:pt x="1023" y="513"/>
                  <a:pt x="1022" y="512"/>
                  <a:pt x="1021" y="512"/>
                </a:cubicBezTo>
                <a:cubicBezTo>
                  <a:pt x="1021" y="512"/>
                  <a:pt x="1021" y="511"/>
                  <a:pt x="1021" y="511"/>
                </a:cubicBezTo>
                <a:cubicBezTo>
                  <a:pt x="1022" y="510"/>
                  <a:pt x="1022" y="511"/>
                  <a:pt x="1022" y="511"/>
                </a:cubicBezTo>
                <a:cubicBezTo>
                  <a:pt x="1022" y="510"/>
                  <a:pt x="1023" y="509"/>
                  <a:pt x="1023" y="509"/>
                </a:cubicBezTo>
                <a:cubicBezTo>
                  <a:pt x="1023" y="508"/>
                  <a:pt x="1023" y="508"/>
                  <a:pt x="1023" y="507"/>
                </a:cubicBezTo>
                <a:cubicBezTo>
                  <a:pt x="1022" y="508"/>
                  <a:pt x="1023" y="506"/>
                  <a:pt x="1022" y="506"/>
                </a:cubicBezTo>
                <a:cubicBezTo>
                  <a:pt x="1021" y="506"/>
                  <a:pt x="1020" y="504"/>
                  <a:pt x="1019" y="503"/>
                </a:cubicBezTo>
                <a:cubicBezTo>
                  <a:pt x="1018" y="502"/>
                  <a:pt x="1018" y="503"/>
                  <a:pt x="1018" y="501"/>
                </a:cubicBezTo>
                <a:cubicBezTo>
                  <a:pt x="1018" y="501"/>
                  <a:pt x="1018" y="501"/>
                  <a:pt x="1018" y="500"/>
                </a:cubicBezTo>
                <a:cubicBezTo>
                  <a:pt x="1018" y="500"/>
                  <a:pt x="1017" y="500"/>
                  <a:pt x="1017" y="500"/>
                </a:cubicBezTo>
                <a:cubicBezTo>
                  <a:pt x="1017" y="499"/>
                  <a:pt x="1017" y="499"/>
                  <a:pt x="1017" y="499"/>
                </a:cubicBezTo>
                <a:cubicBezTo>
                  <a:pt x="1016" y="499"/>
                  <a:pt x="1015" y="498"/>
                  <a:pt x="1015" y="498"/>
                </a:cubicBezTo>
                <a:cubicBezTo>
                  <a:pt x="1013" y="497"/>
                  <a:pt x="1014" y="494"/>
                  <a:pt x="1011" y="493"/>
                </a:cubicBezTo>
                <a:cubicBezTo>
                  <a:pt x="1010" y="493"/>
                  <a:pt x="1009" y="493"/>
                  <a:pt x="1009" y="493"/>
                </a:cubicBezTo>
                <a:cubicBezTo>
                  <a:pt x="1009" y="492"/>
                  <a:pt x="1009" y="492"/>
                  <a:pt x="1009" y="492"/>
                </a:cubicBezTo>
                <a:cubicBezTo>
                  <a:pt x="1009" y="491"/>
                  <a:pt x="1008" y="492"/>
                  <a:pt x="1008" y="491"/>
                </a:cubicBezTo>
                <a:cubicBezTo>
                  <a:pt x="1007" y="491"/>
                  <a:pt x="1007" y="489"/>
                  <a:pt x="1006" y="489"/>
                </a:cubicBezTo>
                <a:cubicBezTo>
                  <a:pt x="1006" y="491"/>
                  <a:pt x="1005" y="489"/>
                  <a:pt x="1005" y="489"/>
                </a:cubicBezTo>
                <a:cubicBezTo>
                  <a:pt x="1004" y="488"/>
                  <a:pt x="1004" y="486"/>
                  <a:pt x="1003" y="485"/>
                </a:cubicBezTo>
                <a:cubicBezTo>
                  <a:pt x="1003" y="484"/>
                  <a:pt x="1004" y="481"/>
                  <a:pt x="1003" y="481"/>
                </a:cubicBezTo>
                <a:cubicBezTo>
                  <a:pt x="1003" y="481"/>
                  <a:pt x="1003" y="480"/>
                  <a:pt x="1003" y="479"/>
                </a:cubicBezTo>
                <a:cubicBezTo>
                  <a:pt x="1003" y="479"/>
                  <a:pt x="1003" y="479"/>
                  <a:pt x="1003" y="478"/>
                </a:cubicBezTo>
                <a:cubicBezTo>
                  <a:pt x="1003" y="477"/>
                  <a:pt x="1003" y="478"/>
                  <a:pt x="1002" y="478"/>
                </a:cubicBezTo>
                <a:cubicBezTo>
                  <a:pt x="1002" y="477"/>
                  <a:pt x="1002" y="477"/>
                  <a:pt x="1002" y="477"/>
                </a:cubicBezTo>
                <a:cubicBezTo>
                  <a:pt x="1002" y="477"/>
                  <a:pt x="1002" y="477"/>
                  <a:pt x="1002" y="477"/>
                </a:cubicBezTo>
                <a:cubicBezTo>
                  <a:pt x="1002" y="477"/>
                  <a:pt x="1002" y="476"/>
                  <a:pt x="1002" y="476"/>
                </a:cubicBezTo>
                <a:cubicBezTo>
                  <a:pt x="1002" y="475"/>
                  <a:pt x="1002" y="476"/>
                  <a:pt x="1002" y="475"/>
                </a:cubicBezTo>
                <a:cubicBezTo>
                  <a:pt x="1001" y="474"/>
                  <a:pt x="1000" y="475"/>
                  <a:pt x="999" y="474"/>
                </a:cubicBezTo>
                <a:cubicBezTo>
                  <a:pt x="999" y="473"/>
                  <a:pt x="998" y="472"/>
                  <a:pt x="997" y="471"/>
                </a:cubicBezTo>
                <a:cubicBezTo>
                  <a:pt x="997" y="471"/>
                  <a:pt x="996" y="470"/>
                  <a:pt x="995" y="470"/>
                </a:cubicBezTo>
                <a:cubicBezTo>
                  <a:pt x="995" y="470"/>
                  <a:pt x="995" y="469"/>
                  <a:pt x="995" y="468"/>
                </a:cubicBezTo>
                <a:cubicBezTo>
                  <a:pt x="995" y="468"/>
                  <a:pt x="995" y="468"/>
                  <a:pt x="994" y="467"/>
                </a:cubicBezTo>
                <a:cubicBezTo>
                  <a:pt x="994" y="467"/>
                  <a:pt x="994" y="466"/>
                  <a:pt x="994" y="466"/>
                </a:cubicBezTo>
                <a:cubicBezTo>
                  <a:pt x="994" y="466"/>
                  <a:pt x="994" y="464"/>
                  <a:pt x="994" y="464"/>
                </a:cubicBezTo>
                <a:cubicBezTo>
                  <a:pt x="994" y="464"/>
                  <a:pt x="994" y="463"/>
                  <a:pt x="994" y="462"/>
                </a:cubicBezTo>
                <a:cubicBezTo>
                  <a:pt x="995" y="462"/>
                  <a:pt x="995" y="462"/>
                  <a:pt x="995" y="461"/>
                </a:cubicBezTo>
                <a:cubicBezTo>
                  <a:pt x="995" y="461"/>
                  <a:pt x="994" y="460"/>
                  <a:pt x="994" y="459"/>
                </a:cubicBezTo>
                <a:cubicBezTo>
                  <a:pt x="994" y="459"/>
                  <a:pt x="995" y="459"/>
                  <a:pt x="995" y="459"/>
                </a:cubicBezTo>
                <a:cubicBezTo>
                  <a:pt x="994" y="459"/>
                  <a:pt x="994" y="459"/>
                  <a:pt x="994" y="458"/>
                </a:cubicBezTo>
                <a:cubicBezTo>
                  <a:pt x="994" y="458"/>
                  <a:pt x="994" y="458"/>
                  <a:pt x="994" y="458"/>
                </a:cubicBezTo>
                <a:cubicBezTo>
                  <a:pt x="994" y="457"/>
                  <a:pt x="994" y="457"/>
                  <a:pt x="994" y="456"/>
                </a:cubicBezTo>
                <a:cubicBezTo>
                  <a:pt x="994" y="456"/>
                  <a:pt x="994" y="456"/>
                  <a:pt x="994" y="456"/>
                </a:cubicBezTo>
                <a:cubicBezTo>
                  <a:pt x="994" y="455"/>
                  <a:pt x="993" y="455"/>
                  <a:pt x="993" y="454"/>
                </a:cubicBezTo>
                <a:cubicBezTo>
                  <a:pt x="993" y="454"/>
                  <a:pt x="993" y="454"/>
                  <a:pt x="993" y="453"/>
                </a:cubicBezTo>
                <a:cubicBezTo>
                  <a:pt x="993" y="453"/>
                  <a:pt x="992" y="453"/>
                  <a:pt x="992" y="453"/>
                </a:cubicBezTo>
                <a:cubicBezTo>
                  <a:pt x="992" y="452"/>
                  <a:pt x="992" y="452"/>
                  <a:pt x="992" y="452"/>
                </a:cubicBezTo>
                <a:cubicBezTo>
                  <a:pt x="992" y="450"/>
                  <a:pt x="992" y="451"/>
                  <a:pt x="991" y="450"/>
                </a:cubicBezTo>
                <a:cubicBezTo>
                  <a:pt x="990" y="449"/>
                  <a:pt x="991" y="450"/>
                  <a:pt x="990" y="449"/>
                </a:cubicBezTo>
                <a:cubicBezTo>
                  <a:pt x="989" y="448"/>
                  <a:pt x="988" y="448"/>
                  <a:pt x="988" y="447"/>
                </a:cubicBezTo>
                <a:cubicBezTo>
                  <a:pt x="987" y="447"/>
                  <a:pt x="987" y="446"/>
                  <a:pt x="987" y="446"/>
                </a:cubicBezTo>
                <a:cubicBezTo>
                  <a:pt x="987" y="446"/>
                  <a:pt x="987" y="445"/>
                  <a:pt x="987" y="445"/>
                </a:cubicBezTo>
                <a:cubicBezTo>
                  <a:pt x="987" y="444"/>
                  <a:pt x="987" y="444"/>
                  <a:pt x="987" y="444"/>
                </a:cubicBezTo>
                <a:cubicBezTo>
                  <a:pt x="986" y="444"/>
                  <a:pt x="986" y="445"/>
                  <a:pt x="986" y="444"/>
                </a:cubicBezTo>
                <a:cubicBezTo>
                  <a:pt x="986" y="442"/>
                  <a:pt x="986" y="441"/>
                  <a:pt x="986" y="440"/>
                </a:cubicBezTo>
                <a:cubicBezTo>
                  <a:pt x="986" y="440"/>
                  <a:pt x="987" y="440"/>
                  <a:pt x="987" y="440"/>
                </a:cubicBezTo>
                <a:cubicBezTo>
                  <a:pt x="987" y="439"/>
                  <a:pt x="986" y="439"/>
                  <a:pt x="986" y="438"/>
                </a:cubicBezTo>
                <a:cubicBezTo>
                  <a:pt x="986" y="437"/>
                  <a:pt x="985" y="438"/>
                  <a:pt x="985" y="436"/>
                </a:cubicBezTo>
                <a:cubicBezTo>
                  <a:pt x="985" y="436"/>
                  <a:pt x="985" y="435"/>
                  <a:pt x="984" y="435"/>
                </a:cubicBezTo>
                <a:cubicBezTo>
                  <a:pt x="984" y="435"/>
                  <a:pt x="984" y="435"/>
                  <a:pt x="984" y="434"/>
                </a:cubicBezTo>
                <a:cubicBezTo>
                  <a:pt x="984" y="434"/>
                  <a:pt x="984" y="435"/>
                  <a:pt x="984" y="434"/>
                </a:cubicBezTo>
                <a:cubicBezTo>
                  <a:pt x="984" y="434"/>
                  <a:pt x="983" y="433"/>
                  <a:pt x="983" y="433"/>
                </a:cubicBezTo>
                <a:cubicBezTo>
                  <a:pt x="983" y="432"/>
                  <a:pt x="983" y="431"/>
                  <a:pt x="982" y="431"/>
                </a:cubicBezTo>
                <a:cubicBezTo>
                  <a:pt x="980" y="431"/>
                  <a:pt x="980" y="428"/>
                  <a:pt x="979" y="427"/>
                </a:cubicBezTo>
                <a:cubicBezTo>
                  <a:pt x="979" y="425"/>
                  <a:pt x="978" y="424"/>
                  <a:pt x="978" y="422"/>
                </a:cubicBezTo>
                <a:cubicBezTo>
                  <a:pt x="977" y="421"/>
                  <a:pt x="976" y="421"/>
                  <a:pt x="976" y="420"/>
                </a:cubicBezTo>
                <a:cubicBezTo>
                  <a:pt x="976" y="420"/>
                  <a:pt x="976" y="419"/>
                  <a:pt x="976" y="419"/>
                </a:cubicBezTo>
                <a:cubicBezTo>
                  <a:pt x="976" y="418"/>
                  <a:pt x="976" y="417"/>
                  <a:pt x="975" y="417"/>
                </a:cubicBezTo>
                <a:cubicBezTo>
                  <a:pt x="975" y="416"/>
                  <a:pt x="975" y="416"/>
                  <a:pt x="974" y="415"/>
                </a:cubicBezTo>
                <a:cubicBezTo>
                  <a:pt x="973" y="414"/>
                  <a:pt x="972" y="412"/>
                  <a:pt x="972" y="411"/>
                </a:cubicBezTo>
                <a:cubicBezTo>
                  <a:pt x="973" y="411"/>
                  <a:pt x="972" y="410"/>
                  <a:pt x="973" y="410"/>
                </a:cubicBezTo>
                <a:cubicBezTo>
                  <a:pt x="973" y="410"/>
                  <a:pt x="974" y="411"/>
                  <a:pt x="974" y="411"/>
                </a:cubicBezTo>
                <a:cubicBezTo>
                  <a:pt x="974" y="412"/>
                  <a:pt x="974" y="412"/>
                  <a:pt x="975" y="412"/>
                </a:cubicBezTo>
                <a:cubicBezTo>
                  <a:pt x="975" y="412"/>
                  <a:pt x="975" y="414"/>
                  <a:pt x="975" y="414"/>
                </a:cubicBezTo>
                <a:cubicBezTo>
                  <a:pt x="976" y="414"/>
                  <a:pt x="976" y="415"/>
                  <a:pt x="976" y="415"/>
                </a:cubicBezTo>
                <a:cubicBezTo>
                  <a:pt x="976" y="415"/>
                  <a:pt x="977" y="417"/>
                  <a:pt x="978" y="417"/>
                </a:cubicBezTo>
                <a:cubicBezTo>
                  <a:pt x="979" y="418"/>
                  <a:pt x="979" y="418"/>
                  <a:pt x="980" y="418"/>
                </a:cubicBezTo>
                <a:cubicBezTo>
                  <a:pt x="981" y="418"/>
                  <a:pt x="981" y="416"/>
                  <a:pt x="982" y="415"/>
                </a:cubicBezTo>
                <a:cubicBezTo>
                  <a:pt x="982" y="415"/>
                  <a:pt x="982" y="415"/>
                  <a:pt x="982" y="415"/>
                </a:cubicBezTo>
                <a:cubicBezTo>
                  <a:pt x="982" y="414"/>
                  <a:pt x="982" y="414"/>
                  <a:pt x="982" y="414"/>
                </a:cubicBezTo>
                <a:cubicBezTo>
                  <a:pt x="982" y="415"/>
                  <a:pt x="982" y="416"/>
                  <a:pt x="982" y="417"/>
                </a:cubicBezTo>
                <a:cubicBezTo>
                  <a:pt x="983" y="417"/>
                  <a:pt x="984" y="417"/>
                  <a:pt x="985" y="417"/>
                </a:cubicBezTo>
                <a:cubicBezTo>
                  <a:pt x="986" y="417"/>
                  <a:pt x="985" y="418"/>
                  <a:pt x="986" y="418"/>
                </a:cubicBezTo>
                <a:cubicBezTo>
                  <a:pt x="987" y="418"/>
                  <a:pt x="987" y="419"/>
                  <a:pt x="987" y="420"/>
                </a:cubicBezTo>
                <a:cubicBezTo>
                  <a:pt x="987" y="421"/>
                  <a:pt x="987" y="422"/>
                  <a:pt x="988" y="422"/>
                </a:cubicBezTo>
                <a:cubicBezTo>
                  <a:pt x="988" y="422"/>
                  <a:pt x="988" y="423"/>
                  <a:pt x="988" y="423"/>
                </a:cubicBezTo>
                <a:cubicBezTo>
                  <a:pt x="988" y="423"/>
                  <a:pt x="988" y="424"/>
                  <a:pt x="988" y="424"/>
                </a:cubicBezTo>
                <a:cubicBezTo>
                  <a:pt x="989" y="424"/>
                  <a:pt x="989" y="424"/>
                  <a:pt x="989" y="425"/>
                </a:cubicBezTo>
                <a:cubicBezTo>
                  <a:pt x="990" y="426"/>
                  <a:pt x="990" y="426"/>
                  <a:pt x="991" y="427"/>
                </a:cubicBezTo>
                <a:cubicBezTo>
                  <a:pt x="991" y="427"/>
                  <a:pt x="991" y="428"/>
                  <a:pt x="991" y="428"/>
                </a:cubicBezTo>
                <a:cubicBezTo>
                  <a:pt x="991" y="428"/>
                  <a:pt x="992" y="429"/>
                  <a:pt x="992" y="429"/>
                </a:cubicBezTo>
                <a:cubicBezTo>
                  <a:pt x="992" y="429"/>
                  <a:pt x="993" y="429"/>
                  <a:pt x="993" y="430"/>
                </a:cubicBezTo>
                <a:cubicBezTo>
                  <a:pt x="993" y="430"/>
                  <a:pt x="993" y="430"/>
                  <a:pt x="993" y="430"/>
                </a:cubicBezTo>
                <a:cubicBezTo>
                  <a:pt x="994" y="431"/>
                  <a:pt x="994" y="429"/>
                  <a:pt x="994" y="431"/>
                </a:cubicBezTo>
                <a:cubicBezTo>
                  <a:pt x="994" y="431"/>
                  <a:pt x="994" y="432"/>
                  <a:pt x="994" y="432"/>
                </a:cubicBezTo>
                <a:cubicBezTo>
                  <a:pt x="994" y="432"/>
                  <a:pt x="995" y="432"/>
                  <a:pt x="995" y="432"/>
                </a:cubicBezTo>
                <a:cubicBezTo>
                  <a:pt x="995" y="433"/>
                  <a:pt x="995" y="434"/>
                  <a:pt x="995" y="435"/>
                </a:cubicBezTo>
                <a:cubicBezTo>
                  <a:pt x="995" y="435"/>
                  <a:pt x="996" y="437"/>
                  <a:pt x="996" y="437"/>
                </a:cubicBezTo>
                <a:cubicBezTo>
                  <a:pt x="997" y="437"/>
                  <a:pt x="999" y="439"/>
                  <a:pt x="1000" y="440"/>
                </a:cubicBezTo>
                <a:cubicBezTo>
                  <a:pt x="1000" y="440"/>
                  <a:pt x="1000" y="441"/>
                  <a:pt x="1000" y="441"/>
                </a:cubicBezTo>
                <a:cubicBezTo>
                  <a:pt x="1001" y="441"/>
                  <a:pt x="1000" y="441"/>
                  <a:pt x="1001" y="442"/>
                </a:cubicBezTo>
                <a:cubicBezTo>
                  <a:pt x="1001" y="442"/>
                  <a:pt x="1001" y="442"/>
                  <a:pt x="1001" y="443"/>
                </a:cubicBezTo>
                <a:cubicBezTo>
                  <a:pt x="1001" y="443"/>
                  <a:pt x="1001" y="443"/>
                  <a:pt x="1001" y="443"/>
                </a:cubicBezTo>
                <a:cubicBezTo>
                  <a:pt x="1001" y="444"/>
                  <a:pt x="1002" y="444"/>
                  <a:pt x="1002" y="445"/>
                </a:cubicBezTo>
                <a:cubicBezTo>
                  <a:pt x="1002" y="446"/>
                  <a:pt x="1002" y="446"/>
                  <a:pt x="1002" y="447"/>
                </a:cubicBezTo>
                <a:cubicBezTo>
                  <a:pt x="1002" y="448"/>
                  <a:pt x="1002" y="449"/>
                  <a:pt x="1002" y="450"/>
                </a:cubicBezTo>
                <a:cubicBezTo>
                  <a:pt x="1002" y="450"/>
                  <a:pt x="1002" y="451"/>
                  <a:pt x="1001" y="451"/>
                </a:cubicBezTo>
                <a:cubicBezTo>
                  <a:pt x="1001" y="452"/>
                  <a:pt x="1001" y="453"/>
                  <a:pt x="1001" y="453"/>
                </a:cubicBezTo>
                <a:cubicBezTo>
                  <a:pt x="1001" y="453"/>
                  <a:pt x="1002" y="453"/>
                  <a:pt x="1002" y="453"/>
                </a:cubicBezTo>
                <a:cubicBezTo>
                  <a:pt x="1002" y="453"/>
                  <a:pt x="1003" y="454"/>
                  <a:pt x="1003" y="454"/>
                </a:cubicBezTo>
                <a:cubicBezTo>
                  <a:pt x="1003" y="456"/>
                  <a:pt x="1002" y="457"/>
                  <a:pt x="1003" y="458"/>
                </a:cubicBezTo>
                <a:cubicBezTo>
                  <a:pt x="1003" y="458"/>
                  <a:pt x="1003" y="458"/>
                  <a:pt x="1003" y="458"/>
                </a:cubicBezTo>
                <a:cubicBezTo>
                  <a:pt x="1003" y="459"/>
                  <a:pt x="1003" y="459"/>
                  <a:pt x="1003" y="459"/>
                </a:cubicBezTo>
                <a:cubicBezTo>
                  <a:pt x="1003" y="460"/>
                  <a:pt x="1004" y="461"/>
                  <a:pt x="1004" y="462"/>
                </a:cubicBezTo>
                <a:cubicBezTo>
                  <a:pt x="1004" y="463"/>
                  <a:pt x="1005" y="463"/>
                  <a:pt x="1006" y="463"/>
                </a:cubicBezTo>
                <a:cubicBezTo>
                  <a:pt x="1006" y="463"/>
                  <a:pt x="1006" y="464"/>
                  <a:pt x="1006" y="464"/>
                </a:cubicBezTo>
                <a:cubicBezTo>
                  <a:pt x="1006" y="464"/>
                  <a:pt x="1007" y="464"/>
                  <a:pt x="1007" y="465"/>
                </a:cubicBezTo>
                <a:cubicBezTo>
                  <a:pt x="1007" y="465"/>
                  <a:pt x="1007" y="465"/>
                  <a:pt x="1008" y="465"/>
                </a:cubicBezTo>
                <a:cubicBezTo>
                  <a:pt x="1008" y="465"/>
                  <a:pt x="1009" y="465"/>
                  <a:pt x="1009" y="465"/>
                </a:cubicBezTo>
                <a:cubicBezTo>
                  <a:pt x="1009" y="466"/>
                  <a:pt x="1009" y="466"/>
                  <a:pt x="1009" y="466"/>
                </a:cubicBezTo>
                <a:cubicBezTo>
                  <a:pt x="1009" y="466"/>
                  <a:pt x="1010" y="466"/>
                  <a:pt x="1010" y="467"/>
                </a:cubicBezTo>
                <a:cubicBezTo>
                  <a:pt x="1011" y="467"/>
                  <a:pt x="1011" y="467"/>
                  <a:pt x="1011" y="467"/>
                </a:cubicBezTo>
                <a:cubicBezTo>
                  <a:pt x="1011" y="467"/>
                  <a:pt x="1010" y="468"/>
                  <a:pt x="1011" y="468"/>
                </a:cubicBezTo>
                <a:cubicBezTo>
                  <a:pt x="1011" y="468"/>
                  <a:pt x="1012" y="468"/>
                  <a:pt x="1012" y="469"/>
                </a:cubicBezTo>
                <a:cubicBezTo>
                  <a:pt x="1012" y="469"/>
                  <a:pt x="1012" y="469"/>
                  <a:pt x="1012" y="469"/>
                </a:cubicBezTo>
                <a:cubicBezTo>
                  <a:pt x="1012" y="469"/>
                  <a:pt x="1012" y="471"/>
                  <a:pt x="1012" y="471"/>
                </a:cubicBezTo>
                <a:cubicBezTo>
                  <a:pt x="1013" y="471"/>
                  <a:pt x="1012" y="471"/>
                  <a:pt x="1013" y="472"/>
                </a:cubicBezTo>
                <a:cubicBezTo>
                  <a:pt x="1013" y="472"/>
                  <a:pt x="1014" y="472"/>
                  <a:pt x="1014" y="473"/>
                </a:cubicBezTo>
                <a:cubicBezTo>
                  <a:pt x="1014" y="474"/>
                  <a:pt x="1013" y="475"/>
                  <a:pt x="1014" y="476"/>
                </a:cubicBezTo>
                <a:cubicBezTo>
                  <a:pt x="1015" y="476"/>
                  <a:pt x="1016" y="477"/>
                  <a:pt x="1016" y="478"/>
                </a:cubicBezTo>
                <a:cubicBezTo>
                  <a:pt x="1016" y="478"/>
                  <a:pt x="1016" y="478"/>
                  <a:pt x="1017" y="479"/>
                </a:cubicBezTo>
                <a:cubicBezTo>
                  <a:pt x="1018" y="479"/>
                  <a:pt x="1017" y="479"/>
                  <a:pt x="1017" y="480"/>
                </a:cubicBezTo>
                <a:cubicBezTo>
                  <a:pt x="1017" y="480"/>
                  <a:pt x="1018" y="481"/>
                  <a:pt x="1018" y="481"/>
                </a:cubicBezTo>
                <a:cubicBezTo>
                  <a:pt x="1019" y="481"/>
                  <a:pt x="1019" y="482"/>
                  <a:pt x="1020" y="482"/>
                </a:cubicBezTo>
                <a:cubicBezTo>
                  <a:pt x="1020" y="483"/>
                  <a:pt x="1020" y="486"/>
                  <a:pt x="1020" y="487"/>
                </a:cubicBezTo>
                <a:cubicBezTo>
                  <a:pt x="1020" y="487"/>
                  <a:pt x="1020" y="488"/>
                  <a:pt x="1020" y="488"/>
                </a:cubicBezTo>
                <a:cubicBezTo>
                  <a:pt x="1020" y="488"/>
                  <a:pt x="1019" y="488"/>
                  <a:pt x="1020" y="488"/>
                </a:cubicBezTo>
                <a:cubicBezTo>
                  <a:pt x="1020" y="489"/>
                  <a:pt x="1020" y="489"/>
                  <a:pt x="1020" y="489"/>
                </a:cubicBezTo>
                <a:cubicBezTo>
                  <a:pt x="1020" y="490"/>
                  <a:pt x="1020" y="490"/>
                  <a:pt x="1020" y="491"/>
                </a:cubicBezTo>
                <a:cubicBezTo>
                  <a:pt x="1020" y="492"/>
                  <a:pt x="1019" y="492"/>
                  <a:pt x="1020" y="493"/>
                </a:cubicBezTo>
                <a:cubicBezTo>
                  <a:pt x="1020" y="493"/>
                  <a:pt x="1020" y="494"/>
                  <a:pt x="1020" y="495"/>
                </a:cubicBezTo>
                <a:cubicBezTo>
                  <a:pt x="1020" y="495"/>
                  <a:pt x="1021" y="495"/>
                  <a:pt x="1021" y="495"/>
                </a:cubicBezTo>
                <a:cubicBezTo>
                  <a:pt x="1021" y="496"/>
                  <a:pt x="1021" y="496"/>
                  <a:pt x="1021" y="496"/>
                </a:cubicBezTo>
                <a:cubicBezTo>
                  <a:pt x="1021" y="496"/>
                  <a:pt x="1021" y="497"/>
                  <a:pt x="1021" y="498"/>
                </a:cubicBezTo>
                <a:cubicBezTo>
                  <a:pt x="1021" y="498"/>
                  <a:pt x="1021" y="498"/>
                  <a:pt x="1021" y="499"/>
                </a:cubicBezTo>
                <a:cubicBezTo>
                  <a:pt x="1021" y="499"/>
                  <a:pt x="1023" y="499"/>
                  <a:pt x="1022" y="500"/>
                </a:cubicBezTo>
                <a:cubicBezTo>
                  <a:pt x="1022" y="501"/>
                  <a:pt x="1022" y="502"/>
                  <a:pt x="1022" y="503"/>
                </a:cubicBezTo>
                <a:cubicBezTo>
                  <a:pt x="1023" y="503"/>
                  <a:pt x="1023" y="505"/>
                  <a:pt x="1023" y="505"/>
                </a:cubicBezTo>
                <a:cubicBezTo>
                  <a:pt x="1024" y="505"/>
                  <a:pt x="1026" y="506"/>
                  <a:pt x="1028" y="506"/>
                </a:cubicBezTo>
                <a:cubicBezTo>
                  <a:pt x="1029" y="506"/>
                  <a:pt x="1028" y="505"/>
                  <a:pt x="1029" y="505"/>
                </a:cubicBezTo>
                <a:cubicBezTo>
                  <a:pt x="1029" y="505"/>
                  <a:pt x="1031" y="506"/>
                  <a:pt x="1031" y="505"/>
                </a:cubicBezTo>
                <a:cubicBezTo>
                  <a:pt x="1031" y="505"/>
                  <a:pt x="1031" y="505"/>
                  <a:pt x="1032" y="505"/>
                </a:cubicBezTo>
                <a:cubicBezTo>
                  <a:pt x="1032" y="504"/>
                  <a:pt x="1033" y="503"/>
                  <a:pt x="1033" y="503"/>
                </a:cubicBezTo>
                <a:cubicBezTo>
                  <a:pt x="1034" y="503"/>
                  <a:pt x="1035" y="503"/>
                  <a:pt x="1035" y="502"/>
                </a:cubicBezTo>
                <a:cubicBezTo>
                  <a:pt x="1035" y="502"/>
                  <a:pt x="1037" y="502"/>
                  <a:pt x="1038" y="502"/>
                </a:cubicBezTo>
                <a:cubicBezTo>
                  <a:pt x="1038" y="503"/>
                  <a:pt x="1042" y="501"/>
                  <a:pt x="1041" y="501"/>
                </a:cubicBezTo>
                <a:cubicBezTo>
                  <a:pt x="1042" y="501"/>
                  <a:pt x="1042" y="501"/>
                  <a:pt x="1042" y="500"/>
                </a:cubicBezTo>
                <a:cubicBezTo>
                  <a:pt x="1043" y="500"/>
                  <a:pt x="1043" y="500"/>
                  <a:pt x="1043" y="499"/>
                </a:cubicBezTo>
                <a:cubicBezTo>
                  <a:pt x="1043" y="499"/>
                  <a:pt x="1044" y="499"/>
                  <a:pt x="1045" y="499"/>
                </a:cubicBezTo>
                <a:cubicBezTo>
                  <a:pt x="1046" y="499"/>
                  <a:pt x="1045" y="499"/>
                  <a:pt x="1046" y="499"/>
                </a:cubicBezTo>
                <a:cubicBezTo>
                  <a:pt x="1046" y="498"/>
                  <a:pt x="1047" y="499"/>
                  <a:pt x="1048" y="499"/>
                </a:cubicBezTo>
                <a:cubicBezTo>
                  <a:pt x="1048" y="499"/>
                  <a:pt x="1051" y="496"/>
                  <a:pt x="1051" y="496"/>
                </a:cubicBezTo>
                <a:cubicBezTo>
                  <a:pt x="1051" y="496"/>
                  <a:pt x="1051" y="496"/>
                  <a:pt x="1051" y="496"/>
                </a:cubicBezTo>
                <a:cubicBezTo>
                  <a:pt x="1052" y="496"/>
                  <a:pt x="1051" y="496"/>
                  <a:pt x="1052" y="495"/>
                </a:cubicBezTo>
                <a:cubicBezTo>
                  <a:pt x="1052" y="495"/>
                  <a:pt x="1053" y="495"/>
                  <a:pt x="1053" y="495"/>
                </a:cubicBezTo>
                <a:cubicBezTo>
                  <a:pt x="1053" y="495"/>
                  <a:pt x="1053" y="495"/>
                  <a:pt x="1053" y="495"/>
                </a:cubicBezTo>
                <a:cubicBezTo>
                  <a:pt x="1053" y="495"/>
                  <a:pt x="1054" y="495"/>
                  <a:pt x="1055" y="495"/>
                </a:cubicBezTo>
                <a:cubicBezTo>
                  <a:pt x="1056" y="494"/>
                  <a:pt x="1055" y="494"/>
                  <a:pt x="1056" y="494"/>
                </a:cubicBezTo>
                <a:cubicBezTo>
                  <a:pt x="1057" y="494"/>
                  <a:pt x="1056" y="494"/>
                  <a:pt x="1057" y="494"/>
                </a:cubicBezTo>
                <a:cubicBezTo>
                  <a:pt x="1057" y="494"/>
                  <a:pt x="1057" y="494"/>
                  <a:pt x="1057" y="494"/>
                </a:cubicBezTo>
                <a:cubicBezTo>
                  <a:pt x="1057" y="494"/>
                  <a:pt x="1057" y="493"/>
                  <a:pt x="1057" y="493"/>
                </a:cubicBezTo>
                <a:cubicBezTo>
                  <a:pt x="1058" y="493"/>
                  <a:pt x="1058" y="494"/>
                  <a:pt x="1059" y="493"/>
                </a:cubicBezTo>
                <a:cubicBezTo>
                  <a:pt x="1059" y="492"/>
                  <a:pt x="1060" y="492"/>
                  <a:pt x="1060" y="492"/>
                </a:cubicBezTo>
                <a:cubicBezTo>
                  <a:pt x="1061" y="492"/>
                  <a:pt x="1063" y="490"/>
                  <a:pt x="1064" y="489"/>
                </a:cubicBezTo>
                <a:cubicBezTo>
                  <a:pt x="1064" y="488"/>
                  <a:pt x="1065" y="488"/>
                  <a:pt x="1066" y="488"/>
                </a:cubicBezTo>
                <a:cubicBezTo>
                  <a:pt x="1066" y="488"/>
                  <a:pt x="1065" y="487"/>
                  <a:pt x="1065" y="487"/>
                </a:cubicBezTo>
                <a:cubicBezTo>
                  <a:pt x="1065" y="487"/>
                  <a:pt x="1065" y="487"/>
                  <a:pt x="1065" y="487"/>
                </a:cubicBezTo>
                <a:cubicBezTo>
                  <a:pt x="1065" y="486"/>
                  <a:pt x="1065" y="486"/>
                  <a:pt x="1065" y="486"/>
                </a:cubicBezTo>
                <a:cubicBezTo>
                  <a:pt x="1065" y="485"/>
                  <a:pt x="1066" y="485"/>
                  <a:pt x="1067" y="484"/>
                </a:cubicBezTo>
                <a:cubicBezTo>
                  <a:pt x="1067" y="484"/>
                  <a:pt x="1068" y="485"/>
                  <a:pt x="1068" y="484"/>
                </a:cubicBezTo>
                <a:cubicBezTo>
                  <a:pt x="1068" y="484"/>
                  <a:pt x="1068" y="484"/>
                  <a:pt x="1068" y="484"/>
                </a:cubicBezTo>
                <a:cubicBezTo>
                  <a:pt x="1069" y="484"/>
                  <a:pt x="1069" y="484"/>
                  <a:pt x="1069" y="483"/>
                </a:cubicBezTo>
                <a:cubicBezTo>
                  <a:pt x="1070" y="483"/>
                  <a:pt x="1071" y="483"/>
                  <a:pt x="1072" y="483"/>
                </a:cubicBezTo>
                <a:cubicBezTo>
                  <a:pt x="1074" y="482"/>
                  <a:pt x="1072" y="482"/>
                  <a:pt x="1073" y="482"/>
                </a:cubicBezTo>
                <a:cubicBezTo>
                  <a:pt x="1073" y="482"/>
                  <a:pt x="1075" y="482"/>
                  <a:pt x="1075" y="481"/>
                </a:cubicBezTo>
                <a:cubicBezTo>
                  <a:pt x="1075" y="481"/>
                  <a:pt x="1077" y="481"/>
                  <a:pt x="1077" y="481"/>
                </a:cubicBezTo>
                <a:cubicBezTo>
                  <a:pt x="1078" y="480"/>
                  <a:pt x="1077" y="481"/>
                  <a:pt x="1078" y="480"/>
                </a:cubicBezTo>
                <a:cubicBezTo>
                  <a:pt x="1078" y="480"/>
                  <a:pt x="1078" y="480"/>
                  <a:pt x="1079" y="480"/>
                </a:cubicBezTo>
                <a:cubicBezTo>
                  <a:pt x="1079" y="479"/>
                  <a:pt x="1079" y="479"/>
                  <a:pt x="1079" y="479"/>
                </a:cubicBezTo>
                <a:cubicBezTo>
                  <a:pt x="1079" y="478"/>
                  <a:pt x="1080" y="478"/>
                  <a:pt x="1080" y="477"/>
                </a:cubicBezTo>
                <a:cubicBezTo>
                  <a:pt x="1080" y="476"/>
                  <a:pt x="1081" y="477"/>
                  <a:pt x="1082" y="477"/>
                </a:cubicBezTo>
                <a:cubicBezTo>
                  <a:pt x="1083" y="477"/>
                  <a:pt x="1083" y="477"/>
                  <a:pt x="1084" y="476"/>
                </a:cubicBezTo>
                <a:cubicBezTo>
                  <a:pt x="1086" y="476"/>
                  <a:pt x="1085" y="475"/>
                  <a:pt x="1085" y="474"/>
                </a:cubicBezTo>
                <a:cubicBezTo>
                  <a:pt x="1086" y="474"/>
                  <a:pt x="1086" y="474"/>
                  <a:pt x="1086" y="473"/>
                </a:cubicBezTo>
                <a:cubicBezTo>
                  <a:pt x="1086" y="473"/>
                  <a:pt x="1087" y="473"/>
                  <a:pt x="1087" y="472"/>
                </a:cubicBezTo>
                <a:cubicBezTo>
                  <a:pt x="1088" y="471"/>
                  <a:pt x="1091" y="472"/>
                  <a:pt x="1092" y="471"/>
                </a:cubicBezTo>
                <a:cubicBezTo>
                  <a:pt x="1092" y="470"/>
                  <a:pt x="1092" y="470"/>
                  <a:pt x="1092" y="469"/>
                </a:cubicBezTo>
                <a:cubicBezTo>
                  <a:pt x="1092" y="468"/>
                  <a:pt x="1092" y="467"/>
                  <a:pt x="1092" y="466"/>
                </a:cubicBezTo>
                <a:cubicBezTo>
                  <a:pt x="1092" y="466"/>
                  <a:pt x="1092" y="466"/>
                  <a:pt x="1092" y="466"/>
                </a:cubicBezTo>
                <a:cubicBezTo>
                  <a:pt x="1092" y="465"/>
                  <a:pt x="1093" y="465"/>
                  <a:pt x="1093" y="465"/>
                </a:cubicBezTo>
                <a:cubicBezTo>
                  <a:pt x="1093" y="464"/>
                  <a:pt x="1093" y="464"/>
                  <a:pt x="1093" y="463"/>
                </a:cubicBezTo>
                <a:cubicBezTo>
                  <a:pt x="1094" y="463"/>
                  <a:pt x="1094" y="463"/>
                  <a:pt x="1095" y="463"/>
                </a:cubicBezTo>
                <a:cubicBezTo>
                  <a:pt x="1095" y="462"/>
                  <a:pt x="1095" y="462"/>
                  <a:pt x="1095" y="461"/>
                </a:cubicBezTo>
                <a:cubicBezTo>
                  <a:pt x="1096" y="460"/>
                  <a:pt x="1096" y="460"/>
                  <a:pt x="1096" y="458"/>
                </a:cubicBezTo>
                <a:cubicBezTo>
                  <a:pt x="1097" y="458"/>
                  <a:pt x="1097" y="457"/>
                  <a:pt x="1098" y="457"/>
                </a:cubicBezTo>
                <a:cubicBezTo>
                  <a:pt x="1098" y="456"/>
                  <a:pt x="1098" y="456"/>
                  <a:pt x="1098" y="456"/>
                </a:cubicBezTo>
                <a:cubicBezTo>
                  <a:pt x="1098" y="455"/>
                  <a:pt x="1099" y="456"/>
                  <a:pt x="1099" y="455"/>
                </a:cubicBezTo>
                <a:cubicBezTo>
                  <a:pt x="1099" y="455"/>
                  <a:pt x="1098" y="455"/>
                  <a:pt x="1099" y="455"/>
                </a:cubicBezTo>
                <a:cubicBezTo>
                  <a:pt x="1100" y="454"/>
                  <a:pt x="1099" y="454"/>
                  <a:pt x="1099" y="453"/>
                </a:cubicBezTo>
                <a:cubicBezTo>
                  <a:pt x="1099" y="453"/>
                  <a:pt x="1100" y="452"/>
                  <a:pt x="1100" y="452"/>
                </a:cubicBezTo>
                <a:cubicBezTo>
                  <a:pt x="1100" y="451"/>
                  <a:pt x="1101" y="451"/>
                  <a:pt x="1101" y="450"/>
                </a:cubicBezTo>
                <a:cubicBezTo>
                  <a:pt x="1100" y="450"/>
                  <a:pt x="1100" y="449"/>
                  <a:pt x="1099" y="449"/>
                </a:cubicBezTo>
                <a:cubicBezTo>
                  <a:pt x="1098" y="449"/>
                  <a:pt x="1099" y="448"/>
                  <a:pt x="1099" y="447"/>
                </a:cubicBezTo>
                <a:cubicBezTo>
                  <a:pt x="1099" y="446"/>
                  <a:pt x="1097" y="447"/>
                  <a:pt x="1097" y="446"/>
                </a:cubicBezTo>
                <a:cubicBezTo>
                  <a:pt x="1097" y="445"/>
                  <a:pt x="1097" y="445"/>
                  <a:pt x="1096" y="445"/>
                </a:cubicBezTo>
                <a:cubicBezTo>
                  <a:pt x="1096" y="445"/>
                  <a:pt x="1095" y="443"/>
                  <a:pt x="1094" y="443"/>
                </a:cubicBezTo>
                <a:cubicBezTo>
                  <a:pt x="1094" y="443"/>
                  <a:pt x="1094" y="443"/>
                  <a:pt x="1093" y="443"/>
                </a:cubicBezTo>
                <a:cubicBezTo>
                  <a:pt x="1093" y="443"/>
                  <a:pt x="1093" y="442"/>
                  <a:pt x="1093" y="442"/>
                </a:cubicBezTo>
                <a:cubicBezTo>
                  <a:pt x="1093" y="442"/>
                  <a:pt x="1089" y="441"/>
                  <a:pt x="1089" y="441"/>
                </a:cubicBezTo>
                <a:cubicBezTo>
                  <a:pt x="1089" y="441"/>
                  <a:pt x="1088" y="440"/>
                  <a:pt x="1087" y="439"/>
                </a:cubicBezTo>
                <a:cubicBezTo>
                  <a:pt x="1087" y="439"/>
                  <a:pt x="1087" y="439"/>
                  <a:pt x="1087" y="439"/>
                </a:cubicBezTo>
                <a:cubicBezTo>
                  <a:pt x="1087" y="438"/>
                  <a:pt x="1086" y="438"/>
                  <a:pt x="1086" y="438"/>
                </a:cubicBezTo>
                <a:cubicBezTo>
                  <a:pt x="1086" y="437"/>
                  <a:pt x="1086" y="438"/>
                  <a:pt x="1086" y="438"/>
                </a:cubicBezTo>
                <a:cubicBezTo>
                  <a:pt x="1085" y="438"/>
                  <a:pt x="1085" y="437"/>
                  <a:pt x="1085" y="437"/>
                </a:cubicBezTo>
                <a:cubicBezTo>
                  <a:pt x="1084" y="436"/>
                  <a:pt x="1084" y="436"/>
                  <a:pt x="1084" y="435"/>
                </a:cubicBezTo>
                <a:cubicBezTo>
                  <a:pt x="1084" y="434"/>
                  <a:pt x="1084" y="435"/>
                  <a:pt x="1084" y="435"/>
                </a:cubicBezTo>
                <a:cubicBezTo>
                  <a:pt x="1083" y="434"/>
                  <a:pt x="1084" y="433"/>
                  <a:pt x="1084" y="432"/>
                </a:cubicBezTo>
                <a:cubicBezTo>
                  <a:pt x="1084" y="431"/>
                  <a:pt x="1084" y="430"/>
                  <a:pt x="1084" y="429"/>
                </a:cubicBezTo>
                <a:cubicBezTo>
                  <a:pt x="1083" y="429"/>
                  <a:pt x="1082" y="429"/>
                  <a:pt x="1082" y="430"/>
                </a:cubicBezTo>
                <a:cubicBezTo>
                  <a:pt x="1082" y="431"/>
                  <a:pt x="1081" y="432"/>
                  <a:pt x="1080" y="432"/>
                </a:cubicBezTo>
                <a:cubicBezTo>
                  <a:pt x="1080" y="433"/>
                  <a:pt x="1079" y="433"/>
                  <a:pt x="1078" y="434"/>
                </a:cubicBezTo>
                <a:cubicBezTo>
                  <a:pt x="1078" y="434"/>
                  <a:pt x="1079" y="434"/>
                  <a:pt x="1078" y="434"/>
                </a:cubicBezTo>
                <a:cubicBezTo>
                  <a:pt x="1078" y="435"/>
                  <a:pt x="1077" y="435"/>
                  <a:pt x="1077" y="435"/>
                </a:cubicBezTo>
                <a:cubicBezTo>
                  <a:pt x="1077" y="436"/>
                  <a:pt x="1077" y="436"/>
                  <a:pt x="1077" y="436"/>
                </a:cubicBezTo>
                <a:cubicBezTo>
                  <a:pt x="1077" y="436"/>
                  <a:pt x="1077" y="436"/>
                  <a:pt x="1077" y="437"/>
                </a:cubicBezTo>
                <a:cubicBezTo>
                  <a:pt x="1076" y="437"/>
                  <a:pt x="1076" y="436"/>
                  <a:pt x="1076" y="437"/>
                </a:cubicBezTo>
                <a:cubicBezTo>
                  <a:pt x="1075" y="437"/>
                  <a:pt x="1075" y="437"/>
                  <a:pt x="1075" y="438"/>
                </a:cubicBezTo>
                <a:cubicBezTo>
                  <a:pt x="1074" y="438"/>
                  <a:pt x="1073" y="439"/>
                  <a:pt x="1073" y="439"/>
                </a:cubicBezTo>
                <a:cubicBezTo>
                  <a:pt x="1072" y="439"/>
                  <a:pt x="1072" y="439"/>
                  <a:pt x="1072" y="440"/>
                </a:cubicBezTo>
                <a:cubicBezTo>
                  <a:pt x="1071" y="440"/>
                  <a:pt x="1070" y="440"/>
                  <a:pt x="1069" y="440"/>
                </a:cubicBezTo>
                <a:cubicBezTo>
                  <a:pt x="1069" y="439"/>
                  <a:pt x="1068" y="439"/>
                  <a:pt x="1067" y="439"/>
                </a:cubicBezTo>
                <a:cubicBezTo>
                  <a:pt x="1067" y="439"/>
                  <a:pt x="1067" y="438"/>
                  <a:pt x="1066" y="438"/>
                </a:cubicBezTo>
                <a:cubicBezTo>
                  <a:pt x="1065" y="439"/>
                  <a:pt x="1065" y="439"/>
                  <a:pt x="1065" y="440"/>
                </a:cubicBezTo>
                <a:cubicBezTo>
                  <a:pt x="1064" y="439"/>
                  <a:pt x="1063" y="439"/>
                  <a:pt x="1062" y="439"/>
                </a:cubicBezTo>
                <a:cubicBezTo>
                  <a:pt x="1062" y="439"/>
                  <a:pt x="1061" y="438"/>
                  <a:pt x="1061" y="438"/>
                </a:cubicBezTo>
                <a:cubicBezTo>
                  <a:pt x="1060" y="438"/>
                  <a:pt x="1060" y="437"/>
                  <a:pt x="1060" y="436"/>
                </a:cubicBezTo>
                <a:cubicBezTo>
                  <a:pt x="1060" y="436"/>
                  <a:pt x="1060" y="435"/>
                  <a:pt x="1061" y="435"/>
                </a:cubicBezTo>
                <a:cubicBezTo>
                  <a:pt x="1061" y="434"/>
                  <a:pt x="1061" y="432"/>
                  <a:pt x="1060" y="432"/>
                </a:cubicBezTo>
                <a:cubicBezTo>
                  <a:pt x="1060" y="432"/>
                  <a:pt x="1061" y="432"/>
                  <a:pt x="1061" y="431"/>
                </a:cubicBezTo>
                <a:cubicBezTo>
                  <a:pt x="1061" y="431"/>
                  <a:pt x="1060" y="430"/>
                  <a:pt x="1060" y="429"/>
                </a:cubicBezTo>
                <a:cubicBezTo>
                  <a:pt x="1059" y="429"/>
                  <a:pt x="1059" y="430"/>
                  <a:pt x="1059" y="431"/>
                </a:cubicBezTo>
                <a:cubicBezTo>
                  <a:pt x="1059" y="432"/>
                  <a:pt x="1058" y="432"/>
                  <a:pt x="1057" y="432"/>
                </a:cubicBezTo>
                <a:cubicBezTo>
                  <a:pt x="1057" y="432"/>
                  <a:pt x="1057" y="433"/>
                  <a:pt x="1057" y="434"/>
                </a:cubicBezTo>
                <a:cubicBezTo>
                  <a:pt x="1056" y="433"/>
                  <a:pt x="1056" y="432"/>
                  <a:pt x="1055" y="433"/>
                </a:cubicBezTo>
                <a:cubicBezTo>
                  <a:pt x="1055" y="431"/>
                  <a:pt x="1055" y="430"/>
                  <a:pt x="1055" y="429"/>
                </a:cubicBezTo>
                <a:cubicBezTo>
                  <a:pt x="1055" y="428"/>
                  <a:pt x="1055" y="427"/>
                  <a:pt x="1055" y="427"/>
                </a:cubicBezTo>
                <a:cubicBezTo>
                  <a:pt x="1055" y="425"/>
                  <a:pt x="1054" y="426"/>
                  <a:pt x="1054" y="425"/>
                </a:cubicBezTo>
                <a:cubicBezTo>
                  <a:pt x="1053" y="424"/>
                  <a:pt x="1053" y="424"/>
                  <a:pt x="1052" y="423"/>
                </a:cubicBezTo>
                <a:cubicBezTo>
                  <a:pt x="1051" y="423"/>
                  <a:pt x="1051" y="422"/>
                  <a:pt x="1050" y="422"/>
                </a:cubicBezTo>
                <a:cubicBezTo>
                  <a:pt x="1050" y="421"/>
                  <a:pt x="1051" y="421"/>
                  <a:pt x="1051" y="420"/>
                </a:cubicBezTo>
                <a:cubicBezTo>
                  <a:pt x="1049" y="421"/>
                  <a:pt x="1050" y="419"/>
                  <a:pt x="1049" y="419"/>
                </a:cubicBezTo>
                <a:cubicBezTo>
                  <a:pt x="1048" y="418"/>
                  <a:pt x="1048" y="417"/>
                  <a:pt x="1047" y="416"/>
                </a:cubicBezTo>
                <a:cubicBezTo>
                  <a:pt x="1047" y="416"/>
                  <a:pt x="1047" y="415"/>
                  <a:pt x="1047" y="415"/>
                </a:cubicBezTo>
                <a:cubicBezTo>
                  <a:pt x="1046" y="415"/>
                  <a:pt x="1047" y="413"/>
                  <a:pt x="1046" y="413"/>
                </a:cubicBezTo>
                <a:cubicBezTo>
                  <a:pt x="1045" y="412"/>
                  <a:pt x="1046" y="412"/>
                  <a:pt x="1045" y="411"/>
                </a:cubicBezTo>
                <a:cubicBezTo>
                  <a:pt x="1044" y="411"/>
                  <a:pt x="1045" y="409"/>
                  <a:pt x="1044" y="410"/>
                </a:cubicBezTo>
                <a:cubicBezTo>
                  <a:pt x="1044" y="409"/>
                  <a:pt x="1044" y="408"/>
                  <a:pt x="1044" y="407"/>
                </a:cubicBezTo>
                <a:cubicBezTo>
                  <a:pt x="1044" y="405"/>
                  <a:pt x="1046" y="406"/>
                  <a:pt x="1047" y="407"/>
                </a:cubicBezTo>
                <a:cubicBezTo>
                  <a:pt x="1047" y="406"/>
                  <a:pt x="1047" y="406"/>
                  <a:pt x="1047" y="406"/>
                </a:cubicBezTo>
                <a:cubicBezTo>
                  <a:pt x="1046" y="406"/>
                  <a:pt x="1046" y="405"/>
                  <a:pt x="1045" y="405"/>
                </a:cubicBezTo>
                <a:cubicBezTo>
                  <a:pt x="1045" y="405"/>
                  <a:pt x="1045" y="403"/>
                  <a:pt x="1045" y="404"/>
                </a:cubicBezTo>
                <a:cubicBezTo>
                  <a:pt x="1045" y="403"/>
                  <a:pt x="1045" y="403"/>
                  <a:pt x="1045" y="403"/>
                </a:cubicBezTo>
                <a:cubicBezTo>
                  <a:pt x="1046" y="403"/>
                  <a:pt x="1046" y="405"/>
                  <a:pt x="1047" y="405"/>
                </a:cubicBezTo>
                <a:cubicBezTo>
                  <a:pt x="1048" y="405"/>
                  <a:pt x="1049" y="405"/>
                  <a:pt x="1049" y="404"/>
                </a:cubicBezTo>
                <a:cubicBezTo>
                  <a:pt x="1050" y="404"/>
                  <a:pt x="1051" y="405"/>
                  <a:pt x="1051" y="405"/>
                </a:cubicBezTo>
                <a:cubicBezTo>
                  <a:pt x="1053" y="406"/>
                  <a:pt x="1053" y="405"/>
                  <a:pt x="1054" y="405"/>
                </a:cubicBezTo>
                <a:cubicBezTo>
                  <a:pt x="1054" y="405"/>
                  <a:pt x="1055" y="405"/>
                  <a:pt x="1055" y="406"/>
                </a:cubicBezTo>
                <a:cubicBezTo>
                  <a:pt x="1055" y="406"/>
                  <a:pt x="1056" y="406"/>
                  <a:pt x="1056" y="407"/>
                </a:cubicBezTo>
                <a:cubicBezTo>
                  <a:pt x="1056" y="407"/>
                  <a:pt x="1057" y="408"/>
                  <a:pt x="1057" y="408"/>
                </a:cubicBezTo>
                <a:cubicBezTo>
                  <a:pt x="1057" y="409"/>
                  <a:pt x="1057" y="408"/>
                  <a:pt x="1057" y="408"/>
                </a:cubicBezTo>
                <a:cubicBezTo>
                  <a:pt x="1057" y="409"/>
                  <a:pt x="1057" y="410"/>
                  <a:pt x="1057" y="410"/>
                </a:cubicBezTo>
                <a:cubicBezTo>
                  <a:pt x="1057" y="411"/>
                  <a:pt x="1058" y="411"/>
                  <a:pt x="1059" y="412"/>
                </a:cubicBezTo>
                <a:cubicBezTo>
                  <a:pt x="1059" y="412"/>
                  <a:pt x="1059" y="412"/>
                  <a:pt x="1059" y="413"/>
                </a:cubicBezTo>
                <a:cubicBezTo>
                  <a:pt x="1058" y="413"/>
                  <a:pt x="1059" y="413"/>
                  <a:pt x="1059" y="414"/>
                </a:cubicBezTo>
                <a:cubicBezTo>
                  <a:pt x="1060" y="414"/>
                  <a:pt x="1059" y="414"/>
                  <a:pt x="1059" y="414"/>
                </a:cubicBezTo>
                <a:cubicBezTo>
                  <a:pt x="1060" y="414"/>
                  <a:pt x="1060" y="415"/>
                  <a:pt x="1060" y="415"/>
                </a:cubicBezTo>
                <a:cubicBezTo>
                  <a:pt x="1060" y="416"/>
                  <a:pt x="1060" y="416"/>
                  <a:pt x="1061" y="417"/>
                </a:cubicBezTo>
                <a:cubicBezTo>
                  <a:pt x="1062" y="417"/>
                  <a:pt x="1062" y="417"/>
                  <a:pt x="1062" y="418"/>
                </a:cubicBezTo>
                <a:cubicBezTo>
                  <a:pt x="1062" y="418"/>
                  <a:pt x="1062" y="418"/>
                  <a:pt x="1062" y="418"/>
                </a:cubicBezTo>
                <a:cubicBezTo>
                  <a:pt x="1062" y="419"/>
                  <a:pt x="1062" y="419"/>
                  <a:pt x="1062" y="419"/>
                </a:cubicBezTo>
                <a:cubicBezTo>
                  <a:pt x="1063" y="420"/>
                  <a:pt x="1064" y="420"/>
                  <a:pt x="1064" y="421"/>
                </a:cubicBezTo>
                <a:cubicBezTo>
                  <a:pt x="1064" y="421"/>
                  <a:pt x="1065" y="422"/>
                  <a:pt x="1065" y="422"/>
                </a:cubicBezTo>
                <a:cubicBezTo>
                  <a:pt x="1065" y="422"/>
                  <a:pt x="1065" y="423"/>
                  <a:pt x="1066" y="423"/>
                </a:cubicBezTo>
                <a:cubicBezTo>
                  <a:pt x="1066" y="424"/>
                  <a:pt x="1067" y="424"/>
                  <a:pt x="1068" y="424"/>
                </a:cubicBezTo>
                <a:cubicBezTo>
                  <a:pt x="1068" y="425"/>
                  <a:pt x="1068" y="425"/>
                  <a:pt x="1069" y="426"/>
                </a:cubicBezTo>
                <a:cubicBezTo>
                  <a:pt x="1070" y="426"/>
                  <a:pt x="1071" y="426"/>
                  <a:pt x="1071" y="427"/>
                </a:cubicBezTo>
                <a:cubicBezTo>
                  <a:pt x="1072" y="427"/>
                  <a:pt x="1074" y="427"/>
                  <a:pt x="1074" y="428"/>
                </a:cubicBezTo>
                <a:cubicBezTo>
                  <a:pt x="1077" y="428"/>
                  <a:pt x="1078" y="426"/>
                  <a:pt x="1081" y="426"/>
                </a:cubicBezTo>
                <a:cubicBezTo>
                  <a:pt x="1081" y="425"/>
                  <a:pt x="1081" y="425"/>
                  <a:pt x="1082" y="425"/>
                </a:cubicBezTo>
                <a:cubicBezTo>
                  <a:pt x="1082" y="425"/>
                  <a:pt x="1082" y="424"/>
                  <a:pt x="1083" y="424"/>
                </a:cubicBezTo>
                <a:cubicBezTo>
                  <a:pt x="1084" y="424"/>
                  <a:pt x="1084" y="423"/>
                  <a:pt x="1085" y="423"/>
                </a:cubicBezTo>
                <a:cubicBezTo>
                  <a:pt x="1085" y="423"/>
                  <a:pt x="1085" y="424"/>
                  <a:pt x="1085" y="424"/>
                </a:cubicBezTo>
                <a:cubicBezTo>
                  <a:pt x="1086" y="424"/>
                  <a:pt x="1086" y="424"/>
                  <a:pt x="1087" y="425"/>
                </a:cubicBezTo>
                <a:cubicBezTo>
                  <a:pt x="1087" y="426"/>
                  <a:pt x="1088" y="425"/>
                  <a:pt x="1088" y="426"/>
                </a:cubicBezTo>
                <a:cubicBezTo>
                  <a:pt x="1088" y="426"/>
                  <a:pt x="1088" y="427"/>
                  <a:pt x="1088" y="427"/>
                </a:cubicBezTo>
                <a:cubicBezTo>
                  <a:pt x="1088" y="427"/>
                  <a:pt x="1088" y="428"/>
                  <a:pt x="1088" y="428"/>
                </a:cubicBezTo>
                <a:cubicBezTo>
                  <a:pt x="1088" y="428"/>
                  <a:pt x="1089" y="428"/>
                  <a:pt x="1089" y="428"/>
                </a:cubicBezTo>
                <a:cubicBezTo>
                  <a:pt x="1089" y="429"/>
                  <a:pt x="1089" y="430"/>
                  <a:pt x="1089" y="431"/>
                </a:cubicBezTo>
                <a:cubicBezTo>
                  <a:pt x="1089" y="431"/>
                  <a:pt x="1089" y="431"/>
                  <a:pt x="1089" y="431"/>
                </a:cubicBezTo>
                <a:cubicBezTo>
                  <a:pt x="1090" y="431"/>
                  <a:pt x="1090" y="431"/>
                  <a:pt x="1090" y="431"/>
                </a:cubicBezTo>
                <a:cubicBezTo>
                  <a:pt x="1091" y="433"/>
                  <a:pt x="1093" y="433"/>
                  <a:pt x="1095" y="433"/>
                </a:cubicBezTo>
                <a:cubicBezTo>
                  <a:pt x="1096" y="433"/>
                  <a:pt x="1097" y="433"/>
                  <a:pt x="1097" y="433"/>
                </a:cubicBezTo>
                <a:cubicBezTo>
                  <a:pt x="1098" y="433"/>
                  <a:pt x="1098" y="434"/>
                  <a:pt x="1099" y="434"/>
                </a:cubicBezTo>
                <a:cubicBezTo>
                  <a:pt x="1100" y="434"/>
                  <a:pt x="1102" y="434"/>
                  <a:pt x="1103" y="434"/>
                </a:cubicBezTo>
                <a:cubicBezTo>
                  <a:pt x="1103" y="434"/>
                  <a:pt x="1106" y="434"/>
                  <a:pt x="1106" y="435"/>
                </a:cubicBezTo>
                <a:cubicBezTo>
                  <a:pt x="1107" y="435"/>
                  <a:pt x="1107" y="435"/>
                  <a:pt x="1108" y="435"/>
                </a:cubicBezTo>
                <a:cubicBezTo>
                  <a:pt x="1108" y="436"/>
                  <a:pt x="1109" y="435"/>
                  <a:pt x="1109" y="435"/>
                </a:cubicBezTo>
                <a:cubicBezTo>
                  <a:pt x="1110" y="435"/>
                  <a:pt x="1109" y="435"/>
                  <a:pt x="1111" y="435"/>
                </a:cubicBezTo>
                <a:cubicBezTo>
                  <a:pt x="1112" y="435"/>
                  <a:pt x="1112" y="435"/>
                  <a:pt x="1112" y="434"/>
                </a:cubicBezTo>
                <a:cubicBezTo>
                  <a:pt x="1113" y="434"/>
                  <a:pt x="1114" y="434"/>
                  <a:pt x="1114" y="435"/>
                </a:cubicBezTo>
                <a:cubicBezTo>
                  <a:pt x="1114" y="435"/>
                  <a:pt x="1115" y="435"/>
                  <a:pt x="1116" y="435"/>
                </a:cubicBezTo>
                <a:cubicBezTo>
                  <a:pt x="1116" y="435"/>
                  <a:pt x="1117" y="435"/>
                  <a:pt x="1117" y="435"/>
                </a:cubicBezTo>
                <a:cubicBezTo>
                  <a:pt x="1117" y="435"/>
                  <a:pt x="1117" y="434"/>
                  <a:pt x="1118" y="434"/>
                </a:cubicBezTo>
                <a:cubicBezTo>
                  <a:pt x="1119" y="434"/>
                  <a:pt x="1120" y="435"/>
                  <a:pt x="1121" y="434"/>
                </a:cubicBezTo>
                <a:cubicBezTo>
                  <a:pt x="1121" y="434"/>
                  <a:pt x="1121" y="434"/>
                  <a:pt x="1121" y="434"/>
                </a:cubicBezTo>
                <a:cubicBezTo>
                  <a:pt x="1122" y="434"/>
                  <a:pt x="1122" y="434"/>
                  <a:pt x="1123" y="434"/>
                </a:cubicBezTo>
                <a:cubicBezTo>
                  <a:pt x="1124" y="434"/>
                  <a:pt x="1124" y="434"/>
                  <a:pt x="1125" y="433"/>
                </a:cubicBezTo>
                <a:cubicBezTo>
                  <a:pt x="1125" y="433"/>
                  <a:pt x="1125" y="433"/>
                  <a:pt x="1125" y="433"/>
                </a:cubicBezTo>
                <a:cubicBezTo>
                  <a:pt x="1126" y="433"/>
                  <a:pt x="1126" y="433"/>
                  <a:pt x="1126" y="433"/>
                </a:cubicBezTo>
                <a:cubicBezTo>
                  <a:pt x="1127" y="433"/>
                  <a:pt x="1128" y="433"/>
                  <a:pt x="1129" y="433"/>
                </a:cubicBezTo>
                <a:cubicBezTo>
                  <a:pt x="1130" y="433"/>
                  <a:pt x="1131" y="432"/>
                  <a:pt x="1132" y="432"/>
                </a:cubicBezTo>
                <a:cubicBezTo>
                  <a:pt x="1132" y="433"/>
                  <a:pt x="1131" y="434"/>
                  <a:pt x="1132" y="434"/>
                </a:cubicBezTo>
                <a:cubicBezTo>
                  <a:pt x="1133" y="434"/>
                  <a:pt x="1133" y="437"/>
                  <a:pt x="1132" y="437"/>
                </a:cubicBezTo>
                <a:cubicBezTo>
                  <a:pt x="1133" y="438"/>
                  <a:pt x="1133" y="438"/>
                  <a:pt x="1134" y="438"/>
                </a:cubicBezTo>
                <a:cubicBezTo>
                  <a:pt x="1134" y="438"/>
                  <a:pt x="1134" y="437"/>
                  <a:pt x="1134" y="438"/>
                </a:cubicBezTo>
                <a:cubicBezTo>
                  <a:pt x="1134" y="438"/>
                  <a:pt x="1135" y="438"/>
                  <a:pt x="1135" y="438"/>
                </a:cubicBezTo>
                <a:cubicBezTo>
                  <a:pt x="1136" y="438"/>
                  <a:pt x="1134" y="438"/>
                  <a:pt x="1136" y="438"/>
                </a:cubicBezTo>
                <a:cubicBezTo>
                  <a:pt x="1137" y="439"/>
                  <a:pt x="1137" y="440"/>
                  <a:pt x="1137" y="440"/>
                </a:cubicBezTo>
                <a:cubicBezTo>
                  <a:pt x="1137" y="441"/>
                  <a:pt x="1137" y="442"/>
                  <a:pt x="1138" y="442"/>
                </a:cubicBezTo>
                <a:cubicBezTo>
                  <a:pt x="1138" y="442"/>
                  <a:pt x="1138" y="442"/>
                  <a:pt x="1138" y="442"/>
                </a:cubicBezTo>
                <a:cubicBezTo>
                  <a:pt x="1139" y="442"/>
                  <a:pt x="1139" y="442"/>
                  <a:pt x="1140" y="442"/>
                </a:cubicBezTo>
                <a:cubicBezTo>
                  <a:pt x="1140" y="442"/>
                  <a:pt x="1140" y="443"/>
                  <a:pt x="1140" y="443"/>
                </a:cubicBezTo>
                <a:cubicBezTo>
                  <a:pt x="1141" y="443"/>
                  <a:pt x="1141" y="443"/>
                  <a:pt x="1142" y="443"/>
                </a:cubicBezTo>
                <a:cubicBezTo>
                  <a:pt x="1142" y="443"/>
                  <a:pt x="1142" y="442"/>
                  <a:pt x="1143" y="442"/>
                </a:cubicBezTo>
                <a:cubicBezTo>
                  <a:pt x="1143" y="443"/>
                  <a:pt x="1142" y="443"/>
                  <a:pt x="1142" y="443"/>
                </a:cubicBezTo>
                <a:cubicBezTo>
                  <a:pt x="1142" y="444"/>
                  <a:pt x="1142" y="444"/>
                  <a:pt x="1142" y="445"/>
                </a:cubicBezTo>
                <a:cubicBezTo>
                  <a:pt x="1142" y="445"/>
                  <a:pt x="1142" y="446"/>
                  <a:pt x="1142" y="446"/>
                </a:cubicBezTo>
                <a:cubicBezTo>
                  <a:pt x="1142" y="447"/>
                  <a:pt x="1142" y="447"/>
                  <a:pt x="1143" y="447"/>
                </a:cubicBezTo>
                <a:cubicBezTo>
                  <a:pt x="1144" y="448"/>
                  <a:pt x="1145" y="449"/>
                  <a:pt x="1145" y="449"/>
                </a:cubicBezTo>
                <a:cubicBezTo>
                  <a:pt x="1146" y="449"/>
                  <a:pt x="1147" y="449"/>
                  <a:pt x="1147" y="449"/>
                </a:cubicBezTo>
                <a:cubicBezTo>
                  <a:pt x="1148" y="449"/>
                  <a:pt x="1149" y="449"/>
                  <a:pt x="1150" y="449"/>
                </a:cubicBezTo>
                <a:cubicBezTo>
                  <a:pt x="1151" y="449"/>
                  <a:pt x="1150" y="448"/>
                  <a:pt x="1151" y="448"/>
                </a:cubicBezTo>
                <a:cubicBezTo>
                  <a:pt x="1151" y="448"/>
                  <a:pt x="1151" y="448"/>
                  <a:pt x="1151" y="448"/>
                </a:cubicBezTo>
                <a:cubicBezTo>
                  <a:pt x="1151" y="447"/>
                  <a:pt x="1151" y="448"/>
                  <a:pt x="1152" y="447"/>
                </a:cubicBezTo>
                <a:cubicBezTo>
                  <a:pt x="1152" y="446"/>
                  <a:pt x="1152" y="446"/>
                  <a:pt x="1153" y="446"/>
                </a:cubicBezTo>
                <a:cubicBezTo>
                  <a:pt x="1153" y="447"/>
                  <a:pt x="1152" y="449"/>
                  <a:pt x="1151" y="449"/>
                </a:cubicBezTo>
                <a:cubicBezTo>
                  <a:pt x="1151" y="449"/>
                  <a:pt x="1151" y="450"/>
                  <a:pt x="1150" y="450"/>
                </a:cubicBezTo>
                <a:cubicBezTo>
                  <a:pt x="1150" y="450"/>
                  <a:pt x="1150" y="451"/>
                  <a:pt x="1150" y="451"/>
                </a:cubicBezTo>
                <a:cubicBezTo>
                  <a:pt x="1149" y="452"/>
                  <a:pt x="1148" y="451"/>
                  <a:pt x="1148" y="451"/>
                </a:cubicBezTo>
                <a:cubicBezTo>
                  <a:pt x="1148" y="451"/>
                  <a:pt x="1148" y="452"/>
                  <a:pt x="1147" y="452"/>
                </a:cubicBezTo>
                <a:cubicBezTo>
                  <a:pt x="1147" y="452"/>
                  <a:pt x="1147" y="452"/>
                  <a:pt x="1147" y="452"/>
                </a:cubicBezTo>
                <a:cubicBezTo>
                  <a:pt x="1146" y="452"/>
                  <a:pt x="1146" y="452"/>
                  <a:pt x="1145" y="452"/>
                </a:cubicBezTo>
                <a:cubicBezTo>
                  <a:pt x="1145" y="453"/>
                  <a:pt x="1144" y="452"/>
                  <a:pt x="1145" y="454"/>
                </a:cubicBezTo>
                <a:cubicBezTo>
                  <a:pt x="1145" y="455"/>
                  <a:pt x="1146" y="456"/>
                  <a:pt x="1147" y="456"/>
                </a:cubicBezTo>
                <a:cubicBezTo>
                  <a:pt x="1148" y="458"/>
                  <a:pt x="1150" y="459"/>
                  <a:pt x="1151" y="461"/>
                </a:cubicBezTo>
                <a:cubicBezTo>
                  <a:pt x="1152" y="462"/>
                  <a:pt x="1154" y="462"/>
                  <a:pt x="1155" y="461"/>
                </a:cubicBezTo>
                <a:cubicBezTo>
                  <a:pt x="1156" y="460"/>
                  <a:pt x="1156" y="461"/>
                  <a:pt x="1156" y="460"/>
                </a:cubicBezTo>
                <a:cubicBezTo>
                  <a:pt x="1157" y="460"/>
                  <a:pt x="1157" y="460"/>
                  <a:pt x="1157" y="460"/>
                </a:cubicBezTo>
                <a:cubicBezTo>
                  <a:pt x="1158" y="460"/>
                  <a:pt x="1158" y="458"/>
                  <a:pt x="1159" y="458"/>
                </a:cubicBezTo>
                <a:cubicBezTo>
                  <a:pt x="1159" y="456"/>
                  <a:pt x="1159" y="455"/>
                  <a:pt x="1159" y="453"/>
                </a:cubicBezTo>
                <a:cubicBezTo>
                  <a:pt x="1160" y="454"/>
                  <a:pt x="1160" y="452"/>
                  <a:pt x="1160" y="451"/>
                </a:cubicBezTo>
                <a:cubicBezTo>
                  <a:pt x="1160" y="451"/>
                  <a:pt x="1161" y="452"/>
                  <a:pt x="1161" y="452"/>
                </a:cubicBezTo>
                <a:cubicBezTo>
                  <a:pt x="1161" y="453"/>
                  <a:pt x="1161" y="453"/>
                  <a:pt x="1162" y="453"/>
                </a:cubicBezTo>
                <a:cubicBezTo>
                  <a:pt x="1161" y="454"/>
                  <a:pt x="1161" y="453"/>
                  <a:pt x="1161" y="454"/>
                </a:cubicBezTo>
                <a:cubicBezTo>
                  <a:pt x="1161" y="455"/>
                  <a:pt x="1161" y="455"/>
                  <a:pt x="1162" y="455"/>
                </a:cubicBezTo>
                <a:cubicBezTo>
                  <a:pt x="1162" y="455"/>
                  <a:pt x="1162" y="456"/>
                  <a:pt x="1162" y="456"/>
                </a:cubicBezTo>
                <a:cubicBezTo>
                  <a:pt x="1161" y="456"/>
                  <a:pt x="1161" y="458"/>
                  <a:pt x="1162" y="458"/>
                </a:cubicBezTo>
                <a:cubicBezTo>
                  <a:pt x="1162" y="458"/>
                  <a:pt x="1163" y="459"/>
                  <a:pt x="1163" y="459"/>
                </a:cubicBezTo>
                <a:cubicBezTo>
                  <a:pt x="1163" y="460"/>
                  <a:pt x="1163" y="460"/>
                  <a:pt x="1163" y="460"/>
                </a:cubicBezTo>
                <a:cubicBezTo>
                  <a:pt x="1163" y="461"/>
                  <a:pt x="1162" y="461"/>
                  <a:pt x="1162" y="462"/>
                </a:cubicBezTo>
                <a:cubicBezTo>
                  <a:pt x="1162" y="462"/>
                  <a:pt x="1162" y="462"/>
                  <a:pt x="1162" y="463"/>
                </a:cubicBezTo>
                <a:cubicBezTo>
                  <a:pt x="1161" y="463"/>
                  <a:pt x="1161" y="464"/>
                  <a:pt x="1161" y="465"/>
                </a:cubicBezTo>
                <a:cubicBezTo>
                  <a:pt x="1161" y="465"/>
                  <a:pt x="1161" y="466"/>
                  <a:pt x="1160" y="466"/>
                </a:cubicBezTo>
                <a:cubicBezTo>
                  <a:pt x="1160" y="466"/>
                  <a:pt x="1160" y="467"/>
                  <a:pt x="1161" y="467"/>
                </a:cubicBezTo>
                <a:cubicBezTo>
                  <a:pt x="1161" y="467"/>
                  <a:pt x="1161" y="468"/>
                  <a:pt x="1161" y="468"/>
                </a:cubicBezTo>
                <a:cubicBezTo>
                  <a:pt x="1161" y="468"/>
                  <a:pt x="1161" y="469"/>
                  <a:pt x="1162" y="469"/>
                </a:cubicBezTo>
                <a:cubicBezTo>
                  <a:pt x="1162" y="469"/>
                  <a:pt x="1162" y="469"/>
                  <a:pt x="1162" y="470"/>
                </a:cubicBezTo>
                <a:cubicBezTo>
                  <a:pt x="1162" y="470"/>
                  <a:pt x="1162" y="470"/>
                  <a:pt x="1162" y="471"/>
                </a:cubicBezTo>
                <a:cubicBezTo>
                  <a:pt x="1163" y="472"/>
                  <a:pt x="1163" y="472"/>
                  <a:pt x="1162" y="472"/>
                </a:cubicBezTo>
                <a:cubicBezTo>
                  <a:pt x="1162" y="473"/>
                  <a:pt x="1162" y="474"/>
                  <a:pt x="1163" y="474"/>
                </a:cubicBezTo>
                <a:cubicBezTo>
                  <a:pt x="1162" y="475"/>
                  <a:pt x="1162" y="476"/>
                  <a:pt x="1162" y="477"/>
                </a:cubicBezTo>
                <a:cubicBezTo>
                  <a:pt x="1163" y="477"/>
                  <a:pt x="1163" y="477"/>
                  <a:pt x="1163" y="477"/>
                </a:cubicBezTo>
                <a:cubicBezTo>
                  <a:pt x="1163" y="478"/>
                  <a:pt x="1163" y="477"/>
                  <a:pt x="1163" y="478"/>
                </a:cubicBezTo>
                <a:cubicBezTo>
                  <a:pt x="1163" y="478"/>
                  <a:pt x="1163" y="478"/>
                  <a:pt x="1163" y="479"/>
                </a:cubicBezTo>
                <a:cubicBezTo>
                  <a:pt x="1163" y="479"/>
                  <a:pt x="1163" y="479"/>
                  <a:pt x="1163" y="479"/>
                </a:cubicBezTo>
                <a:cubicBezTo>
                  <a:pt x="1163" y="479"/>
                  <a:pt x="1163" y="479"/>
                  <a:pt x="1163" y="480"/>
                </a:cubicBezTo>
                <a:cubicBezTo>
                  <a:pt x="1164" y="480"/>
                  <a:pt x="1163" y="481"/>
                  <a:pt x="1164" y="481"/>
                </a:cubicBezTo>
                <a:cubicBezTo>
                  <a:pt x="1164" y="481"/>
                  <a:pt x="1164" y="483"/>
                  <a:pt x="1164" y="483"/>
                </a:cubicBezTo>
                <a:cubicBezTo>
                  <a:pt x="1164" y="484"/>
                  <a:pt x="1164" y="483"/>
                  <a:pt x="1164" y="484"/>
                </a:cubicBezTo>
                <a:cubicBezTo>
                  <a:pt x="1164" y="485"/>
                  <a:pt x="1164" y="485"/>
                  <a:pt x="1164" y="486"/>
                </a:cubicBezTo>
                <a:cubicBezTo>
                  <a:pt x="1164" y="486"/>
                  <a:pt x="1165" y="486"/>
                  <a:pt x="1165" y="486"/>
                </a:cubicBezTo>
                <a:cubicBezTo>
                  <a:pt x="1165" y="486"/>
                  <a:pt x="1165" y="487"/>
                  <a:pt x="1165" y="487"/>
                </a:cubicBezTo>
                <a:cubicBezTo>
                  <a:pt x="1165" y="488"/>
                  <a:pt x="1165" y="487"/>
                  <a:pt x="1165" y="488"/>
                </a:cubicBezTo>
                <a:cubicBezTo>
                  <a:pt x="1165" y="488"/>
                  <a:pt x="1165" y="488"/>
                  <a:pt x="1165" y="489"/>
                </a:cubicBezTo>
                <a:cubicBezTo>
                  <a:pt x="1165" y="489"/>
                  <a:pt x="1166" y="489"/>
                  <a:pt x="1166" y="489"/>
                </a:cubicBezTo>
                <a:cubicBezTo>
                  <a:pt x="1166" y="489"/>
                  <a:pt x="1165" y="489"/>
                  <a:pt x="1166" y="489"/>
                </a:cubicBezTo>
                <a:cubicBezTo>
                  <a:pt x="1166" y="489"/>
                  <a:pt x="1166" y="491"/>
                  <a:pt x="1166" y="491"/>
                </a:cubicBezTo>
                <a:cubicBezTo>
                  <a:pt x="1167" y="493"/>
                  <a:pt x="1166" y="491"/>
                  <a:pt x="1167" y="492"/>
                </a:cubicBezTo>
                <a:cubicBezTo>
                  <a:pt x="1167" y="492"/>
                  <a:pt x="1167" y="492"/>
                  <a:pt x="1167" y="492"/>
                </a:cubicBezTo>
                <a:cubicBezTo>
                  <a:pt x="1167" y="492"/>
                  <a:pt x="1167" y="492"/>
                  <a:pt x="1167" y="492"/>
                </a:cubicBezTo>
                <a:cubicBezTo>
                  <a:pt x="1167" y="493"/>
                  <a:pt x="1167" y="493"/>
                  <a:pt x="1167" y="493"/>
                </a:cubicBezTo>
                <a:cubicBezTo>
                  <a:pt x="1167" y="493"/>
                  <a:pt x="1168" y="494"/>
                  <a:pt x="1168" y="494"/>
                </a:cubicBezTo>
                <a:cubicBezTo>
                  <a:pt x="1168" y="494"/>
                  <a:pt x="1168" y="494"/>
                  <a:pt x="1168" y="495"/>
                </a:cubicBezTo>
                <a:cubicBezTo>
                  <a:pt x="1168" y="495"/>
                  <a:pt x="1168" y="494"/>
                  <a:pt x="1168" y="495"/>
                </a:cubicBezTo>
                <a:cubicBezTo>
                  <a:pt x="1168" y="495"/>
                  <a:pt x="1168" y="495"/>
                  <a:pt x="1168" y="496"/>
                </a:cubicBezTo>
                <a:cubicBezTo>
                  <a:pt x="1168" y="496"/>
                  <a:pt x="1168" y="495"/>
                  <a:pt x="1168" y="496"/>
                </a:cubicBezTo>
                <a:cubicBezTo>
                  <a:pt x="1168" y="496"/>
                  <a:pt x="1169" y="498"/>
                  <a:pt x="1169" y="498"/>
                </a:cubicBezTo>
                <a:cubicBezTo>
                  <a:pt x="1169" y="498"/>
                  <a:pt x="1170" y="502"/>
                  <a:pt x="1170" y="503"/>
                </a:cubicBezTo>
                <a:cubicBezTo>
                  <a:pt x="1170" y="504"/>
                  <a:pt x="1170" y="505"/>
                  <a:pt x="1170" y="506"/>
                </a:cubicBezTo>
                <a:cubicBezTo>
                  <a:pt x="1170" y="506"/>
                  <a:pt x="1171" y="506"/>
                  <a:pt x="1171" y="506"/>
                </a:cubicBezTo>
                <a:cubicBezTo>
                  <a:pt x="1171" y="506"/>
                  <a:pt x="1171" y="509"/>
                  <a:pt x="1172" y="509"/>
                </a:cubicBezTo>
                <a:cubicBezTo>
                  <a:pt x="1172" y="509"/>
                  <a:pt x="1172" y="509"/>
                  <a:pt x="1172" y="509"/>
                </a:cubicBezTo>
                <a:cubicBezTo>
                  <a:pt x="1172" y="510"/>
                  <a:pt x="1172" y="510"/>
                  <a:pt x="1173" y="510"/>
                </a:cubicBezTo>
                <a:cubicBezTo>
                  <a:pt x="1173" y="510"/>
                  <a:pt x="1173" y="511"/>
                  <a:pt x="1173" y="512"/>
                </a:cubicBezTo>
                <a:cubicBezTo>
                  <a:pt x="1174" y="512"/>
                  <a:pt x="1174" y="512"/>
                  <a:pt x="1174" y="512"/>
                </a:cubicBezTo>
                <a:cubicBezTo>
                  <a:pt x="1174" y="513"/>
                  <a:pt x="1174" y="513"/>
                  <a:pt x="1174" y="513"/>
                </a:cubicBezTo>
                <a:cubicBezTo>
                  <a:pt x="1175" y="513"/>
                  <a:pt x="1175" y="514"/>
                  <a:pt x="1175" y="515"/>
                </a:cubicBezTo>
                <a:cubicBezTo>
                  <a:pt x="1175" y="515"/>
                  <a:pt x="1175" y="514"/>
                  <a:pt x="1176" y="515"/>
                </a:cubicBezTo>
                <a:cubicBezTo>
                  <a:pt x="1176" y="516"/>
                  <a:pt x="1176" y="517"/>
                  <a:pt x="1176" y="517"/>
                </a:cubicBezTo>
                <a:cubicBezTo>
                  <a:pt x="1176" y="518"/>
                  <a:pt x="1176" y="518"/>
                  <a:pt x="1177" y="518"/>
                </a:cubicBezTo>
                <a:cubicBezTo>
                  <a:pt x="1177" y="519"/>
                  <a:pt x="1177" y="519"/>
                  <a:pt x="1178" y="520"/>
                </a:cubicBezTo>
                <a:cubicBezTo>
                  <a:pt x="1178" y="520"/>
                  <a:pt x="1178" y="521"/>
                  <a:pt x="1178" y="521"/>
                </a:cubicBezTo>
                <a:cubicBezTo>
                  <a:pt x="1179" y="522"/>
                  <a:pt x="1179" y="522"/>
                  <a:pt x="1178" y="523"/>
                </a:cubicBezTo>
                <a:cubicBezTo>
                  <a:pt x="1178" y="523"/>
                  <a:pt x="1178" y="522"/>
                  <a:pt x="1178" y="523"/>
                </a:cubicBezTo>
                <a:cubicBezTo>
                  <a:pt x="1178" y="523"/>
                  <a:pt x="1178" y="523"/>
                  <a:pt x="1178" y="524"/>
                </a:cubicBezTo>
                <a:cubicBezTo>
                  <a:pt x="1178" y="525"/>
                  <a:pt x="1179" y="525"/>
                  <a:pt x="1179" y="526"/>
                </a:cubicBezTo>
                <a:cubicBezTo>
                  <a:pt x="1180" y="526"/>
                  <a:pt x="1180" y="526"/>
                  <a:pt x="1180" y="526"/>
                </a:cubicBezTo>
                <a:cubicBezTo>
                  <a:pt x="1180" y="526"/>
                  <a:pt x="1180" y="526"/>
                  <a:pt x="1180" y="527"/>
                </a:cubicBezTo>
                <a:cubicBezTo>
                  <a:pt x="1180" y="527"/>
                  <a:pt x="1181" y="528"/>
                  <a:pt x="1181" y="528"/>
                </a:cubicBezTo>
                <a:cubicBezTo>
                  <a:pt x="1181" y="528"/>
                  <a:pt x="1181" y="528"/>
                  <a:pt x="1181" y="528"/>
                </a:cubicBezTo>
                <a:cubicBezTo>
                  <a:pt x="1181" y="529"/>
                  <a:pt x="1181" y="528"/>
                  <a:pt x="1181" y="529"/>
                </a:cubicBezTo>
                <a:cubicBezTo>
                  <a:pt x="1181" y="529"/>
                  <a:pt x="1181" y="529"/>
                  <a:pt x="1181" y="529"/>
                </a:cubicBezTo>
                <a:cubicBezTo>
                  <a:pt x="1182" y="529"/>
                  <a:pt x="1182" y="529"/>
                  <a:pt x="1182" y="530"/>
                </a:cubicBezTo>
                <a:cubicBezTo>
                  <a:pt x="1182" y="530"/>
                  <a:pt x="1182" y="530"/>
                  <a:pt x="1182" y="530"/>
                </a:cubicBezTo>
                <a:cubicBezTo>
                  <a:pt x="1183" y="530"/>
                  <a:pt x="1182" y="531"/>
                  <a:pt x="1182" y="531"/>
                </a:cubicBezTo>
                <a:cubicBezTo>
                  <a:pt x="1183" y="532"/>
                  <a:pt x="1183" y="532"/>
                  <a:pt x="1184" y="532"/>
                </a:cubicBezTo>
                <a:cubicBezTo>
                  <a:pt x="1185" y="532"/>
                  <a:pt x="1184" y="531"/>
                  <a:pt x="1185" y="531"/>
                </a:cubicBezTo>
                <a:cubicBezTo>
                  <a:pt x="1186" y="531"/>
                  <a:pt x="1186" y="530"/>
                  <a:pt x="1187" y="529"/>
                </a:cubicBezTo>
                <a:cubicBezTo>
                  <a:pt x="1187" y="529"/>
                  <a:pt x="1187" y="529"/>
                  <a:pt x="1187" y="528"/>
                </a:cubicBezTo>
                <a:cubicBezTo>
                  <a:pt x="1187" y="528"/>
                  <a:pt x="1188" y="527"/>
                  <a:pt x="1189" y="527"/>
                </a:cubicBezTo>
                <a:cubicBezTo>
                  <a:pt x="1190" y="527"/>
                  <a:pt x="1189" y="526"/>
                  <a:pt x="1190" y="525"/>
                </a:cubicBezTo>
                <a:cubicBezTo>
                  <a:pt x="1191" y="524"/>
                  <a:pt x="1190" y="524"/>
                  <a:pt x="1191" y="523"/>
                </a:cubicBezTo>
                <a:cubicBezTo>
                  <a:pt x="1191" y="523"/>
                  <a:pt x="1192" y="523"/>
                  <a:pt x="1192" y="522"/>
                </a:cubicBezTo>
                <a:cubicBezTo>
                  <a:pt x="1192" y="522"/>
                  <a:pt x="1192" y="521"/>
                  <a:pt x="1192" y="521"/>
                </a:cubicBezTo>
                <a:cubicBezTo>
                  <a:pt x="1193" y="521"/>
                  <a:pt x="1194" y="522"/>
                  <a:pt x="1194" y="521"/>
                </a:cubicBezTo>
                <a:cubicBezTo>
                  <a:pt x="1194" y="520"/>
                  <a:pt x="1195" y="519"/>
                  <a:pt x="1194" y="519"/>
                </a:cubicBezTo>
                <a:cubicBezTo>
                  <a:pt x="1194" y="519"/>
                  <a:pt x="1194" y="518"/>
                  <a:pt x="1194" y="518"/>
                </a:cubicBezTo>
                <a:cubicBezTo>
                  <a:pt x="1193" y="517"/>
                  <a:pt x="1194" y="516"/>
                  <a:pt x="1194" y="515"/>
                </a:cubicBezTo>
                <a:cubicBezTo>
                  <a:pt x="1194" y="515"/>
                  <a:pt x="1193" y="514"/>
                  <a:pt x="1194" y="514"/>
                </a:cubicBezTo>
                <a:cubicBezTo>
                  <a:pt x="1194" y="514"/>
                  <a:pt x="1194" y="512"/>
                  <a:pt x="1194" y="512"/>
                </a:cubicBezTo>
                <a:cubicBezTo>
                  <a:pt x="1195" y="511"/>
                  <a:pt x="1196" y="511"/>
                  <a:pt x="1196" y="510"/>
                </a:cubicBezTo>
                <a:cubicBezTo>
                  <a:pt x="1196" y="510"/>
                  <a:pt x="1196" y="509"/>
                  <a:pt x="1196" y="508"/>
                </a:cubicBezTo>
                <a:cubicBezTo>
                  <a:pt x="1197" y="508"/>
                  <a:pt x="1197" y="508"/>
                  <a:pt x="1197" y="507"/>
                </a:cubicBezTo>
                <a:cubicBezTo>
                  <a:pt x="1196" y="506"/>
                  <a:pt x="1196" y="506"/>
                  <a:pt x="1196" y="505"/>
                </a:cubicBezTo>
                <a:cubicBezTo>
                  <a:pt x="1196" y="503"/>
                  <a:pt x="1195" y="502"/>
                  <a:pt x="1196" y="500"/>
                </a:cubicBezTo>
                <a:cubicBezTo>
                  <a:pt x="1196" y="499"/>
                  <a:pt x="1196" y="497"/>
                  <a:pt x="1196" y="495"/>
                </a:cubicBezTo>
                <a:cubicBezTo>
                  <a:pt x="1196" y="495"/>
                  <a:pt x="1197" y="494"/>
                  <a:pt x="1196" y="494"/>
                </a:cubicBezTo>
                <a:cubicBezTo>
                  <a:pt x="1197" y="494"/>
                  <a:pt x="1196" y="493"/>
                  <a:pt x="1196" y="493"/>
                </a:cubicBezTo>
                <a:cubicBezTo>
                  <a:pt x="1195" y="493"/>
                  <a:pt x="1196" y="490"/>
                  <a:pt x="1196" y="490"/>
                </a:cubicBezTo>
                <a:cubicBezTo>
                  <a:pt x="1197" y="489"/>
                  <a:pt x="1197" y="488"/>
                  <a:pt x="1198" y="488"/>
                </a:cubicBezTo>
                <a:cubicBezTo>
                  <a:pt x="1199" y="488"/>
                  <a:pt x="1200" y="489"/>
                  <a:pt x="1201" y="487"/>
                </a:cubicBezTo>
                <a:cubicBezTo>
                  <a:pt x="1202" y="486"/>
                  <a:pt x="1203" y="486"/>
                  <a:pt x="1204" y="486"/>
                </a:cubicBezTo>
                <a:cubicBezTo>
                  <a:pt x="1205" y="485"/>
                  <a:pt x="1206" y="485"/>
                  <a:pt x="1206" y="484"/>
                </a:cubicBezTo>
                <a:cubicBezTo>
                  <a:pt x="1206" y="484"/>
                  <a:pt x="1206" y="483"/>
                  <a:pt x="1206" y="483"/>
                </a:cubicBezTo>
                <a:cubicBezTo>
                  <a:pt x="1206" y="483"/>
                  <a:pt x="1206" y="483"/>
                  <a:pt x="1206" y="483"/>
                </a:cubicBezTo>
                <a:cubicBezTo>
                  <a:pt x="1206" y="483"/>
                  <a:pt x="1206" y="482"/>
                  <a:pt x="1206" y="482"/>
                </a:cubicBezTo>
                <a:cubicBezTo>
                  <a:pt x="1206" y="482"/>
                  <a:pt x="1207" y="482"/>
                  <a:pt x="1207" y="482"/>
                </a:cubicBezTo>
                <a:cubicBezTo>
                  <a:pt x="1207" y="481"/>
                  <a:pt x="1207" y="481"/>
                  <a:pt x="1207" y="481"/>
                </a:cubicBezTo>
                <a:cubicBezTo>
                  <a:pt x="1207" y="481"/>
                  <a:pt x="1207" y="481"/>
                  <a:pt x="1207" y="480"/>
                </a:cubicBezTo>
                <a:cubicBezTo>
                  <a:pt x="1207" y="480"/>
                  <a:pt x="1208" y="481"/>
                  <a:pt x="1208" y="480"/>
                </a:cubicBezTo>
                <a:cubicBezTo>
                  <a:pt x="1208" y="480"/>
                  <a:pt x="1209" y="480"/>
                  <a:pt x="1209" y="480"/>
                </a:cubicBezTo>
                <a:cubicBezTo>
                  <a:pt x="1210" y="480"/>
                  <a:pt x="1211" y="480"/>
                  <a:pt x="1211" y="479"/>
                </a:cubicBezTo>
                <a:cubicBezTo>
                  <a:pt x="1212" y="478"/>
                  <a:pt x="1214" y="477"/>
                  <a:pt x="1215" y="477"/>
                </a:cubicBezTo>
                <a:cubicBezTo>
                  <a:pt x="1216" y="475"/>
                  <a:pt x="1218" y="474"/>
                  <a:pt x="1219" y="472"/>
                </a:cubicBezTo>
                <a:cubicBezTo>
                  <a:pt x="1219" y="472"/>
                  <a:pt x="1219" y="472"/>
                  <a:pt x="1219" y="472"/>
                </a:cubicBezTo>
                <a:cubicBezTo>
                  <a:pt x="1219" y="471"/>
                  <a:pt x="1220" y="471"/>
                  <a:pt x="1220" y="471"/>
                </a:cubicBezTo>
                <a:cubicBezTo>
                  <a:pt x="1220" y="470"/>
                  <a:pt x="1221" y="470"/>
                  <a:pt x="1221" y="470"/>
                </a:cubicBezTo>
                <a:cubicBezTo>
                  <a:pt x="1221" y="469"/>
                  <a:pt x="1221" y="468"/>
                  <a:pt x="1222" y="468"/>
                </a:cubicBezTo>
                <a:cubicBezTo>
                  <a:pt x="1223" y="468"/>
                  <a:pt x="1224" y="468"/>
                  <a:pt x="1224" y="468"/>
                </a:cubicBezTo>
                <a:cubicBezTo>
                  <a:pt x="1224" y="468"/>
                  <a:pt x="1226" y="467"/>
                  <a:pt x="1226" y="467"/>
                </a:cubicBezTo>
                <a:cubicBezTo>
                  <a:pt x="1226" y="467"/>
                  <a:pt x="1226" y="466"/>
                  <a:pt x="1227" y="466"/>
                </a:cubicBezTo>
                <a:cubicBezTo>
                  <a:pt x="1228" y="466"/>
                  <a:pt x="1228" y="465"/>
                  <a:pt x="1229" y="465"/>
                </a:cubicBezTo>
                <a:cubicBezTo>
                  <a:pt x="1230" y="464"/>
                  <a:pt x="1230" y="463"/>
                  <a:pt x="1230" y="463"/>
                </a:cubicBezTo>
                <a:cubicBezTo>
                  <a:pt x="1230" y="462"/>
                  <a:pt x="1230" y="461"/>
                  <a:pt x="1230" y="460"/>
                </a:cubicBezTo>
                <a:cubicBezTo>
                  <a:pt x="1230" y="460"/>
                  <a:pt x="1230" y="460"/>
                  <a:pt x="1230" y="460"/>
                </a:cubicBezTo>
                <a:cubicBezTo>
                  <a:pt x="1230" y="459"/>
                  <a:pt x="1231" y="460"/>
                  <a:pt x="1231" y="459"/>
                </a:cubicBezTo>
                <a:cubicBezTo>
                  <a:pt x="1231" y="459"/>
                  <a:pt x="1231" y="459"/>
                  <a:pt x="1231" y="458"/>
                </a:cubicBezTo>
                <a:cubicBezTo>
                  <a:pt x="1232" y="458"/>
                  <a:pt x="1233" y="457"/>
                  <a:pt x="1234" y="457"/>
                </a:cubicBezTo>
                <a:cubicBezTo>
                  <a:pt x="1235" y="457"/>
                  <a:pt x="1234" y="457"/>
                  <a:pt x="1235" y="456"/>
                </a:cubicBezTo>
                <a:cubicBezTo>
                  <a:pt x="1235" y="456"/>
                  <a:pt x="1235" y="455"/>
                  <a:pt x="1235" y="457"/>
                </a:cubicBezTo>
                <a:cubicBezTo>
                  <a:pt x="1236" y="456"/>
                  <a:pt x="1237" y="456"/>
                  <a:pt x="1238" y="456"/>
                </a:cubicBezTo>
                <a:cubicBezTo>
                  <a:pt x="1238" y="456"/>
                  <a:pt x="1237" y="457"/>
                  <a:pt x="1238" y="458"/>
                </a:cubicBezTo>
                <a:cubicBezTo>
                  <a:pt x="1238" y="458"/>
                  <a:pt x="1239" y="458"/>
                  <a:pt x="1240" y="457"/>
                </a:cubicBezTo>
                <a:cubicBezTo>
                  <a:pt x="1241" y="456"/>
                  <a:pt x="1240" y="456"/>
                  <a:pt x="1241" y="456"/>
                </a:cubicBezTo>
                <a:cubicBezTo>
                  <a:pt x="1241" y="456"/>
                  <a:pt x="1242" y="456"/>
                  <a:pt x="1242" y="456"/>
                </a:cubicBezTo>
                <a:cubicBezTo>
                  <a:pt x="1242" y="456"/>
                  <a:pt x="1242" y="455"/>
                  <a:pt x="1242" y="455"/>
                </a:cubicBezTo>
                <a:cubicBezTo>
                  <a:pt x="1242" y="456"/>
                  <a:pt x="1242" y="456"/>
                  <a:pt x="1242" y="456"/>
                </a:cubicBezTo>
                <a:cubicBezTo>
                  <a:pt x="1243" y="456"/>
                  <a:pt x="1244" y="456"/>
                  <a:pt x="1243" y="455"/>
                </a:cubicBezTo>
                <a:cubicBezTo>
                  <a:pt x="1244" y="455"/>
                  <a:pt x="1244" y="455"/>
                  <a:pt x="1244" y="455"/>
                </a:cubicBezTo>
                <a:cubicBezTo>
                  <a:pt x="1245" y="456"/>
                  <a:pt x="1246" y="456"/>
                  <a:pt x="1246" y="455"/>
                </a:cubicBezTo>
                <a:cubicBezTo>
                  <a:pt x="1247" y="455"/>
                  <a:pt x="1247" y="455"/>
                  <a:pt x="1247" y="454"/>
                </a:cubicBezTo>
                <a:cubicBezTo>
                  <a:pt x="1246" y="453"/>
                  <a:pt x="1246" y="452"/>
                  <a:pt x="1246" y="452"/>
                </a:cubicBezTo>
                <a:cubicBezTo>
                  <a:pt x="1246" y="451"/>
                  <a:pt x="1247" y="451"/>
                  <a:pt x="1247" y="450"/>
                </a:cubicBezTo>
                <a:cubicBezTo>
                  <a:pt x="1247" y="450"/>
                  <a:pt x="1247" y="449"/>
                  <a:pt x="1247" y="449"/>
                </a:cubicBezTo>
                <a:cubicBezTo>
                  <a:pt x="1247" y="449"/>
                  <a:pt x="1247" y="449"/>
                  <a:pt x="1246" y="449"/>
                </a:cubicBezTo>
                <a:cubicBezTo>
                  <a:pt x="1246" y="448"/>
                  <a:pt x="1246" y="448"/>
                  <a:pt x="1246" y="448"/>
                </a:cubicBezTo>
                <a:cubicBezTo>
                  <a:pt x="1246" y="448"/>
                  <a:pt x="1246" y="448"/>
                  <a:pt x="1246" y="447"/>
                </a:cubicBezTo>
                <a:cubicBezTo>
                  <a:pt x="1247" y="448"/>
                  <a:pt x="1248" y="448"/>
                  <a:pt x="1249" y="449"/>
                </a:cubicBezTo>
                <a:cubicBezTo>
                  <a:pt x="1249" y="450"/>
                  <a:pt x="1250" y="450"/>
                  <a:pt x="1250" y="450"/>
                </a:cubicBezTo>
                <a:cubicBezTo>
                  <a:pt x="1251" y="450"/>
                  <a:pt x="1251" y="451"/>
                  <a:pt x="1252" y="451"/>
                </a:cubicBezTo>
                <a:cubicBezTo>
                  <a:pt x="1252" y="451"/>
                  <a:pt x="1252" y="452"/>
                  <a:pt x="1253" y="453"/>
                </a:cubicBezTo>
                <a:cubicBezTo>
                  <a:pt x="1254" y="453"/>
                  <a:pt x="1253" y="453"/>
                  <a:pt x="1253" y="454"/>
                </a:cubicBezTo>
                <a:cubicBezTo>
                  <a:pt x="1253" y="455"/>
                  <a:pt x="1254" y="455"/>
                  <a:pt x="1254" y="456"/>
                </a:cubicBezTo>
                <a:cubicBezTo>
                  <a:pt x="1254" y="457"/>
                  <a:pt x="1254" y="458"/>
                  <a:pt x="1254" y="459"/>
                </a:cubicBezTo>
                <a:cubicBezTo>
                  <a:pt x="1254" y="459"/>
                  <a:pt x="1254" y="460"/>
                  <a:pt x="1254" y="460"/>
                </a:cubicBezTo>
                <a:cubicBezTo>
                  <a:pt x="1255" y="461"/>
                  <a:pt x="1255" y="460"/>
                  <a:pt x="1255" y="460"/>
                </a:cubicBezTo>
                <a:cubicBezTo>
                  <a:pt x="1255" y="461"/>
                  <a:pt x="1255" y="461"/>
                  <a:pt x="1255" y="461"/>
                </a:cubicBezTo>
                <a:cubicBezTo>
                  <a:pt x="1256" y="461"/>
                  <a:pt x="1256" y="462"/>
                  <a:pt x="1256" y="463"/>
                </a:cubicBezTo>
                <a:cubicBezTo>
                  <a:pt x="1256" y="464"/>
                  <a:pt x="1256" y="463"/>
                  <a:pt x="1256" y="463"/>
                </a:cubicBezTo>
                <a:cubicBezTo>
                  <a:pt x="1256" y="463"/>
                  <a:pt x="1256" y="464"/>
                  <a:pt x="1256" y="464"/>
                </a:cubicBezTo>
                <a:cubicBezTo>
                  <a:pt x="1257" y="464"/>
                  <a:pt x="1257" y="464"/>
                  <a:pt x="1257" y="464"/>
                </a:cubicBezTo>
                <a:cubicBezTo>
                  <a:pt x="1257" y="465"/>
                  <a:pt x="1257" y="465"/>
                  <a:pt x="1258" y="466"/>
                </a:cubicBezTo>
                <a:cubicBezTo>
                  <a:pt x="1258" y="467"/>
                  <a:pt x="1259" y="465"/>
                  <a:pt x="1259" y="465"/>
                </a:cubicBezTo>
                <a:cubicBezTo>
                  <a:pt x="1259" y="465"/>
                  <a:pt x="1260" y="465"/>
                  <a:pt x="1260" y="465"/>
                </a:cubicBezTo>
                <a:cubicBezTo>
                  <a:pt x="1260" y="465"/>
                  <a:pt x="1260" y="465"/>
                  <a:pt x="1260" y="465"/>
                </a:cubicBezTo>
                <a:cubicBezTo>
                  <a:pt x="1260" y="464"/>
                  <a:pt x="1261" y="465"/>
                  <a:pt x="1261" y="465"/>
                </a:cubicBezTo>
                <a:cubicBezTo>
                  <a:pt x="1261" y="465"/>
                  <a:pt x="1261" y="467"/>
                  <a:pt x="1262" y="467"/>
                </a:cubicBezTo>
                <a:cubicBezTo>
                  <a:pt x="1263" y="468"/>
                  <a:pt x="1262" y="470"/>
                  <a:pt x="1264" y="470"/>
                </a:cubicBezTo>
                <a:cubicBezTo>
                  <a:pt x="1263" y="471"/>
                  <a:pt x="1264" y="474"/>
                  <a:pt x="1264" y="475"/>
                </a:cubicBezTo>
                <a:cubicBezTo>
                  <a:pt x="1264" y="475"/>
                  <a:pt x="1265" y="475"/>
                  <a:pt x="1265" y="475"/>
                </a:cubicBezTo>
                <a:cubicBezTo>
                  <a:pt x="1266" y="476"/>
                  <a:pt x="1265" y="476"/>
                  <a:pt x="1265" y="477"/>
                </a:cubicBezTo>
                <a:cubicBezTo>
                  <a:pt x="1266" y="477"/>
                  <a:pt x="1265" y="478"/>
                  <a:pt x="1266" y="478"/>
                </a:cubicBezTo>
                <a:cubicBezTo>
                  <a:pt x="1266" y="478"/>
                  <a:pt x="1266" y="479"/>
                  <a:pt x="1266" y="480"/>
                </a:cubicBezTo>
                <a:cubicBezTo>
                  <a:pt x="1266" y="480"/>
                  <a:pt x="1265" y="481"/>
                  <a:pt x="1265" y="481"/>
                </a:cubicBezTo>
                <a:cubicBezTo>
                  <a:pt x="1265" y="481"/>
                  <a:pt x="1265" y="481"/>
                  <a:pt x="1265" y="481"/>
                </a:cubicBezTo>
                <a:cubicBezTo>
                  <a:pt x="1265" y="482"/>
                  <a:pt x="1265" y="482"/>
                  <a:pt x="1265" y="483"/>
                </a:cubicBezTo>
                <a:cubicBezTo>
                  <a:pt x="1265" y="483"/>
                  <a:pt x="1264" y="483"/>
                  <a:pt x="1264" y="483"/>
                </a:cubicBezTo>
                <a:cubicBezTo>
                  <a:pt x="1264" y="483"/>
                  <a:pt x="1264" y="483"/>
                  <a:pt x="1264" y="484"/>
                </a:cubicBezTo>
                <a:cubicBezTo>
                  <a:pt x="1264" y="484"/>
                  <a:pt x="1264" y="483"/>
                  <a:pt x="1264" y="484"/>
                </a:cubicBezTo>
                <a:cubicBezTo>
                  <a:pt x="1264" y="484"/>
                  <a:pt x="1264" y="484"/>
                  <a:pt x="1264" y="485"/>
                </a:cubicBezTo>
                <a:cubicBezTo>
                  <a:pt x="1264" y="485"/>
                  <a:pt x="1264" y="486"/>
                  <a:pt x="1264" y="486"/>
                </a:cubicBezTo>
                <a:cubicBezTo>
                  <a:pt x="1264" y="487"/>
                  <a:pt x="1264" y="488"/>
                  <a:pt x="1265" y="488"/>
                </a:cubicBezTo>
                <a:cubicBezTo>
                  <a:pt x="1265" y="488"/>
                  <a:pt x="1266" y="488"/>
                  <a:pt x="1266" y="488"/>
                </a:cubicBezTo>
                <a:cubicBezTo>
                  <a:pt x="1267" y="488"/>
                  <a:pt x="1266" y="489"/>
                  <a:pt x="1267" y="488"/>
                </a:cubicBezTo>
                <a:cubicBezTo>
                  <a:pt x="1268" y="488"/>
                  <a:pt x="1268" y="488"/>
                  <a:pt x="1269" y="488"/>
                </a:cubicBezTo>
                <a:cubicBezTo>
                  <a:pt x="1271" y="489"/>
                  <a:pt x="1270" y="487"/>
                  <a:pt x="1271" y="487"/>
                </a:cubicBezTo>
                <a:cubicBezTo>
                  <a:pt x="1271" y="487"/>
                  <a:pt x="1272" y="487"/>
                  <a:pt x="1272" y="487"/>
                </a:cubicBezTo>
                <a:cubicBezTo>
                  <a:pt x="1272" y="486"/>
                  <a:pt x="1273" y="486"/>
                  <a:pt x="1273" y="486"/>
                </a:cubicBezTo>
                <a:cubicBezTo>
                  <a:pt x="1274" y="484"/>
                  <a:pt x="1274" y="483"/>
                  <a:pt x="1275" y="482"/>
                </a:cubicBezTo>
                <a:cubicBezTo>
                  <a:pt x="1276" y="481"/>
                  <a:pt x="1276" y="483"/>
                  <a:pt x="1276" y="483"/>
                </a:cubicBezTo>
                <a:cubicBezTo>
                  <a:pt x="1277" y="483"/>
                  <a:pt x="1277" y="483"/>
                  <a:pt x="1277" y="484"/>
                </a:cubicBezTo>
                <a:cubicBezTo>
                  <a:pt x="1278" y="484"/>
                  <a:pt x="1278" y="484"/>
                  <a:pt x="1278" y="484"/>
                </a:cubicBezTo>
                <a:cubicBezTo>
                  <a:pt x="1278" y="485"/>
                  <a:pt x="1278" y="485"/>
                  <a:pt x="1278" y="485"/>
                </a:cubicBezTo>
                <a:cubicBezTo>
                  <a:pt x="1279" y="485"/>
                  <a:pt x="1280" y="485"/>
                  <a:pt x="1280" y="486"/>
                </a:cubicBezTo>
                <a:cubicBezTo>
                  <a:pt x="1280" y="487"/>
                  <a:pt x="1280" y="486"/>
                  <a:pt x="1280" y="487"/>
                </a:cubicBezTo>
                <a:cubicBezTo>
                  <a:pt x="1280" y="487"/>
                  <a:pt x="1280" y="487"/>
                  <a:pt x="1280" y="488"/>
                </a:cubicBezTo>
                <a:cubicBezTo>
                  <a:pt x="1279" y="488"/>
                  <a:pt x="1279" y="488"/>
                  <a:pt x="1280" y="489"/>
                </a:cubicBezTo>
                <a:cubicBezTo>
                  <a:pt x="1280" y="490"/>
                  <a:pt x="1280" y="490"/>
                  <a:pt x="1281" y="490"/>
                </a:cubicBezTo>
                <a:cubicBezTo>
                  <a:pt x="1281" y="491"/>
                  <a:pt x="1281" y="490"/>
                  <a:pt x="1281" y="491"/>
                </a:cubicBezTo>
                <a:cubicBezTo>
                  <a:pt x="1281" y="492"/>
                  <a:pt x="1282" y="491"/>
                  <a:pt x="1282" y="492"/>
                </a:cubicBezTo>
                <a:cubicBezTo>
                  <a:pt x="1282" y="492"/>
                  <a:pt x="1282" y="492"/>
                  <a:pt x="1282" y="492"/>
                </a:cubicBezTo>
                <a:cubicBezTo>
                  <a:pt x="1282" y="493"/>
                  <a:pt x="1282" y="494"/>
                  <a:pt x="1282" y="494"/>
                </a:cubicBezTo>
                <a:cubicBezTo>
                  <a:pt x="1282" y="495"/>
                  <a:pt x="1282" y="495"/>
                  <a:pt x="1282" y="496"/>
                </a:cubicBezTo>
                <a:cubicBezTo>
                  <a:pt x="1282" y="497"/>
                  <a:pt x="1283" y="497"/>
                  <a:pt x="1283" y="498"/>
                </a:cubicBezTo>
                <a:cubicBezTo>
                  <a:pt x="1283" y="499"/>
                  <a:pt x="1283" y="498"/>
                  <a:pt x="1283" y="499"/>
                </a:cubicBezTo>
                <a:cubicBezTo>
                  <a:pt x="1283" y="499"/>
                  <a:pt x="1283" y="500"/>
                  <a:pt x="1283" y="500"/>
                </a:cubicBezTo>
                <a:cubicBezTo>
                  <a:pt x="1283" y="500"/>
                  <a:pt x="1284" y="501"/>
                  <a:pt x="1284" y="501"/>
                </a:cubicBezTo>
                <a:cubicBezTo>
                  <a:pt x="1285" y="502"/>
                  <a:pt x="1285" y="502"/>
                  <a:pt x="1285" y="503"/>
                </a:cubicBezTo>
                <a:cubicBezTo>
                  <a:pt x="1285" y="503"/>
                  <a:pt x="1285" y="504"/>
                  <a:pt x="1285" y="504"/>
                </a:cubicBezTo>
                <a:cubicBezTo>
                  <a:pt x="1285" y="504"/>
                  <a:pt x="1285" y="504"/>
                  <a:pt x="1285" y="504"/>
                </a:cubicBezTo>
                <a:cubicBezTo>
                  <a:pt x="1285" y="505"/>
                  <a:pt x="1285" y="505"/>
                  <a:pt x="1285" y="506"/>
                </a:cubicBezTo>
                <a:cubicBezTo>
                  <a:pt x="1285" y="506"/>
                  <a:pt x="1286" y="506"/>
                  <a:pt x="1286" y="507"/>
                </a:cubicBezTo>
                <a:cubicBezTo>
                  <a:pt x="1285" y="507"/>
                  <a:pt x="1286" y="507"/>
                  <a:pt x="1286" y="507"/>
                </a:cubicBezTo>
                <a:cubicBezTo>
                  <a:pt x="1286" y="507"/>
                  <a:pt x="1286" y="508"/>
                  <a:pt x="1286" y="508"/>
                </a:cubicBezTo>
                <a:cubicBezTo>
                  <a:pt x="1286" y="509"/>
                  <a:pt x="1286" y="510"/>
                  <a:pt x="1285" y="511"/>
                </a:cubicBezTo>
                <a:cubicBezTo>
                  <a:pt x="1285" y="511"/>
                  <a:pt x="1286" y="511"/>
                  <a:pt x="1286" y="511"/>
                </a:cubicBezTo>
                <a:cubicBezTo>
                  <a:pt x="1286" y="512"/>
                  <a:pt x="1286" y="512"/>
                  <a:pt x="1286" y="512"/>
                </a:cubicBezTo>
                <a:cubicBezTo>
                  <a:pt x="1287" y="512"/>
                  <a:pt x="1287" y="513"/>
                  <a:pt x="1287" y="514"/>
                </a:cubicBezTo>
                <a:cubicBezTo>
                  <a:pt x="1287" y="514"/>
                  <a:pt x="1287" y="514"/>
                  <a:pt x="1287" y="515"/>
                </a:cubicBezTo>
                <a:cubicBezTo>
                  <a:pt x="1287" y="515"/>
                  <a:pt x="1287" y="514"/>
                  <a:pt x="1287" y="515"/>
                </a:cubicBezTo>
                <a:cubicBezTo>
                  <a:pt x="1288" y="516"/>
                  <a:pt x="1287" y="517"/>
                  <a:pt x="1287" y="518"/>
                </a:cubicBezTo>
                <a:cubicBezTo>
                  <a:pt x="1287" y="519"/>
                  <a:pt x="1286" y="519"/>
                  <a:pt x="1286" y="519"/>
                </a:cubicBezTo>
                <a:cubicBezTo>
                  <a:pt x="1286" y="520"/>
                  <a:pt x="1286" y="521"/>
                  <a:pt x="1286" y="522"/>
                </a:cubicBezTo>
                <a:cubicBezTo>
                  <a:pt x="1286" y="522"/>
                  <a:pt x="1287" y="521"/>
                  <a:pt x="1287" y="522"/>
                </a:cubicBezTo>
                <a:cubicBezTo>
                  <a:pt x="1287" y="522"/>
                  <a:pt x="1287" y="523"/>
                  <a:pt x="1287" y="523"/>
                </a:cubicBezTo>
                <a:cubicBezTo>
                  <a:pt x="1287" y="523"/>
                  <a:pt x="1286" y="523"/>
                  <a:pt x="1286" y="524"/>
                </a:cubicBezTo>
                <a:cubicBezTo>
                  <a:pt x="1286" y="524"/>
                  <a:pt x="1286" y="525"/>
                  <a:pt x="1285" y="525"/>
                </a:cubicBezTo>
                <a:cubicBezTo>
                  <a:pt x="1285" y="526"/>
                  <a:pt x="1285" y="527"/>
                  <a:pt x="1285" y="528"/>
                </a:cubicBezTo>
                <a:cubicBezTo>
                  <a:pt x="1285" y="528"/>
                  <a:pt x="1285" y="528"/>
                  <a:pt x="1285" y="528"/>
                </a:cubicBezTo>
                <a:cubicBezTo>
                  <a:pt x="1285" y="529"/>
                  <a:pt x="1285" y="529"/>
                  <a:pt x="1285" y="530"/>
                </a:cubicBezTo>
                <a:cubicBezTo>
                  <a:pt x="1285" y="530"/>
                  <a:pt x="1285" y="530"/>
                  <a:pt x="1286" y="530"/>
                </a:cubicBezTo>
                <a:cubicBezTo>
                  <a:pt x="1286" y="531"/>
                  <a:pt x="1286" y="531"/>
                  <a:pt x="1286" y="531"/>
                </a:cubicBezTo>
                <a:cubicBezTo>
                  <a:pt x="1286" y="532"/>
                  <a:pt x="1289" y="534"/>
                  <a:pt x="1290" y="535"/>
                </a:cubicBezTo>
                <a:cubicBezTo>
                  <a:pt x="1290" y="535"/>
                  <a:pt x="1289" y="535"/>
                  <a:pt x="1290" y="536"/>
                </a:cubicBezTo>
                <a:cubicBezTo>
                  <a:pt x="1291" y="537"/>
                  <a:pt x="1291" y="537"/>
                  <a:pt x="1291" y="538"/>
                </a:cubicBezTo>
                <a:cubicBezTo>
                  <a:pt x="1291" y="539"/>
                  <a:pt x="1292" y="539"/>
                  <a:pt x="1293" y="540"/>
                </a:cubicBezTo>
                <a:cubicBezTo>
                  <a:pt x="1293" y="541"/>
                  <a:pt x="1293" y="542"/>
                  <a:pt x="1293" y="543"/>
                </a:cubicBezTo>
                <a:cubicBezTo>
                  <a:pt x="1293" y="544"/>
                  <a:pt x="1293" y="544"/>
                  <a:pt x="1293" y="546"/>
                </a:cubicBezTo>
                <a:cubicBezTo>
                  <a:pt x="1293" y="546"/>
                  <a:pt x="1294" y="545"/>
                  <a:pt x="1294" y="546"/>
                </a:cubicBezTo>
                <a:cubicBezTo>
                  <a:pt x="1294" y="547"/>
                  <a:pt x="1294" y="546"/>
                  <a:pt x="1294" y="547"/>
                </a:cubicBezTo>
                <a:cubicBezTo>
                  <a:pt x="1294" y="547"/>
                  <a:pt x="1294" y="548"/>
                  <a:pt x="1294" y="548"/>
                </a:cubicBezTo>
                <a:cubicBezTo>
                  <a:pt x="1294" y="548"/>
                  <a:pt x="1294" y="549"/>
                  <a:pt x="1294" y="550"/>
                </a:cubicBezTo>
                <a:cubicBezTo>
                  <a:pt x="1294" y="550"/>
                  <a:pt x="1294" y="550"/>
                  <a:pt x="1294" y="551"/>
                </a:cubicBezTo>
                <a:cubicBezTo>
                  <a:pt x="1294" y="551"/>
                  <a:pt x="1295" y="551"/>
                  <a:pt x="1295" y="552"/>
                </a:cubicBezTo>
                <a:cubicBezTo>
                  <a:pt x="1295" y="552"/>
                  <a:pt x="1295" y="552"/>
                  <a:pt x="1295" y="552"/>
                </a:cubicBezTo>
                <a:cubicBezTo>
                  <a:pt x="1295" y="552"/>
                  <a:pt x="1295" y="553"/>
                  <a:pt x="1295" y="554"/>
                </a:cubicBezTo>
                <a:cubicBezTo>
                  <a:pt x="1295" y="555"/>
                  <a:pt x="1296" y="556"/>
                  <a:pt x="1296" y="557"/>
                </a:cubicBezTo>
                <a:cubicBezTo>
                  <a:pt x="1297" y="558"/>
                  <a:pt x="1297" y="558"/>
                  <a:pt x="1298" y="559"/>
                </a:cubicBezTo>
                <a:cubicBezTo>
                  <a:pt x="1298" y="560"/>
                  <a:pt x="1298" y="559"/>
                  <a:pt x="1298" y="560"/>
                </a:cubicBezTo>
                <a:cubicBezTo>
                  <a:pt x="1298" y="560"/>
                  <a:pt x="1298" y="561"/>
                  <a:pt x="1298" y="561"/>
                </a:cubicBezTo>
                <a:cubicBezTo>
                  <a:pt x="1298" y="562"/>
                  <a:pt x="1299" y="563"/>
                  <a:pt x="1300" y="564"/>
                </a:cubicBezTo>
                <a:cubicBezTo>
                  <a:pt x="1300" y="564"/>
                  <a:pt x="1303" y="565"/>
                  <a:pt x="1303" y="566"/>
                </a:cubicBezTo>
                <a:cubicBezTo>
                  <a:pt x="1303" y="567"/>
                  <a:pt x="1304" y="567"/>
                  <a:pt x="1304" y="567"/>
                </a:cubicBezTo>
                <a:cubicBezTo>
                  <a:pt x="1305" y="568"/>
                  <a:pt x="1304" y="568"/>
                  <a:pt x="1305" y="568"/>
                </a:cubicBezTo>
                <a:cubicBezTo>
                  <a:pt x="1306" y="568"/>
                  <a:pt x="1305" y="568"/>
                  <a:pt x="1305" y="568"/>
                </a:cubicBezTo>
                <a:cubicBezTo>
                  <a:pt x="1305" y="568"/>
                  <a:pt x="1306" y="568"/>
                  <a:pt x="1306" y="568"/>
                </a:cubicBezTo>
                <a:cubicBezTo>
                  <a:pt x="1306" y="568"/>
                  <a:pt x="1306" y="568"/>
                  <a:pt x="1306" y="568"/>
                </a:cubicBezTo>
                <a:cubicBezTo>
                  <a:pt x="1306" y="569"/>
                  <a:pt x="1307" y="569"/>
                  <a:pt x="1307" y="569"/>
                </a:cubicBezTo>
                <a:cubicBezTo>
                  <a:pt x="1308" y="570"/>
                  <a:pt x="1308" y="569"/>
                  <a:pt x="1308" y="568"/>
                </a:cubicBezTo>
                <a:cubicBezTo>
                  <a:pt x="1309" y="567"/>
                  <a:pt x="1310" y="568"/>
                  <a:pt x="1312" y="568"/>
                </a:cubicBezTo>
                <a:cubicBezTo>
                  <a:pt x="1311" y="567"/>
                  <a:pt x="1311" y="566"/>
                  <a:pt x="1311" y="565"/>
                </a:cubicBezTo>
                <a:cubicBezTo>
                  <a:pt x="1310" y="564"/>
                  <a:pt x="1311" y="566"/>
                  <a:pt x="1310" y="564"/>
                </a:cubicBezTo>
                <a:cubicBezTo>
                  <a:pt x="1310" y="563"/>
                  <a:pt x="1310" y="564"/>
                  <a:pt x="1310" y="563"/>
                </a:cubicBezTo>
                <a:cubicBezTo>
                  <a:pt x="1310" y="563"/>
                  <a:pt x="1310" y="562"/>
                  <a:pt x="1310" y="562"/>
                </a:cubicBezTo>
                <a:cubicBezTo>
                  <a:pt x="1309" y="562"/>
                  <a:pt x="1308" y="562"/>
                  <a:pt x="1308" y="561"/>
                </a:cubicBezTo>
                <a:cubicBezTo>
                  <a:pt x="1308" y="561"/>
                  <a:pt x="1309" y="560"/>
                  <a:pt x="1308" y="560"/>
                </a:cubicBezTo>
                <a:cubicBezTo>
                  <a:pt x="1308" y="559"/>
                  <a:pt x="1309" y="554"/>
                  <a:pt x="1308" y="553"/>
                </a:cubicBezTo>
                <a:cubicBezTo>
                  <a:pt x="1308" y="553"/>
                  <a:pt x="1309" y="551"/>
                  <a:pt x="1308" y="551"/>
                </a:cubicBezTo>
                <a:cubicBezTo>
                  <a:pt x="1308" y="551"/>
                  <a:pt x="1308" y="551"/>
                  <a:pt x="1308" y="551"/>
                </a:cubicBezTo>
                <a:cubicBezTo>
                  <a:pt x="1307" y="551"/>
                  <a:pt x="1307" y="550"/>
                  <a:pt x="1307" y="550"/>
                </a:cubicBezTo>
                <a:cubicBezTo>
                  <a:pt x="1307" y="550"/>
                  <a:pt x="1308" y="550"/>
                  <a:pt x="1307" y="549"/>
                </a:cubicBezTo>
                <a:cubicBezTo>
                  <a:pt x="1305" y="548"/>
                  <a:pt x="1306" y="545"/>
                  <a:pt x="1304" y="545"/>
                </a:cubicBezTo>
                <a:cubicBezTo>
                  <a:pt x="1304" y="545"/>
                  <a:pt x="1302" y="543"/>
                  <a:pt x="1302" y="543"/>
                </a:cubicBezTo>
                <a:cubicBezTo>
                  <a:pt x="1301" y="542"/>
                  <a:pt x="1301" y="542"/>
                  <a:pt x="1301" y="541"/>
                </a:cubicBezTo>
                <a:cubicBezTo>
                  <a:pt x="1301" y="541"/>
                  <a:pt x="1298" y="538"/>
                  <a:pt x="1298" y="538"/>
                </a:cubicBezTo>
                <a:cubicBezTo>
                  <a:pt x="1297" y="538"/>
                  <a:pt x="1296" y="538"/>
                  <a:pt x="1295" y="537"/>
                </a:cubicBezTo>
                <a:cubicBezTo>
                  <a:pt x="1294" y="535"/>
                  <a:pt x="1293" y="533"/>
                  <a:pt x="1293" y="531"/>
                </a:cubicBezTo>
                <a:cubicBezTo>
                  <a:pt x="1293" y="531"/>
                  <a:pt x="1292" y="531"/>
                  <a:pt x="1292" y="531"/>
                </a:cubicBezTo>
                <a:cubicBezTo>
                  <a:pt x="1292" y="530"/>
                  <a:pt x="1291" y="530"/>
                  <a:pt x="1291" y="529"/>
                </a:cubicBezTo>
                <a:cubicBezTo>
                  <a:pt x="1291" y="528"/>
                  <a:pt x="1291" y="528"/>
                  <a:pt x="1291" y="527"/>
                </a:cubicBezTo>
                <a:cubicBezTo>
                  <a:pt x="1291" y="527"/>
                  <a:pt x="1290" y="527"/>
                  <a:pt x="1290" y="527"/>
                </a:cubicBezTo>
                <a:cubicBezTo>
                  <a:pt x="1289" y="527"/>
                  <a:pt x="1289" y="526"/>
                  <a:pt x="1289" y="526"/>
                </a:cubicBezTo>
                <a:cubicBezTo>
                  <a:pt x="1289" y="525"/>
                  <a:pt x="1289" y="524"/>
                  <a:pt x="1289" y="523"/>
                </a:cubicBezTo>
                <a:cubicBezTo>
                  <a:pt x="1289" y="522"/>
                  <a:pt x="1290" y="523"/>
                  <a:pt x="1290" y="522"/>
                </a:cubicBezTo>
                <a:cubicBezTo>
                  <a:pt x="1290" y="521"/>
                  <a:pt x="1290" y="522"/>
                  <a:pt x="1290" y="522"/>
                </a:cubicBezTo>
                <a:cubicBezTo>
                  <a:pt x="1290" y="521"/>
                  <a:pt x="1290" y="519"/>
                  <a:pt x="1290" y="519"/>
                </a:cubicBezTo>
                <a:cubicBezTo>
                  <a:pt x="1290" y="519"/>
                  <a:pt x="1291" y="518"/>
                  <a:pt x="1291" y="518"/>
                </a:cubicBezTo>
                <a:cubicBezTo>
                  <a:pt x="1291" y="517"/>
                  <a:pt x="1291" y="516"/>
                  <a:pt x="1291" y="515"/>
                </a:cubicBezTo>
                <a:cubicBezTo>
                  <a:pt x="1291" y="515"/>
                  <a:pt x="1291" y="515"/>
                  <a:pt x="1291" y="515"/>
                </a:cubicBezTo>
                <a:cubicBezTo>
                  <a:pt x="1291" y="514"/>
                  <a:pt x="1291" y="514"/>
                  <a:pt x="1291" y="513"/>
                </a:cubicBezTo>
                <a:cubicBezTo>
                  <a:pt x="1291" y="513"/>
                  <a:pt x="1292" y="511"/>
                  <a:pt x="1292" y="511"/>
                </a:cubicBezTo>
                <a:cubicBezTo>
                  <a:pt x="1292" y="510"/>
                  <a:pt x="1292" y="509"/>
                  <a:pt x="1292" y="508"/>
                </a:cubicBezTo>
                <a:cubicBezTo>
                  <a:pt x="1292" y="507"/>
                  <a:pt x="1293" y="506"/>
                  <a:pt x="1293" y="505"/>
                </a:cubicBezTo>
                <a:cubicBezTo>
                  <a:pt x="1292" y="505"/>
                  <a:pt x="1292" y="504"/>
                  <a:pt x="1292" y="504"/>
                </a:cubicBezTo>
                <a:cubicBezTo>
                  <a:pt x="1293" y="504"/>
                  <a:pt x="1293" y="504"/>
                  <a:pt x="1293" y="503"/>
                </a:cubicBezTo>
                <a:cubicBezTo>
                  <a:pt x="1293" y="503"/>
                  <a:pt x="1294" y="503"/>
                  <a:pt x="1294" y="503"/>
                </a:cubicBezTo>
                <a:cubicBezTo>
                  <a:pt x="1295" y="503"/>
                  <a:pt x="1295" y="503"/>
                  <a:pt x="1295" y="503"/>
                </a:cubicBezTo>
                <a:cubicBezTo>
                  <a:pt x="1295" y="503"/>
                  <a:pt x="1296" y="503"/>
                  <a:pt x="1296" y="503"/>
                </a:cubicBezTo>
                <a:cubicBezTo>
                  <a:pt x="1297" y="503"/>
                  <a:pt x="1297" y="506"/>
                  <a:pt x="1298" y="507"/>
                </a:cubicBezTo>
                <a:cubicBezTo>
                  <a:pt x="1298" y="507"/>
                  <a:pt x="1300" y="507"/>
                  <a:pt x="1300" y="507"/>
                </a:cubicBezTo>
                <a:cubicBezTo>
                  <a:pt x="1301" y="508"/>
                  <a:pt x="1301" y="510"/>
                  <a:pt x="1303" y="511"/>
                </a:cubicBezTo>
                <a:cubicBezTo>
                  <a:pt x="1303" y="511"/>
                  <a:pt x="1303" y="511"/>
                  <a:pt x="1303" y="511"/>
                </a:cubicBezTo>
                <a:cubicBezTo>
                  <a:pt x="1303" y="511"/>
                  <a:pt x="1303" y="511"/>
                  <a:pt x="1304" y="511"/>
                </a:cubicBezTo>
                <a:cubicBezTo>
                  <a:pt x="1304" y="511"/>
                  <a:pt x="1304" y="513"/>
                  <a:pt x="1305" y="513"/>
                </a:cubicBezTo>
                <a:cubicBezTo>
                  <a:pt x="1305" y="514"/>
                  <a:pt x="1306" y="514"/>
                  <a:pt x="1306" y="515"/>
                </a:cubicBezTo>
                <a:cubicBezTo>
                  <a:pt x="1306" y="516"/>
                  <a:pt x="1307" y="516"/>
                  <a:pt x="1307" y="516"/>
                </a:cubicBezTo>
                <a:cubicBezTo>
                  <a:pt x="1307" y="517"/>
                  <a:pt x="1307" y="518"/>
                  <a:pt x="1307" y="519"/>
                </a:cubicBezTo>
                <a:cubicBezTo>
                  <a:pt x="1308" y="518"/>
                  <a:pt x="1309" y="518"/>
                  <a:pt x="1309" y="518"/>
                </a:cubicBezTo>
                <a:cubicBezTo>
                  <a:pt x="1309" y="518"/>
                  <a:pt x="1309" y="519"/>
                  <a:pt x="1310" y="520"/>
                </a:cubicBezTo>
                <a:cubicBezTo>
                  <a:pt x="1310" y="520"/>
                  <a:pt x="1312" y="520"/>
                  <a:pt x="1312" y="520"/>
                </a:cubicBezTo>
                <a:cubicBezTo>
                  <a:pt x="1312" y="520"/>
                  <a:pt x="1313" y="520"/>
                  <a:pt x="1313" y="521"/>
                </a:cubicBezTo>
                <a:cubicBezTo>
                  <a:pt x="1313" y="521"/>
                  <a:pt x="1314" y="522"/>
                  <a:pt x="1314" y="523"/>
                </a:cubicBezTo>
                <a:cubicBezTo>
                  <a:pt x="1314" y="523"/>
                  <a:pt x="1314" y="525"/>
                  <a:pt x="1313" y="525"/>
                </a:cubicBezTo>
                <a:cubicBezTo>
                  <a:pt x="1313" y="525"/>
                  <a:pt x="1313" y="526"/>
                  <a:pt x="1314" y="527"/>
                </a:cubicBezTo>
                <a:cubicBezTo>
                  <a:pt x="1314" y="528"/>
                  <a:pt x="1314" y="528"/>
                  <a:pt x="1315" y="529"/>
                </a:cubicBezTo>
                <a:cubicBezTo>
                  <a:pt x="1315" y="530"/>
                  <a:pt x="1314" y="530"/>
                  <a:pt x="1314" y="531"/>
                </a:cubicBezTo>
                <a:cubicBezTo>
                  <a:pt x="1316" y="530"/>
                  <a:pt x="1317" y="530"/>
                  <a:pt x="1317" y="528"/>
                </a:cubicBezTo>
                <a:cubicBezTo>
                  <a:pt x="1318" y="528"/>
                  <a:pt x="1318" y="528"/>
                  <a:pt x="1319" y="528"/>
                </a:cubicBezTo>
                <a:cubicBezTo>
                  <a:pt x="1319" y="528"/>
                  <a:pt x="1319" y="527"/>
                  <a:pt x="1319" y="528"/>
                </a:cubicBezTo>
                <a:cubicBezTo>
                  <a:pt x="1319" y="527"/>
                  <a:pt x="1319" y="527"/>
                  <a:pt x="1319" y="527"/>
                </a:cubicBezTo>
                <a:cubicBezTo>
                  <a:pt x="1319" y="526"/>
                  <a:pt x="1318" y="524"/>
                  <a:pt x="1318" y="523"/>
                </a:cubicBezTo>
                <a:cubicBezTo>
                  <a:pt x="1318" y="523"/>
                  <a:pt x="1318" y="523"/>
                  <a:pt x="1318" y="523"/>
                </a:cubicBezTo>
                <a:cubicBezTo>
                  <a:pt x="1318" y="523"/>
                  <a:pt x="1318" y="522"/>
                  <a:pt x="1318" y="522"/>
                </a:cubicBezTo>
                <a:cubicBezTo>
                  <a:pt x="1318" y="522"/>
                  <a:pt x="1317" y="522"/>
                  <a:pt x="1317" y="522"/>
                </a:cubicBezTo>
                <a:cubicBezTo>
                  <a:pt x="1319" y="523"/>
                  <a:pt x="1319" y="525"/>
                  <a:pt x="1321" y="525"/>
                </a:cubicBezTo>
                <a:cubicBezTo>
                  <a:pt x="1322" y="525"/>
                  <a:pt x="1322" y="524"/>
                  <a:pt x="1322" y="524"/>
                </a:cubicBezTo>
                <a:cubicBezTo>
                  <a:pt x="1321" y="523"/>
                  <a:pt x="1320" y="523"/>
                  <a:pt x="1320" y="522"/>
                </a:cubicBezTo>
                <a:cubicBezTo>
                  <a:pt x="1319" y="522"/>
                  <a:pt x="1318" y="521"/>
                  <a:pt x="1318" y="520"/>
                </a:cubicBezTo>
                <a:cubicBezTo>
                  <a:pt x="1318" y="520"/>
                  <a:pt x="1319" y="520"/>
                  <a:pt x="1319" y="520"/>
                </a:cubicBezTo>
                <a:cubicBezTo>
                  <a:pt x="1320" y="520"/>
                  <a:pt x="1320" y="521"/>
                  <a:pt x="1320" y="521"/>
                </a:cubicBezTo>
                <a:cubicBezTo>
                  <a:pt x="1321" y="521"/>
                  <a:pt x="1322" y="522"/>
                  <a:pt x="1322" y="521"/>
                </a:cubicBezTo>
                <a:cubicBezTo>
                  <a:pt x="1322" y="521"/>
                  <a:pt x="1323" y="522"/>
                  <a:pt x="1324" y="521"/>
                </a:cubicBezTo>
                <a:cubicBezTo>
                  <a:pt x="1324" y="521"/>
                  <a:pt x="1324" y="521"/>
                  <a:pt x="1324" y="521"/>
                </a:cubicBezTo>
                <a:cubicBezTo>
                  <a:pt x="1324" y="521"/>
                  <a:pt x="1325" y="521"/>
                  <a:pt x="1325" y="521"/>
                </a:cubicBezTo>
                <a:cubicBezTo>
                  <a:pt x="1325" y="521"/>
                  <a:pt x="1325" y="520"/>
                  <a:pt x="1325" y="520"/>
                </a:cubicBezTo>
                <a:cubicBezTo>
                  <a:pt x="1325" y="520"/>
                  <a:pt x="1326" y="521"/>
                  <a:pt x="1327" y="521"/>
                </a:cubicBezTo>
                <a:cubicBezTo>
                  <a:pt x="1327" y="520"/>
                  <a:pt x="1327" y="520"/>
                  <a:pt x="1328" y="519"/>
                </a:cubicBezTo>
                <a:cubicBezTo>
                  <a:pt x="1328" y="519"/>
                  <a:pt x="1328" y="519"/>
                  <a:pt x="1328" y="519"/>
                </a:cubicBezTo>
                <a:cubicBezTo>
                  <a:pt x="1329" y="518"/>
                  <a:pt x="1330" y="519"/>
                  <a:pt x="1330" y="518"/>
                </a:cubicBezTo>
                <a:cubicBezTo>
                  <a:pt x="1330" y="517"/>
                  <a:pt x="1331" y="517"/>
                  <a:pt x="1331" y="517"/>
                </a:cubicBezTo>
                <a:cubicBezTo>
                  <a:pt x="1332" y="517"/>
                  <a:pt x="1331" y="517"/>
                  <a:pt x="1332" y="517"/>
                </a:cubicBezTo>
                <a:cubicBezTo>
                  <a:pt x="1332" y="517"/>
                  <a:pt x="1332" y="517"/>
                  <a:pt x="1333" y="516"/>
                </a:cubicBezTo>
                <a:cubicBezTo>
                  <a:pt x="1333" y="516"/>
                  <a:pt x="1333" y="515"/>
                  <a:pt x="1334" y="515"/>
                </a:cubicBezTo>
                <a:cubicBezTo>
                  <a:pt x="1334" y="515"/>
                  <a:pt x="1335" y="514"/>
                  <a:pt x="1335" y="514"/>
                </a:cubicBezTo>
                <a:cubicBezTo>
                  <a:pt x="1335" y="513"/>
                  <a:pt x="1335" y="512"/>
                  <a:pt x="1336" y="512"/>
                </a:cubicBezTo>
                <a:cubicBezTo>
                  <a:pt x="1336" y="510"/>
                  <a:pt x="1335" y="508"/>
                  <a:pt x="1336" y="508"/>
                </a:cubicBezTo>
                <a:cubicBezTo>
                  <a:pt x="1337" y="507"/>
                  <a:pt x="1337" y="506"/>
                  <a:pt x="1336" y="506"/>
                </a:cubicBezTo>
                <a:cubicBezTo>
                  <a:pt x="1336" y="506"/>
                  <a:pt x="1336" y="505"/>
                  <a:pt x="1336" y="505"/>
                </a:cubicBezTo>
                <a:cubicBezTo>
                  <a:pt x="1336" y="504"/>
                  <a:pt x="1335" y="504"/>
                  <a:pt x="1335" y="504"/>
                </a:cubicBezTo>
                <a:cubicBezTo>
                  <a:pt x="1335" y="503"/>
                  <a:pt x="1335" y="503"/>
                  <a:pt x="1335" y="501"/>
                </a:cubicBezTo>
                <a:cubicBezTo>
                  <a:pt x="1335" y="501"/>
                  <a:pt x="1335" y="500"/>
                  <a:pt x="1335" y="500"/>
                </a:cubicBezTo>
                <a:cubicBezTo>
                  <a:pt x="1335" y="499"/>
                  <a:pt x="1334" y="499"/>
                  <a:pt x="1334" y="499"/>
                </a:cubicBezTo>
                <a:cubicBezTo>
                  <a:pt x="1334" y="498"/>
                  <a:pt x="1334" y="497"/>
                  <a:pt x="1334" y="497"/>
                </a:cubicBezTo>
                <a:cubicBezTo>
                  <a:pt x="1333" y="496"/>
                  <a:pt x="1333" y="495"/>
                  <a:pt x="1333" y="494"/>
                </a:cubicBezTo>
                <a:cubicBezTo>
                  <a:pt x="1333" y="493"/>
                  <a:pt x="1332" y="494"/>
                  <a:pt x="1332" y="493"/>
                </a:cubicBezTo>
                <a:cubicBezTo>
                  <a:pt x="1332" y="493"/>
                  <a:pt x="1331" y="491"/>
                  <a:pt x="1331" y="491"/>
                </a:cubicBezTo>
                <a:cubicBezTo>
                  <a:pt x="1330" y="491"/>
                  <a:pt x="1330" y="489"/>
                  <a:pt x="1330" y="488"/>
                </a:cubicBezTo>
                <a:cubicBezTo>
                  <a:pt x="1329" y="488"/>
                  <a:pt x="1329" y="488"/>
                  <a:pt x="1329" y="487"/>
                </a:cubicBezTo>
                <a:cubicBezTo>
                  <a:pt x="1328" y="486"/>
                  <a:pt x="1328" y="487"/>
                  <a:pt x="1327" y="486"/>
                </a:cubicBezTo>
                <a:cubicBezTo>
                  <a:pt x="1327" y="486"/>
                  <a:pt x="1327" y="486"/>
                  <a:pt x="1327" y="486"/>
                </a:cubicBezTo>
                <a:cubicBezTo>
                  <a:pt x="1327" y="485"/>
                  <a:pt x="1327" y="486"/>
                  <a:pt x="1327" y="485"/>
                </a:cubicBezTo>
                <a:cubicBezTo>
                  <a:pt x="1326" y="485"/>
                  <a:pt x="1327" y="485"/>
                  <a:pt x="1327" y="485"/>
                </a:cubicBezTo>
                <a:cubicBezTo>
                  <a:pt x="1326" y="484"/>
                  <a:pt x="1326" y="484"/>
                  <a:pt x="1326" y="484"/>
                </a:cubicBezTo>
                <a:cubicBezTo>
                  <a:pt x="1326" y="483"/>
                  <a:pt x="1325" y="484"/>
                  <a:pt x="1325" y="484"/>
                </a:cubicBezTo>
                <a:cubicBezTo>
                  <a:pt x="1325" y="483"/>
                  <a:pt x="1325" y="483"/>
                  <a:pt x="1325" y="483"/>
                </a:cubicBezTo>
                <a:cubicBezTo>
                  <a:pt x="1325" y="482"/>
                  <a:pt x="1325" y="482"/>
                  <a:pt x="1324" y="482"/>
                </a:cubicBezTo>
                <a:cubicBezTo>
                  <a:pt x="1324" y="482"/>
                  <a:pt x="1323" y="481"/>
                  <a:pt x="1323" y="481"/>
                </a:cubicBezTo>
                <a:cubicBezTo>
                  <a:pt x="1323" y="480"/>
                  <a:pt x="1323" y="481"/>
                  <a:pt x="1322" y="480"/>
                </a:cubicBezTo>
                <a:cubicBezTo>
                  <a:pt x="1322" y="480"/>
                  <a:pt x="1323" y="480"/>
                  <a:pt x="1322" y="480"/>
                </a:cubicBezTo>
                <a:cubicBezTo>
                  <a:pt x="1321" y="479"/>
                  <a:pt x="1321" y="480"/>
                  <a:pt x="1321" y="479"/>
                </a:cubicBezTo>
                <a:cubicBezTo>
                  <a:pt x="1321" y="478"/>
                  <a:pt x="1321" y="479"/>
                  <a:pt x="1321" y="479"/>
                </a:cubicBezTo>
                <a:cubicBezTo>
                  <a:pt x="1321" y="478"/>
                  <a:pt x="1321" y="478"/>
                  <a:pt x="1321" y="478"/>
                </a:cubicBezTo>
                <a:cubicBezTo>
                  <a:pt x="1321" y="477"/>
                  <a:pt x="1319" y="477"/>
                  <a:pt x="1319" y="476"/>
                </a:cubicBezTo>
                <a:cubicBezTo>
                  <a:pt x="1319" y="476"/>
                  <a:pt x="1319" y="476"/>
                  <a:pt x="1319" y="476"/>
                </a:cubicBezTo>
                <a:cubicBezTo>
                  <a:pt x="1318" y="475"/>
                  <a:pt x="1319" y="476"/>
                  <a:pt x="1318" y="475"/>
                </a:cubicBezTo>
                <a:cubicBezTo>
                  <a:pt x="1318" y="475"/>
                  <a:pt x="1318" y="474"/>
                  <a:pt x="1318" y="474"/>
                </a:cubicBezTo>
                <a:cubicBezTo>
                  <a:pt x="1318" y="474"/>
                  <a:pt x="1318" y="474"/>
                  <a:pt x="1318" y="474"/>
                </a:cubicBezTo>
                <a:cubicBezTo>
                  <a:pt x="1318" y="474"/>
                  <a:pt x="1318" y="473"/>
                  <a:pt x="1318" y="473"/>
                </a:cubicBezTo>
                <a:cubicBezTo>
                  <a:pt x="1317" y="473"/>
                  <a:pt x="1317" y="474"/>
                  <a:pt x="1317" y="473"/>
                </a:cubicBezTo>
                <a:cubicBezTo>
                  <a:pt x="1317" y="472"/>
                  <a:pt x="1318" y="471"/>
                  <a:pt x="1318" y="470"/>
                </a:cubicBezTo>
                <a:cubicBezTo>
                  <a:pt x="1318" y="470"/>
                  <a:pt x="1318" y="469"/>
                  <a:pt x="1318" y="468"/>
                </a:cubicBezTo>
                <a:cubicBezTo>
                  <a:pt x="1318" y="467"/>
                  <a:pt x="1318" y="468"/>
                  <a:pt x="1318" y="467"/>
                </a:cubicBezTo>
                <a:cubicBezTo>
                  <a:pt x="1319" y="467"/>
                  <a:pt x="1319" y="466"/>
                  <a:pt x="1319" y="466"/>
                </a:cubicBezTo>
                <a:cubicBezTo>
                  <a:pt x="1320" y="466"/>
                  <a:pt x="1320" y="466"/>
                  <a:pt x="1320" y="466"/>
                </a:cubicBezTo>
                <a:cubicBezTo>
                  <a:pt x="1320" y="466"/>
                  <a:pt x="1320" y="466"/>
                  <a:pt x="1320" y="466"/>
                </a:cubicBezTo>
                <a:cubicBezTo>
                  <a:pt x="1321" y="466"/>
                  <a:pt x="1321" y="465"/>
                  <a:pt x="1321" y="465"/>
                </a:cubicBezTo>
                <a:cubicBezTo>
                  <a:pt x="1321" y="465"/>
                  <a:pt x="1321" y="465"/>
                  <a:pt x="1322" y="465"/>
                </a:cubicBezTo>
                <a:cubicBezTo>
                  <a:pt x="1322" y="465"/>
                  <a:pt x="1322" y="464"/>
                  <a:pt x="1322" y="463"/>
                </a:cubicBezTo>
                <a:cubicBezTo>
                  <a:pt x="1323" y="463"/>
                  <a:pt x="1323" y="463"/>
                  <a:pt x="1323" y="463"/>
                </a:cubicBezTo>
                <a:cubicBezTo>
                  <a:pt x="1323" y="462"/>
                  <a:pt x="1324" y="462"/>
                  <a:pt x="1324" y="461"/>
                </a:cubicBezTo>
                <a:cubicBezTo>
                  <a:pt x="1324" y="460"/>
                  <a:pt x="1324" y="460"/>
                  <a:pt x="1325" y="460"/>
                </a:cubicBezTo>
                <a:cubicBezTo>
                  <a:pt x="1326" y="460"/>
                  <a:pt x="1327" y="460"/>
                  <a:pt x="1327" y="459"/>
                </a:cubicBezTo>
                <a:cubicBezTo>
                  <a:pt x="1328" y="458"/>
                  <a:pt x="1329" y="458"/>
                  <a:pt x="1330" y="458"/>
                </a:cubicBezTo>
                <a:cubicBezTo>
                  <a:pt x="1330" y="457"/>
                  <a:pt x="1330" y="457"/>
                  <a:pt x="1330" y="456"/>
                </a:cubicBezTo>
                <a:cubicBezTo>
                  <a:pt x="1331" y="455"/>
                  <a:pt x="1332" y="456"/>
                  <a:pt x="1333" y="456"/>
                </a:cubicBezTo>
                <a:cubicBezTo>
                  <a:pt x="1333" y="456"/>
                  <a:pt x="1333" y="456"/>
                  <a:pt x="1333" y="456"/>
                </a:cubicBezTo>
                <a:cubicBezTo>
                  <a:pt x="1333" y="456"/>
                  <a:pt x="1335" y="455"/>
                  <a:pt x="1335" y="457"/>
                </a:cubicBezTo>
                <a:cubicBezTo>
                  <a:pt x="1335" y="456"/>
                  <a:pt x="1336" y="456"/>
                  <a:pt x="1336" y="456"/>
                </a:cubicBezTo>
                <a:cubicBezTo>
                  <a:pt x="1337" y="457"/>
                  <a:pt x="1336" y="456"/>
                  <a:pt x="1337" y="457"/>
                </a:cubicBezTo>
                <a:cubicBezTo>
                  <a:pt x="1337" y="458"/>
                  <a:pt x="1336" y="459"/>
                  <a:pt x="1336" y="461"/>
                </a:cubicBezTo>
                <a:cubicBezTo>
                  <a:pt x="1337" y="461"/>
                  <a:pt x="1338" y="463"/>
                  <a:pt x="1338" y="464"/>
                </a:cubicBezTo>
                <a:cubicBezTo>
                  <a:pt x="1339" y="464"/>
                  <a:pt x="1340" y="464"/>
                  <a:pt x="1341" y="463"/>
                </a:cubicBezTo>
                <a:cubicBezTo>
                  <a:pt x="1341" y="463"/>
                  <a:pt x="1341" y="462"/>
                  <a:pt x="1340" y="462"/>
                </a:cubicBezTo>
                <a:cubicBezTo>
                  <a:pt x="1340" y="462"/>
                  <a:pt x="1339" y="461"/>
                  <a:pt x="1339" y="461"/>
                </a:cubicBezTo>
                <a:cubicBezTo>
                  <a:pt x="1339" y="460"/>
                  <a:pt x="1340" y="461"/>
                  <a:pt x="1340" y="461"/>
                </a:cubicBezTo>
                <a:cubicBezTo>
                  <a:pt x="1340" y="461"/>
                  <a:pt x="1340" y="460"/>
                  <a:pt x="1340" y="460"/>
                </a:cubicBezTo>
                <a:cubicBezTo>
                  <a:pt x="1340" y="459"/>
                  <a:pt x="1342" y="459"/>
                  <a:pt x="1343" y="459"/>
                </a:cubicBezTo>
                <a:cubicBezTo>
                  <a:pt x="1344" y="458"/>
                  <a:pt x="1345" y="457"/>
                  <a:pt x="1345" y="456"/>
                </a:cubicBezTo>
                <a:cubicBezTo>
                  <a:pt x="1345" y="456"/>
                  <a:pt x="1346" y="457"/>
                  <a:pt x="1346" y="456"/>
                </a:cubicBezTo>
                <a:cubicBezTo>
                  <a:pt x="1347" y="456"/>
                  <a:pt x="1347" y="456"/>
                  <a:pt x="1347" y="455"/>
                </a:cubicBezTo>
                <a:cubicBezTo>
                  <a:pt x="1347" y="455"/>
                  <a:pt x="1348" y="455"/>
                  <a:pt x="1348" y="454"/>
                </a:cubicBezTo>
                <a:cubicBezTo>
                  <a:pt x="1348" y="455"/>
                  <a:pt x="1348" y="455"/>
                  <a:pt x="1349" y="455"/>
                </a:cubicBezTo>
                <a:cubicBezTo>
                  <a:pt x="1349" y="454"/>
                  <a:pt x="1350" y="454"/>
                  <a:pt x="1351" y="454"/>
                </a:cubicBezTo>
                <a:cubicBezTo>
                  <a:pt x="1351" y="454"/>
                  <a:pt x="1352" y="454"/>
                  <a:pt x="1352" y="454"/>
                </a:cubicBezTo>
                <a:cubicBezTo>
                  <a:pt x="1352" y="454"/>
                  <a:pt x="1353" y="454"/>
                  <a:pt x="1353" y="454"/>
                </a:cubicBezTo>
                <a:cubicBezTo>
                  <a:pt x="1354" y="454"/>
                  <a:pt x="1355" y="454"/>
                  <a:pt x="1355" y="453"/>
                </a:cubicBezTo>
                <a:cubicBezTo>
                  <a:pt x="1355" y="452"/>
                  <a:pt x="1356" y="452"/>
                  <a:pt x="1357" y="450"/>
                </a:cubicBezTo>
                <a:cubicBezTo>
                  <a:pt x="1357" y="449"/>
                  <a:pt x="1358" y="450"/>
                  <a:pt x="1358" y="449"/>
                </a:cubicBezTo>
                <a:cubicBezTo>
                  <a:pt x="1358" y="449"/>
                  <a:pt x="1356" y="449"/>
                  <a:pt x="1357" y="448"/>
                </a:cubicBezTo>
                <a:cubicBezTo>
                  <a:pt x="1357" y="448"/>
                  <a:pt x="1358" y="448"/>
                  <a:pt x="1358" y="448"/>
                </a:cubicBezTo>
                <a:cubicBezTo>
                  <a:pt x="1358" y="449"/>
                  <a:pt x="1358" y="449"/>
                  <a:pt x="1359" y="450"/>
                </a:cubicBezTo>
                <a:cubicBezTo>
                  <a:pt x="1359" y="450"/>
                  <a:pt x="1360" y="451"/>
                  <a:pt x="1360" y="451"/>
                </a:cubicBezTo>
                <a:cubicBezTo>
                  <a:pt x="1360" y="451"/>
                  <a:pt x="1360" y="451"/>
                  <a:pt x="1361" y="451"/>
                </a:cubicBezTo>
                <a:cubicBezTo>
                  <a:pt x="1361" y="451"/>
                  <a:pt x="1360" y="451"/>
                  <a:pt x="1361" y="451"/>
                </a:cubicBezTo>
                <a:cubicBezTo>
                  <a:pt x="1361" y="451"/>
                  <a:pt x="1362" y="451"/>
                  <a:pt x="1362" y="450"/>
                </a:cubicBezTo>
                <a:cubicBezTo>
                  <a:pt x="1362" y="450"/>
                  <a:pt x="1365" y="449"/>
                  <a:pt x="1366" y="449"/>
                </a:cubicBezTo>
                <a:cubicBezTo>
                  <a:pt x="1367" y="449"/>
                  <a:pt x="1367" y="450"/>
                  <a:pt x="1368" y="450"/>
                </a:cubicBezTo>
                <a:cubicBezTo>
                  <a:pt x="1368" y="449"/>
                  <a:pt x="1368" y="449"/>
                  <a:pt x="1369" y="449"/>
                </a:cubicBezTo>
                <a:cubicBezTo>
                  <a:pt x="1370" y="448"/>
                  <a:pt x="1370" y="447"/>
                  <a:pt x="1369" y="446"/>
                </a:cubicBezTo>
                <a:cubicBezTo>
                  <a:pt x="1369" y="445"/>
                  <a:pt x="1370" y="445"/>
                  <a:pt x="1371" y="445"/>
                </a:cubicBezTo>
                <a:cubicBezTo>
                  <a:pt x="1372" y="444"/>
                  <a:pt x="1371" y="443"/>
                  <a:pt x="1372" y="444"/>
                </a:cubicBezTo>
                <a:cubicBezTo>
                  <a:pt x="1373" y="444"/>
                  <a:pt x="1374" y="443"/>
                  <a:pt x="1374" y="442"/>
                </a:cubicBezTo>
                <a:cubicBezTo>
                  <a:pt x="1374" y="441"/>
                  <a:pt x="1375" y="442"/>
                  <a:pt x="1375" y="442"/>
                </a:cubicBezTo>
                <a:cubicBezTo>
                  <a:pt x="1375" y="442"/>
                  <a:pt x="1376" y="441"/>
                  <a:pt x="1376" y="441"/>
                </a:cubicBezTo>
                <a:cubicBezTo>
                  <a:pt x="1377" y="441"/>
                  <a:pt x="1377" y="440"/>
                  <a:pt x="1377" y="440"/>
                </a:cubicBezTo>
                <a:cubicBezTo>
                  <a:pt x="1377" y="440"/>
                  <a:pt x="1377" y="439"/>
                  <a:pt x="1376" y="439"/>
                </a:cubicBezTo>
                <a:cubicBezTo>
                  <a:pt x="1377" y="438"/>
                  <a:pt x="1379" y="438"/>
                  <a:pt x="1380" y="438"/>
                </a:cubicBezTo>
                <a:cubicBezTo>
                  <a:pt x="1380" y="437"/>
                  <a:pt x="1381" y="438"/>
                  <a:pt x="1382" y="438"/>
                </a:cubicBezTo>
                <a:cubicBezTo>
                  <a:pt x="1382" y="437"/>
                  <a:pt x="1382" y="436"/>
                  <a:pt x="1381" y="435"/>
                </a:cubicBezTo>
                <a:cubicBezTo>
                  <a:pt x="1382" y="435"/>
                  <a:pt x="1382" y="435"/>
                  <a:pt x="1383" y="435"/>
                </a:cubicBezTo>
                <a:cubicBezTo>
                  <a:pt x="1382" y="435"/>
                  <a:pt x="1382" y="434"/>
                  <a:pt x="1382" y="434"/>
                </a:cubicBezTo>
                <a:cubicBezTo>
                  <a:pt x="1383" y="433"/>
                  <a:pt x="1384" y="433"/>
                  <a:pt x="1385" y="433"/>
                </a:cubicBezTo>
                <a:cubicBezTo>
                  <a:pt x="1385" y="433"/>
                  <a:pt x="1385" y="433"/>
                  <a:pt x="1385" y="433"/>
                </a:cubicBezTo>
                <a:cubicBezTo>
                  <a:pt x="1385" y="432"/>
                  <a:pt x="1385" y="431"/>
                  <a:pt x="1385" y="431"/>
                </a:cubicBezTo>
                <a:cubicBezTo>
                  <a:pt x="1385" y="430"/>
                  <a:pt x="1385" y="430"/>
                  <a:pt x="1385" y="430"/>
                </a:cubicBezTo>
                <a:cubicBezTo>
                  <a:pt x="1384" y="429"/>
                  <a:pt x="1383" y="429"/>
                  <a:pt x="1383" y="429"/>
                </a:cubicBezTo>
                <a:cubicBezTo>
                  <a:pt x="1383" y="428"/>
                  <a:pt x="1383" y="428"/>
                  <a:pt x="1384" y="428"/>
                </a:cubicBezTo>
                <a:cubicBezTo>
                  <a:pt x="1384" y="428"/>
                  <a:pt x="1384" y="425"/>
                  <a:pt x="1385" y="425"/>
                </a:cubicBezTo>
                <a:cubicBezTo>
                  <a:pt x="1386" y="425"/>
                  <a:pt x="1386" y="425"/>
                  <a:pt x="1387" y="425"/>
                </a:cubicBezTo>
                <a:cubicBezTo>
                  <a:pt x="1387" y="424"/>
                  <a:pt x="1388" y="425"/>
                  <a:pt x="1388" y="424"/>
                </a:cubicBezTo>
                <a:cubicBezTo>
                  <a:pt x="1388" y="423"/>
                  <a:pt x="1387" y="423"/>
                  <a:pt x="1388" y="423"/>
                </a:cubicBezTo>
                <a:cubicBezTo>
                  <a:pt x="1388" y="423"/>
                  <a:pt x="1389" y="422"/>
                  <a:pt x="1389" y="422"/>
                </a:cubicBezTo>
                <a:cubicBezTo>
                  <a:pt x="1389" y="421"/>
                  <a:pt x="1389" y="421"/>
                  <a:pt x="1389" y="420"/>
                </a:cubicBezTo>
                <a:cubicBezTo>
                  <a:pt x="1389" y="420"/>
                  <a:pt x="1391" y="420"/>
                  <a:pt x="1391" y="419"/>
                </a:cubicBezTo>
                <a:cubicBezTo>
                  <a:pt x="1390" y="419"/>
                  <a:pt x="1390" y="419"/>
                  <a:pt x="1390" y="419"/>
                </a:cubicBezTo>
                <a:cubicBezTo>
                  <a:pt x="1390" y="418"/>
                  <a:pt x="1391" y="418"/>
                  <a:pt x="1392" y="418"/>
                </a:cubicBezTo>
                <a:cubicBezTo>
                  <a:pt x="1392" y="418"/>
                  <a:pt x="1392" y="417"/>
                  <a:pt x="1392" y="417"/>
                </a:cubicBezTo>
                <a:cubicBezTo>
                  <a:pt x="1393" y="417"/>
                  <a:pt x="1394" y="417"/>
                  <a:pt x="1394" y="416"/>
                </a:cubicBezTo>
                <a:cubicBezTo>
                  <a:pt x="1394" y="416"/>
                  <a:pt x="1393" y="415"/>
                  <a:pt x="1393" y="415"/>
                </a:cubicBezTo>
                <a:cubicBezTo>
                  <a:pt x="1393" y="414"/>
                  <a:pt x="1392" y="415"/>
                  <a:pt x="1393" y="414"/>
                </a:cubicBezTo>
                <a:cubicBezTo>
                  <a:pt x="1393" y="414"/>
                  <a:pt x="1393" y="414"/>
                  <a:pt x="1393" y="414"/>
                </a:cubicBezTo>
                <a:cubicBezTo>
                  <a:pt x="1394" y="414"/>
                  <a:pt x="1393" y="412"/>
                  <a:pt x="1393" y="411"/>
                </a:cubicBezTo>
                <a:cubicBezTo>
                  <a:pt x="1394" y="411"/>
                  <a:pt x="1395" y="411"/>
                  <a:pt x="1396" y="412"/>
                </a:cubicBezTo>
                <a:cubicBezTo>
                  <a:pt x="1396" y="411"/>
                  <a:pt x="1396" y="411"/>
                  <a:pt x="1396" y="411"/>
                </a:cubicBezTo>
                <a:cubicBezTo>
                  <a:pt x="1396" y="411"/>
                  <a:pt x="1395" y="411"/>
                  <a:pt x="1395" y="410"/>
                </a:cubicBezTo>
                <a:cubicBezTo>
                  <a:pt x="1395" y="409"/>
                  <a:pt x="1396" y="409"/>
                  <a:pt x="1396" y="409"/>
                </a:cubicBezTo>
                <a:cubicBezTo>
                  <a:pt x="1394" y="408"/>
                  <a:pt x="1396" y="407"/>
                  <a:pt x="1397" y="407"/>
                </a:cubicBezTo>
                <a:cubicBezTo>
                  <a:pt x="1397" y="407"/>
                  <a:pt x="1397" y="406"/>
                  <a:pt x="1397" y="406"/>
                </a:cubicBezTo>
                <a:cubicBezTo>
                  <a:pt x="1396" y="406"/>
                  <a:pt x="1396" y="406"/>
                  <a:pt x="1395" y="406"/>
                </a:cubicBezTo>
                <a:cubicBezTo>
                  <a:pt x="1395" y="405"/>
                  <a:pt x="1394" y="405"/>
                  <a:pt x="1394" y="405"/>
                </a:cubicBezTo>
                <a:cubicBezTo>
                  <a:pt x="1393" y="405"/>
                  <a:pt x="1392" y="406"/>
                  <a:pt x="1391" y="405"/>
                </a:cubicBezTo>
                <a:cubicBezTo>
                  <a:pt x="1390" y="405"/>
                  <a:pt x="1390" y="404"/>
                  <a:pt x="1391" y="404"/>
                </a:cubicBezTo>
                <a:cubicBezTo>
                  <a:pt x="1392" y="404"/>
                  <a:pt x="1392" y="403"/>
                  <a:pt x="1393" y="402"/>
                </a:cubicBezTo>
                <a:cubicBezTo>
                  <a:pt x="1393" y="402"/>
                  <a:pt x="1394" y="402"/>
                  <a:pt x="1394" y="402"/>
                </a:cubicBezTo>
                <a:cubicBezTo>
                  <a:pt x="1395" y="401"/>
                  <a:pt x="1395" y="401"/>
                  <a:pt x="1394" y="400"/>
                </a:cubicBezTo>
                <a:cubicBezTo>
                  <a:pt x="1394" y="399"/>
                  <a:pt x="1393" y="398"/>
                  <a:pt x="1393" y="398"/>
                </a:cubicBezTo>
                <a:cubicBezTo>
                  <a:pt x="1392" y="398"/>
                  <a:pt x="1392" y="398"/>
                  <a:pt x="1392" y="397"/>
                </a:cubicBezTo>
                <a:cubicBezTo>
                  <a:pt x="1392" y="397"/>
                  <a:pt x="1390" y="396"/>
                  <a:pt x="1390" y="396"/>
                </a:cubicBezTo>
                <a:cubicBezTo>
                  <a:pt x="1390" y="397"/>
                  <a:pt x="1388" y="397"/>
                  <a:pt x="1388" y="397"/>
                </a:cubicBezTo>
                <a:cubicBezTo>
                  <a:pt x="1388" y="397"/>
                  <a:pt x="1388" y="396"/>
                  <a:pt x="1387" y="396"/>
                </a:cubicBezTo>
                <a:cubicBezTo>
                  <a:pt x="1388" y="395"/>
                  <a:pt x="1389" y="395"/>
                  <a:pt x="1390" y="395"/>
                </a:cubicBezTo>
                <a:cubicBezTo>
                  <a:pt x="1390" y="395"/>
                  <a:pt x="1391" y="396"/>
                  <a:pt x="1391" y="396"/>
                </a:cubicBezTo>
                <a:cubicBezTo>
                  <a:pt x="1391" y="396"/>
                  <a:pt x="1392" y="396"/>
                  <a:pt x="1392" y="396"/>
                </a:cubicBezTo>
                <a:cubicBezTo>
                  <a:pt x="1392" y="396"/>
                  <a:pt x="1392" y="394"/>
                  <a:pt x="1392" y="394"/>
                </a:cubicBezTo>
                <a:cubicBezTo>
                  <a:pt x="1391" y="393"/>
                  <a:pt x="1391" y="392"/>
                  <a:pt x="1390" y="391"/>
                </a:cubicBezTo>
                <a:cubicBezTo>
                  <a:pt x="1388" y="390"/>
                  <a:pt x="1388" y="389"/>
                  <a:pt x="1387" y="387"/>
                </a:cubicBezTo>
                <a:cubicBezTo>
                  <a:pt x="1387" y="386"/>
                  <a:pt x="1387" y="385"/>
                  <a:pt x="1386" y="385"/>
                </a:cubicBezTo>
                <a:cubicBezTo>
                  <a:pt x="1385" y="385"/>
                  <a:pt x="1386" y="386"/>
                  <a:pt x="1385" y="386"/>
                </a:cubicBezTo>
                <a:cubicBezTo>
                  <a:pt x="1385" y="386"/>
                  <a:pt x="1385" y="386"/>
                  <a:pt x="1384" y="386"/>
                </a:cubicBezTo>
                <a:cubicBezTo>
                  <a:pt x="1385" y="385"/>
                  <a:pt x="1385" y="385"/>
                  <a:pt x="1385" y="384"/>
                </a:cubicBezTo>
                <a:cubicBezTo>
                  <a:pt x="1385" y="384"/>
                  <a:pt x="1385" y="383"/>
                  <a:pt x="1384" y="383"/>
                </a:cubicBezTo>
                <a:cubicBezTo>
                  <a:pt x="1384" y="381"/>
                  <a:pt x="1383" y="380"/>
                  <a:pt x="1383" y="378"/>
                </a:cubicBezTo>
                <a:cubicBezTo>
                  <a:pt x="1383" y="377"/>
                  <a:pt x="1383" y="376"/>
                  <a:pt x="1384" y="375"/>
                </a:cubicBezTo>
                <a:cubicBezTo>
                  <a:pt x="1384" y="374"/>
                  <a:pt x="1385" y="373"/>
                  <a:pt x="1386" y="373"/>
                </a:cubicBezTo>
                <a:cubicBezTo>
                  <a:pt x="1386" y="372"/>
                  <a:pt x="1385" y="371"/>
                  <a:pt x="1386" y="371"/>
                </a:cubicBezTo>
                <a:cubicBezTo>
                  <a:pt x="1387" y="371"/>
                  <a:pt x="1387" y="371"/>
                  <a:pt x="1388" y="370"/>
                </a:cubicBezTo>
                <a:cubicBezTo>
                  <a:pt x="1388" y="370"/>
                  <a:pt x="1388" y="370"/>
                  <a:pt x="1388" y="369"/>
                </a:cubicBezTo>
                <a:cubicBezTo>
                  <a:pt x="1389" y="369"/>
                  <a:pt x="1389" y="369"/>
                  <a:pt x="1389" y="368"/>
                </a:cubicBezTo>
                <a:cubicBezTo>
                  <a:pt x="1391" y="367"/>
                  <a:pt x="1391" y="367"/>
                  <a:pt x="1392" y="366"/>
                </a:cubicBezTo>
                <a:cubicBezTo>
                  <a:pt x="1393" y="366"/>
                  <a:pt x="1394" y="366"/>
                  <a:pt x="1394" y="366"/>
                </a:cubicBezTo>
                <a:cubicBezTo>
                  <a:pt x="1395" y="365"/>
                  <a:pt x="1397" y="363"/>
                  <a:pt x="1396" y="365"/>
                </a:cubicBezTo>
                <a:cubicBezTo>
                  <a:pt x="1398" y="365"/>
                  <a:pt x="1398" y="365"/>
                  <a:pt x="1398" y="364"/>
                </a:cubicBezTo>
                <a:cubicBezTo>
                  <a:pt x="1399" y="363"/>
                  <a:pt x="1399" y="362"/>
                  <a:pt x="1399" y="361"/>
                </a:cubicBezTo>
                <a:cubicBezTo>
                  <a:pt x="1398" y="361"/>
                  <a:pt x="1397" y="360"/>
                  <a:pt x="1395" y="361"/>
                </a:cubicBezTo>
                <a:cubicBezTo>
                  <a:pt x="1395" y="361"/>
                  <a:pt x="1394" y="361"/>
                  <a:pt x="1393" y="361"/>
                </a:cubicBezTo>
                <a:cubicBezTo>
                  <a:pt x="1392" y="361"/>
                  <a:pt x="1392" y="360"/>
                  <a:pt x="1391" y="360"/>
                </a:cubicBezTo>
                <a:cubicBezTo>
                  <a:pt x="1390" y="360"/>
                  <a:pt x="1389" y="360"/>
                  <a:pt x="1388" y="360"/>
                </a:cubicBezTo>
                <a:cubicBezTo>
                  <a:pt x="1388" y="360"/>
                  <a:pt x="1387" y="359"/>
                  <a:pt x="1387" y="360"/>
                </a:cubicBezTo>
                <a:cubicBezTo>
                  <a:pt x="1386" y="361"/>
                  <a:pt x="1385" y="361"/>
                  <a:pt x="1384" y="361"/>
                </a:cubicBezTo>
                <a:cubicBezTo>
                  <a:pt x="1384" y="362"/>
                  <a:pt x="1384" y="362"/>
                  <a:pt x="1384" y="363"/>
                </a:cubicBezTo>
                <a:cubicBezTo>
                  <a:pt x="1383" y="363"/>
                  <a:pt x="1384" y="363"/>
                  <a:pt x="1383" y="363"/>
                </a:cubicBezTo>
                <a:cubicBezTo>
                  <a:pt x="1383" y="363"/>
                  <a:pt x="1382" y="363"/>
                  <a:pt x="1382" y="363"/>
                </a:cubicBezTo>
                <a:cubicBezTo>
                  <a:pt x="1382" y="363"/>
                  <a:pt x="1382" y="363"/>
                  <a:pt x="1382" y="363"/>
                </a:cubicBezTo>
                <a:cubicBezTo>
                  <a:pt x="1381" y="363"/>
                  <a:pt x="1381" y="363"/>
                  <a:pt x="1381" y="364"/>
                </a:cubicBezTo>
                <a:cubicBezTo>
                  <a:pt x="1381" y="364"/>
                  <a:pt x="1380" y="363"/>
                  <a:pt x="1380" y="363"/>
                </a:cubicBezTo>
                <a:cubicBezTo>
                  <a:pt x="1379" y="362"/>
                  <a:pt x="1379" y="361"/>
                  <a:pt x="1379" y="361"/>
                </a:cubicBezTo>
                <a:cubicBezTo>
                  <a:pt x="1378" y="359"/>
                  <a:pt x="1376" y="358"/>
                  <a:pt x="1376" y="357"/>
                </a:cubicBezTo>
                <a:cubicBezTo>
                  <a:pt x="1376" y="356"/>
                  <a:pt x="1376" y="357"/>
                  <a:pt x="1376" y="356"/>
                </a:cubicBezTo>
                <a:cubicBezTo>
                  <a:pt x="1376" y="355"/>
                  <a:pt x="1375" y="355"/>
                  <a:pt x="1375" y="355"/>
                </a:cubicBezTo>
                <a:cubicBezTo>
                  <a:pt x="1375" y="355"/>
                  <a:pt x="1374" y="354"/>
                  <a:pt x="1374" y="354"/>
                </a:cubicBezTo>
                <a:cubicBezTo>
                  <a:pt x="1374" y="354"/>
                  <a:pt x="1375" y="353"/>
                  <a:pt x="1375" y="353"/>
                </a:cubicBezTo>
                <a:cubicBezTo>
                  <a:pt x="1375" y="352"/>
                  <a:pt x="1375" y="351"/>
                  <a:pt x="1376" y="351"/>
                </a:cubicBezTo>
                <a:cubicBezTo>
                  <a:pt x="1377" y="351"/>
                  <a:pt x="1379" y="351"/>
                  <a:pt x="1380" y="351"/>
                </a:cubicBezTo>
                <a:cubicBezTo>
                  <a:pt x="1381" y="351"/>
                  <a:pt x="1382" y="349"/>
                  <a:pt x="1382" y="349"/>
                </a:cubicBezTo>
                <a:cubicBezTo>
                  <a:pt x="1383" y="348"/>
                  <a:pt x="1383" y="348"/>
                  <a:pt x="1384" y="347"/>
                </a:cubicBezTo>
                <a:cubicBezTo>
                  <a:pt x="1385" y="346"/>
                  <a:pt x="1386" y="346"/>
                  <a:pt x="1386" y="346"/>
                </a:cubicBezTo>
                <a:cubicBezTo>
                  <a:pt x="1387" y="346"/>
                  <a:pt x="1387" y="345"/>
                  <a:pt x="1388" y="344"/>
                </a:cubicBezTo>
                <a:cubicBezTo>
                  <a:pt x="1388" y="344"/>
                  <a:pt x="1388" y="345"/>
                  <a:pt x="1388" y="344"/>
                </a:cubicBezTo>
                <a:cubicBezTo>
                  <a:pt x="1389" y="344"/>
                  <a:pt x="1389" y="343"/>
                  <a:pt x="1389" y="342"/>
                </a:cubicBezTo>
                <a:cubicBezTo>
                  <a:pt x="1390" y="341"/>
                  <a:pt x="1390" y="341"/>
                  <a:pt x="1391" y="340"/>
                </a:cubicBezTo>
                <a:cubicBezTo>
                  <a:pt x="1391" y="340"/>
                  <a:pt x="1392" y="339"/>
                  <a:pt x="1393" y="339"/>
                </a:cubicBezTo>
                <a:cubicBezTo>
                  <a:pt x="1394" y="340"/>
                  <a:pt x="1396" y="340"/>
                  <a:pt x="1398" y="341"/>
                </a:cubicBezTo>
                <a:cubicBezTo>
                  <a:pt x="1398" y="341"/>
                  <a:pt x="1397" y="342"/>
                  <a:pt x="1397" y="342"/>
                </a:cubicBezTo>
                <a:cubicBezTo>
                  <a:pt x="1397" y="342"/>
                  <a:pt x="1396" y="343"/>
                  <a:pt x="1396" y="342"/>
                </a:cubicBezTo>
                <a:cubicBezTo>
                  <a:pt x="1396" y="343"/>
                  <a:pt x="1396" y="344"/>
                  <a:pt x="1396" y="344"/>
                </a:cubicBezTo>
                <a:cubicBezTo>
                  <a:pt x="1396" y="344"/>
                  <a:pt x="1395" y="344"/>
                  <a:pt x="1395" y="345"/>
                </a:cubicBezTo>
                <a:cubicBezTo>
                  <a:pt x="1395" y="346"/>
                  <a:pt x="1395" y="346"/>
                  <a:pt x="1394" y="347"/>
                </a:cubicBezTo>
                <a:cubicBezTo>
                  <a:pt x="1393" y="347"/>
                  <a:pt x="1393" y="348"/>
                  <a:pt x="1393" y="348"/>
                </a:cubicBezTo>
                <a:cubicBezTo>
                  <a:pt x="1393" y="349"/>
                  <a:pt x="1393" y="349"/>
                  <a:pt x="1393" y="350"/>
                </a:cubicBezTo>
                <a:cubicBezTo>
                  <a:pt x="1394" y="350"/>
                  <a:pt x="1394" y="349"/>
                  <a:pt x="1395" y="349"/>
                </a:cubicBezTo>
                <a:cubicBezTo>
                  <a:pt x="1394" y="350"/>
                  <a:pt x="1394" y="351"/>
                  <a:pt x="1393" y="351"/>
                </a:cubicBezTo>
                <a:cubicBezTo>
                  <a:pt x="1393" y="352"/>
                  <a:pt x="1393" y="352"/>
                  <a:pt x="1393" y="353"/>
                </a:cubicBezTo>
                <a:cubicBezTo>
                  <a:pt x="1394" y="353"/>
                  <a:pt x="1395" y="353"/>
                  <a:pt x="1395" y="352"/>
                </a:cubicBezTo>
                <a:cubicBezTo>
                  <a:pt x="1395" y="352"/>
                  <a:pt x="1395" y="352"/>
                  <a:pt x="1395" y="351"/>
                </a:cubicBezTo>
                <a:cubicBezTo>
                  <a:pt x="1395" y="351"/>
                  <a:pt x="1396" y="351"/>
                  <a:pt x="1396" y="351"/>
                </a:cubicBezTo>
                <a:cubicBezTo>
                  <a:pt x="1396" y="351"/>
                  <a:pt x="1396" y="351"/>
                  <a:pt x="1396" y="351"/>
                </a:cubicBezTo>
                <a:cubicBezTo>
                  <a:pt x="1397" y="350"/>
                  <a:pt x="1396" y="351"/>
                  <a:pt x="1397" y="350"/>
                </a:cubicBezTo>
                <a:cubicBezTo>
                  <a:pt x="1398" y="350"/>
                  <a:pt x="1398" y="349"/>
                  <a:pt x="1399" y="349"/>
                </a:cubicBezTo>
                <a:cubicBezTo>
                  <a:pt x="1400" y="349"/>
                  <a:pt x="1399" y="348"/>
                  <a:pt x="1400" y="348"/>
                </a:cubicBezTo>
                <a:cubicBezTo>
                  <a:pt x="1400" y="348"/>
                  <a:pt x="1400" y="348"/>
                  <a:pt x="1401" y="348"/>
                </a:cubicBezTo>
                <a:cubicBezTo>
                  <a:pt x="1401" y="347"/>
                  <a:pt x="1401" y="347"/>
                  <a:pt x="1402" y="347"/>
                </a:cubicBezTo>
                <a:cubicBezTo>
                  <a:pt x="1402" y="347"/>
                  <a:pt x="1402" y="347"/>
                  <a:pt x="1402" y="347"/>
                </a:cubicBezTo>
                <a:cubicBezTo>
                  <a:pt x="1403" y="347"/>
                  <a:pt x="1403" y="347"/>
                  <a:pt x="1403" y="347"/>
                </a:cubicBezTo>
                <a:cubicBezTo>
                  <a:pt x="1404" y="347"/>
                  <a:pt x="1403" y="346"/>
                  <a:pt x="1404" y="346"/>
                </a:cubicBezTo>
                <a:cubicBezTo>
                  <a:pt x="1405" y="346"/>
                  <a:pt x="1405" y="346"/>
                  <a:pt x="1406" y="346"/>
                </a:cubicBezTo>
                <a:cubicBezTo>
                  <a:pt x="1407" y="346"/>
                  <a:pt x="1407" y="347"/>
                  <a:pt x="1407" y="347"/>
                </a:cubicBezTo>
                <a:cubicBezTo>
                  <a:pt x="1408" y="347"/>
                  <a:pt x="1408" y="347"/>
                  <a:pt x="1408" y="347"/>
                </a:cubicBezTo>
                <a:cubicBezTo>
                  <a:pt x="1409" y="346"/>
                  <a:pt x="1409" y="347"/>
                  <a:pt x="1409" y="347"/>
                </a:cubicBezTo>
                <a:cubicBezTo>
                  <a:pt x="1409" y="348"/>
                  <a:pt x="1410" y="348"/>
                  <a:pt x="1411" y="348"/>
                </a:cubicBezTo>
                <a:cubicBezTo>
                  <a:pt x="1412" y="349"/>
                  <a:pt x="1411" y="350"/>
                  <a:pt x="1411" y="350"/>
                </a:cubicBezTo>
                <a:cubicBezTo>
                  <a:pt x="1411" y="352"/>
                  <a:pt x="1411" y="352"/>
                  <a:pt x="1412" y="353"/>
                </a:cubicBezTo>
                <a:cubicBezTo>
                  <a:pt x="1412" y="354"/>
                  <a:pt x="1411" y="353"/>
                  <a:pt x="1410" y="353"/>
                </a:cubicBezTo>
                <a:cubicBezTo>
                  <a:pt x="1410" y="353"/>
                  <a:pt x="1409" y="355"/>
                  <a:pt x="1409" y="354"/>
                </a:cubicBezTo>
                <a:cubicBezTo>
                  <a:pt x="1409" y="355"/>
                  <a:pt x="1409" y="355"/>
                  <a:pt x="1408" y="356"/>
                </a:cubicBezTo>
                <a:cubicBezTo>
                  <a:pt x="1409" y="356"/>
                  <a:pt x="1409" y="357"/>
                  <a:pt x="1409" y="358"/>
                </a:cubicBezTo>
                <a:cubicBezTo>
                  <a:pt x="1410" y="358"/>
                  <a:pt x="1410" y="357"/>
                  <a:pt x="1410" y="357"/>
                </a:cubicBezTo>
                <a:cubicBezTo>
                  <a:pt x="1411" y="357"/>
                  <a:pt x="1411" y="358"/>
                  <a:pt x="1411" y="358"/>
                </a:cubicBezTo>
                <a:cubicBezTo>
                  <a:pt x="1411" y="358"/>
                  <a:pt x="1411" y="359"/>
                  <a:pt x="1410" y="359"/>
                </a:cubicBezTo>
                <a:cubicBezTo>
                  <a:pt x="1411" y="359"/>
                  <a:pt x="1411" y="360"/>
                  <a:pt x="1411" y="360"/>
                </a:cubicBezTo>
                <a:cubicBezTo>
                  <a:pt x="1412" y="360"/>
                  <a:pt x="1412" y="360"/>
                  <a:pt x="1413" y="361"/>
                </a:cubicBezTo>
                <a:cubicBezTo>
                  <a:pt x="1412" y="361"/>
                  <a:pt x="1414" y="360"/>
                  <a:pt x="1414" y="360"/>
                </a:cubicBezTo>
                <a:cubicBezTo>
                  <a:pt x="1415" y="360"/>
                  <a:pt x="1416" y="360"/>
                  <a:pt x="1417" y="360"/>
                </a:cubicBezTo>
                <a:cubicBezTo>
                  <a:pt x="1417" y="360"/>
                  <a:pt x="1417" y="360"/>
                  <a:pt x="1417" y="360"/>
                </a:cubicBezTo>
                <a:cubicBezTo>
                  <a:pt x="1417" y="360"/>
                  <a:pt x="1417" y="360"/>
                  <a:pt x="1418" y="360"/>
                </a:cubicBezTo>
                <a:cubicBezTo>
                  <a:pt x="1419" y="360"/>
                  <a:pt x="1418" y="361"/>
                  <a:pt x="1419" y="362"/>
                </a:cubicBezTo>
                <a:cubicBezTo>
                  <a:pt x="1419" y="362"/>
                  <a:pt x="1419" y="363"/>
                  <a:pt x="1419" y="363"/>
                </a:cubicBezTo>
                <a:cubicBezTo>
                  <a:pt x="1419" y="363"/>
                  <a:pt x="1419" y="363"/>
                  <a:pt x="1419" y="363"/>
                </a:cubicBezTo>
                <a:cubicBezTo>
                  <a:pt x="1419" y="365"/>
                  <a:pt x="1419" y="365"/>
                  <a:pt x="1418" y="365"/>
                </a:cubicBezTo>
                <a:cubicBezTo>
                  <a:pt x="1418" y="365"/>
                  <a:pt x="1418" y="366"/>
                  <a:pt x="1418" y="367"/>
                </a:cubicBezTo>
                <a:cubicBezTo>
                  <a:pt x="1419" y="367"/>
                  <a:pt x="1420" y="367"/>
                  <a:pt x="1419" y="368"/>
                </a:cubicBezTo>
                <a:cubicBezTo>
                  <a:pt x="1418" y="368"/>
                  <a:pt x="1418" y="369"/>
                  <a:pt x="1418" y="370"/>
                </a:cubicBezTo>
                <a:cubicBezTo>
                  <a:pt x="1419" y="370"/>
                  <a:pt x="1419" y="371"/>
                  <a:pt x="1419" y="371"/>
                </a:cubicBezTo>
                <a:cubicBezTo>
                  <a:pt x="1419" y="371"/>
                  <a:pt x="1419" y="371"/>
                  <a:pt x="1419" y="371"/>
                </a:cubicBezTo>
                <a:cubicBezTo>
                  <a:pt x="1418" y="372"/>
                  <a:pt x="1420" y="372"/>
                  <a:pt x="1418" y="373"/>
                </a:cubicBezTo>
                <a:cubicBezTo>
                  <a:pt x="1418" y="373"/>
                  <a:pt x="1417" y="373"/>
                  <a:pt x="1417" y="374"/>
                </a:cubicBezTo>
                <a:cubicBezTo>
                  <a:pt x="1417" y="375"/>
                  <a:pt x="1418" y="376"/>
                  <a:pt x="1418" y="376"/>
                </a:cubicBezTo>
                <a:cubicBezTo>
                  <a:pt x="1417" y="376"/>
                  <a:pt x="1417" y="378"/>
                  <a:pt x="1417" y="378"/>
                </a:cubicBezTo>
                <a:cubicBezTo>
                  <a:pt x="1417" y="378"/>
                  <a:pt x="1417" y="378"/>
                  <a:pt x="1417" y="378"/>
                </a:cubicBezTo>
                <a:cubicBezTo>
                  <a:pt x="1416" y="378"/>
                  <a:pt x="1417" y="379"/>
                  <a:pt x="1417" y="379"/>
                </a:cubicBezTo>
                <a:cubicBezTo>
                  <a:pt x="1417" y="380"/>
                  <a:pt x="1416" y="380"/>
                  <a:pt x="1416" y="381"/>
                </a:cubicBezTo>
                <a:cubicBezTo>
                  <a:pt x="1417" y="381"/>
                  <a:pt x="1417" y="382"/>
                  <a:pt x="1418" y="381"/>
                </a:cubicBezTo>
                <a:cubicBezTo>
                  <a:pt x="1419" y="381"/>
                  <a:pt x="1419" y="381"/>
                  <a:pt x="1420" y="380"/>
                </a:cubicBezTo>
                <a:cubicBezTo>
                  <a:pt x="1421" y="380"/>
                  <a:pt x="1421" y="380"/>
                  <a:pt x="1421" y="379"/>
                </a:cubicBezTo>
                <a:cubicBezTo>
                  <a:pt x="1421" y="378"/>
                  <a:pt x="1421" y="379"/>
                  <a:pt x="1422" y="378"/>
                </a:cubicBezTo>
                <a:cubicBezTo>
                  <a:pt x="1422" y="378"/>
                  <a:pt x="1422" y="378"/>
                  <a:pt x="1422" y="378"/>
                </a:cubicBezTo>
                <a:cubicBezTo>
                  <a:pt x="1423" y="378"/>
                  <a:pt x="1424" y="378"/>
                  <a:pt x="1425" y="378"/>
                </a:cubicBezTo>
                <a:cubicBezTo>
                  <a:pt x="1425" y="378"/>
                  <a:pt x="1426" y="378"/>
                  <a:pt x="1426" y="378"/>
                </a:cubicBezTo>
                <a:cubicBezTo>
                  <a:pt x="1427" y="377"/>
                  <a:pt x="1427" y="376"/>
                  <a:pt x="1427" y="376"/>
                </a:cubicBezTo>
                <a:cubicBezTo>
                  <a:pt x="1428" y="376"/>
                  <a:pt x="1428" y="376"/>
                  <a:pt x="1429" y="375"/>
                </a:cubicBezTo>
                <a:cubicBezTo>
                  <a:pt x="1430" y="375"/>
                  <a:pt x="1430" y="375"/>
                  <a:pt x="1430" y="374"/>
                </a:cubicBezTo>
                <a:cubicBezTo>
                  <a:pt x="1430" y="372"/>
                  <a:pt x="1431" y="371"/>
                  <a:pt x="1431" y="370"/>
                </a:cubicBezTo>
                <a:cubicBezTo>
                  <a:pt x="1429" y="371"/>
                  <a:pt x="1430" y="368"/>
                  <a:pt x="1430" y="367"/>
                </a:cubicBezTo>
                <a:cubicBezTo>
                  <a:pt x="1430" y="367"/>
                  <a:pt x="1430" y="366"/>
                  <a:pt x="1430" y="365"/>
                </a:cubicBezTo>
                <a:cubicBezTo>
                  <a:pt x="1430" y="365"/>
                  <a:pt x="1430" y="365"/>
                  <a:pt x="1430" y="365"/>
                </a:cubicBezTo>
                <a:cubicBezTo>
                  <a:pt x="1431" y="364"/>
                  <a:pt x="1430" y="365"/>
                  <a:pt x="1430" y="365"/>
                </a:cubicBezTo>
                <a:cubicBezTo>
                  <a:pt x="1430" y="364"/>
                  <a:pt x="1430" y="364"/>
                  <a:pt x="1430" y="363"/>
                </a:cubicBezTo>
                <a:cubicBezTo>
                  <a:pt x="1429" y="363"/>
                  <a:pt x="1429" y="363"/>
                  <a:pt x="1428" y="362"/>
                </a:cubicBezTo>
                <a:cubicBezTo>
                  <a:pt x="1428" y="361"/>
                  <a:pt x="1428" y="361"/>
                  <a:pt x="1428" y="360"/>
                </a:cubicBezTo>
                <a:cubicBezTo>
                  <a:pt x="1428" y="360"/>
                  <a:pt x="1428" y="361"/>
                  <a:pt x="1428" y="360"/>
                </a:cubicBezTo>
                <a:cubicBezTo>
                  <a:pt x="1428" y="360"/>
                  <a:pt x="1427" y="360"/>
                  <a:pt x="1427" y="360"/>
                </a:cubicBezTo>
                <a:cubicBezTo>
                  <a:pt x="1427" y="360"/>
                  <a:pt x="1427" y="359"/>
                  <a:pt x="1426" y="359"/>
                </a:cubicBezTo>
                <a:cubicBezTo>
                  <a:pt x="1426" y="359"/>
                  <a:pt x="1427" y="358"/>
                  <a:pt x="1427" y="358"/>
                </a:cubicBezTo>
                <a:cubicBezTo>
                  <a:pt x="1427" y="357"/>
                  <a:pt x="1426" y="357"/>
                  <a:pt x="1426" y="357"/>
                </a:cubicBezTo>
                <a:cubicBezTo>
                  <a:pt x="1426" y="357"/>
                  <a:pt x="1426" y="356"/>
                  <a:pt x="1426" y="356"/>
                </a:cubicBezTo>
                <a:cubicBezTo>
                  <a:pt x="1426" y="356"/>
                  <a:pt x="1425" y="356"/>
                  <a:pt x="1425" y="356"/>
                </a:cubicBezTo>
                <a:cubicBezTo>
                  <a:pt x="1425" y="356"/>
                  <a:pt x="1425" y="356"/>
                  <a:pt x="1425" y="356"/>
                </a:cubicBezTo>
                <a:cubicBezTo>
                  <a:pt x="1425" y="356"/>
                  <a:pt x="1425" y="356"/>
                  <a:pt x="1425" y="356"/>
                </a:cubicBezTo>
                <a:cubicBezTo>
                  <a:pt x="1425" y="355"/>
                  <a:pt x="1425" y="355"/>
                  <a:pt x="1425" y="355"/>
                </a:cubicBezTo>
                <a:cubicBezTo>
                  <a:pt x="1425" y="354"/>
                  <a:pt x="1425" y="355"/>
                  <a:pt x="1425" y="354"/>
                </a:cubicBezTo>
                <a:cubicBezTo>
                  <a:pt x="1425" y="354"/>
                  <a:pt x="1426" y="353"/>
                  <a:pt x="1425" y="353"/>
                </a:cubicBezTo>
                <a:cubicBezTo>
                  <a:pt x="1423" y="353"/>
                  <a:pt x="1423" y="351"/>
                  <a:pt x="1422" y="351"/>
                </a:cubicBezTo>
                <a:cubicBezTo>
                  <a:pt x="1421" y="351"/>
                  <a:pt x="1420" y="351"/>
                  <a:pt x="1420" y="350"/>
                </a:cubicBezTo>
                <a:cubicBezTo>
                  <a:pt x="1421" y="350"/>
                  <a:pt x="1421" y="350"/>
                  <a:pt x="1421" y="350"/>
                </a:cubicBezTo>
                <a:cubicBezTo>
                  <a:pt x="1421" y="350"/>
                  <a:pt x="1422" y="348"/>
                  <a:pt x="1422" y="347"/>
                </a:cubicBezTo>
                <a:cubicBezTo>
                  <a:pt x="1422" y="346"/>
                  <a:pt x="1422" y="346"/>
                  <a:pt x="1423" y="346"/>
                </a:cubicBezTo>
                <a:cubicBezTo>
                  <a:pt x="1424" y="346"/>
                  <a:pt x="1424" y="346"/>
                  <a:pt x="1424" y="345"/>
                </a:cubicBezTo>
                <a:cubicBezTo>
                  <a:pt x="1424" y="345"/>
                  <a:pt x="1425" y="345"/>
                  <a:pt x="1425" y="345"/>
                </a:cubicBezTo>
                <a:cubicBezTo>
                  <a:pt x="1425" y="345"/>
                  <a:pt x="1425" y="345"/>
                  <a:pt x="1425" y="345"/>
                </a:cubicBezTo>
                <a:cubicBezTo>
                  <a:pt x="1425" y="344"/>
                  <a:pt x="1426" y="344"/>
                  <a:pt x="1427" y="343"/>
                </a:cubicBezTo>
                <a:cubicBezTo>
                  <a:pt x="1427" y="343"/>
                  <a:pt x="1427" y="342"/>
                  <a:pt x="1427" y="342"/>
                </a:cubicBezTo>
                <a:cubicBezTo>
                  <a:pt x="1427" y="342"/>
                  <a:pt x="1428" y="342"/>
                  <a:pt x="1427" y="342"/>
                </a:cubicBezTo>
                <a:cubicBezTo>
                  <a:pt x="1427" y="341"/>
                  <a:pt x="1429" y="341"/>
                  <a:pt x="1429" y="341"/>
                </a:cubicBezTo>
                <a:cubicBezTo>
                  <a:pt x="1430" y="341"/>
                  <a:pt x="1430" y="341"/>
                  <a:pt x="1430" y="341"/>
                </a:cubicBezTo>
                <a:cubicBezTo>
                  <a:pt x="1430" y="340"/>
                  <a:pt x="1430" y="340"/>
                  <a:pt x="1430" y="340"/>
                </a:cubicBezTo>
                <a:cubicBezTo>
                  <a:pt x="1430" y="340"/>
                  <a:pt x="1431" y="340"/>
                  <a:pt x="1431" y="339"/>
                </a:cubicBezTo>
                <a:cubicBezTo>
                  <a:pt x="1432" y="339"/>
                  <a:pt x="1432" y="338"/>
                  <a:pt x="1432" y="337"/>
                </a:cubicBezTo>
                <a:cubicBezTo>
                  <a:pt x="1431" y="336"/>
                  <a:pt x="1431" y="335"/>
                  <a:pt x="1431" y="334"/>
                </a:cubicBezTo>
                <a:cubicBezTo>
                  <a:pt x="1431" y="333"/>
                  <a:pt x="1432" y="333"/>
                  <a:pt x="1432" y="333"/>
                </a:cubicBezTo>
                <a:cubicBezTo>
                  <a:pt x="1433" y="333"/>
                  <a:pt x="1432" y="332"/>
                  <a:pt x="1433" y="332"/>
                </a:cubicBezTo>
                <a:cubicBezTo>
                  <a:pt x="1433" y="331"/>
                  <a:pt x="1434" y="332"/>
                  <a:pt x="1434" y="331"/>
                </a:cubicBezTo>
                <a:cubicBezTo>
                  <a:pt x="1434" y="331"/>
                  <a:pt x="1436" y="330"/>
                  <a:pt x="1436" y="329"/>
                </a:cubicBezTo>
                <a:cubicBezTo>
                  <a:pt x="1436" y="329"/>
                  <a:pt x="1437" y="329"/>
                  <a:pt x="1437" y="328"/>
                </a:cubicBezTo>
                <a:cubicBezTo>
                  <a:pt x="1437" y="328"/>
                  <a:pt x="1437" y="328"/>
                  <a:pt x="1438" y="328"/>
                </a:cubicBezTo>
                <a:cubicBezTo>
                  <a:pt x="1438" y="328"/>
                  <a:pt x="1439" y="328"/>
                  <a:pt x="1439" y="327"/>
                </a:cubicBezTo>
                <a:cubicBezTo>
                  <a:pt x="1439" y="327"/>
                  <a:pt x="1439" y="327"/>
                  <a:pt x="1439" y="326"/>
                </a:cubicBezTo>
                <a:cubicBezTo>
                  <a:pt x="1439" y="326"/>
                  <a:pt x="1440" y="326"/>
                  <a:pt x="1440" y="326"/>
                </a:cubicBezTo>
                <a:cubicBezTo>
                  <a:pt x="1441" y="326"/>
                  <a:pt x="1440" y="326"/>
                  <a:pt x="1441" y="325"/>
                </a:cubicBezTo>
                <a:cubicBezTo>
                  <a:pt x="1441" y="325"/>
                  <a:pt x="1441" y="326"/>
                  <a:pt x="1442" y="325"/>
                </a:cubicBezTo>
                <a:cubicBezTo>
                  <a:pt x="1442" y="324"/>
                  <a:pt x="1442" y="323"/>
                  <a:pt x="1443" y="323"/>
                </a:cubicBezTo>
                <a:cubicBezTo>
                  <a:pt x="1443" y="323"/>
                  <a:pt x="1444" y="323"/>
                  <a:pt x="1444" y="323"/>
                </a:cubicBezTo>
                <a:cubicBezTo>
                  <a:pt x="1444" y="324"/>
                  <a:pt x="1444" y="324"/>
                  <a:pt x="1444" y="324"/>
                </a:cubicBezTo>
                <a:cubicBezTo>
                  <a:pt x="1445" y="324"/>
                  <a:pt x="1445" y="324"/>
                  <a:pt x="1446" y="323"/>
                </a:cubicBezTo>
                <a:cubicBezTo>
                  <a:pt x="1446" y="324"/>
                  <a:pt x="1445" y="325"/>
                  <a:pt x="1446" y="326"/>
                </a:cubicBezTo>
                <a:cubicBezTo>
                  <a:pt x="1446" y="326"/>
                  <a:pt x="1446" y="326"/>
                  <a:pt x="1447" y="327"/>
                </a:cubicBezTo>
                <a:cubicBezTo>
                  <a:pt x="1448" y="327"/>
                  <a:pt x="1447" y="328"/>
                  <a:pt x="1448" y="328"/>
                </a:cubicBezTo>
                <a:cubicBezTo>
                  <a:pt x="1449" y="328"/>
                  <a:pt x="1449" y="328"/>
                  <a:pt x="1450" y="329"/>
                </a:cubicBezTo>
                <a:cubicBezTo>
                  <a:pt x="1450" y="329"/>
                  <a:pt x="1451" y="330"/>
                  <a:pt x="1451" y="329"/>
                </a:cubicBezTo>
                <a:cubicBezTo>
                  <a:pt x="1451" y="329"/>
                  <a:pt x="1452" y="329"/>
                  <a:pt x="1452" y="329"/>
                </a:cubicBezTo>
                <a:cubicBezTo>
                  <a:pt x="1453" y="329"/>
                  <a:pt x="1454" y="327"/>
                  <a:pt x="1454" y="327"/>
                </a:cubicBezTo>
                <a:cubicBezTo>
                  <a:pt x="1454" y="326"/>
                  <a:pt x="1454" y="326"/>
                  <a:pt x="1455" y="326"/>
                </a:cubicBezTo>
                <a:cubicBezTo>
                  <a:pt x="1456" y="326"/>
                  <a:pt x="1456" y="325"/>
                  <a:pt x="1456" y="325"/>
                </a:cubicBezTo>
                <a:cubicBezTo>
                  <a:pt x="1456" y="325"/>
                  <a:pt x="1456" y="324"/>
                  <a:pt x="1457" y="324"/>
                </a:cubicBezTo>
                <a:cubicBezTo>
                  <a:pt x="1457" y="323"/>
                  <a:pt x="1458" y="323"/>
                  <a:pt x="1458" y="322"/>
                </a:cubicBezTo>
                <a:cubicBezTo>
                  <a:pt x="1458" y="322"/>
                  <a:pt x="1458" y="322"/>
                  <a:pt x="1459" y="322"/>
                </a:cubicBezTo>
                <a:cubicBezTo>
                  <a:pt x="1459" y="322"/>
                  <a:pt x="1459" y="322"/>
                  <a:pt x="1459" y="322"/>
                </a:cubicBezTo>
                <a:cubicBezTo>
                  <a:pt x="1459" y="322"/>
                  <a:pt x="1459" y="321"/>
                  <a:pt x="1460" y="320"/>
                </a:cubicBezTo>
                <a:cubicBezTo>
                  <a:pt x="1460" y="319"/>
                  <a:pt x="1461" y="318"/>
                  <a:pt x="1461" y="317"/>
                </a:cubicBezTo>
                <a:cubicBezTo>
                  <a:pt x="1462" y="316"/>
                  <a:pt x="1462" y="317"/>
                  <a:pt x="1462" y="316"/>
                </a:cubicBezTo>
                <a:cubicBezTo>
                  <a:pt x="1463" y="316"/>
                  <a:pt x="1463" y="316"/>
                  <a:pt x="1463" y="315"/>
                </a:cubicBezTo>
                <a:cubicBezTo>
                  <a:pt x="1464" y="315"/>
                  <a:pt x="1464" y="316"/>
                  <a:pt x="1464" y="315"/>
                </a:cubicBezTo>
                <a:cubicBezTo>
                  <a:pt x="1464" y="314"/>
                  <a:pt x="1464" y="314"/>
                  <a:pt x="1464" y="314"/>
                </a:cubicBezTo>
                <a:cubicBezTo>
                  <a:pt x="1465" y="313"/>
                  <a:pt x="1466" y="313"/>
                  <a:pt x="1466" y="312"/>
                </a:cubicBezTo>
                <a:cubicBezTo>
                  <a:pt x="1466" y="312"/>
                  <a:pt x="1467" y="311"/>
                  <a:pt x="1467" y="311"/>
                </a:cubicBezTo>
                <a:cubicBezTo>
                  <a:pt x="1467" y="311"/>
                  <a:pt x="1468" y="310"/>
                  <a:pt x="1469" y="310"/>
                </a:cubicBezTo>
                <a:cubicBezTo>
                  <a:pt x="1469" y="309"/>
                  <a:pt x="1469" y="308"/>
                  <a:pt x="1470" y="308"/>
                </a:cubicBezTo>
                <a:cubicBezTo>
                  <a:pt x="1470" y="308"/>
                  <a:pt x="1471" y="307"/>
                  <a:pt x="1471" y="307"/>
                </a:cubicBezTo>
                <a:cubicBezTo>
                  <a:pt x="1471" y="307"/>
                  <a:pt x="1471" y="306"/>
                  <a:pt x="1471" y="306"/>
                </a:cubicBezTo>
                <a:cubicBezTo>
                  <a:pt x="1471" y="306"/>
                  <a:pt x="1472" y="306"/>
                  <a:pt x="1472" y="306"/>
                </a:cubicBezTo>
                <a:cubicBezTo>
                  <a:pt x="1472" y="305"/>
                  <a:pt x="1472" y="305"/>
                  <a:pt x="1472" y="305"/>
                </a:cubicBezTo>
                <a:cubicBezTo>
                  <a:pt x="1472" y="305"/>
                  <a:pt x="1472" y="305"/>
                  <a:pt x="1472" y="305"/>
                </a:cubicBezTo>
                <a:cubicBezTo>
                  <a:pt x="1472" y="304"/>
                  <a:pt x="1472" y="304"/>
                  <a:pt x="1473" y="304"/>
                </a:cubicBezTo>
                <a:cubicBezTo>
                  <a:pt x="1473" y="304"/>
                  <a:pt x="1473" y="303"/>
                  <a:pt x="1473" y="303"/>
                </a:cubicBezTo>
                <a:cubicBezTo>
                  <a:pt x="1473" y="303"/>
                  <a:pt x="1473" y="301"/>
                  <a:pt x="1473" y="301"/>
                </a:cubicBezTo>
                <a:cubicBezTo>
                  <a:pt x="1474" y="301"/>
                  <a:pt x="1474" y="300"/>
                  <a:pt x="1474" y="300"/>
                </a:cubicBezTo>
                <a:cubicBezTo>
                  <a:pt x="1474" y="299"/>
                  <a:pt x="1474" y="300"/>
                  <a:pt x="1474" y="299"/>
                </a:cubicBezTo>
                <a:cubicBezTo>
                  <a:pt x="1474" y="298"/>
                  <a:pt x="1475" y="299"/>
                  <a:pt x="1475" y="298"/>
                </a:cubicBezTo>
                <a:cubicBezTo>
                  <a:pt x="1475" y="298"/>
                  <a:pt x="1476" y="297"/>
                  <a:pt x="1476" y="298"/>
                </a:cubicBezTo>
                <a:cubicBezTo>
                  <a:pt x="1477" y="298"/>
                  <a:pt x="1477" y="297"/>
                  <a:pt x="1477" y="297"/>
                </a:cubicBezTo>
                <a:cubicBezTo>
                  <a:pt x="1477" y="296"/>
                  <a:pt x="1477" y="296"/>
                  <a:pt x="1477" y="295"/>
                </a:cubicBezTo>
                <a:cubicBezTo>
                  <a:pt x="1477" y="295"/>
                  <a:pt x="1477" y="295"/>
                  <a:pt x="1477" y="295"/>
                </a:cubicBezTo>
                <a:cubicBezTo>
                  <a:pt x="1478" y="295"/>
                  <a:pt x="1477" y="295"/>
                  <a:pt x="1478" y="294"/>
                </a:cubicBezTo>
                <a:cubicBezTo>
                  <a:pt x="1479" y="294"/>
                  <a:pt x="1478" y="293"/>
                  <a:pt x="1479" y="293"/>
                </a:cubicBezTo>
                <a:cubicBezTo>
                  <a:pt x="1480" y="292"/>
                  <a:pt x="1480" y="292"/>
                  <a:pt x="1481" y="291"/>
                </a:cubicBezTo>
                <a:cubicBezTo>
                  <a:pt x="1481" y="290"/>
                  <a:pt x="1481" y="288"/>
                  <a:pt x="1482" y="288"/>
                </a:cubicBezTo>
                <a:cubicBezTo>
                  <a:pt x="1482" y="288"/>
                  <a:pt x="1482" y="288"/>
                  <a:pt x="1483" y="288"/>
                </a:cubicBezTo>
                <a:cubicBezTo>
                  <a:pt x="1483" y="287"/>
                  <a:pt x="1482" y="287"/>
                  <a:pt x="1482" y="287"/>
                </a:cubicBezTo>
                <a:cubicBezTo>
                  <a:pt x="1482" y="287"/>
                  <a:pt x="1483" y="284"/>
                  <a:pt x="1483" y="284"/>
                </a:cubicBezTo>
                <a:cubicBezTo>
                  <a:pt x="1483" y="284"/>
                  <a:pt x="1484" y="283"/>
                  <a:pt x="1484" y="283"/>
                </a:cubicBezTo>
                <a:cubicBezTo>
                  <a:pt x="1484" y="282"/>
                  <a:pt x="1484" y="281"/>
                  <a:pt x="1483" y="281"/>
                </a:cubicBezTo>
                <a:cubicBezTo>
                  <a:pt x="1483" y="280"/>
                  <a:pt x="1483" y="279"/>
                  <a:pt x="1483" y="279"/>
                </a:cubicBezTo>
                <a:cubicBezTo>
                  <a:pt x="1482" y="278"/>
                  <a:pt x="1482" y="278"/>
                  <a:pt x="1483" y="277"/>
                </a:cubicBezTo>
                <a:cubicBezTo>
                  <a:pt x="1483" y="276"/>
                  <a:pt x="1484" y="276"/>
                  <a:pt x="1484" y="275"/>
                </a:cubicBezTo>
                <a:cubicBezTo>
                  <a:pt x="1484" y="275"/>
                  <a:pt x="1482" y="273"/>
                  <a:pt x="1483" y="273"/>
                </a:cubicBezTo>
                <a:cubicBezTo>
                  <a:pt x="1484" y="273"/>
                  <a:pt x="1484" y="273"/>
                  <a:pt x="1484" y="272"/>
                </a:cubicBezTo>
                <a:cubicBezTo>
                  <a:pt x="1484" y="272"/>
                  <a:pt x="1485" y="271"/>
                  <a:pt x="1485" y="271"/>
                </a:cubicBezTo>
                <a:cubicBezTo>
                  <a:pt x="1485" y="271"/>
                  <a:pt x="1485" y="270"/>
                  <a:pt x="1485" y="270"/>
                </a:cubicBezTo>
                <a:cubicBezTo>
                  <a:pt x="1485" y="270"/>
                  <a:pt x="1486" y="269"/>
                  <a:pt x="1486" y="269"/>
                </a:cubicBezTo>
                <a:cubicBezTo>
                  <a:pt x="1486" y="269"/>
                  <a:pt x="1486" y="269"/>
                  <a:pt x="1486" y="268"/>
                </a:cubicBezTo>
                <a:cubicBezTo>
                  <a:pt x="1486" y="268"/>
                  <a:pt x="1486" y="268"/>
                  <a:pt x="1485" y="268"/>
                </a:cubicBezTo>
                <a:cubicBezTo>
                  <a:pt x="1485" y="267"/>
                  <a:pt x="1485" y="266"/>
                  <a:pt x="1486" y="267"/>
                </a:cubicBezTo>
                <a:cubicBezTo>
                  <a:pt x="1486" y="266"/>
                  <a:pt x="1486" y="265"/>
                  <a:pt x="1485" y="266"/>
                </a:cubicBezTo>
                <a:cubicBezTo>
                  <a:pt x="1485" y="264"/>
                  <a:pt x="1485" y="263"/>
                  <a:pt x="1486" y="263"/>
                </a:cubicBezTo>
                <a:cubicBezTo>
                  <a:pt x="1487" y="263"/>
                  <a:pt x="1488" y="263"/>
                  <a:pt x="1489" y="264"/>
                </a:cubicBezTo>
                <a:cubicBezTo>
                  <a:pt x="1489" y="264"/>
                  <a:pt x="1490" y="262"/>
                  <a:pt x="1489" y="262"/>
                </a:cubicBezTo>
                <a:cubicBezTo>
                  <a:pt x="1489" y="261"/>
                  <a:pt x="1489" y="263"/>
                  <a:pt x="1488" y="262"/>
                </a:cubicBezTo>
                <a:cubicBezTo>
                  <a:pt x="1488" y="262"/>
                  <a:pt x="1487" y="262"/>
                  <a:pt x="1487" y="262"/>
                </a:cubicBezTo>
                <a:cubicBezTo>
                  <a:pt x="1487" y="262"/>
                  <a:pt x="1487" y="262"/>
                  <a:pt x="1487" y="262"/>
                </a:cubicBezTo>
                <a:cubicBezTo>
                  <a:pt x="1486" y="262"/>
                  <a:pt x="1486" y="261"/>
                  <a:pt x="1486" y="261"/>
                </a:cubicBezTo>
                <a:cubicBezTo>
                  <a:pt x="1486" y="261"/>
                  <a:pt x="1486" y="261"/>
                  <a:pt x="1486" y="260"/>
                </a:cubicBezTo>
                <a:cubicBezTo>
                  <a:pt x="1485" y="260"/>
                  <a:pt x="1485" y="261"/>
                  <a:pt x="1485" y="261"/>
                </a:cubicBezTo>
                <a:cubicBezTo>
                  <a:pt x="1485" y="260"/>
                  <a:pt x="1483" y="259"/>
                  <a:pt x="1482" y="259"/>
                </a:cubicBezTo>
                <a:cubicBezTo>
                  <a:pt x="1482" y="259"/>
                  <a:pt x="1482" y="257"/>
                  <a:pt x="1482" y="257"/>
                </a:cubicBezTo>
                <a:cubicBezTo>
                  <a:pt x="1482" y="256"/>
                  <a:pt x="1479" y="256"/>
                  <a:pt x="1479" y="255"/>
                </a:cubicBezTo>
                <a:cubicBezTo>
                  <a:pt x="1479" y="254"/>
                  <a:pt x="1478" y="255"/>
                  <a:pt x="1477" y="255"/>
                </a:cubicBezTo>
                <a:cubicBezTo>
                  <a:pt x="1476" y="255"/>
                  <a:pt x="1475" y="255"/>
                  <a:pt x="1474" y="254"/>
                </a:cubicBezTo>
                <a:cubicBezTo>
                  <a:pt x="1474" y="255"/>
                  <a:pt x="1474" y="256"/>
                  <a:pt x="1474" y="257"/>
                </a:cubicBezTo>
                <a:cubicBezTo>
                  <a:pt x="1474" y="258"/>
                  <a:pt x="1473" y="258"/>
                  <a:pt x="1473" y="257"/>
                </a:cubicBezTo>
                <a:cubicBezTo>
                  <a:pt x="1473" y="257"/>
                  <a:pt x="1473" y="257"/>
                  <a:pt x="1472" y="257"/>
                </a:cubicBezTo>
                <a:cubicBezTo>
                  <a:pt x="1472" y="257"/>
                  <a:pt x="1472" y="257"/>
                  <a:pt x="1472" y="258"/>
                </a:cubicBezTo>
                <a:cubicBezTo>
                  <a:pt x="1472" y="259"/>
                  <a:pt x="1472" y="258"/>
                  <a:pt x="1471" y="259"/>
                </a:cubicBezTo>
                <a:cubicBezTo>
                  <a:pt x="1471" y="259"/>
                  <a:pt x="1470" y="260"/>
                  <a:pt x="1470" y="260"/>
                </a:cubicBezTo>
                <a:cubicBezTo>
                  <a:pt x="1469" y="260"/>
                  <a:pt x="1469" y="260"/>
                  <a:pt x="1468" y="260"/>
                </a:cubicBezTo>
                <a:cubicBezTo>
                  <a:pt x="1469" y="259"/>
                  <a:pt x="1470" y="258"/>
                  <a:pt x="1470" y="257"/>
                </a:cubicBezTo>
                <a:cubicBezTo>
                  <a:pt x="1470" y="255"/>
                  <a:pt x="1469" y="256"/>
                  <a:pt x="1468" y="255"/>
                </a:cubicBezTo>
                <a:cubicBezTo>
                  <a:pt x="1467" y="255"/>
                  <a:pt x="1467" y="257"/>
                  <a:pt x="1467" y="258"/>
                </a:cubicBezTo>
                <a:cubicBezTo>
                  <a:pt x="1467" y="258"/>
                  <a:pt x="1466" y="258"/>
                  <a:pt x="1466" y="257"/>
                </a:cubicBezTo>
                <a:cubicBezTo>
                  <a:pt x="1466" y="257"/>
                  <a:pt x="1465" y="254"/>
                  <a:pt x="1466" y="254"/>
                </a:cubicBezTo>
                <a:cubicBezTo>
                  <a:pt x="1466" y="253"/>
                  <a:pt x="1466" y="252"/>
                  <a:pt x="1466" y="251"/>
                </a:cubicBezTo>
                <a:cubicBezTo>
                  <a:pt x="1465" y="251"/>
                  <a:pt x="1463" y="251"/>
                  <a:pt x="1462" y="251"/>
                </a:cubicBezTo>
                <a:cubicBezTo>
                  <a:pt x="1462" y="251"/>
                  <a:pt x="1461" y="251"/>
                  <a:pt x="1461" y="251"/>
                </a:cubicBezTo>
                <a:cubicBezTo>
                  <a:pt x="1461" y="251"/>
                  <a:pt x="1461" y="251"/>
                  <a:pt x="1460" y="251"/>
                </a:cubicBezTo>
                <a:cubicBezTo>
                  <a:pt x="1460" y="251"/>
                  <a:pt x="1459" y="251"/>
                  <a:pt x="1458" y="251"/>
                </a:cubicBezTo>
                <a:cubicBezTo>
                  <a:pt x="1458" y="250"/>
                  <a:pt x="1458" y="250"/>
                  <a:pt x="1459" y="250"/>
                </a:cubicBezTo>
                <a:cubicBezTo>
                  <a:pt x="1459" y="249"/>
                  <a:pt x="1459" y="249"/>
                  <a:pt x="1459" y="249"/>
                </a:cubicBezTo>
                <a:cubicBezTo>
                  <a:pt x="1459" y="248"/>
                  <a:pt x="1460" y="248"/>
                  <a:pt x="1460" y="247"/>
                </a:cubicBezTo>
                <a:cubicBezTo>
                  <a:pt x="1461" y="247"/>
                  <a:pt x="1461" y="247"/>
                  <a:pt x="1461" y="246"/>
                </a:cubicBezTo>
                <a:cubicBezTo>
                  <a:pt x="1463" y="246"/>
                  <a:pt x="1461" y="246"/>
                  <a:pt x="1462" y="245"/>
                </a:cubicBezTo>
                <a:cubicBezTo>
                  <a:pt x="1463" y="245"/>
                  <a:pt x="1463" y="245"/>
                  <a:pt x="1464" y="244"/>
                </a:cubicBezTo>
                <a:cubicBezTo>
                  <a:pt x="1464" y="243"/>
                  <a:pt x="1465" y="243"/>
                  <a:pt x="1466" y="243"/>
                </a:cubicBezTo>
                <a:cubicBezTo>
                  <a:pt x="1467" y="242"/>
                  <a:pt x="1467" y="241"/>
                  <a:pt x="1468" y="240"/>
                </a:cubicBezTo>
                <a:cubicBezTo>
                  <a:pt x="1469" y="240"/>
                  <a:pt x="1470" y="240"/>
                  <a:pt x="1470" y="240"/>
                </a:cubicBezTo>
                <a:cubicBezTo>
                  <a:pt x="1471" y="239"/>
                  <a:pt x="1469" y="238"/>
                  <a:pt x="1471" y="237"/>
                </a:cubicBezTo>
                <a:cubicBezTo>
                  <a:pt x="1472" y="237"/>
                  <a:pt x="1473" y="237"/>
                  <a:pt x="1473" y="235"/>
                </a:cubicBezTo>
                <a:cubicBezTo>
                  <a:pt x="1473" y="234"/>
                  <a:pt x="1473" y="235"/>
                  <a:pt x="1473" y="235"/>
                </a:cubicBezTo>
                <a:cubicBezTo>
                  <a:pt x="1473" y="234"/>
                  <a:pt x="1473" y="233"/>
                  <a:pt x="1474" y="233"/>
                </a:cubicBezTo>
                <a:cubicBezTo>
                  <a:pt x="1473" y="232"/>
                  <a:pt x="1473" y="232"/>
                  <a:pt x="1474" y="232"/>
                </a:cubicBezTo>
                <a:cubicBezTo>
                  <a:pt x="1474" y="232"/>
                  <a:pt x="1474" y="232"/>
                  <a:pt x="1475" y="232"/>
                </a:cubicBezTo>
                <a:cubicBezTo>
                  <a:pt x="1475" y="232"/>
                  <a:pt x="1476" y="231"/>
                  <a:pt x="1476" y="230"/>
                </a:cubicBezTo>
                <a:cubicBezTo>
                  <a:pt x="1477" y="230"/>
                  <a:pt x="1477" y="231"/>
                  <a:pt x="1477" y="230"/>
                </a:cubicBezTo>
                <a:cubicBezTo>
                  <a:pt x="1477" y="229"/>
                  <a:pt x="1477" y="229"/>
                  <a:pt x="1477" y="229"/>
                </a:cubicBezTo>
                <a:cubicBezTo>
                  <a:pt x="1478" y="229"/>
                  <a:pt x="1478" y="229"/>
                  <a:pt x="1478" y="229"/>
                </a:cubicBezTo>
                <a:cubicBezTo>
                  <a:pt x="1479" y="228"/>
                  <a:pt x="1478" y="229"/>
                  <a:pt x="1479" y="228"/>
                </a:cubicBezTo>
                <a:cubicBezTo>
                  <a:pt x="1480" y="228"/>
                  <a:pt x="1480" y="227"/>
                  <a:pt x="1481" y="227"/>
                </a:cubicBezTo>
                <a:cubicBezTo>
                  <a:pt x="1482" y="227"/>
                  <a:pt x="1481" y="227"/>
                  <a:pt x="1482" y="226"/>
                </a:cubicBezTo>
                <a:cubicBezTo>
                  <a:pt x="1482" y="225"/>
                  <a:pt x="1483" y="225"/>
                  <a:pt x="1483" y="225"/>
                </a:cubicBezTo>
                <a:cubicBezTo>
                  <a:pt x="1484" y="225"/>
                  <a:pt x="1484" y="225"/>
                  <a:pt x="1484" y="224"/>
                </a:cubicBezTo>
                <a:cubicBezTo>
                  <a:pt x="1485" y="223"/>
                  <a:pt x="1485" y="222"/>
                  <a:pt x="1486" y="221"/>
                </a:cubicBezTo>
                <a:cubicBezTo>
                  <a:pt x="1486" y="221"/>
                  <a:pt x="1486" y="220"/>
                  <a:pt x="1487" y="220"/>
                </a:cubicBezTo>
                <a:cubicBezTo>
                  <a:pt x="1488" y="219"/>
                  <a:pt x="1487" y="219"/>
                  <a:pt x="1487" y="218"/>
                </a:cubicBezTo>
                <a:cubicBezTo>
                  <a:pt x="1488" y="218"/>
                  <a:pt x="1488" y="218"/>
                  <a:pt x="1488" y="218"/>
                </a:cubicBezTo>
                <a:cubicBezTo>
                  <a:pt x="1488" y="218"/>
                  <a:pt x="1488" y="217"/>
                  <a:pt x="1488" y="217"/>
                </a:cubicBezTo>
                <a:cubicBezTo>
                  <a:pt x="1489" y="217"/>
                  <a:pt x="1489" y="217"/>
                  <a:pt x="1489" y="216"/>
                </a:cubicBezTo>
                <a:cubicBezTo>
                  <a:pt x="1490" y="216"/>
                  <a:pt x="1490" y="216"/>
                  <a:pt x="1490" y="216"/>
                </a:cubicBezTo>
                <a:cubicBezTo>
                  <a:pt x="1490" y="215"/>
                  <a:pt x="1490" y="215"/>
                  <a:pt x="1490" y="214"/>
                </a:cubicBezTo>
                <a:cubicBezTo>
                  <a:pt x="1491" y="214"/>
                  <a:pt x="1492" y="214"/>
                  <a:pt x="1492" y="213"/>
                </a:cubicBezTo>
                <a:cubicBezTo>
                  <a:pt x="1493" y="212"/>
                  <a:pt x="1495" y="212"/>
                  <a:pt x="1496" y="212"/>
                </a:cubicBezTo>
                <a:cubicBezTo>
                  <a:pt x="1496" y="211"/>
                  <a:pt x="1496" y="210"/>
                  <a:pt x="1496" y="210"/>
                </a:cubicBezTo>
                <a:cubicBezTo>
                  <a:pt x="1497" y="210"/>
                  <a:pt x="1497" y="211"/>
                  <a:pt x="1498" y="210"/>
                </a:cubicBezTo>
                <a:cubicBezTo>
                  <a:pt x="1498" y="210"/>
                  <a:pt x="1498" y="210"/>
                  <a:pt x="1499" y="210"/>
                </a:cubicBezTo>
                <a:cubicBezTo>
                  <a:pt x="1499" y="210"/>
                  <a:pt x="1499" y="211"/>
                  <a:pt x="1498" y="212"/>
                </a:cubicBezTo>
                <a:cubicBezTo>
                  <a:pt x="1499" y="211"/>
                  <a:pt x="1499" y="211"/>
                  <a:pt x="1500" y="211"/>
                </a:cubicBezTo>
                <a:cubicBezTo>
                  <a:pt x="1500" y="211"/>
                  <a:pt x="1501" y="211"/>
                  <a:pt x="1501" y="211"/>
                </a:cubicBezTo>
                <a:cubicBezTo>
                  <a:pt x="1501" y="211"/>
                  <a:pt x="1501" y="211"/>
                  <a:pt x="1501" y="211"/>
                </a:cubicBezTo>
                <a:cubicBezTo>
                  <a:pt x="1502" y="211"/>
                  <a:pt x="1504" y="211"/>
                  <a:pt x="1505" y="211"/>
                </a:cubicBezTo>
                <a:cubicBezTo>
                  <a:pt x="1506" y="211"/>
                  <a:pt x="1506" y="211"/>
                  <a:pt x="1506" y="211"/>
                </a:cubicBezTo>
                <a:cubicBezTo>
                  <a:pt x="1507" y="211"/>
                  <a:pt x="1507" y="211"/>
                  <a:pt x="1507" y="211"/>
                </a:cubicBezTo>
                <a:cubicBezTo>
                  <a:pt x="1507" y="210"/>
                  <a:pt x="1507" y="211"/>
                  <a:pt x="1508" y="211"/>
                </a:cubicBezTo>
                <a:cubicBezTo>
                  <a:pt x="1509" y="211"/>
                  <a:pt x="1509" y="211"/>
                  <a:pt x="1510" y="211"/>
                </a:cubicBezTo>
                <a:cubicBezTo>
                  <a:pt x="1511" y="212"/>
                  <a:pt x="1512" y="213"/>
                  <a:pt x="1511" y="213"/>
                </a:cubicBezTo>
                <a:cubicBezTo>
                  <a:pt x="1511" y="213"/>
                  <a:pt x="1511" y="214"/>
                  <a:pt x="1511" y="214"/>
                </a:cubicBezTo>
                <a:cubicBezTo>
                  <a:pt x="1512" y="214"/>
                  <a:pt x="1513" y="214"/>
                  <a:pt x="1513" y="213"/>
                </a:cubicBezTo>
                <a:cubicBezTo>
                  <a:pt x="1513" y="213"/>
                  <a:pt x="1513" y="213"/>
                  <a:pt x="1513" y="213"/>
                </a:cubicBezTo>
                <a:cubicBezTo>
                  <a:pt x="1514" y="212"/>
                  <a:pt x="1514" y="212"/>
                  <a:pt x="1514" y="212"/>
                </a:cubicBezTo>
                <a:cubicBezTo>
                  <a:pt x="1515" y="211"/>
                  <a:pt x="1515" y="212"/>
                  <a:pt x="1515" y="212"/>
                </a:cubicBezTo>
                <a:cubicBezTo>
                  <a:pt x="1516" y="212"/>
                  <a:pt x="1516" y="213"/>
                  <a:pt x="1516" y="213"/>
                </a:cubicBezTo>
                <a:cubicBezTo>
                  <a:pt x="1516" y="213"/>
                  <a:pt x="1517" y="213"/>
                  <a:pt x="1517" y="213"/>
                </a:cubicBezTo>
                <a:cubicBezTo>
                  <a:pt x="1517" y="214"/>
                  <a:pt x="1518" y="213"/>
                  <a:pt x="1518" y="214"/>
                </a:cubicBezTo>
                <a:cubicBezTo>
                  <a:pt x="1519" y="214"/>
                  <a:pt x="1521" y="214"/>
                  <a:pt x="1523" y="213"/>
                </a:cubicBezTo>
                <a:cubicBezTo>
                  <a:pt x="1524" y="213"/>
                  <a:pt x="1523" y="213"/>
                  <a:pt x="1524" y="214"/>
                </a:cubicBezTo>
                <a:cubicBezTo>
                  <a:pt x="1524" y="214"/>
                  <a:pt x="1524" y="214"/>
                  <a:pt x="1524" y="215"/>
                </a:cubicBezTo>
                <a:cubicBezTo>
                  <a:pt x="1525" y="215"/>
                  <a:pt x="1525" y="214"/>
                  <a:pt x="1526" y="214"/>
                </a:cubicBezTo>
                <a:cubicBezTo>
                  <a:pt x="1526" y="214"/>
                  <a:pt x="1525" y="213"/>
                  <a:pt x="1525" y="213"/>
                </a:cubicBezTo>
                <a:cubicBezTo>
                  <a:pt x="1525" y="212"/>
                  <a:pt x="1526" y="212"/>
                  <a:pt x="1526" y="212"/>
                </a:cubicBezTo>
                <a:cubicBezTo>
                  <a:pt x="1525" y="211"/>
                  <a:pt x="1526" y="211"/>
                  <a:pt x="1526" y="210"/>
                </a:cubicBezTo>
                <a:cubicBezTo>
                  <a:pt x="1527" y="209"/>
                  <a:pt x="1530" y="210"/>
                  <a:pt x="1530" y="211"/>
                </a:cubicBezTo>
                <a:cubicBezTo>
                  <a:pt x="1532" y="211"/>
                  <a:pt x="1533" y="211"/>
                  <a:pt x="1534" y="210"/>
                </a:cubicBezTo>
                <a:cubicBezTo>
                  <a:pt x="1534" y="211"/>
                  <a:pt x="1535" y="212"/>
                  <a:pt x="1535" y="211"/>
                </a:cubicBezTo>
                <a:cubicBezTo>
                  <a:pt x="1536" y="211"/>
                  <a:pt x="1536" y="211"/>
                  <a:pt x="1536" y="210"/>
                </a:cubicBezTo>
                <a:cubicBezTo>
                  <a:pt x="1536" y="210"/>
                  <a:pt x="1536" y="210"/>
                  <a:pt x="1537" y="210"/>
                </a:cubicBezTo>
                <a:cubicBezTo>
                  <a:pt x="1538" y="210"/>
                  <a:pt x="1538" y="209"/>
                  <a:pt x="1539" y="210"/>
                </a:cubicBezTo>
                <a:cubicBezTo>
                  <a:pt x="1539" y="211"/>
                  <a:pt x="1539" y="211"/>
                  <a:pt x="1540" y="212"/>
                </a:cubicBezTo>
                <a:cubicBezTo>
                  <a:pt x="1540" y="212"/>
                  <a:pt x="1540" y="213"/>
                  <a:pt x="1540" y="213"/>
                </a:cubicBezTo>
                <a:cubicBezTo>
                  <a:pt x="1541" y="213"/>
                  <a:pt x="1541" y="213"/>
                  <a:pt x="1541" y="214"/>
                </a:cubicBezTo>
                <a:cubicBezTo>
                  <a:pt x="1541" y="215"/>
                  <a:pt x="1537" y="214"/>
                  <a:pt x="1536" y="214"/>
                </a:cubicBezTo>
                <a:cubicBezTo>
                  <a:pt x="1536" y="215"/>
                  <a:pt x="1537" y="218"/>
                  <a:pt x="1538" y="218"/>
                </a:cubicBezTo>
                <a:cubicBezTo>
                  <a:pt x="1538" y="218"/>
                  <a:pt x="1538" y="218"/>
                  <a:pt x="1538" y="218"/>
                </a:cubicBezTo>
                <a:cubicBezTo>
                  <a:pt x="1539" y="218"/>
                  <a:pt x="1541" y="218"/>
                  <a:pt x="1542" y="217"/>
                </a:cubicBezTo>
                <a:cubicBezTo>
                  <a:pt x="1542" y="217"/>
                  <a:pt x="1542" y="216"/>
                  <a:pt x="1542" y="216"/>
                </a:cubicBezTo>
                <a:cubicBezTo>
                  <a:pt x="1543" y="216"/>
                  <a:pt x="1544" y="217"/>
                  <a:pt x="1545" y="217"/>
                </a:cubicBezTo>
                <a:cubicBezTo>
                  <a:pt x="1546" y="216"/>
                  <a:pt x="1545" y="216"/>
                  <a:pt x="1546" y="216"/>
                </a:cubicBezTo>
                <a:cubicBezTo>
                  <a:pt x="1547" y="215"/>
                  <a:pt x="1547" y="215"/>
                  <a:pt x="1548" y="215"/>
                </a:cubicBezTo>
                <a:cubicBezTo>
                  <a:pt x="1548" y="214"/>
                  <a:pt x="1549" y="214"/>
                  <a:pt x="1549" y="214"/>
                </a:cubicBezTo>
                <a:cubicBezTo>
                  <a:pt x="1549" y="215"/>
                  <a:pt x="1549" y="214"/>
                  <a:pt x="1549" y="215"/>
                </a:cubicBezTo>
                <a:cubicBezTo>
                  <a:pt x="1549" y="215"/>
                  <a:pt x="1549" y="215"/>
                  <a:pt x="1549" y="216"/>
                </a:cubicBezTo>
                <a:cubicBezTo>
                  <a:pt x="1550" y="216"/>
                  <a:pt x="1551" y="215"/>
                  <a:pt x="1551" y="215"/>
                </a:cubicBezTo>
                <a:cubicBezTo>
                  <a:pt x="1552" y="214"/>
                  <a:pt x="1552" y="215"/>
                  <a:pt x="1553" y="215"/>
                </a:cubicBezTo>
                <a:cubicBezTo>
                  <a:pt x="1553" y="214"/>
                  <a:pt x="1554" y="214"/>
                  <a:pt x="1554" y="214"/>
                </a:cubicBezTo>
                <a:cubicBezTo>
                  <a:pt x="1554" y="213"/>
                  <a:pt x="1554" y="212"/>
                  <a:pt x="1554" y="212"/>
                </a:cubicBezTo>
                <a:cubicBezTo>
                  <a:pt x="1553" y="212"/>
                  <a:pt x="1552" y="212"/>
                  <a:pt x="1551" y="212"/>
                </a:cubicBezTo>
                <a:cubicBezTo>
                  <a:pt x="1550" y="213"/>
                  <a:pt x="1550" y="213"/>
                  <a:pt x="1549" y="212"/>
                </a:cubicBezTo>
                <a:cubicBezTo>
                  <a:pt x="1549" y="212"/>
                  <a:pt x="1549" y="211"/>
                  <a:pt x="1550" y="210"/>
                </a:cubicBezTo>
                <a:cubicBezTo>
                  <a:pt x="1550" y="210"/>
                  <a:pt x="1549" y="209"/>
                  <a:pt x="1549" y="208"/>
                </a:cubicBezTo>
                <a:cubicBezTo>
                  <a:pt x="1550" y="209"/>
                  <a:pt x="1550" y="209"/>
                  <a:pt x="1551" y="209"/>
                </a:cubicBezTo>
                <a:cubicBezTo>
                  <a:pt x="1551" y="208"/>
                  <a:pt x="1551" y="209"/>
                  <a:pt x="1551" y="208"/>
                </a:cubicBezTo>
                <a:cubicBezTo>
                  <a:pt x="1551" y="208"/>
                  <a:pt x="1551" y="208"/>
                  <a:pt x="1551" y="207"/>
                </a:cubicBezTo>
                <a:cubicBezTo>
                  <a:pt x="1551" y="207"/>
                  <a:pt x="1551" y="206"/>
                  <a:pt x="1552" y="206"/>
                </a:cubicBezTo>
                <a:cubicBezTo>
                  <a:pt x="1552" y="206"/>
                  <a:pt x="1552" y="206"/>
                  <a:pt x="1552" y="205"/>
                </a:cubicBezTo>
                <a:cubicBezTo>
                  <a:pt x="1552" y="205"/>
                  <a:pt x="1553" y="205"/>
                  <a:pt x="1553" y="205"/>
                </a:cubicBezTo>
                <a:cubicBezTo>
                  <a:pt x="1554" y="205"/>
                  <a:pt x="1555" y="204"/>
                  <a:pt x="1556" y="203"/>
                </a:cubicBezTo>
                <a:cubicBezTo>
                  <a:pt x="1556" y="204"/>
                  <a:pt x="1557" y="203"/>
                  <a:pt x="1558" y="203"/>
                </a:cubicBezTo>
                <a:cubicBezTo>
                  <a:pt x="1558" y="202"/>
                  <a:pt x="1558" y="202"/>
                  <a:pt x="1559" y="201"/>
                </a:cubicBezTo>
                <a:cubicBezTo>
                  <a:pt x="1559" y="201"/>
                  <a:pt x="1559" y="201"/>
                  <a:pt x="1559" y="200"/>
                </a:cubicBezTo>
                <a:cubicBezTo>
                  <a:pt x="1559" y="199"/>
                  <a:pt x="1559" y="199"/>
                  <a:pt x="1560" y="199"/>
                </a:cubicBezTo>
                <a:cubicBezTo>
                  <a:pt x="1561" y="198"/>
                  <a:pt x="1562" y="198"/>
                  <a:pt x="1562" y="197"/>
                </a:cubicBezTo>
                <a:cubicBezTo>
                  <a:pt x="1562" y="197"/>
                  <a:pt x="1563" y="197"/>
                  <a:pt x="1563" y="197"/>
                </a:cubicBezTo>
                <a:cubicBezTo>
                  <a:pt x="1563" y="197"/>
                  <a:pt x="1563" y="197"/>
                  <a:pt x="1563" y="197"/>
                </a:cubicBezTo>
                <a:cubicBezTo>
                  <a:pt x="1564" y="197"/>
                  <a:pt x="1564" y="196"/>
                  <a:pt x="1565" y="196"/>
                </a:cubicBezTo>
                <a:cubicBezTo>
                  <a:pt x="1566" y="196"/>
                  <a:pt x="1566" y="195"/>
                  <a:pt x="1567" y="195"/>
                </a:cubicBezTo>
                <a:cubicBezTo>
                  <a:pt x="1567" y="195"/>
                  <a:pt x="1568" y="195"/>
                  <a:pt x="1569" y="195"/>
                </a:cubicBezTo>
                <a:cubicBezTo>
                  <a:pt x="1569" y="195"/>
                  <a:pt x="1570" y="195"/>
                  <a:pt x="1570" y="195"/>
                </a:cubicBezTo>
                <a:cubicBezTo>
                  <a:pt x="1571" y="194"/>
                  <a:pt x="1571" y="195"/>
                  <a:pt x="1572" y="195"/>
                </a:cubicBezTo>
                <a:cubicBezTo>
                  <a:pt x="1572" y="194"/>
                  <a:pt x="1574" y="194"/>
                  <a:pt x="1574" y="195"/>
                </a:cubicBezTo>
                <a:cubicBezTo>
                  <a:pt x="1574" y="196"/>
                  <a:pt x="1574" y="196"/>
                  <a:pt x="1575" y="196"/>
                </a:cubicBezTo>
                <a:cubicBezTo>
                  <a:pt x="1575" y="196"/>
                  <a:pt x="1575" y="197"/>
                  <a:pt x="1576" y="197"/>
                </a:cubicBezTo>
                <a:cubicBezTo>
                  <a:pt x="1576" y="196"/>
                  <a:pt x="1577" y="196"/>
                  <a:pt x="1577" y="196"/>
                </a:cubicBezTo>
                <a:cubicBezTo>
                  <a:pt x="1577" y="196"/>
                  <a:pt x="1578" y="195"/>
                  <a:pt x="1578" y="195"/>
                </a:cubicBezTo>
                <a:cubicBezTo>
                  <a:pt x="1579" y="195"/>
                  <a:pt x="1578" y="195"/>
                  <a:pt x="1579" y="195"/>
                </a:cubicBezTo>
                <a:cubicBezTo>
                  <a:pt x="1579" y="195"/>
                  <a:pt x="1579" y="196"/>
                  <a:pt x="1579" y="196"/>
                </a:cubicBezTo>
                <a:cubicBezTo>
                  <a:pt x="1579" y="197"/>
                  <a:pt x="1579" y="198"/>
                  <a:pt x="1578" y="198"/>
                </a:cubicBezTo>
                <a:cubicBezTo>
                  <a:pt x="1578" y="199"/>
                  <a:pt x="1577" y="200"/>
                  <a:pt x="1577" y="202"/>
                </a:cubicBezTo>
                <a:cubicBezTo>
                  <a:pt x="1577" y="202"/>
                  <a:pt x="1578" y="202"/>
                  <a:pt x="1579" y="201"/>
                </a:cubicBezTo>
                <a:cubicBezTo>
                  <a:pt x="1579" y="201"/>
                  <a:pt x="1579" y="200"/>
                  <a:pt x="1580" y="200"/>
                </a:cubicBezTo>
                <a:cubicBezTo>
                  <a:pt x="1580" y="201"/>
                  <a:pt x="1580" y="202"/>
                  <a:pt x="1579" y="202"/>
                </a:cubicBezTo>
                <a:cubicBezTo>
                  <a:pt x="1578" y="203"/>
                  <a:pt x="1578" y="203"/>
                  <a:pt x="1579" y="204"/>
                </a:cubicBezTo>
                <a:cubicBezTo>
                  <a:pt x="1579" y="204"/>
                  <a:pt x="1580" y="203"/>
                  <a:pt x="1581" y="203"/>
                </a:cubicBezTo>
                <a:cubicBezTo>
                  <a:pt x="1581" y="202"/>
                  <a:pt x="1581" y="202"/>
                  <a:pt x="1582" y="202"/>
                </a:cubicBezTo>
                <a:cubicBezTo>
                  <a:pt x="1583" y="202"/>
                  <a:pt x="1582" y="201"/>
                  <a:pt x="1583" y="201"/>
                </a:cubicBezTo>
                <a:cubicBezTo>
                  <a:pt x="1584" y="201"/>
                  <a:pt x="1583" y="200"/>
                  <a:pt x="1584" y="200"/>
                </a:cubicBezTo>
                <a:cubicBezTo>
                  <a:pt x="1584" y="199"/>
                  <a:pt x="1585" y="199"/>
                  <a:pt x="1585" y="199"/>
                </a:cubicBezTo>
                <a:cubicBezTo>
                  <a:pt x="1585" y="199"/>
                  <a:pt x="1585" y="198"/>
                  <a:pt x="1585" y="198"/>
                </a:cubicBezTo>
                <a:cubicBezTo>
                  <a:pt x="1585" y="198"/>
                  <a:pt x="1586" y="198"/>
                  <a:pt x="1586" y="197"/>
                </a:cubicBezTo>
                <a:cubicBezTo>
                  <a:pt x="1586" y="197"/>
                  <a:pt x="1586" y="197"/>
                  <a:pt x="1586" y="197"/>
                </a:cubicBezTo>
                <a:cubicBezTo>
                  <a:pt x="1586" y="196"/>
                  <a:pt x="1587" y="197"/>
                  <a:pt x="1587" y="196"/>
                </a:cubicBezTo>
                <a:cubicBezTo>
                  <a:pt x="1588" y="196"/>
                  <a:pt x="1589" y="196"/>
                  <a:pt x="1588" y="195"/>
                </a:cubicBezTo>
                <a:cubicBezTo>
                  <a:pt x="1589" y="195"/>
                  <a:pt x="1590" y="195"/>
                  <a:pt x="1591" y="196"/>
                </a:cubicBezTo>
                <a:cubicBezTo>
                  <a:pt x="1591" y="195"/>
                  <a:pt x="1591" y="195"/>
                  <a:pt x="1591" y="196"/>
                </a:cubicBezTo>
                <a:cubicBezTo>
                  <a:pt x="1591" y="197"/>
                  <a:pt x="1591" y="197"/>
                  <a:pt x="1593" y="197"/>
                </a:cubicBezTo>
                <a:cubicBezTo>
                  <a:pt x="1592" y="196"/>
                  <a:pt x="1593" y="196"/>
                  <a:pt x="1594" y="196"/>
                </a:cubicBezTo>
                <a:cubicBezTo>
                  <a:pt x="1594" y="196"/>
                  <a:pt x="1594" y="195"/>
                  <a:pt x="1594" y="195"/>
                </a:cubicBezTo>
                <a:cubicBezTo>
                  <a:pt x="1593" y="195"/>
                  <a:pt x="1593" y="192"/>
                  <a:pt x="1593" y="191"/>
                </a:cubicBezTo>
                <a:cubicBezTo>
                  <a:pt x="1593" y="191"/>
                  <a:pt x="1594" y="192"/>
                  <a:pt x="1594" y="191"/>
                </a:cubicBezTo>
                <a:cubicBezTo>
                  <a:pt x="1594" y="190"/>
                  <a:pt x="1594" y="190"/>
                  <a:pt x="1594" y="189"/>
                </a:cubicBezTo>
                <a:cubicBezTo>
                  <a:pt x="1594" y="189"/>
                  <a:pt x="1594" y="189"/>
                  <a:pt x="1594" y="189"/>
                </a:cubicBezTo>
                <a:cubicBezTo>
                  <a:pt x="1594" y="189"/>
                  <a:pt x="1595" y="189"/>
                  <a:pt x="1595" y="189"/>
                </a:cubicBezTo>
                <a:cubicBezTo>
                  <a:pt x="1596" y="189"/>
                  <a:pt x="1596" y="189"/>
                  <a:pt x="1596" y="189"/>
                </a:cubicBezTo>
                <a:cubicBezTo>
                  <a:pt x="1597" y="189"/>
                  <a:pt x="1596" y="188"/>
                  <a:pt x="1597" y="188"/>
                </a:cubicBezTo>
                <a:cubicBezTo>
                  <a:pt x="1597" y="188"/>
                  <a:pt x="1598" y="188"/>
                  <a:pt x="1598" y="188"/>
                </a:cubicBezTo>
                <a:cubicBezTo>
                  <a:pt x="1598" y="188"/>
                  <a:pt x="1598" y="188"/>
                  <a:pt x="1598" y="188"/>
                </a:cubicBezTo>
                <a:cubicBezTo>
                  <a:pt x="1599" y="188"/>
                  <a:pt x="1599" y="189"/>
                  <a:pt x="1600" y="189"/>
                </a:cubicBezTo>
                <a:cubicBezTo>
                  <a:pt x="1601" y="190"/>
                  <a:pt x="1603" y="190"/>
                  <a:pt x="1603" y="191"/>
                </a:cubicBezTo>
                <a:cubicBezTo>
                  <a:pt x="1601" y="191"/>
                  <a:pt x="1600" y="190"/>
                  <a:pt x="1598" y="191"/>
                </a:cubicBezTo>
                <a:cubicBezTo>
                  <a:pt x="1598" y="191"/>
                  <a:pt x="1597" y="192"/>
                  <a:pt x="1597" y="192"/>
                </a:cubicBezTo>
                <a:cubicBezTo>
                  <a:pt x="1597" y="193"/>
                  <a:pt x="1597" y="195"/>
                  <a:pt x="1597" y="196"/>
                </a:cubicBezTo>
                <a:cubicBezTo>
                  <a:pt x="1597" y="196"/>
                  <a:pt x="1597" y="197"/>
                  <a:pt x="1597" y="197"/>
                </a:cubicBezTo>
                <a:cubicBezTo>
                  <a:pt x="1596" y="197"/>
                  <a:pt x="1596" y="199"/>
                  <a:pt x="1595" y="200"/>
                </a:cubicBezTo>
                <a:cubicBezTo>
                  <a:pt x="1596" y="200"/>
                  <a:pt x="1596" y="200"/>
                  <a:pt x="1596" y="201"/>
                </a:cubicBezTo>
                <a:cubicBezTo>
                  <a:pt x="1596" y="201"/>
                  <a:pt x="1595" y="201"/>
                  <a:pt x="1595" y="201"/>
                </a:cubicBezTo>
                <a:cubicBezTo>
                  <a:pt x="1595" y="201"/>
                  <a:pt x="1595" y="202"/>
                  <a:pt x="1595" y="202"/>
                </a:cubicBezTo>
                <a:cubicBezTo>
                  <a:pt x="1595" y="203"/>
                  <a:pt x="1594" y="203"/>
                  <a:pt x="1593" y="203"/>
                </a:cubicBezTo>
                <a:cubicBezTo>
                  <a:pt x="1592" y="203"/>
                  <a:pt x="1591" y="203"/>
                  <a:pt x="1591" y="203"/>
                </a:cubicBezTo>
                <a:cubicBezTo>
                  <a:pt x="1591" y="203"/>
                  <a:pt x="1590" y="202"/>
                  <a:pt x="1590" y="203"/>
                </a:cubicBezTo>
                <a:cubicBezTo>
                  <a:pt x="1590" y="203"/>
                  <a:pt x="1590" y="203"/>
                  <a:pt x="1590" y="203"/>
                </a:cubicBezTo>
                <a:cubicBezTo>
                  <a:pt x="1589" y="203"/>
                  <a:pt x="1589" y="203"/>
                  <a:pt x="1589" y="204"/>
                </a:cubicBezTo>
                <a:cubicBezTo>
                  <a:pt x="1588" y="204"/>
                  <a:pt x="1588" y="204"/>
                  <a:pt x="1587" y="204"/>
                </a:cubicBezTo>
                <a:cubicBezTo>
                  <a:pt x="1586" y="204"/>
                  <a:pt x="1586" y="204"/>
                  <a:pt x="1586" y="204"/>
                </a:cubicBezTo>
                <a:cubicBezTo>
                  <a:pt x="1585" y="204"/>
                  <a:pt x="1586" y="205"/>
                  <a:pt x="1585" y="205"/>
                </a:cubicBezTo>
                <a:cubicBezTo>
                  <a:pt x="1585" y="206"/>
                  <a:pt x="1586" y="205"/>
                  <a:pt x="1586" y="206"/>
                </a:cubicBezTo>
                <a:cubicBezTo>
                  <a:pt x="1586" y="208"/>
                  <a:pt x="1585" y="207"/>
                  <a:pt x="1584" y="208"/>
                </a:cubicBezTo>
                <a:cubicBezTo>
                  <a:pt x="1584" y="208"/>
                  <a:pt x="1584" y="209"/>
                  <a:pt x="1584" y="209"/>
                </a:cubicBezTo>
                <a:cubicBezTo>
                  <a:pt x="1584" y="210"/>
                  <a:pt x="1584" y="209"/>
                  <a:pt x="1583" y="209"/>
                </a:cubicBezTo>
                <a:cubicBezTo>
                  <a:pt x="1583" y="210"/>
                  <a:pt x="1583" y="210"/>
                  <a:pt x="1583" y="211"/>
                </a:cubicBezTo>
                <a:cubicBezTo>
                  <a:pt x="1582" y="211"/>
                  <a:pt x="1583" y="211"/>
                  <a:pt x="1582" y="212"/>
                </a:cubicBezTo>
                <a:cubicBezTo>
                  <a:pt x="1581" y="212"/>
                  <a:pt x="1579" y="213"/>
                  <a:pt x="1579" y="213"/>
                </a:cubicBezTo>
                <a:cubicBezTo>
                  <a:pt x="1579" y="214"/>
                  <a:pt x="1580" y="214"/>
                  <a:pt x="1579" y="214"/>
                </a:cubicBezTo>
                <a:cubicBezTo>
                  <a:pt x="1578" y="215"/>
                  <a:pt x="1577" y="215"/>
                  <a:pt x="1577" y="216"/>
                </a:cubicBezTo>
                <a:cubicBezTo>
                  <a:pt x="1577" y="216"/>
                  <a:pt x="1576" y="217"/>
                  <a:pt x="1576" y="217"/>
                </a:cubicBezTo>
                <a:cubicBezTo>
                  <a:pt x="1576" y="218"/>
                  <a:pt x="1576" y="218"/>
                  <a:pt x="1575" y="219"/>
                </a:cubicBezTo>
                <a:cubicBezTo>
                  <a:pt x="1574" y="220"/>
                  <a:pt x="1573" y="221"/>
                  <a:pt x="1572" y="222"/>
                </a:cubicBezTo>
                <a:cubicBezTo>
                  <a:pt x="1572" y="222"/>
                  <a:pt x="1571" y="221"/>
                  <a:pt x="1571" y="222"/>
                </a:cubicBezTo>
                <a:cubicBezTo>
                  <a:pt x="1571" y="222"/>
                  <a:pt x="1571" y="223"/>
                  <a:pt x="1570" y="223"/>
                </a:cubicBezTo>
                <a:cubicBezTo>
                  <a:pt x="1570" y="224"/>
                  <a:pt x="1569" y="224"/>
                  <a:pt x="1568" y="224"/>
                </a:cubicBezTo>
                <a:cubicBezTo>
                  <a:pt x="1567" y="224"/>
                  <a:pt x="1567" y="224"/>
                  <a:pt x="1566" y="225"/>
                </a:cubicBezTo>
                <a:cubicBezTo>
                  <a:pt x="1566" y="225"/>
                  <a:pt x="1566" y="225"/>
                  <a:pt x="1565" y="225"/>
                </a:cubicBezTo>
                <a:cubicBezTo>
                  <a:pt x="1565" y="225"/>
                  <a:pt x="1564" y="226"/>
                  <a:pt x="1564" y="225"/>
                </a:cubicBezTo>
                <a:cubicBezTo>
                  <a:pt x="1563" y="225"/>
                  <a:pt x="1562" y="225"/>
                  <a:pt x="1562" y="225"/>
                </a:cubicBezTo>
                <a:cubicBezTo>
                  <a:pt x="1562" y="226"/>
                  <a:pt x="1562" y="226"/>
                  <a:pt x="1563" y="227"/>
                </a:cubicBezTo>
                <a:cubicBezTo>
                  <a:pt x="1563" y="227"/>
                  <a:pt x="1563" y="229"/>
                  <a:pt x="1563" y="229"/>
                </a:cubicBezTo>
                <a:cubicBezTo>
                  <a:pt x="1562" y="229"/>
                  <a:pt x="1562" y="232"/>
                  <a:pt x="1562" y="233"/>
                </a:cubicBezTo>
                <a:cubicBezTo>
                  <a:pt x="1561" y="233"/>
                  <a:pt x="1561" y="233"/>
                  <a:pt x="1560" y="233"/>
                </a:cubicBezTo>
                <a:cubicBezTo>
                  <a:pt x="1560" y="233"/>
                  <a:pt x="1560" y="233"/>
                  <a:pt x="1559" y="233"/>
                </a:cubicBezTo>
                <a:cubicBezTo>
                  <a:pt x="1558" y="234"/>
                  <a:pt x="1558" y="235"/>
                  <a:pt x="1558" y="237"/>
                </a:cubicBezTo>
                <a:cubicBezTo>
                  <a:pt x="1558" y="238"/>
                  <a:pt x="1557" y="238"/>
                  <a:pt x="1557" y="239"/>
                </a:cubicBezTo>
                <a:cubicBezTo>
                  <a:pt x="1557" y="240"/>
                  <a:pt x="1557" y="239"/>
                  <a:pt x="1557" y="240"/>
                </a:cubicBezTo>
                <a:cubicBezTo>
                  <a:pt x="1557" y="240"/>
                  <a:pt x="1557" y="241"/>
                  <a:pt x="1556" y="241"/>
                </a:cubicBezTo>
                <a:cubicBezTo>
                  <a:pt x="1556" y="243"/>
                  <a:pt x="1556" y="245"/>
                  <a:pt x="1556" y="247"/>
                </a:cubicBezTo>
                <a:cubicBezTo>
                  <a:pt x="1556" y="248"/>
                  <a:pt x="1557" y="248"/>
                  <a:pt x="1557" y="249"/>
                </a:cubicBezTo>
                <a:cubicBezTo>
                  <a:pt x="1557" y="250"/>
                  <a:pt x="1557" y="250"/>
                  <a:pt x="1557" y="250"/>
                </a:cubicBezTo>
                <a:cubicBezTo>
                  <a:pt x="1557" y="251"/>
                  <a:pt x="1557" y="251"/>
                  <a:pt x="1558" y="251"/>
                </a:cubicBezTo>
                <a:cubicBezTo>
                  <a:pt x="1558" y="252"/>
                  <a:pt x="1557" y="253"/>
                  <a:pt x="1558" y="253"/>
                </a:cubicBezTo>
                <a:cubicBezTo>
                  <a:pt x="1558" y="254"/>
                  <a:pt x="1558" y="255"/>
                  <a:pt x="1558" y="255"/>
                </a:cubicBezTo>
                <a:cubicBezTo>
                  <a:pt x="1559" y="255"/>
                  <a:pt x="1557" y="258"/>
                  <a:pt x="1558" y="258"/>
                </a:cubicBezTo>
                <a:cubicBezTo>
                  <a:pt x="1558" y="259"/>
                  <a:pt x="1558" y="260"/>
                  <a:pt x="1558" y="261"/>
                </a:cubicBezTo>
                <a:cubicBezTo>
                  <a:pt x="1559" y="261"/>
                  <a:pt x="1559" y="265"/>
                  <a:pt x="1559" y="266"/>
                </a:cubicBezTo>
                <a:cubicBezTo>
                  <a:pt x="1560" y="266"/>
                  <a:pt x="1560" y="266"/>
                  <a:pt x="1560" y="267"/>
                </a:cubicBezTo>
                <a:cubicBezTo>
                  <a:pt x="1560" y="267"/>
                  <a:pt x="1560" y="267"/>
                  <a:pt x="1560" y="267"/>
                </a:cubicBezTo>
                <a:cubicBezTo>
                  <a:pt x="1560" y="267"/>
                  <a:pt x="1561" y="267"/>
                  <a:pt x="1560" y="268"/>
                </a:cubicBezTo>
                <a:cubicBezTo>
                  <a:pt x="1560" y="269"/>
                  <a:pt x="1560" y="269"/>
                  <a:pt x="1561" y="270"/>
                </a:cubicBezTo>
                <a:cubicBezTo>
                  <a:pt x="1561" y="270"/>
                  <a:pt x="1561" y="271"/>
                  <a:pt x="1561" y="271"/>
                </a:cubicBezTo>
                <a:cubicBezTo>
                  <a:pt x="1560" y="272"/>
                  <a:pt x="1560" y="272"/>
                  <a:pt x="1560" y="272"/>
                </a:cubicBezTo>
                <a:cubicBezTo>
                  <a:pt x="1561" y="273"/>
                  <a:pt x="1561" y="274"/>
                  <a:pt x="1561" y="275"/>
                </a:cubicBezTo>
                <a:cubicBezTo>
                  <a:pt x="1563" y="275"/>
                  <a:pt x="1563" y="274"/>
                  <a:pt x="1565" y="273"/>
                </a:cubicBezTo>
                <a:cubicBezTo>
                  <a:pt x="1565" y="273"/>
                  <a:pt x="1566" y="272"/>
                  <a:pt x="1566" y="272"/>
                </a:cubicBezTo>
                <a:cubicBezTo>
                  <a:pt x="1566" y="271"/>
                  <a:pt x="1568" y="271"/>
                  <a:pt x="1568" y="270"/>
                </a:cubicBezTo>
                <a:cubicBezTo>
                  <a:pt x="1570" y="269"/>
                  <a:pt x="1568" y="264"/>
                  <a:pt x="1570" y="263"/>
                </a:cubicBezTo>
                <a:cubicBezTo>
                  <a:pt x="1570" y="263"/>
                  <a:pt x="1571" y="263"/>
                  <a:pt x="1571" y="263"/>
                </a:cubicBezTo>
                <a:cubicBezTo>
                  <a:pt x="1571" y="262"/>
                  <a:pt x="1575" y="262"/>
                  <a:pt x="1575" y="262"/>
                </a:cubicBezTo>
                <a:cubicBezTo>
                  <a:pt x="1575" y="261"/>
                  <a:pt x="1575" y="260"/>
                  <a:pt x="1575" y="259"/>
                </a:cubicBezTo>
                <a:cubicBezTo>
                  <a:pt x="1575" y="257"/>
                  <a:pt x="1575" y="256"/>
                  <a:pt x="1576" y="255"/>
                </a:cubicBezTo>
                <a:cubicBezTo>
                  <a:pt x="1577" y="255"/>
                  <a:pt x="1576" y="254"/>
                  <a:pt x="1577" y="254"/>
                </a:cubicBezTo>
                <a:cubicBezTo>
                  <a:pt x="1578" y="253"/>
                  <a:pt x="1578" y="254"/>
                  <a:pt x="1578" y="253"/>
                </a:cubicBezTo>
                <a:cubicBezTo>
                  <a:pt x="1578" y="253"/>
                  <a:pt x="1578" y="252"/>
                  <a:pt x="1578" y="253"/>
                </a:cubicBezTo>
                <a:cubicBezTo>
                  <a:pt x="1579" y="253"/>
                  <a:pt x="1579" y="252"/>
                  <a:pt x="1579" y="252"/>
                </a:cubicBezTo>
                <a:cubicBezTo>
                  <a:pt x="1580" y="251"/>
                  <a:pt x="1581" y="251"/>
                  <a:pt x="1581" y="251"/>
                </a:cubicBezTo>
                <a:cubicBezTo>
                  <a:pt x="1582" y="251"/>
                  <a:pt x="1583" y="252"/>
                  <a:pt x="1584" y="252"/>
                </a:cubicBezTo>
                <a:cubicBezTo>
                  <a:pt x="1584" y="252"/>
                  <a:pt x="1585" y="252"/>
                  <a:pt x="1585" y="251"/>
                </a:cubicBezTo>
                <a:cubicBezTo>
                  <a:pt x="1585" y="251"/>
                  <a:pt x="1585" y="251"/>
                  <a:pt x="1585" y="251"/>
                </a:cubicBezTo>
                <a:cubicBezTo>
                  <a:pt x="1585" y="250"/>
                  <a:pt x="1585" y="251"/>
                  <a:pt x="1586" y="250"/>
                </a:cubicBezTo>
                <a:cubicBezTo>
                  <a:pt x="1586" y="250"/>
                  <a:pt x="1586" y="249"/>
                  <a:pt x="1587" y="250"/>
                </a:cubicBezTo>
                <a:cubicBezTo>
                  <a:pt x="1587" y="248"/>
                  <a:pt x="1586" y="247"/>
                  <a:pt x="1585" y="246"/>
                </a:cubicBezTo>
                <a:cubicBezTo>
                  <a:pt x="1584" y="246"/>
                  <a:pt x="1584" y="246"/>
                  <a:pt x="1584" y="245"/>
                </a:cubicBezTo>
                <a:cubicBezTo>
                  <a:pt x="1584" y="245"/>
                  <a:pt x="1584" y="244"/>
                  <a:pt x="1584" y="244"/>
                </a:cubicBezTo>
                <a:cubicBezTo>
                  <a:pt x="1584" y="244"/>
                  <a:pt x="1584" y="244"/>
                  <a:pt x="1584" y="244"/>
                </a:cubicBezTo>
                <a:cubicBezTo>
                  <a:pt x="1585" y="243"/>
                  <a:pt x="1584" y="241"/>
                  <a:pt x="1584" y="240"/>
                </a:cubicBezTo>
                <a:cubicBezTo>
                  <a:pt x="1585" y="240"/>
                  <a:pt x="1588" y="239"/>
                  <a:pt x="1588" y="238"/>
                </a:cubicBezTo>
                <a:cubicBezTo>
                  <a:pt x="1588" y="238"/>
                  <a:pt x="1590" y="239"/>
                  <a:pt x="1590" y="239"/>
                </a:cubicBezTo>
                <a:cubicBezTo>
                  <a:pt x="1592" y="239"/>
                  <a:pt x="1592" y="238"/>
                  <a:pt x="1592" y="236"/>
                </a:cubicBezTo>
                <a:cubicBezTo>
                  <a:pt x="1591" y="236"/>
                  <a:pt x="1590" y="236"/>
                  <a:pt x="1589" y="236"/>
                </a:cubicBezTo>
                <a:cubicBezTo>
                  <a:pt x="1589" y="235"/>
                  <a:pt x="1589" y="235"/>
                  <a:pt x="1589" y="234"/>
                </a:cubicBezTo>
                <a:cubicBezTo>
                  <a:pt x="1588" y="234"/>
                  <a:pt x="1588" y="233"/>
                  <a:pt x="1588" y="233"/>
                </a:cubicBezTo>
                <a:cubicBezTo>
                  <a:pt x="1587" y="232"/>
                  <a:pt x="1588" y="232"/>
                  <a:pt x="1588" y="231"/>
                </a:cubicBezTo>
                <a:cubicBezTo>
                  <a:pt x="1589" y="230"/>
                  <a:pt x="1588" y="229"/>
                  <a:pt x="1589" y="228"/>
                </a:cubicBezTo>
                <a:cubicBezTo>
                  <a:pt x="1591" y="228"/>
                  <a:pt x="1591" y="228"/>
                  <a:pt x="1591" y="226"/>
                </a:cubicBezTo>
                <a:cubicBezTo>
                  <a:pt x="1591" y="225"/>
                  <a:pt x="1592" y="225"/>
                  <a:pt x="1590" y="224"/>
                </a:cubicBezTo>
                <a:cubicBezTo>
                  <a:pt x="1590" y="224"/>
                  <a:pt x="1589" y="224"/>
                  <a:pt x="1588" y="224"/>
                </a:cubicBezTo>
                <a:cubicBezTo>
                  <a:pt x="1588" y="224"/>
                  <a:pt x="1588" y="224"/>
                  <a:pt x="1588" y="224"/>
                </a:cubicBezTo>
                <a:cubicBezTo>
                  <a:pt x="1587" y="224"/>
                  <a:pt x="1587" y="224"/>
                  <a:pt x="1587" y="223"/>
                </a:cubicBezTo>
                <a:cubicBezTo>
                  <a:pt x="1587" y="223"/>
                  <a:pt x="1586" y="223"/>
                  <a:pt x="1586" y="223"/>
                </a:cubicBezTo>
                <a:cubicBezTo>
                  <a:pt x="1586" y="222"/>
                  <a:pt x="1586" y="222"/>
                  <a:pt x="1586" y="222"/>
                </a:cubicBezTo>
                <a:cubicBezTo>
                  <a:pt x="1586" y="220"/>
                  <a:pt x="1587" y="219"/>
                  <a:pt x="1588" y="218"/>
                </a:cubicBezTo>
                <a:cubicBezTo>
                  <a:pt x="1588" y="217"/>
                  <a:pt x="1589" y="216"/>
                  <a:pt x="1590" y="216"/>
                </a:cubicBezTo>
                <a:cubicBezTo>
                  <a:pt x="1591" y="216"/>
                  <a:pt x="1590" y="215"/>
                  <a:pt x="1591" y="214"/>
                </a:cubicBezTo>
                <a:cubicBezTo>
                  <a:pt x="1592" y="215"/>
                  <a:pt x="1592" y="214"/>
                  <a:pt x="1592" y="213"/>
                </a:cubicBezTo>
                <a:cubicBezTo>
                  <a:pt x="1592" y="213"/>
                  <a:pt x="1593" y="213"/>
                  <a:pt x="1593" y="213"/>
                </a:cubicBezTo>
                <a:cubicBezTo>
                  <a:pt x="1593" y="212"/>
                  <a:pt x="1592" y="211"/>
                  <a:pt x="1593" y="211"/>
                </a:cubicBezTo>
                <a:cubicBezTo>
                  <a:pt x="1594" y="210"/>
                  <a:pt x="1594" y="210"/>
                  <a:pt x="1594" y="209"/>
                </a:cubicBezTo>
                <a:cubicBezTo>
                  <a:pt x="1595" y="208"/>
                  <a:pt x="1594" y="208"/>
                  <a:pt x="1595" y="208"/>
                </a:cubicBezTo>
                <a:cubicBezTo>
                  <a:pt x="1596" y="208"/>
                  <a:pt x="1597" y="208"/>
                  <a:pt x="1597" y="209"/>
                </a:cubicBezTo>
                <a:cubicBezTo>
                  <a:pt x="1597" y="209"/>
                  <a:pt x="1598" y="209"/>
                  <a:pt x="1599" y="209"/>
                </a:cubicBezTo>
                <a:cubicBezTo>
                  <a:pt x="1600" y="209"/>
                  <a:pt x="1599" y="209"/>
                  <a:pt x="1600" y="209"/>
                </a:cubicBezTo>
                <a:cubicBezTo>
                  <a:pt x="1601" y="209"/>
                  <a:pt x="1601" y="209"/>
                  <a:pt x="1601" y="208"/>
                </a:cubicBezTo>
                <a:cubicBezTo>
                  <a:pt x="1601" y="207"/>
                  <a:pt x="1603" y="207"/>
                  <a:pt x="1604" y="206"/>
                </a:cubicBezTo>
                <a:cubicBezTo>
                  <a:pt x="1605" y="206"/>
                  <a:pt x="1605" y="205"/>
                  <a:pt x="1606" y="205"/>
                </a:cubicBezTo>
                <a:cubicBezTo>
                  <a:pt x="1606" y="204"/>
                  <a:pt x="1606" y="204"/>
                  <a:pt x="1607" y="204"/>
                </a:cubicBezTo>
                <a:cubicBezTo>
                  <a:pt x="1607" y="204"/>
                  <a:pt x="1606" y="204"/>
                  <a:pt x="1606" y="205"/>
                </a:cubicBezTo>
                <a:cubicBezTo>
                  <a:pt x="1606" y="205"/>
                  <a:pt x="1606" y="206"/>
                  <a:pt x="1606" y="206"/>
                </a:cubicBezTo>
                <a:cubicBezTo>
                  <a:pt x="1606" y="208"/>
                  <a:pt x="1606" y="209"/>
                  <a:pt x="1606" y="210"/>
                </a:cubicBezTo>
                <a:cubicBezTo>
                  <a:pt x="1607" y="210"/>
                  <a:pt x="1607" y="209"/>
                  <a:pt x="1608" y="209"/>
                </a:cubicBezTo>
                <a:cubicBezTo>
                  <a:pt x="1608" y="209"/>
                  <a:pt x="1609" y="208"/>
                  <a:pt x="1609" y="208"/>
                </a:cubicBezTo>
                <a:cubicBezTo>
                  <a:pt x="1609" y="208"/>
                  <a:pt x="1610" y="208"/>
                  <a:pt x="1610" y="208"/>
                </a:cubicBezTo>
                <a:cubicBezTo>
                  <a:pt x="1610" y="207"/>
                  <a:pt x="1610" y="207"/>
                  <a:pt x="1610" y="207"/>
                </a:cubicBezTo>
                <a:cubicBezTo>
                  <a:pt x="1611" y="207"/>
                  <a:pt x="1611" y="205"/>
                  <a:pt x="1611" y="204"/>
                </a:cubicBezTo>
                <a:cubicBezTo>
                  <a:pt x="1612" y="204"/>
                  <a:pt x="1612" y="204"/>
                  <a:pt x="1612" y="205"/>
                </a:cubicBezTo>
                <a:cubicBezTo>
                  <a:pt x="1612" y="204"/>
                  <a:pt x="1614" y="204"/>
                  <a:pt x="1614" y="203"/>
                </a:cubicBezTo>
                <a:cubicBezTo>
                  <a:pt x="1614" y="203"/>
                  <a:pt x="1616" y="203"/>
                  <a:pt x="1617" y="203"/>
                </a:cubicBezTo>
                <a:cubicBezTo>
                  <a:pt x="1617" y="203"/>
                  <a:pt x="1618" y="203"/>
                  <a:pt x="1618" y="203"/>
                </a:cubicBezTo>
                <a:cubicBezTo>
                  <a:pt x="1618" y="204"/>
                  <a:pt x="1618" y="203"/>
                  <a:pt x="1618" y="204"/>
                </a:cubicBezTo>
                <a:cubicBezTo>
                  <a:pt x="1619" y="204"/>
                  <a:pt x="1618" y="204"/>
                  <a:pt x="1619" y="204"/>
                </a:cubicBezTo>
                <a:cubicBezTo>
                  <a:pt x="1619" y="204"/>
                  <a:pt x="1619" y="204"/>
                  <a:pt x="1620" y="205"/>
                </a:cubicBezTo>
                <a:cubicBezTo>
                  <a:pt x="1621" y="205"/>
                  <a:pt x="1622" y="204"/>
                  <a:pt x="1622" y="206"/>
                </a:cubicBezTo>
                <a:cubicBezTo>
                  <a:pt x="1622" y="207"/>
                  <a:pt x="1622" y="207"/>
                  <a:pt x="1623" y="208"/>
                </a:cubicBezTo>
                <a:cubicBezTo>
                  <a:pt x="1623" y="208"/>
                  <a:pt x="1624" y="208"/>
                  <a:pt x="1624" y="209"/>
                </a:cubicBezTo>
                <a:cubicBezTo>
                  <a:pt x="1624" y="209"/>
                  <a:pt x="1626" y="209"/>
                  <a:pt x="1626" y="209"/>
                </a:cubicBezTo>
                <a:cubicBezTo>
                  <a:pt x="1627" y="208"/>
                  <a:pt x="1627" y="207"/>
                  <a:pt x="1627" y="206"/>
                </a:cubicBezTo>
                <a:cubicBezTo>
                  <a:pt x="1627" y="206"/>
                  <a:pt x="1628" y="206"/>
                  <a:pt x="1628" y="206"/>
                </a:cubicBezTo>
                <a:cubicBezTo>
                  <a:pt x="1628" y="205"/>
                  <a:pt x="1628" y="205"/>
                  <a:pt x="1629" y="205"/>
                </a:cubicBezTo>
                <a:cubicBezTo>
                  <a:pt x="1629" y="204"/>
                  <a:pt x="1629" y="204"/>
                  <a:pt x="1629" y="204"/>
                </a:cubicBezTo>
                <a:cubicBezTo>
                  <a:pt x="1630" y="204"/>
                  <a:pt x="1630" y="203"/>
                  <a:pt x="1631" y="203"/>
                </a:cubicBezTo>
                <a:cubicBezTo>
                  <a:pt x="1631" y="203"/>
                  <a:pt x="1632" y="202"/>
                  <a:pt x="1632" y="202"/>
                </a:cubicBezTo>
                <a:cubicBezTo>
                  <a:pt x="1632" y="202"/>
                  <a:pt x="1632" y="201"/>
                  <a:pt x="1632" y="201"/>
                </a:cubicBezTo>
                <a:cubicBezTo>
                  <a:pt x="1632" y="201"/>
                  <a:pt x="1633" y="201"/>
                  <a:pt x="1633" y="200"/>
                </a:cubicBezTo>
                <a:cubicBezTo>
                  <a:pt x="1634" y="200"/>
                  <a:pt x="1634" y="201"/>
                  <a:pt x="1635" y="200"/>
                </a:cubicBezTo>
                <a:cubicBezTo>
                  <a:pt x="1636" y="200"/>
                  <a:pt x="1636" y="199"/>
                  <a:pt x="1637" y="199"/>
                </a:cubicBezTo>
                <a:cubicBezTo>
                  <a:pt x="1637" y="198"/>
                  <a:pt x="1635" y="198"/>
                  <a:pt x="1636" y="197"/>
                </a:cubicBezTo>
                <a:cubicBezTo>
                  <a:pt x="1636" y="197"/>
                  <a:pt x="1637" y="198"/>
                  <a:pt x="1638" y="198"/>
                </a:cubicBezTo>
                <a:cubicBezTo>
                  <a:pt x="1639" y="198"/>
                  <a:pt x="1639" y="198"/>
                  <a:pt x="1640" y="198"/>
                </a:cubicBezTo>
                <a:cubicBezTo>
                  <a:pt x="1641" y="197"/>
                  <a:pt x="1639" y="196"/>
                  <a:pt x="1639" y="195"/>
                </a:cubicBezTo>
                <a:cubicBezTo>
                  <a:pt x="1640" y="196"/>
                  <a:pt x="1641" y="197"/>
                  <a:pt x="1642" y="196"/>
                </a:cubicBezTo>
                <a:cubicBezTo>
                  <a:pt x="1643" y="196"/>
                  <a:pt x="1643" y="195"/>
                  <a:pt x="1643" y="195"/>
                </a:cubicBezTo>
                <a:cubicBezTo>
                  <a:pt x="1644" y="195"/>
                  <a:pt x="1643" y="195"/>
                  <a:pt x="1644" y="195"/>
                </a:cubicBezTo>
                <a:cubicBezTo>
                  <a:pt x="1644" y="195"/>
                  <a:pt x="1645" y="195"/>
                  <a:pt x="1645" y="194"/>
                </a:cubicBezTo>
                <a:cubicBezTo>
                  <a:pt x="1645" y="194"/>
                  <a:pt x="1645" y="194"/>
                  <a:pt x="1646" y="194"/>
                </a:cubicBezTo>
                <a:cubicBezTo>
                  <a:pt x="1646" y="194"/>
                  <a:pt x="1646" y="194"/>
                  <a:pt x="1646" y="194"/>
                </a:cubicBezTo>
                <a:cubicBezTo>
                  <a:pt x="1646" y="194"/>
                  <a:pt x="1647" y="194"/>
                  <a:pt x="1647" y="194"/>
                </a:cubicBezTo>
                <a:cubicBezTo>
                  <a:pt x="1648" y="193"/>
                  <a:pt x="1647" y="193"/>
                  <a:pt x="1648" y="193"/>
                </a:cubicBezTo>
                <a:cubicBezTo>
                  <a:pt x="1649" y="193"/>
                  <a:pt x="1649" y="192"/>
                  <a:pt x="1649" y="192"/>
                </a:cubicBezTo>
                <a:cubicBezTo>
                  <a:pt x="1650" y="192"/>
                  <a:pt x="1650" y="192"/>
                  <a:pt x="1650" y="192"/>
                </a:cubicBezTo>
                <a:cubicBezTo>
                  <a:pt x="1650" y="192"/>
                  <a:pt x="1651" y="192"/>
                  <a:pt x="1651" y="192"/>
                </a:cubicBezTo>
                <a:cubicBezTo>
                  <a:pt x="1651" y="192"/>
                  <a:pt x="1651" y="192"/>
                  <a:pt x="1652" y="192"/>
                </a:cubicBezTo>
                <a:cubicBezTo>
                  <a:pt x="1652" y="192"/>
                  <a:pt x="1652" y="191"/>
                  <a:pt x="1653" y="191"/>
                </a:cubicBezTo>
                <a:cubicBezTo>
                  <a:pt x="1653" y="191"/>
                  <a:pt x="1653" y="191"/>
                  <a:pt x="1653" y="191"/>
                </a:cubicBezTo>
                <a:cubicBezTo>
                  <a:pt x="1653" y="191"/>
                  <a:pt x="1654" y="191"/>
                  <a:pt x="1654" y="191"/>
                </a:cubicBezTo>
                <a:cubicBezTo>
                  <a:pt x="1655" y="191"/>
                  <a:pt x="1656" y="190"/>
                  <a:pt x="1656" y="190"/>
                </a:cubicBezTo>
                <a:cubicBezTo>
                  <a:pt x="1657" y="190"/>
                  <a:pt x="1656" y="191"/>
                  <a:pt x="1658" y="190"/>
                </a:cubicBezTo>
                <a:cubicBezTo>
                  <a:pt x="1659" y="190"/>
                  <a:pt x="1660" y="190"/>
                  <a:pt x="1661" y="190"/>
                </a:cubicBezTo>
                <a:cubicBezTo>
                  <a:pt x="1661" y="190"/>
                  <a:pt x="1661" y="190"/>
                  <a:pt x="1662" y="190"/>
                </a:cubicBezTo>
                <a:cubicBezTo>
                  <a:pt x="1662" y="191"/>
                  <a:pt x="1662" y="191"/>
                  <a:pt x="1663" y="191"/>
                </a:cubicBezTo>
                <a:cubicBezTo>
                  <a:pt x="1663" y="191"/>
                  <a:pt x="1663" y="191"/>
                  <a:pt x="1663" y="191"/>
                </a:cubicBezTo>
                <a:cubicBezTo>
                  <a:pt x="1664" y="191"/>
                  <a:pt x="1665" y="191"/>
                  <a:pt x="1666" y="191"/>
                </a:cubicBezTo>
                <a:cubicBezTo>
                  <a:pt x="1666" y="191"/>
                  <a:pt x="1667" y="190"/>
                  <a:pt x="1668" y="189"/>
                </a:cubicBezTo>
                <a:cubicBezTo>
                  <a:pt x="1668" y="189"/>
                  <a:pt x="1668" y="190"/>
                  <a:pt x="1668" y="189"/>
                </a:cubicBezTo>
                <a:cubicBezTo>
                  <a:pt x="1668" y="188"/>
                  <a:pt x="1667" y="189"/>
                  <a:pt x="1668" y="188"/>
                </a:cubicBezTo>
                <a:cubicBezTo>
                  <a:pt x="1668" y="187"/>
                  <a:pt x="1668" y="187"/>
                  <a:pt x="1667" y="186"/>
                </a:cubicBezTo>
                <a:cubicBezTo>
                  <a:pt x="1667" y="186"/>
                  <a:pt x="1666" y="186"/>
                  <a:pt x="1666" y="186"/>
                </a:cubicBezTo>
                <a:cubicBezTo>
                  <a:pt x="1666" y="186"/>
                  <a:pt x="1665" y="186"/>
                  <a:pt x="1665" y="186"/>
                </a:cubicBezTo>
                <a:cubicBezTo>
                  <a:pt x="1665" y="185"/>
                  <a:pt x="1666" y="185"/>
                  <a:pt x="1666" y="185"/>
                </a:cubicBezTo>
                <a:cubicBezTo>
                  <a:pt x="1665" y="185"/>
                  <a:pt x="1666" y="184"/>
                  <a:pt x="1665" y="184"/>
                </a:cubicBezTo>
                <a:cubicBezTo>
                  <a:pt x="1665" y="184"/>
                  <a:pt x="1665" y="183"/>
                  <a:pt x="1665" y="182"/>
                </a:cubicBezTo>
                <a:cubicBezTo>
                  <a:pt x="1665" y="182"/>
                  <a:pt x="1664" y="182"/>
                  <a:pt x="1664" y="181"/>
                </a:cubicBezTo>
                <a:cubicBezTo>
                  <a:pt x="1664" y="181"/>
                  <a:pt x="1664" y="181"/>
                  <a:pt x="1664" y="180"/>
                </a:cubicBezTo>
                <a:cubicBezTo>
                  <a:pt x="1663" y="180"/>
                  <a:pt x="1663" y="180"/>
                  <a:pt x="1662" y="178"/>
                </a:cubicBezTo>
                <a:cubicBezTo>
                  <a:pt x="1662" y="178"/>
                  <a:pt x="1662" y="177"/>
                  <a:pt x="1661" y="177"/>
                </a:cubicBezTo>
                <a:cubicBezTo>
                  <a:pt x="1661" y="178"/>
                  <a:pt x="1661" y="178"/>
                  <a:pt x="1660" y="178"/>
                </a:cubicBezTo>
                <a:cubicBezTo>
                  <a:pt x="1659" y="179"/>
                  <a:pt x="1658" y="178"/>
                  <a:pt x="1659" y="177"/>
                </a:cubicBezTo>
                <a:cubicBezTo>
                  <a:pt x="1659" y="177"/>
                  <a:pt x="1659" y="177"/>
                  <a:pt x="1659" y="176"/>
                </a:cubicBezTo>
                <a:cubicBezTo>
                  <a:pt x="1659" y="176"/>
                  <a:pt x="1660" y="176"/>
                  <a:pt x="1660" y="176"/>
                </a:cubicBezTo>
                <a:cubicBezTo>
                  <a:pt x="1660" y="175"/>
                  <a:pt x="1660" y="175"/>
                  <a:pt x="1660" y="175"/>
                </a:cubicBezTo>
                <a:cubicBezTo>
                  <a:pt x="1660" y="175"/>
                  <a:pt x="1659" y="175"/>
                  <a:pt x="1659" y="175"/>
                </a:cubicBezTo>
                <a:cubicBezTo>
                  <a:pt x="1659" y="176"/>
                  <a:pt x="1659" y="176"/>
                  <a:pt x="1658" y="176"/>
                </a:cubicBezTo>
                <a:cubicBezTo>
                  <a:pt x="1657" y="176"/>
                  <a:pt x="1657" y="175"/>
                  <a:pt x="1656" y="175"/>
                </a:cubicBezTo>
                <a:cubicBezTo>
                  <a:pt x="1655" y="174"/>
                  <a:pt x="1655" y="175"/>
                  <a:pt x="1653" y="175"/>
                </a:cubicBezTo>
                <a:cubicBezTo>
                  <a:pt x="1652" y="175"/>
                  <a:pt x="1654" y="174"/>
                  <a:pt x="1654" y="173"/>
                </a:cubicBezTo>
                <a:cubicBezTo>
                  <a:pt x="1655" y="174"/>
                  <a:pt x="1657" y="174"/>
                  <a:pt x="1658" y="174"/>
                </a:cubicBezTo>
                <a:cubicBezTo>
                  <a:pt x="1658" y="173"/>
                  <a:pt x="1658" y="173"/>
                  <a:pt x="1659" y="173"/>
                </a:cubicBezTo>
                <a:cubicBezTo>
                  <a:pt x="1659" y="174"/>
                  <a:pt x="1661" y="173"/>
                  <a:pt x="1661" y="174"/>
                </a:cubicBezTo>
                <a:cubicBezTo>
                  <a:pt x="1661" y="174"/>
                  <a:pt x="1661" y="174"/>
                  <a:pt x="1661" y="174"/>
                </a:cubicBezTo>
                <a:cubicBezTo>
                  <a:pt x="1662" y="174"/>
                  <a:pt x="1661" y="174"/>
                  <a:pt x="1661" y="175"/>
                </a:cubicBezTo>
                <a:cubicBezTo>
                  <a:pt x="1663" y="175"/>
                  <a:pt x="1665" y="175"/>
                  <a:pt x="1666" y="175"/>
                </a:cubicBezTo>
                <a:cubicBezTo>
                  <a:pt x="1666" y="175"/>
                  <a:pt x="1667" y="175"/>
                  <a:pt x="1667" y="175"/>
                </a:cubicBezTo>
                <a:cubicBezTo>
                  <a:pt x="1668" y="175"/>
                  <a:pt x="1666" y="174"/>
                  <a:pt x="1668" y="174"/>
                </a:cubicBezTo>
                <a:cubicBezTo>
                  <a:pt x="1668" y="175"/>
                  <a:pt x="1669" y="175"/>
                  <a:pt x="1669" y="175"/>
                </a:cubicBezTo>
                <a:cubicBezTo>
                  <a:pt x="1669" y="174"/>
                  <a:pt x="1669" y="175"/>
                  <a:pt x="1670" y="175"/>
                </a:cubicBezTo>
                <a:cubicBezTo>
                  <a:pt x="1670" y="174"/>
                  <a:pt x="1670" y="174"/>
                  <a:pt x="1671" y="174"/>
                </a:cubicBezTo>
                <a:cubicBezTo>
                  <a:pt x="1671" y="174"/>
                  <a:pt x="1671" y="174"/>
                  <a:pt x="1671" y="173"/>
                </a:cubicBezTo>
                <a:cubicBezTo>
                  <a:pt x="1671" y="173"/>
                  <a:pt x="1671" y="174"/>
                  <a:pt x="1672" y="173"/>
                </a:cubicBezTo>
                <a:cubicBezTo>
                  <a:pt x="1672" y="173"/>
                  <a:pt x="1671" y="173"/>
                  <a:pt x="1672" y="173"/>
                </a:cubicBezTo>
                <a:cubicBezTo>
                  <a:pt x="1673" y="173"/>
                  <a:pt x="1673" y="171"/>
                  <a:pt x="1673" y="170"/>
                </a:cubicBezTo>
                <a:cubicBezTo>
                  <a:pt x="1674" y="169"/>
                  <a:pt x="1675" y="169"/>
                  <a:pt x="1674" y="168"/>
                </a:cubicBezTo>
                <a:cubicBezTo>
                  <a:pt x="1674" y="167"/>
                  <a:pt x="1673" y="168"/>
                  <a:pt x="1673" y="167"/>
                </a:cubicBezTo>
                <a:cubicBezTo>
                  <a:pt x="1672" y="167"/>
                  <a:pt x="1671" y="165"/>
                  <a:pt x="1673" y="165"/>
                </a:cubicBezTo>
                <a:cubicBezTo>
                  <a:pt x="1673" y="164"/>
                  <a:pt x="1673" y="164"/>
                  <a:pt x="1673" y="163"/>
                </a:cubicBezTo>
                <a:cubicBezTo>
                  <a:pt x="1673" y="162"/>
                  <a:pt x="1674" y="162"/>
                  <a:pt x="1674" y="162"/>
                </a:cubicBezTo>
                <a:cubicBezTo>
                  <a:pt x="1675" y="162"/>
                  <a:pt x="1675" y="162"/>
                  <a:pt x="1676" y="162"/>
                </a:cubicBezTo>
                <a:cubicBezTo>
                  <a:pt x="1676" y="162"/>
                  <a:pt x="1676" y="161"/>
                  <a:pt x="1676" y="161"/>
                </a:cubicBezTo>
                <a:cubicBezTo>
                  <a:pt x="1676" y="162"/>
                  <a:pt x="1675" y="163"/>
                  <a:pt x="1675" y="164"/>
                </a:cubicBezTo>
                <a:cubicBezTo>
                  <a:pt x="1676" y="164"/>
                  <a:pt x="1676" y="164"/>
                  <a:pt x="1676" y="164"/>
                </a:cubicBezTo>
                <a:cubicBezTo>
                  <a:pt x="1676" y="165"/>
                  <a:pt x="1676" y="166"/>
                  <a:pt x="1676" y="166"/>
                </a:cubicBezTo>
                <a:cubicBezTo>
                  <a:pt x="1675" y="167"/>
                  <a:pt x="1675" y="167"/>
                  <a:pt x="1675" y="167"/>
                </a:cubicBezTo>
                <a:cubicBezTo>
                  <a:pt x="1675" y="169"/>
                  <a:pt x="1676" y="168"/>
                  <a:pt x="1677" y="169"/>
                </a:cubicBezTo>
                <a:cubicBezTo>
                  <a:pt x="1678" y="169"/>
                  <a:pt x="1678" y="169"/>
                  <a:pt x="1678" y="170"/>
                </a:cubicBezTo>
                <a:cubicBezTo>
                  <a:pt x="1679" y="170"/>
                  <a:pt x="1680" y="170"/>
                  <a:pt x="1681" y="169"/>
                </a:cubicBezTo>
                <a:cubicBezTo>
                  <a:pt x="1681" y="169"/>
                  <a:pt x="1682" y="169"/>
                  <a:pt x="1682" y="169"/>
                </a:cubicBezTo>
                <a:cubicBezTo>
                  <a:pt x="1683" y="169"/>
                  <a:pt x="1683" y="168"/>
                  <a:pt x="1684" y="167"/>
                </a:cubicBezTo>
                <a:cubicBezTo>
                  <a:pt x="1685" y="167"/>
                  <a:pt x="1684" y="168"/>
                  <a:pt x="1685" y="168"/>
                </a:cubicBezTo>
                <a:cubicBezTo>
                  <a:pt x="1686" y="168"/>
                  <a:pt x="1687" y="168"/>
                  <a:pt x="1688" y="168"/>
                </a:cubicBezTo>
                <a:cubicBezTo>
                  <a:pt x="1688" y="168"/>
                  <a:pt x="1690" y="170"/>
                  <a:pt x="1690" y="171"/>
                </a:cubicBezTo>
                <a:cubicBezTo>
                  <a:pt x="1690" y="171"/>
                  <a:pt x="1691" y="171"/>
                  <a:pt x="1691" y="172"/>
                </a:cubicBezTo>
                <a:cubicBezTo>
                  <a:pt x="1691" y="172"/>
                  <a:pt x="1690" y="173"/>
                  <a:pt x="1690" y="173"/>
                </a:cubicBezTo>
                <a:cubicBezTo>
                  <a:pt x="1691" y="174"/>
                  <a:pt x="1693" y="176"/>
                  <a:pt x="1694" y="175"/>
                </a:cubicBezTo>
                <a:cubicBezTo>
                  <a:pt x="1696" y="174"/>
                  <a:pt x="1696" y="176"/>
                  <a:pt x="1697" y="176"/>
                </a:cubicBezTo>
                <a:cubicBezTo>
                  <a:pt x="1698" y="176"/>
                  <a:pt x="1699" y="177"/>
                  <a:pt x="1700" y="178"/>
                </a:cubicBezTo>
                <a:cubicBezTo>
                  <a:pt x="1700" y="179"/>
                  <a:pt x="1701" y="179"/>
                  <a:pt x="1702" y="178"/>
                </a:cubicBezTo>
                <a:cubicBezTo>
                  <a:pt x="1702" y="178"/>
                  <a:pt x="1703" y="177"/>
                  <a:pt x="1704" y="177"/>
                </a:cubicBezTo>
                <a:cubicBezTo>
                  <a:pt x="1704" y="178"/>
                  <a:pt x="1704" y="179"/>
                  <a:pt x="1706" y="179"/>
                </a:cubicBezTo>
                <a:cubicBezTo>
                  <a:pt x="1706" y="179"/>
                  <a:pt x="1706" y="179"/>
                  <a:pt x="1706" y="179"/>
                </a:cubicBezTo>
                <a:close/>
                <a:moveTo>
                  <a:pt x="933" y="65"/>
                </a:moveTo>
                <a:cubicBezTo>
                  <a:pt x="933" y="65"/>
                  <a:pt x="933" y="65"/>
                  <a:pt x="933" y="65"/>
                </a:cubicBezTo>
                <a:cubicBezTo>
                  <a:pt x="933" y="64"/>
                  <a:pt x="933" y="65"/>
                  <a:pt x="933" y="64"/>
                </a:cubicBezTo>
                <a:cubicBezTo>
                  <a:pt x="932" y="64"/>
                  <a:pt x="931" y="65"/>
                  <a:pt x="930" y="65"/>
                </a:cubicBezTo>
                <a:cubicBezTo>
                  <a:pt x="930" y="65"/>
                  <a:pt x="930" y="64"/>
                  <a:pt x="929" y="64"/>
                </a:cubicBezTo>
                <a:cubicBezTo>
                  <a:pt x="929" y="64"/>
                  <a:pt x="929" y="64"/>
                  <a:pt x="929" y="64"/>
                </a:cubicBezTo>
                <a:cubicBezTo>
                  <a:pt x="928" y="64"/>
                  <a:pt x="928" y="63"/>
                  <a:pt x="928" y="63"/>
                </a:cubicBezTo>
                <a:cubicBezTo>
                  <a:pt x="927" y="63"/>
                  <a:pt x="927" y="63"/>
                  <a:pt x="926" y="63"/>
                </a:cubicBezTo>
                <a:cubicBezTo>
                  <a:pt x="925" y="63"/>
                  <a:pt x="926" y="61"/>
                  <a:pt x="925" y="61"/>
                </a:cubicBezTo>
                <a:cubicBezTo>
                  <a:pt x="924" y="61"/>
                  <a:pt x="923" y="61"/>
                  <a:pt x="923" y="62"/>
                </a:cubicBezTo>
                <a:cubicBezTo>
                  <a:pt x="921" y="62"/>
                  <a:pt x="919" y="61"/>
                  <a:pt x="918" y="61"/>
                </a:cubicBezTo>
                <a:cubicBezTo>
                  <a:pt x="917" y="62"/>
                  <a:pt x="916" y="62"/>
                  <a:pt x="916" y="63"/>
                </a:cubicBezTo>
                <a:cubicBezTo>
                  <a:pt x="916" y="64"/>
                  <a:pt x="916" y="64"/>
                  <a:pt x="917" y="65"/>
                </a:cubicBezTo>
                <a:cubicBezTo>
                  <a:pt x="917" y="66"/>
                  <a:pt x="916" y="67"/>
                  <a:pt x="916" y="68"/>
                </a:cubicBezTo>
                <a:cubicBezTo>
                  <a:pt x="918" y="68"/>
                  <a:pt x="920" y="67"/>
                  <a:pt x="922" y="67"/>
                </a:cubicBezTo>
                <a:cubicBezTo>
                  <a:pt x="922" y="67"/>
                  <a:pt x="922" y="68"/>
                  <a:pt x="922" y="69"/>
                </a:cubicBezTo>
                <a:cubicBezTo>
                  <a:pt x="922" y="68"/>
                  <a:pt x="922" y="68"/>
                  <a:pt x="923" y="68"/>
                </a:cubicBezTo>
                <a:cubicBezTo>
                  <a:pt x="924" y="68"/>
                  <a:pt x="923" y="69"/>
                  <a:pt x="923" y="69"/>
                </a:cubicBezTo>
                <a:cubicBezTo>
                  <a:pt x="924" y="69"/>
                  <a:pt x="924" y="68"/>
                  <a:pt x="924" y="68"/>
                </a:cubicBezTo>
                <a:cubicBezTo>
                  <a:pt x="925" y="68"/>
                  <a:pt x="925" y="68"/>
                  <a:pt x="925" y="68"/>
                </a:cubicBezTo>
                <a:cubicBezTo>
                  <a:pt x="925" y="68"/>
                  <a:pt x="927" y="68"/>
                  <a:pt x="927" y="68"/>
                </a:cubicBezTo>
                <a:cubicBezTo>
                  <a:pt x="927" y="68"/>
                  <a:pt x="929" y="67"/>
                  <a:pt x="928" y="67"/>
                </a:cubicBezTo>
                <a:cubicBezTo>
                  <a:pt x="929" y="67"/>
                  <a:pt x="930" y="67"/>
                  <a:pt x="931" y="67"/>
                </a:cubicBezTo>
                <a:cubicBezTo>
                  <a:pt x="932" y="67"/>
                  <a:pt x="933" y="67"/>
                  <a:pt x="933" y="65"/>
                </a:cubicBezTo>
                <a:close/>
                <a:moveTo>
                  <a:pt x="473" y="61"/>
                </a:moveTo>
                <a:cubicBezTo>
                  <a:pt x="473" y="62"/>
                  <a:pt x="473" y="62"/>
                  <a:pt x="474" y="62"/>
                </a:cubicBezTo>
                <a:cubicBezTo>
                  <a:pt x="475" y="62"/>
                  <a:pt x="476" y="62"/>
                  <a:pt x="476" y="61"/>
                </a:cubicBezTo>
                <a:cubicBezTo>
                  <a:pt x="476" y="61"/>
                  <a:pt x="473" y="61"/>
                  <a:pt x="473" y="61"/>
                </a:cubicBezTo>
                <a:cubicBezTo>
                  <a:pt x="473" y="62"/>
                  <a:pt x="473" y="61"/>
                  <a:pt x="473" y="61"/>
                </a:cubicBezTo>
                <a:close/>
                <a:moveTo>
                  <a:pt x="370" y="58"/>
                </a:moveTo>
                <a:cubicBezTo>
                  <a:pt x="370" y="59"/>
                  <a:pt x="369" y="59"/>
                  <a:pt x="368" y="59"/>
                </a:cubicBezTo>
                <a:cubicBezTo>
                  <a:pt x="368" y="59"/>
                  <a:pt x="368" y="59"/>
                  <a:pt x="368" y="59"/>
                </a:cubicBezTo>
                <a:cubicBezTo>
                  <a:pt x="368" y="59"/>
                  <a:pt x="367" y="60"/>
                  <a:pt x="366" y="60"/>
                </a:cubicBezTo>
                <a:cubicBezTo>
                  <a:pt x="366" y="60"/>
                  <a:pt x="367" y="60"/>
                  <a:pt x="366" y="60"/>
                </a:cubicBezTo>
                <a:cubicBezTo>
                  <a:pt x="366" y="60"/>
                  <a:pt x="365" y="60"/>
                  <a:pt x="364" y="60"/>
                </a:cubicBezTo>
                <a:cubicBezTo>
                  <a:pt x="364" y="60"/>
                  <a:pt x="363" y="60"/>
                  <a:pt x="362" y="60"/>
                </a:cubicBezTo>
                <a:cubicBezTo>
                  <a:pt x="362" y="60"/>
                  <a:pt x="361" y="61"/>
                  <a:pt x="360" y="61"/>
                </a:cubicBezTo>
                <a:cubicBezTo>
                  <a:pt x="361" y="62"/>
                  <a:pt x="362" y="61"/>
                  <a:pt x="364" y="61"/>
                </a:cubicBezTo>
                <a:cubicBezTo>
                  <a:pt x="364" y="62"/>
                  <a:pt x="366" y="62"/>
                  <a:pt x="366" y="62"/>
                </a:cubicBezTo>
                <a:cubicBezTo>
                  <a:pt x="367" y="62"/>
                  <a:pt x="366" y="62"/>
                  <a:pt x="367" y="62"/>
                </a:cubicBezTo>
                <a:cubicBezTo>
                  <a:pt x="367" y="62"/>
                  <a:pt x="368" y="62"/>
                  <a:pt x="368" y="62"/>
                </a:cubicBezTo>
                <a:cubicBezTo>
                  <a:pt x="369" y="62"/>
                  <a:pt x="369" y="63"/>
                  <a:pt x="370" y="63"/>
                </a:cubicBezTo>
                <a:cubicBezTo>
                  <a:pt x="370" y="62"/>
                  <a:pt x="371" y="63"/>
                  <a:pt x="371" y="62"/>
                </a:cubicBezTo>
                <a:cubicBezTo>
                  <a:pt x="372" y="62"/>
                  <a:pt x="372" y="63"/>
                  <a:pt x="373" y="63"/>
                </a:cubicBezTo>
                <a:cubicBezTo>
                  <a:pt x="373" y="63"/>
                  <a:pt x="374" y="63"/>
                  <a:pt x="374" y="63"/>
                </a:cubicBezTo>
                <a:cubicBezTo>
                  <a:pt x="374" y="62"/>
                  <a:pt x="375" y="62"/>
                  <a:pt x="375" y="62"/>
                </a:cubicBezTo>
                <a:cubicBezTo>
                  <a:pt x="375" y="61"/>
                  <a:pt x="376" y="61"/>
                  <a:pt x="377" y="61"/>
                </a:cubicBezTo>
                <a:cubicBezTo>
                  <a:pt x="377" y="61"/>
                  <a:pt x="377" y="60"/>
                  <a:pt x="377" y="59"/>
                </a:cubicBezTo>
                <a:cubicBezTo>
                  <a:pt x="377" y="59"/>
                  <a:pt x="375" y="59"/>
                  <a:pt x="375" y="58"/>
                </a:cubicBezTo>
                <a:cubicBezTo>
                  <a:pt x="374" y="58"/>
                  <a:pt x="374" y="59"/>
                  <a:pt x="373" y="59"/>
                </a:cubicBezTo>
                <a:cubicBezTo>
                  <a:pt x="372" y="59"/>
                  <a:pt x="371" y="58"/>
                  <a:pt x="370" y="58"/>
                </a:cubicBezTo>
                <a:cubicBezTo>
                  <a:pt x="370" y="58"/>
                  <a:pt x="370" y="58"/>
                  <a:pt x="370" y="58"/>
                </a:cubicBezTo>
                <a:close/>
                <a:moveTo>
                  <a:pt x="333" y="58"/>
                </a:moveTo>
                <a:cubicBezTo>
                  <a:pt x="333" y="58"/>
                  <a:pt x="333" y="58"/>
                  <a:pt x="333" y="59"/>
                </a:cubicBezTo>
                <a:cubicBezTo>
                  <a:pt x="334" y="58"/>
                  <a:pt x="334" y="60"/>
                  <a:pt x="334" y="60"/>
                </a:cubicBezTo>
                <a:cubicBezTo>
                  <a:pt x="335" y="60"/>
                  <a:pt x="336" y="60"/>
                  <a:pt x="337" y="60"/>
                </a:cubicBezTo>
                <a:cubicBezTo>
                  <a:pt x="337" y="59"/>
                  <a:pt x="337" y="58"/>
                  <a:pt x="336" y="58"/>
                </a:cubicBezTo>
                <a:cubicBezTo>
                  <a:pt x="335" y="58"/>
                  <a:pt x="336" y="58"/>
                  <a:pt x="335" y="58"/>
                </a:cubicBezTo>
                <a:cubicBezTo>
                  <a:pt x="335" y="57"/>
                  <a:pt x="334" y="57"/>
                  <a:pt x="333" y="58"/>
                </a:cubicBezTo>
                <a:cubicBezTo>
                  <a:pt x="333" y="58"/>
                  <a:pt x="333" y="58"/>
                  <a:pt x="333" y="58"/>
                </a:cubicBezTo>
                <a:close/>
                <a:moveTo>
                  <a:pt x="317" y="58"/>
                </a:moveTo>
                <a:cubicBezTo>
                  <a:pt x="317" y="58"/>
                  <a:pt x="317" y="60"/>
                  <a:pt x="318" y="60"/>
                </a:cubicBezTo>
                <a:cubicBezTo>
                  <a:pt x="319" y="61"/>
                  <a:pt x="318" y="61"/>
                  <a:pt x="319" y="62"/>
                </a:cubicBezTo>
                <a:cubicBezTo>
                  <a:pt x="319" y="62"/>
                  <a:pt x="319" y="62"/>
                  <a:pt x="319" y="63"/>
                </a:cubicBezTo>
                <a:cubicBezTo>
                  <a:pt x="319" y="63"/>
                  <a:pt x="320" y="62"/>
                  <a:pt x="320" y="62"/>
                </a:cubicBezTo>
                <a:cubicBezTo>
                  <a:pt x="320" y="62"/>
                  <a:pt x="320" y="61"/>
                  <a:pt x="320" y="60"/>
                </a:cubicBezTo>
                <a:cubicBezTo>
                  <a:pt x="320" y="59"/>
                  <a:pt x="319" y="58"/>
                  <a:pt x="319" y="57"/>
                </a:cubicBezTo>
                <a:cubicBezTo>
                  <a:pt x="318" y="57"/>
                  <a:pt x="318" y="57"/>
                  <a:pt x="317" y="58"/>
                </a:cubicBezTo>
                <a:cubicBezTo>
                  <a:pt x="317" y="59"/>
                  <a:pt x="317" y="58"/>
                  <a:pt x="317" y="58"/>
                </a:cubicBezTo>
                <a:close/>
                <a:moveTo>
                  <a:pt x="387" y="57"/>
                </a:moveTo>
                <a:cubicBezTo>
                  <a:pt x="387" y="58"/>
                  <a:pt x="386" y="59"/>
                  <a:pt x="385" y="60"/>
                </a:cubicBezTo>
                <a:cubicBezTo>
                  <a:pt x="386" y="60"/>
                  <a:pt x="386" y="62"/>
                  <a:pt x="386" y="63"/>
                </a:cubicBezTo>
                <a:cubicBezTo>
                  <a:pt x="386" y="63"/>
                  <a:pt x="387" y="63"/>
                  <a:pt x="387" y="63"/>
                </a:cubicBezTo>
                <a:cubicBezTo>
                  <a:pt x="387" y="62"/>
                  <a:pt x="387" y="62"/>
                  <a:pt x="388" y="62"/>
                </a:cubicBezTo>
                <a:cubicBezTo>
                  <a:pt x="389" y="62"/>
                  <a:pt x="389" y="62"/>
                  <a:pt x="389" y="61"/>
                </a:cubicBezTo>
                <a:cubicBezTo>
                  <a:pt x="389" y="61"/>
                  <a:pt x="389" y="59"/>
                  <a:pt x="390" y="60"/>
                </a:cubicBezTo>
                <a:cubicBezTo>
                  <a:pt x="390" y="59"/>
                  <a:pt x="390" y="59"/>
                  <a:pt x="390" y="58"/>
                </a:cubicBezTo>
                <a:cubicBezTo>
                  <a:pt x="390" y="58"/>
                  <a:pt x="389" y="57"/>
                  <a:pt x="389" y="58"/>
                </a:cubicBezTo>
                <a:cubicBezTo>
                  <a:pt x="389" y="57"/>
                  <a:pt x="388" y="58"/>
                  <a:pt x="388" y="58"/>
                </a:cubicBezTo>
                <a:cubicBezTo>
                  <a:pt x="388" y="57"/>
                  <a:pt x="388" y="57"/>
                  <a:pt x="388" y="57"/>
                </a:cubicBezTo>
                <a:cubicBezTo>
                  <a:pt x="388" y="57"/>
                  <a:pt x="387" y="57"/>
                  <a:pt x="387" y="57"/>
                </a:cubicBezTo>
                <a:cubicBezTo>
                  <a:pt x="387" y="58"/>
                  <a:pt x="387" y="57"/>
                  <a:pt x="387" y="57"/>
                </a:cubicBezTo>
                <a:close/>
                <a:moveTo>
                  <a:pt x="918" y="61"/>
                </a:moveTo>
                <a:cubicBezTo>
                  <a:pt x="920" y="61"/>
                  <a:pt x="920" y="61"/>
                  <a:pt x="920" y="60"/>
                </a:cubicBezTo>
                <a:cubicBezTo>
                  <a:pt x="920" y="58"/>
                  <a:pt x="922" y="59"/>
                  <a:pt x="921" y="58"/>
                </a:cubicBezTo>
                <a:cubicBezTo>
                  <a:pt x="920" y="57"/>
                  <a:pt x="920" y="56"/>
                  <a:pt x="919" y="56"/>
                </a:cubicBezTo>
                <a:cubicBezTo>
                  <a:pt x="918" y="56"/>
                  <a:pt x="917" y="56"/>
                  <a:pt x="916" y="56"/>
                </a:cubicBezTo>
                <a:cubicBezTo>
                  <a:pt x="915" y="56"/>
                  <a:pt x="915" y="56"/>
                  <a:pt x="914" y="56"/>
                </a:cubicBezTo>
                <a:cubicBezTo>
                  <a:pt x="914" y="56"/>
                  <a:pt x="914" y="57"/>
                  <a:pt x="913" y="57"/>
                </a:cubicBezTo>
                <a:cubicBezTo>
                  <a:pt x="913" y="57"/>
                  <a:pt x="913" y="57"/>
                  <a:pt x="912" y="57"/>
                </a:cubicBezTo>
                <a:cubicBezTo>
                  <a:pt x="911" y="57"/>
                  <a:pt x="911" y="57"/>
                  <a:pt x="911" y="58"/>
                </a:cubicBezTo>
                <a:cubicBezTo>
                  <a:pt x="912" y="58"/>
                  <a:pt x="913" y="59"/>
                  <a:pt x="914" y="59"/>
                </a:cubicBezTo>
                <a:cubicBezTo>
                  <a:pt x="914" y="59"/>
                  <a:pt x="914" y="60"/>
                  <a:pt x="914" y="60"/>
                </a:cubicBezTo>
                <a:cubicBezTo>
                  <a:pt x="914" y="61"/>
                  <a:pt x="914" y="60"/>
                  <a:pt x="915" y="61"/>
                </a:cubicBezTo>
                <a:cubicBezTo>
                  <a:pt x="915" y="61"/>
                  <a:pt x="915" y="61"/>
                  <a:pt x="915" y="61"/>
                </a:cubicBezTo>
                <a:cubicBezTo>
                  <a:pt x="915" y="61"/>
                  <a:pt x="915" y="61"/>
                  <a:pt x="916" y="61"/>
                </a:cubicBezTo>
                <a:cubicBezTo>
                  <a:pt x="916" y="61"/>
                  <a:pt x="918" y="60"/>
                  <a:pt x="918" y="61"/>
                </a:cubicBezTo>
                <a:close/>
                <a:moveTo>
                  <a:pt x="247" y="69"/>
                </a:moveTo>
                <a:cubicBezTo>
                  <a:pt x="248" y="69"/>
                  <a:pt x="246" y="71"/>
                  <a:pt x="247" y="69"/>
                </a:cubicBezTo>
                <a:close/>
                <a:moveTo>
                  <a:pt x="228" y="72"/>
                </a:moveTo>
                <a:cubicBezTo>
                  <a:pt x="228" y="72"/>
                  <a:pt x="229" y="72"/>
                  <a:pt x="230" y="72"/>
                </a:cubicBezTo>
                <a:cubicBezTo>
                  <a:pt x="230" y="72"/>
                  <a:pt x="231" y="74"/>
                  <a:pt x="231" y="74"/>
                </a:cubicBezTo>
                <a:cubicBezTo>
                  <a:pt x="231" y="75"/>
                  <a:pt x="231" y="74"/>
                  <a:pt x="231" y="74"/>
                </a:cubicBezTo>
                <a:cubicBezTo>
                  <a:pt x="232" y="75"/>
                  <a:pt x="232" y="75"/>
                  <a:pt x="232" y="76"/>
                </a:cubicBezTo>
                <a:cubicBezTo>
                  <a:pt x="233" y="77"/>
                  <a:pt x="234" y="76"/>
                  <a:pt x="235" y="75"/>
                </a:cubicBezTo>
                <a:cubicBezTo>
                  <a:pt x="235" y="75"/>
                  <a:pt x="234" y="75"/>
                  <a:pt x="235" y="75"/>
                </a:cubicBezTo>
                <a:cubicBezTo>
                  <a:pt x="236" y="75"/>
                  <a:pt x="236" y="75"/>
                  <a:pt x="237" y="75"/>
                </a:cubicBezTo>
                <a:cubicBezTo>
                  <a:pt x="237" y="75"/>
                  <a:pt x="237" y="75"/>
                  <a:pt x="237" y="76"/>
                </a:cubicBezTo>
                <a:cubicBezTo>
                  <a:pt x="238" y="76"/>
                  <a:pt x="240" y="76"/>
                  <a:pt x="240" y="75"/>
                </a:cubicBezTo>
                <a:cubicBezTo>
                  <a:pt x="240" y="75"/>
                  <a:pt x="240" y="74"/>
                  <a:pt x="240" y="74"/>
                </a:cubicBezTo>
                <a:cubicBezTo>
                  <a:pt x="241" y="74"/>
                  <a:pt x="241" y="75"/>
                  <a:pt x="241" y="75"/>
                </a:cubicBezTo>
                <a:cubicBezTo>
                  <a:pt x="242" y="74"/>
                  <a:pt x="241" y="73"/>
                  <a:pt x="241" y="72"/>
                </a:cubicBezTo>
                <a:cubicBezTo>
                  <a:pt x="242" y="72"/>
                  <a:pt x="242" y="74"/>
                  <a:pt x="243" y="75"/>
                </a:cubicBezTo>
                <a:cubicBezTo>
                  <a:pt x="243" y="75"/>
                  <a:pt x="243" y="76"/>
                  <a:pt x="244" y="76"/>
                </a:cubicBezTo>
                <a:cubicBezTo>
                  <a:pt x="244" y="76"/>
                  <a:pt x="245" y="76"/>
                  <a:pt x="246" y="75"/>
                </a:cubicBezTo>
                <a:cubicBezTo>
                  <a:pt x="247" y="75"/>
                  <a:pt x="247" y="74"/>
                  <a:pt x="247" y="73"/>
                </a:cubicBezTo>
                <a:cubicBezTo>
                  <a:pt x="247" y="73"/>
                  <a:pt x="247" y="75"/>
                  <a:pt x="247" y="73"/>
                </a:cubicBezTo>
                <a:cubicBezTo>
                  <a:pt x="247" y="72"/>
                  <a:pt x="247" y="72"/>
                  <a:pt x="247" y="71"/>
                </a:cubicBezTo>
                <a:cubicBezTo>
                  <a:pt x="247" y="71"/>
                  <a:pt x="247" y="71"/>
                  <a:pt x="248" y="70"/>
                </a:cubicBezTo>
                <a:cubicBezTo>
                  <a:pt x="248" y="71"/>
                  <a:pt x="248" y="72"/>
                  <a:pt x="249" y="72"/>
                </a:cubicBezTo>
                <a:cubicBezTo>
                  <a:pt x="249" y="72"/>
                  <a:pt x="249" y="72"/>
                  <a:pt x="249" y="72"/>
                </a:cubicBezTo>
                <a:cubicBezTo>
                  <a:pt x="249" y="71"/>
                  <a:pt x="250" y="71"/>
                  <a:pt x="250" y="71"/>
                </a:cubicBezTo>
                <a:cubicBezTo>
                  <a:pt x="251" y="70"/>
                  <a:pt x="251" y="71"/>
                  <a:pt x="251" y="70"/>
                </a:cubicBezTo>
                <a:cubicBezTo>
                  <a:pt x="251" y="69"/>
                  <a:pt x="251" y="69"/>
                  <a:pt x="251" y="68"/>
                </a:cubicBezTo>
                <a:cubicBezTo>
                  <a:pt x="250" y="68"/>
                  <a:pt x="251" y="67"/>
                  <a:pt x="252" y="67"/>
                </a:cubicBezTo>
                <a:cubicBezTo>
                  <a:pt x="252" y="67"/>
                  <a:pt x="252" y="67"/>
                  <a:pt x="252" y="68"/>
                </a:cubicBezTo>
                <a:cubicBezTo>
                  <a:pt x="253" y="67"/>
                  <a:pt x="253" y="67"/>
                  <a:pt x="253" y="66"/>
                </a:cubicBezTo>
                <a:cubicBezTo>
                  <a:pt x="254" y="65"/>
                  <a:pt x="254" y="65"/>
                  <a:pt x="256" y="65"/>
                </a:cubicBezTo>
                <a:cubicBezTo>
                  <a:pt x="256" y="66"/>
                  <a:pt x="255" y="67"/>
                  <a:pt x="255" y="68"/>
                </a:cubicBezTo>
                <a:cubicBezTo>
                  <a:pt x="254" y="68"/>
                  <a:pt x="253" y="69"/>
                  <a:pt x="254" y="70"/>
                </a:cubicBezTo>
                <a:cubicBezTo>
                  <a:pt x="254" y="70"/>
                  <a:pt x="255" y="70"/>
                  <a:pt x="255" y="70"/>
                </a:cubicBezTo>
                <a:cubicBezTo>
                  <a:pt x="255" y="70"/>
                  <a:pt x="255" y="70"/>
                  <a:pt x="256" y="71"/>
                </a:cubicBezTo>
                <a:cubicBezTo>
                  <a:pt x="256" y="71"/>
                  <a:pt x="257" y="70"/>
                  <a:pt x="257" y="70"/>
                </a:cubicBezTo>
                <a:cubicBezTo>
                  <a:pt x="258" y="69"/>
                  <a:pt x="257" y="69"/>
                  <a:pt x="259" y="69"/>
                </a:cubicBezTo>
                <a:cubicBezTo>
                  <a:pt x="259" y="68"/>
                  <a:pt x="260" y="68"/>
                  <a:pt x="261" y="68"/>
                </a:cubicBezTo>
                <a:cubicBezTo>
                  <a:pt x="261" y="68"/>
                  <a:pt x="261" y="67"/>
                  <a:pt x="261" y="67"/>
                </a:cubicBezTo>
                <a:cubicBezTo>
                  <a:pt x="262" y="67"/>
                  <a:pt x="261" y="67"/>
                  <a:pt x="261" y="67"/>
                </a:cubicBezTo>
                <a:cubicBezTo>
                  <a:pt x="261" y="66"/>
                  <a:pt x="261" y="66"/>
                  <a:pt x="261" y="66"/>
                </a:cubicBezTo>
                <a:cubicBezTo>
                  <a:pt x="262" y="65"/>
                  <a:pt x="261" y="64"/>
                  <a:pt x="261" y="63"/>
                </a:cubicBezTo>
                <a:cubicBezTo>
                  <a:pt x="263" y="64"/>
                  <a:pt x="264" y="64"/>
                  <a:pt x="266" y="65"/>
                </a:cubicBezTo>
                <a:cubicBezTo>
                  <a:pt x="265" y="64"/>
                  <a:pt x="265" y="64"/>
                  <a:pt x="265" y="63"/>
                </a:cubicBezTo>
                <a:cubicBezTo>
                  <a:pt x="265" y="63"/>
                  <a:pt x="265" y="63"/>
                  <a:pt x="265" y="62"/>
                </a:cubicBezTo>
                <a:cubicBezTo>
                  <a:pt x="266" y="62"/>
                  <a:pt x="266" y="61"/>
                  <a:pt x="267" y="60"/>
                </a:cubicBezTo>
                <a:cubicBezTo>
                  <a:pt x="267" y="59"/>
                  <a:pt x="265" y="58"/>
                  <a:pt x="264" y="57"/>
                </a:cubicBezTo>
                <a:cubicBezTo>
                  <a:pt x="263" y="56"/>
                  <a:pt x="263" y="56"/>
                  <a:pt x="261" y="56"/>
                </a:cubicBezTo>
                <a:cubicBezTo>
                  <a:pt x="261" y="56"/>
                  <a:pt x="260" y="57"/>
                  <a:pt x="259" y="57"/>
                </a:cubicBezTo>
                <a:cubicBezTo>
                  <a:pt x="258" y="57"/>
                  <a:pt x="258" y="58"/>
                  <a:pt x="259" y="58"/>
                </a:cubicBezTo>
                <a:cubicBezTo>
                  <a:pt x="260" y="58"/>
                  <a:pt x="259" y="59"/>
                  <a:pt x="259" y="59"/>
                </a:cubicBezTo>
                <a:cubicBezTo>
                  <a:pt x="258" y="59"/>
                  <a:pt x="258" y="60"/>
                  <a:pt x="258" y="60"/>
                </a:cubicBezTo>
                <a:cubicBezTo>
                  <a:pt x="257" y="60"/>
                  <a:pt x="256" y="60"/>
                  <a:pt x="256" y="59"/>
                </a:cubicBezTo>
                <a:cubicBezTo>
                  <a:pt x="255" y="58"/>
                  <a:pt x="252" y="59"/>
                  <a:pt x="251" y="59"/>
                </a:cubicBezTo>
                <a:cubicBezTo>
                  <a:pt x="250" y="59"/>
                  <a:pt x="250" y="59"/>
                  <a:pt x="249" y="59"/>
                </a:cubicBezTo>
                <a:cubicBezTo>
                  <a:pt x="248" y="59"/>
                  <a:pt x="248" y="60"/>
                  <a:pt x="247" y="60"/>
                </a:cubicBezTo>
                <a:cubicBezTo>
                  <a:pt x="246" y="60"/>
                  <a:pt x="245" y="62"/>
                  <a:pt x="244" y="62"/>
                </a:cubicBezTo>
                <a:cubicBezTo>
                  <a:pt x="244" y="62"/>
                  <a:pt x="244" y="62"/>
                  <a:pt x="244" y="62"/>
                </a:cubicBezTo>
                <a:cubicBezTo>
                  <a:pt x="244" y="63"/>
                  <a:pt x="243" y="62"/>
                  <a:pt x="243" y="62"/>
                </a:cubicBezTo>
                <a:cubicBezTo>
                  <a:pt x="242" y="63"/>
                  <a:pt x="242" y="63"/>
                  <a:pt x="241" y="64"/>
                </a:cubicBezTo>
                <a:cubicBezTo>
                  <a:pt x="241" y="64"/>
                  <a:pt x="240" y="64"/>
                  <a:pt x="240" y="64"/>
                </a:cubicBezTo>
                <a:cubicBezTo>
                  <a:pt x="240" y="64"/>
                  <a:pt x="239" y="64"/>
                  <a:pt x="240" y="65"/>
                </a:cubicBezTo>
                <a:cubicBezTo>
                  <a:pt x="239" y="65"/>
                  <a:pt x="238" y="65"/>
                  <a:pt x="238" y="64"/>
                </a:cubicBezTo>
                <a:cubicBezTo>
                  <a:pt x="238" y="66"/>
                  <a:pt x="238" y="65"/>
                  <a:pt x="237" y="66"/>
                </a:cubicBezTo>
                <a:cubicBezTo>
                  <a:pt x="236" y="67"/>
                  <a:pt x="236" y="66"/>
                  <a:pt x="235" y="67"/>
                </a:cubicBezTo>
                <a:cubicBezTo>
                  <a:pt x="235" y="67"/>
                  <a:pt x="235" y="66"/>
                  <a:pt x="234" y="67"/>
                </a:cubicBezTo>
                <a:cubicBezTo>
                  <a:pt x="234" y="68"/>
                  <a:pt x="235" y="68"/>
                  <a:pt x="235" y="69"/>
                </a:cubicBezTo>
                <a:cubicBezTo>
                  <a:pt x="234" y="69"/>
                  <a:pt x="233" y="69"/>
                  <a:pt x="233" y="69"/>
                </a:cubicBezTo>
                <a:cubicBezTo>
                  <a:pt x="232" y="69"/>
                  <a:pt x="232" y="69"/>
                  <a:pt x="231" y="69"/>
                </a:cubicBezTo>
                <a:cubicBezTo>
                  <a:pt x="231" y="69"/>
                  <a:pt x="231" y="70"/>
                  <a:pt x="231" y="70"/>
                </a:cubicBezTo>
                <a:cubicBezTo>
                  <a:pt x="230" y="70"/>
                  <a:pt x="230" y="70"/>
                  <a:pt x="230" y="70"/>
                </a:cubicBezTo>
                <a:cubicBezTo>
                  <a:pt x="229" y="70"/>
                  <a:pt x="227" y="71"/>
                  <a:pt x="228" y="72"/>
                </a:cubicBezTo>
                <a:close/>
                <a:moveTo>
                  <a:pt x="287" y="56"/>
                </a:moveTo>
                <a:cubicBezTo>
                  <a:pt x="287" y="56"/>
                  <a:pt x="286" y="56"/>
                  <a:pt x="286" y="56"/>
                </a:cubicBezTo>
                <a:cubicBezTo>
                  <a:pt x="285" y="56"/>
                  <a:pt x="285" y="57"/>
                  <a:pt x="284" y="57"/>
                </a:cubicBezTo>
                <a:cubicBezTo>
                  <a:pt x="284" y="57"/>
                  <a:pt x="284" y="58"/>
                  <a:pt x="283" y="58"/>
                </a:cubicBezTo>
                <a:cubicBezTo>
                  <a:pt x="282" y="58"/>
                  <a:pt x="281" y="58"/>
                  <a:pt x="281" y="58"/>
                </a:cubicBezTo>
                <a:cubicBezTo>
                  <a:pt x="280" y="59"/>
                  <a:pt x="279" y="59"/>
                  <a:pt x="279" y="59"/>
                </a:cubicBezTo>
                <a:cubicBezTo>
                  <a:pt x="279" y="59"/>
                  <a:pt x="278" y="60"/>
                  <a:pt x="278" y="61"/>
                </a:cubicBezTo>
                <a:cubicBezTo>
                  <a:pt x="279" y="62"/>
                  <a:pt x="279" y="63"/>
                  <a:pt x="279" y="64"/>
                </a:cubicBezTo>
                <a:cubicBezTo>
                  <a:pt x="280" y="64"/>
                  <a:pt x="280" y="64"/>
                  <a:pt x="281" y="65"/>
                </a:cubicBezTo>
                <a:cubicBezTo>
                  <a:pt x="282" y="65"/>
                  <a:pt x="279" y="65"/>
                  <a:pt x="282" y="65"/>
                </a:cubicBezTo>
                <a:cubicBezTo>
                  <a:pt x="282" y="65"/>
                  <a:pt x="283" y="65"/>
                  <a:pt x="283" y="66"/>
                </a:cubicBezTo>
                <a:cubicBezTo>
                  <a:pt x="283" y="66"/>
                  <a:pt x="284" y="65"/>
                  <a:pt x="284" y="66"/>
                </a:cubicBezTo>
                <a:cubicBezTo>
                  <a:pt x="285" y="66"/>
                  <a:pt x="285" y="66"/>
                  <a:pt x="286" y="66"/>
                </a:cubicBezTo>
                <a:cubicBezTo>
                  <a:pt x="286" y="65"/>
                  <a:pt x="287" y="65"/>
                  <a:pt x="287" y="65"/>
                </a:cubicBezTo>
                <a:cubicBezTo>
                  <a:pt x="288" y="65"/>
                  <a:pt x="288" y="64"/>
                  <a:pt x="288" y="64"/>
                </a:cubicBezTo>
                <a:cubicBezTo>
                  <a:pt x="289" y="64"/>
                  <a:pt x="290" y="64"/>
                  <a:pt x="291" y="64"/>
                </a:cubicBezTo>
                <a:cubicBezTo>
                  <a:pt x="291" y="64"/>
                  <a:pt x="291" y="64"/>
                  <a:pt x="292" y="63"/>
                </a:cubicBezTo>
                <a:cubicBezTo>
                  <a:pt x="294" y="61"/>
                  <a:pt x="292" y="61"/>
                  <a:pt x="291" y="59"/>
                </a:cubicBezTo>
                <a:cubicBezTo>
                  <a:pt x="292" y="59"/>
                  <a:pt x="294" y="59"/>
                  <a:pt x="295" y="58"/>
                </a:cubicBezTo>
                <a:cubicBezTo>
                  <a:pt x="295" y="57"/>
                  <a:pt x="296" y="57"/>
                  <a:pt x="296" y="55"/>
                </a:cubicBezTo>
                <a:cubicBezTo>
                  <a:pt x="295" y="55"/>
                  <a:pt x="295" y="55"/>
                  <a:pt x="294" y="55"/>
                </a:cubicBezTo>
                <a:cubicBezTo>
                  <a:pt x="293" y="55"/>
                  <a:pt x="293" y="55"/>
                  <a:pt x="293" y="55"/>
                </a:cubicBezTo>
                <a:cubicBezTo>
                  <a:pt x="292" y="54"/>
                  <a:pt x="292" y="55"/>
                  <a:pt x="291" y="55"/>
                </a:cubicBezTo>
                <a:cubicBezTo>
                  <a:pt x="291" y="55"/>
                  <a:pt x="291" y="55"/>
                  <a:pt x="290" y="56"/>
                </a:cubicBezTo>
                <a:cubicBezTo>
                  <a:pt x="290" y="56"/>
                  <a:pt x="289" y="56"/>
                  <a:pt x="288" y="55"/>
                </a:cubicBezTo>
                <a:cubicBezTo>
                  <a:pt x="288" y="56"/>
                  <a:pt x="287" y="55"/>
                  <a:pt x="287" y="56"/>
                </a:cubicBezTo>
                <a:cubicBezTo>
                  <a:pt x="286" y="56"/>
                  <a:pt x="287" y="56"/>
                  <a:pt x="287" y="56"/>
                </a:cubicBezTo>
                <a:close/>
                <a:moveTo>
                  <a:pt x="271" y="59"/>
                </a:moveTo>
                <a:cubicBezTo>
                  <a:pt x="271" y="59"/>
                  <a:pt x="273" y="59"/>
                  <a:pt x="273" y="59"/>
                </a:cubicBezTo>
                <a:cubicBezTo>
                  <a:pt x="273" y="58"/>
                  <a:pt x="273" y="58"/>
                  <a:pt x="273" y="58"/>
                </a:cubicBezTo>
                <a:cubicBezTo>
                  <a:pt x="273" y="58"/>
                  <a:pt x="274" y="58"/>
                  <a:pt x="274" y="57"/>
                </a:cubicBezTo>
                <a:cubicBezTo>
                  <a:pt x="275" y="56"/>
                  <a:pt x="273" y="56"/>
                  <a:pt x="273" y="55"/>
                </a:cubicBezTo>
                <a:cubicBezTo>
                  <a:pt x="272" y="54"/>
                  <a:pt x="272" y="54"/>
                  <a:pt x="271" y="54"/>
                </a:cubicBezTo>
                <a:cubicBezTo>
                  <a:pt x="271" y="54"/>
                  <a:pt x="271" y="54"/>
                  <a:pt x="270" y="54"/>
                </a:cubicBezTo>
                <a:cubicBezTo>
                  <a:pt x="269" y="54"/>
                  <a:pt x="268" y="55"/>
                  <a:pt x="268" y="56"/>
                </a:cubicBezTo>
                <a:cubicBezTo>
                  <a:pt x="268" y="57"/>
                  <a:pt x="269" y="57"/>
                  <a:pt x="269" y="58"/>
                </a:cubicBezTo>
                <a:cubicBezTo>
                  <a:pt x="270" y="59"/>
                  <a:pt x="270" y="59"/>
                  <a:pt x="271" y="59"/>
                </a:cubicBezTo>
                <a:close/>
                <a:moveTo>
                  <a:pt x="946" y="53"/>
                </a:moveTo>
                <a:cubicBezTo>
                  <a:pt x="946" y="55"/>
                  <a:pt x="948" y="55"/>
                  <a:pt x="949" y="55"/>
                </a:cubicBezTo>
                <a:cubicBezTo>
                  <a:pt x="948" y="54"/>
                  <a:pt x="948" y="54"/>
                  <a:pt x="948" y="53"/>
                </a:cubicBezTo>
                <a:cubicBezTo>
                  <a:pt x="947" y="53"/>
                  <a:pt x="947" y="53"/>
                  <a:pt x="946" y="53"/>
                </a:cubicBezTo>
                <a:close/>
                <a:moveTo>
                  <a:pt x="958" y="52"/>
                </a:moveTo>
                <a:cubicBezTo>
                  <a:pt x="958" y="52"/>
                  <a:pt x="958" y="52"/>
                  <a:pt x="958" y="52"/>
                </a:cubicBezTo>
                <a:cubicBezTo>
                  <a:pt x="959" y="52"/>
                  <a:pt x="961" y="52"/>
                  <a:pt x="961" y="52"/>
                </a:cubicBezTo>
                <a:cubicBezTo>
                  <a:pt x="961" y="51"/>
                  <a:pt x="961" y="51"/>
                  <a:pt x="960" y="51"/>
                </a:cubicBezTo>
                <a:cubicBezTo>
                  <a:pt x="960" y="51"/>
                  <a:pt x="959" y="51"/>
                  <a:pt x="959" y="51"/>
                </a:cubicBezTo>
                <a:cubicBezTo>
                  <a:pt x="959" y="51"/>
                  <a:pt x="958" y="50"/>
                  <a:pt x="958" y="50"/>
                </a:cubicBezTo>
                <a:cubicBezTo>
                  <a:pt x="956" y="50"/>
                  <a:pt x="956" y="50"/>
                  <a:pt x="954" y="51"/>
                </a:cubicBezTo>
                <a:cubicBezTo>
                  <a:pt x="954" y="51"/>
                  <a:pt x="954" y="51"/>
                  <a:pt x="954" y="52"/>
                </a:cubicBezTo>
                <a:cubicBezTo>
                  <a:pt x="955" y="52"/>
                  <a:pt x="956" y="51"/>
                  <a:pt x="958" y="52"/>
                </a:cubicBezTo>
                <a:close/>
                <a:moveTo>
                  <a:pt x="277" y="54"/>
                </a:moveTo>
                <a:cubicBezTo>
                  <a:pt x="278" y="54"/>
                  <a:pt x="279" y="54"/>
                  <a:pt x="279" y="53"/>
                </a:cubicBezTo>
                <a:cubicBezTo>
                  <a:pt x="280" y="53"/>
                  <a:pt x="280" y="54"/>
                  <a:pt x="281" y="53"/>
                </a:cubicBezTo>
                <a:cubicBezTo>
                  <a:pt x="281" y="53"/>
                  <a:pt x="280" y="53"/>
                  <a:pt x="281" y="53"/>
                </a:cubicBezTo>
                <a:cubicBezTo>
                  <a:pt x="281" y="53"/>
                  <a:pt x="281" y="53"/>
                  <a:pt x="281" y="53"/>
                </a:cubicBezTo>
                <a:cubicBezTo>
                  <a:pt x="282" y="53"/>
                  <a:pt x="282" y="53"/>
                  <a:pt x="283" y="53"/>
                </a:cubicBezTo>
                <a:cubicBezTo>
                  <a:pt x="283" y="53"/>
                  <a:pt x="283" y="54"/>
                  <a:pt x="283" y="54"/>
                </a:cubicBezTo>
                <a:cubicBezTo>
                  <a:pt x="284" y="54"/>
                  <a:pt x="285" y="55"/>
                  <a:pt x="286" y="55"/>
                </a:cubicBezTo>
                <a:cubicBezTo>
                  <a:pt x="286" y="54"/>
                  <a:pt x="287" y="53"/>
                  <a:pt x="287" y="53"/>
                </a:cubicBezTo>
                <a:cubicBezTo>
                  <a:pt x="287" y="52"/>
                  <a:pt x="287" y="52"/>
                  <a:pt x="287" y="51"/>
                </a:cubicBezTo>
                <a:cubicBezTo>
                  <a:pt x="287" y="51"/>
                  <a:pt x="286" y="51"/>
                  <a:pt x="285" y="51"/>
                </a:cubicBezTo>
                <a:cubicBezTo>
                  <a:pt x="284" y="51"/>
                  <a:pt x="283" y="50"/>
                  <a:pt x="282" y="50"/>
                </a:cubicBezTo>
                <a:cubicBezTo>
                  <a:pt x="281" y="51"/>
                  <a:pt x="281" y="51"/>
                  <a:pt x="280" y="51"/>
                </a:cubicBezTo>
                <a:cubicBezTo>
                  <a:pt x="279" y="51"/>
                  <a:pt x="279" y="51"/>
                  <a:pt x="278" y="51"/>
                </a:cubicBezTo>
                <a:cubicBezTo>
                  <a:pt x="278" y="51"/>
                  <a:pt x="277" y="52"/>
                  <a:pt x="277" y="52"/>
                </a:cubicBezTo>
                <a:cubicBezTo>
                  <a:pt x="276" y="53"/>
                  <a:pt x="277" y="53"/>
                  <a:pt x="277" y="54"/>
                </a:cubicBezTo>
                <a:cubicBezTo>
                  <a:pt x="278" y="54"/>
                  <a:pt x="277" y="54"/>
                  <a:pt x="277" y="54"/>
                </a:cubicBezTo>
                <a:close/>
                <a:moveTo>
                  <a:pt x="873" y="52"/>
                </a:moveTo>
                <a:cubicBezTo>
                  <a:pt x="873" y="52"/>
                  <a:pt x="873" y="53"/>
                  <a:pt x="873" y="53"/>
                </a:cubicBezTo>
                <a:cubicBezTo>
                  <a:pt x="874" y="53"/>
                  <a:pt x="874" y="54"/>
                  <a:pt x="874" y="54"/>
                </a:cubicBezTo>
                <a:cubicBezTo>
                  <a:pt x="874" y="54"/>
                  <a:pt x="875" y="54"/>
                  <a:pt x="875" y="54"/>
                </a:cubicBezTo>
                <a:cubicBezTo>
                  <a:pt x="875" y="54"/>
                  <a:pt x="875" y="55"/>
                  <a:pt x="876" y="54"/>
                </a:cubicBezTo>
                <a:cubicBezTo>
                  <a:pt x="876" y="54"/>
                  <a:pt x="874" y="51"/>
                  <a:pt x="874" y="51"/>
                </a:cubicBezTo>
                <a:cubicBezTo>
                  <a:pt x="872" y="51"/>
                  <a:pt x="874" y="48"/>
                  <a:pt x="872" y="48"/>
                </a:cubicBezTo>
                <a:cubicBezTo>
                  <a:pt x="872" y="50"/>
                  <a:pt x="872" y="51"/>
                  <a:pt x="873" y="52"/>
                </a:cubicBezTo>
                <a:close/>
                <a:moveTo>
                  <a:pt x="289" y="53"/>
                </a:moveTo>
                <a:cubicBezTo>
                  <a:pt x="289" y="53"/>
                  <a:pt x="291" y="54"/>
                  <a:pt x="291" y="54"/>
                </a:cubicBezTo>
                <a:cubicBezTo>
                  <a:pt x="291" y="54"/>
                  <a:pt x="292" y="54"/>
                  <a:pt x="293" y="54"/>
                </a:cubicBezTo>
                <a:cubicBezTo>
                  <a:pt x="293" y="54"/>
                  <a:pt x="293" y="54"/>
                  <a:pt x="294" y="54"/>
                </a:cubicBezTo>
                <a:cubicBezTo>
                  <a:pt x="295" y="54"/>
                  <a:pt x="294" y="54"/>
                  <a:pt x="294" y="54"/>
                </a:cubicBezTo>
                <a:cubicBezTo>
                  <a:pt x="295" y="54"/>
                  <a:pt x="295" y="54"/>
                  <a:pt x="295" y="54"/>
                </a:cubicBezTo>
                <a:cubicBezTo>
                  <a:pt x="295" y="54"/>
                  <a:pt x="295" y="53"/>
                  <a:pt x="295" y="53"/>
                </a:cubicBezTo>
                <a:cubicBezTo>
                  <a:pt x="295" y="53"/>
                  <a:pt x="296" y="53"/>
                  <a:pt x="296" y="53"/>
                </a:cubicBezTo>
                <a:cubicBezTo>
                  <a:pt x="297" y="53"/>
                  <a:pt x="298" y="54"/>
                  <a:pt x="298" y="53"/>
                </a:cubicBezTo>
                <a:cubicBezTo>
                  <a:pt x="298" y="52"/>
                  <a:pt x="299" y="52"/>
                  <a:pt x="298" y="51"/>
                </a:cubicBezTo>
                <a:cubicBezTo>
                  <a:pt x="298" y="50"/>
                  <a:pt x="298" y="49"/>
                  <a:pt x="297" y="49"/>
                </a:cubicBezTo>
                <a:cubicBezTo>
                  <a:pt x="297" y="49"/>
                  <a:pt x="297" y="49"/>
                  <a:pt x="296" y="49"/>
                </a:cubicBezTo>
                <a:cubicBezTo>
                  <a:pt x="296" y="49"/>
                  <a:pt x="296" y="49"/>
                  <a:pt x="295" y="48"/>
                </a:cubicBezTo>
                <a:cubicBezTo>
                  <a:pt x="294" y="48"/>
                  <a:pt x="294" y="48"/>
                  <a:pt x="294" y="49"/>
                </a:cubicBezTo>
                <a:cubicBezTo>
                  <a:pt x="293" y="49"/>
                  <a:pt x="293" y="49"/>
                  <a:pt x="293" y="49"/>
                </a:cubicBezTo>
                <a:cubicBezTo>
                  <a:pt x="291" y="49"/>
                  <a:pt x="291" y="49"/>
                  <a:pt x="290" y="50"/>
                </a:cubicBezTo>
                <a:cubicBezTo>
                  <a:pt x="290" y="51"/>
                  <a:pt x="289" y="50"/>
                  <a:pt x="288" y="51"/>
                </a:cubicBezTo>
                <a:cubicBezTo>
                  <a:pt x="288" y="51"/>
                  <a:pt x="288" y="52"/>
                  <a:pt x="288" y="52"/>
                </a:cubicBezTo>
                <a:cubicBezTo>
                  <a:pt x="288" y="52"/>
                  <a:pt x="288" y="52"/>
                  <a:pt x="288" y="53"/>
                </a:cubicBezTo>
                <a:cubicBezTo>
                  <a:pt x="288" y="53"/>
                  <a:pt x="289" y="52"/>
                  <a:pt x="289" y="53"/>
                </a:cubicBezTo>
                <a:close/>
                <a:moveTo>
                  <a:pt x="409" y="48"/>
                </a:moveTo>
                <a:cubicBezTo>
                  <a:pt x="408" y="48"/>
                  <a:pt x="407" y="48"/>
                  <a:pt x="407" y="49"/>
                </a:cubicBezTo>
                <a:cubicBezTo>
                  <a:pt x="407" y="49"/>
                  <a:pt x="408" y="49"/>
                  <a:pt x="409" y="48"/>
                </a:cubicBezTo>
                <a:cubicBezTo>
                  <a:pt x="408" y="48"/>
                  <a:pt x="409" y="48"/>
                  <a:pt x="409" y="48"/>
                </a:cubicBezTo>
                <a:close/>
                <a:moveTo>
                  <a:pt x="351" y="54"/>
                </a:moveTo>
                <a:cubicBezTo>
                  <a:pt x="351" y="54"/>
                  <a:pt x="352" y="54"/>
                  <a:pt x="352" y="54"/>
                </a:cubicBezTo>
                <a:cubicBezTo>
                  <a:pt x="352" y="55"/>
                  <a:pt x="353" y="54"/>
                  <a:pt x="354" y="54"/>
                </a:cubicBezTo>
                <a:cubicBezTo>
                  <a:pt x="354" y="54"/>
                  <a:pt x="355" y="54"/>
                  <a:pt x="355" y="55"/>
                </a:cubicBezTo>
                <a:cubicBezTo>
                  <a:pt x="355" y="55"/>
                  <a:pt x="356" y="55"/>
                  <a:pt x="356" y="55"/>
                </a:cubicBezTo>
                <a:cubicBezTo>
                  <a:pt x="355" y="55"/>
                  <a:pt x="355" y="55"/>
                  <a:pt x="354" y="55"/>
                </a:cubicBezTo>
                <a:cubicBezTo>
                  <a:pt x="354" y="55"/>
                  <a:pt x="354" y="56"/>
                  <a:pt x="354" y="56"/>
                </a:cubicBezTo>
                <a:cubicBezTo>
                  <a:pt x="353" y="56"/>
                  <a:pt x="355" y="58"/>
                  <a:pt x="355" y="58"/>
                </a:cubicBezTo>
                <a:cubicBezTo>
                  <a:pt x="356" y="59"/>
                  <a:pt x="356" y="59"/>
                  <a:pt x="357" y="59"/>
                </a:cubicBezTo>
                <a:cubicBezTo>
                  <a:pt x="358" y="60"/>
                  <a:pt x="357" y="60"/>
                  <a:pt x="357" y="60"/>
                </a:cubicBezTo>
                <a:cubicBezTo>
                  <a:pt x="358" y="60"/>
                  <a:pt x="358" y="60"/>
                  <a:pt x="359" y="60"/>
                </a:cubicBezTo>
                <a:cubicBezTo>
                  <a:pt x="360" y="60"/>
                  <a:pt x="359" y="59"/>
                  <a:pt x="360" y="59"/>
                </a:cubicBezTo>
                <a:cubicBezTo>
                  <a:pt x="361" y="59"/>
                  <a:pt x="361" y="59"/>
                  <a:pt x="362" y="59"/>
                </a:cubicBezTo>
                <a:cubicBezTo>
                  <a:pt x="362" y="59"/>
                  <a:pt x="362" y="59"/>
                  <a:pt x="362" y="59"/>
                </a:cubicBezTo>
                <a:cubicBezTo>
                  <a:pt x="363" y="59"/>
                  <a:pt x="362" y="58"/>
                  <a:pt x="363" y="58"/>
                </a:cubicBezTo>
                <a:cubicBezTo>
                  <a:pt x="364" y="58"/>
                  <a:pt x="365" y="58"/>
                  <a:pt x="366" y="59"/>
                </a:cubicBezTo>
                <a:cubicBezTo>
                  <a:pt x="366" y="58"/>
                  <a:pt x="367" y="57"/>
                  <a:pt x="366" y="57"/>
                </a:cubicBezTo>
                <a:cubicBezTo>
                  <a:pt x="366" y="57"/>
                  <a:pt x="364" y="55"/>
                  <a:pt x="365" y="55"/>
                </a:cubicBezTo>
                <a:cubicBezTo>
                  <a:pt x="365" y="53"/>
                  <a:pt x="363" y="54"/>
                  <a:pt x="362" y="52"/>
                </a:cubicBezTo>
                <a:cubicBezTo>
                  <a:pt x="362" y="52"/>
                  <a:pt x="361" y="53"/>
                  <a:pt x="361" y="53"/>
                </a:cubicBezTo>
                <a:cubicBezTo>
                  <a:pt x="360" y="52"/>
                  <a:pt x="360" y="52"/>
                  <a:pt x="360" y="51"/>
                </a:cubicBezTo>
                <a:cubicBezTo>
                  <a:pt x="359" y="51"/>
                  <a:pt x="358" y="51"/>
                  <a:pt x="357" y="51"/>
                </a:cubicBezTo>
                <a:cubicBezTo>
                  <a:pt x="355" y="51"/>
                  <a:pt x="353" y="49"/>
                  <a:pt x="352" y="48"/>
                </a:cubicBezTo>
                <a:cubicBezTo>
                  <a:pt x="351" y="48"/>
                  <a:pt x="350" y="49"/>
                  <a:pt x="350" y="50"/>
                </a:cubicBezTo>
                <a:cubicBezTo>
                  <a:pt x="350" y="51"/>
                  <a:pt x="350" y="51"/>
                  <a:pt x="350" y="52"/>
                </a:cubicBezTo>
                <a:cubicBezTo>
                  <a:pt x="350" y="52"/>
                  <a:pt x="350" y="52"/>
                  <a:pt x="350" y="52"/>
                </a:cubicBezTo>
                <a:cubicBezTo>
                  <a:pt x="350" y="52"/>
                  <a:pt x="350" y="53"/>
                  <a:pt x="350" y="53"/>
                </a:cubicBezTo>
                <a:cubicBezTo>
                  <a:pt x="350" y="54"/>
                  <a:pt x="351" y="53"/>
                  <a:pt x="351" y="54"/>
                </a:cubicBezTo>
                <a:close/>
                <a:moveTo>
                  <a:pt x="313" y="49"/>
                </a:moveTo>
                <a:cubicBezTo>
                  <a:pt x="313" y="49"/>
                  <a:pt x="315" y="49"/>
                  <a:pt x="315" y="48"/>
                </a:cubicBezTo>
                <a:cubicBezTo>
                  <a:pt x="316" y="48"/>
                  <a:pt x="315" y="49"/>
                  <a:pt x="315" y="50"/>
                </a:cubicBezTo>
                <a:cubicBezTo>
                  <a:pt x="315" y="51"/>
                  <a:pt x="316" y="49"/>
                  <a:pt x="317" y="49"/>
                </a:cubicBezTo>
                <a:cubicBezTo>
                  <a:pt x="317" y="50"/>
                  <a:pt x="317" y="49"/>
                  <a:pt x="317" y="50"/>
                </a:cubicBezTo>
                <a:cubicBezTo>
                  <a:pt x="317" y="50"/>
                  <a:pt x="317" y="51"/>
                  <a:pt x="317" y="52"/>
                </a:cubicBezTo>
                <a:cubicBezTo>
                  <a:pt x="318" y="52"/>
                  <a:pt x="319" y="52"/>
                  <a:pt x="319" y="51"/>
                </a:cubicBezTo>
                <a:cubicBezTo>
                  <a:pt x="319" y="50"/>
                  <a:pt x="320" y="51"/>
                  <a:pt x="320" y="51"/>
                </a:cubicBezTo>
                <a:cubicBezTo>
                  <a:pt x="321" y="51"/>
                  <a:pt x="318" y="52"/>
                  <a:pt x="319" y="53"/>
                </a:cubicBezTo>
                <a:cubicBezTo>
                  <a:pt x="319" y="53"/>
                  <a:pt x="320" y="53"/>
                  <a:pt x="320" y="53"/>
                </a:cubicBezTo>
                <a:cubicBezTo>
                  <a:pt x="320" y="54"/>
                  <a:pt x="319" y="54"/>
                  <a:pt x="317" y="53"/>
                </a:cubicBezTo>
                <a:cubicBezTo>
                  <a:pt x="318" y="54"/>
                  <a:pt x="318" y="55"/>
                  <a:pt x="318" y="55"/>
                </a:cubicBezTo>
                <a:cubicBezTo>
                  <a:pt x="319" y="55"/>
                  <a:pt x="320" y="55"/>
                  <a:pt x="321" y="54"/>
                </a:cubicBezTo>
                <a:cubicBezTo>
                  <a:pt x="321" y="54"/>
                  <a:pt x="326" y="52"/>
                  <a:pt x="326" y="53"/>
                </a:cubicBezTo>
                <a:cubicBezTo>
                  <a:pt x="326" y="54"/>
                  <a:pt x="326" y="54"/>
                  <a:pt x="327" y="54"/>
                </a:cubicBezTo>
                <a:cubicBezTo>
                  <a:pt x="328" y="54"/>
                  <a:pt x="328" y="51"/>
                  <a:pt x="329" y="53"/>
                </a:cubicBezTo>
                <a:cubicBezTo>
                  <a:pt x="329" y="53"/>
                  <a:pt x="330" y="53"/>
                  <a:pt x="331" y="53"/>
                </a:cubicBezTo>
                <a:cubicBezTo>
                  <a:pt x="332" y="53"/>
                  <a:pt x="332" y="53"/>
                  <a:pt x="332" y="53"/>
                </a:cubicBezTo>
                <a:cubicBezTo>
                  <a:pt x="333" y="53"/>
                  <a:pt x="333" y="54"/>
                  <a:pt x="333" y="54"/>
                </a:cubicBezTo>
                <a:cubicBezTo>
                  <a:pt x="334" y="54"/>
                  <a:pt x="334" y="54"/>
                  <a:pt x="334" y="55"/>
                </a:cubicBezTo>
                <a:cubicBezTo>
                  <a:pt x="334" y="55"/>
                  <a:pt x="335" y="55"/>
                  <a:pt x="336" y="55"/>
                </a:cubicBezTo>
                <a:cubicBezTo>
                  <a:pt x="336" y="55"/>
                  <a:pt x="336" y="56"/>
                  <a:pt x="337" y="56"/>
                </a:cubicBezTo>
                <a:cubicBezTo>
                  <a:pt x="337" y="56"/>
                  <a:pt x="337" y="56"/>
                  <a:pt x="337" y="56"/>
                </a:cubicBezTo>
                <a:cubicBezTo>
                  <a:pt x="338" y="57"/>
                  <a:pt x="338" y="57"/>
                  <a:pt x="339" y="58"/>
                </a:cubicBezTo>
                <a:cubicBezTo>
                  <a:pt x="340" y="58"/>
                  <a:pt x="340" y="58"/>
                  <a:pt x="341" y="58"/>
                </a:cubicBezTo>
                <a:cubicBezTo>
                  <a:pt x="341" y="59"/>
                  <a:pt x="342" y="59"/>
                  <a:pt x="342" y="60"/>
                </a:cubicBezTo>
                <a:cubicBezTo>
                  <a:pt x="343" y="61"/>
                  <a:pt x="343" y="60"/>
                  <a:pt x="344" y="61"/>
                </a:cubicBezTo>
                <a:cubicBezTo>
                  <a:pt x="345" y="61"/>
                  <a:pt x="345" y="60"/>
                  <a:pt x="346" y="60"/>
                </a:cubicBezTo>
                <a:cubicBezTo>
                  <a:pt x="346" y="60"/>
                  <a:pt x="347" y="57"/>
                  <a:pt x="347" y="57"/>
                </a:cubicBezTo>
                <a:cubicBezTo>
                  <a:pt x="346" y="56"/>
                  <a:pt x="346" y="56"/>
                  <a:pt x="346" y="56"/>
                </a:cubicBezTo>
                <a:cubicBezTo>
                  <a:pt x="346" y="55"/>
                  <a:pt x="346" y="55"/>
                  <a:pt x="345" y="55"/>
                </a:cubicBezTo>
                <a:cubicBezTo>
                  <a:pt x="345" y="54"/>
                  <a:pt x="346" y="54"/>
                  <a:pt x="344" y="54"/>
                </a:cubicBezTo>
                <a:cubicBezTo>
                  <a:pt x="344" y="52"/>
                  <a:pt x="344" y="52"/>
                  <a:pt x="342" y="52"/>
                </a:cubicBezTo>
                <a:cubicBezTo>
                  <a:pt x="341" y="52"/>
                  <a:pt x="340" y="52"/>
                  <a:pt x="339" y="52"/>
                </a:cubicBezTo>
                <a:cubicBezTo>
                  <a:pt x="339" y="52"/>
                  <a:pt x="338" y="52"/>
                  <a:pt x="338" y="52"/>
                </a:cubicBezTo>
                <a:cubicBezTo>
                  <a:pt x="338" y="51"/>
                  <a:pt x="337" y="50"/>
                  <a:pt x="336" y="50"/>
                </a:cubicBezTo>
                <a:cubicBezTo>
                  <a:pt x="336" y="50"/>
                  <a:pt x="335" y="49"/>
                  <a:pt x="335" y="49"/>
                </a:cubicBezTo>
                <a:cubicBezTo>
                  <a:pt x="334" y="49"/>
                  <a:pt x="333" y="50"/>
                  <a:pt x="333" y="49"/>
                </a:cubicBezTo>
                <a:cubicBezTo>
                  <a:pt x="333" y="48"/>
                  <a:pt x="330" y="47"/>
                  <a:pt x="330" y="48"/>
                </a:cubicBezTo>
                <a:cubicBezTo>
                  <a:pt x="330" y="49"/>
                  <a:pt x="328" y="49"/>
                  <a:pt x="328" y="49"/>
                </a:cubicBezTo>
                <a:cubicBezTo>
                  <a:pt x="328" y="49"/>
                  <a:pt x="327" y="48"/>
                  <a:pt x="327" y="47"/>
                </a:cubicBezTo>
                <a:cubicBezTo>
                  <a:pt x="327" y="47"/>
                  <a:pt x="324" y="45"/>
                  <a:pt x="323" y="46"/>
                </a:cubicBezTo>
                <a:cubicBezTo>
                  <a:pt x="323" y="47"/>
                  <a:pt x="323" y="48"/>
                  <a:pt x="323" y="49"/>
                </a:cubicBezTo>
                <a:cubicBezTo>
                  <a:pt x="322" y="49"/>
                  <a:pt x="321" y="49"/>
                  <a:pt x="321" y="48"/>
                </a:cubicBezTo>
                <a:cubicBezTo>
                  <a:pt x="321" y="48"/>
                  <a:pt x="321" y="48"/>
                  <a:pt x="321" y="47"/>
                </a:cubicBezTo>
                <a:cubicBezTo>
                  <a:pt x="321" y="47"/>
                  <a:pt x="320" y="47"/>
                  <a:pt x="320" y="46"/>
                </a:cubicBezTo>
                <a:cubicBezTo>
                  <a:pt x="319" y="45"/>
                  <a:pt x="319" y="46"/>
                  <a:pt x="317" y="46"/>
                </a:cubicBezTo>
                <a:cubicBezTo>
                  <a:pt x="317" y="46"/>
                  <a:pt x="317" y="45"/>
                  <a:pt x="317" y="45"/>
                </a:cubicBezTo>
                <a:cubicBezTo>
                  <a:pt x="317" y="45"/>
                  <a:pt x="316" y="45"/>
                  <a:pt x="316" y="45"/>
                </a:cubicBezTo>
                <a:cubicBezTo>
                  <a:pt x="315" y="45"/>
                  <a:pt x="315" y="44"/>
                  <a:pt x="315" y="45"/>
                </a:cubicBezTo>
                <a:cubicBezTo>
                  <a:pt x="314" y="45"/>
                  <a:pt x="314" y="46"/>
                  <a:pt x="314" y="46"/>
                </a:cubicBezTo>
                <a:cubicBezTo>
                  <a:pt x="313" y="46"/>
                  <a:pt x="313" y="46"/>
                  <a:pt x="313" y="46"/>
                </a:cubicBezTo>
                <a:cubicBezTo>
                  <a:pt x="313" y="47"/>
                  <a:pt x="313" y="48"/>
                  <a:pt x="313" y="49"/>
                </a:cubicBezTo>
                <a:close/>
                <a:moveTo>
                  <a:pt x="466" y="48"/>
                </a:moveTo>
                <a:cubicBezTo>
                  <a:pt x="467" y="47"/>
                  <a:pt x="466" y="46"/>
                  <a:pt x="466" y="45"/>
                </a:cubicBezTo>
                <a:cubicBezTo>
                  <a:pt x="467" y="45"/>
                  <a:pt x="467" y="45"/>
                  <a:pt x="467" y="44"/>
                </a:cubicBezTo>
                <a:cubicBezTo>
                  <a:pt x="466" y="45"/>
                  <a:pt x="465" y="45"/>
                  <a:pt x="464" y="44"/>
                </a:cubicBezTo>
                <a:cubicBezTo>
                  <a:pt x="464" y="44"/>
                  <a:pt x="463" y="44"/>
                  <a:pt x="462" y="44"/>
                </a:cubicBezTo>
                <a:cubicBezTo>
                  <a:pt x="462" y="44"/>
                  <a:pt x="462" y="44"/>
                  <a:pt x="461" y="44"/>
                </a:cubicBezTo>
                <a:cubicBezTo>
                  <a:pt x="461" y="44"/>
                  <a:pt x="462" y="45"/>
                  <a:pt x="461" y="45"/>
                </a:cubicBezTo>
                <a:cubicBezTo>
                  <a:pt x="461" y="46"/>
                  <a:pt x="461" y="46"/>
                  <a:pt x="461" y="46"/>
                </a:cubicBezTo>
                <a:cubicBezTo>
                  <a:pt x="462" y="46"/>
                  <a:pt x="462" y="46"/>
                  <a:pt x="463" y="46"/>
                </a:cubicBezTo>
                <a:cubicBezTo>
                  <a:pt x="463" y="46"/>
                  <a:pt x="462" y="47"/>
                  <a:pt x="463" y="47"/>
                </a:cubicBezTo>
                <a:cubicBezTo>
                  <a:pt x="464" y="47"/>
                  <a:pt x="463" y="47"/>
                  <a:pt x="464" y="47"/>
                </a:cubicBezTo>
                <a:cubicBezTo>
                  <a:pt x="465" y="47"/>
                  <a:pt x="465" y="47"/>
                  <a:pt x="466" y="48"/>
                </a:cubicBezTo>
                <a:cubicBezTo>
                  <a:pt x="467" y="47"/>
                  <a:pt x="466" y="48"/>
                  <a:pt x="466" y="48"/>
                </a:cubicBezTo>
                <a:close/>
                <a:moveTo>
                  <a:pt x="1291" y="58"/>
                </a:moveTo>
                <a:cubicBezTo>
                  <a:pt x="1290" y="58"/>
                  <a:pt x="1291" y="58"/>
                  <a:pt x="1292" y="58"/>
                </a:cubicBezTo>
                <a:cubicBezTo>
                  <a:pt x="1292" y="58"/>
                  <a:pt x="1293" y="58"/>
                  <a:pt x="1293" y="58"/>
                </a:cubicBezTo>
                <a:cubicBezTo>
                  <a:pt x="1293" y="58"/>
                  <a:pt x="1293" y="59"/>
                  <a:pt x="1293" y="59"/>
                </a:cubicBezTo>
                <a:cubicBezTo>
                  <a:pt x="1293" y="59"/>
                  <a:pt x="1294" y="59"/>
                  <a:pt x="1294" y="58"/>
                </a:cubicBezTo>
                <a:cubicBezTo>
                  <a:pt x="1294" y="58"/>
                  <a:pt x="1294" y="58"/>
                  <a:pt x="1294" y="58"/>
                </a:cubicBezTo>
                <a:cubicBezTo>
                  <a:pt x="1294" y="58"/>
                  <a:pt x="1294" y="58"/>
                  <a:pt x="1294" y="58"/>
                </a:cubicBezTo>
                <a:cubicBezTo>
                  <a:pt x="1295" y="58"/>
                  <a:pt x="1295" y="58"/>
                  <a:pt x="1296" y="57"/>
                </a:cubicBezTo>
                <a:cubicBezTo>
                  <a:pt x="1297" y="57"/>
                  <a:pt x="1296" y="57"/>
                  <a:pt x="1297" y="56"/>
                </a:cubicBezTo>
                <a:cubicBezTo>
                  <a:pt x="1298" y="56"/>
                  <a:pt x="1299" y="55"/>
                  <a:pt x="1299" y="55"/>
                </a:cubicBezTo>
                <a:cubicBezTo>
                  <a:pt x="1299" y="55"/>
                  <a:pt x="1300" y="55"/>
                  <a:pt x="1300" y="55"/>
                </a:cubicBezTo>
                <a:cubicBezTo>
                  <a:pt x="1300" y="55"/>
                  <a:pt x="1300" y="55"/>
                  <a:pt x="1300" y="55"/>
                </a:cubicBezTo>
                <a:cubicBezTo>
                  <a:pt x="1301" y="56"/>
                  <a:pt x="1302" y="55"/>
                  <a:pt x="1302" y="55"/>
                </a:cubicBezTo>
                <a:cubicBezTo>
                  <a:pt x="1302" y="55"/>
                  <a:pt x="1303" y="56"/>
                  <a:pt x="1303" y="56"/>
                </a:cubicBezTo>
                <a:cubicBezTo>
                  <a:pt x="1304" y="56"/>
                  <a:pt x="1303" y="56"/>
                  <a:pt x="1304" y="56"/>
                </a:cubicBezTo>
                <a:cubicBezTo>
                  <a:pt x="1304" y="56"/>
                  <a:pt x="1305" y="56"/>
                  <a:pt x="1305" y="56"/>
                </a:cubicBezTo>
                <a:cubicBezTo>
                  <a:pt x="1305" y="56"/>
                  <a:pt x="1305" y="56"/>
                  <a:pt x="1305" y="56"/>
                </a:cubicBezTo>
                <a:cubicBezTo>
                  <a:pt x="1306" y="56"/>
                  <a:pt x="1306" y="56"/>
                  <a:pt x="1307" y="55"/>
                </a:cubicBezTo>
                <a:cubicBezTo>
                  <a:pt x="1308" y="55"/>
                  <a:pt x="1308" y="55"/>
                  <a:pt x="1309" y="55"/>
                </a:cubicBezTo>
                <a:cubicBezTo>
                  <a:pt x="1310" y="55"/>
                  <a:pt x="1310" y="54"/>
                  <a:pt x="1311" y="54"/>
                </a:cubicBezTo>
                <a:cubicBezTo>
                  <a:pt x="1311" y="54"/>
                  <a:pt x="1311" y="54"/>
                  <a:pt x="1311" y="54"/>
                </a:cubicBezTo>
                <a:cubicBezTo>
                  <a:pt x="1311" y="54"/>
                  <a:pt x="1312" y="54"/>
                  <a:pt x="1312" y="54"/>
                </a:cubicBezTo>
                <a:cubicBezTo>
                  <a:pt x="1313" y="54"/>
                  <a:pt x="1313" y="53"/>
                  <a:pt x="1314" y="53"/>
                </a:cubicBezTo>
                <a:cubicBezTo>
                  <a:pt x="1314" y="52"/>
                  <a:pt x="1314" y="53"/>
                  <a:pt x="1314" y="52"/>
                </a:cubicBezTo>
                <a:cubicBezTo>
                  <a:pt x="1314" y="52"/>
                  <a:pt x="1314" y="52"/>
                  <a:pt x="1314" y="51"/>
                </a:cubicBezTo>
                <a:cubicBezTo>
                  <a:pt x="1314" y="50"/>
                  <a:pt x="1313" y="50"/>
                  <a:pt x="1312" y="50"/>
                </a:cubicBezTo>
                <a:cubicBezTo>
                  <a:pt x="1312" y="49"/>
                  <a:pt x="1311" y="49"/>
                  <a:pt x="1311" y="49"/>
                </a:cubicBezTo>
                <a:cubicBezTo>
                  <a:pt x="1310" y="49"/>
                  <a:pt x="1310" y="49"/>
                  <a:pt x="1310" y="49"/>
                </a:cubicBezTo>
                <a:cubicBezTo>
                  <a:pt x="1310" y="48"/>
                  <a:pt x="1308" y="48"/>
                  <a:pt x="1308" y="48"/>
                </a:cubicBezTo>
                <a:cubicBezTo>
                  <a:pt x="1307" y="48"/>
                  <a:pt x="1306" y="47"/>
                  <a:pt x="1306" y="46"/>
                </a:cubicBezTo>
                <a:cubicBezTo>
                  <a:pt x="1306" y="46"/>
                  <a:pt x="1305" y="47"/>
                  <a:pt x="1305" y="46"/>
                </a:cubicBezTo>
                <a:cubicBezTo>
                  <a:pt x="1305" y="46"/>
                  <a:pt x="1305" y="46"/>
                  <a:pt x="1304" y="46"/>
                </a:cubicBezTo>
                <a:cubicBezTo>
                  <a:pt x="1304" y="46"/>
                  <a:pt x="1303" y="47"/>
                  <a:pt x="1302" y="47"/>
                </a:cubicBezTo>
                <a:cubicBezTo>
                  <a:pt x="1302" y="46"/>
                  <a:pt x="1303" y="45"/>
                  <a:pt x="1302" y="45"/>
                </a:cubicBezTo>
                <a:cubicBezTo>
                  <a:pt x="1302" y="44"/>
                  <a:pt x="1301" y="43"/>
                  <a:pt x="1301" y="43"/>
                </a:cubicBezTo>
                <a:cubicBezTo>
                  <a:pt x="1301" y="43"/>
                  <a:pt x="1301" y="44"/>
                  <a:pt x="1301" y="44"/>
                </a:cubicBezTo>
                <a:cubicBezTo>
                  <a:pt x="1301" y="44"/>
                  <a:pt x="1300" y="44"/>
                  <a:pt x="1300" y="45"/>
                </a:cubicBezTo>
                <a:cubicBezTo>
                  <a:pt x="1301" y="44"/>
                  <a:pt x="1299" y="44"/>
                  <a:pt x="1299" y="44"/>
                </a:cubicBezTo>
                <a:cubicBezTo>
                  <a:pt x="1299" y="44"/>
                  <a:pt x="1299" y="46"/>
                  <a:pt x="1299" y="46"/>
                </a:cubicBezTo>
                <a:cubicBezTo>
                  <a:pt x="1299" y="46"/>
                  <a:pt x="1298" y="47"/>
                  <a:pt x="1298" y="47"/>
                </a:cubicBezTo>
                <a:cubicBezTo>
                  <a:pt x="1298" y="48"/>
                  <a:pt x="1298" y="48"/>
                  <a:pt x="1297" y="49"/>
                </a:cubicBezTo>
                <a:cubicBezTo>
                  <a:pt x="1297" y="49"/>
                  <a:pt x="1297" y="50"/>
                  <a:pt x="1297" y="50"/>
                </a:cubicBezTo>
                <a:cubicBezTo>
                  <a:pt x="1297" y="50"/>
                  <a:pt x="1297" y="51"/>
                  <a:pt x="1297" y="52"/>
                </a:cubicBezTo>
                <a:cubicBezTo>
                  <a:pt x="1296" y="51"/>
                  <a:pt x="1296" y="51"/>
                  <a:pt x="1295" y="53"/>
                </a:cubicBezTo>
                <a:cubicBezTo>
                  <a:pt x="1295" y="53"/>
                  <a:pt x="1295" y="54"/>
                  <a:pt x="1294" y="55"/>
                </a:cubicBezTo>
                <a:cubicBezTo>
                  <a:pt x="1293" y="55"/>
                  <a:pt x="1292" y="57"/>
                  <a:pt x="1291" y="58"/>
                </a:cubicBezTo>
                <a:close/>
                <a:moveTo>
                  <a:pt x="1254" y="41"/>
                </a:moveTo>
                <a:cubicBezTo>
                  <a:pt x="1255" y="41"/>
                  <a:pt x="1255" y="41"/>
                  <a:pt x="1255" y="41"/>
                </a:cubicBezTo>
                <a:cubicBezTo>
                  <a:pt x="1255" y="42"/>
                  <a:pt x="1254" y="42"/>
                  <a:pt x="1253" y="43"/>
                </a:cubicBezTo>
                <a:cubicBezTo>
                  <a:pt x="1254" y="44"/>
                  <a:pt x="1253" y="45"/>
                  <a:pt x="1254" y="45"/>
                </a:cubicBezTo>
                <a:cubicBezTo>
                  <a:pt x="1255" y="46"/>
                  <a:pt x="1254" y="45"/>
                  <a:pt x="1254" y="46"/>
                </a:cubicBezTo>
                <a:cubicBezTo>
                  <a:pt x="1254" y="46"/>
                  <a:pt x="1255" y="46"/>
                  <a:pt x="1256" y="46"/>
                </a:cubicBezTo>
                <a:cubicBezTo>
                  <a:pt x="1257" y="46"/>
                  <a:pt x="1257" y="46"/>
                  <a:pt x="1258" y="46"/>
                </a:cubicBezTo>
                <a:cubicBezTo>
                  <a:pt x="1259" y="46"/>
                  <a:pt x="1261" y="46"/>
                  <a:pt x="1262" y="46"/>
                </a:cubicBezTo>
                <a:cubicBezTo>
                  <a:pt x="1262" y="46"/>
                  <a:pt x="1262" y="45"/>
                  <a:pt x="1262" y="45"/>
                </a:cubicBezTo>
                <a:cubicBezTo>
                  <a:pt x="1263" y="45"/>
                  <a:pt x="1264" y="45"/>
                  <a:pt x="1264" y="44"/>
                </a:cubicBezTo>
                <a:cubicBezTo>
                  <a:pt x="1263" y="42"/>
                  <a:pt x="1261" y="42"/>
                  <a:pt x="1260" y="41"/>
                </a:cubicBezTo>
                <a:cubicBezTo>
                  <a:pt x="1260" y="41"/>
                  <a:pt x="1259" y="41"/>
                  <a:pt x="1259" y="41"/>
                </a:cubicBezTo>
                <a:cubicBezTo>
                  <a:pt x="1259" y="41"/>
                  <a:pt x="1259" y="41"/>
                  <a:pt x="1259" y="41"/>
                </a:cubicBezTo>
                <a:cubicBezTo>
                  <a:pt x="1259" y="40"/>
                  <a:pt x="1258" y="40"/>
                  <a:pt x="1257" y="40"/>
                </a:cubicBezTo>
                <a:cubicBezTo>
                  <a:pt x="1256" y="40"/>
                  <a:pt x="1256" y="40"/>
                  <a:pt x="1255" y="40"/>
                </a:cubicBezTo>
                <a:cubicBezTo>
                  <a:pt x="1254" y="40"/>
                  <a:pt x="1254" y="41"/>
                  <a:pt x="1254" y="41"/>
                </a:cubicBezTo>
                <a:close/>
                <a:moveTo>
                  <a:pt x="1061" y="40"/>
                </a:moveTo>
                <a:cubicBezTo>
                  <a:pt x="1060" y="41"/>
                  <a:pt x="1059" y="41"/>
                  <a:pt x="1059" y="42"/>
                </a:cubicBezTo>
                <a:cubicBezTo>
                  <a:pt x="1059" y="42"/>
                  <a:pt x="1058" y="43"/>
                  <a:pt x="1059" y="43"/>
                </a:cubicBezTo>
                <a:cubicBezTo>
                  <a:pt x="1060" y="43"/>
                  <a:pt x="1062" y="43"/>
                  <a:pt x="1063" y="43"/>
                </a:cubicBezTo>
                <a:cubicBezTo>
                  <a:pt x="1063" y="42"/>
                  <a:pt x="1063" y="41"/>
                  <a:pt x="1062" y="40"/>
                </a:cubicBezTo>
                <a:cubicBezTo>
                  <a:pt x="1062" y="40"/>
                  <a:pt x="1061" y="40"/>
                  <a:pt x="1061" y="40"/>
                </a:cubicBezTo>
                <a:cubicBezTo>
                  <a:pt x="1061" y="41"/>
                  <a:pt x="1061" y="40"/>
                  <a:pt x="1061" y="40"/>
                </a:cubicBezTo>
                <a:close/>
                <a:moveTo>
                  <a:pt x="1097" y="41"/>
                </a:moveTo>
                <a:cubicBezTo>
                  <a:pt x="1098" y="42"/>
                  <a:pt x="1098" y="42"/>
                  <a:pt x="1099" y="43"/>
                </a:cubicBezTo>
                <a:cubicBezTo>
                  <a:pt x="1100" y="43"/>
                  <a:pt x="1100" y="43"/>
                  <a:pt x="1101" y="43"/>
                </a:cubicBezTo>
                <a:cubicBezTo>
                  <a:pt x="1101" y="42"/>
                  <a:pt x="1101" y="42"/>
                  <a:pt x="1102" y="42"/>
                </a:cubicBezTo>
                <a:cubicBezTo>
                  <a:pt x="1101" y="41"/>
                  <a:pt x="1101" y="39"/>
                  <a:pt x="1100" y="39"/>
                </a:cubicBezTo>
                <a:cubicBezTo>
                  <a:pt x="1099" y="39"/>
                  <a:pt x="1099" y="40"/>
                  <a:pt x="1098" y="40"/>
                </a:cubicBezTo>
                <a:cubicBezTo>
                  <a:pt x="1097" y="40"/>
                  <a:pt x="1097" y="40"/>
                  <a:pt x="1097" y="41"/>
                </a:cubicBezTo>
                <a:cubicBezTo>
                  <a:pt x="1099" y="42"/>
                  <a:pt x="1097" y="41"/>
                  <a:pt x="1097" y="41"/>
                </a:cubicBezTo>
                <a:close/>
                <a:moveTo>
                  <a:pt x="1058" y="41"/>
                </a:moveTo>
                <a:cubicBezTo>
                  <a:pt x="1058" y="40"/>
                  <a:pt x="1057" y="40"/>
                  <a:pt x="1058" y="40"/>
                </a:cubicBezTo>
                <a:cubicBezTo>
                  <a:pt x="1058" y="40"/>
                  <a:pt x="1058" y="39"/>
                  <a:pt x="1058" y="38"/>
                </a:cubicBezTo>
                <a:cubicBezTo>
                  <a:pt x="1057" y="39"/>
                  <a:pt x="1055" y="39"/>
                  <a:pt x="1054" y="39"/>
                </a:cubicBezTo>
                <a:cubicBezTo>
                  <a:pt x="1055" y="40"/>
                  <a:pt x="1055" y="40"/>
                  <a:pt x="1056" y="40"/>
                </a:cubicBezTo>
                <a:cubicBezTo>
                  <a:pt x="1056" y="40"/>
                  <a:pt x="1056" y="41"/>
                  <a:pt x="1056" y="41"/>
                </a:cubicBezTo>
                <a:cubicBezTo>
                  <a:pt x="1057" y="41"/>
                  <a:pt x="1057" y="41"/>
                  <a:pt x="1058" y="41"/>
                </a:cubicBezTo>
                <a:close/>
                <a:moveTo>
                  <a:pt x="896" y="61"/>
                </a:moveTo>
                <a:cubicBezTo>
                  <a:pt x="896" y="61"/>
                  <a:pt x="896" y="61"/>
                  <a:pt x="897" y="61"/>
                </a:cubicBezTo>
                <a:cubicBezTo>
                  <a:pt x="896" y="61"/>
                  <a:pt x="896" y="61"/>
                  <a:pt x="896" y="61"/>
                </a:cubicBezTo>
                <a:cubicBezTo>
                  <a:pt x="897" y="61"/>
                  <a:pt x="896" y="61"/>
                  <a:pt x="896" y="61"/>
                </a:cubicBezTo>
                <a:close/>
                <a:moveTo>
                  <a:pt x="875" y="44"/>
                </a:moveTo>
                <a:cubicBezTo>
                  <a:pt x="875" y="44"/>
                  <a:pt x="876" y="44"/>
                  <a:pt x="876" y="44"/>
                </a:cubicBezTo>
                <a:cubicBezTo>
                  <a:pt x="876" y="45"/>
                  <a:pt x="876" y="46"/>
                  <a:pt x="877" y="47"/>
                </a:cubicBezTo>
                <a:cubicBezTo>
                  <a:pt x="877" y="47"/>
                  <a:pt x="876" y="47"/>
                  <a:pt x="876" y="47"/>
                </a:cubicBezTo>
                <a:cubicBezTo>
                  <a:pt x="875" y="47"/>
                  <a:pt x="875" y="48"/>
                  <a:pt x="875" y="49"/>
                </a:cubicBezTo>
                <a:cubicBezTo>
                  <a:pt x="875" y="50"/>
                  <a:pt x="877" y="50"/>
                  <a:pt x="878" y="51"/>
                </a:cubicBezTo>
                <a:cubicBezTo>
                  <a:pt x="877" y="51"/>
                  <a:pt x="877" y="52"/>
                  <a:pt x="877" y="52"/>
                </a:cubicBezTo>
                <a:cubicBezTo>
                  <a:pt x="878" y="52"/>
                  <a:pt x="877" y="53"/>
                  <a:pt x="878" y="53"/>
                </a:cubicBezTo>
                <a:cubicBezTo>
                  <a:pt x="878" y="53"/>
                  <a:pt x="878" y="54"/>
                  <a:pt x="878" y="54"/>
                </a:cubicBezTo>
                <a:cubicBezTo>
                  <a:pt x="878" y="55"/>
                  <a:pt x="878" y="55"/>
                  <a:pt x="878" y="55"/>
                </a:cubicBezTo>
                <a:cubicBezTo>
                  <a:pt x="879" y="56"/>
                  <a:pt x="880" y="56"/>
                  <a:pt x="881" y="56"/>
                </a:cubicBezTo>
                <a:cubicBezTo>
                  <a:pt x="881" y="56"/>
                  <a:pt x="881" y="55"/>
                  <a:pt x="881" y="55"/>
                </a:cubicBezTo>
                <a:cubicBezTo>
                  <a:pt x="882" y="55"/>
                  <a:pt x="882" y="55"/>
                  <a:pt x="882" y="54"/>
                </a:cubicBezTo>
                <a:cubicBezTo>
                  <a:pt x="883" y="54"/>
                  <a:pt x="884" y="54"/>
                  <a:pt x="885" y="54"/>
                </a:cubicBezTo>
                <a:cubicBezTo>
                  <a:pt x="885" y="54"/>
                  <a:pt x="886" y="54"/>
                  <a:pt x="886" y="54"/>
                </a:cubicBezTo>
                <a:cubicBezTo>
                  <a:pt x="886" y="52"/>
                  <a:pt x="885" y="52"/>
                  <a:pt x="887" y="52"/>
                </a:cubicBezTo>
                <a:cubicBezTo>
                  <a:pt x="887" y="52"/>
                  <a:pt x="887" y="52"/>
                  <a:pt x="887" y="52"/>
                </a:cubicBezTo>
                <a:cubicBezTo>
                  <a:pt x="888" y="52"/>
                  <a:pt x="888" y="51"/>
                  <a:pt x="889" y="51"/>
                </a:cubicBezTo>
                <a:cubicBezTo>
                  <a:pt x="889" y="52"/>
                  <a:pt x="889" y="54"/>
                  <a:pt x="890" y="54"/>
                </a:cubicBezTo>
                <a:cubicBezTo>
                  <a:pt x="890" y="54"/>
                  <a:pt x="892" y="55"/>
                  <a:pt x="892" y="54"/>
                </a:cubicBezTo>
                <a:cubicBezTo>
                  <a:pt x="892" y="54"/>
                  <a:pt x="893" y="54"/>
                  <a:pt x="893" y="54"/>
                </a:cubicBezTo>
                <a:cubicBezTo>
                  <a:pt x="893" y="55"/>
                  <a:pt x="893" y="55"/>
                  <a:pt x="893" y="55"/>
                </a:cubicBezTo>
                <a:cubicBezTo>
                  <a:pt x="893" y="55"/>
                  <a:pt x="894" y="56"/>
                  <a:pt x="894" y="56"/>
                </a:cubicBezTo>
                <a:cubicBezTo>
                  <a:pt x="895" y="56"/>
                  <a:pt x="895" y="56"/>
                  <a:pt x="896" y="56"/>
                </a:cubicBezTo>
                <a:cubicBezTo>
                  <a:pt x="896" y="56"/>
                  <a:pt x="898" y="56"/>
                  <a:pt x="898" y="56"/>
                </a:cubicBezTo>
                <a:cubicBezTo>
                  <a:pt x="899" y="56"/>
                  <a:pt x="898" y="57"/>
                  <a:pt x="897" y="57"/>
                </a:cubicBezTo>
                <a:cubicBezTo>
                  <a:pt x="896" y="57"/>
                  <a:pt x="894" y="57"/>
                  <a:pt x="893" y="57"/>
                </a:cubicBezTo>
                <a:cubicBezTo>
                  <a:pt x="891" y="58"/>
                  <a:pt x="890" y="57"/>
                  <a:pt x="889" y="57"/>
                </a:cubicBezTo>
                <a:cubicBezTo>
                  <a:pt x="888" y="58"/>
                  <a:pt x="888" y="57"/>
                  <a:pt x="887" y="58"/>
                </a:cubicBezTo>
                <a:cubicBezTo>
                  <a:pt x="887" y="58"/>
                  <a:pt x="887" y="58"/>
                  <a:pt x="887" y="59"/>
                </a:cubicBezTo>
                <a:cubicBezTo>
                  <a:pt x="886" y="58"/>
                  <a:pt x="886" y="58"/>
                  <a:pt x="885" y="58"/>
                </a:cubicBezTo>
                <a:cubicBezTo>
                  <a:pt x="885" y="58"/>
                  <a:pt x="885" y="58"/>
                  <a:pt x="885" y="58"/>
                </a:cubicBezTo>
                <a:cubicBezTo>
                  <a:pt x="884" y="57"/>
                  <a:pt x="884" y="57"/>
                  <a:pt x="883" y="57"/>
                </a:cubicBezTo>
                <a:cubicBezTo>
                  <a:pt x="883" y="58"/>
                  <a:pt x="883" y="58"/>
                  <a:pt x="883" y="58"/>
                </a:cubicBezTo>
                <a:cubicBezTo>
                  <a:pt x="882" y="58"/>
                  <a:pt x="882" y="58"/>
                  <a:pt x="881" y="58"/>
                </a:cubicBezTo>
                <a:cubicBezTo>
                  <a:pt x="881" y="59"/>
                  <a:pt x="881" y="60"/>
                  <a:pt x="882" y="61"/>
                </a:cubicBezTo>
                <a:cubicBezTo>
                  <a:pt x="882" y="62"/>
                  <a:pt x="882" y="62"/>
                  <a:pt x="883" y="62"/>
                </a:cubicBezTo>
                <a:cubicBezTo>
                  <a:pt x="883" y="61"/>
                  <a:pt x="883" y="61"/>
                  <a:pt x="884" y="61"/>
                </a:cubicBezTo>
                <a:cubicBezTo>
                  <a:pt x="884" y="62"/>
                  <a:pt x="886" y="61"/>
                  <a:pt x="887" y="61"/>
                </a:cubicBezTo>
                <a:cubicBezTo>
                  <a:pt x="888" y="61"/>
                  <a:pt x="890" y="61"/>
                  <a:pt x="891" y="61"/>
                </a:cubicBezTo>
                <a:cubicBezTo>
                  <a:pt x="892" y="61"/>
                  <a:pt x="891" y="61"/>
                  <a:pt x="891" y="61"/>
                </a:cubicBezTo>
                <a:cubicBezTo>
                  <a:pt x="890" y="61"/>
                  <a:pt x="890" y="61"/>
                  <a:pt x="889" y="61"/>
                </a:cubicBezTo>
                <a:cubicBezTo>
                  <a:pt x="889" y="61"/>
                  <a:pt x="889" y="62"/>
                  <a:pt x="889" y="62"/>
                </a:cubicBezTo>
                <a:cubicBezTo>
                  <a:pt x="888" y="62"/>
                  <a:pt x="888" y="62"/>
                  <a:pt x="888" y="62"/>
                </a:cubicBezTo>
                <a:cubicBezTo>
                  <a:pt x="887" y="63"/>
                  <a:pt x="888" y="65"/>
                  <a:pt x="889" y="65"/>
                </a:cubicBezTo>
                <a:cubicBezTo>
                  <a:pt x="889" y="65"/>
                  <a:pt x="886" y="65"/>
                  <a:pt x="886" y="64"/>
                </a:cubicBezTo>
                <a:cubicBezTo>
                  <a:pt x="886" y="64"/>
                  <a:pt x="885" y="65"/>
                  <a:pt x="885" y="65"/>
                </a:cubicBezTo>
                <a:cubicBezTo>
                  <a:pt x="885" y="64"/>
                  <a:pt x="883" y="64"/>
                  <a:pt x="883" y="64"/>
                </a:cubicBezTo>
                <a:cubicBezTo>
                  <a:pt x="882" y="64"/>
                  <a:pt x="882" y="65"/>
                  <a:pt x="883" y="66"/>
                </a:cubicBezTo>
                <a:cubicBezTo>
                  <a:pt x="883" y="66"/>
                  <a:pt x="883" y="68"/>
                  <a:pt x="883" y="68"/>
                </a:cubicBezTo>
                <a:cubicBezTo>
                  <a:pt x="884" y="68"/>
                  <a:pt x="883" y="68"/>
                  <a:pt x="883" y="68"/>
                </a:cubicBezTo>
                <a:cubicBezTo>
                  <a:pt x="884" y="68"/>
                  <a:pt x="885" y="68"/>
                  <a:pt x="886" y="68"/>
                </a:cubicBezTo>
                <a:cubicBezTo>
                  <a:pt x="887" y="68"/>
                  <a:pt x="887" y="69"/>
                  <a:pt x="888" y="69"/>
                </a:cubicBezTo>
                <a:cubicBezTo>
                  <a:pt x="888" y="69"/>
                  <a:pt x="888" y="70"/>
                  <a:pt x="889" y="70"/>
                </a:cubicBezTo>
                <a:cubicBezTo>
                  <a:pt x="890" y="70"/>
                  <a:pt x="890" y="71"/>
                  <a:pt x="891" y="71"/>
                </a:cubicBezTo>
                <a:cubicBezTo>
                  <a:pt x="891" y="71"/>
                  <a:pt x="892" y="71"/>
                  <a:pt x="892" y="70"/>
                </a:cubicBezTo>
                <a:cubicBezTo>
                  <a:pt x="893" y="70"/>
                  <a:pt x="893" y="71"/>
                  <a:pt x="893" y="72"/>
                </a:cubicBezTo>
                <a:cubicBezTo>
                  <a:pt x="893" y="72"/>
                  <a:pt x="894" y="74"/>
                  <a:pt x="894" y="74"/>
                </a:cubicBezTo>
                <a:cubicBezTo>
                  <a:pt x="894" y="75"/>
                  <a:pt x="895" y="75"/>
                  <a:pt x="895" y="74"/>
                </a:cubicBezTo>
                <a:cubicBezTo>
                  <a:pt x="895" y="73"/>
                  <a:pt x="895" y="73"/>
                  <a:pt x="896" y="74"/>
                </a:cubicBezTo>
                <a:cubicBezTo>
                  <a:pt x="896" y="73"/>
                  <a:pt x="898" y="74"/>
                  <a:pt x="897" y="72"/>
                </a:cubicBezTo>
                <a:cubicBezTo>
                  <a:pt x="897" y="72"/>
                  <a:pt x="897" y="71"/>
                  <a:pt x="897" y="71"/>
                </a:cubicBezTo>
                <a:cubicBezTo>
                  <a:pt x="896" y="70"/>
                  <a:pt x="897" y="70"/>
                  <a:pt x="898" y="70"/>
                </a:cubicBezTo>
                <a:cubicBezTo>
                  <a:pt x="898" y="70"/>
                  <a:pt x="900" y="70"/>
                  <a:pt x="901" y="70"/>
                </a:cubicBezTo>
                <a:cubicBezTo>
                  <a:pt x="901" y="70"/>
                  <a:pt x="902" y="68"/>
                  <a:pt x="902" y="68"/>
                </a:cubicBezTo>
                <a:cubicBezTo>
                  <a:pt x="903" y="68"/>
                  <a:pt x="903" y="67"/>
                  <a:pt x="903" y="67"/>
                </a:cubicBezTo>
                <a:cubicBezTo>
                  <a:pt x="903" y="66"/>
                  <a:pt x="903" y="66"/>
                  <a:pt x="904" y="66"/>
                </a:cubicBezTo>
                <a:cubicBezTo>
                  <a:pt x="906" y="66"/>
                  <a:pt x="906" y="65"/>
                  <a:pt x="906" y="63"/>
                </a:cubicBezTo>
                <a:cubicBezTo>
                  <a:pt x="906" y="62"/>
                  <a:pt x="907" y="62"/>
                  <a:pt x="908" y="62"/>
                </a:cubicBezTo>
                <a:cubicBezTo>
                  <a:pt x="908" y="62"/>
                  <a:pt x="908" y="62"/>
                  <a:pt x="908" y="62"/>
                </a:cubicBezTo>
                <a:cubicBezTo>
                  <a:pt x="908" y="62"/>
                  <a:pt x="908" y="61"/>
                  <a:pt x="908" y="61"/>
                </a:cubicBezTo>
                <a:cubicBezTo>
                  <a:pt x="908" y="61"/>
                  <a:pt x="908" y="61"/>
                  <a:pt x="908" y="60"/>
                </a:cubicBezTo>
                <a:cubicBezTo>
                  <a:pt x="908" y="60"/>
                  <a:pt x="908" y="59"/>
                  <a:pt x="907" y="59"/>
                </a:cubicBezTo>
                <a:cubicBezTo>
                  <a:pt x="907" y="58"/>
                  <a:pt x="907" y="57"/>
                  <a:pt x="908" y="57"/>
                </a:cubicBezTo>
                <a:cubicBezTo>
                  <a:pt x="909" y="56"/>
                  <a:pt x="909" y="56"/>
                  <a:pt x="910" y="56"/>
                </a:cubicBezTo>
                <a:cubicBezTo>
                  <a:pt x="911" y="55"/>
                  <a:pt x="913" y="55"/>
                  <a:pt x="915" y="55"/>
                </a:cubicBezTo>
                <a:cubicBezTo>
                  <a:pt x="915" y="53"/>
                  <a:pt x="914" y="53"/>
                  <a:pt x="912" y="53"/>
                </a:cubicBezTo>
                <a:cubicBezTo>
                  <a:pt x="911" y="53"/>
                  <a:pt x="911" y="52"/>
                  <a:pt x="910" y="52"/>
                </a:cubicBezTo>
                <a:cubicBezTo>
                  <a:pt x="909" y="52"/>
                  <a:pt x="907" y="51"/>
                  <a:pt x="907" y="50"/>
                </a:cubicBezTo>
                <a:cubicBezTo>
                  <a:pt x="907" y="49"/>
                  <a:pt x="906" y="48"/>
                  <a:pt x="906" y="46"/>
                </a:cubicBezTo>
                <a:cubicBezTo>
                  <a:pt x="905" y="46"/>
                  <a:pt x="905" y="46"/>
                  <a:pt x="905" y="47"/>
                </a:cubicBezTo>
                <a:cubicBezTo>
                  <a:pt x="905" y="47"/>
                  <a:pt x="904" y="47"/>
                  <a:pt x="904" y="47"/>
                </a:cubicBezTo>
                <a:cubicBezTo>
                  <a:pt x="904" y="48"/>
                  <a:pt x="904" y="47"/>
                  <a:pt x="904" y="47"/>
                </a:cubicBezTo>
                <a:cubicBezTo>
                  <a:pt x="903" y="46"/>
                  <a:pt x="903" y="46"/>
                  <a:pt x="904" y="45"/>
                </a:cubicBezTo>
                <a:cubicBezTo>
                  <a:pt x="904" y="45"/>
                  <a:pt x="904" y="46"/>
                  <a:pt x="904" y="45"/>
                </a:cubicBezTo>
                <a:cubicBezTo>
                  <a:pt x="904" y="44"/>
                  <a:pt x="904" y="43"/>
                  <a:pt x="903" y="43"/>
                </a:cubicBezTo>
                <a:cubicBezTo>
                  <a:pt x="902" y="43"/>
                  <a:pt x="902" y="42"/>
                  <a:pt x="901" y="42"/>
                </a:cubicBezTo>
                <a:cubicBezTo>
                  <a:pt x="900" y="42"/>
                  <a:pt x="901" y="41"/>
                  <a:pt x="900" y="40"/>
                </a:cubicBezTo>
                <a:cubicBezTo>
                  <a:pt x="900" y="40"/>
                  <a:pt x="900" y="40"/>
                  <a:pt x="900" y="40"/>
                </a:cubicBezTo>
                <a:cubicBezTo>
                  <a:pt x="899" y="40"/>
                  <a:pt x="899" y="40"/>
                  <a:pt x="899" y="40"/>
                </a:cubicBezTo>
                <a:cubicBezTo>
                  <a:pt x="898" y="41"/>
                  <a:pt x="898" y="41"/>
                  <a:pt x="897" y="41"/>
                </a:cubicBezTo>
                <a:cubicBezTo>
                  <a:pt x="897" y="41"/>
                  <a:pt x="896" y="39"/>
                  <a:pt x="896" y="38"/>
                </a:cubicBezTo>
                <a:cubicBezTo>
                  <a:pt x="895" y="38"/>
                  <a:pt x="895" y="39"/>
                  <a:pt x="895" y="39"/>
                </a:cubicBezTo>
                <a:cubicBezTo>
                  <a:pt x="894" y="40"/>
                  <a:pt x="894" y="40"/>
                  <a:pt x="893" y="40"/>
                </a:cubicBezTo>
                <a:cubicBezTo>
                  <a:pt x="893" y="41"/>
                  <a:pt x="892" y="42"/>
                  <a:pt x="891" y="42"/>
                </a:cubicBezTo>
                <a:cubicBezTo>
                  <a:pt x="890" y="42"/>
                  <a:pt x="891" y="44"/>
                  <a:pt x="891" y="45"/>
                </a:cubicBezTo>
                <a:cubicBezTo>
                  <a:pt x="891" y="46"/>
                  <a:pt x="891" y="47"/>
                  <a:pt x="891" y="47"/>
                </a:cubicBezTo>
                <a:cubicBezTo>
                  <a:pt x="892" y="47"/>
                  <a:pt x="892" y="47"/>
                  <a:pt x="892" y="47"/>
                </a:cubicBezTo>
                <a:cubicBezTo>
                  <a:pt x="892" y="48"/>
                  <a:pt x="892" y="48"/>
                  <a:pt x="892" y="48"/>
                </a:cubicBezTo>
                <a:cubicBezTo>
                  <a:pt x="892" y="48"/>
                  <a:pt x="892" y="49"/>
                  <a:pt x="893" y="50"/>
                </a:cubicBezTo>
                <a:cubicBezTo>
                  <a:pt x="893" y="50"/>
                  <a:pt x="893" y="50"/>
                  <a:pt x="893" y="51"/>
                </a:cubicBezTo>
                <a:cubicBezTo>
                  <a:pt x="893" y="51"/>
                  <a:pt x="892" y="50"/>
                  <a:pt x="892" y="50"/>
                </a:cubicBezTo>
                <a:cubicBezTo>
                  <a:pt x="892" y="50"/>
                  <a:pt x="892" y="49"/>
                  <a:pt x="892" y="49"/>
                </a:cubicBezTo>
                <a:cubicBezTo>
                  <a:pt x="891" y="48"/>
                  <a:pt x="891" y="48"/>
                  <a:pt x="891" y="48"/>
                </a:cubicBezTo>
                <a:cubicBezTo>
                  <a:pt x="891" y="48"/>
                  <a:pt x="891" y="48"/>
                  <a:pt x="891" y="48"/>
                </a:cubicBezTo>
                <a:cubicBezTo>
                  <a:pt x="891" y="48"/>
                  <a:pt x="891" y="47"/>
                  <a:pt x="891" y="47"/>
                </a:cubicBezTo>
                <a:cubicBezTo>
                  <a:pt x="890" y="47"/>
                  <a:pt x="890" y="46"/>
                  <a:pt x="889" y="46"/>
                </a:cubicBezTo>
                <a:cubicBezTo>
                  <a:pt x="888" y="45"/>
                  <a:pt x="889" y="45"/>
                  <a:pt x="889" y="44"/>
                </a:cubicBezTo>
                <a:cubicBezTo>
                  <a:pt x="888" y="44"/>
                  <a:pt x="887" y="43"/>
                  <a:pt x="887" y="42"/>
                </a:cubicBezTo>
                <a:cubicBezTo>
                  <a:pt x="887" y="41"/>
                  <a:pt x="886" y="42"/>
                  <a:pt x="885" y="42"/>
                </a:cubicBezTo>
                <a:cubicBezTo>
                  <a:pt x="884" y="43"/>
                  <a:pt x="883" y="45"/>
                  <a:pt x="884" y="46"/>
                </a:cubicBezTo>
                <a:cubicBezTo>
                  <a:pt x="883" y="46"/>
                  <a:pt x="883" y="46"/>
                  <a:pt x="883" y="45"/>
                </a:cubicBezTo>
                <a:cubicBezTo>
                  <a:pt x="882" y="45"/>
                  <a:pt x="883" y="45"/>
                  <a:pt x="882" y="45"/>
                </a:cubicBezTo>
                <a:cubicBezTo>
                  <a:pt x="881" y="45"/>
                  <a:pt x="882" y="44"/>
                  <a:pt x="881" y="44"/>
                </a:cubicBezTo>
                <a:cubicBezTo>
                  <a:pt x="880" y="43"/>
                  <a:pt x="879" y="43"/>
                  <a:pt x="881" y="43"/>
                </a:cubicBezTo>
                <a:cubicBezTo>
                  <a:pt x="881" y="42"/>
                  <a:pt x="883" y="43"/>
                  <a:pt x="883" y="42"/>
                </a:cubicBezTo>
                <a:cubicBezTo>
                  <a:pt x="883" y="41"/>
                  <a:pt x="883" y="41"/>
                  <a:pt x="883" y="41"/>
                </a:cubicBezTo>
                <a:cubicBezTo>
                  <a:pt x="882" y="41"/>
                  <a:pt x="881" y="41"/>
                  <a:pt x="881" y="41"/>
                </a:cubicBezTo>
                <a:cubicBezTo>
                  <a:pt x="881" y="40"/>
                  <a:pt x="880" y="41"/>
                  <a:pt x="880" y="41"/>
                </a:cubicBezTo>
                <a:cubicBezTo>
                  <a:pt x="880" y="41"/>
                  <a:pt x="878" y="41"/>
                  <a:pt x="878" y="41"/>
                </a:cubicBezTo>
                <a:cubicBezTo>
                  <a:pt x="878" y="41"/>
                  <a:pt x="878" y="41"/>
                  <a:pt x="877" y="41"/>
                </a:cubicBezTo>
                <a:cubicBezTo>
                  <a:pt x="877" y="41"/>
                  <a:pt x="876" y="43"/>
                  <a:pt x="876" y="42"/>
                </a:cubicBezTo>
                <a:cubicBezTo>
                  <a:pt x="875" y="41"/>
                  <a:pt x="875" y="41"/>
                  <a:pt x="874" y="42"/>
                </a:cubicBezTo>
                <a:cubicBezTo>
                  <a:pt x="874" y="43"/>
                  <a:pt x="874" y="44"/>
                  <a:pt x="874" y="45"/>
                </a:cubicBezTo>
                <a:cubicBezTo>
                  <a:pt x="875" y="45"/>
                  <a:pt x="875" y="45"/>
                  <a:pt x="875" y="44"/>
                </a:cubicBezTo>
                <a:close/>
                <a:moveTo>
                  <a:pt x="1074" y="38"/>
                </a:moveTo>
                <a:cubicBezTo>
                  <a:pt x="1074" y="38"/>
                  <a:pt x="1074" y="38"/>
                  <a:pt x="1074" y="38"/>
                </a:cubicBezTo>
                <a:cubicBezTo>
                  <a:pt x="1074" y="37"/>
                  <a:pt x="1074" y="37"/>
                  <a:pt x="1074" y="37"/>
                </a:cubicBezTo>
                <a:cubicBezTo>
                  <a:pt x="1074" y="37"/>
                  <a:pt x="1074" y="38"/>
                  <a:pt x="1074" y="38"/>
                </a:cubicBezTo>
                <a:close/>
                <a:moveTo>
                  <a:pt x="1078" y="37"/>
                </a:moveTo>
                <a:cubicBezTo>
                  <a:pt x="1080" y="38"/>
                  <a:pt x="1080" y="38"/>
                  <a:pt x="1080" y="36"/>
                </a:cubicBezTo>
                <a:cubicBezTo>
                  <a:pt x="1079" y="36"/>
                  <a:pt x="1078" y="36"/>
                  <a:pt x="1078" y="37"/>
                </a:cubicBezTo>
                <a:cubicBezTo>
                  <a:pt x="1079" y="38"/>
                  <a:pt x="1078" y="37"/>
                  <a:pt x="1078" y="37"/>
                </a:cubicBezTo>
                <a:close/>
                <a:moveTo>
                  <a:pt x="345" y="41"/>
                </a:moveTo>
                <a:cubicBezTo>
                  <a:pt x="345" y="41"/>
                  <a:pt x="346" y="40"/>
                  <a:pt x="346" y="41"/>
                </a:cubicBezTo>
                <a:cubicBezTo>
                  <a:pt x="346" y="42"/>
                  <a:pt x="347" y="42"/>
                  <a:pt x="348" y="42"/>
                </a:cubicBezTo>
                <a:cubicBezTo>
                  <a:pt x="348" y="41"/>
                  <a:pt x="347" y="40"/>
                  <a:pt x="347" y="39"/>
                </a:cubicBezTo>
                <a:cubicBezTo>
                  <a:pt x="346" y="39"/>
                  <a:pt x="345" y="36"/>
                  <a:pt x="346" y="36"/>
                </a:cubicBezTo>
                <a:cubicBezTo>
                  <a:pt x="345" y="36"/>
                  <a:pt x="344" y="36"/>
                  <a:pt x="344" y="37"/>
                </a:cubicBezTo>
                <a:cubicBezTo>
                  <a:pt x="344" y="37"/>
                  <a:pt x="343" y="38"/>
                  <a:pt x="344" y="38"/>
                </a:cubicBezTo>
                <a:cubicBezTo>
                  <a:pt x="344" y="39"/>
                  <a:pt x="344" y="40"/>
                  <a:pt x="345" y="41"/>
                </a:cubicBezTo>
                <a:cubicBezTo>
                  <a:pt x="345" y="41"/>
                  <a:pt x="345" y="41"/>
                  <a:pt x="345" y="41"/>
                </a:cubicBezTo>
                <a:close/>
                <a:moveTo>
                  <a:pt x="724" y="36"/>
                </a:moveTo>
                <a:cubicBezTo>
                  <a:pt x="724" y="37"/>
                  <a:pt x="724" y="37"/>
                  <a:pt x="724" y="37"/>
                </a:cubicBezTo>
                <a:cubicBezTo>
                  <a:pt x="724" y="37"/>
                  <a:pt x="725" y="37"/>
                  <a:pt x="725" y="37"/>
                </a:cubicBezTo>
                <a:cubicBezTo>
                  <a:pt x="726" y="37"/>
                  <a:pt x="725" y="37"/>
                  <a:pt x="726" y="37"/>
                </a:cubicBezTo>
                <a:cubicBezTo>
                  <a:pt x="726" y="37"/>
                  <a:pt x="725" y="36"/>
                  <a:pt x="724" y="36"/>
                </a:cubicBezTo>
                <a:cubicBezTo>
                  <a:pt x="724" y="37"/>
                  <a:pt x="724" y="36"/>
                  <a:pt x="724" y="36"/>
                </a:cubicBezTo>
                <a:close/>
                <a:moveTo>
                  <a:pt x="1090" y="36"/>
                </a:moveTo>
                <a:cubicBezTo>
                  <a:pt x="1090" y="36"/>
                  <a:pt x="1087" y="36"/>
                  <a:pt x="1087" y="36"/>
                </a:cubicBezTo>
                <a:cubicBezTo>
                  <a:pt x="1087" y="37"/>
                  <a:pt x="1085" y="36"/>
                  <a:pt x="1085" y="37"/>
                </a:cubicBezTo>
                <a:cubicBezTo>
                  <a:pt x="1085" y="37"/>
                  <a:pt x="1085" y="37"/>
                  <a:pt x="1085" y="37"/>
                </a:cubicBezTo>
                <a:cubicBezTo>
                  <a:pt x="1085" y="38"/>
                  <a:pt x="1085" y="38"/>
                  <a:pt x="1085" y="39"/>
                </a:cubicBezTo>
                <a:cubicBezTo>
                  <a:pt x="1086" y="39"/>
                  <a:pt x="1087" y="39"/>
                  <a:pt x="1088" y="39"/>
                </a:cubicBezTo>
                <a:cubicBezTo>
                  <a:pt x="1088" y="39"/>
                  <a:pt x="1088" y="40"/>
                  <a:pt x="1088" y="40"/>
                </a:cubicBezTo>
                <a:cubicBezTo>
                  <a:pt x="1089" y="40"/>
                  <a:pt x="1089" y="40"/>
                  <a:pt x="1089" y="40"/>
                </a:cubicBezTo>
                <a:cubicBezTo>
                  <a:pt x="1090" y="40"/>
                  <a:pt x="1090" y="39"/>
                  <a:pt x="1090" y="39"/>
                </a:cubicBezTo>
                <a:cubicBezTo>
                  <a:pt x="1090" y="39"/>
                  <a:pt x="1089" y="38"/>
                  <a:pt x="1089" y="38"/>
                </a:cubicBezTo>
                <a:cubicBezTo>
                  <a:pt x="1090" y="38"/>
                  <a:pt x="1090" y="37"/>
                  <a:pt x="1091" y="37"/>
                </a:cubicBezTo>
                <a:cubicBezTo>
                  <a:pt x="1091" y="37"/>
                  <a:pt x="1090" y="36"/>
                  <a:pt x="1090" y="36"/>
                </a:cubicBezTo>
                <a:close/>
                <a:moveTo>
                  <a:pt x="1070" y="38"/>
                </a:moveTo>
                <a:cubicBezTo>
                  <a:pt x="1071" y="38"/>
                  <a:pt x="1072" y="38"/>
                  <a:pt x="1072" y="38"/>
                </a:cubicBezTo>
                <a:cubicBezTo>
                  <a:pt x="1072" y="38"/>
                  <a:pt x="1072" y="37"/>
                  <a:pt x="1072" y="37"/>
                </a:cubicBezTo>
                <a:cubicBezTo>
                  <a:pt x="1073" y="36"/>
                  <a:pt x="1072" y="36"/>
                  <a:pt x="1072" y="36"/>
                </a:cubicBezTo>
                <a:cubicBezTo>
                  <a:pt x="1071" y="36"/>
                  <a:pt x="1071" y="35"/>
                  <a:pt x="1070" y="35"/>
                </a:cubicBezTo>
                <a:cubicBezTo>
                  <a:pt x="1069" y="35"/>
                  <a:pt x="1069" y="35"/>
                  <a:pt x="1068" y="36"/>
                </a:cubicBezTo>
                <a:cubicBezTo>
                  <a:pt x="1068" y="36"/>
                  <a:pt x="1069" y="36"/>
                  <a:pt x="1068" y="36"/>
                </a:cubicBezTo>
                <a:cubicBezTo>
                  <a:pt x="1068" y="36"/>
                  <a:pt x="1067" y="36"/>
                  <a:pt x="1066" y="36"/>
                </a:cubicBezTo>
                <a:cubicBezTo>
                  <a:pt x="1065" y="37"/>
                  <a:pt x="1069" y="38"/>
                  <a:pt x="1070" y="38"/>
                </a:cubicBezTo>
                <a:cubicBezTo>
                  <a:pt x="1071" y="38"/>
                  <a:pt x="1070" y="38"/>
                  <a:pt x="1070" y="38"/>
                </a:cubicBezTo>
                <a:close/>
                <a:moveTo>
                  <a:pt x="926" y="36"/>
                </a:moveTo>
                <a:cubicBezTo>
                  <a:pt x="926" y="35"/>
                  <a:pt x="926" y="35"/>
                  <a:pt x="925" y="35"/>
                </a:cubicBezTo>
                <a:cubicBezTo>
                  <a:pt x="925" y="36"/>
                  <a:pt x="925" y="36"/>
                  <a:pt x="926" y="36"/>
                </a:cubicBezTo>
                <a:cubicBezTo>
                  <a:pt x="926" y="35"/>
                  <a:pt x="926" y="36"/>
                  <a:pt x="926" y="36"/>
                </a:cubicBezTo>
                <a:close/>
                <a:moveTo>
                  <a:pt x="1094" y="39"/>
                </a:moveTo>
                <a:cubicBezTo>
                  <a:pt x="1095" y="38"/>
                  <a:pt x="1095" y="37"/>
                  <a:pt x="1097" y="36"/>
                </a:cubicBezTo>
                <a:cubicBezTo>
                  <a:pt x="1097" y="36"/>
                  <a:pt x="1098" y="36"/>
                  <a:pt x="1098" y="36"/>
                </a:cubicBezTo>
                <a:cubicBezTo>
                  <a:pt x="1098" y="35"/>
                  <a:pt x="1096" y="35"/>
                  <a:pt x="1095" y="35"/>
                </a:cubicBezTo>
                <a:cubicBezTo>
                  <a:pt x="1094" y="35"/>
                  <a:pt x="1093" y="35"/>
                  <a:pt x="1093" y="34"/>
                </a:cubicBezTo>
                <a:cubicBezTo>
                  <a:pt x="1092" y="34"/>
                  <a:pt x="1092" y="34"/>
                  <a:pt x="1091" y="34"/>
                </a:cubicBezTo>
                <a:cubicBezTo>
                  <a:pt x="1091" y="35"/>
                  <a:pt x="1091" y="35"/>
                  <a:pt x="1092" y="36"/>
                </a:cubicBezTo>
                <a:cubicBezTo>
                  <a:pt x="1092" y="37"/>
                  <a:pt x="1091" y="38"/>
                  <a:pt x="1092" y="38"/>
                </a:cubicBezTo>
                <a:cubicBezTo>
                  <a:pt x="1093" y="38"/>
                  <a:pt x="1093" y="38"/>
                  <a:pt x="1094" y="39"/>
                </a:cubicBezTo>
                <a:cubicBezTo>
                  <a:pt x="1095" y="38"/>
                  <a:pt x="1094" y="39"/>
                  <a:pt x="1094" y="39"/>
                </a:cubicBezTo>
                <a:close/>
                <a:moveTo>
                  <a:pt x="1074" y="35"/>
                </a:moveTo>
                <a:cubicBezTo>
                  <a:pt x="1075" y="34"/>
                  <a:pt x="1075" y="34"/>
                  <a:pt x="1075" y="34"/>
                </a:cubicBezTo>
                <a:cubicBezTo>
                  <a:pt x="1074" y="34"/>
                  <a:pt x="1073" y="33"/>
                  <a:pt x="1073" y="34"/>
                </a:cubicBezTo>
                <a:cubicBezTo>
                  <a:pt x="1073" y="35"/>
                  <a:pt x="1073" y="35"/>
                  <a:pt x="1074" y="35"/>
                </a:cubicBezTo>
                <a:cubicBezTo>
                  <a:pt x="1075" y="34"/>
                  <a:pt x="1074" y="35"/>
                  <a:pt x="1074" y="35"/>
                </a:cubicBezTo>
                <a:close/>
                <a:moveTo>
                  <a:pt x="905" y="39"/>
                </a:moveTo>
                <a:cubicBezTo>
                  <a:pt x="906" y="39"/>
                  <a:pt x="906" y="38"/>
                  <a:pt x="906" y="38"/>
                </a:cubicBezTo>
                <a:cubicBezTo>
                  <a:pt x="906" y="39"/>
                  <a:pt x="906" y="39"/>
                  <a:pt x="906" y="39"/>
                </a:cubicBezTo>
                <a:cubicBezTo>
                  <a:pt x="907" y="39"/>
                  <a:pt x="907" y="39"/>
                  <a:pt x="907" y="39"/>
                </a:cubicBezTo>
                <a:cubicBezTo>
                  <a:pt x="908" y="39"/>
                  <a:pt x="907" y="39"/>
                  <a:pt x="908" y="39"/>
                </a:cubicBezTo>
                <a:cubicBezTo>
                  <a:pt x="908" y="39"/>
                  <a:pt x="909" y="39"/>
                  <a:pt x="909" y="39"/>
                </a:cubicBezTo>
                <a:cubicBezTo>
                  <a:pt x="909" y="40"/>
                  <a:pt x="909" y="40"/>
                  <a:pt x="909" y="41"/>
                </a:cubicBezTo>
                <a:cubicBezTo>
                  <a:pt x="908" y="41"/>
                  <a:pt x="907" y="41"/>
                  <a:pt x="906" y="41"/>
                </a:cubicBezTo>
                <a:cubicBezTo>
                  <a:pt x="907" y="42"/>
                  <a:pt x="907" y="42"/>
                  <a:pt x="907" y="43"/>
                </a:cubicBezTo>
                <a:cubicBezTo>
                  <a:pt x="907" y="43"/>
                  <a:pt x="908" y="43"/>
                  <a:pt x="908" y="43"/>
                </a:cubicBezTo>
                <a:cubicBezTo>
                  <a:pt x="909" y="43"/>
                  <a:pt x="908" y="44"/>
                  <a:pt x="909" y="44"/>
                </a:cubicBezTo>
                <a:cubicBezTo>
                  <a:pt x="909" y="44"/>
                  <a:pt x="909" y="44"/>
                  <a:pt x="909" y="44"/>
                </a:cubicBezTo>
                <a:cubicBezTo>
                  <a:pt x="911" y="44"/>
                  <a:pt x="912" y="44"/>
                  <a:pt x="913" y="43"/>
                </a:cubicBezTo>
                <a:cubicBezTo>
                  <a:pt x="914" y="43"/>
                  <a:pt x="916" y="43"/>
                  <a:pt x="917" y="43"/>
                </a:cubicBezTo>
                <a:cubicBezTo>
                  <a:pt x="918" y="43"/>
                  <a:pt x="920" y="43"/>
                  <a:pt x="919" y="44"/>
                </a:cubicBezTo>
                <a:cubicBezTo>
                  <a:pt x="919" y="44"/>
                  <a:pt x="920" y="44"/>
                  <a:pt x="919" y="44"/>
                </a:cubicBezTo>
                <a:cubicBezTo>
                  <a:pt x="918" y="44"/>
                  <a:pt x="918" y="44"/>
                  <a:pt x="918" y="44"/>
                </a:cubicBezTo>
                <a:cubicBezTo>
                  <a:pt x="917" y="44"/>
                  <a:pt x="918" y="45"/>
                  <a:pt x="917" y="45"/>
                </a:cubicBezTo>
                <a:cubicBezTo>
                  <a:pt x="917" y="45"/>
                  <a:pt x="917" y="45"/>
                  <a:pt x="916" y="45"/>
                </a:cubicBezTo>
                <a:cubicBezTo>
                  <a:pt x="916" y="45"/>
                  <a:pt x="915" y="45"/>
                  <a:pt x="914" y="45"/>
                </a:cubicBezTo>
                <a:cubicBezTo>
                  <a:pt x="914" y="45"/>
                  <a:pt x="914" y="45"/>
                  <a:pt x="915" y="46"/>
                </a:cubicBezTo>
                <a:cubicBezTo>
                  <a:pt x="913" y="46"/>
                  <a:pt x="912" y="45"/>
                  <a:pt x="911" y="45"/>
                </a:cubicBezTo>
                <a:cubicBezTo>
                  <a:pt x="911" y="45"/>
                  <a:pt x="910" y="45"/>
                  <a:pt x="911" y="46"/>
                </a:cubicBezTo>
                <a:cubicBezTo>
                  <a:pt x="911" y="47"/>
                  <a:pt x="911" y="47"/>
                  <a:pt x="911" y="47"/>
                </a:cubicBezTo>
                <a:cubicBezTo>
                  <a:pt x="912" y="47"/>
                  <a:pt x="913" y="48"/>
                  <a:pt x="913" y="48"/>
                </a:cubicBezTo>
                <a:cubicBezTo>
                  <a:pt x="913" y="48"/>
                  <a:pt x="915" y="47"/>
                  <a:pt x="915" y="48"/>
                </a:cubicBezTo>
                <a:cubicBezTo>
                  <a:pt x="916" y="48"/>
                  <a:pt x="917" y="48"/>
                  <a:pt x="918" y="47"/>
                </a:cubicBezTo>
                <a:cubicBezTo>
                  <a:pt x="918" y="48"/>
                  <a:pt x="918" y="48"/>
                  <a:pt x="918" y="48"/>
                </a:cubicBezTo>
                <a:cubicBezTo>
                  <a:pt x="919" y="48"/>
                  <a:pt x="918" y="48"/>
                  <a:pt x="919" y="48"/>
                </a:cubicBezTo>
                <a:cubicBezTo>
                  <a:pt x="920" y="48"/>
                  <a:pt x="921" y="48"/>
                  <a:pt x="922" y="48"/>
                </a:cubicBezTo>
                <a:cubicBezTo>
                  <a:pt x="922" y="48"/>
                  <a:pt x="922" y="49"/>
                  <a:pt x="923" y="49"/>
                </a:cubicBezTo>
                <a:cubicBezTo>
                  <a:pt x="923" y="49"/>
                  <a:pt x="923" y="49"/>
                  <a:pt x="923" y="49"/>
                </a:cubicBezTo>
                <a:cubicBezTo>
                  <a:pt x="924" y="49"/>
                  <a:pt x="925" y="49"/>
                  <a:pt x="926" y="49"/>
                </a:cubicBezTo>
                <a:cubicBezTo>
                  <a:pt x="926" y="49"/>
                  <a:pt x="926" y="50"/>
                  <a:pt x="926" y="50"/>
                </a:cubicBezTo>
                <a:cubicBezTo>
                  <a:pt x="927" y="50"/>
                  <a:pt x="927" y="49"/>
                  <a:pt x="927" y="50"/>
                </a:cubicBezTo>
                <a:cubicBezTo>
                  <a:pt x="927" y="50"/>
                  <a:pt x="931" y="50"/>
                  <a:pt x="931" y="50"/>
                </a:cubicBezTo>
                <a:cubicBezTo>
                  <a:pt x="932" y="50"/>
                  <a:pt x="933" y="50"/>
                  <a:pt x="935" y="50"/>
                </a:cubicBezTo>
                <a:cubicBezTo>
                  <a:pt x="935" y="50"/>
                  <a:pt x="936" y="50"/>
                  <a:pt x="937" y="50"/>
                </a:cubicBezTo>
                <a:cubicBezTo>
                  <a:pt x="938" y="50"/>
                  <a:pt x="938" y="49"/>
                  <a:pt x="938" y="49"/>
                </a:cubicBezTo>
                <a:cubicBezTo>
                  <a:pt x="938" y="49"/>
                  <a:pt x="938" y="48"/>
                  <a:pt x="938" y="47"/>
                </a:cubicBezTo>
                <a:cubicBezTo>
                  <a:pt x="940" y="47"/>
                  <a:pt x="943" y="47"/>
                  <a:pt x="944" y="45"/>
                </a:cubicBezTo>
                <a:cubicBezTo>
                  <a:pt x="943" y="46"/>
                  <a:pt x="943" y="45"/>
                  <a:pt x="943" y="44"/>
                </a:cubicBezTo>
                <a:cubicBezTo>
                  <a:pt x="943" y="44"/>
                  <a:pt x="945" y="44"/>
                  <a:pt x="945" y="44"/>
                </a:cubicBezTo>
                <a:cubicBezTo>
                  <a:pt x="946" y="44"/>
                  <a:pt x="946" y="44"/>
                  <a:pt x="946" y="44"/>
                </a:cubicBezTo>
                <a:cubicBezTo>
                  <a:pt x="946" y="43"/>
                  <a:pt x="947" y="42"/>
                  <a:pt x="948" y="42"/>
                </a:cubicBezTo>
                <a:cubicBezTo>
                  <a:pt x="948" y="41"/>
                  <a:pt x="948" y="41"/>
                  <a:pt x="948" y="41"/>
                </a:cubicBezTo>
                <a:cubicBezTo>
                  <a:pt x="948" y="41"/>
                  <a:pt x="948" y="41"/>
                  <a:pt x="948" y="41"/>
                </a:cubicBezTo>
                <a:cubicBezTo>
                  <a:pt x="949" y="40"/>
                  <a:pt x="949" y="40"/>
                  <a:pt x="949" y="39"/>
                </a:cubicBezTo>
                <a:cubicBezTo>
                  <a:pt x="948" y="39"/>
                  <a:pt x="948" y="39"/>
                  <a:pt x="947" y="39"/>
                </a:cubicBezTo>
                <a:cubicBezTo>
                  <a:pt x="947" y="39"/>
                  <a:pt x="947" y="40"/>
                  <a:pt x="946" y="40"/>
                </a:cubicBezTo>
                <a:cubicBezTo>
                  <a:pt x="947" y="39"/>
                  <a:pt x="943" y="39"/>
                  <a:pt x="942" y="38"/>
                </a:cubicBezTo>
                <a:cubicBezTo>
                  <a:pt x="942" y="38"/>
                  <a:pt x="942" y="37"/>
                  <a:pt x="942" y="37"/>
                </a:cubicBezTo>
                <a:cubicBezTo>
                  <a:pt x="942" y="37"/>
                  <a:pt x="941" y="37"/>
                  <a:pt x="941" y="38"/>
                </a:cubicBezTo>
                <a:cubicBezTo>
                  <a:pt x="940" y="39"/>
                  <a:pt x="939" y="39"/>
                  <a:pt x="938" y="39"/>
                </a:cubicBezTo>
                <a:cubicBezTo>
                  <a:pt x="939" y="38"/>
                  <a:pt x="939" y="37"/>
                  <a:pt x="939" y="36"/>
                </a:cubicBezTo>
                <a:cubicBezTo>
                  <a:pt x="939" y="37"/>
                  <a:pt x="937" y="37"/>
                  <a:pt x="937" y="38"/>
                </a:cubicBezTo>
                <a:cubicBezTo>
                  <a:pt x="936" y="39"/>
                  <a:pt x="935" y="39"/>
                  <a:pt x="934" y="40"/>
                </a:cubicBezTo>
                <a:cubicBezTo>
                  <a:pt x="933" y="39"/>
                  <a:pt x="934" y="39"/>
                  <a:pt x="934" y="38"/>
                </a:cubicBezTo>
                <a:cubicBezTo>
                  <a:pt x="935" y="38"/>
                  <a:pt x="934" y="37"/>
                  <a:pt x="934" y="36"/>
                </a:cubicBezTo>
                <a:cubicBezTo>
                  <a:pt x="933" y="35"/>
                  <a:pt x="933" y="34"/>
                  <a:pt x="933" y="36"/>
                </a:cubicBezTo>
                <a:cubicBezTo>
                  <a:pt x="933" y="36"/>
                  <a:pt x="932" y="38"/>
                  <a:pt x="932" y="38"/>
                </a:cubicBezTo>
                <a:cubicBezTo>
                  <a:pt x="932" y="38"/>
                  <a:pt x="931" y="38"/>
                  <a:pt x="931" y="38"/>
                </a:cubicBezTo>
                <a:cubicBezTo>
                  <a:pt x="931" y="38"/>
                  <a:pt x="931" y="37"/>
                  <a:pt x="931" y="37"/>
                </a:cubicBezTo>
                <a:cubicBezTo>
                  <a:pt x="931" y="37"/>
                  <a:pt x="931" y="37"/>
                  <a:pt x="931" y="37"/>
                </a:cubicBezTo>
                <a:cubicBezTo>
                  <a:pt x="931" y="36"/>
                  <a:pt x="931" y="37"/>
                  <a:pt x="931" y="38"/>
                </a:cubicBezTo>
                <a:cubicBezTo>
                  <a:pt x="931" y="39"/>
                  <a:pt x="929" y="39"/>
                  <a:pt x="929" y="40"/>
                </a:cubicBezTo>
                <a:cubicBezTo>
                  <a:pt x="928" y="40"/>
                  <a:pt x="928" y="39"/>
                  <a:pt x="927" y="39"/>
                </a:cubicBezTo>
                <a:cubicBezTo>
                  <a:pt x="927" y="39"/>
                  <a:pt x="927" y="39"/>
                  <a:pt x="927" y="39"/>
                </a:cubicBezTo>
                <a:cubicBezTo>
                  <a:pt x="927" y="39"/>
                  <a:pt x="926" y="39"/>
                  <a:pt x="926" y="39"/>
                </a:cubicBezTo>
                <a:cubicBezTo>
                  <a:pt x="926" y="39"/>
                  <a:pt x="926" y="38"/>
                  <a:pt x="926" y="38"/>
                </a:cubicBezTo>
                <a:cubicBezTo>
                  <a:pt x="926" y="38"/>
                  <a:pt x="926" y="38"/>
                  <a:pt x="925" y="38"/>
                </a:cubicBezTo>
                <a:cubicBezTo>
                  <a:pt x="924" y="38"/>
                  <a:pt x="924" y="37"/>
                  <a:pt x="923" y="37"/>
                </a:cubicBezTo>
                <a:cubicBezTo>
                  <a:pt x="922" y="37"/>
                  <a:pt x="921" y="38"/>
                  <a:pt x="920" y="36"/>
                </a:cubicBezTo>
                <a:cubicBezTo>
                  <a:pt x="920" y="36"/>
                  <a:pt x="919" y="36"/>
                  <a:pt x="919" y="36"/>
                </a:cubicBezTo>
                <a:cubicBezTo>
                  <a:pt x="919" y="36"/>
                  <a:pt x="918" y="35"/>
                  <a:pt x="918" y="35"/>
                </a:cubicBezTo>
                <a:cubicBezTo>
                  <a:pt x="917" y="35"/>
                  <a:pt x="918" y="34"/>
                  <a:pt x="917" y="34"/>
                </a:cubicBezTo>
                <a:cubicBezTo>
                  <a:pt x="917" y="34"/>
                  <a:pt x="916" y="34"/>
                  <a:pt x="916" y="35"/>
                </a:cubicBezTo>
                <a:cubicBezTo>
                  <a:pt x="915" y="34"/>
                  <a:pt x="915" y="34"/>
                  <a:pt x="914" y="33"/>
                </a:cubicBezTo>
                <a:cubicBezTo>
                  <a:pt x="914" y="33"/>
                  <a:pt x="913" y="33"/>
                  <a:pt x="913" y="33"/>
                </a:cubicBezTo>
                <a:cubicBezTo>
                  <a:pt x="913" y="35"/>
                  <a:pt x="913" y="35"/>
                  <a:pt x="914" y="35"/>
                </a:cubicBezTo>
                <a:cubicBezTo>
                  <a:pt x="913" y="37"/>
                  <a:pt x="911" y="36"/>
                  <a:pt x="911" y="37"/>
                </a:cubicBezTo>
                <a:cubicBezTo>
                  <a:pt x="911" y="38"/>
                  <a:pt x="912" y="39"/>
                  <a:pt x="911" y="39"/>
                </a:cubicBezTo>
                <a:cubicBezTo>
                  <a:pt x="910" y="39"/>
                  <a:pt x="909" y="39"/>
                  <a:pt x="909" y="38"/>
                </a:cubicBezTo>
                <a:cubicBezTo>
                  <a:pt x="909" y="38"/>
                  <a:pt x="905" y="37"/>
                  <a:pt x="904" y="37"/>
                </a:cubicBezTo>
                <a:cubicBezTo>
                  <a:pt x="904" y="38"/>
                  <a:pt x="904" y="38"/>
                  <a:pt x="905" y="39"/>
                </a:cubicBezTo>
                <a:close/>
                <a:moveTo>
                  <a:pt x="1072" y="33"/>
                </a:moveTo>
                <a:cubicBezTo>
                  <a:pt x="1072" y="33"/>
                  <a:pt x="1073" y="32"/>
                  <a:pt x="1072" y="33"/>
                </a:cubicBezTo>
                <a:cubicBezTo>
                  <a:pt x="1072" y="33"/>
                  <a:pt x="1072" y="33"/>
                  <a:pt x="1072" y="33"/>
                </a:cubicBezTo>
                <a:close/>
                <a:moveTo>
                  <a:pt x="1092" y="32"/>
                </a:moveTo>
                <a:cubicBezTo>
                  <a:pt x="1092" y="32"/>
                  <a:pt x="1092" y="32"/>
                  <a:pt x="1091" y="32"/>
                </a:cubicBezTo>
                <a:cubicBezTo>
                  <a:pt x="1092" y="32"/>
                  <a:pt x="1092" y="32"/>
                  <a:pt x="1092" y="32"/>
                </a:cubicBezTo>
                <a:close/>
                <a:moveTo>
                  <a:pt x="1055" y="33"/>
                </a:moveTo>
                <a:cubicBezTo>
                  <a:pt x="1056" y="34"/>
                  <a:pt x="1054" y="34"/>
                  <a:pt x="1053" y="34"/>
                </a:cubicBezTo>
                <a:cubicBezTo>
                  <a:pt x="1052" y="35"/>
                  <a:pt x="1051" y="36"/>
                  <a:pt x="1049" y="36"/>
                </a:cubicBezTo>
                <a:cubicBezTo>
                  <a:pt x="1048" y="36"/>
                  <a:pt x="1047" y="35"/>
                  <a:pt x="1046" y="35"/>
                </a:cubicBezTo>
                <a:cubicBezTo>
                  <a:pt x="1045" y="35"/>
                  <a:pt x="1044" y="35"/>
                  <a:pt x="1044" y="35"/>
                </a:cubicBezTo>
                <a:cubicBezTo>
                  <a:pt x="1043" y="35"/>
                  <a:pt x="1040" y="35"/>
                  <a:pt x="1040" y="36"/>
                </a:cubicBezTo>
                <a:cubicBezTo>
                  <a:pt x="1040" y="35"/>
                  <a:pt x="1042" y="36"/>
                  <a:pt x="1043" y="36"/>
                </a:cubicBezTo>
                <a:cubicBezTo>
                  <a:pt x="1042" y="37"/>
                  <a:pt x="1041" y="37"/>
                  <a:pt x="1041" y="38"/>
                </a:cubicBezTo>
                <a:cubicBezTo>
                  <a:pt x="1041" y="38"/>
                  <a:pt x="1042" y="39"/>
                  <a:pt x="1042" y="39"/>
                </a:cubicBezTo>
                <a:cubicBezTo>
                  <a:pt x="1043" y="39"/>
                  <a:pt x="1043" y="39"/>
                  <a:pt x="1044" y="39"/>
                </a:cubicBezTo>
                <a:cubicBezTo>
                  <a:pt x="1045" y="39"/>
                  <a:pt x="1044" y="39"/>
                  <a:pt x="1045" y="39"/>
                </a:cubicBezTo>
                <a:cubicBezTo>
                  <a:pt x="1045" y="40"/>
                  <a:pt x="1045" y="40"/>
                  <a:pt x="1045" y="40"/>
                </a:cubicBezTo>
                <a:cubicBezTo>
                  <a:pt x="1045" y="40"/>
                  <a:pt x="1046" y="40"/>
                  <a:pt x="1046" y="40"/>
                </a:cubicBezTo>
                <a:cubicBezTo>
                  <a:pt x="1046" y="39"/>
                  <a:pt x="1046" y="39"/>
                  <a:pt x="1047" y="39"/>
                </a:cubicBezTo>
                <a:cubicBezTo>
                  <a:pt x="1047" y="39"/>
                  <a:pt x="1048" y="40"/>
                  <a:pt x="1048" y="39"/>
                </a:cubicBezTo>
                <a:cubicBezTo>
                  <a:pt x="1048" y="39"/>
                  <a:pt x="1050" y="39"/>
                  <a:pt x="1050" y="39"/>
                </a:cubicBezTo>
                <a:cubicBezTo>
                  <a:pt x="1050" y="38"/>
                  <a:pt x="1050" y="38"/>
                  <a:pt x="1050" y="37"/>
                </a:cubicBezTo>
                <a:cubicBezTo>
                  <a:pt x="1052" y="37"/>
                  <a:pt x="1054" y="38"/>
                  <a:pt x="1056" y="38"/>
                </a:cubicBezTo>
                <a:cubicBezTo>
                  <a:pt x="1056" y="37"/>
                  <a:pt x="1055" y="36"/>
                  <a:pt x="1056" y="36"/>
                </a:cubicBezTo>
                <a:cubicBezTo>
                  <a:pt x="1057" y="36"/>
                  <a:pt x="1059" y="36"/>
                  <a:pt x="1060" y="36"/>
                </a:cubicBezTo>
                <a:cubicBezTo>
                  <a:pt x="1060" y="36"/>
                  <a:pt x="1061" y="36"/>
                  <a:pt x="1061" y="36"/>
                </a:cubicBezTo>
                <a:cubicBezTo>
                  <a:pt x="1061" y="35"/>
                  <a:pt x="1062" y="35"/>
                  <a:pt x="1062" y="34"/>
                </a:cubicBezTo>
                <a:cubicBezTo>
                  <a:pt x="1061" y="32"/>
                  <a:pt x="1060" y="34"/>
                  <a:pt x="1058" y="34"/>
                </a:cubicBezTo>
                <a:cubicBezTo>
                  <a:pt x="1059" y="33"/>
                  <a:pt x="1059" y="33"/>
                  <a:pt x="1059" y="32"/>
                </a:cubicBezTo>
                <a:cubicBezTo>
                  <a:pt x="1058" y="32"/>
                  <a:pt x="1057" y="32"/>
                  <a:pt x="1057" y="33"/>
                </a:cubicBezTo>
                <a:cubicBezTo>
                  <a:pt x="1057" y="31"/>
                  <a:pt x="1055" y="32"/>
                  <a:pt x="1054" y="32"/>
                </a:cubicBezTo>
                <a:cubicBezTo>
                  <a:pt x="1055" y="33"/>
                  <a:pt x="1055" y="33"/>
                  <a:pt x="1055" y="33"/>
                </a:cubicBezTo>
                <a:close/>
                <a:moveTo>
                  <a:pt x="1023" y="36"/>
                </a:moveTo>
                <a:cubicBezTo>
                  <a:pt x="1024" y="36"/>
                  <a:pt x="1026" y="37"/>
                  <a:pt x="1026" y="37"/>
                </a:cubicBezTo>
                <a:cubicBezTo>
                  <a:pt x="1026" y="37"/>
                  <a:pt x="1027" y="37"/>
                  <a:pt x="1028" y="36"/>
                </a:cubicBezTo>
                <a:cubicBezTo>
                  <a:pt x="1028" y="36"/>
                  <a:pt x="1030" y="36"/>
                  <a:pt x="1030" y="35"/>
                </a:cubicBezTo>
                <a:cubicBezTo>
                  <a:pt x="1031" y="35"/>
                  <a:pt x="1032" y="36"/>
                  <a:pt x="1033" y="37"/>
                </a:cubicBezTo>
                <a:cubicBezTo>
                  <a:pt x="1033" y="37"/>
                  <a:pt x="1034" y="37"/>
                  <a:pt x="1034" y="37"/>
                </a:cubicBezTo>
                <a:cubicBezTo>
                  <a:pt x="1034" y="37"/>
                  <a:pt x="1034" y="36"/>
                  <a:pt x="1034" y="36"/>
                </a:cubicBezTo>
                <a:cubicBezTo>
                  <a:pt x="1035" y="36"/>
                  <a:pt x="1036" y="36"/>
                  <a:pt x="1037" y="35"/>
                </a:cubicBezTo>
                <a:cubicBezTo>
                  <a:pt x="1037" y="34"/>
                  <a:pt x="1037" y="34"/>
                  <a:pt x="1038" y="34"/>
                </a:cubicBezTo>
                <a:cubicBezTo>
                  <a:pt x="1039" y="34"/>
                  <a:pt x="1040" y="34"/>
                  <a:pt x="1041" y="34"/>
                </a:cubicBezTo>
                <a:cubicBezTo>
                  <a:pt x="1041" y="33"/>
                  <a:pt x="1043" y="33"/>
                  <a:pt x="1044" y="33"/>
                </a:cubicBezTo>
                <a:cubicBezTo>
                  <a:pt x="1044" y="33"/>
                  <a:pt x="1044" y="33"/>
                  <a:pt x="1044" y="33"/>
                </a:cubicBezTo>
                <a:cubicBezTo>
                  <a:pt x="1044" y="34"/>
                  <a:pt x="1044" y="34"/>
                  <a:pt x="1044" y="34"/>
                </a:cubicBezTo>
                <a:cubicBezTo>
                  <a:pt x="1046" y="34"/>
                  <a:pt x="1047" y="34"/>
                  <a:pt x="1048" y="34"/>
                </a:cubicBezTo>
                <a:cubicBezTo>
                  <a:pt x="1048" y="34"/>
                  <a:pt x="1048" y="34"/>
                  <a:pt x="1048" y="34"/>
                </a:cubicBezTo>
                <a:cubicBezTo>
                  <a:pt x="1048" y="34"/>
                  <a:pt x="1048" y="34"/>
                  <a:pt x="1048" y="34"/>
                </a:cubicBezTo>
                <a:cubicBezTo>
                  <a:pt x="1049" y="34"/>
                  <a:pt x="1050" y="34"/>
                  <a:pt x="1051" y="34"/>
                </a:cubicBezTo>
                <a:cubicBezTo>
                  <a:pt x="1051" y="34"/>
                  <a:pt x="1051" y="34"/>
                  <a:pt x="1051" y="34"/>
                </a:cubicBezTo>
                <a:cubicBezTo>
                  <a:pt x="1050" y="33"/>
                  <a:pt x="1049" y="33"/>
                  <a:pt x="1049" y="33"/>
                </a:cubicBezTo>
                <a:cubicBezTo>
                  <a:pt x="1048" y="32"/>
                  <a:pt x="1048" y="32"/>
                  <a:pt x="1047" y="32"/>
                </a:cubicBezTo>
                <a:cubicBezTo>
                  <a:pt x="1047" y="32"/>
                  <a:pt x="1047" y="32"/>
                  <a:pt x="1046" y="32"/>
                </a:cubicBezTo>
                <a:cubicBezTo>
                  <a:pt x="1046" y="32"/>
                  <a:pt x="1045" y="32"/>
                  <a:pt x="1044" y="32"/>
                </a:cubicBezTo>
                <a:cubicBezTo>
                  <a:pt x="1044" y="32"/>
                  <a:pt x="1044" y="31"/>
                  <a:pt x="1044" y="31"/>
                </a:cubicBezTo>
                <a:cubicBezTo>
                  <a:pt x="1043" y="31"/>
                  <a:pt x="1043" y="31"/>
                  <a:pt x="1043" y="31"/>
                </a:cubicBezTo>
                <a:cubicBezTo>
                  <a:pt x="1042" y="31"/>
                  <a:pt x="1040" y="31"/>
                  <a:pt x="1038" y="31"/>
                </a:cubicBezTo>
                <a:cubicBezTo>
                  <a:pt x="1038" y="31"/>
                  <a:pt x="1038" y="31"/>
                  <a:pt x="1038" y="31"/>
                </a:cubicBezTo>
                <a:cubicBezTo>
                  <a:pt x="1036" y="31"/>
                  <a:pt x="1034" y="31"/>
                  <a:pt x="1032" y="31"/>
                </a:cubicBezTo>
                <a:cubicBezTo>
                  <a:pt x="1032" y="31"/>
                  <a:pt x="1032" y="31"/>
                  <a:pt x="1031" y="31"/>
                </a:cubicBezTo>
                <a:cubicBezTo>
                  <a:pt x="1031" y="31"/>
                  <a:pt x="1031" y="31"/>
                  <a:pt x="1031" y="31"/>
                </a:cubicBezTo>
                <a:cubicBezTo>
                  <a:pt x="1030" y="32"/>
                  <a:pt x="1030" y="32"/>
                  <a:pt x="1029" y="32"/>
                </a:cubicBezTo>
                <a:cubicBezTo>
                  <a:pt x="1028" y="32"/>
                  <a:pt x="1025" y="32"/>
                  <a:pt x="1025" y="33"/>
                </a:cubicBezTo>
                <a:cubicBezTo>
                  <a:pt x="1024" y="33"/>
                  <a:pt x="1024" y="33"/>
                  <a:pt x="1023" y="33"/>
                </a:cubicBezTo>
                <a:cubicBezTo>
                  <a:pt x="1023" y="33"/>
                  <a:pt x="1023" y="33"/>
                  <a:pt x="1022" y="33"/>
                </a:cubicBezTo>
                <a:cubicBezTo>
                  <a:pt x="1021" y="33"/>
                  <a:pt x="1021" y="34"/>
                  <a:pt x="1021" y="34"/>
                </a:cubicBezTo>
                <a:cubicBezTo>
                  <a:pt x="1020" y="34"/>
                  <a:pt x="1020" y="35"/>
                  <a:pt x="1020" y="36"/>
                </a:cubicBezTo>
                <a:cubicBezTo>
                  <a:pt x="1021" y="36"/>
                  <a:pt x="1022" y="36"/>
                  <a:pt x="1023" y="36"/>
                </a:cubicBezTo>
                <a:cubicBezTo>
                  <a:pt x="1023" y="36"/>
                  <a:pt x="1023" y="36"/>
                  <a:pt x="1023" y="36"/>
                </a:cubicBezTo>
                <a:close/>
                <a:moveTo>
                  <a:pt x="1102" y="37"/>
                </a:moveTo>
                <a:cubicBezTo>
                  <a:pt x="1103" y="37"/>
                  <a:pt x="1104" y="37"/>
                  <a:pt x="1106" y="37"/>
                </a:cubicBezTo>
                <a:cubicBezTo>
                  <a:pt x="1106" y="38"/>
                  <a:pt x="1107" y="38"/>
                  <a:pt x="1108" y="38"/>
                </a:cubicBezTo>
                <a:cubicBezTo>
                  <a:pt x="1109" y="37"/>
                  <a:pt x="1108" y="35"/>
                  <a:pt x="1108" y="34"/>
                </a:cubicBezTo>
                <a:cubicBezTo>
                  <a:pt x="1108" y="34"/>
                  <a:pt x="1111" y="35"/>
                  <a:pt x="1111" y="34"/>
                </a:cubicBezTo>
                <a:cubicBezTo>
                  <a:pt x="1111" y="33"/>
                  <a:pt x="1111" y="34"/>
                  <a:pt x="1111" y="33"/>
                </a:cubicBezTo>
                <a:cubicBezTo>
                  <a:pt x="1112" y="33"/>
                  <a:pt x="1113" y="34"/>
                  <a:pt x="1113" y="34"/>
                </a:cubicBezTo>
                <a:cubicBezTo>
                  <a:pt x="1113" y="33"/>
                  <a:pt x="1113" y="32"/>
                  <a:pt x="1113" y="32"/>
                </a:cubicBezTo>
                <a:cubicBezTo>
                  <a:pt x="1113" y="32"/>
                  <a:pt x="1111" y="30"/>
                  <a:pt x="1111" y="30"/>
                </a:cubicBezTo>
                <a:cubicBezTo>
                  <a:pt x="1111" y="30"/>
                  <a:pt x="1110" y="30"/>
                  <a:pt x="1110" y="31"/>
                </a:cubicBezTo>
                <a:cubicBezTo>
                  <a:pt x="1110" y="30"/>
                  <a:pt x="1110" y="29"/>
                  <a:pt x="1110" y="29"/>
                </a:cubicBezTo>
                <a:cubicBezTo>
                  <a:pt x="1109" y="29"/>
                  <a:pt x="1109" y="29"/>
                  <a:pt x="1108" y="29"/>
                </a:cubicBezTo>
                <a:cubicBezTo>
                  <a:pt x="1108" y="29"/>
                  <a:pt x="1106" y="30"/>
                  <a:pt x="1106" y="29"/>
                </a:cubicBezTo>
                <a:cubicBezTo>
                  <a:pt x="1106" y="29"/>
                  <a:pt x="1106" y="29"/>
                  <a:pt x="1106" y="29"/>
                </a:cubicBezTo>
                <a:cubicBezTo>
                  <a:pt x="1104" y="29"/>
                  <a:pt x="1104" y="30"/>
                  <a:pt x="1104" y="31"/>
                </a:cubicBezTo>
                <a:cubicBezTo>
                  <a:pt x="1104" y="31"/>
                  <a:pt x="1103" y="32"/>
                  <a:pt x="1103" y="32"/>
                </a:cubicBezTo>
                <a:cubicBezTo>
                  <a:pt x="1102" y="33"/>
                  <a:pt x="1102" y="33"/>
                  <a:pt x="1101" y="34"/>
                </a:cubicBezTo>
                <a:cubicBezTo>
                  <a:pt x="1101" y="34"/>
                  <a:pt x="1101" y="34"/>
                  <a:pt x="1101" y="34"/>
                </a:cubicBezTo>
                <a:cubicBezTo>
                  <a:pt x="1101" y="35"/>
                  <a:pt x="1101" y="35"/>
                  <a:pt x="1101" y="36"/>
                </a:cubicBezTo>
                <a:cubicBezTo>
                  <a:pt x="1101" y="36"/>
                  <a:pt x="1102" y="37"/>
                  <a:pt x="1102" y="37"/>
                </a:cubicBezTo>
                <a:cubicBezTo>
                  <a:pt x="1103" y="37"/>
                  <a:pt x="1102" y="37"/>
                  <a:pt x="1102" y="37"/>
                </a:cubicBezTo>
                <a:close/>
                <a:moveTo>
                  <a:pt x="1264" y="40"/>
                </a:moveTo>
                <a:cubicBezTo>
                  <a:pt x="1265" y="40"/>
                  <a:pt x="1267" y="41"/>
                  <a:pt x="1269" y="41"/>
                </a:cubicBezTo>
                <a:cubicBezTo>
                  <a:pt x="1270" y="41"/>
                  <a:pt x="1270" y="40"/>
                  <a:pt x="1271" y="40"/>
                </a:cubicBezTo>
                <a:cubicBezTo>
                  <a:pt x="1271" y="40"/>
                  <a:pt x="1271" y="40"/>
                  <a:pt x="1272" y="40"/>
                </a:cubicBezTo>
                <a:cubicBezTo>
                  <a:pt x="1273" y="40"/>
                  <a:pt x="1273" y="40"/>
                  <a:pt x="1273" y="39"/>
                </a:cubicBezTo>
                <a:cubicBezTo>
                  <a:pt x="1274" y="39"/>
                  <a:pt x="1276" y="40"/>
                  <a:pt x="1277" y="40"/>
                </a:cubicBezTo>
                <a:cubicBezTo>
                  <a:pt x="1277" y="40"/>
                  <a:pt x="1278" y="40"/>
                  <a:pt x="1277" y="40"/>
                </a:cubicBezTo>
                <a:cubicBezTo>
                  <a:pt x="1276" y="40"/>
                  <a:pt x="1274" y="40"/>
                  <a:pt x="1274" y="41"/>
                </a:cubicBezTo>
                <a:cubicBezTo>
                  <a:pt x="1274" y="41"/>
                  <a:pt x="1273" y="41"/>
                  <a:pt x="1272" y="41"/>
                </a:cubicBezTo>
                <a:cubicBezTo>
                  <a:pt x="1272" y="41"/>
                  <a:pt x="1270" y="43"/>
                  <a:pt x="1269" y="43"/>
                </a:cubicBezTo>
                <a:cubicBezTo>
                  <a:pt x="1269" y="43"/>
                  <a:pt x="1269" y="44"/>
                  <a:pt x="1269" y="45"/>
                </a:cubicBezTo>
                <a:cubicBezTo>
                  <a:pt x="1268" y="44"/>
                  <a:pt x="1268" y="44"/>
                  <a:pt x="1267" y="45"/>
                </a:cubicBezTo>
                <a:cubicBezTo>
                  <a:pt x="1266" y="45"/>
                  <a:pt x="1266" y="46"/>
                  <a:pt x="1266" y="46"/>
                </a:cubicBezTo>
                <a:cubicBezTo>
                  <a:pt x="1266" y="46"/>
                  <a:pt x="1265" y="46"/>
                  <a:pt x="1265" y="46"/>
                </a:cubicBezTo>
                <a:cubicBezTo>
                  <a:pt x="1265" y="46"/>
                  <a:pt x="1265" y="46"/>
                  <a:pt x="1265" y="46"/>
                </a:cubicBezTo>
                <a:cubicBezTo>
                  <a:pt x="1265" y="46"/>
                  <a:pt x="1265" y="46"/>
                  <a:pt x="1265" y="46"/>
                </a:cubicBezTo>
                <a:cubicBezTo>
                  <a:pt x="1265" y="47"/>
                  <a:pt x="1265" y="47"/>
                  <a:pt x="1265" y="47"/>
                </a:cubicBezTo>
                <a:cubicBezTo>
                  <a:pt x="1265" y="47"/>
                  <a:pt x="1266" y="47"/>
                  <a:pt x="1266" y="47"/>
                </a:cubicBezTo>
                <a:cubicBezTo>
                  <a:pt x="1267" y="47"/>
                  <a:pt x="1267" y="47"/>
                  <a:pt x="1267" y="47"/>
                </a:cubicBezTo>
                <a:cubicBezTo>
                  <a:pt x="1267" y="47"/>
                  <a:pt x="1269" y="47"/>
                  <a:pt x="1269" y="46"/>
                </a:cubicBezTo>
                <a:cubicBezTo>
                  <a:pt x="1269" y="47"/>
                  <a:pt x="1269" y="47"/>
                  <a:pt x="1269" y="48"/>
                </a:cubicBezTo>
                <a:cubicBezTo>
                  <a:pt x="1269" y="48"/>
                  <a:pt x="1269" y="48"/>
                  <a:pt x="1270" y="49"/>
                </a:cubicBezTo>
                <a:cubicBezTo>
                  <a:pt x="1270" y="48"/>
                  <a:pt x="1271" y="48"/>
                  <a:pt x="1271" y="48"/>
                </a:cubicBezTo>
                <a:cubicBezTo>
                  <a:pt x="1273" y="48"/>
                  <a:pt x="1273" y="48"/>
                  <a:pt x="1274" y="49"/>
                </a:cubicBezTo>
                <a:cubicBezTo>
                  <a:pt x="1274" y="49"/>
                  <a:pt x="1275" y="49"/>
                  <a:pt x="1275" y="49"/>
                </a:cubicBezTo>
                <a:cubicBezTo>
                  <a:pt x="1276" y="49"/>
                  <a:pt x="1278" y="49"/>
                  <a:pt x="1278" y="49"/>
                </a:cubicBezTo>
                <a:cubicBezTo>
                  <a:pt x="1278" y="49"/>
                  <a:pt x="1280" y="50"/>
                  <a:pt x="1281" y="50"/>
                </a:cubicBezTo>
                <a:cubicBezTo>
                  <a:pt x="1281" y="50"/>
                  <a:pt x="1283" y="51"/>
                  <a:pt x="1283" y="50"/>
                </a:cubicBezTo>
                <a:cubicBezTo>
                  <a:pt x="1283" y="50"/>
                  <a:pt x="1283" y="49"/>
                  <a:pt x="1283" y="49"/>
                </a:cubicBezTo>
                <a:cubicBezTo>
                  <a:pt x="1284" y="49"/>
                  <a:pt x="1285" y="50"/>
                  <a:pt x="1285" y="50"/>
                </a:cubicBezTo>
                <a:cubicBezTo>
                  <a:pt x="1286" y="51"/>
                  <a:pt x="1286" y="50"/>
                  <a:pt x="1287" y="50"/>
                </a:cubicBezTo>
                <a:cubicBezTo>
                  <a:pt x="1288" y="49"/>
                  <a:pt x="1289" y="49"/>
                  <a:pt x="1289" y="49"/>
                </a:cubicBezTo>
                <a:cubicBezTo>
                  <a:pt x="1290" y="49"/>
                  <a:pt x="1291" y="48"/>
                  <a:pt x="1291" y="48"/>
                </a:cubicBezTo>
                <a:cubicBezTo>
                  <a:pt x="1291" y="47"/>
                  <a:pt x="1290" y="47"/>
                  <a:pt x="1292" y="47"/>
                </a:cubicBezTo>
                <a:cubicBezTo>
                  <a:pt x="1294" y="47"/>
                  <a:pt x="1294" y="44"/>
                  <a:pt x="1293" y="43"/>
                </a:cubicBezTo>
                <a:cubicBezTo>
                  <a:pt x="1292" y="43"/>
                  <a:pt x="1292" y="43"/>
                  <a:pt x="1292" y="42"/>
                </a:cubicBezTo>
                <a:cubicBezTo>
                  <a:pt x="1292" y="42"/>
                  <a:pt x="1292" y="41"/>
                  <a:pt x="1291" y="41"/>
                </a:cubicBezTo>
                <a:cubicBezTo>
                  <a:pt x="1290" y="41"/>
                  <a:pt x="1290" y="42"/>
                  <a:pt x="1290" y="43"/>
                </a:cubicBezTo>
                <a:cubicBezTo>
                  <a:pt x="1289" y="44"/>
                  <a:pt x="1289" y="44"/>
                  <a:pt x="1288" y="44"/>
                </a:cubicBezTo>
                <a:cubicBezTo>
                  <a:pt x="1287" y="44"/>
                  <a:pt x="1286" y="44"/>
                  <a:pt x="1288" y="44"/>
                </a:cubicBezTo>
                <a:cubicBezTo>
                  <a:pt x="1288" y="43"/>
                  <a:pt x="1288" y="42"/>
                  <a:pt x="1288" y="41"/>
                </a:cubicBezTo>
                <a:cubicBezTo>
                  <a:pt x="1288" y="40"/>
                  <a:pt x="1286" y="39"/>
                  <a:pt x="1285" y="40"/>
                </a:cubicBezTo>
                <a:cubicBezTo>
                  <a:pt x="1284" y="40"/>
                  <a:pt x="1284" y="41"/>
                  <a:pt x="1283" y="41"/>
                </a:cubicBezTo>
                <a:cubicBezTo>
                  <a:pt x="1282" y="41"/>
                  <a:pt x="1281" y="41"/>
                  <a:pt x="1280" y="41"/>
                </a:cubicBezTo>
                <a:cubicBezTo>
                  <a:pt x="1281" y="40"/>
                  <a:pt x="1282" y="40"/>
                  <a:pt x="1283" y="40"/>
                </a:cubicBezTo>
                <a:cubicBezTo>
                  <a:pt x="1284" y="39"/>
                  <a:pt x="1284" y="39"/>
                  <a:pt x="1284" y="38"/>
                </a:cubicBezTo>
                <a:cubicBezTo>
                  <a:pt x="1284" y="37"/>
                  <a:pt x="1284" y="36"/>
                  <a:pt x="1284" y="36"/>
                </a:cubicBezTo>
                <a:cubicBezTo>
                  <a:pt x="1284" y="35"/>
                  <a:pt x="1283" y="35"/>
                  <a:pt x="1282" y="35"/>
                </a:cubicBezTo>
                <a:cubicBezTo>
                  <a:pt x="1282" y="34"/>
                  <a:pt x="1281" y="34"/>
                  <a:pt x="1280" y="33"/>
                </a:cubicBezTo>
                <a:cubicBezTo>
                  <a:pt x="1280" y="33"/>
                  <a:pt x="1280" y="33"/>
                  <a:pt x="1280" y="33"/>
                </a:cubicBezTo>
                <a:cubicBezTo>
                  <a:pt x="1280" y="32"/>
                  <a:pt x="1280" y="32"/>
                  <a:pt x="1279" y="32"/>
                </a:cubicBezTo>
                <a:cubicBezTo>
                  <a:pt x="1279" y="32"/>
                  <a:pt x="1278" y="31"/>
                  <a:pt x="1278" y="31"/>
                </a:cubicBezTo>
                <a:cubicBezTo>
                  <a:pt x="1277" y="31"/>
                  <a:pt x="1278" y="31"/>
                  <a:pt x="1277" y="31"/>
                </a:cubicBezTo>
                <a:cubicBezTo>
                  <a:pt x="1277" y="31"/>
                  <a:pt x="1276" y="30"/>
                  <a:pt x="1276" y="30"/>
                </a:cubicBezTo>
                <a:cubicBezTo>
                  <a:pt x="1276" y="29"/>
                  <a:pt x="1276" y="29"/>
                  <a:pt x="1275" y="29"/>
                </a:cubicBezTo>
                <a:cubicBezTo>
                  <a:pt x="1275" y="29"/>
                  <a:pt x="1276" y="29"/>
                  <a:pt x="1275" y="29"/>
                </a:cubicBezTo>
                <a:cubicBezTo>
                  <a:pt x="1275" y="29"/>
                  <a:pt x="1275" y="29"/>
                  <a:pt x="1275" y="28"/>
                </a:cubicBezTo>
                <a:cubicBezTo>
                  <a:pt x="1274" y="29"/>
                  <a:pt x="1273" y="28"/>
                  <a:pt x="1273" y="29"/>
                </a:cubicBezTo>
                <a:cubicBezTo>
                  <a:pt x="1273" y="30"/>
                  <a:pt x="1272" y="30"/>
                  <a:pt x="1271" y="31"/>
                </a:cubicBezTo>
                <a:cubicBezTo>
                  <a:pt x="1270" y="31"/>
                  <a:pt x="1269" y="32"/>
                  <a:pt x="1268" y="32"/>
                </a:cubicBezTo>
                <a:cubicBezTo>
                  <a:pt x="1268" y="32"/>
                  <a:pt x="1268" y="32"/>
                  <a:pt x="1268" y="33"/>
                </a:cubicBezTo>
                <a:cubicBezTo>
                  <a:pt x="1267" y="33"/>
                  <a:pt x="1267" y="33"/>
                  <a:pt x="1266" y="33"/>
                </a:cubicBezTo>
                <a:cubicBezTo>
                  <a:pt x="1266" y="34"/>
                  <a:pt x="1266" y="34"/>
                  <a:pt x="1266" y="35"/>
                </a:cubicBezTo>
                <a:cubicBezTo>
                  <a:pt x="1266" y="35"/>
                  <a:pt x="1266" y="35"/>
                  <a:pt x="1266" y="35"/>
                </a:cubicBezTo>
                <a:cubicBezTo>
                  <a:pt x="1266" y="36"/>
                  <a:pt x="1266" y="36"/>
                  <a:pt x="1266" y="36"/>
                </a:cubicBezTo>
                <a:cubicBezTo>
                  <a:pt x="1265" y="36"/>
                  <a:pt x="1263" y="36"/>
                  <a:pt x="1263" y="37"/>
                </a:cubicBezTo>
                <a:cubicBezTo>
                  <a:pt x="1263" y="37"/>
                  <a:pt x="1263" y="37"/>
                  <a:pt x="1263" y="37"/>
                </a:cubicBezTo>
                <a:cubicBezTo>
                  <a:pt x="1262" y="37"/>
                  <a:pt x="1262" y="37"/>
                  <a:pt x="1261" y="37"/>
                </a:cubicBezTo>
                <a:cubicBezTo>
                  <a:pt x="1261" y="38"/>
                  <a:pt x="1260" y="38"/>
                  <a:pt x="1260" y="38"/>
                </a:cubicBezTo>
                <a:cubicBezTo>
                  <a:pt x="1260" y="39"/>
                  <a:pt x="1261" y="38"/>
                  <a:pt x="1261" y="38"/>
                </a:cubicBezTo>
                <a:cubicBezTo>
                  <a:pt x="1263" y="38"/>
                  <a:pt x="1263" y="38"/>
                  <a:pt x="1264" y="40"/>
                </a:cubicBezTo>
                <a:cubicBezTo>
                  <a:pt x="1265" y="40"/>
                  <a:pt x="1264" y="40"/>
                  <a:pt x="1264" y="40"/>
                </a:cubicBezTo>
                <a:close/>
                <a:moveTo>
                  <a:pt x="1251" y="30"/>
                </a:moveTo>
                <a:cubicBezTo>
                  <a:pt x="1252" y="30"/>
                  <a:pt x="1253" y="30"/>
                  <a:pt x="1254" y="29"/>
                </a:cubicBezTo>
                <a:cubicBezTo>
                  <a:pt x="1254" y="29"/>
                  <a:pt x="1255" y="29"/>
                  <a:pt x="1254" y="28"/>
                </a:cubicBezTo>
                <a:cubicBezTo>
                  <a:pt x="1254" y="28"/>
                  <a:pt x="1253" y="28"/>
                  <a:pt x="1253" y="28"/>
                </a:cubicBezTo>
                <a:cubicBezTo>
                  <a:pt x="1253" y="28"/>
                  <a:pt x="1252" y="28"/>
                  <a:pt x="1252" y="28"/>
                </a:cubicBezTo>
                <a:cubicBezTo>
                  <a:pt x="1252" y="28"/>
                  <a:pt x="1251" y="27"/>
                  <a:pt x="1250" y="27"/>
                </a:cubicBezTo>
                <a:cubicBezTo>
                  <a:pt x="1250" y="28"/>
                  <a:pt x="1250" y="28"/>
                  <a:pt x="1249" y="28"/>
                </a:cubicBezTo>
                <a:cubicBezTo>
                  <a:pt x="1249" y="28"/>
                  <a:pt x="1248" y="29"/>
                  <a:pt x="1249" y="30"/>
                </a:cubicBezTo>
                <a:cubicBezTo>
                  <a:pt x="1250" y="30"/>
                  <a:pt x="1251" y="30"/>
                  <a:pt x="1251" y="30"/>
                </a:cubicBezTo>
                <a:close/>
                <a:moveTo>
                  <a:pt x="1087" y="29"/>
                </a:moveTo>
                <a:cubicBezTo>
                  <a:pt x="1087" y="30"/>
                  <a:pt x="1088" y="30"/>
                  <a:pt x="1089" y="29"/>
                </a:cubicBezTo>
                <a:cubicBezTo>
                  <a:pt x="1088" y="28"/>
                  <a:pt x="1089" y="28"/>
                  <a:pt x="1087" y="28"/>
                </a:cubicBezTo>
                <a:cubicBezTo>
                  <a:pt x="1087" y="28"/>
                  <a:pt x="1086" y="27"/>
                  <a:pt x="1085" y="27"/>
                </a:cubicBezTo>
                <a:cubicBezTo>
                  <a:pt x="1086" y="28"/>
                  <a:pt x="1084" y="28"/>
                  <a:pt x="1083" y="28"/>
                </a:cubicBezTo>
                <a:cubicBezTo>
                  <a:pt x="1083" y="28"/>
                  <a:pt x="1083" y="29"/>
                  <a:pt x="1083" y="29"/>
                </a:cubicBezTo>
                <a:cubicBezTo>
                  <a:pt x="1084" y="29"/>
                  <a:pt x="1086" y="28"/>
                  <a:pt x="1087" y="29"/>
                </a:cubicBezTo>
                <a:cubicBezTo>
                  <a:pt x="1088" y="30"/>
                  <a:pt x="1087" y="29"/>
                  <a:pt x="1087" y="29"/>
                </a:cubicBezTo>
                <a:close/>
                <a:moveTo>
                  <a:pt x="1119" y="33"/>
                </a:moveTo>
                <a:cubicBezTo>
                  <a:pt x="1120" y="33"/>
                  <a:pt x="1121" y="34"/>
                  <a:pt x="1121" y="33"/>
                </a:cubicBezTo>
                <a:cubicBezTo>
                  <a:pt x="1121" y="35"/>
                  <a:pt x="1123" y="33"/>
                  <a:pt x="1123" y="33"/>
                </a:cubicBezTo>
                <a:cubicBezTo>
                  <a:pt x="1123" y="33"/>
                  <a:pt x="1123" y="32"/>
                  <a:pt x="1124" y="32"/>
                </a:cubicBezTo>
                <a:cubicBezTo>
                  <a:pt x="1124" y="32"/>
                  <a:pt x="1124" y="31"/>
                  <a:pt x="1125" y="31"/>
                </a:cubicBezTo>
                <a:cubicBezTo>
                  <a:pt x="1125" y="31"/>
                  <a:pt x="1126" y="31"/>
                  <a:pt x="1127" y="31"/>
                </a:cubicBezTo>
                <a:cubicBezTo>
                  <a:pt x="1127" y="31"/>
                  <a:pt x="1128" y="29"/>
                  <a:pt x="1128" y="29"/>
                </a:cubicBezTo>
                <a:cubicBezTo>
                  <a:pt x="1128" y="29"/>
                  <a:pt x="1130" y="29"/>
                  <a:pt x="1130" y="29"/>
                </a:cubicBezTo>
                <a:cubicBezTo>
                  <a:pt x="1130" y="28"/>
                  <a:pt x="1130" y="28"/>
                  <a:pt x="1130" y="28"/>
                </a:cubicBezTo>
                <a:cubicBezTo>
                  <a:pt x="1130" y="27"/>
                  <a:pt x="1128" y="28"/>
                  <a:pt x="1128" y="27"/>
                </a:cubicBezTo>
                <a:cubicBezTo>
                  <a:pt x="1128" y="26"/>
                  <a:pt x="1127" y="27"/>
                  <a:pt x="1127" y="26"/>
                </a:cubicBezTo>
                <a:cubicBezTo>
                  <a:pt x="1125" y="27"/>
                  <a:pt x="1124" y="26"/>
                  <a:pt x="1123" y="28"/>
                </a:cubicBezTo>
                <a:cubicBezTo>
                  <a:pt x="1123" y="28"/>
                  <a:pt x="1123" y="28"/>
                  <a:pt x="1123" y="28"/>
                </a:cubicBezTo>
                <a:cubicBezTo>
                  <a:pt x="1122" y="29"/>
                  <a:pt x="1122" y="28"/>
                  <a:pt x="1122" y="28"/>
                </a:cubicBezTo>
                <a:cubicBezTo>
                  <a:pt x="1122" y="29"/>
                  <a:pt x="1122" y="29"/>
                  <a:pt x="1122" y="29"/>
                </a:cubicBezTo>
                <a:cubicBezTo>
                  <a:pt x="1121" y="29"/>
                  <a:pt x="1121" y="29"/>
                  <a:pt x="1121" y="29"/>
                </a:cubicBezTo>
                <a:cubicBezTo>
                  <a:pt x="1120" y="29"/>
                  <a:pt x="1119" y="29"/>
                  <a:pt x="1119" y="29"/>
                </a:cubicBezTo>
                <a:cubicBezTo>
                  <a:pt x="1119" y="30"/>
                  <a:pt x="1120" y="30"/>
                  <a:pt x="1118" y="30"/>
                </a:cubicBezTo>
                <a:cubicBezTo>
                  <a:pt x="1118" y="30"/>
                  <a:pt x="1118" y="31"/>
                  <a:pt x="1118" y="31"/>
                </a:cubicBezTo>
                <a:cubicBezTo>
                  <a:pt x="1119" y="32"/>
                  <a:pt x="1120" y="32"/>
                  <a:pt x="1119" y="33"/>
                </a:cubicBezTo>
                <a:close/>
                <a:moveTo>
                  <a:pt x="1078" y="27"/>
                </a:moveTo>
                <a:cubicBezTo>
                  <a:pt x="1078" y="27"/>
                  <a:pt x="1079" y="27"/>
                  <a:pt x="1079" y="27"/>
                </a:cubicBezTo>
                <a:cubicBezTo>
                  <a:pt x="1079" y="27"/>
                  <a:pt x="1079" y="28"/>
                  <a:pt x="1080" y="28"/>
                </a:cubicBezTo>
                <a:cubicBezTo>
                  <a:pt x="1080" y="28"/>
                  <a:pt x="1080" y="28"/>
                  <a:pt x="1081" y="28"/>
                </a:cubicBezTo>
                <a:cubicBezTo>
                  <a:pt x="1081" y="28"/>
                  <a:pt x="1083" y="28"/>
                  <a:pt x="1083" y="28"/>
                </a:cubicBezTo>
                <a:cubicBezTo>
                  <a:pt x="1083" y="28"/>
                  <a:pt x="1082" y="27"/>
                  <a:pt x="1082" y="27"/>
                </a:cubicBezTo>
                <a:cubicBezTo>
                  <a:pt x="1081" y="27"/>
                  <a:pt x="1081" y="27"/>
                  <a:pt x="1080" y="27"/>
                </a:cubicBezTo>
                <a:cubicBezTo>
                  <a:pt x="1080" y="27"/>
                  <a:pt x="1080" y="26"/>
                  <a:pt x="1079" y="26"/>
                </a:cubicBezTo>
                <a:cubicBezTo>
                  <a:pt x="1079" y="26"/>
                  <a:pt x="1078" y="26"/>
                  <a:pt x="1078" y="27"/>
                </a:cubicBezTo>
                <a:cubicBezTo>
                  <a:pt x="1078" y="27"/>
                  <a:pt x="1078" y="27"/>
                  <a:pt x="1077" y="27"/>
                </a:cubicBezTo>
                <a:cubicBezTo>
                  <a:pt x="1077" y="27"/>
                  <a:pt x="1077" y="28"/>
                  <a:pt x="1078" y="27"/>
                </a:cubicBezTo>
                <a:close/>
                <a:moveTo>
                  <a:pt x="1093" y="27"/>
                </a:moveTo>
                <a:cubicBezTo>
                  <a:pt x="1094" y="28"/>
                  <a:pt x="1095" y="25"/>
                  <a:pt x="1095" y="25"/>
                </a:cubicBezTo>
                <a:cubicBezTo>
                  <a:pt x="1094" y="25"/>
                  <a:pt x="1093" y="26"/>
                  <a:pt x="1092" y="26"/>
                </a:cubicBezTo>
                <a:cubicBezTo>
                  <a:pt x="1092" y="27"/>
                  <a:pt x="1093" y="27"/>
                  <a:pt x="1093" y="27"/>
                </a:cubicBezTo>
                <a:cubicBezTo>
                  <a:pt x="1094" y="27"/>
                  <a:pt x="1093" y="27"/>
                  <a:pt x="1093" y="27"/>
                </a:cubicBezTo>
                <a:close/>
                <a:moveTo>
                  <a:pt x="1091" y="27"/>
                </a:moveTo>
                <a:cubicBezTo>
                  <a:pt x="1091" y="27"/>
                  <a:pt x="1089" y="26"/>
                  <a:pt x="1089" y="26"/>
                </a:cubicBezTo>
                <a:cubicBezTo>
                  <a:pt x="1089" y="26"/>
                  <a:pt x="1087" y="26"/>
                  <a:pt x="1087" y="26"/>
                </a:cubicBezTo>
                <a:cubicBezTo>
                  <a:pt x="1087" y="25"/>
                  <a:pt x="1086" y="24"/>
                  <a:pt x="1086" y="24"/>
                </a:cubicBezTo>
                <a:cubicBezTo>
                  <a:pt x="1085" y="24"/>
                  <a:pt x="1085" y="24"/>
                  <a:pt x="1084" y="23"/>
                </a:cubicBezTo>
                <a:cubicBezTo>
                  <a:pt x="1084" y="23"/>
                  <a:pt x="1083" y="23"/>
                  <a:pt x="1083" y="24"/>
                </a:cubicBezTo>
                <a:cubicBezTo>
                  <a:pt x="1081" y="24"/>
                  <a:pt x="1083" y="25"/>
                  <a:pt x="1083" y="26"/>
                </a:cubicBezTo>
                <a:cubicBezTo>
                  <a:pt x="1084" y="25"/>
                  <a:pt x="1084" y="26"/>
                  <a:pt x="1085" y="27"/>
                </a:cubicBezTo>
                <a:cubicBezTo>
                  <a:pt x="1085" y="27"/>
                  <a:pt x="1086" y="26"/>
                  <a:pt x="1086" y="26"/>
                </a:cubicBezTo>
                <a:cubicBezTo>
                  <a:pt x="1086" y="27"/>
                  <a:pt x="1087" y="27"/>
                  <a:pt x="1088" y="27"/>
                </a:cubicBezTo>
                <a:cubicBezTo>
                  <a:pt x="1088" y="27"/>
                  <a:pt x="1088" y="28"/>
                  <a:pt x="1089" y="28"/>
                </a:cubicBezTo>
                <a:cubicBezTo>
                  <a:pt x="1090" y="28"/>
                  <a:pt x="1091" y="28"/>
                  <a:pt x="1091" y="27"/>
                </a:cubicBezTo>
                <a:cubicBezTo>
                  <a:pt x="1091" y="27"/>
                  <a:pt x="1091" y="27"/>
                  <a:pt x="1091" y="27"/>
                </a:cubicBezTo>
                <a:close/>
                <a:moveTo>
                  <a:pt x="1092" y="24"/>
                </a:moveTo>
                <a:cubicBezTo>
                  <a:pt x="1090" y="24"/>
                  <a:pt x="1088" y="23"/>
                  <a:pt x="1086" y="23"/>
                </a:cubicBezTo>
                <a:cubicBezTo>
                  <a:pt x="1086" y="23"/>
                  <a:pt x="1087" y="24"/>
                  <a:pt x="1087" y="24"/>
                </a:cubicBezTo>
                <a:cubicBezTo>
                  <a:pt x="1087" y="25"/>
                  <a:pt x="1087" y="24"/>
                  <a:pt x="1088" y="24"/>
                </a:cubicBezTo>
                <a:cubicBezTo>
                  <a:pt x="1088" y="25"/>
                  <a:pt x="1089" y="25"/>
                  <a:pt x="1090" y="26"/>
                </a:cubicBezTo>
                <a:cubicBezTo>
                  <a:pt x="1091" y="26"/>
                  <a:pt x="1092" y="25"/>
                  <a:pt x="1092" y="24"/>
                </a:cubicBezTo>
                <a:cubicBezTo>
                  <a:pt x="1090" y="24"/>
                  <a:pt x="1092" y="24"/>
                  <a:pt x="1092" y="24"/>
                </a:cubicBezTo>
                <a:close/>
                <a:moveTo>
                  <a:pt x="1081" y="25"/>
                </a:moveTo>
                <a:cubicBezTo>
                  <a:pt x="1082" y="24"/>
                  <a:pt x="1082" y="24"/>
                  <a:pt x="1082" y="24"/>
                </a:cubicBezTo>
                <a:cubicBezTo>
                  <a:pt x="1081" y="23"/>
                  <a:pt x="1080" y="23"/>
                  <a:pt x="1078" y="23"/>
                </a:cubicBezTo>
                <a:cubicBezTo>
                  <a:pt x="1078" y="25"/>
                  <a:pt x="1080" y="25"/>
                  <a:pt x="1081" y="25"/>
                </a:cubicBezTo>
                <a:close/>
                <a:moveTo>
                  <a:pt x="1093" y="24"/>
                </a:moveTo>
                <a:cubicBezTo>
                  <a:pt x="1093" y="24"/>
                  <a:pt x="1093" y="24"/>
                  <a:pt x="1093" y="24"/>
                </a:cubicBezTo>
                <a:cubicBezTo>
                  <a:pt x="1093" y="22"/>
                  <a:pt x="1094" y="23"/>
                  <a:pt x="1092" y="23"/>
                </a:cubicBezTo>
                <a:cubicBezTo>
                  <a:pt x="1092" y="23"/>
                  <a:pt x="1093" y="23"/>
                  <a:pt x="1093" y="24"/>
                </a:cubicBezTo>
                <a:close/>
                <a:moveTo>
                  <a:pt x="1089" y="22"/>
                </a:moveTo>
                <a:cubicBezTo>
                  <a:pt x="1090" y="20"/>
                  <a:pt x="1090" y="20"/>
                  <a:pt x="1089" y="20"/>
                </a:cubicBezTo>
                <a:cubicBezTo>
                  <a:pt x="1089" y="20"/>
                  <a:pt x="1088" y="21"/>
                  <a:pt x="1088" y="21"/>
                </a:cubicBezTo>
                <a:cubicBezTo>
                  <a:pt x="1088" y="21"/>
                  <a:pt x="1089" y="21"/>
                  <a:pt x="1089" y="22"/>
                </a:cubicBezTo>
                <a:cubicBezTo>
                  <a:pt x="1089" y="21"/>
                  <a:pt x="1089" y="22"/>
                  <a:pt x="1089" y="22"/>
                </a:cubicBezTo>
                <a:close/>
                <a:moveTo>
                  <a:pt x="728" y="19"/>
                </a:moveTo>
                <a:cubicBezTo>
                  <a:pt x="728" y="18"/>
                  <a:pt x="727" y="21"/>
                  <a:pt x="728" y="20"/>
                </a:cubicBezTo>
                <a:cubicBezTo>
                  <a:pt x="728" y="20"/>
                  <a:pt x="728" y="20"/>
                  <a:pt x="728" y="19"/>
                </a:cubicBezTo>
                <a:close/>
                <a:moveTo>
                  <a:pt x="1094" y="19"/>
                </a:moveTo>
                <a:cubicBezTo>
                  <a:pt x="1094" y="19"/>
                  <a:pt x="1095" y="19"/>
                  <a:pt x="1095" y="19"/>
                </a:cubicBezTo>
                <a:cubicBezTo>
                  <a:pt x="1095" y="19"/>
                  <a:pt x="1095" y="19"/>
                  <a:pt x="1095" y="19"/>
                </a:cubicBezTo>
                <a:cubicBezTo>
                  <a:pt x="1094" y="19"/>
                  <a:pt x="1094" y="19"/>
                  <a:pt x="1093" y="20"/>
                </a:cubicBezTo>
                <a:cubicBezTo>
                  <a:pt x="1094" y="20"/>
                  <a:pt x="1094" y="20"/>
                  <a:pt x="1094" y="19"/>
                </a:cubicBezTo>
                <a:close/>
                <a:moveTo>
                  <a:pt x="724" y="21"/>
                </a:moveTo>
                <a:cubicBezTo>
                  <a:pt x="724" y="21"/>
                  <a:pt x="724" y="20"/>
                  <a:pt x="724" y="20"/>
                </a:cubicBezTo>
                <a:cubicBezTo>
                  <a:pt x="724" y="19"/>
                  <a:pt x="724" y="19"/>
                  <a:pt x="724" y="19"/>
                </a:cubicBezTo>
                <a:cubicBezTo>
                  <a:pt x="724" y="18"/>
                  <a:pt x="723" y="19"/>
                  <a:pt x="723" y="20"/>
                </a:cubicBezTo>
                <a:cubicBezTo>
                  <a:pt x="723" y="21"/>
                  <a:pt x="723" y="21"/>
                  <a:pt x="724" y="21"/>
                </a:cubicBezTo>
                <a:close/>
                <a:moveTo>
                  <a:pt x="1082" y="20"/>
                </a:moveTo>
                <a:cubicBezTo>
                  <a:pt x="1082" y="21"/>
                  <a:pt x="1082" y="21"/>
                  <a:pt x="1082" y="21"/>
                </a:cubicBezTo>
                <a:cubicBezTo>
                  <a:pt x="1083" y="21"/>
                  <a:pt x="1084" y="21"/>
                  <a:pt x="1085" y="21"/>
                </a:cubicBezTo>
                <a:cubicBezTo>
                  <a:pt x="1086" y="21"/>
                  <a:pt x="1086" y="20"/>
                  <a:pt x="1086" y="20"/>
                </a:cubicBezTo>
                <a:cubicBezTo>
                  <a:pt x="1087" y="20"/>
                  <a:pt x="1088" y="19"/>
                  <a:pt x="1088" y="19"/>
                </a:cubicBezTo>
                <a:cubicBezTo>
                  <a:pt x="1089" y="18"/>
                  <a:pt x="1088" y="18"/>
                  <a:pt x="1087" y="18"/>
                </a:cubicBezTo>
                <a:cubicBezTo>
                  <a:pt x="1086" y="18"/>
                  <a:pt x="1086" y="18"/>
                  <a:pt x="1085" y="18"/>
                </a:cubicBezTo>
                <a:cubicBezTo>
                  <a:pt x="1085" y="18"/>
                  <a:pt x="1085" y="19"/>
                  <a:pt x="1084" y="19"/>
                </a:cubicBezTo>
                <a:cubicBezTo>
                  <a:pt x="1083" y="19"/>
                  <a:pt x="1082" y="19"/>
                  <a:pt x="1081" y="20"/>
                </a:cubicBezTo>
                <a:cubicBezTo>
                  <a:pt x="1081" y="20"/>
                  <a:pt x="1082" y="20"/>
                  <a:pt x="1082" y="20"/>
                </a:cubicBezTo>
                <a:close/>
                <a:moveTo>
                  <a:pt x="1093" y="18"/>
                </a:moveTo>
                <a:cubicBezTo>
                  <a:pt x="1093" y="17"/>
                  <a:pt x="1093" y="17"/>
                  <a:pt x="1093" y="17"/>
                </a:cubicBezTo>
                <a:cubicBezTo>
                  <a:pt x="1092" y="16"/>
                  <a:pt x="1091" y="16"/>
                  <a:pt x="1090" y="16"/>
                </a:cubicBezTo>
                <a:cubicBezTo>
                  <a:pt x="1090" y="16"/>
                  <a:pt x="1090" y="16"/>
                  <a:pt x="1090" y="16"/>
                </a:cubicBezTo>
                <a:cubicBezTo>
                  <a:pt x="1090" y="17"/>
                  <a:pt x="1090" y="17"/>
                  <a:pt x="1090" y="17"/>
                </a:cubicBezTo>
                <a:cubicBezTo>
                  <a:pt x="1091" y="18"/>
                  <a:pt x="1092" y="18"/>
                  <a:pt x="1093" y="18"/>
                </a:cubicBezTo>
                <a:close/>
                <a:moveTo>
                  <a:pt x="565" y="18"/>
                </a:moveTo>
                <a:cubicBezTo>
                  <a:pt x="567" y="21"/>
                  <a:pt x="573" y="22"/>
                  <a:pt x="576" y="22"/>
                </a:cubicBezTo>
                <a:cubicBezTo>
                  <a:pt x="576" y="21"/>
                  <a:pt x="576" y="20"/>
                  <a:pt x="575" y="20"/>
                </a:cubicBezTo>
                <a:cubicBezTo>
                  <a:pt x="575" y="20"/>
                  <a:pt x="573" y="20"/>
                  <a:pt x="573" y="19"/>
                </a:cubicBezTo>
                <a:cubicBezTo>
                  <a:pt x="573" y="19"/>
                  <a:pt x="572" y="19"/>
                  <a:pt x="572" y="19"/>
                </a:cubicBezTo>
                <a:cubicBezTo>
                  <a:pt x="572" y="19"/>
                  <a:pt x="571" y="19"/>
                  <a:pt x="571" y="19"/>
                </a:cubicBezTo>
                <a:cubicBezTo>
                  <a:pt x="570" y="19"/>
                  <a:pt x="570" y="17"/>
                  <a:pt x="569" y="17"/>
                </a:cubicBezTo>
                <a:cubicBezTo>
                  <a:pt x="568" y="17"/>
                  <a:pt x="567" y="17"/>
                  <a:pt x="566" y="17"/>
                </a:cubicBezTo>
                <a:cubicBezTo>
                  <a:pt x="566" y="16"/>
                  <a:pt x="565" y="15"/>
                  <a:pt x="564" y="15"/>
                </a:cubicBezTo>
                <a:cubicBezTo>
                  <a:pt x="565" y="16"/>
                  <a:pt x="564" y="18"/>
                  <a:pt x="565" y="18"/>
                </a:cubicBezTo>
                <a:cubicBezTo>
                  <a:pt x="567" y="20"/>
                  <a:pt x="565" y="18"/>
                  <a:pt x="565" y="18"/>
                </a:cubicBezTo>
                <a:close/>
                <a:moveTo>
                  <a:pt x="1097" y="14"/>
                </a:moveTo>
                <a:cubicBezTo>
                  <a:pt x="1097" y="14"/>
                  <a:pt x="1098" y="14"/>
                  <a:pt x="1098" y="14"/>
                </a:cubicBezTo>
                <a:cubicBezTo>
                  <a:pt x="1099" y="14"/>
                  <a:pt x="1097" y="13"/>
                  <a:pt x="1097" y="13"/>
                </a:cubicBezTo>
                <a:cubicBezTo>
                  <a:pt x="1096" y="12"/>
                  <a:pt x="1097" y="13"/>
                  <a:pt x="1097" y="13"/>
                </a:cubicBezTo>
                <a:cubicBezTo>
                  <a:pt x="1096" y="13"/>
                  <a:pt x="1096" y="13"/>
                  <a:pt x="1096" y="13"/>
                </a:cubicBezTo>
                <a:cubicBezTo>
                  <a:pt x="1095" y="13"/>
                  <a:pt x="1095" y="13"/>
                  <a:pt x="1094" y="14"/>
                </a:cubicBezTo>
                <a:cubicBezTo>
                  <a:pt x="1095" y="14"/>
                  <a:pt x="1097" y="14"/>
                  <a:pt x="1097" y="14"/>
                </a:cubicBezTo>
                <a:close/>
                <a:moveTo>
                  <a:pt x="376" y="36"/>
                </a:moveTo>
                <a:cubicBezTo>
                  <a:pt x="378" y="36"/>
                  <a:pt x="376" y="37"/>
                  <a:pt x="375" y="37"/>
                </a:cubicBezTo>
                <a:cubicBezTo>
                  <a:pt x="375" y="37"/>
                  <a:pt x="376" y="36"/>
                  <a:pt x="376" y="36"/>
                </a:cubicBezTo>
                <a:cubicBezTo>
                  <a:pt x="377" y="36"/>
                  <a:pt x="376" y="36"/>
                  <a:pt x="376" y="36"/>
                </a:cubicBezTo>
                <a:close/>
                <a:moveTo>
                  <a:pt x="377" y="40"/>
                </a:moveTo>
                <a:cubicBezTo>
                  <a:pt x="377" y="40"/>
                  <a:pt x="377" y="40"/>
                  <a:pt x="377" y="40"/>
                </a:cubicBezTo>
                <a:cubicBezTo>
                  <a:pt x="377" y="40"/>
                  <a:pt x="377" y="40"/>
                  <a:pt x="377" y="40"/>
                </a:cubicBezTo>
                <a:cubicBezTo>
                  <a:pt x="377" y="40"/>
                  <a:pt x="377" y="40"/>
                  <a:pt x="377" y="40"/>
                </a:cubicBezTo>
                <a:close/>
                <a:moveTo>
                  <a:pt x="389" y="53"/>
                </a:moveTo>
                <a:cubicBezTo>
                  <a:pt x="390" y="53"/>
                  <a:pt x="389" y="55"/>
                  <a:pt x="389" y="53"/>
                </a:cubicBezTo>
                <a:close/>
                <a:moveTo>
                  <a:pt x="429" y="60"/>
                </a:moveTo>
                <a:cubicBezTo>
                  <a:pt x="430" y="60"/>
                  <a:pt x="431" y="61"/>
                  <a:pt x="431" y="60"/>
                </a:cubicBezTo>
                <a:cubicBezTo>
                  <a:pt x="432" y="60"/>
                  <a:pt x="433" y="61"/>
                  <a:pt x="433" y="61"/>
                </a:cubicBezTo>
                <a:cubicBezTo>
                  <a:pt x="432" y="61"/>
                  <a:pt x="430" y="61"/>
                  <a:pt x="429" y="61"/>
                </a:cubicBezTo>
                <a:cubicBezTo>
                  <a:pt x="429" y="61"/>
                  <a:pt x="429" y="61"/>
                  <a:pt x="429" y="60"/>
                </a:cubicBezTo>
                <a:close/>
                <a:moveTo>
                  <a:pt x="454" y="31"/>
                </a:moveTo>
                <a:cubicBezTo>
                  <a:pt x="454" y="31"/>
                  <a:pt x="454" y="31"/>
                  <a:pt x="454" y="31"/>
                </a:cubicBezTo>
                <a:cubicBezTo>
                  <a:pt x="454" y="31"/>
                  <a:pt x="454" y="31"/>
                  <a:pt x="454" y="31"/>
                </a:cubicBezTo>
                <a:cubicBezTo>
                  <a:pt x="454" y="31"/>
                  <a:pt x="454" y="31"/>
                  <a:pt x="454" y="31"/>
                </a:cubicBezTo>
                <a:close/>
                <a:moveTo>
                  <a:pt x="457" y="28"/>
                </a:moveTo>
                <a:cubicBezTo>
                  <a:pt x="457" y="28"/>
                  <a:pt x="457" y="28"/>
                  <a:pt x="457" y="28"/>
                </a:cubicBezTo>
                <a:cubicBezTo>
                  <a:pt x="457" y="28"/>
                  <a:pt x="457" y="28"/>
                  <a:pt x="457" y="28"/>
                </a:cubicBezTo>
                <a:cubicBezTo>
                  <a:pt x="457" y="28"/>
                  <a:pt x="457" y="28"/>
                  <a:pt x="457" y="28"/>
                </a:cubicBezTo>
                <a:close/>
                <a:moveTo>
                  <a:pt x="418" y="22"/>
                </a:moveTo>
                <a:cubicBezTo>
                  <a:pt x="418" y="22"/>
                  <a:pt x="418" y="21"/>
                  <a:pt x="418" y="21"/>
                </a:cubicBezTo>
                <a:cubicBezTo>
                  <a:pt x="418" y="21"/>
                  <a:pt x="418" y="21"/>
                  <a:pt x="418" y="22"/>
                </a:cubicBezTo>
                <a:close/>
                <a:moveTo>
                  <a:pt x="460" y="28"/>
                </a:moveTo>
                <a:cubicBezTo>
                  <a:pt x="460" y="28"/>
                  <a:pt x="463" y="27"/>
                  <a:pt x="463" y="28"/>
                </a:cubicBezTo>
                <a:cubicBezTo>
                  <a:pt x="463" y="28"/>
                  <a:pt x="460" y="29"/>
                  <a:pt x="460" y="28"/>
                </a:cubicBezTo>
                <a:close/>
                <a:moveTo>
                  <a:pt x="504" y="22"/>
                </a:moveTo>
                <a:cubicBezTo>
                  <a:pt x="504" y="22"/>
                  <a:pt x="504" y="22"/>
                  <a:pt x="504" y="22"/>
                </a:cubicBezTo>
                <a:cubicBezTo>
                  <a:pt x="505" y="22"/>
                  <a:pt x="506" y="22"/>
                  <a:pt x="506" y="23"/>
                </a:cubicBezTo>
                <a:cubicBezTo>
                  <a:pt x="505" y="23"/>
                  <a:pt x="504" y="23"/>
                  <a:pt x="504" y="22"/>
                </a:cubicBezTo>
                <a:cubicBezTo>
                  <a:pt x="504" y="22"/>
                  <a:pt x="504" y="22"/>
                  <a:pt x="504" y="22"/>
                </a:cubicBezTo>
                <a:close/>
                <a:moveTo>
                  <a:pt x="424" y="56"/>
                </a:moveTo>
                <a:cubicBezTo>
                  <a:pt x="424" y="57"/>
                  <a:pt x="424" y="57"/>
                  <a:pt x="424" y="56"/>
                </a:cubicBezTo>
                <a:cubicBezTo>
                  <a:pt x="424" y="56"/>
                  <a:pt x="424" y="55"/>
                  <a:pt x="425" y="55"/>
                </a:cubicBezTo>
                <a:cubicBezTo>
                  <a:pt x="425" y="56"/>
                  <a:pt x="425" y="56"/>
                  <a:pt x="424" y="56"/>
                </a:cubicBezTo>
                <a:close/>
                <a:moveTo>
                  <a:pt x="423" y="69"/>
                </a:moveTo>
                <a:cubicBezTo>
                  <a:pt x="422" y="69"/>
                  <a:pt x="421" y="67"/>
                  <a:pt x="421" y="67"/>
                </a:cubicBezTo>
                <a:cubicBezTo>
                  <a:pt x="421" y="66"/>
                  <a:pt x="421" y="66"/>
                  <a:pt x="422" y="66"/>
                </a:cubicBezTo>
                <a:cubicBezTo>
                  <a:pt x="421" y="67"/>
                  <a:pt x="423" y="67"/>
                  <a:pt x="423" y="67"/>
                </a:cubicBezTo>
                <a:cubicBezTo>
                  <a:pt x="423" y="68"/>
                  <a:pt x="423" y="68"/>
                  <a:pt x="423" y="69"/>
                </a:cubicBezTo>
                <a:cubicBezTo>
                  <a:pt x="422" y="69"/>
                  <a:pt x="423" y="69"/>
                  <a:pt x="423" y="69"/>
                </a:cubicBezTo>
                <a:close/>
                <a:moveTo>
                  <a:pt x="363" y="27"/>
                </a:moveTo>
                <a:cubicBezTo>
                  <a:pt x="363" y="27"/>
                  <a:pt x="362" y="28"/>
                  <a:pt x="362" y="28"/>
                </a:cubicBezTo>
                <a:cubicBezTo>
                  <a:pt x="362" y="28"/>
                  <a:pt x="362" y="30"/>
                  <a:pt x="362" y="30"/>
                </a:cubicBezTo>
                <a:cubicBezTo>
                  <a:pt x="364" y="30"/>
                  <a:pt x="364" y="29"/>
                  <a:pt x="364" y="31"/>
                </a:cubicBezTo>
                <a:cubicBezTo>
                  <a:pt x="365" y="31"/>
                  <a:pt x="367" y="31"/>
                  <a:pt x="367" y="29"/>
                </a:cubicBezTo>
                <a:cubicBezTo>
                  <a:pt x="367" y="29"/>
                  <a:pt x="368" y="31"/>
                  <a:pt x="368" y="31"/>
                </a:cubicBezTo>
                <a:cubicBezTo>
                  <a:pt x="369" y="31"/>
                  <a:pt x="370" y="31"/>
                  <a:pt x="370" y="31"/>
                </a:cubicBezTo>
                <a:cubicBezTo>
                  <a:pt x="371" y="31"/>
                  <a:pt x="372" y="31"/>
                  <a:pt x="372" y="31"/>
                </a:cubicBezTo>
                <a:cubicBezTo>
                  <a:pt x="372" y="30"/>
                  <a:pt x="372" y="30"/>
                  <a:pt x="373" y="29"/>
                </a:cubicBezTo>
                <a:cubicBezTo>
                  <a:pt x="373" y="30"/>
                  <a:pt x="373" y="30"/>
                  <a:pt x="373" y="31"/>
                </a:cubicBezTo>
                <a:cubicBezTo>
                  <a:pt x="373" y="31"/>
                  <a:pt x="374" y="32"/>
                  <a:pt x="374" y="33"/>
                </a:cubicBezTo>
                <a:cubicBezTo>
                  <a:pt x="372" y="33"/>
                  <a:pt x="369" y="33"/>
                  <a:pt x="367" y="34"/>
                </a:cubicBezTo>
                <a:cubicBezTo>
                  <a:pt x="366" y="34"/>
                  <a:pt x="366" y="34"/>
                  <a:pt x="367" y="35"/>
                </a:cubicBezTo>
                <a:cubicBezTo>
                  <a:pt x="367" y="36"/>
                  <a:pt x="367" y="36"/>
                  <a:pt x="367" y="36"/>
                </a:cubicBezTo>
                <a:cubicBezTo>
                  <a:pt x="366" y="36"/>
                  <a:pt x="365" y="36"/>
                  <a:pt x="364" y="36"/>
                </a:cubicBezTo>
                <a:cubicBezTo>
                  <a:pt x="364" y="37"/>
                  <a:pt x="365" y="37"/>
                  <a:pt x="365" y="37"/>
                </a:cubicBezTo>
                <a:cubicBezTo>
                  <a:pt x="366" y="37"/>
                  <a:pt x="367" y="38"/>
                  <a:pt x="369" y="37"/>
                </a:cubicBezTo>
                <a:cubicBezTo>
                  <a:pt x="369" y="38"/>
                  <a:pt x="369" y="38"/>
                  <a:pt x="369" y="38"/>
                </a:cubicBezTo>
                <a:cubicBezTo>
                  <a:pt x="370" y="38"/>
                  <a:pt x="370" y="38"/>
                  <a:pt x="371" y="37"/>
                </a:cubicBezTo>
                <a:cubicBezTo>
                  <a:pt x="371" y="37"/>
                  <a:pt x="372" y="36"/>
                  <a:pt x="372" y="37"/>
                </a:cubicBezTo>
                <a:cubicBezTo>
                  <a:pt x="372" y="38"/>
                  <a:pt x="372" y="38"/>
                  <a:pt x="373" y="38"/>
                </a:cubicBezTo>
                <a:cubicBezTo>
                  <a:pt x="374" y="38"/>
                  <a:pt x="374" y="37"/>
                  <a:pt x="375" y="38"/>
                </a:cubicBezTo>
                <a:cubicBezTo>
                  <a:pt x="375" y="39"/>
                  <a:pt x="376" y="39"/>
                  <a:pt x="376" y="40"/>
                </a:cubicBezTo>
                <a:cubicBezTo>
                  <a:pt x="375" y="39"/>
                  <a:pt x="374" y="39"/>
                  <a:pt x="373" y="39"/>
                </a:cubicBezTo>
                <a:cubicBezTo>
                  <a:pt x="372" y="39"/>
                  <a:pt x="372" y="39"/>
                  <a:pt x="371" y="39"/>
                </a:cubicBezTo>
                <a:cubicBezTo>
                  <a:pt x="371" y="39"/>
                  <a:pt x="371" y="39"/>
                  <a:pt x="371" y="39"/>
                </a:cubicBezTo>
                <a:cubicBezTo>
                  <a:pt x="371" y="39"/>
                  <a:pt x="371" y="39"/>
                  <a:pt x="371" y="39"/>
                </a:cubicBezTo>
                <a:cubicBezTo>
                  <a:pt x="370" y="39"/>
                  <a:pt x="369" y="38"/>
                  <a:pt x="368" y="38"/>
                </a:cubicBezTo>
                <a:cubicBezTo>
                  <a:pt x="366" y="38"/>
                  <a:pt x="366" y="38"/>
                  <a:pt x="366" y="40"/>
                </a:cubicBezTo>
                <a:cubicBezTo>
                  <a:pt x="367" y="40"/>
                  <a:pt x="367" y="41"/>
                  <a:pt x="366" y="41"/>
                </a:cubicBezTo>
                <a:cubicBezTo>
                  <a:pt x="367" y="42"/>
                  <a:pt x="367" y="42"/>
                  <a:pt x="368" y="42"/>
                </a:cubicBezTo>
                <a:cubicBezTo>
                  <a:pt x="368" y="42"/>
                  <a:pt x="368" y="43"/>
                  <a:pt x="369" y="43"/>
                </a:cubicBezTo>
                <a:cubicBezTo>
                  <a:pt x="369" y="44"/>
                  <a:pt x="369" y="43"/>
                  <a:pt x="369" y="44"/>
                </a:cubicBezTo>
                <a:cubicBezTo>
                  <a:pt x="369" y="45"/>
                  <a:pt x="376" y="44"/>
                  <a:pt x="377" y="44"/>
                </a:cubicBezTo>
                <a:cubicBezTo>
                  <a:pt x="377" y="46"/>
                  <a:pt x="376" y="45"/>
                  <a:pt x="376" y="45"/>
                </a:cubicBezTo>
                <a:cubicBezTo>
                  <a:pt x="374" y="45"/>
                  <a:pt x="373" y="45"/>
                  <a:pt x="371" y="46"/>
                </a:cubicBezTo>
                <a:cubicBezTo>
                  <a:pt x="370" y="46"/>
                  <a:pt x="371" y="48"/>
                  <a:pt x="372" y="47"/>
                </a:cubicBezTo>
                <a:cubicBezTo>
                  <a:pt x="373" y="47"/>
                  <a:pt x="374" y="47"/>
                  <a:pt x="376" y="48"/>
                </a:cubicBezTo>
                <a:cubicBezTo>
                  <a:pt x="376" y="48"/>
                  <a:pt x="377" y="48"/>
                  <a:pt x="377" y="47"/>
                </a:cubicBezTo>
                <a:cubicBezTo>
                  <a:pt x="377" y="47"/>
                  <a:pt x="378" y="47"/>
                  <a:pt x="378" y="47"/>
                </a:cubicBezTo>
                <a:cubicBezTo>
                  <a:pt x="378" y="47"/>
                  <a:pt x="379" y="46"/>
                  <a:pt x="379" y="46"/>
                </a:cubicBezTo>
                <a:cubicBezTo>
                  <a:pt x="380" y="46"/>
                  <a:pt x="381" y="46"/>
                  <a:pt x="382" y="46"/>
                </a:cubicBezTo>
                <a:cubicBezTo>
                  <a:pt x="383" y="46"/>
                  <a:pt x="384" y="46"/>
                  <a:pt x="384" y="47"/>
                </a:cubicBezTo>
                <a:cubicBezTo>
                  <a:pt x="384" y="47"/>
                  <a:pt x="384" y="47"/>
                  <a:pt x="383" y="47"/>
                </a:cubicBezTo>
                <a:cubicBezTo>
                  <a:pt x="383" y="47"/>
                  <a:pt x="380" y="47"/>
                  <a:pt x="380" y="48"/>
                </a:cubicBezTo>
                <a:cubicBezTo>
                  <a:pt x="380" y="48"/>
                  <a:pt x="379" y="48"/>
                  <a:pt x="379" y="48"/>
                </a:cubicBezTo>
                <a:cubicBezTo>
                  <a:pt x="379" y="48"/>
                  <a:pt x="378" y="49"/>
                  <a:pt x="378" y="49"/>
                </a:cubicBezTo>
                <a:cubicBezTo>
                  <a:pt x="377" y="49"/>
                  <a:pt x="377" y="48"/>
                  <a:pt x="377" y="49"/>
                </a:cubicBezTo>
                <a:cubicBezTo>
                  <a:pt x="376" y="49"/>
                  <a:pt x="377" y="50"/>
                  <a:pt x="377" y="50"/>
                </a:cubicBezTo>
                <a:cubicBezTo>
                  <a:pt x="377" y="51"/>
                  <a:pt x="377" y="51"/>
                  <a:pt x="378" y="51"/>
                </a:cubicBezTo>
                <a:cubicBezTo>
                  <a:pt x="379" y="51"/>
                  <a:pt x="378" y="52"/>
                  <a:pt x="379" y="53"/>
                </a:cubicBezTo>
                <a:cubicBezTo>
                  <a:pt x="379" y="54"/>
                  <a:pt x="379" y="54"/>
                  <a:pt x="380" y="54"/>
                </a:cubicBezTo>
                <a:cubicBezTo>
                  <a:pt x="380" y="54"/>
                  <a:pt x="380" y="54"/>
                  <a:pt x="380" y="54"/>
                </a:cubicBezTo>
                <a:cubicBezTo>
                  <a:pt x="380" y="55"/>
                  <a:pt x="378" y="54"/>
                  <a:pt x="379" y="55"/>
                </a:cubicBezTo>
                <a:cubicBezTo>
                  <a:pt x="379" y="57"/>
                  <a:pt x="380" y="56"/>
                  <a:pt x="381" y="56"/>
                </a:cubicBezTo>
                <a:cubicBezTo>
                  <a:pt x="382" y="56"/>
                  <a:pt x="383" y="56"/>
                  <a:pt x="384" y="56"/>
                </a:cubicBezTo>
                <a:cubicBezTo>
                  <a:pt x="384" y="56"/>
                  <a:pt x="384" y="56"/>
                  <a:pt x="385" y="56"/>
                </a:cubicBezTo>
                <a:cubicBezTo>
                  <a:pt x="385" y="56"/>
                  <a:pt x="385" y="56"/>
                  <a:pt x="385" y="56"/>
                </a:cubicBezTo>
                <a:cubicBezTo>
                  <a:pt x="386" y="55"/>
                  <a:pt x="386" y="55"/>
                  <a:pt x="386" y="54"/>
                </a:cubicBezTo>
                <a:cubicBezTo>
                  <a:pt x="387" y="54"/>
                  <a:pt x="388" y="54"/>
                  <a:pt x="388" y="55"/>
                </a:cubicBezTo>
                <a:cubicBezTo>
                  <a:pt x="389" y="56"/>
                  <a:pt x="390" y="56"/>
                  <a:pt x="391" y="56"/>
                </a:cubicBezTo>
                <a:cubicBezTo>
                  <a:pt x="391" y="56"/>
                  <a:pt x="391" y="55"/>
                  <a:pt x="391" y="55"/>
                </a:cubicBezTo>
                <a:cubicBezTo>
                  <a:pt x="390" y="55"/>
                  <a:pt x="390" y="55"/>
                  <a:pt x="390" y="54"/>
                </a:cubicBezTo>
                <a:cubicBezTo>
                  <a:pt x="391" y="55"/>
                  <a:pt x="392" y="56"/>
                  <a:pt x="392" y="55"/>
                </a:cubicBezTo>
                <a:cubicBezTo>
                  <a:pt x="392" y="54"/>
                  <a:pt x="393" y="54"/>
                  <a:pt x="394" y="52"/>
                </a:cubicBezTo>
                <a:cubicBezTo>
                  <a:pt x="395" y="53"/>
                  <a:pt x="396" y="52"/>
                  <a:pt x="398" y="52"/>
                </a:cubicBezTo>
                <a:cubicBezTo>
                  <a:pt x="399" y="51"/>
                  <a:pt x="397" y="51"/>
                  <a:pt x="398" y="50"/>
                </a:cubicBezTo>
                <a:cubicBezTo>
                  <a:pt x="399" y="50"/>
                  <a:pt x="398" y="48"/>
                  <a:pt x="399" y="48"/>
                </a:cubicBezTo>
                <a:cubicBezTo>
                  <a:pt x="399" y="49"/>
                  <a:pt x="399" y="49"/>
                  <a:pt x="399" y="50"/>
                </a:cubicBezTo>
                <a:cubicBezTo>
                  <a:pt x="400" y="50"/>
                  <a:pt x="401" y="50"/>
                  <a:pt x="401" y="50"/>
                </a:cubicBezTo>
                <a:cubicBezTo>
                  <a:pt x="402" y="49"/>
                  <a:pt x="402" y="49"/>
                  <a:pt x="402" y="49"/>
                </a:cubicBezTo>
                <a:cubicBezTo>
                  <a:pt x="402" y="49"/>
                  <a:pt x="402" y="49"/>
                  <a:pt x="402" y="49"/>
                </a:cubicBezTo>
                <a:cubicBezTo>
                  <a:pt x="403" y="48"/>
                  <a:pt x="403" y="49"/>
                  <a:pt x="403" y="49"/>
                </a:cubicBezTo>
                <a:cubicBezTo>
                  <a:pt x="403" y="48"/>
                  <a:pt x="404" y="48"/>
                  <a:pt x="404" y="47"/>
                </a:cubicBezTo>
                <a:cubicBezTo>
                  <a:pt x="404" y="48"/>
                  <a:pt x="405" y="48"/>
                  <a:pt x="405" y="49"/>
                </a:cubicBezTo>
                <a:cubicBezTo>
                  <a:pt x="405" y="48"/>
                  <a:pt x="408" y="48"/>
                  <a:pt x="409" y="47"/>
                </a:cubicBezTo>
                <a:cubicBezTo>
                  <a:pt x="409" y="48"/>
                  <a:pt x="410" y="49"/>
                  <a:pt x="410" y="48"/>
                </a:cubicBezTo>
                <a:cubicBezTo>
                  <a:pt x="410" y="47"/>
                  <a:pt x="410" y="47"/>
                  <a:pt x="410" y="47"/>
                </a:cubicBezTo>
                <a:cubicBezTo>
                  <a:pt x="411" y="47"/>
                  <a:pt x="411" y="47"/>
                  <a:pt x="411" y="47"/>
                </a:cubicBezTo>
                <a:cubicBezTo>
                  <a:pt x="411" y="47"/>
                  <a:pt x="412" y="47"/>
                  <a:pt x="412" y="47"/>
                </a:cubicBezTo>
                <a:cubicBezTo>
                  <a:pt x="413" y="47"/>
                  <a:pt x="413" y="47"/>
                  <a:pt x="413" y="46"/>
                </a:cubicBezTo>
                <a:cubicBezTo>
                  <a:pt x="414" y="46"/>
                  <a:pt x="415" y="46"/>
                  <a:pt x="415" y="46"/>
                </a:cubicBezTo>
                <a:cubicBezTo>
                  <a:pt x="415" y="45"/>
                  <a:pt x="414" y="45"/>
                  <a:pt x="415" y="45"/>
                </a:cubicBezTo>
                <a:cubicBezTo>
                  <a:pt x="415" y="44"/>
                  <a:pt x="415" y="44"/>
                  <a:pt x="415" y="43"/>
                </a:cubicBezTo>
                <a:cubicBezTo>
                  <a:pt x="414" y="43"/>
                  <a:pt x="414" y="43"/>
                  <a:pt x="414" y="42"/>
                </a:cubicBezTo>
                <a:cubicBezTo>
                  <a:pt x="414" y="41"/>
                  <a:pt x="413" y="41"/>
                  <a:pt x="413" y="41"/>
                </a:cubicBezTo>
                <a:cubicBezTo>
                  <a:pt x="414" y="41"/>
                  <a:pt x="415" y="41"/>
                  <a:pt x="415" y="42"/>
                </a:cubicBezTo>
                <a:cubicBezTo>
                  <a:pt x="415" y="42"/>
                  <a:pt x="415" y="42"/>
                  <a:pt x="415" y="43"/>
                </a:cubicBezTo>
                <a:cubicBezTo>
                  <a:pt x="415" y="44"/>
                  <a:pt x="415" y="43"/>
                  <a:pt x="416" y="43"/>
                </a:cubicBezTo>
                <a:cubicBezTo>
                  <a:pt x="416" y="43"/>
                  <a:pt x="415" y="44"/>
                  <a:pt x="416" y="44"/>
                </a:cubicBezTo>
                <a:cubicBezTo>
                  <a:pt x="416" y="44"/>
                  <a:pt x="416" y="43"/>
                  <a:pt x="416" y="44"/>
                </a:cubicBezTo>
                <a:cubicBezTo>
                  <a:pt x="416" y="45"/>
                  <a:pt x="417" y="45"/>
                  <a:pt x="417" y="45"/>
                </a:cubicBezTo>
                <a:cubicBezTo>
                  <a:pt x="418" y="44"/>
                  <a:pt x="418" y="44"/>
                  <a:pt x="419" y="44"/>
                </a:cubicBezTo>
                <a:cubicBezTo>
                  <a:pt x="419" y="44"/>
                  <a:pt x="420" y="46"/>
                  <a:pt x="420" y="46"/>
                </a:cubicBezTo>
                <a:cubicBezTo>
                  <a:pt x="420" y="46"/>
                  <a:pt x="419" y="46"/>
                  <a:pt x="419" y="46"/>
                </a:cubicBezTo>
                <a:cubicBezTo>
                  <a:pt x="418" y="46"/>
                  <a:pt x="417" y="46"/>
                  <a:pt x="416" y="46"/>
                </a:cubicBezTo>
                <a:cubicBezTo>
                  <a:pt x="416" y="46"/>
                  <a:pt x="416" y="47"/>
                  <a:pt x="416" y="47"/>
                </a:cubicBezTo>
                <a:cubicBezTo>
                  <a:pt x="418" y="48"/>
                  <a:pt x="420" y="48"/>
                  <a:pt x="422" y="48"/>
                </a:cubicBezTo>
                <a:cubicBezTo>
                  <a:pt x="423" y="48"/>
                  <a:pt x="425" y="48"/>
                  <a:pt x="426" y="48"/>
                </a:cubicBezTo>
                <a:cubicBezTo>
                  <a:pt x="425" y="50"/>
                  <a:pt x="426" y="49"/>
                  <a:pt x="426" y="50"/>
                </a:cubicBezTo>
                <a:cubicBezTo>
                  <a:pt x="425" y="49"/>
                  <a:pt x="425" y="49"/>
                  <a:pt x="423" y="49"/>
                </a:cubicBezTo>
                <a:cubicBezTo>
                  <a:pt x="423" y="49"/>
                  <a:pt x="420" y="49"/>
                  <a:pt x="420" y="49"/>
                </a:cubicBezTo>
                <a:cubicBezTo>
                  <a:pt x="420" y="49"/>
                  <a:pt x="417" y="49"/>
                  <a:pt x="416" y="49"/>
                </a:cubicBezTo>
                <a:cubicBezTo>
                  <a:pt x="415" y="49"/>
                  <a:pt x="414" y="49"/>
                  <a:pt x="413" y="49"/>
                </a:cubicBezTo>
                <a:cubicBezTo>
                  <a:pt x="413" y="49"/>
                  <a:pt x="412" y="49"/>
                  <a:pt x="411" y="48"/>
                </a:cubicBezTo>
                <a:cubicBezTo>
                  <a:pt x="411" y="49"/>
                  <a:pt x="411" y="49"/>
                  <a:pt x="410" y="49"/>
                </a:cubicBezTo>
                <a:cubicBezTo>
                  <a:pt x="409" y="49"/>
                  <a:pt x="410" y="49"/>
                  <a:pt x="409" y="49"/>
                </a:cubicBezTo>
                <a:cubicBezTo>
                  <a:pt x="409" y="49"/>
                  <a:pt x="409" y="49"/>
                  <a:pt x="409" y="49"/>
                </a:cubicBezTo>
                <a:cubicBezTo>
                  <a:pt x="409" y="49"/>
                  <a:pt x="408" y="49"/>
                  <a:pt x="408" y="49"/>
                </a:cubicBezTo>
                <a:cubicBezTo>
                  <a:pt x="408" y="49"/>
                  <a:pt x="406" y="50"/>
                  <a:pt x="406" y="50"/>
                </a:cubicBezTo>
                <a:cubicBezTo>
                  <a:pt x="406" y="51"/>
                  <a:pt x="405" y="50"/>
                  <a:pt x="405" y="50"/>
                </a:cubicBezTo>
                <a:cubicBezTo>
                  <a:pt x="405" y="51"/>
                  <a:pt x="405" y="51"/>
                  <a:pt x="405" y="51"/>
                </a:cubicBezTo>
                <a:cubicBezTo>
                  <a:pt x="404" y="51"/>
                  <a:pt x="405" y="51"/>
                  <a:pt x="403" y="51"/>
                </a:cubicBezTo>
                <a:cubicBezTo>
                  <a:pt x="403" y="51"/>
                  <a:pt x="402" y="51"/>
                  <a:pt x="401" y="51"/>
                </a:cubicBezTo>
                <a:cubicBezTo>
                  <a:pt x="401" y="52"/>
                  <a:pt x="401" y="52"/>
                  <a:pt x="401" y="53"/>
                </a:cubicBezTo>
                <a:cubicBezTo>
                  <a:pt x="401" y="53"/>
                  <a:pt x="401" y="53"/>
                  <a:pt x="401" y="53"/>
                </a:cubicBezTo>
                <a:cubicBezTo>
                  <a:pt x="401" y="54"/>
                  <a:pt x="401" y="54"/>
                  <a:pt x="400" y="54"/>
                </a:cubicBezTo>
                <a:cubicBezTo>
                  <a:pt x="400" y="55"/>
                  <a:pt x="400" y="55"/>
                  <a:pt x="401" y="56"/>
                </a:cubicBezTo>
                <a:cubicBezTo>
                  <a:pt x="401" y="56"/>
                  <a:pt x="401" y="56"/>
                  <a:pt x="401" y="56"/>
                </a:cubicBezTo>
                <a:cubicBezTo>
                  <a:pt x="402" y="56"/>
                  <a:pt x="403" y="56"/>
                  <a:pt x="404" y="55"/>
                </a:cubicBezTo>
                <a:cubicBezTo>
                  <a:pt x="405" y="55"/>
                  <a:pt x="405" y="56"/>
                  <a:pt x="405" y="55"/>
                </a:cubicBezTo>
                <a:cubicBezTo>
                  <a:pt x="406" y="55"/>
                  <a:pt x="406" y="55"/>
                  <a:pt x="406" y="55"/>
                </a:cubicBezTo>
                <a:cubicBezTo>
                  <a:pt x="407" y="55"/>
                  <a:pt x="408" y="54"/>
                  <a:pt x="408" y="55"/>
                </a:cubicBezTo>
                <a:cubicBezTo>
                  <a:pt x="408" y="55"/>
                  <a:pt x="408" y="55"/>
                  <a:pt x="407" y="55"/>
                </a:cubicBezTo>
                <a:cubicBezTo>
                  <a:pt x="408" y="56"/>
                  <a:pt x="409" y="55"/>
                  <a:pt x="410" y="55"/>
                </a:cubicBezTo>
                <a:cubicBezTo>
                  <a:pt x="411" y="55"/>
                  <a:pt x="412" y="55"/>
                  <a:pt x="413" y="55"/>
                </a:cubicBezTo>
                <a:cubicBezTo>
                  <a:pt x="413" y="55"/>
                  <a:pt x="413" y="55"/>
                  <a:pt x="414" y="54"/>
                </a:cubicBezTo>
                <a:cubicBezTo>
                  <a:pt x="414" y="54"/>
                  <a:pt x="414" y="52"/>
                  <a:pt x="415" y="52"/>
                </a:cubicBezTo>
                <a:cubicBezTo>
                  <a:pt x="416" y="52"/>
                  <a:pt x="416" y="52"/>
                  <a:pt x="416" y="53"/>
                </a:cubicBezTo>
                <a:cubicBezTo>
                  <a:pt x="416" y="53"/>
                  <a:pt x="416" y="53"/>
                  <a:pt x="416" y="54"/>
                </a:cubicBezTo>
                <a:cubicBezTo>
                  <a:pt x="416" y="54"/>
                  <a:pt x="415" y="54"/>
                  <a:pt x="416" y="54"/>
                </a:cubicBezTo>
                <a:cubicBezTo>
                  <a:pt x="416" y="54"/>
                  <a:pt x="416" y="54"/>
                  <a:pt x="416" y="55"/>
                </a:cubicBezTo>
                <a:cubicBezTo>
                  <a:pt x="416" y="55"/>
                  <a:pt x="415" y="54"/>
                  <a:pt x="415" y="55"/>
                </a:cubicBezTo>
                <a:cubicBezTo>
                  <a:pt x="415" y="56"/>
                  <a:pt x="415" y="56"/>
                  <a:pt x="415" y="56"/>
                </a:cubicBezTo>
                <a:cubicBezTo>
                  <a:pt x="413" y="56"/>
                  <a:pt x="414" y="56"/>
                  <a:pt x="414" y="56"/>
                </a:cubicBezTo>
                <a:cubicBezTo>
                  <a:pt x="415" y="57"/>
                  <a:pt x="414" y="57"/>
                  <a:pt x="415" y="57"/>
                </a:cubicBezTo>
                <a:cubicBezTo>
                  <a:pt x="416" y="57"/>
                  <a:pt x="416" y="58"/>
                  <a:pt x="416" y="58"/>
                </a:cubicBezTo>
                <a:cubicBezTo>
                  <a:pt x="416" y="60"/>
                  <a:pt x="418" y="60"/>
                  <a:pt x="418" y="58"/>
                </a:cubicBezTo>
                <a:cubicBezTo>
                  <a:pt x="418" y="58"/>
                  <a:pt x="419" y="59"/>
                  <a:pt x="419" y="59"/>
                </a:cubicBezTo>
                <a:cubicBezTo>
                  <a:pt x="419" y="59"/>
                  <a:pt x="419" y="59"/>
                  <a:pt x="419" y="59"/>
                </a:cubicBezTo>
                <a:cubicBezTo>
                  <a:pt x="419" y="60"/>
                  <a:pt x="420" y="60"/>
                  <a:pt x="420" y="60"/>
                </a:cubicBezTo>
                <a:cubicBezTo>
                  <a:pt x="421" y="60"/>
                  <a:pt x="422" y="60"/>
                  <a:pt x="422" y="60"/>
                </a:cubicBezTo>
                <a:cubicBezTo>
                  <a:pt x="423" y="59"/>
                  <a:pt x="423" y="59"/>
                  <a:pt x="424" y="59"/>
                </a:cubicBezTo>
                <a:cubicBezTo>
                  <a:pt x="423" y="60"/>
                  <a:pt x="422" y="60"/>
                  <a:pt x="422" y="61"/>
                </a:cubicBezTo>
                <a:cubicBezTo>
                  <a:pt x="423" y="61"/>
                  <a:pt x="422" y="61"/>
                  <a:pt x="422" y="62"/>
                </a:cubicBezTo>
                <a:cubicBezTo>
                  <a:pt x="422" y="62"/>
                  <a:pt x="422" y="62"/>
                  <a:pt x="421" y="62"/>
                </a:cubicBezTo>
                <a:cubicBezTo>
                  <a:pt x="421" y="62"/>
                  <a:pt x="421" y="62"/>
                  <a:pt x="421" y="63"/>
                </a:cubicBezTo>
                <a:cubicBezTo>
                  <a:pt x="419" y="63"/>
                  <a:pt x="419" y="62"/>
                  <a:pt x="418" y="62"/>
                </a:cubicBezTo>
                <a:cubicBezTo>
                  <a:pt x="417" y="62"/>
                  <a:pt x="417" y="62"/>
                  <a:pt x="416" y="62"/>
                </a:cubicBezTo>
                <a:cubicBezTo>
                  <a:pt x="416" y="62"/>
                  <a:pt x="415" y="62"/>
                  <a:pt x="414" y="62"/>
                </a:cubicBezTo>
                <a:cubicBezTo>
                  <a:pt x="414" y="61"/>
                  <a:pt x="413" y="61"/>
                  <a:pt x="413" y="60"/>
                </a:cubicBezTo>
                <a:cubicBezTo>
                  <a:pt x="412" y="59"/>
                  <a:pt x="411" y="60"/>
                  <a:pt x="411" y="60"/>
                </a:cubicBezTo>
                <a:cubicBezTo>
                  <a:pt x="410" y="60"/>
                  <a:pt x="410" y="58"/>
                  <a:pt x="409" y="58"/>
                </a:cubicBezTo>
                <a:cubicBezTo>
                  <a:pt x="408" y="58"/>
                  <a:pt x="406" y="58"/>
                  <a:pt x="406" y="57"/>
                </a:cubicBezTo>
                <a:cubicBezTo>
                  <a:pt x="406" y="57"/>
                  <a:pt x="405" y="57"/>
                  <a:pt x="404" y="58"/>
                </a:cubicBezTo>
                <a:cubicBezTo>
                  <a:pt x="404" y="58"/>
                  <a:pt x="404" y="58"/>
                  <a:pt x="404" y="58"/>
                </a:cubicBezTo>
                <a:cubicBezTo>
                  <a:pt x="404" y="58"/>
                  <a:pt x="404" y="58"/>
                  <a:pt x="403" y="58"/>
                </a:cubicBezTo>
                <a:cubicBezTo>
                  <a:pt x="402" y="58"/>
                  <a:pt x="401" y="58"/>
                  <a:pt x="399" y="58"/>
                </a:cubicBezTo>
                <a:cubicBezTo>
                  <a:pt x="399" y="59"/>
                  <a:pt x="400" y="61"/>
                  <a:pt x="401" y="61"/>
                </a:cubicBezTo>
                <a:cubicBezTo>
                  <a:pt x="402" y="61"/>
                  <a:pt x="403" y="61"/>
                  <a:pt x="403" y="62"/>
                </a:cubicBezTo>
                <a:cubicBezTo>
                  <a:pt x="403" y="63"/>
                  <a:pt x="403" y="63"/>
                  <a:pt x="403" y="64"/>
                </a:cubicBezTo>
                <a:cubicBezTo>
                  <a:pt x="401" y="64"/>
                  <a:pt x="401" y="64"/>
                  <a:pt x="399" y="64"/>
                </a:cubicBezTo>
                <a:cubicBezTo>
                  <a:pt x="398" y="64"/>
                  <a:pt x="398" y="64"/>
                  <a:pt x="397" y="64"/>
                </a:cubicBezTo>
                <a:cubicBezTo>
                  <a:pt x="397" y="64"/>
                  <a:pt x="397" y="65"/>
                  <a:pt x="396" y="65"/>
                </a:cubicBezTo>
                <a:cubicBezTo>
                  <a:pt x="396" y="65"/>
                  <a:pt x="396" y="65"/>
                  <a:pt x="395" y="65"/>
                </a:cubicBezTo>
                <a:cubicBezTo>
                  <a:pt x="394" y="65"/>
                  <a:pt x="395" y="65"/>
                  <a:pt x="394" y="66"/>
                </a:cubicBezTo>
                <a:cubicBezTo>
                  <a:pt x="394" y="66"/>
                  <a:pt x="394" y="66"/>
                  <a:pt x="394" y="66"/>
                </a:cubicBezTo>
                <a:cubicBezTo>
                  <a:pt x="393" y="66"/>
                  <a:pt x="393" y="67"/>
                  <a:pt x="392" y="67"/>
                </a:cubicBezTo>
                <a:cubicBezTo>
                  <a:pt x="392" y="67"/>
                  <a:pt x="392" y="67"/>
                  <a:pt x="392" y="67"/>
                </a:cubicBezTo>
                <a:cubicBezTo>
                  <a:pt x="391" y="67"/>
                  <a:pt x="393" y="67"/>
                  <a:pt x="391" y="68"/>
                </a:cubicBezTo>
                <a:cubicBezTo>
                  <a:pt x="390" y="68"/>
                  <a:pt x="391" y="68"/>
                  <a:pt x="391" y="69"/>
                </a:cubicBezTo>
                <a:cubicBezTo>
                  <a:pt x="391" y="70"/>
                  <a:pt x="391" y="70"/>
                  <a:pt x="392" y="70"/>
                </a:cubicBezTo>
                <a:cubicBezTo>
                  <a:pt x="392" y="71"/>
                  <a:pt x="392" y="71"/>
                  <a:pt x="392" y="72"/>
                </a:cubicBezTo>
                <a:cubicBezTo>
                  <a:pt x="393" y="72"/>
                  <a:pt x="394" y="72"/>
                  <a:pt x="394" y="72"/>
                </a:cubicBezTo>
                <a:cubicBezTo>
                  <a:pt x="394" y="71"/>
                  <a:pt x="394" y="71"/>
                  <a:pt x="394" y="71"/>
                </a:cubicBezTo>
                <a:cubicBezTo>
                  <a:pt x="394" y="70"/>
                  <a:pt x="395" y="71"/>
                  <a:pt x="395" y="71"/>
                </a:cubicBezTo>
                <a:cubicBezTo>
                  <a:pt x="395" y="71"/>
                  <a:pt x="396" y="70"/>
                  <a:pt x="396" y="71"/>
                </a:cubicBezTo>
                <a:cubicBezTo>
                  <a:pt x="396" y="72"/>
                  <a:pt x="395" y="72"/>
                  <a:pt x="396" y="72"/>
                </a:cubicBezTo>
                <a:cubicBezTo>
                  <a:pt x="398" y="72"/>
                  <a:pt x="400" y="73"/>
                  <a:pt x="401" y="71"/>
                </a:cubicBezTo>
                <a:cubicBezTo>
                  <a:pt x="400" y="71"/>
                  <a:pt x="400" y="71"/>
                  <a:pt x="400" y="71"/>
                </a:cubicBezTo>
                <a:cubicBezTo>
                  <a:pt x="400" y="70"/>
                  <a:pt x="400" y="70"/>
                  <a:pt x="401" y="70"/>
                </a:cubicBezTo>
                <a:cubicBezTo>
                  <a:pt x="401" y="70"/>
                  <a:pt x="401" y="69"/>
                  <a:pt x="401" y="69"/>
                </a:cubicBezTo>
                <a:cubicBezTo>
                  <a:pt x="401" y="69"/>
                  <a:pt x="402" y="70"/>
                  <a:pt x="402" y="70"/>
                </a:cubicBezTo>
                <a:cubicBezTo>
                  <a:pt x="402" y="70"/>
                  <a:pt x="402" y="70"/>
                  <a:pt x="402" y="70"/>
                </a:cubicBezTo>
                <a:cubicBezTo>
                  <a:pt x="402" y="71"/>
                  <a:pt x="402" y="71"/>
                  <a:pt x="402" y="71"/>
                </a:cubicBezTo>
                <a:cubicBezTo>
                  <a:pt x="402" y="72"/>
                  <a:pt x="404" y="72"/>
                  <a:pt x="404" y="72"/>
                </a:cubicBezTo>
                <a:cubicBezTo>
                  <a:pt x="404" y="72"/>
                  <a:pt x="404" y="70"/>
                  <a:pt x="404" y="70"/>
                </a:cubicBezTo>
                <a:cubicBezTo>
                  <a:pt x="404" y="70"/>
                  <a:pt x="405" y="69"/>
                  <a:pt x="405" y="70"/>
                </a:cubicBezTo>
                <a:cubicBezTo>
                  <a:pt x="405" y="70"/>
                  <a:pt x="405" y="71"/>
                  <a:pt x="405" y="71"/>
                </a:cubicBezTo>
                <a:cubicBezTo>
                  <a:pt x="406" y="71"/>
                  <a:pt x="406" y="72"/>
                  <a:pt x="407" y="72"/>
                </a:cubicBezTo>
                <a:cubicBezTo>
                  <a:pt x="408" y="72"/>
                  <a:pt x="408" y="72"/>
                  <a:pt x="409" y="72"/>
                </a:cubicBezTo>
                <a:cubicBezTo>
                  <a:pt x="409" y="72"/>
                  <a:pt x="411" y="72"/>
                  <a:pt x="412" y="73"/>
                </a:cubicBezTo>
                <a:cubicBezTo>
                  <a:pt x="411" y="72"/>
                  <a:pt x="413" y="73"/>
                  <a:pt x="412" y="73"/>
                </a:cubicBezTo>
                <a:cubicBezTo>
                  <a:pt x="413" y="73"/>
                  <a:pt x="413" y="74"/>
                  <a:pt x="413" y="73"/>
                </a:cubicBezTo>
                <a:cubicBezTo>
                  <a:pt x="413" y="73"/>
                  <a:pt x="412" y="72"/>
                  <a:pt x="413" y="72"/>
                </a:cubicBezTo>
                <a:cubicBezTo>
                  <a:pt x="413" y="72"/>
                  <a:pt x="414" y="71"/>
                  <a:pt x="414" y="71"/>
                </a:cubicBezTo>
                <a:cubicBezTo>
                  <a:pt x="414" y="71"/>
                  <a:pt x="415" y="71"/>
                  <a:pt x="415" y="71"/>
                </a:cubicBezTo>
                <a:cubicBezTo>
                  <a:pt x="416" y="70"/>
                  <a:pt x="414" y="69"/>
                  <a:pt x="414" y="69"/>
                </a:cubicBezTo>
                <a:cubicBezTo>
                  <a:pt x="415" y="69"/>
                  <a:pt x="416" y="70"/>
                  <a:pt x="417" y="69"/>
                </a:cubicBezTo>
                <a:cubicBezTo>
                  <a:pt x="417" y="68"/>
                  <a:pt x="418" y="68"/>
                  <a:pt x="418" y="68"/>
                </a:cubicBezTo>
                <a:cubicBezTo>
                  <a:pt x="418" y="67"/>
                  <a:pt x="418" y="67"/>
                  <a:pt x="418" y="67"/>
                </a:cubicBezTo>
                <a:cubicBezTo>
                  <a:pt x="419" y="67"/>
                  <a:pt x="418" y="67"/>
                  <a:pt x="419" y="67"/>
                </a:cubicBezTo>
                <a:cubicBezTo>
                  <a:pt x="419" y="68"/>
                  <a:pt x="419" y="69"/>
                  <a:pt x="418" y="69"/>
                </a:cubicBezTo>
                <a:cubicBezTo>
                  <a:pt x="418" y="69"/>
                  <a:pt x="418" y="69"/>
                  <a:pt x="418" y="70"/>
                </a:cubicBezTo>
                <a:cubicBezTo>
                  <a:pt x="419" y="71"/>
                  <a:pt x="419" y="70"/>
                  <a:pt x="420" y="70"/>
                </a:cubicBezTo>
                <a:cubicBezTo>
                  <a:pt x="421" y="70"/>
                  <a:pt x="421" y="70"/>
                  <a:pt x="422" y="70"/>
                </a:cubicBezTo>
                <a:cubicBezTo>
                  <a:pt x="423" y="70"/>
                  <a:pt x="423" y="70"/>
                  <a:pt x="423" y="70"/>
                </a:cubicBezTo>
                <a:cubicBezTo>
                  <a:pt x="423" y="70"/>
                  <a:pt x="423" y="70"/>
                  <a:pt x="424" y="70"/>
                </a:cubicBezTo>
                <a:cubicBezTo>
                  <a:pt x="424" y="70"/>
                  <a:pt x="425" y="70"/>
                  <a:pt x="425" y="70"/>
                </a:cubicBezTo>
                <a:cubicBezTo>
                  <a:pt x="426" y="70"/>
                  <a:pt x="429" y="70"/>
                  <a:pt x="428" y="67"/>
                </a:cubicBezTo>
                <a:cubicBezTo>
                  <a:pt x="428" y="67"/>
                  <a:pt x="427" y="66"/>
                  <a:pt x="427" y="66"/>
                </a:cubicBezTo>
                <a:cubicBezTo>
                  <a:pt x="428" y="66"/>
                  <a:pt x="428" y="68"/>
                  <a:pt x="429" y="67"/>
                </a:cubicBezTo>
                <a:cubicBezTo>
                  <a:pt x="429" y="67"/>
                  <a:pt x="428" y="68"/>
                  <a:pt x="429" y="69"/>
                </a:cubicBezTo>
                <a:cubicBezTo>
                  <a:pt x="430" y="70"/>
                  <a:pt x="431" y="70"/>
                  <a:pt x="431" y="69"/>
                </a:cubicBezTo>
                <a:cubicBezTo>
                  <a:pt x="432" y="67"/>
                  <a:pt x="434" y="71"/>
                  <a:pt x="433" y="71"/>
                </a:cubicBezTo>
                <a:cubicBezTo>
                  <a:pt x="433" y="72"/>
                  <a:pt x="433" y="73"/>
                  <a:pt x="433" y="74"/>
                </a:cubicBezTo>
                <a:cubicBezTo>
                  <a:pt x="434" y="74"/>
                  <a:pt x="435" y="73"/>
                  <a:pt x="435" y="74"/>
                </a:cubicBezTo>
                <a:cubicBezTo>
                  <a:pt x="437" y="74"/>
                  <a:pt x="437" y="72"/>
                  <a:pt x="438" y="72"/>
                </a:cubicBezTo>
                <a:cubicBezTo>
                  <a:pt x="439" y="72"/>
                  <a:pt x="439" y="71"/>
                  <a:pt x="439" y="71"/>
                </a:cubicBezTo>
                <a:cubicBezTo>
                  <a:pt x="440" y="71"/>
                  <a:pt x="440" y="70"/>
                  <a:pt x="441" y="69"/>
                </a:cubicBezTo>
                <a:cubicBezTo>
                  <a:pt x="441" y="70"/>
                  <a:pt x="442" y="71"/>
                  <a:pt x="443" y="70"/>
                </a:cubicBezTo>
                <a:cubicBezTo>
                  <a:pt x="443" y="70"/>
                  <a:pt x="444" y="70"/>
                  <a:pt x="444" y="70"/>
                </a:cubicBezTo>
                <a:cubicBezTo>
                  <a:pt x="444" y="69"/>
                  <a:pt x="444" y="70"/>
                  <a:pt x="444" y="70"/>
                </a:cubicBezTo>
                <a:cubicBezTo>
                  <a:pt x="445" y="68"/>
                  <a:pt x="447" y="68"/>
                  <a:pt x="448" y="67"/>
                </a:cubicBezTo>
                <a:cubicBezTo>
                  <a:pt x="447" y="66"/>
                  <a:pt x="447" y="66"/>
                  <a:pt x="446" y="66"/>
                </a:cubicBezTo>
                <a:cubicBezTo>
                  <a:pt x="445" y="66"/>
                  <a:pt x="446" y="66"/>
                  <a:pt x="445" y="66"/>
                </a:cubicBezTo>
                <a:cubicBezTo>
                  <a:pt x="444" y="66"/>
                  <a:pt x="444" y="66"/>
                  <a:pt x="444" y="66"/>
                </a:cubicBezTo>
                <a:cubicBezTo>
                  <a:pt x="444" y="65"/>
                  <a:pt x="443" y="65"/>
                  <a:pt x="443" y="64"/>
                </a:cubicBezTo>
                <a:cubicBezTo>
                  <a:pt x="442" y="64"/>
                  <a:pt x="442" y="63"/>
                  <a:pt x="441" y="63"/>
                </a:cubicBezTo>
                <a:cubicBezTo>
                  <a:pt x="440" y="63"/>
                  <a:pt x="438" y="63"/>
                  <a:pt x="437" y="63"/>
                </a:cubicBezTo>
                <a:cubicBezTo>
                  <a:pt x="437" y="62"/>
                  <a:pt x="441" y="62"/>
                  <a:pt x="441" y="62"/>
                </a:cubicBezTo>
                <a:cubicBezTo>
                  <a:pt x="441" y="62"/>
                  <a:pt x="442" y="62"/>
                  <a:pt x="443" y="62"/>
                </a:cubicBezTo>
                <a:cubicBezTo>
                  <a:pt x="443" y="61"/>
                  <a:pt x="446" y="61"/>
                  <a:pt x="447" y="61"/>
                </a:cubicBezTo>
                <a:cubicBezTo>
                  <a:pt x="447" y="61"/>
                  <a:pt x="447" y="61"/>
                  <a:pt x="447" y="60"/>
                </a:cubicBezTo>
                <a:cubicBezTo>
                  <a:pt x="447" y="60"/>
                  <a:pt x="448" y="59"/>
                  <a:pt x="447" y="59"/>
                </a:cubicBezTo>
                <a:cubicBezTo>
                  <a:pt x="446" y="59"/>
                  <a:pt x="447" y="58"/>
                  <a:pt x="447" y="58"/>
                </a:cubicBezTo>
                <a:cubicBezTo>
                  <a:pt x="448" y="57"/>
                  <a:pt x="451" y="58"/>
                  <a:pt x="453" y="58"/>
                </a:cubicBezTo>
                <a:cubicBezTo>
                  <a:pt x="454" y="58"/>
                  <a:pt x="455" y="57"/>
                  <a:pt x="456" y="57"/>
                </a:cubicBezTo>
                <a:cubicBezTo>
                  <a:pt x="457" y="57"/>
                  <a:pt x="458" y="57"/>
                  <a:pt x="458" y="55"/>
                </a:cubicBezTo>
                <a:cubicBezTo>
                  <a:pt x="457" y="55"/>
                  <a:pt x="457" y="56"/>
                  <a:pt x="456" y="55"/>
                </a:cubicBezTo>
                <a:cubicBezTo>
                  <a:pt x="456" y="55"/>
                  <a:pt x="456" y="55"/>
                  <a:pt x="456" y="55"/>
                </a:cubicBezTo>
                <a:cubicBezTo>
                  <a:pt x="455" y="55"/>
                  <a:pt x="456" y="55"/>
                  <a:pt x="456" y="55"/>
                </a:cubicBezTo>
                <a:cubicBezTo>
                  <a:pt x="457" y="55"/>
                  <a:pt x="458" y="54"/>
                  <a:pt x="458" y="54"/>
                </a:cubicBezTo>
                <a:cubicBezTo>
                  <a:pt x="459" y="54"/>
                  <a:pt x="459" y="55"/>
                  <a:pt x="459" y="55"/>
                </a:cubicBezTo>
                <a:cubicBezTo>
                  <a:pt x="459" y="55"/>
                  <a:pt x="459" y="54"/>
                  <a:pt x="460" y="54"/>
                </a:cubicBezTo>
                <a:cubicBezTo>
                  <a:pt x="460" y="54"/>
                  <a:pt x="461" y="54"/>
                  <a:pt x="461" y="54"/>
                </a:cubicBezTo>
                <a:cubicBezTo>
                  <a:pt x="461" y="54"/>
                  <a:pt x="461" y="53"/>
                  <a:pt x="460" y="53"/>
                </a:cubicBezTo>
                <a:cubicBezTo>
                  <a:pt x="460" y="53"/>
                  <a:pt x="459" y="52"/>
                  <a:pt x="459" y="52"/>
                </a:cubicBezTo>
                <a:cubicBezTo>
                  <a:pt x="461" y="52"/>
                  <a:pt x="462" y="52"/>
                  <a:pt x="463" y="52"/>
                </a:cubicBezTo>
                <a:cubicBezTo>
                  <a:pt x="464" y="52"/>
                  <a:pt x="464" y="51"/>
                  <a:pt x="465" y="51"/>
                </a:cubicBezTo>
                <a:cubicBezTo>
                  <a:pt x="465" y="50"/>
                  <a:pt x="465" y="50"/>
                  <a:pt x="465" y="49"/>
                </a:cubicBezTo>
                <a:cubicBezTo>
                  <a:pt x="463" y="49"/>
                  <a:pt x="462" y="49"/>
                  <a:pt x="461" y="49"/>
                </a:cubicBezTo>
                <a:cubicBezTo>
                  <a:pt x="461" y="48"/>
                  <a:pt x="461" y="48"/>
                  <a:pt x="460" y="48"/>
                </a:cubicBezTo>
                <a:cubicBezTo>
                  <a:pt x="459" y="48"/>
                  <a:pt x="458" y="48"/>
                  <a:pt x="457" y="47"/>
                </a:cubicBezTo>
                <a:cubicBezTo>
                  <a:pt x="457" y="48"/>
                  <a:pt x="456" y="48"/>
                  <a:pt x="455" y="48"/>
                </a:cubicBezTo>
                <a:cubicBezTo>
                  <a:pt x="455" y="48"/>
                  <a:pt x="454" y="48"/>
                  <a:pt x="454" y="48"/>
                </a:cubicBezTo>
                <a:cubicBezTo>
                  <a:pt x="454" y="48"/>
                  <a:pt x="453" y="49"/>
                  <a:pt x="453" y="49"/>
                </a:cubicBezTo>
                <a:cubicBezTo>
                  <a:pt x="453" y="49"/>
                  <a:pt x="452" y="49"/>
                  <a:pt x="452" y="49"/>
                </a:cubicBezTo>
                <a:cubicBezTo>
                  <a:pt x="451" y="49"/>
                  <a:pt x="452" y="49"/>
                  <a:pt x="451" y="49"/>
                </a:cubicBezTo>
                <a:cubicBezTo>
                  <a:pt x="451" y="49"/>
                  <a:pt x="451" y="49"/>
                  <a:pt x="451" y="49"/>
                </a:cubicBezTo>
                <a:cubicBezTo>
                  <a:pt x="451" y="50"/>
                  <a:pt x="449" y="50"/>
                  <a:pt x="449" y="50"/>
                </a:cubicBezTo>
                <a:cubicBezTo>
                  <a:pt x="448" y="50"/>
                  <a:pt x="448" y="50"/>
                  <a:pt x="448" y="50"/>
                </a:cubicBezTo>
                <a:cubicBezTo>
                  <a:pt x="448" y="50"/>
                  <a:pt x="448" y="50"/>
                  <a:pt x="448" y="49"/>
                </a:cubicBezTo>
                <a:cubicBezTo>
                  <a:pt x="448" y="49"/>
                  <a:pt x="448" y="49"/>
                  <a:pt x="449" y="49"/>
                </a:cubicBezTo>
                <a:cubicBezTo>
                  <a:pt x="450" y="48"/>
                  <a:pt x="450" y="48"/>
                  <a:pt x="451" y="47"/>
                </a:cubicBezTo>
                <a:cubicBezTo>
                  <a:pt x="449" y="47"/>
                  <a:pt x="447" y="46"/>
                  <a:pt x="445" y="46"/>
                </a:cubicBezTo>
                <a:cubicBezTo>
                  <a:pt x="445" y="46"/>
                  <a:pt x="446" y="46"/>
                  <a:pt x="446" y="46"/>
                </a:cubicBezTo>
                <a:cubicBezTo>
                  <a:pt x="447" y="46"/>
                  <a:pt x="447" y="46"/>
                  <a:pt x="447" y="46"/>
                </a:cubicBezTo>
                <a:cubicBezTo>
                  <a:pt x="449" y="46"/>
                  <a:pt x="448" y="46"/>
                  <a:pt x="448" y="46"/>
                </a:cubicBezTo>
                <a:cubicBezTo>
                  <a:pt x="448" y="46"/>
                  <a:pt x="449" y="46"/>
                  <a:pt x="449" y="46"/>
                </a:cubicBezTo>
                <a:cubicBezTo>
                  <a:pt x="450" y="46"/>
                  <a:pt x="449" y="46"/>
                  <a:pt x="450" y="46"/>
                </a:cubicBezTo>
                <a:cubicBezTo>
                  <a:pt x="450" y="46"/>
                  <a:pt x="451" y="46"/>
                  <a:pt x="451" y="46"/>
                </a:cubicBezTo>
                <a:cubicBezTo>
                  <a:pt x="452" y="47"/>
                  <a:pt x="452" y="47"/>
                  <a:pt x="452" y="47"/>
                </a:cubicBezTo>
                <a:cubicBezTo>
                  <a:pt x="453" y="48"/>
                  <a:pt x="454" y="46"/>
                  <a:pt x="455" y="46"/>
                </a:cubicBezTo>
                <a:cubicBezTo>
                  <a:pt x="455" y="46"/>
                  <a:pt x="455" y="47"/>
                  <a:pt x="455" y="47"/>
                </a:cubicBezTo>
                <a:cubicBezTo>
                  <a:pt x="456" y="47"/>
                  <a:pt x="457" y="47"/>
                  <a:pt x="458" y="46"/>
                </a:cubicBezTo>
                <a:cubicBezTo>
                  <a:pt x="457" y="45"/>
                  <a:pt x="457" y="45"/>
                  <a:pt x="455" y="45"/>
                </a:cubicBezTo>
                <a:cubicBezTo>
                  <a:pt x="455" y="45"/>
                  <a:pt x="452" y="44"/>
                  <a:pt x="452" y="44"/>
                </a:cubicBezTo>
                <a:cubicBezTo>
                  <a:pt x="453" y="44"/>
                  <a:pt x="455" y="44"/>
                  <a:pt x="456" y="44"/>
                </a:cubicBezTo>
                <a:cubicBezTo>
                  <a:pt x="456" y="44"/>
                  <a:pt x="456" y="44"/>
                  <a:pt x="456" y="44"/>
                </a:cubicBezTo>
                <a:cubicBezTo>
                  <a:pt x="457" y="44"/>
                  <a:pt x="457" y="44"/>
                  <a:pt x="457" y="44"/>
                </a:cubicBezTo>
                <a:cubicBezTo>
                  <a:pt x="458" y="44"/>
                  <a:pt x="459" y="45"/>
                  <a:pt x="459" y="45"/>
                </a:cubicBezTo>
                <a:cubicBezTo>
                  <a:pt x="460" y="45"/>
                  <a:pt x="461" y="45"/>
                  <a:pt x="461" y="44"/>
                </a:cubicBezTo>
                <a:cubicBezTo>
                  <a:pt x="458" y="43"/>
                  <a:pt x="455" y="43"/>
                  <a:pt x="452" y="43"/>
                </a:cubicBezTo>
                <a:cubicBezTo>
                  <a:pt x="452" y="42"/>
                  <a:pt x="452" y="42"/>
                  <a:pt x="452" y="41"/>
                </a:cubicBezTo>
                <a:cubicBezTo>
                  <a:pt x="453" y="41"/>
                  <a:pt x="455" y="42"/>
                  <a:pt x="456" y="42"/>
                </a:cubicBezTo>
                <a:cubicBezTo>
                  <a:pt x="456" y="41"/>
                  <a:pt x="456" y="41"/>
                  <a:pt x="456" y="41"/>
                </a:cubicBezTo>
                <a:cubicBezTo>
                  <a:pt x="457" y="41"/>
                  <a:pt x="457" y="41"/>
                  <a:pt x="457" y="41"/>
                </a:cubicBezTo>
                <a:cubicBezTo>
                  <a:pt x="458" y="42"/>
                  <a:pt x="458" y="42"/>
                  <a:pt x="459" y="43"/>
                </a:cubicBezTo>
                <a:cubicBezTo>
                  <a:pt x="460" y="43"/>
                  <a:pt x="461" y="42"/>
                  <a:pt x="461" y="43"/>
                </a:cubicBezTo>
                <a:cubicBezTo>
                  <a:pt x="461" y="43"/>
                  <a:pt x="461" y="43"/>
                  <a:pt x="462" y="43"/>
                </a:cubicBezTo>
                <a:cubicBezTo>
                  <a:pt x="461" y="42"/>
                  <a:pt x="461" y="42"/>
                  <a:pt x="461" y="42"/>
                </a:cubicBezTo>
                <a:cubicBezTo>
                  <a:pt x="462" y="42"/>
                  <a:pt x="463" y="42"/>
                  <a:pt x="464" y="43"/>
                </a:cubicBezTo>
                <a:cubicBezTo>
                  <a:pt x="465" y="43"/>
                  <a:pt x="466" y="42"/>
                  <a:pt x="466" y="41"/>
                </a:cubicBezTo>
                <a:cubicBezTo>
                  <a:pt x="467" y="42"/>
                  <a:pt x="467" y="42"/>
                  <a:pt x="468" y="42"/>
                </a:cubicBezTo>
                <a:cubicBezTo>
                  <a:pt x="469" y="42"/>
                  <a:pt x="470" y="42"/>
                  <a:pt x="470" y="43"/>
                </a:cubicBezTo>
                <a:cubicBezTo>
                  <a:pt x="471" y="42"/>
                  <a:pt x="471" y="41"/>
                  <a:pt x="472" y="42"/>
                </a:cubicBezTo>
                <a:cubicBezTo>
                  <a:pt x="473" y="43"/>
                  <a:pt x="474" y="42"/>
                  <a:pt x="474" y="42"/>
                </a:cubicBezTo>
                <a:cubicBezTo>
                  <a:pt x="474" y="40"/>
                  <a:pt x="472" y="39"/>
                  <a:pt x="474" y="40"/>
                </a:cubicBezTo>
                <a:cubicBezTo>
                  <a:pt x="476" y="40"/>
                  <a:pt x="476" y="40"/>
                  <a:pt x="477" y="39"/>
                </a:cubicBezTo>
                <a:cubicBezTo>
                  <a:pt x="477" y="38"/>
                  <a:pt x="480" y="38"/>
                  <a:pt x="481" y="38"/>
                </a:cubicBezTo>
                <a:cubicBezTo>
                  <a:pt x="480" y="37"/>
                  <a:pt x="480" y="37"/>
                  <a:pt x="479" y="37"/>
                </a:cubicBezTo>
                <a:cubicBezTo>
                  <a:pt x="477" y="37"/>
                  <a:pt x="478" y="37"/>
                  <a:pt x="479" y="35"/>
                </a:cubicBezTo>
                <a:cubicBezTo>
                  <a:pt x="479" y="35"/>
                  <a:pt x="481" y="36"/>
                  <a:pt x="481" y="36"/>
                </a:cubicBezTo>
                <a:cubicBezTo>
                  <a:pt x="481" y="37"/>
                  <a:pt x="482" y="36"/>
                  <a:pt x="482" y="37"/>
                </a:cubicBezTo>
                <a:cubicBezTo>
                  <a:pt x="483" y="37"/>
                  <a:pt x="484" y="37"/>
                  <a:pt x="484" y="36"/>
                </a:cubicBezTo>
                <a:cubicBezTo>
                  <a:pt x="485" y="35"/>
                  <a:pt x="484" y="35"/>
                  <a:pt x="485" y="35"/>
                </a:cubicBezTo>
                <a:cubicBezTo>
                  <a:pt x="486" y="35"/>
                  <a:pt x="486" y="35"/>
                  <a:pt x="486" y="35"/>
                </a:cubicBezTo>
                <a:cubicBezTo>
                  <a:pt x="487" y="35"/>
                  <a:pt x="486" y="34"/>
                  <a:pt x="486" y="33"/>
                </a:cubicBezTo>
                <a:cubicBezTo>
                  <a:pt x="486" y="33"/>
                  <a:pt x="487" y="32"/>
                  <a:pt x="487" y="32"/>
                </a:cubicBezTo>
                <a:cubicBezTo>
                  <a:pt x="488" y="32"/>
                  <a:pt x="487" y="33"/>
                  <a:pt x="488" y="34"/>
                </a:cubicBezTo>
                <a:cubicBezTo>
                  <a:pt x="488" y="34"/>
                  <a:pt x="488" y="34"/>
                  <a:pt x="489" y="34"/>
                </a:cubicBezTo>
                <a:cubicBezTo>
                  <a:pt x="489" y="34"/>
                  <a:pt x="489" y="33"/>
                  <a:pt x="490" y="34"/>
                </a:cubicBezTo>
                <a:cubicBezTo>
                  <a:pt x="490" y="34"/>
                  <a:pt x="491" y="32"/>
                  <a:pt x="492" y="32"/>
                </a:cubicBezTo>
                <a:cubicBezTo>
                  <a:pt x="492" y="32"/>
                  <a:pt x="492" y="32"/>
                  <a:pt x="493" y="32"/>
                </a:cubicBezTo>
                <a:cubicBezTo>
                  <a:pt x="493" y="32"/>
                  <a:pt x="493" y="31"/>
                  <a:pt x="493" y="31"/>
                </a:cubicBezTo>
                <a:cubicBezTo>
                  <a:pt x="494" y="31"/>
                  <a:pt x="494" y="31"/>
                  <a:pt x="494" y="31"/>
                </a:cubicBezTo>
                <a:cubicBezTo>
                  <a:pt x="495" y="31"/>
                  <a:pt x="495" y="30"/>
                  <a:pt x="495" y="30"/>
                </a:cubicBezTo>
                <a:cubicBezTo>
                  <a:pt x="496" y="30"/>
                  <a:pt x="497" y="29"/>
                  <a:pt x="497" y="29"/>
                </a:cubicBezTo>
                <a:cubicBezTo>
                  <a:pt x="498" y="29"/>
                  <a:pt x="497" y="29"/>
                  <a:pt x="498" y="29"/>
                </a:cubicBezTo>
                <a:cubicBezTo>
                  <a:pt x="499" y="28"/>
                  <a:pt x="502" y="28"/>
                  <a:pt x="503" y="28"/>
                </a:cubicBezTo>
                <a:cubicBezTo>
                  <a:pt x="504" y="28"/>
                  <a:pt x="504" y="28"/>
                  <a:pt x="505" y="28"/>
                </a:cubicBezTo>
                <a:cubicBezTo>
                  <a:pt x="505" y="28"/>
                  <a:pt x="505" y="27"/>
                  <a:pt x="505" y="27"/>
                </a:cubicBezTo>
                <a:cubicBezTo>
                  <a:pt x="505" y="27"/>
                  <a:pt x="506" y="27"/>
                  <a:pt x="506" y="27"/>
                </a:cubicBezTo>
                <a:cubicBezTo>
                  <a:pt x="506" y="27"/>
                  <a:pt x="507" y="27"/>
                  <a:pt x="507" y="27"/>
                </a:cubicBezTo>
                <a:cubicBezTo>
                  <a:pt x="507" y="27"/>
                  <a:pt x="507" y="27"/>
                  <a:pt x="507" y="27"/>
                </a:cubicBezTo>
                <a:cubicBezTo>
                  <a:pt x="509" y="27"/>
                  <a:pt x="510" y="27"/>
                  <a:pt x="511" y="26"/>
                </a:cubicBezTo>
                <a:cubicBezTo>
                  <a:pt x="512" y="25"/>
                  <a:pt x="514" y="24"/>
                  <a:pt x="515" y="24"/>
                </a:cubicBezTo>
                <a:cubicBezTo>
                  <a:pt x="515" y="23"/>
                  <a:pt x="515" y="23"/>
                  <a:pt x="515" y="23"/>
                </a:cubicBezTo>
                <a:cubicBezTo>
                  <a:pt x="513" y="23"/>
                  <a:pt x="512" y="23"/>
                  <a:pt x="510" y="24"/>
                </a:cubicBezTo>
                <a:cubicBezTo>
                  <a:pt x="510" y="24"/>
                  <a:pt x="509" y="24"/>
                  <a:pt x="508" y="24"/>
                </a:cubicBezTo>
                <a:cubicBezTo>
                  <a:pt x="508" y="24"/>
                  <a:pt x="509" y="25"/>
                  <a:pt x="507" y="25"/>
                </a:cubicBezTo>
                <a:cubicBezTo>
                  <a:pt x="507" y="25"/>
                  <a:pt x="503" y="25"/>
                  <a:pt x="503" y="25"/>
                </a:cubicBezTo>
                <a:cubicBezTo>
                  <a:pt x="503" y="25"/>
                  <a:pt x="504" y="24"/>
                  <a:pt x="504" y="24"/>
                </a:cubicBezTo>
                <a:cubicBezTo>
                  <a:pt x="505" y="24"/>
                  <a:pt x="505" y="24"/>
                  <a:pt x="506" y="24"/>
                </a:cubicBezTo>
                <a:cubicBezTo>
                  <a:pt x="507" y="24"/>
                  <a:pt x="506" y="24"/>
                  <a:pt x="507" y="23"/>
                </a:cubicBezTo>
                <a:cubicBezTo>
                  <a:pt x="508" y="23"/>
                  <a:pt x="509" y="23"/>
                  <a:pt x="510" y="23"/>
                </a:cubicBezTo>
                <a:cubicBezTo>
                  <a:pt x="510" y="22"/>
                  <a:pt x="509" y="22"/>
                  <a:pt x="509" y="22"/>
                </a:cubicBezTo>
                <a:cubicBezTo>
                  <a:pt x="510" y="22"/>
                  <a:pt x="510" y="22"/>
                  <a:pt x="510" y="22"/>
                </a:cubicBezTo>
                <a:cubicBezTo>
                  <a:pt x="510" y="22"/>
                  <a:pt x="511" y="23"/>
                  <a:pt x="511" y="23"/>
                </a:cubicBezTo>
                <a:cubicBezTo>
                  <a:pt x="512" y="23"/>
                  <a:pt x="512" y="22"/>
                  <a:pt x="512" y="22"/>
                </a:cubicBezTo>
                <a:cubicBezTo>
                  <a:pt x="514" y="22"/>
                  <a:pt x="514" y="22"/>
                  <a:pt x="515" y="22"/>
                </a:cubicBezTo>
                <a:cubicBezTo>
                  <a:pt x="515" y="22"/>
                  <a:pt x="517" y="20"/>
                  <a:pt x="517" y="20"/>
                </a:cubicBezTo>
                <a:cubicBezTo>
                  <a:pt x="517" y="20"/>
                  <a:pt x="518" y="20"/>
                  <a:pt x="519" y="20"/>
                </a:cubicBezTo>
                <a:cubicBezTo>
                  <a:pt x="519" y="20"/>
                  <a:pt x="520" y="20"/>
                  <a:pt x="520" y="20"/>
                </a:cubicBezTo>
                <a:cubicBezTo>
                  <a:pt x="520" y="18"/>
                  <a:pt x="522" y="19"/>
                  <a:pt x="522" y="18"/>
                </a:cubicBezTo>
                <a:cubicBezTo>
                  <a:pt x="523" y="18"/>
                  <a:pt x="523" y="17"/>
                  <a:pt x="524" y="17"/>
                </a:cubicBezTo>
                <a:cubicBezTo>
                  <a:pt x="524" y="17"/>
                  <a:pt x="525" y="18"/>
                  <a:pt x="525" y="17"/>
                </a:cubicBezTo>
                <a:cubicBezTo>
                  <a:pt x="525" y="17"/>
                  <a:pt x="525" y="17"/>
                  <a:pt x="525" y="17"/>
                </a:cubicBezTo>
                <a:cubicBezTo>
                  <a:pt x="526" y="17"/>
                  <a:pt x="526" y="17"/>
                  <a:pt x="527" y="17"/>
                </a:cubicBezTo>
                <a:cubicBezTo>
                  <a:pt x="527" y="17"/>
                  <a:pt x="527" y="16"/>
                  <a:pt x="528" y="15"/>
                </a:cubicBezTo>
                <a:cubicBezTo>
                  <a:pt x="529" y="14"/>
                  <a:pt x="526" y="14"/>
                  <a:pt x="525" y="14"/>
                </a:cubicBezTo>
                <a:cubicBezTo>
                  <a:pt x="524" y="14"/>
                  <a:pt x="524" y="13"/>
                  <a:pt x="523" y="13"/>
                </a:cubicBezTo>
                <a:cubicBezTo>
                  <a:pt x="522" y="13"/>
                  <a:pt x="522" y="13"/>
                  <a:pt x="522" y="13"/>
                </a:cubicBezTo>
                <a:cubicBezTo>
                  <a:pt x="521" y="13"/>
                  <a:pt x="520" y="13"/>
                  <a:pt x="519" y="13"/>
                </a:cubicBezTo>
                <a:cubicBezTo>
                  <a:pt x="519" y="12"/>
                  <a:pt x="519" y="12"/>
                  <a:pt x="518" y="11"/>
                </a:cubicBezTo>
                <a:cubicBezTo>
                  <a:pt x="518" y="11"/>
                  <a:pt x="517" y="11"/>
                  <a:pt x="517" y="11"/>
                </a:cubicBezTo>
                <a:cubicBezTo>
                  <a:pt x="517" y="10"/>
                  <a:pt x="516" y="10"/>
                  <a:pt x="516" y="10"/>
                </a:cubicBezTo>
                <a:cubicBezTo>
                  <a:pt x="515" y="10"/>
                  <a:pt x="514" y="10"/>
                  <a:pt x="514" y="10"/>
                </a:cubicBezTo>
                <a:cubicBezTo>
                  <a:pt x="513" y="10"/>
                  <a:pt x="513" y="10"/>
                  <a:pt x="512" y="10"/>
                </a:cubicBezTo>
                <a:cubicBezTo>
                  <a:pt x="512" y="10"/>
                  <a:pt x="512" y="9"/>
                  <a:pt x="512" y="9"/>
                </a:cubicBezTo>
                <a:cubicBezTo>
                  <a:pt x="511" y="9"/>
                  <a:pt x="511" y="9"/>
                  <a:pt x="510" y="9"/>
                </a:cubicBezTo>
                <a:cubicBezTo>
                  <a:pt x="509" y="9"/>
                  <a:pt x="508" y="9"/>
                  <a:pt x="507" y="9"/>
                </a:cubicBezTo>
                <a:cubicBezTo>
                  <a:pt x="507" y="9"/>
                  <a:pt x="506" y="8"/>
                  <a:pt x="506" y="8"/>
                </a:cubicBezTo>
                <a:cubicBezTo>
                  <a:pt x="506" y="8"/>
                  <a:pt x="505" y="9"/>
                  <a:pt x="506" y="9"/>
                </a:cubicBezTo>
                <a:cubicBezTo>
                  <a:pt x="505" y="9"/>
                  <a:pt x="504" y="8"/>
                  <a:pt x="503" y="8"/>
                </a:cubicBezTo>
                <a:cubicBezTo>
                  <a:pt x="503" y="9"/>
                  <a:pt x="502" y="10"/>
                  <a:pt x="501" y="10"/>
                </a:cubicBezTo>
                <a:cubicBezTo>
                  <a:pt x="501" y="11"/>
                  <a:pt x="501" y="11"/>
                  <a:pt x="500" y="12"/>
                </a:cubicBezTo>
                <a:cubicBezTo>
                  <a:pt x="499" y="12"/>
                  <a:pt x="499" y="12"/>
                  <a:pt x="499" y="12"/>
                </a:cubicBezTo>
                <a:cubicBezTo>
                  <a:pt x="499" y="12"/>
                  <a:pt x="499" y="12"/>
                  <a:pt x="499" y="12"/>
                </a:cubicBezTo>
                <a:cubicBezTo>
                  <a:pt x="498" y="12"/>
                  <a:pt x="498" y="12"/>
                  <a:pt x="498" y="12"/>
                </a:cubicBezTo>
                <a:cubicBezTo>
                  <a:pt x="497" y="12"/>
                  <a:pt x="498" y="12"/>
                  <a:pt x="497" y="13"/>
                </a:cubicBezTo>
                <a:cubicBezTo>
                  <a:pt x="497" y="13"/>
                  <a:pt x="496" y="13"/>
                  <a:pt x="496" y="14"/>
                </a:cubicBezTo>
                <a:cubicBezTo>
                  <a:pt x="495" y="14"/>
                  <a:pt x="495" y="13"/>
                  <a:pt x="495" y="13"/>
                </a:cubicBezTo>
                <a:cubicBezTo>
                  <a:pt x="495" y="14"/>
                  <a:pt x="492" y="14"/>
                  <a:pt x="491" y="14"/>
                </a:cubicBezTo>
                <a:cubicBezTo>
                  <a:pt x="491" y="14"/>
                  <a:pt x="490" y="15"/>
                  <a:pt x="490" y="15"/>
                </a:cubicBezTo>
                <a:cubicBezTo>
                  <a:pt x="490" y="16"/>
                  <a:pt x="489" y="15"/>
                  <a:pt x="489" y="15"/>
                </a:cubicBezTo>
                <a:cubicBezTo>
                  <a:pt x="489" y="15"/>
                  <a:pt x="490" y="14"/>
                  <a:pt x="490" y="14"/>
                </a:cubicBezTo>
                <a:cubicBezTo>
                  <a:pt x="491" y="13"/>
                  <a:pt x="492" y="13"/>
                  <a:pt x="492" y="13"/>
                </a:cubicBezTo>
                <a:cubicBezTo>
                  <a:pt x="493" y="13"/>
                  <a:pt x="493" y="13"/>
                  <a:pt x="494" y="13"/>
                </a:cubicBezTo>
                <a:cubicBezTo>
                  <a:pt x="494" y="13"/>
                  <a:pt x="495" y="13"/>
                  <a:pt x="495" y="13"/>
                </a:cubicBezTo>
                <a:cubicBezTo>
                  <a:pt x="495" y="13"/>
                  <a:pt x="495" y="12"/>
                  <a:pt x="495" y="12"/>
                </a:cubicBezTo>
                <a:cubicBezTo>
                  <a:pt x="495" y="12"/>
                  <a:pt x="495" y="12"/>
                  <a:pt x="496" y="12"/>
                </a:cubicBezTo>
                <a:cubicBezTo>
                  <a:pt x="496" y="12"/>
                  <a:pt x="495" y="12"/>
                  <a:pt x="496" y="12"/>
                </a:cubicBezTo>
                <a:cubicBezTo>
                  <a:pt x="496" y="12"/>
                  <a:pt x="497" y="12"/>
                  <a:pt x="497" y="12"/>
                </a:cubicBezTo>
                <a:cubicBezTo>
                  <a:pt x="498" y="12"/>
                  <a:pt x="498" y="11"/>
                  <a:pt x="499" y="10"/>
                </a:cubicBezTo>
                <a:cubicBezTo>
                  <a:pt x="500" y="10"/>
                  <a:pt x="500" y="9"/>
                  <a:pt x="500" y="8"/>
                </a:cubicBezTo>
                <a:cubicBezTo>
                  <a:pt x="499" y="8"/>
                  <a:pt x="498" y="8"/>
                  <a:pt x="497" y="7"/>
                </a:cubicBezTo>
                <a:cubicBezTo>
                  <a:pt x="496" y="7"/>
                  <a:pt x="496" y="7"/>
                  <a:pt x="495" y="7"/>
                </a:cubicBezTo>
                <a:cubicBezTo>
                  <a:pt x="493" y="7"/>
                  <a:pt x="495" y="8"/>
                  <a:pt x="495" y="8"/>
                </a:cubicBezTo>
                <a:cubicBezTo>
                  <a:pt x="493" y="8"/>
                  <a:pt x="491" y="8"/>
                  <a:pt x="489" y="8"/>
                </a:cubicBezTo>
                <a:cubicBezTo>
                  <a:pt x="489" y="8"/>
                  <a:pt x="489" y="8"/>
                  <a:pt x="489" y="8"/>
                </a:cubicBezTo>
                <a:cubicBezTo>
                  <a:pt x="489" y="8"/>
                  <a:pt x="488" y="8"/>
                  <a:pt x="487" y="8"/>
                </a:cubicBezTo>
                <a:cubicBezTo>
                  <a:pt x="486" y="8"/>
                  <a:pt x="486" y="8"/>
                  <a:pt x="486" y="7"/>
                </a:cubicBezTo>
                <a:cubicBezTo>
                  <a:pt x="485" y="7"/>
                  <a:pt x="485" y="7"/>
                  <a:pt x="485" y="7"/>
                </a:cubicBezTo>
                <a:cubicBezTo>
                  <a:pt x="483" y="8"/>
                  <a:pt x="482" y="7"/>
                  <a:pt x="481" y="7"/>
                </a:cubicBezTo>
                <a:cubicBezTo>
                  <a:pt x="480" y="7"/>
                  <a:pt x="477" y="8"/>
                  <a:pt x="477" y="9"/>
                </a:cubicBezTo>
                <a:cubicBezTo>
                  <a:pt x="477" y="9"/>
                  <a:pt x="478" y="10"/>
                  <a:pt x="477" y="10"/>
                </a:cubicBezTo>
                <a:cubicBezTo>
                  <a:pt x="477" y="10"/>
                  <a:pt x="476" y="10"/>
                  <a:pt x="477" y="9"/>
                </a:cubicBezTo>
                <a:cubicBezTo>
                  <a:pt x="475" y="9"/>
                  <a:pt x="473" y="10"/>
                  <a:pt x="471" y="11"/>
                </a:cubicBezTo>
                <a:cubicBezTo>
                  <a:pt x="470" y="11"/>
                  <a:pt x="470" y="11"/>
                  <a:pt x="470" y="12"/>
                </a:cubicBezTo>
                <a:cubicBezTo>
                  <a:pt x="470" y="12"/>
                  <a:pt x="471" y="12"/>
                  <a:pt x="471" y="13"/>
                </a:cubicBezTo>
                <a:cubicBezTo>
                  <a:pt x="470" y="13"/>
                  <a:pt x="469" y="12"/>
                  <a:pt x="468" y="12"/>
                </a:cubicBezTo>
                <a:cubicBezTo>
                  <a:pt x="467" y="12"/>
                  <a:pt x="467" y="10"/>
                  <a:pt x="467" y="10"/>
                </a:cubicBezTo>
                <a:cubicBezTo>
                  <a:pt x="466" y="10"/>
                  <a:pt x="466" y="11"/>
                  <a:pt x="466" y="10"/>
                </a:cubicBezTo>
                <a:cubicBezTo>
                  <a:pt x="462" y="11"/>
                  <a:pt x="458" y="10"/>
                  <a:pt x="453" y="10"/>
                </a:cubicBezTo>
                <a:cubicBezTo>
                  <a:pt x="452" y="10"/>
                  <a:pt x="451" y="11"/>
                  <a:pt x="450" y="11"/>
                </a:cubicBezTo>
                <a:cubicBezTo>
                  <a:pt x="449" y="12"/>
                  <a:pt x="451" y="13"/>
                  <a:pt x="451" y="13"/>
                </a:cubicBezTo>
                <a:cubicBezTo>
                  <a:pt x="451" y="14"/>
                  <a:pt x="453" y="13"/>
                  <a:pt x="453" y="14"/>
                </a:cubicBezTo>
                <a:cubicBezTo>
                  <a:pt x="453" y="14"/>
                  <a:pt x="454" y="15"/>
                  <a:pt x="455" y="15"/>
                </a:cubicBezTo>
                <a:cubicBezTo>
                  <a:pt x="455" y="16"/>
                  <a:pt x="456" y="15"/>
                  <a:pt x="456" y="16"/>
                </a:cubicBezTo>
                <a:cubicBezTo>
                  <a:pt x="455" y="17"/>
                  <a:pt x="455" y="16"/>
                  <a:pt x="455" y="17"/>
                </a:cubicBezTo>
                <a:cubicBezTo>
                  <a:pt x="455" y="18"/>
                  <a:pt x="454" y="16"/>
                  <a:pt x="454" y="16"/>
                </a:cubicBezTo>
                <a:cubicBezTo>
                  <a:pt x="454" y="15"/>
                  <a:pt x="454" y="15"/>
                  <a:pt x="453" y="15"/>
                </a:cubicBezTo>
                <a:cubicBezTo>
                  <a:pt x="452" y="15"/>
                  <a:pt x="450" y="15"/>
                  <a:pt x="450" y="14"/>
                </a:cubicBezTo>
                <a:cubicBezTo>
                  <a:pt x="450" y="13"/>
                  <a:pt x="449" y="12"/>
                  <a:pt x="448" y="13"/>
                </a:cubicBezTo>
                <a:cubicBezTo>
                  <a:pt x="448" y="13"/>
                  <a:pt x="447" y="14"/>
                  <a:pt x="447" y="14"/>
                </a:cubicBezTo>
                <a:cubicBezTo>
                  <a:pt x="446" y="14"/>
                  <a:pt x="446" y="14"/>
                  <a:pt x="445" y="14"/>
                </a:cubicBezTo>
                <a:cubicBezTo>
                  <a:pt x="445" y="14"/>
                  <a:pt x="444" y="14"/>
                  <a:pt x="444" y="14"/>
                </a:cubicBezTo>
                <a:cubicBezTo>
                  <a:pt x="444" y="14"/>
                  <a:pt x="443" y="12"/>
                  <a:pt x="443" y="12"/>
                </a:cubicBezTo>
                <a:cubicBezTo>
                  <a:pt x="443" y="12"/>
                  <a:pt x="443" y="12"/>
                  <a:pt x="443" y="13"/>
                </a:cubicBezTo>
                <a:cubicBezTo>
                  <a:pt x="443" y="13"/>
                  <a:pt x="443" y="13"/>
                  <a:pt x="443" y="13"/>
                </a:cubicBezTo>
                <a:cubicBezTo>
                  <a:pt x="443" y="14"/>
                  <a:pt x="442" y="13"/>
                  <a:pt x="442" y="14"/>
                </a:cubicBezTo>
                <a:cubicBezTo>
                  <a:pt x="442" y="14"/>
                  <a:pt x="440" y="17"/>
                  <a:pt x="439" y="16"/>
                </a:cubicBezTo>
                <a:cubicBezTo>
                  <a:pt x="438" y="15"/>
                  <a:pt x="438" y="15"/>
                  <a:pt x="438" y="14"/>
                </a:cubicBezTo>
                <a:cubicBezTo>
                  <a:pt x="438" y="14"/>
                  <a:pt x="437" y="14"/>
                  <a:pt x="436" y="14"/>
                </a:cubicBezTo>
                <a:cubicBezTo>
                  <a:pt x="436" y="15"/>
                  <a:pt x="436" y="16"/>
                  <a:pt x="437" y="16"/>
                </a:cubicBezTo>
                <a:cubicBezTo>
                  <a:pt x="437" y="16"/>
                  <a:pt x="437" y="17"/>
                  <a:pt x="437" y="17"/>
                </a:cubicBezTo>
                <a:cubicBezTo>
                  <a:pt x="438" y="17"/>
                  <a:pt x="438" y="16"/>
                  <a:pt x="439" y="17"/>
                </a:cubicBezTo>
                <a:cubicBezTo>
                  <a:pt x="439" y="18"/>
                  <a:pt x="440" y="17"/>
                  <a:pt x="440" y="17"/>
                </a:cubicBezTo>
                <a:cubicBezTo>
                  <a:pt x="441" y="17"/>
                  <a:pt x="441" y="17"/>
                  <a:pt x="441" y="18"/>
                </a:cubicBezTo>
                <a:cubicBezTo>
                  <a:pt x="441" y="18"/>
                  <a:pt x="442" y="18"/>
                  <a:pt x="442" y="18"/>
                </a:cubicBezTo>
                <a:cubicBezTo>
                  <a:pt x="443" y="18"/>
                  <a:pt x="443" y="18"/>
                  <a:pt x="442" y="18"/>
                </a:cubicBezTo>
                <a:cubicBezTo>
                  <a:pt x="441" y="18"/>
                  <a:pt x="441" y="19"/>
                  <a:pt x="440" y="19"/>
                </a:cubicBezTo>
                <a:cubicBezTo>
                  <a:pt x="440" y="19"/>
                  <a:pt x="441" y="18"/>
                  <a:pt x="440" y="18"/>
                </a:cubicBezTo>
                <a:cubicBezTo>
                  <a:pt x="439" y="18"/>
                  <a:pt x="438" y="17"/>
                  <a:pt x="437" y="17"/>
                </a:cubicBezTo>
                <a:cubicBezTo>
                  <a:pt x="436" y="17"/>
                  <a:pt x="436" y="16"/>
                  <a:pt x="435" y="16"/>
                </a:cubicBezTo>
                <a:cubicBezTo>
                  <a:pt x="435" y="16"/>
                  <a:pt x="434" y="16"/>
                  <a:pt x="434" y="16"/>
                </a:cubicBezTo>
                <a:cubicBezTo>
                  <a:pt x="433" y="16"/>
                  <a:pt x="433" y="15"/>
                  <a:pt x="432" y="15"/>
                </a:cubicBezTo>
                <a:cubicBezTo>
                  <a:pt x="432" y="15"/>
                  <a:pt x="432" y="15"/>
                  <a:pt x="432" y="15"/>
                </a:cubicBezTo>
                <a:cubicBezTo>
                  <a:pt x="431" y="14"/>
                  <a:pt x="432" y="16"/>
                  <a:pt x="431" y="14"/>
                </a:cubicBezTo>
                <a:cubicBezTo>
                  <a:pt x="430" y="14"/>
                  <a:pt x="429" y="14"/>
                  <a:pt x="428" y="14"/>
                </a:cubicBezTo>
                <a:cubicBezTo>
                  <a:pt x="428" y="14"/>
                  <a:pt x="429" y="15"/>
                  <a:pt x="429" y="16"/>
                </a:cubicBezTo>
                <a:cubicBezTo>
                  <a:pt x="428" y="16"/>
                  <a:pt x="428" y="16"/>
                  <a:pt x="428" y="16"/>
                </a:cubicBezTo>
                <a:cubicBezTo>
                  <a:pt x="428" y="17"/>
                  <a:pt x="428" y="18"/>
                  <a:pt x="429" y="19"/>
                </a:cubicBezTo>
                <a:cubicBezTo>
                  <a:pt x="430" y="20"/>
                  <a:pt x="431" y="19"/>
                  <a:pt x="431" y="20"/>
                </a:cubicBezTo>
                <a:cubicBezTo>
                  <a:pt x="430" y="20"/>
                  <a:pt x="427" y="17"/>
                  <a:pt x="427" y="18"/>
                </a:cubicBezTo>
                <a:cubicBezTo>
                  <a:pt x="427" y="18"/>
                  <a:pt x="427" y="20"/>
                  <a:pt x="427" y="20"/>
                </a:cubicBezTo>
                <a:cubicBezTo>
                  <a:pt x="426" y="19"/>
                  <a:pt x="425" y="18"/>
                  <a:pt x="424" y="18"/>
                </a:cubicBezTo>
                <a:cubicBezTo>
                  <a:pt x="424" y="17"/>
                  <a:pt x="424" y="17"/>
                  <a:pt x="424" y="17"/>
                </a:cubicBezTo>
                <a:cubicBezTo>
                  <a:pt x="424" y="16"/>
                  <a:pt x="423" y="17"/>
                  <a:pt x="423" y="17"/>
                </a:cubicBezTo>
                <a:cubicBezTo>
                  <a:pt x="423" y="16"/>
                  <a:pt x="422" y="16"/>
                  <a:pt x="421" y="16"/>
                </a:cubicBezTo>
                <a:cubicBezTo>
                  <a:pt x="421" y="16"/>
                  <a:pt x="421" y="16"/>
                  <a:pt x="421" y="16"/>
                </a:cubicBezTo>
                <a:cubicBezTo>
                  <a:pt x="420" y="16"/>
                  <a:pt x="421" y="15"/>
                  <a:pt x="420" y="15"/>
                </a:cubicBezTo>
                <a:cubicBezTo>
                  <a:pt x="419" y="15"/>
                  <a:pt x="418" y="15"/>
                  <a:pt x="418" y="15"/>
                </a:cubicBezTo>
                <a:cubicBezTo>
                  <a:pt x="417" y="15"/>
                  <a:pt x="417" y="15"/>
                  <a:pt x="416" y="15"/>
                </a:cubicBezTo>
                <a:cubicBezTo>
                  <a:pt x="416" y="15"/>
                  <a:pt x="416" y="15"/>
                  <a:pt x="416" y="15"/>
                </a:cubicBezTo>
                <a:cubicBezTo>
                  <a:pt x="416" y="14"/>
                  <a:pt x="415" y="14"/>
                  <a:pt x="414" y="14"/>
                </a:cubicBezTo>
                <a:cubicBezTo>
                  <a:pt x="414" y="14"/>
                  <a:pt x="414" y="13"/>
                  <a:pt x="413" y="13"/>
                </a:cubicBezTo>
                <a:cubicBezTo>
                  <a:pt x="412" y="12"/>
                  <a:pt x="410" y="13"/>
                  <a:pt x="409" y="13"/>
                </a:cubicBezTo>
                <a:cubicBezTo>
                  <a:pt x="409" y="13"/>
                  <a:pt x="409" y="14"/>
                  <a:pt x="410" y="14"/>
                </a:cubicBezTo>
                <a:cubicBezTo>
                  <a:pt x="410" y="14"/>
                  <a:pt x="410" y="15"/>
                  <a:pt x="410" y="15"/>
                </a:cubicBezTo>
                <a:cubicBezTo>
                  <a:pt x="411" y="15"/>
                  <a:pt x="410" y="15"/>
                  <a:pt x="411" y="16"/>
                </a:cubicBezTo>
                <a:cubicBezTo>
                  <a:pt x="411" y="16"/>
                  <a:pt x="411" y="16"/>
                  <a:pt x="411" y="16"/>
                </a:cubicBezTo>
                <a:cubicBezTo>
                  <a:pt x="410" y="16"/>
                  <a:pt x="409" y="16"/>
                  <a:pt x="409" y="16"/>
                </a:cubicBezTo>
                <a:cubicBezTo>
                  <a:pt x="409" y="16"/>
                  <a:pt x="409" y="16"/>
                  <a:pt x="409" y="16"/>
                </a:cubicBezTo>
                <a:cubicBezTo>
                  <a:pt x="408" y="16"/>
                  <a:pt x="408" y="16"/>
                  <a:pt x="407" y="16"/>
                </a:cubicBezTo>
                <a:cubicBezTo>
                  <a:pt x="407" y="16"/>
                  <a:pt x="406" y="16"/>
                  <a:pt x="406" y="16"/>
                </a:cubicBezTo>
                <a:cubicBezTo>
                  <a:pt x="405" y="16"/>
                  <a:pt x="404" y="16"/>
                  <a:pt x="403" y="16"/>
                </a:cubicBezTo>
                <a:cubicBezTo>
                  <a:pt x="403" y="17"/>
                  <a:pt x="403" y="18"/>
                  <a:pt x="403" y="19"/>
                </a:cubicBezTo>
                <a:cubicBezTo>
                  <a:pt x="404" y="19"/>
                  <a:pt x="405" y="19"/>
                  <a:pt x="406" y="18"/>
                </a:cubicBezTo>
                <a:cubicBezTo>
                  <a:pt x="406" y="19"/>
                  <a:pt x="407" y="19"/>
                  <a:pt x="408" y="19"/>
                </a:cubicBezTo>
                <a:cubicBezTo>
                  <a:pt x="409" y="20"/>
                  <a:pt x="409" y="19"/>
                  <a:pt x="410" y="19"/>
                </a:cubicBezTo>
                <a:cubicBezTo>
                  <a:pt x="410" y="19"/>
                  <a:pt x="409" y="19"/>
                  <a:pt x="411" y="19"/>
                </a:cubicBezTo>
                <a:cubicBezTo>
                  <a:pt x="411" y="19"/>
                  <a:pt x="412" y="19"/>
                  <a:pt x="412" y="19"/>
                </a:cubicBezTo>
                <a:cubicBezTo>
                  <a:pt x="413" y="19"/>
                  <a:pt x="413" y="18"/>
                  <a:pt x="414" y="18"/>
                </a:cubicBezTo>
                <a:cubicBezTo>
                  <a:pt x="415" y="18"/>
                  <a:pt x="415" y="19"/>
                  <a:pt x="416" y="19"/>
                </a:cubicBezTo>
                <a:cubicBezTo>
                  <a:pt x="417" y="20"/>
                  <a:pt x="415" y="20"/>
                  <a:pt x="414" y="20"/>
                </a:cubicBezTo>
                <a:cubicBezTo>
                  <a:pt x="414" y="20"/>
                  <a:pt x="414" y="22"/>
                  <a:pt x="414" y="22"/>
                </a:cubicBezTo>
                <a:cubicBezTo>
                  <a:pt x="415" y="22"/>
                  <a:pt x="414" y="23"/>
                  <a:pt x="414" y="23"/>
                </a:cubicBezTo>
                <a:cubicBezTo>
                  <a:pt x="414" y="23"/>
                  <a:pt x="413" y="21"/>
                  <a:pt x="413" y="21"/>
                </a:cubicBezTo>
                <a:cubicBezTo>
                  <a:pt x="413" y="20"/>
                  <a:pt x="412" y="20"/>
                  <a:pt x="411" y="20"/>
                </a:cubicBezTo>
                <a:cubicBezTo>
                  <a:pt x="410" y="20"/>
                  <a:pt x="410" y="21"/>
                  <a:pt x="410" y="21"/>
                </a:cubicBezTo>
                <a:cubicBezTo>
                  <a:pt x="410" y="22"/>
                  <a:pt x="411" y="22"/>
                  <a:pt x="411" y="24"/>
                </a:cubicBezTo>
                <a:cubicBezTo>
                  <a:pt x="411" y="24"/>
                  <a:pt x="411" y="24"/>
                  <a:pt x="411" y="24"/>
                </a:cubicBezTo>
                <a:cubicBezTo>
                  <a:pt x="411" y="23"/>
                  <a:pt x="410" y="22"/>
                  <a:pt x="410" y="22"/>
                </a:cubicBezTo>
                <a:cubicBezTo>
                  <a:pt x="409" y="21"/>
                  <a:pt x="406" y="19"/>
                  <a:pt x="405" y="20"/>
                </a:cubicBezTo>
                <a:cubicBezTo>
                  <a:pt x="403" y="21"/>
                  <a:pt x="405" y="21"/>
                  <a:pt x="405" y="22"/>
                </a:cubicBezTo>
                <a:cubicBezTo>
                  <a:pt x="404" y="22"/>
                  <a:pt x="404" y="22"/>
                  <a:pt x="403" y="21"/>
                </a:cubicBezTo>
                <a:cubicBezTo>
                  <a:pt x="403" y="21"/>
                  <a:pt x="403" y="21"/>
                  <a:pt x="403" y="21"/>
                </a:cubicBezTo>
                <a:cubicBezTo>
                  <a:pt x="403" y="21"/>
                  <a:pt x="402" y="21"/>
                  <a:pt x="402" y="20"/>
                </a:cubicBezTo>
                <a:cubicBezTo>
                  <a:pt x="402" y="20"/>
                  <a:pt x="402" y="20"/>
                  <a:pt x="401" y="19"/>
                </a:cubicBezTo>
                <a:cubicBezTo>
                  <a:pt x="401" y="19"/>
                  <a:pt x="400" y="19"/>
                  <a:pt x="400" y="18"/>
                </a:cubicBezTo>
                <a:cubicBezTo>
                  <a:pt x="399" y="18"/>
                  <a:pt x="399" y="19"/>
                  <a:pt x="397" y="19"/>
                </a:cubicBezTo>
                <a:cubicBezTo>
                  <a:pt x="397" y="19"/>
                  <a:pt x="396" y="19"/>
                  <a:pt x="396" y="20"/>
                </a:cubicBezTo>
                <a:cubicBezTo>
                  <a:pt x="395" y="20"/>
                  <a:pt x="395" y="21"/>
                  <a:pt x="394" y="21"/>
                </a:cubicBezTo>
                <a:cubicBezTo>
                  <a:pt x="394" y="22"/>
                  <a:pt x="393" y="22"/>
                  <a:pt x="392" y="23"/>
                </a:cubicBezTo>
                <a:cubicBezTo>
                  <a:pt x="392" y="23"/>
                  <a:pt x="391" y="22"/>
                  <a:pt x="390" y="22"/>
                </a:cubicBezTo>
                <a:cubicBezTo>
                  <a:pt x="390" y="22"/>
                  <a:pt x="390" y="21"/>
                  <a:pt x="389" y="21"/>
                </a:cubicBezTo>
                <a:cubicBezTo>
                  <a:pt x="388" y="21"/>
                  <a:pt x="386" y="21"/>
                  <a:pt x="386" y="21"/>
                </a:cubicBezTo>
                <a:cubicBezTo>
                  <a:pt x="385" y="21"/>
                  <a:pt x="386" y="22"/>
                  <a:pt x="385" y="22"/>
                </a:cubicBezTo>
                <a:cubicBezTo>
                  <a:pt x="385" y="22"/>
                  <a:pt x="385" y="22"/>
                  <a:pt x="385" y="22"/>
                </a:cubicBezTo>
                <a:cubicBezTo>
                  <a:pt x="384" y="22"/>
                  <a:pt x="384" y="22"/>
                  <a:pt x="383" y="22"/>
                </a:cubicBezTo>
                <a:cubicBezTo>
                  <a:pt x="382" y="22"/>
                  <a:pt x="382" y="22"/>
                  <a:pt x="382" y="24"/>
                </a:cubicBezTo>
                <a:cubicBezTo>
                  <a:pt x="384" y="23"/>
                  <a:pt x="387" y="22"/>
                  <a:pt x="389" y="24"/>
                </a:cubicBezTo>
                <a:cubicBezTo>
                  <a:pt x="387" y="23"/>
                  <a:pt x="385" y="23"/>
                  <a:pt x="384" y="25"/>
                </a:cubicBezTo>
                <a:cubicBezTo>
                  <a:pt x="386" y="25"/>
                  <a:pt x="388" y="25"/>
                  <a:pt x="390" y="25"/>
                </a:cubicBezTo>
                <a:cubicBezTo>
                  <a:pt x="391" y="25"/>
                  <a:pt x="391" y="24"/>
                  <a:pt x="392" y="24"/>
                </a:cubicBezTo>
                <a:cubicBezTo>
                  <a:pt x="393" y="25"/>
                  <a:pt x="394" y="24"/>
                  <a:pt x="395" y="25"/>
                </a:cubicBezTo>
                <a:cubicBezTo>
                  <a:pt x="394" y="26"/>
                  <a:pt x="392" y="25"/>
                  <a:pt x="390" y="26"/>
                </a:cubicBezTo>
                <a:cubicBezTo>
                  <a:pt x="389" y="26"/>
                  <a:pt x="386" y="26"/>
                  <a:pt x="385" y="27"/>
                </a:cubicBezTo>
                <a:cubicBezTo>
                  <a:pt x="385" y="28"/>
                  <a:pt x="385" y="28"/>
                  <a:pt x="386" y="29"/>
                </a:cubicBezTo>
                <a:cubicBezTo>
                  <a:pt x="387" y="28"/>
                  <a:pt x="388" y="27"/>
                  <a:pt x="389" y="27"/>
                </a:cubicBezTo>
                <a:cubicBezTo>
                  <a:pt x="390" y="27"/>
                  <a:pt x="390" y="27"/>
                  <a:pt x="390" y="27"/>
                </a:cubicBezTo>
                <a:cubicBezTo>
                  <a:pt x="390" y="27"/>
                  <a:pt x="390" y="27"/>
                  <a:pt x="390" y="27"/>
                </a:cubicBezTo>
                <a:cubicBezTo>
                  <a:pt x="391" y="27"/>
                  <a:pt x="391" y="27"/>
                  <a:pt x="391" y="27"/>
                </a:cubicBezTo>
                <a:cubicBezTo>
                  <a:pt x="392" y="27"/>
                  <a:pt x="391" y="27"/>
                  <a:pt x="391" y="27"/>
                </a:cubicBezTo>
                <a:cubicBezTo>
                  <a:pt x="392" y="27"/>
                  <a:pt x="392" y="27"/>
                  <a:pt x="392" y="27"/>
                </a:cubicBezTo>
                <a:cubicBezTo>
                  <a:pt x="392" y="27"/>
                  <a:pt x="392" y="26"/>
                  <a:pt x="392" y="26"/>
                </a:cubicBezTo>
                <a:cubicBezTo>
                  <a:pt x="393" y="26"/>
                  <a:pt x="393" y="26"/>
                  <a:pt x="394" y="26"/>
                </a:cubicBezTo>
                <a:cubicBezTo>
                  <a:pt x="395" y="26"/>
                  <a:pt x="397" y="26"/>
                  <a:pt x="399" y="25"/>
                </a:cubicBezTo>
                <a:cubicBezTo>
                  <a:pt x="399" y="26"/>
                  <a:pt x="396" y="27"/>
                  <a:pt x="396" y="27"/>
                </a:cubicBezTo>
                <a:cubicBezTo>
                  <a:pt x="395" y="27"/>
                  <a:pt x="395" y="27"/>
                  <a:pt x="394" y="27"/>
                </a:cubicBezTo>
                <a:cubicBezTo>
                  <a:pt x="393" y="27"/>
                  <a:pt x="393" y="27"/>
                  <a:pt x="392" y="27"/>
                </a:cubicBezTo>
                <a:cubicBezTo>
                  <a:pt x="392" y="28"/>
                  <a:pt x="392" y="28"/>
                  <a:pt x="392" y="28"/>
                </a:cubicBezTo>
                <a:cubicBezTo>
                  <a:pt x="391" y="28"/>
                  <a:pt x="392" y="28"/>
                  <a:pt x="391" y="28"/>
                </a:cubicBezTo>
                <a:cubicBezTo>
                  <a:pt x="391" y="28"/>
                  <a:pt x="390" y="28"/>
                  <a:pt x="390" y="28"/>
                </a:cubicBezTo>
                <a:cubicBezTo>
                  <a:pt x="389" y="28"/>
                  <a:pt x="389" y="29"/>
                  <a:pt x="388" y="29"/>
                </a:cubicBezTo>
                <a:cubicBezTo>
                  <a:pt x="388" y="29"/>
                  <a:pt x="388" y="30"/>
                  <a:pt x="387" y="30"/>
                </a:cubicBezTo>
                <a:cubicBezTo>
                  <a:pt x="387" y="30"/>
                  <a:pt x="388" y="31"/>
                  <a:pt x="389" y="31"/>
                </a:cubicBezTo>
                <a:cubicBezTo>
                  <a:pt x="390" y="31"/>
                  <a:pt x="389" y="31"/>
                  <a:pt x="390" y="31"/>
                </a:cubicBezTo>
                <a:cubicBezTo>
                  <a:pt x="390" y="31"/>
                  <a:pt x="390" y="31"/>
                  <a:pt x="391" y="31"/>
                </a:cubicBezTo>
                <a:cubicBezTo>
                  <a:pt x="391" y="31"/>
                  <a:pt x="391" y="30"/>
                  <a:pt x="392" y="30"/>
                </a:cubicBezTo>
                <a:cubicBezTo>
                  <a:pt x="393" y="31"/>
                  <a:pt x="397" y="30"/>
                  <a:pt x="396" y="31"/>
                </a:cubicBezTo>
                <a:cubicBezTo>
                  <a:pt x="397" y="31"/>
                  <a:pt x="399" y="31"/>
                  <a:pt x="399" y="30"/>
                </a:cubicBezTo>
                <a:cubicBezTo>
                  <a:pt x="399" y="30"/>
                  <a:pt x="399" y="31"/>
                  <a:pt x="399" y="31"/>
                </a:cubicBezTo>
                <a:cubicBezTo>
                  <a:pt x="400" y="31"/>
                  <a:pt x="400" y="31"/>
                  <a:pt x="400" y="31"/>
                </a:cubicBezTo>
                <a:cubicBezTo>
                  <a:pt x="400" y="31"/>
                  <a:pt x="401" y="29"/>
                  <a:pt x="402" y="30"/>
                </a:cubicBezTo>
                <a:cubicBezTo>
                  <a:pt x="402" y="31"/>
                  <a:pt x="402" y="31"/>
                  <a:pt x="403" y="31"/>
                </a:cubicBezTo>
                <a:cubicBezTo>
                  <a:pt x="404" y="31"/>
                  <a:pt x="405" y="31"/>
                  <a:pt x="405" y="31"/>
                </a:cubicBezTo>
                <a:cubicBezTo>
                  <a:pt x="406" y="29"/>
                  <a:pt x="406" y="31"/>
                  <a:pt x="406" y="30"/>
                </a:cubicBezTo>
                <a:cubicBezTo>
                  <a:pt x="407" y="30"/>
                  <a:pt x="407" y="29"/>
                  <a:pt x="408" y="29"/>
                </a:cubicBezTo>
                <a:cubicBezTo>
                  <a:pt x="407" y="30"/>
                  <a:pt x="407" y="31"/>
                  <a:pt x="408" y="32"/>
                </a:cubicBezTo>
                <a:cubicBezTo>
                  <a:pt x="409" y="32"/>
                  <a:pt x="410" y="31"/>
                  <a:pt x="410" y="32"/>
                </a:cubicBezTo>
                <a:cubicBezTo>
                  <a:pt x="411" y="32"/>
                  <a:pt x="410" y="32"/>
                  <a:pt x="411" y="32"/>
                </a:cubicBezTo>
                <a:cubicBezTo>
                  <a:pt x="411" y="32"/>
                  <a:pt x="412" y="32"/>
                  <a:pt x="413" y="32"/>
                </a:cubicBezTo>
                <a:cubicBezTo>
                  <a:pt x="413" y="32"/>
                  <a:pt x="414" y="32"/>
                  <a:pt x="414" y="32"/>
                </a:cubicBezTo>
                <a:cubicBezTo>
                  <a:pt x="415" y="33"/>
                  <a:pt x="415" y="32"/>
                  <a:pt x="415" y="31"/>
                </a:cubicBezTo>
                <a:cubicBezTo>
                  <a:pt x="416" y="30"/>
                  <a:pt x="418" y="31"/>
                  <a:pt x="417" y="28"/>
                </a:cubicBezTo>
                <a:cubicBezTo>
                  <a:pt x="418" y="28"/>
                  <a:pt x="418" y="28"/>
                  <a:pt x="419" y="28"/>
                </a:cubicBezTo>
                <a:cubicBezTo>
                  <a:pt x="419" y="29"/>
                  <a:pt x="419" y="29"/>
                  <a:pt x="418" y="30"/>
                </a:cubicBezTo>
                <a:cubicBezTo>
                  <a:pt x="418" y="31"/>
                  <a:pt x="419" y="31"/>
                  <a:pt x="420" y="31"/>
                </a:cubicBezTo>
                <a:cubicBezTo>
                  <a:pt x="421" y="31"/>
                  <a:pt x="421" y="30"/>
                  <a:pt x="421" y="30"/>
                </a:cubicBezTo>
                <a:cubicBezTo>
                  <a:pt x="422" y="30"/>
                  <a:pt x="423" y="30"/>
                  <a:pt x="423" y="30"/>
                </a:cubicBezTo>
                <a:cubicBezTo>
                  <a:pt x="423" y="30"/>
                  <a:pt x="424" y="30"/>
                  <a:pt x="424" y="30"/>
                </a:cubicBezTo>
                <a:cubicBezTo>
                  <a:pt x="424" y="30"/>
                  <a:pt x="424" y="30"/>
                  <a:pt x="425" y="30"/>
                </a:cubicBezTo>
                <a:cubicBezTo>
                  <a:pt x="425" y="30"/>
                  <a:pt x="426" y="30"/>
                  <a:pt x="426" y="30"/>
                </a:cubicBezTo>
                <a:cubicBezTo>
                  <a:pt x="426" y="30"/>
                  <a:pt x="426" y="29"/>
                  <a:pt x="427" y="29"/>
                </a:cubicBezTo>
                <a:cubicBezTo>
                  <a:pt x="428" y="29"/>
                  <a:pt x="436" y="28"/>
                  <a:pt x="436" y="29"/>
                </a:cubicBezTo>
                <a:cubicBezTo>
                  <a:pt x="438" y="29"/>
                  <a:pt x="440" y="29"/>
                  <a:pt x="442" y="28"/>
                </a:cubicBezTo>
                <a:cubicBezTo>
                  <a:pt x="442" y="28"/>
                  <a:pt x="445" y="28"/>
                  <a:pt x="445" y="28"/>
                </a:cubicBezTo>
                <a:cubicBezTo>
                  <a:pt x="445" y="28"/>
                  <a:pt x="447" y="27"/>
                  <a:pt x="448" y="27"/>
                </a:cubicBezTo>
                <a:cubicBezTo>
                  <a:pt x="448" y="27"/>
                  <a:pt x="449" y="26"/>
                  <a:pt x="449" y="26"/>
                </a:cubicBezTo>
                <a:cubicBezTo>
                  <a:pt x="449" y="26"/>
                  <a:pt x="449" y="26"/>
                  <a:pt x="450" y="26"/>
                </a:cubicBezTo>
                <a:cubicBezTo>
                  <a:pt x="450" y="26"/>
                  <a:pt x="450" y="26"/>
                  <a:pt x="450" y="26"/>
                </a:cubicBezTo>
                <a:cubicBezTo>
                  <a:pt x="451" y="26"/>
                  <a:pt x="451" y="26"/>
                  <a:pt x="452" y="26"/>
                </a:cubicBezTo>
                <a:cubicBezTo>
                  <a:pt x="452" y="26"/>
                  <a:pt x="452" y="26"/>
                  <a:pt x="452" y="26"/>
                </a:cubicBezTo>
                <a:cubicBezTo>
                  <a:pt x="453" y="26"/>
                  <a:pt x="453" y="26"/>
                  <a:pt x="454" y="26"/>
                </a:cubicBezTo>
                <a:cubicBezTo>
                  <a:pt x="454" y="26"/>
                  <a:pt x="454" y="26"/>
                  <a:pt x="454" y="26"/>
                </a:cubicBezTo>
                <a:cubicBezTo>
                  <a:pt x="454" y="25"/>
                  <a:pt x="456" y="25"/>
                  <a:pt x="457" y="25"/>
                </a:cubicBezTo>
                <a:cubicBezTo>
                  <a:pt x="456" y="26"/>
                  <a:pt x="454" y="26"/>
                  <a:pt x="453" y="26"/>
                </a:cubicBezTo>
                <a:cubicBezTo>
                  <a:pt x="453" y="26"/>
                  <a:pt x="452" y="27"/>
                  <a:pt x="451" y="27"/>
                </a:cubicBezTo>
                <a:cubicBezTo>
                  <a:pt x="450" y="27"/>
                  <a:pt x="450" y="27"/>
                  <a:pt x="450" y="28"/>
                </a:cubicBezTo>
                <a:cubicBezTo>
                  <a:pt x="451" y="28"/>
                  <a:pt x="453" y="28"/>
                  <a:pt x="455" y="28"/>
                </a:cubicBezTo>
                <a:cubicBezTo>
                  <a:pt x="455" y="30"/>
                  <a:pt x="451" y="28"/>
                  <a:pt x="451" y="29"/>
                </a:cubicBezTo>
                <a:cubicBezTo>
                  <a:pt x="451" y="29"/>
                  <a:pt x="450" y="29"/>
                  <a:pt x="450" y="29"/>
                </a:cubicBezTo>
                <a:cubicBezTo>
                  <a:pt x="449" y="28"/>
                  <a:pt x="450" y="29"/>
                  <a:pt x="450" y="29"/>
                </a:cubicBezTo>
                <a:cubicBezTo>
                  <a:pt x="449" y="29"/>
                  <a:pt x="448" y="30"/>
                  <a:pt x="447" y="30"/>
                </a:cubicBezTo>
                <a:cubicBezTo>
                  <a:pt x="446" y="30"/>
                  <a:pt x="444" y="30"/>
                  <a:pt x="443" y="31"/>
                </a:cubicBezTo>
                <a:cubicBezTo>
                  <a:pt x="443" y="32"/>
                  <a:pt x="445" y="31"/>
                  <a:pt x="446" y="31"/>
                </a:cubicBezTo>
                <a:cubicBezTo>
                  <a:pt x="448" y="31"/>
                  <a:pt x="450" y="31"/>
                  <a:pt x="451" y="31"/>
                </a:cubicBezTo>
                <a:cubicBezTo>
                  <a:pt x="452" y="32"/>
                  <a:pt x="450" y="32"/>
                  <a:pt x="449" y="32"/>
                </a:cubicBezTo>
                <a:cubicBezTo>
                  <a:pt x="448" y="32"/>
                  <a:pt x="448" y="33"/>
                  <a:pt x="447" y="33"/>
                </a:cubicBezTo>
                <a:cubicBezTo>
                  <a:pt x="447" y="33"/>
                  <a:pt x="447" y="33"/>
                  <a:pt x="447" y="33"/>
                </a:cubicBezTo>
                <a:cubicBezTo>
                  <a:pt x="446" y="33"/>
                  <a:pt x="445" y="33"/>
                  <a:pt x="445" y="33"/>
                </a:cubicBezTo>
                <a:cubicBezTo>
                  <a:pt x="444" y="33"/>
                  <a:pt x="444" y="33"/>
                  <a:pt x="443" y="33"/>
                </a:cubicBezTo>
                <a:cubicBezTo>
                  <a:pt x="443" y="33"/>
                  <a:pt x="443" y="34"/>
                  <a:pt x="443" y="33"/>
                </a:cubicBezTo>
                <a:cubicBezTo>
                  <a:pt x="443" y="33"/>
                  <a:pt x="441" y="32"/>
                  <a:pt x="441" y="33"/>
                </a:cubicBezTo>
                <a:cubicBezTo>
                  <a:pt x="440" y="34"/>
                  <a:pt x="438" y="33"/>
                  <a:pt x="437" y="33"/>
                </a:cubicBezTo>
                <a:cubicBezTo>
                  <a:pt x="437" y="34"/>
                  <a:pt x="436" y="34"/>
                  <a:pt x="436" y="34"/>
                </a:cubicBezTo>
                <a:cubicBezTo>
                  <a:pt x="435" y="34"/>
                  <a:pt x="435" y="33"/>
                  <a:pt x="434" y="33"/>
                </a:cubicBezTo>
                <a:cubicBezTo>
                  <a:pt x="433" y="34"/>
                  <a:pt x="432" y="34"/>
                  <a:pt x="431" y="34"/>
                </a:cubicBezTo>
                <a:cubicBezTo>
                  <a:pt x="430" y="34"/>
                  <a:pt x="427" y="34"/>
                  <a:pt x="428" y="35"/>
                </a:cubicBezTo>
                <a:cubicBezTo>
                  <a:pt x="428" y="35"/>
                  <a:pt x="429" y="36"/>
                  <a:pt x="429" y="36"/>
                </a:cubicBezTo>
                <a:cubicBezTo>
                  <a:pt x="429" y="36"/>
                  <a:pt x="429" y="37"/>
                  <a:pt x="429" y="37"/>
                </a:cubicBezTo>
                <a:cubicBezTo>
                  <a:pt x="429" y="39"/>
                  <a:pt x="430" y="40"/>
                  <a:pt x="432" y="40"/>
                </a:cubicBezTo>
                <a:cubicBezTo>
                  <a:pt x="432" y="40"/>
                  <a:pt x="432" y="40"/>
                  <a:pt x="432" y="40"/>
                </a:cubicBezTo>
                <a:cubicBezTo>
                  <a:pt x="432" y="40"/>
                  <a:pt x="433" y="40"/>
                  <a:pt x="433" y="40"/>
                </a:cubicBezTo>
                <a:cubicBezTo>
                  <a:pt x="433" y="40"/>
                  <a:pt x="435" y="40"/>
                  <a:pt x="435" y="40"/>
                </a:cubicBezTo>
                <a:cubicBezTo>
                  <a:pt x="435" y="40"/>
                  <a:pt x="437" y="39"/>
                  <a:pt x="437" y="41"/>
                </a:cubicBezTo>
                <a:cubicBezTo>
                  <a:pt x="436" y="41"/>
                  <a:pt x="436" y="40"/>
                  <a:pt x="435" y="40"/>
                </a:cubicBezTo>
                <a:cubicBezTo>
                  <a:pt x="435" y="41"/>
                  <a:pt x="435" y="41"/>
                  <a:pt x="435" y="41"/>
                </a:cubicBezTo>
                <a:cubicBezTo>
                  <a:pt x="434" y="41"/>
                  <a:pt x="435" y="41"/>
                  <a:pt x="435" y="42"/>
                </a:cubicBezTo>
                <a:cubicBezTo>
                  <a:pt x="434" y="42"/>
                  <a:pt x="431" y="40"/>
                  <a:pt x="431" y="41"/>
                </a:cubicBezTo>
                <a:cubicBezTo>
                  <a:pt x="431" y="41"/>
                  <a:pt x="430" y="41"/>
                  <a:pt x="429" y="41"/>
                </a:cubicBezTo>
                <a:cubicBezTo>
                  <a:pt x="429" y="41"/>
                  <a:pt x="429" y="40"/>
                  <a:pt x="428" y="40"/>
                </a:cubicBezTo>
                <a:cubicBezTo>
                  <a:pt x="427" y="39"/>
                  <a:pt x="427" y="38"/>
                  <a:pt x="427" y="37"/>
                </a:cubicBezTo>
                <a:cubicBezTo>
                  <a:pt x="427" y="37"/>
                  <a:pt x="427" y="37"/>
                  <a:pt x="427" y="36"/>
                </a:cubicBezTo>
                <a:cubicBezTo>
                  <a:pt x="426" y="36"/>
                  <a:pt x="426" y="36"/>
                  <a:pt x="425" y="35"/>
                </a:cubicBezTo>
                <a:cubicBezTo>
                  <a:pt x="425" y="34"/>
                  <a:pt x="425" y="34"/>
                  <a:pt x="424" y="34"/>
                </a:cubicBezTo>
                <a:cubicBezTo>
                  <a:pt x="423" y="34"/>
                  <a:pt x="424" y="34"/>
                  <a:pt x="423" y="34"/>
                </a:cubicBezTo>
                <a:cubicBezTo>
                  <a:pt x="423" y="34"/>
                  <a:pt x="423" y="34"/>
                  <a:pt x="423" y="33"/>
                </a:cubicBezTo>
                <a:cubicBezTo>
                  <a:pt x="421" y="33"/>
                  <a:pt x="420" y="34"/>
                  <a:pt x="418" y="34"/>
                </a:cubicBezTo>
                <a:cubicBezTo>
                  <a:pt x="417" y="33"/>
                  <a:pt x="416" y="33"/>
                  <a:pt x="415" y="33"/>
                </a:cubicBezTo>
                <a:cubicBezTo>
                  <a:pt x="414" y="33"/>
                  <a:pt x="412" y="34"/>
                  <a:pt x="411" y="34"/>
                </a:cubicBezTo>
                <a:cubicBezTo>
                  <a:pt x="411" y="34"/>
                  <a:pt x="410" y="34"/>
                  <a:pt x="410" y="34"/>
                </a:cubicBezTo>
                <a:cubicBezTo>
                  <a:pt x="410" y="34"/>
                  <a:pt x="410" y="34"/>
                  <a:pt x="409" y="35"/>
                </a:cubicBezTo>
                <a:cubicBezTo>
                  <a:pt x="409" y="35"/>
                  <a:pt x="409" y="36"/>
                  <a:pt x="410" y="36"/>
                </a:cubicBezTo>
                <a:cubicBezTo>
                  <a:pt x="410" y="37"/>
                  <a:pt x="410" y="37"/>
                  <a:pt x="410" y="37"/>
                </a:cubicBezTo>
                <a:cubicBezTo>
                  <a:pt x="409" y="37"/>
                  <a:pt x="409" y="37"/>
                  <a:pt x="409" y="38"/>
                </a:cubicBezTo>
                <a:cubicBezTo>
                  <a:pt x="409" y="38"/>
                  <a:pt x="408" y="39"/>
                  <a:pt x="407" y="39"/>
                </a:cubicBezTo>
                <a:cubicBezTo>
                  <a:pt x="407" y="38"/>
                  <a:pt x="407" y="39"/>
                  <a:pt x="407" y="39"/>
                </a:cubicBezTo>
                <a:cubicBezTo>
                  <a:pt x="406" y="40"/>
                  <a:pt x="406" y="40"/>
                  <a:pt x="405" y="40"/>
                </a:cubicBezTo>
                <a:cubicBezTo>
                  <a:pt x="406" y="38"/>
                  <a:pt x="407" y="37"/>
                  <a:pt x="405" y="36"/>
                </a:cubicBezTo>
                <a:cubicBezTo>
                  <a:pt x="405" y="36"/>
                  <a:pt x="405" y="36"/>
                  <a:pt x="405" y="35"/>
                </a:cubicBezTo>
                <a:cubicBezTo>
                  <a:pt x="405" y="35"/>
                  <a:pt x="405" y="35"/>
                  <a:pt x="404" y="35"/>
                </a:cubicBezTo>
                <a:cubicBezTo>
                  <a:pt x="404" y="35"/>
                  <a:pt x="404" y="35"/>
                  <a:pt x="405" y="35"/>
                </a:cubicBezTo>
                <a:cubicBezTo>
                  <a:pt x="405" y="34"/>
                  <a:pt x="404" y="33"/>
                  <a:pt x="403" y="33"/>
                </a:cubicBezTo>
                <a:cubicBezTo>
                  <a:pt x="403" y="35"/>
                  <a:pt x="403" y="35"/>
                  <a:pt x="402" y="35"/>
                </a:cubicBezTo>
                <a:cubicBezTo>
                  <a:pt x="401" y="35"/>
                  <a:pt x="401" y="35"/>
                  <a:pt x="401" y="34"/>
                </a:cubicBezTo>
                <a:cubicBezTo>
                  <a:pt x="401" y="33"/>
                  <a:pt x="401" y="33"/>
                  <a:pt x="401" y="33"/>
                </a:cubicBezTo>
                <a:cubicBezTo>
                  <a:pt x="400" y="33"/>
                  <a:pt x="400" y="33"/>
                  <a:pt x="399" y="33"/>
                </a:cubicBezTo>
                <a:cubicBezTo>
                  <a:pt x="399" y="34"/>
                  <a:pt x="399" y="34"/>
                  <a:pt x="398" y="34"/>
                </a:cubicBezTo>
                <a:cubicBezTo>
                  <a:pt x="397" y="34"/>
                  <a:pt x="396" y="34"/>
                  <a:pt x="395" y="34"/>
                </a:cubicBezTo>
                <a:cubicBezTo>
                  <a:pt x="393" y="34"/>
                  <a:pt x="392" y="34"/>
                  <a:pt x="391" y="34"/>
                </a:cubicBezTo>
                <a:cubicBezTo>
                  <a:pt x="390" y="34"/>
                  <a:pt x="389" y="35"/>
                  <a:pt x="388" y="34"/>
                </a:cubicBezTo>
                <a:cubicBezTo>
                  <a:pt x="387" y="34"/>
                  <a:pt x="388" y="34"/>
                  <a:pt x="387" y="34"/>
                </a:cubicBezTo>
                <a:cubicBezTo>
                  <a:pt x="387" y="34"/>
                  <a:pt x="387" y="34"/>
                  <a:pt x="387" y="34"/>
                </a:cubicBezTo>
                <a:cubicBezTo>
                  <a:pt x="386" y="34"/>
                  <a:pt x="386" y="33"/>
                  <a:pt x="385" y="33"/>
                </a:cubicBezTo>
                <a:cubicBezTo>
                  <a:pt x="385" y="33"/>
                  <a:pt x="385" y="33"/>
                  <a:pt x="384" y="33"/>
                </a:cubicBezTo>
                <a:cubicBezTo>
                  <a:pt x="384" y="33"/>
                  <a:pt x="384" y="33"/>
                  <a:pt x="384" y="32"/>
                </a:cubicBezTo>
                <a:cubicBezTo>
                  <a:pt x="384" y="32"/>
                  <a:pt x="383" y="31"/>
                  <a:pt x="384" y="31"/>
                </a:cubicBezTo>
                <a:cubicBezTo>
                  <a:pt x="384" y="29"/>
                  <a:pt x="382" y="28"/>
                  <a:pt x="381" y="27"/>
                </a:cubicBezTo>
                <a:cubicBezTo>
                  <a:pt x="381" y="26"/>
                  <a:pt x="379" y="26"/>
                  <a:pt x="379" y="26"/>
                </a:cubicBezTo>
                <a:cubicBezTo>
                  <a:pt x="379" y="26"/>
                  <a:pt x="379" y="26"/>
                  <a:pt x="378" y="26"/>
                </a:cubicBezTo>
                <a:cubicBezTo>
                  <a:pt x="376" y="26"/>
                  <a:pt x="375" y="25"/>
                  <a:pt x="373" y="25"/>
                </a:cubicBezTo>
                <a:cubicBezTo>
                  <a:pt x="373" y="25"/>
                  <a:pt x="373" y="25"/>
                  <a:pt x="373" y="25"/>
                </a:cubicBezTo>
                <a:cubicBezTo>
                  <a:pt x="372" y="25"/>
                  <a:pt x="372" y="25"/>
                  <a:pt x="372" y="24"/>
                </a:cubicBezTo>
                <a:cubicBezTo>
                  <a:pt x="371" y="24"/>
                  <a:pt x="371" y="24"/>
                  <a:pt x="370" y="24"/>
                </a:cubicBezTo>
                <a:cubicBezTo>
                  <a:pt x="369" y="24"/>
                  <a:pt x="370" y="24"/>
                  <a:pt x="369" y="24"/>
                </a:cubicBezTo>
                <a:cubicBezTo>
                  <a:pt x="369" y="24"/>
                  <a:pt x="365" y="24"/>
                  <a:pt x="365" y="24"/>
                </a:cubicBezTo>
                <a:cubicBezTo>
                  <a:pt x="364" y="24"/>
                  <a:pt x="362" y="24"/>
                  <a:pt x="362" y="24"/>
                </a:cubicBezTo>
                <a:cubicBezTo>
                  <a:pt x="362" y="25"/>
                  <a:pt x="362" y="25"/>
                  <a:pt x="363" y="25"/>
                </a:cubicBezTo>
                <a:cubicBezTo>
                  <a:pt x="364" y="25"/>
                  <a:pt x="365" y="25"/>
                  <a:pt x="366" y="25"/>
                </a:cubicBezTo>
                <a:cubicBezTo>
                  <a:pt x="366" y="25"/>
                  <a:pt x="367" y="26"/>
                  <a:pt x="367" y="25"/>
                </a:cubicBezTo>
                <a:cubicBezTo>
                  <a:pt x="369" y="25"/>
                  <a:pt x="369" y="26"/>
                  <a:pt x="370" y="26"/>
                </a:cubicBezTo>
                <a:cubicBezTo>
                  <a:pt x="369" y="28"/>
                  <a:pt x="370" y="27"/>
                  <a:pt x="370" y="29"/>
                </a:cubicBezTo>
                <a:cubicBezTo>
                  <a:pt x="370" y="29"/>
                  <a:pt x="369" y="29"/>
                  <a:pt x="369" y="29"/>
                </a:cubicBezTo>
                <a:cubicBezTo>
                  <a:pt x="368" y="29"/>
                  <a:pt x="368" y="28"/>
                  <a:pt x="368" y="28"/>
                </a:cubicBezTo>
                <a:cubicBezTo>
                  <a:pt x="367" y="28"/>
                  <a:pt x="367" y="28"/>
                  <a:pt x="366" y="28"/>
                </a:cubicBezTo>
                <a:cubicBezTo>
                  <a:pt x="365" y="28"/>
                  <a:pt x="364" y="28"/>
                  <a:pt x="363" y="27"/>
                </a:cubicBezTo>
                <a:cubicBezTo>
                  <a:pt x="362" y="27"/>
                  <a:pt x="363" y="27"/>
                  <a:pt x="363" y="27"/>
                </a:cubicBezTo>
                <a:close/>
                <a:moveTo>
                  <a:pt x="691" y="126"/>
                </a:moveTo>
                <a:cubicBezTo>
                  <a:pt x="691" y="126"/>
                  <a:pt x="691" y="126"/>
                  <a:pt x="691" y="126"/>
                </a:cubicBezTo>
                <a:cubicBezTo>
                  <a:pt x="689" y="126"/>
                  <a:pt x="689" y="126"/>
                  <a:pt x="688" y="126"/>
                </a:cubicBezTo>
                <a:cubicBezTo>
                  <a:pt x="689" y="125"/>
                  <a:pt x="690" y="125"/>
                  <a:pt x="691" y="125"/>
                </a:cubicBezTo>
                <a:cubicBezTo>
                  <a:pt x="691" y="125"/>
                  <a:pt x="691" y="126"/>
                  <a:pt x="691" y="126"/>
                </a:cubicBezTo>
                <a:close/>
                <a:moveTo>
                  <a:pt x="658" y="10"/>
                </a:moveTo>
                <a:cubicBezTo>
                  <a:pt x="658" y="10"/>
                  <a:pt x="657" y="9"/>
                  <a:pt x="657" y="9"/>
                </a:cubicBezTo>
                <a:cubicBezTo>
                  <a:pt x="656" y="9"/>
                  <a:pt x="657" y="9"/>
                  <a:pt x="657" y="9"/>
                </a:cubicBezTo>
                <a:cubicBezTo>
                  <a:pt x="657" y="8"/>
                  <a:pt x="657" y="7"/>
                  <a:pt x="657" y="6"/>
                </a:cubicBezTo>
                <a:cubicBezTo>
                  <a:pt x="659" y="6"/>
                  <a:pt x="657" y="6"/>
                  <a:pt x="658" y="8"/>
                </a:cubicBezTo>
                <a:cubicBezTo>
                  <a:pt x="659" y="8"/>
                  <a:pt x="659" y="9"/>
                  <a:pt x="660" y="9"/>
                </a:cubicBezTo>
                <a:cubicBezTo>
                  <a:pt x="661" y="9"/>
                  <a:pt x="662" y="8"/>
                  <a:pt x="663" y="8"/>
                </a:cubicBezTo>
                <a:cubicBezTo>
                  <a:pt x="664" y="8"/>
                  <a:pt x="665" y="8"/>
                  <a:pt x="665" y="9"/>
                </a:cubicBezTo>
                <a:cubicBezTo>
                  <a:pt x="665" y="9"/>
                  <a:pt x="667" y="9"/>
                  <a:pt x="666" y="9"/>
                </a:cubicBezTo>
                <a:cubicBezTo>
                  <a:pt x="666" y="9"/>
                  <a:pt x="664" y="10"/>
                  <a:pt x="664" y="9"/>
                </a:cubicBezTo>
                <a:cubicBezTo>
                  <a:pt x="663" y="9"/>
                  <a:pt x="663" y="9"/>
                  <a:pt x="662" y="9"/>
                </a:cubicBezTo>
                <a:cubicBezTo>
                  <a:pt x="662" y="9"/>
                  <a:pt x="661" y="9"/>
                  <a:pt x="660" y="9"/>
                </a:cubicBezTo>
                <a:cubicBezTo>
                  <a:pt x="659" y="9"/>
                  <a:pt x="660" y="10"/>
                  <a:pt x="660" y="10"/>
                </a:cubicBezTo>
                <a:cubicBezTo>
                  <a:pt x="660" y="10"/>
                  <a:pt x="659" y="11"/>
                  <a:pt x="659" y="11"/>
                </a:cubicBezTo>
                <a:cubicBezTo>
                  <a:pt x="659" y="11"/>
                  <a:pt x="658" y="10"/>
                  <a:pt x="658" y="10"/>
                </a:cubicBezTo>
                <a:cubicBezTo>
                  <a:pt x="657" y="9"/>
                  <a:pt x="658" y="10"/>
                  <a:pt x="658" y="10"/>
                </a:cubicBezTo>
                <a:close/>
                <a:moveTo>
                  <a:pt x="654" y="10"/>
                </a:moveTo>
                <a:cubicBezTo>
                  <a:pt x="652" y="10"/>
                  <a:pt x="652" y="10"/>
                  <a:pt x="651" y="11"/>
                </a:cubicBezTo>
                <a:cubicBezTo>
                  <a:pt x="650" y="11"/>
                  <a:pt x="649" y="10"/>
                  <a:pt x="649" y="11"/>
                </a:cubicBezTo>
                <a:cubicBezTo>
                  <a:pt x="649" y="12"/>
                  <a:pt x="648" y="12"/>
                  <a:pt x="648" y="11"/>
                </a:cubicBezTo>
                <a:cubicBezTo>
                  <a:pt x="648" y="10"/>
                  <a:pt x="649" y="10"/>
                  <a:pt x="650" y="10"/>
                </a:cubicBezTo>
                <a:cubicBezTo>
                  <a:pt x="651" y="9"/>
                  <a:pt x="652" y="9"/>
                  <a:pt x="654" y="9"/>
                </a:cubicBezTo>
                <a:cubicBezTo>
                  <a:pt x="654" y="9"/>
                  <a:pt x="654" y="10"/>
                  <a:pt x="654" y="10"/>
                </a:cubicBezTo>
                <a:cubicBezTo>
                  <a:pt x="653" y="10"/>
                  <a:pt x="654" y="10"/>
                  <a:pt x="654" y="10"/>
                </a:cubicBezTo>
                <a:close/>
                <a:moveTo>
                  <a:pt x="642" y="160"/>
                </a:moveTo>
                <a:cubicBezTo>
                  <a:pt x="641" y="160"/>
                  <a:pt x="641" y="161"/>
                  <a:pt x="640" y="161"/>
                </a:cubicBezTo>
                <a:cubicBezTo>
                  <a:pt x="640" y="160"/>
                  <a:pt x="640" y="160"/>
                  <a:pt x="640" y="159"/>
                </a:cubicBezTo>
                <a:cubicBezTo>
                  <a:pt x="640" y="159"/>
                  <a:pt x="640" y="159"/>
                  <a:pt x="641" y="158"/>
                </a:cubicBezTo>
                <a:cubicBezTo>
                  <a:pt x="641" y="158"/>
                  <a:pt x="642" y="158"/>
                  <a:pt x="643" y="159"/>
                </a:cubicBezTo>
                <a:cubicBezTo>
                  <a:pt x="643" y="159"/>
                  <a:pt x="642" y="160"/>
                  <a:pt x="642" y="160"/>
                </a:cubicBezTo>
                <a:cubicBezTo>
                  <a:pt x="641" y="160"/>
                  <a:pt x="642" y="160"/>
                  <a:pt x="642" y="160"/>
                </a:cubicBezTo>
                <a:close/>
                <a:moveTo>
                  <a:pt x="602" y="200"/>
                </a:moveTo>
                <a:cubicBezTo>
                  <a:pt x="602" y="200"/>
                  <a:pt x="603" y="201"/>
                  <a:pt x="602" y="200"/>
                </a:cubicBezTo>
                <a:cubicBezTo>
                  <a:pt x="602" y="199"/>
                  <a:pt x="603" y="199"/>
                  <a:pt x="602" y="200"/>
                </a:cubicBezTo>
                <a:close/>
                <a:moveTo>
                  <a:pt x="582" y="156"/>
                </a:moveTo>
                <a:cubicBezTo>
                  <a:pt x="582" y="156"/>
                  <a:pt x="580" y="156"/>
                  <a:pt x="580" y="157"/>
                </a:cubicBezTo>
                <a:cubicBezTo>
                  <a:pt x="580" y="157"/>
                  <a:pt x="579" y="157"/>
                  <a:pt x="578" y="157"/>
                </a:cubicBezTo>
                <a:cubicBezTo>
                  <a:pt x="578" y="157"/>
                  <a:pt x="578" y="158"/>
                  <a:pt x="578" y="158"/>
                </a:cubicBezTo>
                <a:cubicBezTo>
                  <a:pt x="579" y="156"/>
                  <a:pt x="581" y="155"/>
                  <a:pt x="582" y="154"/>
                </a:cubicBezTo>
                <a:cubicBezTo>
                  <a:pt x="582" y="155"/>
                  <a:pt x="582" y="156"/>
                  <a:pt x="582" y="156"/>
                </a:cubicBezTo>
                <a:close/>
                <a:moveTo>
                  <a:pt x="580" y="149"/>
                </a:moveTo>
                <a:cubicBezTo>
                  <a:pt x="580" y="149"/>
                  <a:pt x="581" y="149"/>
                  <a:pt x="581" y="150"/>
                </a:cubicBezTo>
                <a:cubicBezTo>
                  <a:pt x="580" y="150"/>
                  <a:pt x="580" y="149"/>
                  <a:pt x="580" y="149"/>
                </a:cubicBezTo>
                <a:close/>
                <a:moveTo>
                  <a:pt x="581" y="148"/>
                </a:moveTo>
                <a:cubicBezTo>
                  <a:pt x="581" y="148"/>
                  <a:pt x="581" y="149"/>
                  <a:pt x="580" y="148"/>
                </a:cubicBezTo>
                <a:cubicBezTo>
                  <a:pt x="581" y="148"/>
                  <a:pt x="581" y="148"/>
                  <a:pt x="581" y="148"/>
                </a:cubicBezTo>
                <a:close/>
                <a:moveTo>
                  <a:pt x="570" y="157"/>
                </a:moveTo>
                <a:cubicBezTo>
                  <a:pt x="569" y="157"/>
                  <a:pt x="568" y="157"/>
                  <a:pt x="568" y="156"/>
                </a:cubicBezTo>
                <a:cubicBezTo>
                  <a:pt x="569" y="156"/>
                  <a:pt x="570" y="156"/>
                  <a:pt x="570" y="157"/>
                </a:cubicBezTo>
                <a:cubicBezTo>
                  <a:pt x="569" y="157"/>
                  <a:pt x="570" y="157"/>
                  <a:pt x="570" y="157"/>
                </a:cubicBezTo>
                <a:close/>
                <a:moveTo>
                  <a:pt x="667" y="9"/>
                </a:moveTo>
                <a:cubicBezTo>
                  <a:pt x="668" y="9"/>
                  <a:pt x="670" y="8"/>
                  <a:pt x="671" y="8"/>
                </a:cubicBezTo>
                <a:cubicBezTo>
                  <a:pt x="672" y="8"/>
                  <a:pt x="673" y="8"/>
                  <a:pt x="673" y="8"/>
                </a:cubicBezTo>
                <a:cubicBezTo>
                  <a:pt x="674" y="7"/>
                  <a:pt x="675" y="7"/>
                  <a:pt x="676" y="7"/>
                </a:cubicBezTo>
                <a:cubicBezTo>
                  <a:pt x="679" y="7"/>
                  <a:pt x="682" y="8"/>
                  <a:pt x="684" y="8"/>
                </a:cubicBezTo>
                <a:cubicBezTo>
                  <a:pt x="686" y="8"/>
                  <a:pt x="687" y="8"/>
                  <a:pt x="688" y="8"/>
                </a:cubicBezTo>
                <a:cubicBezTo>
                  <a:pt x="689" y="8"/>
                  <a:pt x="687" y="8"/>
                  <a:pt x="686" y="8"/>
                </a:cubicBezTo>
                <a:cubicBezTo>
                  <a:pt x="682" y="9"/>
                  <a:pt x="677" y="8"/>
                  <a:pt x="672" y="9"/>
                </a:cubicBezTo>
                <a:cubicBezTo>
                  <a:pt x="672" y="9"/>
                  <a:pt x="672" y="9"/>
                  <a:pt x="672" y="9"/>
                </a:cubicBezTo>
                <a:cubicBezTo>
                  <a:pt x="672" y="10"/>
                  <a:pt x="671" y="10"/>
                  <a:pt x="671" y="10"/>
                </a:cubicBezTo>
                <a:cubicBezTo>
                  <a:pt x="670" y="10"/>
                  <a:pt x="669" y="10"/>
                  <a:pt x="669" y="10"/>
                </a:cubicBezTo>
                <a:cubicBezTo>
                  <a:pt x="669" y="10"/>
                  <a:pt x="669" y="10"/>
                  <a:pt x="669" y="9"/>
                </a:cubicBezTo>
                <a:cubicBezTo>
                  <a:pt x="668" y="9"/>
                  <a:pt x="668" y="9"/>
                  <a:pt x="668" y="9"/>
                </a:cubicBezTo>
                <a:cubicBezTo>
                  <a:pt x="668" y="9"/>
                  <a:pt x="667" y="10"/>
                  <a:pt x="667" y="9"/>
                </a:cubicBezTo>
                <a:cubicBezTo>
                  <a:pt x="669" y="9"/>
                  <a:pt x="667" y="9"/>
                  <a:pt x="667" y="9"/>
                </a:cubicBezTo>
                <a:close/>
                <a:moveTo>
                  <a:pt x="669" y="17"/>
                </a:moveTo>
                <a:cubicBezTo>
                  <a:pt x="670" y="18"/>
                  <a:pt x="670" y="17"/>
                  <a:pt x="670" y="18"/>
                </a:cubicBezTo>
                <a:cubicBezTo>
                  <a:pt x="670" y="18"/>
                  <a:pt x="670" y="18"/>
                  <a:pt x="669" y="17"/>
                </a:cubicBezTo>
                <a:cubicBezTo>
                  <a:pt x="670" y="18"/>
                  <a:pt x="669" y="17"/>
                  <a:pt x="669" y="17"/>
                </a:cubicBezTo>
                <a:close/>
                <a:moveTo>
                  <a:pt x="687" y="33"/>
                </a:moveTo>
                <a:cubicBezTo>
                  <a:pt x="687" y="32"/>
                  <a:pt x="689" y="33"/>
                  <a:pt x="689" y="32"/>
                </a:cubicBezTo>
                <a:cubicBezTo>
                  <a:pt x="689" y="33"/>
                  <a:pt x="690" y="32"/>
                  <a:pt x="690" y="32"/>
                </a:cubicBezTo>
                <a:cubicBezTo>
                  <a:pt x="691" y="32"/>
                  <a:pt x="691" y="32"/>
                  <a:pt x="692" y="32"/>
                </a:cubicBezTo>
                <a:cubicBezTo>
                  <a:pt x="693" y="31"/>
                  <a:pt x="694" y="31"/>
                  <a:pt x="695" y="31"/>
                </a:cubicBezTo>
                <a:cubicBezTo>
                  <a:pt x="695" y="32"/>
                  <a:pt x="694" y="31"/>
                  <a:pt x="693" y="31"/>
                </a:cubicBezTo>
                <a:cubicBezTo>
                  <a:pt x="692" y="32"/>
                  <a:pt x="693" y="32"/>
                  <a:pt x="692" y="32"/>
                </a:cubicBezTo>
                <a:cubicBezTo>
                  <a:pt x="691" y="32"/>
                  <a:pt x="692" y="32"/>
                  <a:pt x="691" y="32"/>
                </a:cubicBezTo>
                <a:cubicBezTo>
                  <a:pt x="691" y="32"/>
                  <a:pt x="691" y="32"/>
                  <a:pt x="691" y="32"/>
                </a:cubicBezTo>
                <a:cubicBezTo>
                  <a:pt x="690" y="32"/>
                  <a:pt x="691" y="33"/>
                  <a:pt x="691" y="33"/>
                </a:cubicBezTo>
                <a:cubicBezTo>
                  <a:pt x="690" y="33"/>
                  <a:pt x="690" y="33"/>
                  <a:pt x="690" y="33"/>
                </a:cubicBezTo>
                <a:cubicBezTo>
                  <a:pt x="689" y="33"/>
                  <a:pt x="689" y="33"/>
                  <a:pt x="689" y="33"/>
                </a:cubicBezTo>
                <a:cubicBezTo>
                  <a:pt x="688" y="33"/>
                  <a:pt x="687" y="34"/>
                  <a:pt x="687" y="34"/>
                </a:cubicBezTo>
                <a:cubicBezTo>
                  <a:pt x="687" y="35"/>
                  <a:pt x="687" y="35"/>
                  <a:pt x="686" y="35"/>
                </a:cubicBezTo>
                <a:cubicBezTo>
                  <a:pt x="686" y="34"/>
                  <a:pt x="686" y="34"/>
                  <a:pt x="687" y="33"/>
                </a:cubicBezTo>
                <a:close/>
                <a:moveTo>
                  <a:pt x="696" y="30"/>
                </a:moveTo>
                <a:cubicBezTo>
                  <a:pt x="696" y="30"/>
                  <a:pt x="697" y="30"/>
                  <a:pt x="697" y="30"/>
                </a:cubicBezTo>
                <a:cubicBezTo>
                  <a:pt x="697" y="30"/>
                  <a:pt x="696" y="30"/>
                  <a:pt x="696" y="31"/>
                </a:cubicBezTo>
                <a:cubicBezTo>
                  <a:pt x="696" y="30"/>
                  <a:pt x="696" y="30"/>
                  <a:pt x="696" y="30"/>
                </a:cubicBezTo>
                <a:close/>
                <a:moveTo>
                  <a:pt x="699" y="29"/>
                </a:moveTo>
                <a:cubicBezTo>
                  <a:pt x="699" y="29"/>
                  <a:pt x="699" y="29"/>
                  <a:pt x="699" y="29"/>
                </a:cubicBezTo>
                <a:cubicBezTo>
                  <a:pt x="699" y="29"/>
                  <a:pt x="699" y="29"/>
                  <a:pt x="699" y="29"/>
                </a:cubicBezTo>
                <a:cubicBezTo>
                  <a:pt x="699" y="29"/>
                  <a:pt x="699" y="29"/>
                  <a:pt x="699" y="29"/>
                </a:cubicBezTo>
                <a:close/>
                <a:moveTo>
                  <a:pt x="713" y="82"/>
                </a:moveTo>
                <a:cubicBezTo>
                  <a:pt x="713" y="82"/>
                  <a:pt x="714" y="82"/>
                  <a:pt x="714" y="82"/>
                </a:cubicBezTo>
                <a:cubicBezTo>
                  <a:pt x="714" y="83"/>
                  <a:pt x="714" y="84"/>
                  <a:pt x="714" y="85"/>
                </a:cubicBezTo>
                <a:cubicBezTo>
                  <a:pt x="712" y="85"/>
                  <a:pt x="713" y="84"/>
                  <a:pt x="713" y="82"/>
                </a:cubicBezTo>
                <a:close/>
                <a:moveTo>
                  <a:pt x="706" y="133"/>
                </a:moveTo>
                <a:cubicBezTo>
                  <a:pt x="706" y="132"/>
                  <a:pt x="707" y="133"/>
                  <a:pt x="708" y="133"/>
                </a:cubicBezTo>
                <a:cubicBezTo>
                  <a:pt x="708" y="133"/>
                  <a:pt x="708" y="132"/>
                  <a:pt x="709" y="132"/>
                </a:cubicBezTo>
                <a:cubicBezTo>
                  <a:pt x="709" y="132"/>
                  <a:pt x="709" y="132"/>
                  <a:pt x="709" y="131"/>
                </a:cubicBezTo>
                <a:cubicBezTo>
                  <a:pt x="709" y="131"/>
                  <a:pt x="708" y="131"/>
                  <a:pt x="708" y="131"/>
                </a:cubicBezTo>
                <a:cubicBezTo>
                  <a:pt x="709" y="130"/>
                  <a:pt x="709" y="130"/>
                  <a:pt x="710" y="131"/>
                </a:cubicBezTo>
                <a:cubicBezTo>
                  <a:pt x="711" y="130"/>
                  <a:pt x="711" y="130"/>
                  <a:pt x="710" y="129"/>
                </a:cubicBezTo>
                <a:cubicBezTo>
                  <a:pt x="711" y="128"/>
                  <a:pt x="712" y="127"/>
                  <a:pt x="714" y="127"/>
                </a:cubicBezTo>
                <a:cubicBezTo>
                  <a:pt x="715" y="126"/>
                  <a:pt x="715" y="126"/>
                  <a:pt x="714" y="125"/>
                </a:cubicBezTo>
                <a:cubicBezTo>
                  <a:pt x="713" y="125"/>
                  <a:pt x="712" y="126"/>
                  <a:pt x="710" y="126"/>
                </a:cubicBezTo>
                <a:cubicBezTo>
                  <a:pt x="710" y="125"/>
                  <a:pt x="709" y="125"/>
                  <a:pt x="709" y="125"/>
                </a:cubicBezTo>
                <a:cubicBezTo>
                  <a:pt x="708" y="125"/>
                  <a:pt x="708" y="125"/>
                  <a:pt x="708" y="125"/>
                </a:cubicBezTo>
                <a:cubicBezTo>
                  <a:pt x="707" y="125"/>
                  <a:pt x="707" y="125"/>
                  <a:pt x="707" y="125"/>
                </a:cubicBezTo>
                <a:cubicBezTo>
                  <a:pt x="706" y="124"/>
                  <a:pt x="707" y="125"/>
                  <a:pt x="706" y="124"/>
                </a:cubicBezTo>
                <a:cubicBezTo>
                  <a:pt x="705" y="124"/>
                  <a:pt x="706" y="124"/>
                  <a:pt x="705" y="124"/>
                </a:cubicBezTo>
                <a:cubicBezTo>
                  <a:pt x="705" y="124"/>
                  <a:pt x="705" y="124"/>
                  <a:pt x="705" y="124"/>
                </a:cubicBezTo>
                <a:cubicBezTo>
                  <a:pt x="704" y="124"/>
                  <a:pt x="703" y="124"/>
                  <a:pt x="703" y="124"/>
                </a:cubicBezTo>
                <a:cubicBezTo>
                  <a:pt x="703" y="123"/>
                  <a:pt x="703" y="123"/>
                  <a:pt x="702" y="123"/>
                </a:cubicBezTo>
                <a:cubicBezTo>
                  <a:pt x="702" y="124"/>
                  <a:pt x="702" y="124"/>
                  <a:pt x="702" y="124"/>
                </a:cubicBezTo>
                <a:cubicBezTo>
                  <a:pt x="701" y="124"/>
                  <a:pt x="701" y="124"/>
                  <a:pt x="700" y="124"/>
                </a:cubicBezTo>
                <a:cubicBezTo>
                  <a:pt x="699" y="124"/>
                  <a:pt x="699" y="125"/>
                  <a:pt x="698" y="125"/>
                </a:cubicBezTo>
                <a:cubicBezTo>
                  <a:pt x="698" y="125"/>
                  <a:pt x="699" y="125"/>
                  <a:pt x="698" y="125"/>
                </a:cubicBezTo>
                <a:cubicBezTo>
                  <a:pt x="697" y="125"/>
                  <a:pt x="696" y="125"/>
                  <a:pt x="695" y="125"/>
                </a:cubicBezTo>
                <a:cubicBezTo>
                  <a:pt x="695" y="125"/>
                  <a:pt x="692" y="125"/>
                  <a:pt x="692" y="125"/>
                </a:cubicBezTo>
                <a:cubicBezTo>
                  <a:pt x="692" y="125"/>
                  <a:pt x="694" y="124"/>
                  <a:pt x="694" y="124"/>
                </a:cubicBezTo>
                <a:cubicBezTo>
                  <a:pt x="694" y="124"/>
                  <a:pt x="694" y="122"/>
                  <a:pt x="694" y="122"/>
                </a:cubicBezTo>
                <a:cubicBezTo>
                  <a:pt x="692" y="122"/>
                  <a:pt x="692" y="123"/>
                  <a:pt x="691" y="123"/>
                </a:cubicBezTo>
                <a:cubicBezTo>
                  <a:pt x="690" y="123"/>
                  <a:pt x="689" y="123"/>
                  <a:pt x="688" y="123"/>
                </a:cubicBezTo>
                <a:cubicBezTo>
                  <a:pt x="687" y="123"/>
                  <a:pt x="687" y="123"/>
                  <a:pt x="686" y="123"/>
                </a:cubicBezTo>
                <a:cubicBezTo>
                  <a:pt x="685" y="123"/>
                  <a:pt x="684" y="123"/>
                  <a:pt x="684" y="123"/>
                </a:cubicBezTo>
                <a:cubicBezTo>
                  <a:pt x="684" y="122"/>
                  <a:pt x="684" y="122"/>
                  <a:pt x="683" y="122"/>
                </a:cubicBezTo>
                <a:cubicBezTo>
                  <a:pt x="684" y="121"/>
                  <a:pt x="683" y="120"/>
                  <a:pt x="684" y="120"/>
                </a:cubicBezTo>
                <a:cubicBezTo>
                  <a:pt x="685" y="120"/>
                  <a:pt x="685" y="119"/>
                  <a:pt x="685" y="119"/>
                </a:cubicBezTo>
                <a:cubicBezTo>
                  <a:pt x="686" y="119"/>
                  <a:pt x="687" y="119"/>
                  <a:pt x="687" y="118"/>
                </a:cubicBezTo>
                <a:cubicBezTo>
                  <a:pt x="688" y="118"/>
                  <a:pt x="688" y="118"/>
                  <a:pt x="689" y="118"/>
                </a:cubicBezTo>
                <a:cubicBezTo>
                  <a:pt x="691" y="118"/>
                  <a:pt x="692" y="118"/>
                  <a:pt x="693" y="118"/>
                </a:cubicBezTo>
                <a:cubicBezTo>
                  <a:pt x="693" y="118"/>
                  <a:pt x="694" y="119"/>
                  <a:pt x="694" y="119"/>
                </a:cubicBezTo>
                <a:cubicBezTo>
                  <a:pt x="694" y="119"/>
                  <a:pt x="694" y="118"/>
                  <a:pt x="695" y="118"/>
                </a:cubicBezTo>
                <a:cubicBezTo>
                  <a:pt x="696" y="118"/>
                  <a:pt x="695" y="118"/>
                  <a:pt x="696" y="118"/>
                </a:cubicBezTo>
                <a:cubicBezTo>
                  <a:pt x="697" y="117"/>
                  <a:pt x="698" y="118"/>
                  <a:pt x="699" y="118"/>
                </a:cubicBezTo>
                <a:cubicBezTo>
                  <a:pt x="699" y="117"/>
                  <a:pt x="699" y="116"/>
                  <a:pt x="698" y="116"/>
                </a:cubicBezTo>
                <a:cubicBezTo>
                  <a:pt x="697" y="116"/>
                  <a:pt x="697" y="115"/>
                  <a:pt x="696" y="115"/>
                </a:cubicBezTo>
                <a:cubicBezTo>
                  <a:pt x="695" y="115"/>
                  <a:pt x="695" y="115"/>
                  <a:pt x="695" y="114"/>
                </a:cubicBezTo>
                <a:cubicBezTo>
                  <a:pt x="695" y="114"/>
                  <a:pt x="694" y="114"/>
                  <a:pt x="694" y="114"/>
                </a:cubicBezTo>
                <a:cubicBezTo>
                  <a:pt x="693" y="114"/>
                  <a:pt x="694" y="114"/>
                  <a:pt x="694" y="114"/>
                </a:cubicBezTo>
                <a:cubicBezTo>
                  <a:pt x="692" y="115"/>
                  <a:pt x="691" y="114"/>
                  <a:pt x="690" y="114"/>
                </a:cubicBezTo>
                <a:cubicBezTo>
                  <a:pt x="689" y="114"/>
                  <a:pt x="688" y="114"/>
                  <a:pt x="687" y="114"/>
                </a:cubicBezTo>
                <a:cubicBezTo>
                  <a:pt x="687" y="114"/>
                  <a:pt x="687" y="115"/>
                  <a:pt x="687" y="115"/>
                </a:cubicBezTo>
                <a:cubicBezTo>
                  <a:pt x="686" y="115"/>
                  <a:pt x="687" y="115"/>
                  <a:pt x="686" y="115"/>
                </a:cubicBezTo>
                <a:cubicBezTo>
                  <a:pt x="686" y="115"/>
                  <a:pt x="685" y="115"/>
                  <a:pt x="685" y="115"/>
                </a:cubicBezTo>
                <a:cubicBezTo>
                  <a:pt x="684" y="115"/>
                  <a:pt x="685" y="115"/>
                  <a:pt x="684" y="115"/>
                </a:cubicBezTo>
                <a:cubicBezTo>
                  <a:pt x="684" y="114"/>
                  <a:pt x="684" y="115"/>
                  <a:pt x="684" y="114"/>
                </a:cubicBezTo>
                <a:cubicBezTo>
                  <a:pt x="684" y="114"/>
                  <a:pt x="684" y="114"/>
                  <a:pt x="685" y="114"/>
                </a:cubicBezTo>
                <a:cubicBezTo>
                  <a:pt x="685" y="114"/>
                  <a:pt x="686" y="114"/>
                  <a:pt x="686" y="114"/>
                </a:cubicBezTo>
                <a:cubicBezTo>
                  <a:pt x="686" y="114"/>
                  <a:pt x="687" y="113"/>
                  <a:pt x="686" y="113"/>
                </a:cubicBezTo>
                <a:cubicBezTo>
                  <a:pt x="687" y="113"/>
                  <a:pt x="685" y="112"/>
                  <a:pt x="685" y="112"/>
                </a:cubicBezTo>
                <a:cubicBezTo>
                  <a:pt x="685" y="111"/>
                  <a:pt x="685" y="111"/>
                  <a:pt x="686" y="111"/>
                </a:cubicBezTo>
                <a:cubicBezTo>
                  <a:pt x="687" y="111"/>
                  <a:pt x="688" y="112"/>
                  <a:pt x="688" y="113"/>
                </a:cubicBezTo>
                <a:cubicBezTo>
                  <a:pt x="689" y="113"/>
                  <a:pt x="690" y="113"/>
                  <a:pt x="690" y="112"/>
                </a:cubicBezTo>
                <a:cubicBezTo>
                  <a:pt x="691" y="112"/>
                  <a:pt x="694" y="112"/>
                  <a:pt x="694" y="113"/>
                </a:cubicBezTo>
                <a:cubicBezTo>
                  <a:pt x="694" y="113"/>
                  <a:pt x="695" y="113"/>
                  <a:pt x="695" y="113"/>
                </a:cubicBezTo>
                <a:cubicBezTo>
                  <a:pt x="696" y="113"/>
                  <a:pt x="696" y="113"/>
                  <a:pt x="697" y="113"/>
                </a:cubicBezTo>
                <a:cubicBezTo>
                  <a:pt x="697" y="113"/>
                  <a:pt x="697" y="113"/>
                  <a:pt x="698" y="114"/>
                </a:cubicBezTo>
                <a:cubicBezTo>
                  <a:pt x="698" y="115"/>
                  <a:pt x="699" y="115"/>
                  <a:pt x="700" y="115"/>
                </a:cubicBezTo>
                <a:cubicBezTo>
                  <a:pt x="701" y="115"/>
                  <a:pt x="702" y="115"/>
                  <a:pt x="702" y="115"/>
                </a:cubicBezTo>
                <a:cubicBezTo>
                  <a:pt x="703" y="116"/>
                  <a:pt x="703" y="117"/>
                  <a:pt x="703" y="117"/>
                </a:cubicBezTo>
                <a:cubicBezTo>
                  <a:pt x="704" y="118"/>
                  <a:pt x="704" y="118"/>
                  <a:pt x="705" y="118"/>
                </a:cubicBezTo>
                <a:cubicBezTo>
                  <a:pt x="705" y="120"/>
                  <a:pt x="705" y="120"/>
                  <a:pt x="706" y="121"/>
                </a:cubicBezTo>
                <a:cubicBezTo>
                  <a:pt x="707" y="121"/>
                  <a:pt x="707" y="121"/>
                  <a:pt x="707" y="122"/>
                </a:cubicBezTo>
                <a:cubicBezTo>
                  <a:pt x="708" y="123"/>
                  <a:pt x="708" y="123"/>
                  <a:pt x="709" y="123"/>
                </a:cubicBezTo>
                <a:cubicBezTo>
                  <a:pt x="710" y="123"/>
                  <a:pt x="710" y="124"/>
                  <a:pt x="712" y="124"/>
                </a:cubicBezTo>
                <a:cubicBezTo>
                  <a:pt x="712" y="124"/>
                  <a:pt x="712" y="124"/>
                  <a:pt x="712" y="123"/>
                </a:cubicBezTo>
                <a:cubicBezTo>
                  <a:pt x="713" y="124"/>
                  <a:pt x="715" y="123"/>
                  <a:pt x="715" y="124"/>
                </a:cubicBezTo>
                <a:cubicBezTo>
                  <a:pt x="715" y="125"/>
                  <a:pt x="716" y="124"/>
                  <a:pt x="716" y="124"/>
                </a:cubicBezTo>
                <a:cubicBezTo>
                  <a:pt x="717" y="125"/>
                  <a:pt x="716" y="125"/>
                  <a:pt x="717" y="124"/>
                </a:cubicBezTo>
                <a:cubicBezTo>
                  <a:pt x="717" y="124"/>
                  <a:pt x="718" y="123"/>
                  <a:pt x="717" y="123"/>
                </a:cubicBezTo>
                <a:cubicBezTo>
                  <a:pt x="717" y="122"/>
                  <a:pt x="716" y="123"/>
                  <a:pt x="716" y="123"/>
                </a:cubicBezTo>
                <a:cubicBezTo>
                  <a:pt x="716" y="123"/>
                  <a:pt x="716" y="122"/>
                  <a:pt x="716" y="122"/>
                </a:cubicBezTo>
                <a:cubicBezTo>
                  <a:pt x="717" y="122"/>
                  <a:pt x="717" y="122"/>
                  <a:pt x="717" y="121"/>
                </a:cubicBezTo>
                <a:cubicBezTo>
                  <a:pt x="717" y="121"/>
                  <a:pt x="717" y="119"/>
                  <a:pt x="717" y="118"/>
                </a:cubicBezTo>
                <a:cubicBezTo>
                  <a:pt x="716" y="119"/>
                  <a:pt x="717" y="118"/>
                  <a:pt x="716" y="117"/>
                </a:cubicBezTo>
                <a:cubicBezTo>
                  <a:pt x="716" y="117"/>
                  <a:pt x="716" y="117"/>
                  <a:pt x="716" y="117"/>
                </a:cubicBezTo>
                <a:cubicBezTo>
                  <a:pt x="715" y="117"/>
                  <a:pt x="715" y="116"/>
                  <a:pt x="715" y="115"/>
                </a:cubicBezTo>
                <a:cubicBezTo>
                  <a:pt x="715" y="114"/>
                  <a:pt x="715" y="115"/>
                  <a:pt x="714" y="115"/>
                </a:cubicBezTo>
                <a:cubicBezTo>
                  <a:pt x="714" y="115"/>
                  <a:pt x="714" y="114"/>
                  <a:pt x="714" y="115"/>
                </a:cubicBezTo>
                <a:cubicBezTo>
                  <a:pt x="714" y="115"/>
                  <a:pt x="713" y="116"/>
                  <a:pt x="713" y="116"/>
                </a:cubicBezTo>
                <a:cubicBezTo>
                  <a:pt x="713" y="115"/>
                  <a:pt x="713" y="114"/>
                  <a:pt x="713" y="113"/>
                </a:cubicBezTo>
                <a:cubicBezTo>
                  <a:pt x="713" y="113"/>
                  <a:pt x="712" y="113"/>
                  <a:pt x="712" y="114"/>
                </a:cubicBezTo>
                <a:cubicBezTo>
                  <a:pt x="712" y="113"/>
                  <a:pt x="712" y="112"/>
                  <a:pt x="711" y="112"/>
                </a:cubicBezTo>
                <a:cubicBezTo>
                  <a:pt x="711" y="111"/>
                  <a:pt x="711" y="112"/>
                  <a:pt x="710" y="112"/>
                </a:cubicBezTo>
                <a:cubicBezTo>
                  <a:pt x="710" y="110"/>
                  <a:pt x="709" y="110"/>
                  <a:pt x="708" y="110"/>
                </a:cubicBezTo>
                <a:cubicBezTo>
                  <a:pt x="707" y="110"/>
                  <a:pt x="707" y="109"/>
                  <a:pt x="705" y="108"/>
                </a:cubicBezTo>
                <a:cubicBezTo>
                  <a:pt x="705" y="108"/>
                  <a:pt x="703" y="108"/>
                  <a:pt x="703" y="108"/>
                </a:cubicBezTo>
                <a:cubicBezTo>
                  <a:pt x="702" y="108"/>
                  <a:pt x="702" y="108"/>
                  <a:pt x="701" y="108"/>
                </a:cubicBezTo>
                <a:cubicBezTo>
                  <a:pt x="701" y="109"/>
                  <a:pt x="701" y="108"/>
                  <a:pt x="700" y="108"/>
                </a:cubicBezTo>
                <a:cubicBezTo>
                  <a:pt x="699" y="108"/>
                  <a:pt x="700" y="108"/>
                  <a:pt x="701" y="108"/>
                </a:cubicBezTo>
                <a:cubicBezTo>
                  <a:pt x="702" y="107"/>
                  <a:pt x="703" y="107"/>
                  <a:pt x="702" y="106"/>
                </a:cubicBezTo>
                <a:cubicBezTo>
                  <a:pt x="702" y="105"/>
                  <a:pt x="702" y="105"/>
                  <a:pt x="701" y="105"/>
                </a:cubicBezTo>
                <a:cubicBezTo>
                  <a:pt x="701" y="105"/>
                  <a:pt x="700" y="105"/>
                  <a:pt x="700" y="105"/>
                </a:cubicBezTo>
                <a:cubicBezTo>
                  <a:pt x="699" y="105"/>
                  <a:pt x="699" y="106"/>
                  <a:pt x="698" y="106"/>
                </a:cubicBezTo>
                <a:cubicBezTo>
                  <a:pt x="697" y="106"/>
                  <a:pt x="697" y="106"/>
                  <a:pt x="697" y="106"/>
                </a:cubicBezTo>
                <a:cubicBezTo>
                  <a:pt x="696" y="106"/>
                  <a:pt x="696" y="107"/>
                  <a:pt x="695" y="107"/>
                </a:cubicBezTo>
                <a:cubicBezTo>
                  <a:pt x="695" y="106"/>
                  <a:pt x="694" y="107"/>
                  <a:pt x="694" y="106"/>
                </a:cubicBezTo>
                <a:cubicBezTo>
                  <a:pt x="694" y="106"/>
                  <a:pt x="695" y="106"/>
                  <a:pt x="693" y="105"/>
                </a:cubicBezTo>
                <a:cubicBezTo>
                  <a:pt x="693" y="105"/>
                  <a:pt x="692" y="105"/>
                  <a:pt x="692" y="105"/>
                </a:cubicBezTo>
                <a:cubicBezTo>
                  <a:pt x="692" y="104"/>
                  <a:pt x="692" y="104"/>
                  <a:pt x="691" y="104"/>
                </a:cubicBezTo>
                <a:cubicBezTo>
                  <a:pt x="691" y="103"/>
                  <a:pt x="691" y="103"/>
                  <a:pt x="691" y="103"/>
                </a:cubicBezTo>
                <a:cubicBezTo>
                  <a:pt x="691" y="102"/>
                  <a:pt x="690" y="103"/>
                  <a:pt x="690" y="102"/>
                </a:cubicBezTo>
                <a:cubicBezTo>
                  <a:pt x="690" y="102"/>
                  <a:pt x="693" y="102"/>
                  <a:pt x="693" y="102"/>
                </a:cubicBezTo>
                <a:cubicBezTo>
                  <a:pt x="693" y="101"/>
                  <a:pt x="693" y="101"/>
                  <a:pt x="692" y="101"/>
                </a:cubicBezTo>
                <a:cubicBezTo>
                  <a:pt x="692" y="100"/>
                  <a:pt x="693" y="100"/>
                  <a:pt x="694" y="100"/>
                </a:cubicBezTo>
                <a:cubicBezTo>
                  <a:pt x="694" y="100"/>
                  <a:pt x="697" y="101"/>
                  <a:pt x="697" y="100"/>
                </a:cubicBezTo>
                <a:cubicBezTo>
                  <a:pt x="696" y="100"/>
                  <a:pt x="697" y="100"/>
                  <a:pt x="697" y="100"/>
                </a:cubicBezTo>
                <a:cubicBezTo>
                  <a:pt x="698" y="100"/>
                  <a:pt x="698" y="100"/>
                  <a:pt x="698" y="99"/>
                </a:cubicBezTo>
                <a:cubicBezTo>
                  <a:pt x="699" y="99"/>
                  <a:pt x="700" y="99"/>
                  <a:pt x="700" y="99"/>
                </a:cubicBezTo>
                <a:cubicBezTo>
                  <a:pt x="700" y="99"/>
                  <a:pt x="700" y="98"/>
                  <a:pt x="700" y="98"/>
                </a:cubicBezTo>
                <a:cubicBezTo>
                  <a:pt x="700" y="98"/>
                  <a:pt x="700" y="98"/>
                  <a:pt x="700" y="98"/>
                </a:cubicBezTo>
                <a:cubicBezTo>
                  <a:pt x="701" y="97"/>
                  <a:pt x="701" y="98"/>
                  <a:pt x="702" y="98"/>
                </a:cubicBezTo>
                <a:cubicBezTo>
                  <a:pt x="703" y="98"/>
                  <a:pt x="703" y="98"/>
                  <a:pt x="703" y="97"/>
                </a:cubicBezTo>
                <a:cubicBezTo>
                  <a:pt x="703" y="95"/>
                  <a:pt x="703" y="95"/>
                  <a:pt x="705" y="95"/>
                </a:cubicBezTo>
                <a:cubicBezTo>
                  <a:pt x="704" y="96"/>
                  <a:pt x="705" y="97"/>
                  <a:pt x="704" y="97"/>
                </a:cubicBezTo>
                <a:cubicBezTo>
                  <a:pt x="704" y="98"/>
                  <a:pt x="704" y="98"/>
                  <a:pt x="705" y="98"/>
                </a:cubicBezTo>
                <a:cubicBezTo>
                  <a:pt x="706" y="98"/>
                  <a:pt x="705" y="98"/>
                  <a:pt x="706" y="98"/>
                </a:cubicBezTo>
                <a:cubicBezTo>
                  <a:pt x="707" y="98"/>
                  <a:pt x="707" y="98"/>
                  <a:pt x="708" y="98"/>
                </a:cubicBezTo>
                <a:cubicBezTo>
                  <a:pt x="708" y="98"/>
                  <a:pt x="708" y="99"/>
                  <a:pt x="709" y="99"/>
                </a:cubicBezTo>
                <a:cubicBezTo>
                  <a:pt x="709" y="99"/>
                  <a:pt x="709" y="99"/>
                  <a:pt x="709" y="99"/>
                </a:cubicBezTo>
                <a:cubicBezTo>
                  <a:pt x="710" y="99"/>
                  <a:pt x="711" y="99"/>
                  <a:pt x="711" y="99"/>
                </a:cubicBezTo>
                <a:cubicBezTo>
                  <a:pt x="712" y="99"/>
                  <a:pt x="711" y="99"/>
                  <a:pt x="712" y="99"/>
                </a:cubicBezTo>
                <a:cubicBezTo>
                  <a:pt x="712" y="99"/>
                  <a:pt x="712" y="100"/>
                  <a:pt x="713" y="100"/>
                </a:cubicBezTo>
                <a:cubicBezTo>
                  <a:pt x="713" y="99"/>
                  <a:pt x="714" y="100"/>
                  <a:pt x="715" y="100"/>
                </a:cubicBezTo>
                <a:cubicBezTo>
                  <a:pt x="716" y="99"/>
                  <a:pt x="715" y="99"/>
                  <a:pt x="716" y="99"/>
                </a:cubicBezTo>
                <a:cubicBezTo>
                  <a:pt x="717" y="99"/>
                  <a:pt x="717" y="99"/>
                  <a:pt x="717" y="98"/>
                </a:cubicBezTo>
                <a:cubicBezTo>
                  <a:pt x="718" y="98"/>
                  <a:pt x="718" y="99"/>
                  <a:pt x="718" y="98"/>
                </a:cubicBezTo>
                <a:cubicBezTo>
                  <a:pt x="718" y="97"/>
                  <a:pt x="721" y="97"/>
                  <a:pt x="721" y="97"/>
                </a:cubicBezTo>
                <a:cubicBezTo>
                  <a:pt x="722" y="97"/>
                  <a:pt x="722" y="97"/>
                  <a:pt x="722" y="97"/>
                </a:cubicBezTo>
                <a:cubicBezTo>
                  <a:pt x="722" y="96"/>
                  <a:pt x="722" y="96"/>
                  <a:pt x="721" y="96"/>
                </a:cubicBezTo>
                <a:cubicBezTo>
                  <a:pt x="721" y="95"/>
                  <a:pt x="721" y="94"/>
                  <a:pt x="722" y="94"/>
                </a:cubicBezTo>
                <a:cubicBezTo>
                  <a:pt x="721" y="94"/>
                  <a:pt x="720" y="94"/>
                  <a:pt x="720" y="94"/>
                </a:cubicBezTo>
                <a:cubicBezTo>
                  <a:pt x="719" y="94"/>
                  <a:pt x="719" y="93"/>
                  <a:pt x="718" y="93"/>
                </a:cubicBezTo>
                <a:cubicBezTo>
                  <a:pt x="716" y="92"/>
                  <a:pt x="716" y="95"/>
                  <a:pt x="716" y="95"/>
                </a:cubicBezTo>
                <a:cubicBezTo>
                  <a:pt x="715" y="95"/>
                  <a:pt x="715" y="93"/>
                  <a:pt x="715" y="93"/>
                </a:cubicBezTo>
                <a:cubicBezTo>
                  <a:pt x="714" y="93"/>
                  <a:pt x="714" y="93"/>
                  <a:pt x="713" y="93"/>
                </a:cubicBezTo>
                <a:cubicBezTo>
                  <a:pt x="713" y="92"/>
                  <a:pt x="714" y="89"/>
                  <a:pt x="714" y="88"/>
                </a:cubicBezTo>
                <a:cubicBezTo>
                  <a:pt x="715" y="88"/>
                  <a:pt x="716" y="89"/>
                  <a:pt x="717" y="89"/>
                </a:cubicBezTo>
                <a:cubicBezTo>
                  <a:pt x="717" y="89"/>
                  <a:pt x="717" y="89"/>
                  <a:pt x="717" y="89"/>
                </a:cubicBezTo>
                <a:cubicBezTo>
                  <a:pt x="717" y="89"/>
                  <a:pt x="718" y="90"/>
                  <a:pt x="719" y="90"/>
                </a:cubicBezTo>
                <a:cubicBezTo>
                  <a:pt x="720" y="90"/>
                  <a:pt x="721" y="90"/>
                  <a:pt x="722" y="90"/>
                </a:cubicBezTo>
                <a:cubicBezTo>
                  <a:pt x="724" y="90"/>
                  <a:pt x="723" y="90"/>
                  <a:pt x="724" y="90"/>
                </a:cubicBezTo>
                <a:cubicBezTo>
                  <a:pt x="724" y="90"/>
                  <a:pt x="725" y="92"/>
                  <a:pt x="726" y="92"/>
                </a:cubicBezTo>
                <a:cubicBezTo>
                  <a:pt x="727" y="92"/>
                  <a:pt x="727" y="91"/>
                  <a:pt x="728" y="91"/>
                </a:cubicBezTo>
                <a:cubicBezTo>
                  <a:pt x="729" y="90"/>
                  <a:pt x="729" y="90"/>
                  <a:pt x="728" y="89"/>
                </a:cubicBezTo>
                <a:cubicBezTo>
                  <a:pt x="728" y="88"/>
                  <a:pt x="727" y="88"/>
                  <a:pt x="726" y="88"/>
                </a:cubicBezTo>
                <a:cubicBezTo>
                  <a:pt x="726" y="89"/>
                  <a:pt x="725" y="89"/>
                  <a:pt x="725" y="89"/>
                </a:cubicBezTo>
                <a:cubicBezTo>
                  <a:pt x="725" y="89"/>
                  <a:pt x="725" y="89"/>
                  <a:pt x="724" y="89"/>
                </a:cubicBezTo>
                <a:cubicBezTo>
                  <a:pt x="723" y="89"/>
                  <a:pt x="722" y="89"/>
                  <a:pt x="720" y="89"/>
                </a:cubicBezTo>
                <a:cubicBezTo>
                  <a:pt x="721" y="88"/>
                  <a:pt x="721" y="88"/>
                  <a:pt x="721" y="87"/>
                </a:cubicBezTo>
                <a:cubicBezTo>
                  <a:pt x="721" y="86"/>
                  <a:pt x="720" y="85"/>
                  <a:pt x="719" y="86"/>
                </a:cubicBezTo>
                <a:cubicBezTo>
                  <a:pt x="719" y="86"/>
                  <a:pt x="719" y="87"/>
                  <a:pt x="719" y="87"/>
                </a:cubicBezTo>
                <a:cubicBezTo>
                  <a:pt x="719" y="87"/>
                  <a:pt x="718" y="87"/>
                  <a:pt x="717" y="87"/>
                </a:cubicBezTo>
                <a:cubicBezTo>
                  <a:pt x="717" y="87"/>
                  <a:pt x="716" y="87"/>
                  <a:pt x="716" y="86"/>
                </a:cubicBezTo>
                <a:cubicBezTo>
                  <a:pt x="717" y="86"/>
                  <a:pt x="717" y="87"/>
                  <a:pt x="718" y="87"/>
                </a:cubicBezTo>
                <a:cubicBezTo>
                  <a:pt x="718" y="87"/>
                  <a:pt x="719" y="86"/>
                  <a:pt x="719" y="86"/>
                </a:cubicBezTo>
                <a:cubicBezTo>
                  <a:pt x="720" y="85"/>
                  <a:pt x="721" y="85"/>
                  <a:pt x="720" y="84"/>
                </a:cubicBezTo>
                <a:cubicBezTo>
                  <a:pt x="719" y="83"/>
                  <a:pt x="719" y="82"/>
                  <a:pt x="718" y="82"/>
                </a:cubicBezTo>
                <a:cubicBezTo>
                  <a:pt x="717" y="82"/>
                  <a:pt x="716" y="82"/>
                  <a:pt x="715" y="82"/>
                </a:cubicBezTo>
                <a:cubicBezTo>
                  <a:pt x="715" y="81"/>
                  <a:pt x="715" y="81"/>
                  <a:pt x="716" y="81"/>
                </a:cubicBezTo>
                <a:cubicBezTo>
                  <a:pt x="716" y="81"/>
                  <a:pt x="717" y="81"/>
                  <a:pt x="717" y="81"/>
                </a:cubicBezTo>
                <a:cubicBezTo>
                  <a:pt x="717" y="81"/>
                  <a:pt x="717" y="81"/>
                  <a:pt x="717" y="81"/>
                </a:cubicBezTo>
                <a:cubicBezTo>
                  <a:pt x="718" y="82"/>
                  <a:pt x="718" y="81"/>
                  <a:pt x="718" y="81"/>
                </a:cubicBezTo>
                <a:cubicBezTo>
                  <a:pt x="718" y="82"/>
                  <a:pt x="718" y="82"/>
                  <a:pt x="718" y="82"/>
                </a:cubicBezTo>
                <a:cubicBezTo>
                  <a:pt x="719" y="82"/>
                  <a:pt x="719" y="82"/>
                  <a:pt x="720" y="82"/>
                </a:cubicBezTo>
                <a:cubicBezTo>
                  <a:pt x="721" y="82"/>
                  <a:pt x="722" y="81"/>
                  <a:pt x="722" y="81"/>
                </a:cubicBezTo>
                <a:cubicBezTo>
                  <a:pt x="723" y="82"/>
                  <a:pt x="723" y="83"/>
                  <a:pt x="724" y="83"/>
                </a:cubicBezTo>
                <a:cubicBezTo>
                  <a:pt x="724" y="83"/>
                  <a:pt x="725" y="83"/>
                  <a:pt x="725" y="82"/>
                </a:cubicBezTo>
                <a:cubicBezTo>
                  <a:pt x="725" y="81"/>
                  <a:pt x="725" y="80"/>
                  <a:pt x="725" y="79"/>
                </a:cubicBezTo>
                <a:cubicBezTo>
                  <a:pt x="725" y="78"/>
                  <a:pt x="725" y="77"/>
                  <a:pt x="724" y="76"/>
                </a:cubicBezTo>
                <a:cubicBezTo>
                  <a:pt x="724" y="75"/>
                  <a:pt x="724" y="75"/>
                  <a:pt x="723" y="75"/>
                </a:cubicBezTo>
                <a:cubicBezTo>
                  <a:pt x="723" y="74"/>
                  <a:pt x="724" y="74"/>
                  <a:pt x="723" y="73"/>
                </a:cubicBezTo>
                <a:cubicBezTo>
                  <a:pt x="723" y="72"/>
                  <a:pt x="722" y="73"/>
                  <a:pt x="722" y="73"/>
                </a:cubicBezTo>
                <a:cubicBezTo>
                  <a:pt x="721" y="72"/>
                  <a:pt x="721" y="72"/>
                  <a:pt x="720" y="72"/>
                </a:cubicBezTo>
                <a:cubicBezTo>
                  <a:pt x="720" y="73"/>
                  <a:pt x="719" y="74"/>
                  <a:pt x="718" y="74"/>
                </a:cubicBezTo>
                <a:cubicBezTo>
                  <a:pt x="718" y="74"/>
                  <a:pt x="718" y="73"/>
                  <a:pt x="718" y="73"/>
                </a:cubicBezTo>
                <a:cubicBezTo>
                  <a:pt x="717" y="73"/>
                  <a:pt x="717" y="73"/>
                  <a:pt x="716" y="73"/>
                </a:cubicBezTo>
                <a:cubicBezTo>
                  <a:pt x="716" y="72"/>
                  <a:pt x="716" y="72"/>
                  <a:pt x="717" y="72"/>
                </a:cubicBezTo>
                <a:cubicBezTo>
                  <a:pt x="717" y="72"/>
                  <a:pt x="717" y="72"/>
                  <a:pt x="718" y="72"/>
                </a:cubicBezTo>
                <a:cubicBezTo>
                  <a:pt x="718" y="72"/>
                  <a:pt x="718" y="71"/>
                  <a:pt x="719" y="71"/>
                </a:cubicBezTo>
                <a:cubicBezTo>
                  <a:pt x="720" y="70"/>
                  <a:pt x="720" y="70"/>
                  <a:pt x="719" y="69"/>
                </a:cubicBezTo>
                <a:cubicBezTo>
                  <a:pt x="718" y="69"/>
                  <a:pt x="721" y="68"/>
                  <a:pt x="718" y="68"/>
                </a:cubicBezTo>
                <a:cubicBezTo>
                  <a:pt x="719" y="67"/>
                  <a:pt x="719" y="67"/>
                  <a:pt x="720" y="67"/>
                </a:cubicBezTo>
                <a:cubicBezTo>
                  <a:pt x="721" y="67"/>
                  <a:pt x="722" y="67"/>
                  <a:pt x="722" y="68"/>
                </a:cubicBezTo>
                <a:cubicBezTo>
                  <a:pt x="724" y="68"/>
                  <a:pt x="726" y="68"/>
                  <a:pt x="727" y="68"/>
                </a:cubicBezTo>
                <a:cubicBezTo>
                  <a:pt x="728" y="69"/>
                  <a:pt x="728" y="69"/>
                  <a:pt x="730" y="69"/>
                </a:cubicBezTo>
                <a:cubicBezTo>
                  <a:pt x="731" y="69"/>
                  <a:pt x="731" y="69"/>
                  <a:pt x="732" y="69"/>
                </a:cubicBezTo>
                <a:cubicBezTo>
                  <a:pt x="732" y="68"/>
                  <a:pt x="731" y="68"/>
                  <a:pt x="731" y="67"/>
                </a:cubicBezTo>
                <a:cubicBezTo>
                  <a:pt x="731" y="67"/>
                  <a:pt x="732" y="67"/>
                  <a:pt x="732" y="67"/>
                </a:cubicBezTo>
                <a:cubicBezTo>
                  <a:pt x="732" y="67"/>
                  <a:pt x="731" y="66"/>
                  <a:pt x="731" y="66"/>
                </a:cubicBezTo>
                <a:cubicBezTo>
                  <a:pt x="731" y="66"/>
                  <a:pt x="730" y="65"/>
                  <a:pt x="730" y="65"/>
                </a:cubicBezTo>
                <a:cubicBezTo>
                  <a:pt x="730" y="65"/>
                  <a:pt x="730" y="64"/>
                  <a:pt x="730" y="64"/>
                </a:cubicBezTo>
                <a:cubicBezTo>
                  <a:pt x="730" y="64"/>
                  <a:pt x="730" y="63"/>
                  <a:pt x="729" y="63"/>
                </a:cubicBezTo>
                <a:cubicBezTo>
                  <a:pt x="729" y="63"/>
                  <a:pt x="728" y="63"/>
                  <a:pt x="727" y="62"/>
                </a:cubicBezTo>
                <a:cubicBezTo>
                  <a:pt x="727" y="63"/>
                  <a:pt x="727" y="64"/>
                  <a:pt x="727" y="64"/>
                </a:cubicBezTo>
                <a:cubicBezTo>
                  <a:pt x="726" y="64"/>
                  <a:pt x="724" y="63"/>
                  <a:pt x="724" y="64"/>
                </a:cubicBezTo>
                <a:cubicBezTo>
                  <a:pt x="723" y="64"/>
                  <a:pt x="722" y="64"/>
                  <a:pt x="722" y="63"/>
                </a:cubicBezTo>
                <a:cubicBezTo>
                  <a:pt x="722" y="63"/>
                  <a:pt x="722" y="62"/>
                  <a:pt x="722" y="62"/>
                </a:cubicBezTo>
                <a:cubicBezTo>
                  <a:pt x="722" y="62"/>
                  <a:pt x="723" y="62"/>
                  <a:pt x="722" y="61"/>
                </a:cubicBezTo>
                <a:cubicBezTo>
                  <a:pt x="722" y="61"/>
                  <a:pt x="722" y="61"/>
                  <a:pt x="722" y="60"/>
                </a:cubicBezTo>
                <a:cubicBezTo>
                  <a:pt x="722" y="60"/>
                  <a:pt x="722" y="60"/>
                  <a:pt x="722" y="60"/>
                </a:cubicBezTo>
                <a:cubicBezTo>
                  <a:pt x="723" y="60"/>
                  <a:pt x="723" y="60"/>
                  <a:pt x="724" y="60"/>
                </a:cubicBezTo>
                <a:cubicBezTo>
                  <a:pt x="725" y="61"/>
                  <a:pt x="724" y="61"/>
                  <a:pt x="725" y="61"/>
                </a:cubicBezTo>
                <a:cubicBezTo>
                  <a:pt x="726" y="61"/>
                  <a:pt x="727" y="60"/>
                  <a:pt x="727" y="60"/>
                </a:cubicBezTo>
                <a:cubicBezTo>
                  <a:pt x="726" y="60"/>
                  <a:pt x="725" y="59"/>
                  <a:pt x="724" y="59"/>
                </a:cubicBezTo>
                <a:cubicBezTo>
                  <a:pt x="723" y="58"/>
                  <a:pt x="723" y="57"/>
                  <a:pt x="723" y="58"/>
                </a:cubicBezTo>
                <a:cubicBezTo>
                  <a:pt x="722" y="58"/>
                  <a:pt x="721" y="58"/>
                  <a:pt x="720" y="58"/>
                </a:cubicBezTo>
                <a:cubicBezTo>
                  <a:pt x="720" y="58"/>
                  <a:pt x="718" y="57"/>
                  <a:pt x="718" y="57"/>
                </a:cubicBezTo>
                <a:cubicBezTo>
                  <a:pt x="717" y="57"/>
                  <a:pt x="717" y="57"/>
                  <a:pt x="716" y="58"/>
                </a:cubicBezTo>
                <a:cubicBezTo>
                  <a:pt x="716" y="58"/>
                  <a:pt x="716" y="58"/>
                  <a:pt x="716" y="58"/>
                </a:cubicBezTo>
                <a:cubicBezTo>
                  <a:pt x="715" y="58"/>
                  <a:pt x="715" y="57"/>
                  <a:pt x="715" y="57"/>
                </a:cubicBezTo>
                <a:cubicBezTo>
                  <a:pt x="716" y="56"/>
                  <a:pt x="715" y="54"/>
                  <a:pt x="717" y="54"/>
                </a:cubicBezTo>
                <a:cubicBezTo>
                  <a:pt x="717" y="55"/>
                  <a:pt x="719" y="55"/>
                  <a:pt x="719" y="55"/>
                </a:cubicBezTo>
                <a:cubicBezTo>
                  <a:pt x="719" y="55"/>
                  <a:pt x="720" y="55"/>
                  <a:pt x="720" y="55"/>
                </a:cubicBezTo>
                <a:cubicBezTo>
                  <a:pt x="720" y="56"/>
                  <a:pt x="721" y="55"/>
                  <a:pt x="721" y="55"/>
                </a:cubicBezTo>
                <a:cubicBezTo>
                  <a:pt x="721" y="55"/>
                  <a:pt x="722" y="56"/>
                  <a:pt x="722" y="56"/>
                </a:cubicBezTo>
                <a:cubicBezTo>
                  <a:pt x="722" y="56"/>
                  <a:pt x="722" y="56"/>
                  <a:pt x="723" y="56"/>
                </a:cubicBezTo>
                <a:cubicBezTo>
                  <a:pt x="723" y="56"/>
                  <a:pt x="723" y="55"/>
                  <a:pt x="723" y="54"/>
                </a:cubicBezTo>
                <a:cubicBezTo>
                  <a:pt x="724" y="53"/>
                  <a:pt x="724" y="54"/>
                  <a:pt x="724" y="53"/>
                </a:cubicBezTo>
                <a:cubicBezTo>
                  <a:pt x="725" y="52"/>
                  <a:pt x="726" y="51"/>
                  <a:pt x="727" y="51"/>
                </a:cubicBezTo>
                <a:cubicBezTo>
                  <a:pt x="727" y="51"/>
                  <a:pt x="727" y="51"/>
                  <a:pt x="727" y="50"/>
                </a:cubicBezTo>
                <a:cubicBezTo>
                  <a:pt x="727" y="50"/>
                  <a:pt x="727" y="49"/>
                  <a:pt x="727" y="49"/>
                </a:cubicBezTo>
                <a:cubicBezTo>
                  <a:pt x="726" y="48"/>
                  <a:pt x="727" y="48"/>
                  <a:pt x="728" y="47"/>
                </a:cubicBezTo>
                <a:cubicBezTo>
                  <a:pt x="729" y="46"/>
                  <a:pt x="728" y="45"/>
                  <a:pt x="728" y="45"/>
                </a:cubicBezTo>
                <a:cubicBezTo>
                  <a:pt x="726" y="45"/>
                  <a:pt x="727" y="45"/>
                  <a:pt x="728" y="44"/>
                </a:cubicBezTo>
                <a:cubicBezTo>
                  <a:pt x="730" y="44"/>
                  <a:pt x="732" y="44"/>
                  <a:pt x="733" y="44"/>
                </a:cubicBezTo>
                <a:cubicBezTo>
                  <a:pt x="733" y="42"/>
                  <a:pt x="733" y="42"/>
                  <a:pt x="735" y="42"/>
                </a:cubicBezTo>
                <a:cubicBezTo>
                  <a:pt x="736" y="41"/>
                  <a:pt x="737" y="39"/>
                  <a:pt x="736" y="39"/>
                </a:cubicBezTo>
                <a:cubicBezTo>
                  <a:pt x="734" y="38"/>
                  <a:pt x="732" y="38"/>
                  <a:pt x="730" y="38"/>
                </a:cubicBezTo>
                <a:cubicBezTo>
                  <a:pt x="730" y="38"/>
                  <a:pt x="729" y="38"/>
                  <a:pt x="729" y="38"/>
                </a:cubicBezTo>
                <a:cubicBezTo>
                  <a:pt x="728" y="38"/>
                  <a:pt x="729" y="38"/>
                  <a:pt x="728" y="38"/>
                </a:cubicBezTo>
                <a:cubicBezTo>
                  <a:pt x="728" y="38"/>
                  <a:pt x="728" y="38"/>
                  <a:pt x="728" y="38"/>
                </a:cubicBezTo>
                <a:cubicBezTo>
                  <a:pt x="727" y="39"/>
                  <a:pt x="727" y="39"/>
                  <a:pt x="727" y="39"/>
                </a:cubicBezTo>
                <a:cubicBezTo>
                  <a:pt x="726" y="39"/>
                  <a:pt x="727" y="39"/>
                  <a:pt x="727" y="39"/>
                </a:cubicBezTo>
                <a:cubicBezTo>
                  <a:pt x="726" y="39"/>
                  <a:pt x="726" y="39"/>
                  <a:pt x="725" y="40"/>
                </a:cubicBezTo>
                <a:cubicBezTo>
                  <a:pt x="725" y="40"/>
                  <a:pt x="723" y="41"/>
                  <a:pt x="723" y="41"/>
                </a:cubicBezTo>
                <a:cubicBezTo>
                  <a:pt x="723" y="40"/>
                  <a:pt x="723" y="39"/>
                  <a:pt x="723" y="38"/>
                </a:cubicBezTo>
                <a:cubicBezTo>
                  <a:pt x="723" y="38"/>
                  <a:pt x="722" y="38"/>
                  <a:pt x="722" y="37"/>
                </a:cubicBezTo>
                <a:cubicBezTo>
                  <a:pt x="722" y="37"/>
                  <a:pt x="722" y="36"/>
                  <a:pt x="723" y="36"/>
                </a:cubicBezTo>
                <a:cubicBezTo>
                  <a:pt x="723" y="36"/>
                  <a:pt x="723" y="36"/>
                  <a:pt x="724" y="35"/>
                </a:cubicBezTo>
                <a:cubicBezTo>
                  <a:pt x="724" y="35"/>
                  <a:pt x="725" y="35"/>
                  <a:pt x="726" y="35"/>
                </a:cubicBezTo>
                <a:cubicBezTo>
                  <a:pt x="727" y="35"/>
                  <a:pt x="728" y="36"/>
                  <a:pt x="730" y="36"/>
                </a:cubicBezTo>
                <a:cubicBezTo>
                  <a:pt x="732" y="36"/>
                  <a:pt x="734" y="37"/>
                  <a:pt x="736" y="37"/>
                </a:cubicBezTo>
                <a:cubicBezTo>
                  <a:pt x="738" y="37"/>
                  <a:pt x="739" y="38"/>
                  <a:pt x="740" y="36"/>
                </a:cubicBezTo>
                <a:cubicBezTo>
                  <a:pt x="740" y="36"/>
                  <a:pt x="742" y="35"/>
                  <a:pt x="742" y="35"/>
                </a:cubicBezTo>
                <a:cubicBezTo>
                  <a:pt x="743" y="35"/>
                  <a:pt x="743" y="34"/>
                  <a:pt x="744" y="33"/>
                </a:cubicBezTo>
                <a:cubicBezTo>
                  <a:pt x="745" y="31"/>
                  <a:pt x="743" y="31"/>
                  <a:pt x="742" y="31"/>
                </a:cubicBezTo>
                <a:cubicBezTo>
                  <a:pt x="741" y="31"/>
                  <a:pt x="740" y="31"/>
                  <a:pt x="740" y="31"/>
                </a:cubicBezTo>
                <a:cubicBezTo>
                  <a:pt x="740" y="32"/>
                  <a:pt x="739" y="32"/>
                  <a:pt x="739" y="33"/>
                </a:cubicBezTo>
                <a:cubicBezTo>
                  <a:pt x="738" y="33"/>
                  <a:pt x="737" y="32"/>
                  <a:pt x="737" y="32"/>
                </a:cubicBezTo>
                <a:cubicBezTo>
                  <a:pt x="735" y="32"/>
                  <a:pt x="732" y="34"/>
                  <a:pt x="730" y="33"/>
                </a:cubicBezTo>
                <a:cubicBezTo>
                  <a:pt x="730" y="33"/>
                  <a:pt x="728" y="32"/>
                  <a:pt x="728" y="32"/>
                </a:cubicBezTo>
                <a:cubicBezTo>
                  <a:pt x="728" y="31"/>
                  <a:pt x="731" y="31"/>
                  <a:pt x="731" y="31"/>
                </a:cubicBezTo>
                <a:cubicBezTo>
                  <a:pt x="732" y="31"/>
                  <a:pt x="733" y="31"/>
                  <a:pt x="733" y="31"/>
                </a:cubicBezTo>
                <a:cubicBezTo>
                  <a:pt x="734" y="30"/>
                  <a:pt x="734" y="30"/>
                  <a:pt x="735" y="30"/>
                </a:cubicBezTo>
                <a:cubicBezTo>
                  <a:pt x="736" y="30"/>
                  <a:pt x="739" y="30"/>
                  <a:pt x="739" y="31"/>
                </a:cubicBezTo>
                <a:cubicBezTo>
                  <a:pt x="739" y="31"/>
                  <a:pt x="741" y="31"/>
                  <a:pt x="741" y="30"/>
                </a:cubicBezTo>
                <a:cubicBezTo>
                  <a:pt x="742" y="30"/>
                  <a:pt x="743" y="30"/>
                  <a:pt x="743" y="31"/>
                </a:cubicBezTo>
                <a:cubicBezTo>
                  <a:pt x="744" y="31"/>
                  <a:pt x="745" y="31"/>
                  <a:pt x="746" y="30"/>
                </a:cubicBezTo>
                <a:cubicBezTo>
                  <a:pt x="746" y="29"/>
                  <a:pt x="748" y="29"/>
                  <a:pt x="749" y="29"/>
                </a:cubicBezTo>
                <a:cubicBezTo>
                  <a:pt x="750" y="29"/>
                  <a:pt x="751" y="29"/>
                  <a:pt x="751" y="28"/>
                </a:cubicBezTo>
                <a:cubicBezTo>
                  <a:pt x="751" y="27"/>
                  <a:pt x="751" y="27"/>
                  <a:pt x="751" y="27"/>
                </a:cubicBezTo>
                <a:cubicBezTo>
                  <a:pt x="752" y="27"/>
                  <a:pt x="753" y="27"/>
                  <a:pt x="753" y="27"/>
                </a:cubicBezTo>
                <a:cubicBezTo>
                  <a:pt x="753" y="26"/>
                  <a:pt x="754" y="27"/>
                  <a:pt x="754" y="27"/>
                </a:cubicBezTo>
                <a:cubicBezTo>
                  <a:pt x="754" y="26"/>
                  <a:pt x="754" y="26"/>
                  <a:pt x="755" y="26"/>
                </a:cubicBezTo>
                <a:cubicBezTo>
                  <a:pt x="756" y="26"/>
                  <a:pt x="755" y="25"/>
                  <a:pt x="756" y="25"/>
                </a:cubicBezTo>
                <a:cubicBezTo>
                  <a:pt x="756" y="25"/>
                  <a:pt x="757" y="25"/>
                  <a:pt x="757" y="26"/>
                </a:cubicBezTo>
                <a:cubicBezTo>
                  <a:pt x="758" y="26"/>
                  <a:pt x="759" y="24"/>
                  <a:pt x="759" y="25"/>
                </a:cubicBezTo>
                <a:cubicBezTo>
                  <a:pt x="759" y="24"/>
                  <a:pt x="758" y="23"/>
                  <a:pt x="757" y="23"/>
                </a:cubicBezTo>
                <a:cubicBezTo>
                  <a:pt x="755" y="22"/>
                  <a:pt x="753" y="22"/>
                  <a:pt x="751" y="23"/>
                </a:cubicBezTo>
                <a:cubicBezTo>
                  <a:pt x="751" y="22"/>
                  <a:pt x="748" y="22"/>
                  <a:pt x="748" y="22"/>
                </a:cubicBezTo>
                <a:cubicBezTo>
                  <a:pt x="747" y="22"/>
                  <a:pt x="746" y="22"/>
                  <a:pt x="745" y="22"/>
                </a:cubicBezTo>
                <a:cubicBezTo>
                  <a:pt x="743" y="21"/>
                  <a:pt x="741" y="21"/>
                  <a:pt x="740" y="21"/>
                </a:cubicBezTo>
                <a:cubicBezTo>
                  <a:pt x="739" y="21"/>
                  <a:pt x="739" y="22"/>
                  <a:pt x="738" y="22"/>
                </a:cubicBezTo>
                <a:cubicBezTo>
                  <a:pt x="738" y="21"/>
                  <a:pt x="738" y="21"/>
                  <a:pt x="737" y="21"/>
                </a:cubicBezTo>
                <a:cubicBezTo>
                  <a:pt x="736" y="21"/>
                  <a:pt x="735" y="21"/>
                  <a:pt x="734" y="21"/>
                </a:cubicBezTo>
                <a:cubicBezTo>
                  <a:pt x="734" y="21"/>
                  <a:pt x="734" y="22"/>
                  <a:pt x="734" y="22"/>
                </a:cubicBezTo>
                <a:cubicBezTo>
                  <a:pt x="734" y="23"/>
                  <a:pt x="732" y="23"/>
                  <a:pt x="731" y="23"/>
                </a:cubicBezTo>
                <a:cubicBezTo>
                  <a:pt x="731" y="23"/>
                  <a:pt x="729" y="23"/>
                  <a:pt x="729" y="24"/>
                </a:cubicBezTo>
                <a:cubicBezTo>
                  <a:pt x="729" y="24"/>
                  <a:pt x="729" y="25"/>
                  <a:pt x="729" y="25"/>
                </a:cubicBezTo>
                <a:cubicBezTo>
                  <a:pt x="727" y="25"/>
                  <a:pt x="726" y="24"/>
                  <a:pt x="725" y="23"/>
                </a:cubicBezTo>
                <a:cubicBezTo>
                  <a:pt x="724" y="24"/>
                  <a:pt x="724" y="26"/>
                  <a:pt x="724" y="24"/>
                </a:cubicBezTo>
                <a:cubicBezTo>
                  <a:pt x="724" y="24"/>
                  <a:pt x="723" y="24"/>
                  <a:pt x="723" y="23"/>
                </a:cubicBezTo>
                <a:cubicBezTo>
                  <a:pt x="723" y="22"/>
                  <a:pt x="723" y="23"/>
                  <a:pt x="722" y="22"/>
                </a:cubicBezTo>
                <a:cubicBezTo>
                  <a:pt x="722" y="23"/>
                  <a:pt x="721" y="23"/>
                  <a:pt x="721" y="24"/>
                </a:cubicBezTo>
                <a:cubicBezTo>
                  <a:pt x="720" y="24"/>
                  <a:pt x="720" y="24"/>
                  <a:pt x="719" y="25"/>
                </a:cubicBezTo>
                <a:cubicBezTo>
                  <a:pt x="719" y="25"/>
                  <a:pt x="719" y="25"/>
                  <a:pt x="718" y="25"/>
                </a:cubicBezTo>
                <a:cubicBezTo>
                  <a:pt x="718" y="26"/>
                  <a:pt x="718" y="25"/>
                  <a:pt x="717" y="25"/>
                </a:cubicBezTo>
                <a:cubicBezTo>
                  <a:pt x="717" y="25"/>
                  <a:pt x="718" y="26"/>
                  <a:pt x="717" y="26"/>
                </a:cubicBezTo>
                <a:cubicBezTo>
                  <a:pt x="717" y="26"/>
                  <a:pt x="716" y="26"/>
                  <a:pt x="716" y="26"/>
                </a:cubicBezTo>
                <a:cubicBezTo>
                  <a:pt x="715" y="26"/>
                  <a:pt x="715" y="27"/>
                  <a:pt x="714" y="28"/>
                </a:cubicBezTo>
                <a:cubicBezTo>
                  <a:pt x="712" y="28"/>
                  <a:pt x="710" y="29"/>
                  <a:pt x="708" y="29"/>
                </a:cubicBezTo>
                <a:cubicBezTo>
                  <a:pt x="707" y="29"/>
                  <a:pt x="704" y="28"/>
                  <a:pt x="704" y="29"/>
                </a:cubicBezTo>
                <a:cubicBezTo>
                  <a:pt x="704" y="29"/>
                  <a:pt x="702" y="29"/>
                  <a:pt x="702" y="29"/>
                </a:cubicBezTo>
                <a:cubicBezTo>
                  <a:pt x="702" y="29"/>
                  <a:pt x="701" y="28"/>
                  <a:pt x="702" y="28"/>
                </a:cubicBezTo>
                <a:cubicBezTo>
                  <a:pt x="702" y="28"/>
                  <a:pt x="704" y="27"/>
                  <a:pt x="704" y="26"/>
                </a:cubicBezTo>
                <a:cubicBezTo>
                  <a:pt x="706" y="26"/>
                  <a:pt x="705" y="27"/>
                  <a:pt x="706" y="27"/>
                </a:cubicBezTo>
                <a:cubicBezTo>
                  <a:pt x="707" y="27"/>
                  <a:pt x="708" y="27"/>
                  <a:pt x="708" y="26"/>
                </a:cubicBezTo>
                <a:cubicBezTo>
                  <a:pt x="709" y="25"/>
                  <a:pt x="709" y="25"/>
                  <a:pt x="710" y="25"/>
                </a:cubicBezTo>
                <a:cubicBezTo>
                  <a:pt x="711" y="25"/>
                  <a:pt x="711" y="25"/>
                  <a:pt x="711" y="24"/>
                </a:cubicBezTo>
                <a:cubicBezTo>
                  <a:pt x="712" y="24"/>
                  <a:pt x="713" y="23"/>
                  <a:pt x="713" y="23"/>
                </a:cubicBezTo>
                <a:cubicBezTo>
                  <a:pt x="713" y="23"/>
                  <a:pt x="712" y="22"/>
                  <a:pt x="713" y="22"/>
                </a:cubicBezTo>
                <a:cubicBezTo>
                  <a:pt x="713" y="22"/>
                  <a:pt x="713" y="22"/>
                  <a:pt x="713" y="21"/>
                </a:cubicBezTo>
                <a:cubicBezTo>
                  <a:pt x="713" y="21"/>
                  <a:pt x="713" y="21"/>
                  <a:pt x="714" y="21"/>
                </a:cubicBezTo>
                <a:cubicBezTo>
                  <a:pt x="713" y="20"/>
                  <a:pt x="714" y="19"/>
                  <a:pt x="712" y="19"/>
                </a:cubicBezTo>
                <a:cubicBezTo>
                  <a:pt x="712" y="19"/>
                  <a:pt x="711" y="19"/>
                  <a:pt x="710" y="19"/>
                </a:cubicBezTo>
                <a:cubicBezTo>
                  <a:pt x="708" y="19"/>
                  <a:pt x="707" y="19"/>
                  <a:pt x="705" y="19"/>
                </a:cubicBezTo>
                <a:cubicBezTo>
                  <a:pt x="704" y="20"/>
                  <a:pt x="704" y="20"/>
                  <a:pt x="704" y="22"/>
                </a:cubicBezTo>
                <a:cubicBezTo>
                  <a:pt x="704" y="22"/>
                  <a:pt x="704" y="23"/>
                  <a:pt x="704" y="23"/>
                </a:cubicBezTo>
                <a:cubicBezTo>
                  <a:pt x="704" y="23"/>
                  <a:pt x="703" y="23"/>
                  <a:pt x="703" y="22"/>
                </a:cubicBezTo>
                <a:cubicBezTo>
                  <a:pt x="701" y="22"/>
                  <a:pt x="699" y="22"/>
                  <a:pt x="697" y="23"/>
                </a:cubicBezTo>
                <a:cubicBezTo>
                  <a:pt x="696" y="23"/>
                  <a:pt x="697" y="23"/>
                  <a:pt x="696" y="23"/>
                </a:cubicBezTo>
                <a:cubicBezTo>
                  <a:pt x="696" y="23"/>
                  <a:pt x="696" y="23"/>
                  <a:pt x="695" y="23"/>
                </a:cubicBezTo>
                <a:cubicBezTo>
                  <a:pt x="695" y="23"/>
                  <a:pt x="694" y="23"/>
                  <a:pt x="693" y="23"/>
                </a:cubicBezTo>
                <a:cubicBezTo>
                  <a:pt x="694" y="22"/>
                  <a:pt x="694" y="21"/>
                  <a:pt x="694" y="19"/>
                </a:cubicBezTo>
                <a:cubicBezTo>
                  <a:pt x="692" y="19"/>
                  <a:pt x="690" y="19"/>
                  <a:pt x="688" y="19"/>
                </a:cubicBezTo>
                <a:cubicBezTo>
                  <a:pt x="686" y="19"/>
                  <a:pt x="684" y="19"/>
                  <a:pt x="682" y="19"/>
                </a:cubicBezTo>
                <a:cubicBezTo>
                  <a:pt x="682" y="19"/>
                  <a:pt x="682" y="19"/>
                  <a:pt x="681" y="19"/>
                </a:cubicBezTo>
                <a:cubicBezTo>
                  <a:pt x="681" y="19"/>
                  <a:pt x="681" y="20"/>
                  <a:pt x="681" y="20"/>
                </a:cubicBezTo>
                <a:cubicBezTo>
                  <a:pt x="680" y="20"/>
                  <a:pt x="680" y="20"/>
                  <a:pt x="679" y="20"/>
                </a:cubicBezTo>
                <a:cubicBezTo>
                  <a:pt x="678" y="20"/>
                  <a:pt x="679" y="20"/>
                  <a:pt x="679" y="20"/>
                </a:cubicBezTo>
                <a:cubicBezTo>
                  <a:pt x="678" y="20"/>
                  <a:pt x="677" y="20"/>
                  <a:pt x="676" y="20"/>
                </a:cubicBezTo>
                <a:cubicBezTo>
                  <a:pt x="676" y="20"/>
                  <a:pt x="673" y="19"/>
                  <a:pt x="673" y="20"/>
                </a:cubicBezTo>
                <a:cubicBezTo>
                  <a:pt x="672" y="20"/>
                  <a:pt x="672" y="20"/>
                  <a:pt x="671" y="20"/>
                </a:cubicBezTo>
                <a:cubicBezTo>
                  <a:pt x="671" y="20"/>
                  <a:pt x="670" y="20"/>
                  <a:pt x="670" y="20"/>
                </a:cubicBezTo>
                <a:cubicBezTo>
                  <a:pt x="670" y="20"/>
                  <a:pt x="669" y="20"/>
                  <a:pt x="669" y="20"/>
                </a:cubicBezTo>
                <a:cubicBezTo>
                  <a:pt x="669" y="21"/>
                  <a:pt x="669" y="21"/>
                  <a:pt x="669" y="21"/>
                </a:cubicBezTo>
                <a:cubicBezTo>
                  <a:pt x="668" y="21"/>
                  <a:pt x="668" y="21"/>
                  <a:pt x="668" y="21"/>
                </a:cubicBezTo>
                <a:cubicBezTo>
                  <a:pt x="667" y="22"/>
                  <a:pt x="667" y="22"/>
                  <a:pt x="666" y="22"/>
                </a:cubicBezTo>
                <a:cubicBezTo>
                  <a:pt x="665" y="23"/>
                  <a:pt x="663" y="22"/>
                  <a:pt x="662" y="22"/>
                </a:cubicBezTo>
                <a:cubicBezTo>
                  <a:pt x="661" y="22"/>
                  <a:pt x="661" y="23"/>
                  <a:pt x="661" y="23"/>
                </a:cubicBezTo>
                <a:cubicBezTo>
                  <a:pt x="660" y="23"/>
                  <a:pt x="660" y="24"/>
                  <a:pt x="660" y="24"/>
                </a:cubicBezTo>
                <a:cubicBezTo>
                  <a:pt x="660" y="24"/>
                  <a:pt x="659" y="24"/>
                  <a:pt x="658" y="24"/>
                </a:cubicBezTo>
                <a:cubicBezTo>
                  <a:pt x="659" y="22"/>
                  <a:pt x="661" y="22"/>
                  <a:pt x="663" y="22"/>
                </a:cubicBezTo>
                <a:cubicBezTo>
                  <a:pt x="663" y="22"/>
                  <a:pt x="666" y="21"/>
                  <a:pt x="666" y="21"/>
                </a:cubicBezTo>
                <a:cubicBezTo>
                  <a:pt x="666" y="21"/>
                  <a:pt x="667" y="20"/>
                  <a:pt x="667" y="20"/>
                </a:cubicBezTo>
                <a:cubicBezTo>
                  <a:pt x="668" y="20"/>
                  <a:pt x="670" y="20"/>
                  <a:pt x="671" y="19"/>
                </a:cubicBezTo>
                <a:cubicBezTo>
                  <a:pt x="671" y="19"/>
                  <a:pt x="671" y="19"/>
                  <a:pt x="671" y="19"/>
                </a:cubicBezTo>
                <a:cubicBezTo>
                  <a:pt x="671" y="18"/>
                  <a:pt x="671" y="18"/>
                  <a:pt x="672" y="18"/>
                </a:cubicBezTo>
                <a:cubicBezTo>
                  <a:pt x="672" y="18"/>
                  <a:pt x="673" y="18"/>
                  <a:pt x="673" y="18"/>
                </a:cubicBezTo>
                <a:cubicBezTo>
                  <a:pt x="673" y="17"/>
                  <a:pt x="674" y="18"/>
                  <a:pt x="674" y="17"/>
                </a:cubicBezTo>
                <a:cubicBezTo>
                  <a:pt x="674" y="17"/>
                  <a:pt x="673" y="17"/>
                  <a:pt x="674" y="17"/>
                </a:cubicBezTo>
                <a:cubicBezTo>
                  <a:pt x="675" y="17"/>
                  <a:pt x="676" y="17"/>
                  <a:pt x="676" y="17"/>
                </a:cubicBezTo>
                <a:cubicBezTo>
                  <a:pt x="677" y="17"/>
                  <a:pt x="677" y="17"/>
                  <a:pt x="678" y="17"/>
                </a:cubicBezTo>
                <a:cubicBezTo>
                  <a:pt x="679" y="17"/>
                  <a:pt x="681" y="17"/>
                  <a:pt x="683" y="17"/>
                </a:cubicBezTo>
                <a:cubicBezTo>
                  <a:pt x="683" y="17"/>
                  <a:pt x="684" y="17"/>
                  <a:pt x="685" y="17"/>
                </a:cubicBezTo>
                <a:cubicBezTo>
                  <a:pt x="685" y="17"/>
                  <a:pt x="686" y="17"/>
                  <a:pt x="686" y="17"/>
                </a:cubicBezTo>
                <a:cubicBezTo>
                  <a:pt x="686" y="17"/>
                  <a:pt x="686" y="17"/>
                  <a:pt x="687" y="17"/>
                </a:cubicBezTo>
                <a:cubicBezTo>
                  <a:pt x="687" y="17"/>
                  <a:pt x="688" y="17"/>
                  <a:pt x="688" y="18"/>
                </a:cubicBezTo>
                <a:cubicBezTo>
                  <a:pt x="691" y="17"/>
                  <a:pt x="693" y="18"/>
                  <a:pt x="695" y="18"/>
                </a:cubicBezTo>
                <a:cubicBezTo>
                  <a:pt x="695" y="16"/>
                  <a:pt x="704" y="18"/>
                  <a:pt x="705" y="18"/>
                </a:cubicBezTo>
                <a:cubicBezTo>
                  <a:pt x="705" y="18"/>
                  <a:pt x="707" y="18"/>
                  <a:pt x="707" y="18"/>
                </a:cubicBezTo>
                <a:cubicBezTo>
                  <a:pt x="707" y="17"/>
                  <a:pt x="713" y="17"/>
                  <a:pt x="713" y="17"/>
                </a:cubicBezTo>
                <a:cubicBezTo>
                  <a:pt x="713" y="18"/>
                  <a:pt x="716" y="17"/>
                  <a:pt x="716" y="16"/>
                </a:cubicBezTo>
                <a:cubicBezTo>
                  <a:pt x="717" y="15"/>
                  <a:pt x="717" y="15"/>
                  <a:pt x="719" y="15"/>
                </a:cubicBezTo>
                <a:cubicBezTo>
                  <a:pt x="720" y="15"/>
                  <a:pt x="720" y="14"/>
                  <a:pt x="721" y="14"/>
                </a:cubicBezTo>
                <a:cubicBezTo>
                  <a:pt x="721" y="13"/>
                  <a:pt x="721" y="13"/>
                  <a:pt x="720" y="13"/>
                </a:cubicBezTo>
                <a:cubicBezTo>
                  <a:pt x="719" y="12"/>
                  <a:pt x="719" y="12"/>
                  <a:pt x="718" y="12"/>
                </a:cubicBezTo>
                <a:cubicBezTo>
                  <a:pt x="717" y="12"/>
                  <a:pt x="717" y="12"/>
                  <a:pt x="717" y="11"/>
                </a:cubicBezTo>
                <a:cubicBezTo>
                  <a:pt x="716" y="11"/>
                  <a:pt x="716" y="11"/>
                  <a:pt x="715" y="11"/>
                </a:cubicBezTo>
                <a:cubicBezTo>
                  <a:pt x="714" y="11"/>
                  <a:pt x="713" y="11"/>
                  <a:pt x="712" y="11"/>
                </a:cubicBezTo>
                <a:cubicBezTo>
                  <a:pt x="711" y="11"/>
                  <a:pt x="711" y="12"/>
                  <a:pt x="711" y="11"/>
                </a:cubicBezTo>
                <a:cubicBezTo>
                  <a:pt x="710" y="10"/>
                  <a:pt x="710" y="10"/>
                  <a:pt x="710" y="10"/>
                </a:cubicBezTo>
                <a:cubicBezTo>
                  <a:pt x="710" y="10"/>
                  <a:pt x="710" y="10"/>
                  <a:pt x="709" y="10"/>
                </a:cubicBezTo>
                <a:cubicBezTo>
                  <a:pt x="709" y="10"/>
                  <a:pt x="709" y="10"/>
                  <a:pt x="709" y="9"/>
                </a:cubicBezTo>
                <a:cubicBezTo>
                  <a:pt x="708" y="9"/>
                  <a:pt x="708" y="9"/>
                  <a:pt x="708" y="10"/>
                </a:cubicBezTo>
                <a:cubicBezTo>
                  <a:pt x="707" y="10"/>
                  <a:pt x="707" y="11"/>
                  <a:pt x="707" y="10"/>
                </a:cubicBezTo>
                <a:cubicBezTo>
                  <a:pt x="707" y="9"/>
                  <a:pt x="707" y="9"/>
                  <a:pt x="706" y="9"/>
                </a:cubicBezTo>
                <a:cubicBezTo>
                  <a:pt x="706" y="9"/>
                  <a:pt x="705" y="9"/>
                  <a:pt x="705" y="9"/>
                </a:cubicBezTo>
                <a:cubicBezTo>
                  <a:pt x="703" y="9"/>
                  <a:pt x="703" y="10"/>
                  <a:pt x="702" y="11"/>
                </a:cubicBezTo>
                <a:cubicBezTo>
                  <a:pt x="701" y="11"/>
                  <a:pt x="700" y="11"/>
                  <a:pt x="699" y="11"/>
                </a:cubicBezTo>
                <a:cubicBezTo>
                  <a:pt x="698" y="10"/>
                  <a:pt x="700" y="11"/>
                  <a:pt x="700" y="10"/>
                </a:cubicBezTo>
                <a:cubicBezTo>
                  <a:pt x="700" y="9"/>
                  <a:pt x="703" y="10"/>
                  <a:pt x="703" y="8"/>
                </a:cubicBezTo>
                <a:cubicBezTo>
                  <a:pt x="703" y="8"/>
                  <a:pt x="703" y="7"/>
                  <a:pt x="702" y="6"/>
                </a:cubicBezTo>
                <a:cubicBezTo>
                  <a:pt x="701" y="5"/>
                  <a:pt x="701" y="5"/>
                  <a:pt x="700" y="5"/>
                </a:cubicBezTo>
                <a:cubicBezTo>
                  <a:pt x="699" y="5"/>
                  <a:pt x="699" y="4"/>
                  <a:pt x="698" y="5"/>
                </a:cubicBezTo>
                <a:cubicBezTo>
                  <a:pt x="697" y="5"/>
                  <a:pt x="697" y="6"/>
                  <a:pt x="696" y="6"/>
                </a:cubicBezTo>
                <a:cubicBezTo>
                  <a:pt x="696" y="7"/>
                  <a:pt x="696" y="7"/>
                  <a:pt x="695" y="7"/>
                </a:cubicBezTo>
                <a:cubicBezTo>
                  <a:pt x="694" y="7"/>
                  <a:pt x="694" y="7"/>
                  <a:pt x="694" y="7"/>
                </a:cubicBezTo>
                <a:cubicBezTo>
                  <a:pt x="693" y="7"/>
                  <a:pt x="692" y="8"/>
                  <a:pt x="691" y="8"/>
                </a:cubicBezTo>
                <a:cubicBezTo>
                  <a:pt x="689" y="8"/>
                  <a:pt x="690" y="7"/>
                  <a:pt x="691" y="6"/>
                </a:cubicBezTo>
                <a:cubicBezTo>
                  <a:pt x="692" y="6"/>
                  <a:pt x="692" y="5"/>
                  <a:pt x="693" y="5"/>
                </a:cubicBezTo>
                <a:cubicBezTo>
                  <a:pt x="694" y="5"/>
                  <a:pt x="694" y="5"/>
                  <a:pt x="694" y="4"/>
                </a:cubicBezTo>
                <a:cubicBezTo>
                  <a:pt x="695" y="4"/>
                  <a:pt x="695" y="4"/>
                  <a:pt x="695" y="3"/>
                </a:cubicBezTo>
                <a:cubicBezTo>
                  <a:pt x="695" y="3"/>
                  <a:pt x="694" y="3"/>
                  <a:pt x="694" y="3"/>
                </a:cubicBezTo>
                <a:cubicBezTo>
                  <a:pt x="694" y="3"/>
                  <a:pt x="693" y="2"/>
                  <a:pt x="693" y="3"/>
                </a:cubicBezTo>
                <a:cubicBezTo>
                  <a:pt x="693" y="2"/>
                  <a:pt x="693" y="2"/>
                  <a:pt x="693" y="3"/>
                </a:cubicBezTo>
                <a:cubicBezTo>
                  <a:pt x="693" y="3"/>
                  <a:pt x="691" y="3"/>
                  <a:pt x="691" y="3"/>
                </a:cubicBezTo>
                <a:cubicBezTo>
                  <a:pt x="689" y="3"/>
                  <a:pt x="688" y="3"/>
                  <a:pt x="686" y="3"/>
                </a:cubicBezTo>
                <a:cubicBezTo>
                  <a:pt x="686" y="3"/>
                  <a:pt x="685" y="3"/>
                  <a:pt x="685" y="3"/>
                </a:cubicBezTo>
                <a:cubicBezTo>
                  <a:pt x="685" y="3"/>
                  <a:pt x="685" y="2"/>
                  <a:pt x="685" y="2"/>
                </a:cubicBezTo>
                <a:cubicBezTo>
                  <a:pt x="685" y="2"/>
                  <a:pt x="684" y="2"/>
                  <a:pt x="684" y="2"/>
                </a:cubicBezTo>
                <a:cubicBezTo>
                  <a:pt x="683" y="2"/>
                  <a:pt x="684" y="2"/>
                  <a:pt x="684" y="2"/>
                </a:cubicBezTo>
                <a:cubicBezTo>
                  <a:pt x="683" y="2"/>
                  <a:pt x="682" y="2"/>
                  <a:pt x="682" y="2"/>
                </a:cubicBezTo>
                <a:cubicBezTo>
                  <a:pt x="681" y="2"/>
                  <a:pt x="681" y="2"/>
                  <a:pt x="680" y="1"/>
                </a:cubicBezTo>
                <a:cubicBezTo>
                  <a:pt x="680" y="2"/>
                  <a:pt x="680" y="2"/>
                  <a:pt x="680" y="2"/>
                </a:cubicBezTo>
                <a:cubicBezTo>
                  <a:pt x="679" y="2"/>
                  <a:pt x="678" y="2"/>
                  <a:pt x="678" y="2"/>
                </a:cubicBezTo>
                <a:cubicBezTo>
                  <a:pt x="676" y="2"/>
                  <a:pt x="675" y="3"/>
                  <a:pt x="673" y="3"/>
                </a:cubicBezTo>
                <a:cubicBezTo>
                  <a:pt x="673" y="2"/>
                  <a:pt x="671" y="2"/>
                  <a:pt x="671" y="2"/>
                </a:cubicBezTo>
                <a:cubicBezTo>
                  <a:pt x="669" y="2"/>
                  <a:pt x="669" y="1"/>
                  <a:pt x="668" y="1"/>
                </a:cubicBezTo>
                <a:cubicBezTo>
                  <a:pt x="668" y="1"/>
                  <a:pt x="668" y="1"/>
                  <a:pt x="668" y="0"/>
                </a:cubicBezTo>
                <a:cubicBezTo>
                  <a:pt x="667" y="0"/>
                  <a:pt x="667" y="0"/>
                  <a:pt x="666" y="1"/>
                </a:cubicBezTo>
                <a:cubicBezTo>
                  <a:pt x="664" y="2"/>
                  <a:pt x="663" y="2"/>
                  <a:pt x="661" y="1"/>
                </a:cubicBezTo>
                <a:cubicBezTo>
                  <a:pt x="660" y="1"/>
                  <a:pt x="657" y="0"/>
                  <a:pt x="657" y="1"/>
                </a:cubicBezTo>
                <a:cubicBezTo>
                  <a:pt x="655" y="1"/>
                  <a:pt x="653" y="1"/>
                  <a:pt x="651" y="1"/>
                </a:cubicBezTo>
                <a:cubicBezTo>
                  <a:pt x="650" y="1"/>
                  <a:pt x="649" y="1"/>
                  <a:pt x="648" y="1"/>
                </a:cubicBezTo>
                <a:cubicBezTo>
                  <a:pt x="647" y="1"/>
                  <a:pt x="648" y="1"/>
                  <a:pt x="647" y="1"/>
                </a:cubicBezTo>
                <a:cubicBezTo>
                  <a:pt x="646" y="1"/>
                  <a:pt x="646" y="1"/>
                  <a:pt x="645" y="1"/>
                </a:cubicBezTo>
                <a:cubicBezTo>
                  <a:pt x="644" y="1"/>
                  <a:pt x="644" y="0"/>
                  <a:pt x="643" y="0"/>
                </a:cubicBezTo>
                <a:cubicBezTo>
                  <a:pt x="642" y="1"/>
                  <a:pt x="642" y="1"/>
                  <a:pt x="642" y="2"/>
                </a:cubicBezTo>
                <a:cubicBezTo>
                  <a:pt x="641" y="2"/>
                  <a:pt x="639" y="1"/>
                  <a:pt x="638" y="1"/>
                </a:cubicBezTo>
                <a:cubicBezTo>
                  <a:pt x="638" y="1"/>
                  <a:pt x="638" y="1"/>
                  <a:pt x="638" y="1"/>
                </a:cubicBezTo>
                <a:cubicBezTo>
                  <a:pt x="638" y="2"/>
                  <a:pt x="638" y="2"/>
                  <a:pt x="638" y="3"/>
                </a:cubicBezTo>
                <a:cubicBezTo>
                  <a:pt x="638" y="3"/>
                  <a:pt x="638" y="2"/>
                  <a:pt x="638" y="3"/>
                </a:cubicBezTo>
                <a:cubicBezTo>
                  <a:pt x="637" y="3"/>
                  <a:pt x="638" y="3"/>
                  <a:pt x="637" y="3"/>
                </a:cubicBezTo>
                <a:cubicBezTo>
                  <a:pt x="637" y="3"/>
                  <a:pt x="636" y="3"/>
                  <a:pt x="635" y="3"/>
                </a:cubicBezTo>
                <a:cubicBezTo>
                  <a:pt x="635" y="3"/>
                  <a:pt x="634" y="3"/>
                  <a:pt x="633" y="3"/>
                </a:cubicBezTo>
                <a:cubicBezTo>
                  <a:pt x="633" y="2"/>
                  <a:pt x="633" y="3"/>
                  <a:pt x="632" y="4"/>
                </a:cubicBezTo>
                <a:cubicBezTo>
                  <a:pt x="632" y="4"/>
                  <a:pt x="631" y="4"/>
                  <a:pt x="631" y="5"/>
                </a:cubicBezTo>
                <a:cubicBezTo>
                  <a:pt x="631" y="5"/>
                  <a:pt x="633" y="5"/>
                  <a:pt x="634" y="5"/>
                </a:cubicBezTo>
                <a:cubicBezTo>
                  <a:pt x="633" y="6"/>
                  <a:pt x="632" y="6"/>
                  <a:pt x="631" y="6"/>
                </a:cubicBezTo>
                <a:cubicBezTo>
                  <a:pt x="631" y="5"/>
                  <a:pt x="630" y="5"/>
                  <a:pt x="630" y="5"/>
                </a:cubicBezTo>
                <a:cubicBezTo>
                  <a:pt x="629" y="5"/>
                  <a:pt x="629" y="6"/>
                  <a:pt x="629" y="6"/>
                </a:cubicBezTo>
                <a:cubicBezTo>
                  <a:pt x="629" y="6"/>
                  <a:pt x="628" y="6"/>
                  <a:pt x="628" y="7"/>
                </a:cubicBezTo>
                <a:cubicBezTo>
                  <a:pt x="628" y="7"/>
                  <a:pt x="628" y="8"/>
                  <a:pt x="629" y="8"/>
                </a:cubicBezTo>
                <a:cubicBezTo>
                  <a:pt x="629" y="8"/>
                  <a:pt x="629" y="8"/>
                  <a:pt x="630" y="8"/>
                </a:cubicBezTo>
                <a:cubicBezTo>
                  <a:pt x="630" y="8"/>
                  <a:pt x="630" y="8"/>
                  <a:pt x="630" y="9"/>
                </a:cubicBezTo>
                <a:cubicBezTo>
                  <a:pt x="630" y="9"/>
                  <a:pt x="631" y="10"/>
                  <a:pt x="631" y="10"/>
                </a:cubicBezTo>
                <a:cubicBezTo>
                  <a:pt x="631" y="10"/>
                  <a:pt x="630" y="10"/>
                  <a:pt x="630" y="10"/>
                </a:cubicBezTo>
                <a:cubicBezTo>
                  <a:pt x="630" y="9"/>
                  <a:pt x="629" y="9"/>
                  <a:pt x="629" y="8"/>
                </a:cubicBezTo>
                <a:cubicBezTo>
                  <a:pt x="628" y="8"/>
                  <a:pt x="628" y="8"/>
                  <a:pt x="627" y="7"/>
                </a:cubicBezTo>
                <a:cubicBezTo>
                  <a:pt x="627" y="7"/>
                  <a:pt x="626" y="7"/>
                  <a:pt x="626" y="7"/>
                </a:cubicBezTo>
                <a:cubicBezTo>
                  <a:pt x="626" y="8"/>
                  <a:pt x="627" y="8"/>
                  <a:pt x="627" y="9"/>
                </a:cubicBezTo>
                <a:cubicBezTo>
                  <a:pt x="626" y="9"/>
                  <a:pt x="626" y="8"/>
                  <a:pt x="625" y="8"/>
                </a:cubicBezTo>
                <a:cubicBezTo>
                  <a:pt x="624" y="9"/>
                  <a:pt x="624" y="10"/>
                  <a:pt x="624" y="10"/>
                </a:cubicBezTo>
                <a:cubicBezTo>
                  <a:pt x="623" y="10"/>
                  <a:pt x="621" y="9"/>
                  <a:pt x="620" y="8"/>
                </a:cubicBezTo>
                <a:cubicBezTo>
                  <a:pt x="620" y="7"/>
                  <a:pt x="621" y="6"/>
                  <a:pt x="620" y="6"/>
                </a:cubicBezTo>
                <a:cubicBezTo>
                  <a:pt x="618" y="5"/>
                  <a:pt x="615" y="5"/>
                  <a:pt x="613" y="5"/>
                </a:cubicBezTo>
                <a:cubicBezTo>
                  <a:pt x="614" y="6"/>
                  <a:pt x="614" y="6"/>
                  <a:pt x="614" y="7"/>
                </a:cubicBezTo>
                <a:cubicBezTo>
                  <a:pt x="613" y="7"/>
                  <a:pt x="612" y="7"/>
                  <a:pt x="612" y="6"/>
                </a:cubicBezTo>
                <a:cubicBezTo>
                  <a:pt x="611" y="6"/>
                  <a:pt x="611" y="7"/>
                  <a:pt x="611" y="7"/>
                </a:cubicBezTo>
                <a:cubicBezTo>
                  <a:pt x="610" y="7"/>
                  <a:pt x="610" y="6"/>
                  <a:pt x="609" y="6"/>
                </a:cubicBezTo>
                <a:cubicBezTo>
                  <a:pt x="609" y="7"/>
                  <a:pt x="609" y="7"/>
                  <a:pt x="610" y="8"/>
                </a:cubicBezTo>
                <a:cubicBezTo>
                  <a:pt x="610" y="8"/>
                  <a:pt x="611" y="9"/>
                  <a:pt x="611" y="9"/>
                </a:cubicBezTo>
                <a:cubicBezTo>
                  <a:pt x="609" y="9"/>
                  <a:pt x="609" y="9"/>
                  <a:pt x="609" y="10"/>
                </a:cubicBezTo>
                <a:cubicBezTo>
                  <a:pt x="609" y="11"/>
                  <a:pt x="610" y="11"/>
                  <a:pt x="610" y="11"/>
                </a:cubicBezTo>
                <a:cubicBezTo>
                  <a:pt x="611" y="11"/>
                  <a:pt x="611" y="11"/>
                  <a:pt x="612" y="11"/>
                </a:cubicBezTo>
                <a:cubicBezTo>
                  <a:pt x="612" y="11"/>
                  <a:pt x="612" y="11"/>
                  <a:pt x="612" y="11"/>
                </a:cubicBezTo>
                <a:cubicBezTo>
                  <a:pt x="612" y="12"/>
                  <a:pt x="613" y="12"/>
                  <a:pt x="614" y="12"/>
                </a:cubicBezTo>
                <a:cubicBezTo>
                  <a:pt x="614" y="11"/>
                  <a:pt x="614" y="12"/>
                  <a:pt x="615" y="12"/>
                </a:cubicBezTo>
                <a:cubicBezTo>
                  <a:pt x="615" y="12"/>
                  <a:pt x="615" y="11"/>
                  <a:pt x="616" y="11"/>
                </a:cubicBezTo>
                <a:cubicBezTo>
                  <a:pt x="616" y="11"/>
                  <a:pt x="618" y="12"/>
                  <a:pt x="618" y="12"/>
                </a:cubicBezTo>
                <a:cubicBezTo>
                  <a:pt x="619" y="13"/>
                  <a:pt x="618" y="13"/>
                  <a:pt x="618" y="14"/>
                </a:cubicBezTo>
                <a:cubicBezTo>
                  <a:pt x="619" y="15"/>
                  <a:pt x="620" y="16"/>
                  <a:pt x="621" y="16"/>
                </a:cubicBezTo>
                <a:cubicBezTo>
                  <a:pt x="622" y="16"/>
                  <a:pt x="623" y="17"/>
                  <a:pt x="622" y="17"/>
                </a:cubicBezTo>
                <a:cubicBezTo>
                  <a:pt x="621" y="17"/>
                  <a:pt x="621" y="17"/>
                  <a:pt x="620" y="16"/>
                </a:cubicBezTo>
                <a:cubicBezTo>
                  <a:pt x="620" y="16"/>
                  <a:pt x="619" y="16"/>
                  <a:pt x="619" y="15"/>
                </a:cubicBezTo>
                <a:cubicBezTo>
                  <a:pt x="619" y="14"/>
                  <a:pt x="618" y="15"/>
                  <a:pt x="618" y="14"/>
                </a:cubicBezTo>
                <a:cubicBezTo>
                  <a:pt x="618" y="14"/>
                  <a:pt x="618" y="14"/>
                  <a:pt x="617" y="13"/>
                </a:cubicBezTo>
                <a:cubicBezTo>
                  <a:pt x="616" y="12"/>
                  <a:pt x="615" y="12"/>
                  <a:pt x="614" y="12"/>
                </a:cubicBezTo>
                <a:cubicBezTo>
                  <a:pt x="613" y="12"/>
                  <a:pt x="613" y="12"/>
                  <a:pt x="612" y="12"/>
                </a:cubicBezTo>
                <a:cubicBezTo>
                  <a:pt x="612" y="12"/>
                  <a:pt x="612" y="12"/>
                  <a:pt x="612" y="12"/>
                </a:cubicBezTo>
                <a:cubicBezTo>
                  <a:pt x="611" y="12"/>
                  <a:pt x="611" y="12"/>
                  <a:pt x="609" y="12"/>
                </a:cubicBezTo>
                <a:cubicBezTo>
                  <a:pt x="608" y="12"/>
                  <a:pt x="607" y="12"/>
                  <a:pt x="606" y="12"/>
                </a:cubicBezTo>
                <a:cubicBezTo>
                  <a:pt x="606" y="12"/>
                  <a:pt x="606" y="14"/>
                  <a:pt x="607" y="14"/>
                </a:cubicBezTo>
                <a:cubicBezTo>
                  <a:pt x="607" y="14"/>
                  <a:pt x="608" y="15"/>
                  <a:pt x="608" y="16"/>
                </a:cubicBezTo>
                <a:cubicBezTo>
                  <a:pt x="607" y="15"/>
                  <a:pt x="606" y="15"/>
                  <a:pt x="605" y="13"/>
                </a:cubicBezTo>
                <a:cubicBezTo>
                  <a:pt x="604" y="12"/>
                  <a:pt x="602" y="13"/>
                  <a:pt x="600" y="13"/>
                </a:cubicBezTo>
                <a:cubicBezTo>
                  <a:pt x="601" y="14"/>
                  <a:pt x="598" y="13"/>
                  <a:pt x="598" y="14"/>
                </a:cubicBezTo>
                <a:cubicBezTo>
                  <a:pt x="597" y="13"/>
                  <a:pt x="595" y="13"/>
                  <a:pt x="594" y="13"/>
                </a:cubicBezTo>
                <a:cubicBezTo>
                  <a:pt x="594" y="14"/>
                  <a:pt x="594" y="15"/>
                  <a:pt x="595" y="15"/>
                </a:cubicBezTo>
                <a:cubicBezTo>
                  <a:pt x="596" y="16"/>
                  <a:pt x="596" y="17"/>
                  <a:pt x="597" y="17"/>
                </a:cubicBezTo>
                <a:cubicBezTo>
                  <a:pt x="598" y="17"/>
                  <a:pt x="598" y="18"/>
                  <a:pt x="598" y="18"/>
                </a:cubicBezTo>
                <a:cubicBezTo>
                  <a:pt x="599" y="19"/>
                  <a:pt x="599" y="18"/>
                  <a:pt x="599" y="19"/>
                </a:cubicBezTo>
                <a:cubicBezTo>
                  <a:pt x="600" y="19"/>
                  <a:pt x="600" y="20"/>
                  <a:pt x="601" y="21"/>
                </a:cubicBezTo>
                <a:cubicBezTo>
                  <a:pt x="602" y="21"/>
                  <a:pt x="601" y="20"/>
                  <a:pt x="602" y="21"/>
                </a:cubicBezTo>
                <a:cubicBezTo>
                  <a:pt x="603" y="22"/>
                  <a:pt x="603" y="23"/>
                  <a:pt x="604" y="23"/>
                </a:cubicBezTo>
                <a:cubicBezTo>
                  <a:pt x="605" y="23"/>
                  <a:pt x="605" y="24"/>
                  <a:pt x="606" y="24"/>
                </a:cubicBezTo>
                <a:cubicBezTo>
                  <a:pt x="607" y="24"/>
                  <a:pt x="606" y="24"/>
                  <a:pt x="606" y="24"/>
                </a:cubicBezTo>
                <a:cubicBezTo>
                  <a:pt x="607" y="24"/>
                  <a:pt x="607" y="24"/>
                  <a:pt x="608" y="24"/>
                </a:cubicBezTo>
                <a:cubicBezTo>
                  <a:pt x="608" y="25"/>
                  <a:pt x="608" y="25"/>
                  <a:pt x="609" y="25"/>
                </a:cubicBezTo>
                <a:cubicBezTo>
                  <a:pt x="609" y="25"/>
                  <a:pt x="609" y="25"/>
                  <a:pt x="609" y="25"/>
                </a:cubicBezTo>
                <a:cubicBezTo>
                  <a:pt x="610" y="25"/>
                  <a:pt x="611" y="26"/>
                  <a:pt x="611" y="27"/>
                </a:cubicBezTo>
                <a:cubicBezTo>
                  <a:pt x="610" y="26"/>
                  <a:pt x="610" y="27"/>
                  <a:pt x="609" y="26"/>
                </a:cubicBezTo>
                <a:cubicBezTo>
                  <a:pt x="609" y="26"/>
                  <a:pt x="609" y="26"/>
                  <a:pt x="609" y="26"/>
                </a:cubicBezTo>
                <a:cubicBezTo>
                  <a:pt x="608" y="26"/>
                  <a:pt x="609" y="25"/>
                  <a:pt x="609" y="25"/>
                </a:cubicBezTo>
                <a:cubicBezTo>
                  <a:pt x="608" y="25"/>
                  <a:pt x="608" y="25"/>
                  <a:pt x="608" y="25"/>
                </a:cubicBezTo>
                <a:cubicBezTo>
                  <a:pt x="607" y="26"/>
                  <a:pt x="606" y="25"/>
                  <a:pt x="605" y="25"/>
                </a:cubicBezTo>
                <a:cubicBezTo>
                  <a:pt x="604" y="24"/>
                  <a:pt x="604" y="24"/>
                  <a:pt x="602" y="25"/>
                </a:cubicBezTo>
                <a:cubicBezTo>
                  <a:pt x="602" y="26"/>
                  <a:pt x="602" y="27"/>
                  <a:pt x="600" y="27"/>
                </a:cubicBezTo>
                <a:cubicBezTo>
                  <a:pt x="600" y="27"/>
                  <a:pt x="599" y="26"/>
                  <a:pt x="598" y="25"/>
                </a:cubicBezTo>
                <a:cubicBezTo>
                  <a:pt x="598" y="25"/>
                  <a:pt x="597" y="26"/>
                  <a:pt x="597" y="26"/>
                </a:cubicBezTo>
                <a:cubicBezTo>
                  <a:pt x="596" y="24"/>
                  <a:pt x="596" y="26"/>
                  <a:pt x="596" y="25"/>
                </a:cubicBezTo>
                <a:cubicBezTo>
                  <a:pt x="595" y="24"/>
                  <a:pt x="595" y="24"/>
                  <a:pt x="594" y="23"/>
                </a:cubicBezTo>
                <a:cubicBezTo>
                  <a:pt x="594" y="23"/>
                  <a:pt x="594" y="22"/>
                  <a:pt x="593" y="22"/>
                </a:cubicBezTo>
                <a:cubicBezTo>
                  <a:pt x="592" y="22"/>
                  <a:pt x="592" y="22"/>
                  <a:pt x="592" y="21"/>
                </a:cubicBezTo>
                <a:cubicBezTo>
                  <a:pt x="592" y="21"/>
                  <a:pt x="592" y="20"/>
                  <a:pt x="592" y="20"/>
                </a:cubicBezTo>
                <a:cubicBezTo>
                  <a:pt x="592" y="20"/>
                  <a:pt x="592" y="19"/>
                  <a:pt x="592" y="19"/>
                </a:cubicBezTo>
                <a:cubicBezTo>
                  <a:pt x="591" y="18"/>
                  <a:pt x="590" y="18"/>
                  <a:pt x="590" y="17"/>
                </a:cubicBezTo>
                <a:cubicBezTo>
                  <a:pt x="589" y="17"/>
                  <a:pt x="589" y="16"/>
                  <a:pt x="588" y="16"/>
                </a:cubicBezTo>
                <a:cubicBezTo>
                  <a:pt x="588" y="16"/>
                  <a:pt x="587" y="15"/>
                  <a:pt x="587" y="15"/>
                </a:cubicBezTo>
                <a:cubicBezTo>
                  <a:pt x="586" y="15"/>
                  <a:pt x="586" y="15"/>
                  <a:pt x="586" y="15"/>
                </a:cubicBezTo>
                <a:cubicBezTo>
                  <a:pt x="585" y="15"/>
                  <a:pt x="586" y="14"/>
                  <a:pt x="585" y="14"/>
                </a:cubicBezTo>
                <a:cubicBezTo>
                  <a:pt x="584" y="14"/>
                  <a:pt x="582" y="13"/>
                  <a:pt x="580" y="13"/>
                </a:cubicBezTo>
                <a:cubicBezTo>
                  <a:pt x="580" y="14"/>
                  <a:pt x="580" y="16"/>
                  <a:pt x="580" y="17"/>
                </a:cubicBezTo>
                <a:cubicBezTo>
                  <a:pt x="580" y="17"/>
                  <a:pt x="581" y="18"/>
                  <a:pt x="581" y="19"/>
                </a:cubicBezTo>
                <a:cubicBezTo>
                  <a:pt x="581" y="19"/>
                  <a:pt x="580" y="19"/>
                  <a:pt x="579" y="19"/>
                </a:cubicBezTo>
                <a:cubicBezTo>
                  <a:pt x="579" y="20"/>
                  <a:pt x="579" y="20"/>
                  <a:pt x="579" y="20"/>
                </a:cubicBezTo>
                <a:cubicBezTo>
                  <a:pt x="580" y="20"/>
                  <a:pt x="579" y="21"/>
                  <a:pt x="579" y="22"/>
                </a:cubicBezTo>
                <a:cubicBezTo>
                  <a:pt x="579" y="22"/>
                  <a:pt x="580" y="22"/>
                  <a:pt x="580" y="23"/>
                </a:cubicBezTo>
                <a:cubicBezTo>
                  <a:pt x="580" y="23"/>
                  <a:pt x="580" y="23"/>
                  <a:pt x="580" y="24"/>
                </a:cubicBezTo>
                <a:cubicBezTo>
                  <a:pt x="580" y="24"/>
                  <a:pt x="580" y="24"/>
                  <a:pt x="580" y="24"/>
                </a:cubicBezTo>
                <a:cubicBezTo>
                  <a:pt x="580" y="25"/>
                  <a:pt x="579" y="24"/>
                  <a:pt x="579" y="25"/>
                </a:cubicBezTo>
                <a:cubicBezTo>
                  <a:pt x="578" y="25"/>
                  <a:pt x="578" y="25"/>
                  <a:pt x="577" y="24"/>
                </a:cubicBezTo>
                <a:cubicBezTo>
                  <a:pt x="577" y="24"/>
                  <a:pt x="579" y="24"/>
                  <a:pt x="576" y="24"/>
                </a:cubicBezTo>
                <a:cubicBezTo>
                  <a:pt x="576" y="24"/>
                  <a:pt x="575" y="24"/>
                  <a:pt x="575" y="23"/>
                </a:cubicBezTo>
                <a:cubicBezTo>
                  <a:pt x="575" y="23"/>
                  <a:pt x="573" y="23"/>
                  <a:pt x="573" y="23"/>
                </a:cubicBezTo>
                <a:cubicBezTo>
                  <a:pt x="573" y="22"/>
                  <a:pt x="572" y="23"/>
                  <a:pt x="572" y="22"/>
                </a:cubicBezTo>
                <a:cubicBezTo>
                  <a:pt x="572" y="22"/>
                  <a:pt x="571" y="22"/>
                  <a:pt x="571" y="23"/>
                </a:cubicBezTo>
                <a:cubicBezTo>
                  <a:pt x="571" y="22"/>
                  <a:pt x="569" y="23"/>
                  <a:pt x="568" y="22"/>
                </a:cubicBezTo>
                <a:cubicBezTo>
                  <a:pt x="568" y="21"/>
                  <a:pt x="568" y="21"/>
                  <a:pt x="567" y="21"/>
                </a:cubicBezTo>
                <a:cubicBezTo>
                  <a:pt x="567" y="22"/>
                  <a:pt x="566" y="22"/>
                  <a:pt x="566" y="22"/>
                </a:cubicBezTo>
                <a:cubicBezTo>
                  <a:pt x="565" y="22"/>
                  <a:pt x="565" y="23"/>
                  <a:pt x="564" y="24"/>
                </a:cubicBezTo>
                <a:cubicBezTo>
                  <a:pt x="564" y="24"/>
                  <a:pt x="564" y="24"/>
                  <a:pt x="564" y="24"/>
                </a:cubicBezTo>
                <a:cubicBezTo>
                  <a:pt x="563" y="24"/>
                  <a:pt x="563" y="24"/>
                  <a:pt x="563" y="25"/>
                </a:cubicBezTo>
                <a:cubicBezTo>
                  <a:pt x="564" y="25"/>
                  <a:pt x="564" y="25"/>
                  <a:pt x="563" y="25"/>
                </a:cubicBezTo>
                <a:cubicBezTo>
                  <a:pt x="562" y="25"/>
                  <a:pt x="563" y="23"/>
                  <a:pt x="562" y="23"/>
                </a:cubicBezTo>
                <a:cubicBezTo>
                  <a:pt x="562" y="23"/>
                  <a:pt x="563" y="20"/>
                  <a:pt x="563" y="19"/>
                </a:cubicBezTo>
                <a:cubicBezTo>
                  <a:pt x="563" y="19"/>
                  <a:pt x="562" y="20"/>
                  <a:pt x="562" y="19"/>
                </a:cubicBezTo>
                <a:cubicBezTo>
                  <a:pt x="562" y="18"/>
                  <a:pt x="562" y="19"/>
                  <a:pt x="562" y="19"/>
                </a:cubicBezTo>
                <a:cubicBezTo>
                  <a:pt x="562" y="19"/>
                  <a:pt x="562" y="18"/>
                  <a:pt x="562" y="18"/>
                </a:cubicBezTo>
                <a:cubicBezTo>
                  <a:pt x="562" y="18"/>
                  <a:pt x="562" y="18"/>
                  <a:pt x="562" y="18"/>
                </a:cubicBezTo>
                <a:cubicBezTo>
                  <a:pt x="562" y="18"/>
                  <a:pt x="562" y="17"/>
                  <a:pt x="561" y="17"/>
                </a:cubicBezTo>
                <a:cubicBezTo>
                  <a:pt x="561" y="17"/>
                  <a:pt x="561" y="17"/>
                  <a:pt x="561" y="17"/>
                </a:cubicBezTo>
                <a:cubicBezTo>
                  <a:pt x="561" y="16"/>
                  <a:pt x="561" y="17"/>
                  <a:pt x="561" y="16"/>
                </a:cubicBezTo>
                <a:cubicBezTo>
                  <a:pt x="560" y="15"/>
                  <a:pt x="559" y="16"/>
                  <a:pt x="558" y="16"/>
                </a:cubicBezTo>
                <a:cubicBezTo>
                  <a:pt x="557" y="16"/>
                  <a:pt x="556" y="16"/>
                  <a:pt x="556" y="17"/>
                </a:cubicBezTo>
                <a:cubicBezTo>
                  <a:pt x="556" y="17"/>
                  <a:pt x="556" y="19"/>
                  <a:pt x="556" y="19"/>
                </a:cubicBezTo>
                <a:cubicBezTo>
                  <a:pt x="555" y="19"/>
                  <a:pt x="555" y="18"/>
                  <a:pt x="555" y="18"/>
                </a:cubicBezTo>
                <a:cubicBezTo>
                  <a:pt x="555" y="18"/>
                  <a:pt x="554" y="18"/>
                  <a:pt x="554" y="18"/>
                </a:cubicBezTo>
                <a:cubicBezTo>
                  <a:pt x="554" y="17"/>
                  <a:pt x="554" y="17"/>
                  <a:pt x="553" y="17"/>
                </a:cubicBezTo>
                <a:cubicBezTo>
                  <a:pt x="553" y="17"/>
                  <a:pt x="553" y="17"/>
                  <a:pt x="553" y="17"/>
                </a:cubicBezTo>
                <a:cubicBezTo>
                  <a:pt x="552" y="17"/>
                  <a:pt x="552" y="18"/>
                  <a:pt x="552" y="19"/>
                </a:cubicBezTo>
                <a:cubicBezTo>
                  <a:pt x="550" y="19"/>
                  <a:pt x="551" y="19"/>
                  <a:pt x="550" y="18"/>
                </a:cubicBezTo>
                <a:cubicBezTo>
                  <a:pt x="549" y="18"/>
                  <a:pt x="549" y="17"/>
                  <a:pt x="548" y="17"/>
                </a:cubicBezTo>
                <a:cubicBezTo>
                  <a:pt x="547" y="17"/>
                  <a:pt x="548" y="18"/>
                  <a:pt x="547" y="18"/>
                </a:cubicBezTo>
                <a:cubicBezTo>
                  <a:pt x="546" y="18"/>
                  <a:pt x="546" y="18"/>
                  <a:pt x="545" y="18"/>
                </a:cubicBezTo>
                <a:cubicBezTo>
                  <a:pt x="545" y="18"/>
                  <a:pt x="545" y="18"/>
                  <a:pt x="545" y="18"/>
                </a:cubicBezTo>
                <a:cubicBezTo>
                  <a:pt x="544" y="18"/>
                  <a:pt x="544" y="18"/>
                  <a:pt x="544" y="18"/>
                </a:cubicBezTo>
                <a:cubicBezTo>
                  <a:pt x="543" y="18"/>
                  <a:pt x="544" y="18"/>
                  <a:pt x="543" y="18"/>
                </a:cubicBezTo>
                <a:cubicBezTo>
                  <a:pt x="543" y="18"/>
                  <a:pt x="541" y="18"/>
                  <a:pt x="541" y="19"/>
                </a:cubicBezTo>
                <a:cubicBezTo>
                  <a:pt x="541" y="19"/>
                  <a:pt x="540" y="19"/>
                  <a:pt x="540" y="19"/>
                </a:cubicBezTo>
                <a:cubicBezTo>
                  <a:pt x="539" y="19"/>
                  <a:pt x="539" y="19"/>
                  <a:pt x="539" y="19"/>
                </a:cubicBezTo>
                <a:cubicBezTo>
                  <a:pt x="538" y="19"/>
                  <a:pt x="537" y="19"/>
                  <a:pt x="536" y="19"/>
                </a:cubicBezTo>
                <a:cubicBezTo>
                  <a:pt x="536" y="19"/>
                  <a:pt x="536" y="19"/>
                  <a:pt x="536" y="19"/>
                </a:cubicBezTo>
                <a:cubicBezTo>
                  <a:pt x="536" y="20"/>
                  <a:pt x="535" y="20"/>
                  <a:pt x="534" y="20"/>
                </a:cubicBezTo>
                <a:cubicBezTo>
                  <a:pt x="534" y="21"/>
                  <a:pt x="533" y="21"/>
                  <a:pt x="531" y="21"/>
                </a:cubicBezTo>
                <a:cubicBezTo>
                  <a:pt x="532" y="21"/>
                  <a:pt x="532" y="22"/>
                  <a:pt x="532" y="22"/>
                </a:cubicBezTo>
                <a:cubicBezTo>
                  <a:pt x="532" y="22"/>
                  <a:pt x="533" y="22"/>
                  <a:pt x="533" y="22"/>
                </a:cubicBezTo>
                <a:cubicBezTo>
                  <a:pt x="533" y="23"/>
                  <a:pt x="533" y="23"/>
                  <a:pt x="533" y="24"/>
                </a:cubicBezTo>
                <a:cubicBezTo>
                  <a:pt x="533" y="25"/>
                  <a:pt x="533" y="26"/>
                  <a:pt x="534" y="26"/>
                </a:cubicBezTo>
                <a:cubicBezTo>
                  <a:pt x="534" y="27"/>
                  <a:pt x="533" y="26"/>
                  <a:pt x="533" y="26"/>
                </a:cubicBezTo>
                <a:cubicBezTo>
                  <a:pt x="532" y="25"/>
                  <a:pt x="532" y="25"/>
                  <a:pt x="532" y="24"/>
                </a:cubicBezTo>
                <a:cubicBezTo>
                  <a:pt x="532" y="24"/>
                  <a:pt x="531" y="24"/>
                  <a:pt x="531" y="23"/>
                </a:cubicBezTo>
                <a:cubicBezTo>
                  <a:pt x="531" y="22"/>
                  <a:pt x="531" y="22"/>
                  <a:pt x="530" y="22"/>
                </a:cubicBezTo>
                <a:cubicBezTo>
                  <a:pt x="529" y="21"/>
                  <a:pt x="531" y="21"/>
                  <a:pt x="529" y="21"/>
                </a:cubicBezTo>
                <a:cubicBezTo>
                  <a:pt x="528" y="21"/>
                  <a:pt x="528" y="21"/>
                  <a:pt x="528" y="20"/>
                </a:cubicBezTo>
                <a:cubicBezTo>
                  <a:pt x="526" y="21"/>
                  <a:pt x="526" y="23"/>
                  <a:pt x="525" y="24"/>
                </a:cubicBezTo>
                <a:cubicBezTo>
                  <a:pt x="524" y="25"/>
                  <a:pt x="524" y="25"/>
                  <a:pt x="524" y="26"/>
                </a:cubicBezTo>
                <a:cubicBezTo>
                  <a:pt x="524" y="27"/>
                  <a:pt x="525" y="27"/>
                  <a:pt x="525" y="28"/>
                </a:cubicBezTo>
                <a:cubicBezTo>
                  <a:pt x="525" y="28"/>
                  <a:pt x="526" y="29"/>
                  <a:pt x="525" y="29"/>
                </a:cubicBezTo>
                <a:cubicBezTo>
                  <a:pt x="525" y="29"/>
                  <a:pt x="525" y="29"/>
                  <a:pt x="525" y="29"/>
                </a:cubicBezTo>
                <a:cubicBezTo>
                  <a:pt x="525" y="29"/>
                  <a:pt x="525" y="29"/>
                  <a:pt x="524" y="29"/>
                </a:cubicBezTo>
                <a:cubicBezTo>
                  <a:pt x="524" y="29"/>
                  <a:pt x="524" y="28"/>
                  <a:pt x="523" y="28"/>
                </a:cubicBezTo>
                <a:cubicBezTo>
                  <a:pt x="523" y="28"/>
                  <a:pt x="523" y="28"/>
                  <a:pt x="522" y="27"/>
                </a:cubicBezTo>
                <a:cubicBezTo>
                  <a:pt x="521" y="27"/>
                  <a:pt x="519" y="27"/>
                  <a:pt x="517" y="27"/>
                </a:cubicBezTo>
                <a:cubicBezTo>
                  <a:pt x="517" y="28"/>
                  <a:pt x="516" y="27"/>
                  <a:pt x="516" y="27"/>
                </a:cubicBezTo>
                <a:cubicBezTo>
                  <a:pt x="516" y="28"/>
                  <a:pt x="515" y="28"/>
                  <a:pt x="515" y="28"/>
                </a:cubicBezTo>
                <a:cubicBezTo>
                  <a:pt x="514" y="28"/>
                  <a:pt x="514" y="28"/>
                  <a:pt x="514" y="28"/>
                </a:cubicBezTo>
                <a:cubicBezTo>
                  <a:pt x="514" y="28"/>
                  <a:pt x="513" y="29"/>
                  <a:pt x="513" y="28"/>
                </a:cubicBezTo>
                <a:cubicBezTo>
                  <a:pt x="513" y="28"/>
                  <a:pt x="512" y="28"/>
                  <a:pt x="512" y="29"/>
                </a:cubicBezTo>
                <a:cubicBezTo>
                  <a:pt x="512" y="29"/>
                  <a:pt x="512" y="29"/>
                  <a:pt x="512" y="29"/>
                </a:cubicBezTo>
                <a:cubicBezTo>
                  <a:pt x="511" y="29"/>
                  <a:pt x="512" y="29"/>
                  <a:pt x="511" y="29"/>
                </a:cubicBezTo>
                <a:cubicBezTo>
                  <a:pt x="510" y="29"/>
                  <a:pt x="511" y="29"/>
                  <a:pt x="511" y="29"/>
                </a:cubicBezTo>
                <a:cubicBezTo>
                  <a:pt x="510" y="30"/>
                  <a:pt x="510" y="29"/>
                  <a:pt x="510" y="29"/>
                </a:cubicBezTo>
                <a:cubicBezTo>
                  <a:pt x="510" y="30"/>
                  <a:pt x="510" y="30"/>
                  <a:pt x="509" y="30"/>
                </a:cubicBezTo>
                <a:cubicBezTo>
                  <a:pt x="509" y="30"/>
                  <a:pt x="509" y="30"/>
                  <a:pt x="508" y="30"/>
                </a:cubicBezTo>
                <a:cubicBezTo>
                  <a:pt x="508" y="30"/>
                  <a:pt x="508" y="30"/>
                  <a:pt x="508" y="31"/>
                </a:cubicBezTo>
                <a:cubicBezTo>
                  <a:pt x="507" y="31"/>
                  <a:pt x="507" y="30"/>
                  <a:pt x="507" y="31"/>
                </a:cubicBezTo>
                <a:cubicBezTo>
                  <a:pt x="506" y="31"/>
                  <a:pt x="507" y="31"/>
                  <a:pt x="506" y="31"/>
                </a:cubicBezTo>
                <a:cubicBezTo>
                  <a:pt x="506" y="31"/>
                  <a:pt x="505" y="31"/>
                  <a:pt x="505" y="31"/>
                </a:cubicBezTo>
                <a:cubicBezTo>
                  <a:pt x="505" y="31"/>
                  <a:pt x="504" y="31"/>
                  <a:pt x="504" y="31"/>
                </a:cubicBezTo>
                <a:cubicBezTo>
                  <a:pt x="504" y="31"/>
                  <a:pt x="504" y="31"/>
                  <a:pt x="504" y="31"/>
                </a:cubicBezTo>
                <a:cubicBezTo>
                  <a:pt x="504" y="31"/>
                  <a:pt x="503" y="31"/>
                  <a:pt x="503" y="31"/>
                </a:cubicBezTo>
                <a:cubicBezTo>
                  <a:pt x="502" y="31"/>
                  <a:pt x="503" y="31"/>
                  <a:pt x="503" y="32"/>
                </a:cubicBezTo>
                <a:cubicBezTo>
                  <a:pt x="502" y="32"/>
                  <a:pt x="502" y="31"/>
                  <a:pt x="502" y="32"/>
                </a:cubicBezTo>
                <a:cubicBezTo>
                  <a:pt x="502" y="32"/>
                  <a:pt x="502" y="32"/>
                  <a:pt x="502" y="32"/>
                </a:cubicBezTo>
                <a:cubicBezTo>
                  <a:pt x="501" y="32"/>
                  <a:pt x="501" y="32"/>
                  <a:pt x="500" y="32"/>
                </a:cubicBezTo>
                <a:cubicBezTo>
                  <a:pt x="500" y="32"/>
                  <a:pt x="500" y="33"/>
                  <a:pt x="499" y="33"/>
                </a:cubicBezTo>
                <a:cubicBezTo>
                  <a:pt x="499" y="33"/>
                  <a:pt x="499" y="33"/>
                  <a:pt x="499" y="33"/>
                </a:cubicBezTo>
                <a:cubicBezTo>
                  <a:pt x="498" y="34"/>
                  <a:pt x="498" y="34"/>
                  <a:pt x="498" y="35"/>
                </a:cubicBezTo>
                <a:cubicBezTo>
                  <a:pt x="498" y="35"/>
                  <a:pt x="497" y="35"/>
                  <a:pt x="497" y="36"/>
                </a:cubicBezTo>
                <a:cubicBezTo>
                  <a:pt x="497" y="36"/>
                  <a:pt x="497" y="36"/>
                  <a:pt x="498" y="37"/>
                </a:cubicBezTo>
                <a:cubicBezTo>
                  <a:pt x="498" y="38"/>
                  <a:pt x="499" y="38"/>
                  <a:pt x="500" y="38"/>
                </a:cubicBezTo>
                <a:cubicBezTo>
                  <a:pt x="501" y="37"/>
                  <a:pt x="502" y="37"/>
                  <a:pt x="502" y="37"/>
                </a:cubicBezTo>
                <a:cubicBezTo>
                  <a:pt x="503" y="37"/>
                  <a:pt x="505" y="37"/>
                  <a:pt x="505" y="38"/>
                </a:cubicBezTo>
                <a:cubicBezTo>
                  <a:pt x="506" y="39"/>
                  <a:pt x="508" y="37"/>
                  <a:pt x="509" y="37"/>
                </a:cubicBezTo>
                <a:cubicBezTo>
                  <a:pt x="510" y="37"/>
                  <a:pt x="511" y="38"/>
                  <a:pt x="512" y="37"/>
                </a:cubicBezTo>
                <a:cubicBezTo>
                  <a:pt x="512" y="37"/>
                  <a:pt x="513" y="37"/>
                  <a:pt x="514" y="37"/>
                </a:cubicBezTo>
                <a:cubicBezTo>
                  <a:pt x="514" y="37"/>
                  <a:pt x="513" y="38"/>
                  <a:pt x="513" y="38"/>
                </a:cubicBezTo>
                <a:cubicBezTo>
                  <a:pt x="513" y="39"/>
                  <a:pt x="513" y="39"/>
                  <a:pt x="514" y="39"/>
                </a:cubicBezTo>
                <a:cubicBezTo>
                  <a:pt x="514" y="40"/>
                  <a:pt x="513" y="41"/>
                  <a:pt x="512" y="41"/>
                </a:cubicBezTo>
                <a:cubicBezTo>
                  <a:pt x="513" y="42"/>
                  <a:pt x="514" y="42"/>
                  <a:pt x="512" y="44"/>
                </a:cubicBezTo>
                <a:cubicBezTo>
                  <a:pt x="512" y="44"/>
                  <a:pt x="510" y="46"/>
                  <a:pt x="510" y="46"/>
                </a:cubicBezTo>
                <a:cubicBezTo>
                  <a:pt x="509" y="46"/>
                  <a:pt x="509" y="47"/>
                  <a:pt x="508" y="47"/>
                </a:cubicBezTo>
                <a:cubicBezTo>
                  <a:pt x="507" y="47"/>
                  <a:pt x="506" y="48"/>
                  <a:pt x="506" y="49"/>
                </a:cubicBezTo>
                <a:cubicBezTo>
                  <a:pt x="506" y="48"/>
                  <a:pt x="505" y="48"/>
                  <a:pt x="505" y="48"/>
                </a:cubicBezTo>
                <a:cubicBezTo>
                  <a:pt x="504" y="47"/>
                  <a:pt x="504" y="48"/>
                  <a:pt x="503" y="48"/>
                </a:cubicBezTo>
                <a:cubicBezTo>
                  <a:pt x="503" y="47"/>
                  <a:pt x="501" y="47"/>
                  <a:pt x="501" y="47"/>
                </a:cubicBezTo>
                <a:cubicBezTo>
                  <a:pt x="500" y="47"/>
                  <a:pt x="500" y="47"/>
                  <a:pt x="500" y="47"/>
                </a:cubicBezTo>
                <a:cubicBezTo>
                  <a:pt x="499" y="48"/>
                  <a:pt x="501" y="48"/>
                  <a:pt x="499" y="48"/>
                </a:cubicBezTo>
                <a:cubicBezTo>
                  <a:pt x="499" y="48"/>
                  <a:pt x="498" y="47"/>
                  <a:pt x="498" y="47"/>
                </a:cubicBezTo>
                <a:cubicBezTo>
                  <a:pt x="498" y="48"/>
                  <a:pt x="496" y="48"/>
                  <a:pt x="495" y="48"/>
                </a:cubicBezTo>
                <a:cubicBezTo>
                  <a:pt x="495" y="48"/>
                  <a:pt x="495" y="49"/>
                  <a:pt x="494" y="49"/>
                </a:cubicBezTo>
                <a:cubicBezTo>
                  <a:pt x="494" y="49"/>
                  <a:pt x="494" y="49"/>
                  <a:pt x="494" y="49"/>
                </a:cubicBezTo>
                <a:cubicBezTo>
                  <a:pt x="493" y="49"/>
                  <a:pt x="492" y="49"/>
                  <a:pt x="492" y="50"/>
                </a:cubicBezTo>
                <a:cubicBezTo>
                  <a:pt x="491" y="49"/>
                  <a:pt x="490" y="49"/>
                  <a:pt x="489" y="49"/>
                </a:cubicBezTo>
                <a:cubicBezTo>
                  <a:pt x="490" y="50"/>
                  <a:pt x="487" y="50"/>
                  <a:pt x="486" y="50"/>
                </a:cubicBezTo>
                <a:cubicBezTo>
                  <a:pt x="486" y="50"/>
                  <a:pt x="485" y="50"/>
                  <a:pt x="484" y="50"/>
                </a:cubicBezTo>
                <a:cubicBezTo>
                  <a:pt x="484" y="50"/>
                  <a:pt x="484" y="50"/>
                  <a:pt x="484" y="50"/>
                </a:cubicBezTo>
                <a:cubicBezTo>
                  <a:pt x="483" y="50"/>
                  <a:pt x="482" y="50"/>
                  <a:pt x="482" y="50"/>
                </a:cubicBezTo>
                <a:cubicBezTo>
                  <a:pt x="481" y="50"/>
                  <a:pt x="481" y="50"/>
                  <a:pt x="481" y="50"/>
                </a:cubicBezTo>
                <a:cubicBezTo>
                  <a:pt x="481" y="51"/>
                  <a:pt x="481" y="50"/>
                  <a:pt x="481" y="51"/>
                </a:cubicBezTo>
                <a:cubicBezTo>
                  <a:pt x="480" y="51"/>
                  <a:pt x="482" y="51"/>
                  <a:pt x="480" y="51"/>
                </a:cubicBezTo>
                <a:cubicBezTo>
                  <a:pt x="479" y="51"/>
                  <a:pt x="479" y="51"/>
                  <a:pt x="478" y="51"/>
                </a:cubicBezTo>
                <a:cubicBezTo>
                  <a:pt x="478" y="51"/>
                  <a:pt x="476" y="51"/>
                  <a:pt x="476" y="51"/>
                </a:cubicBezTo>
                <a:cubicBezTo>
                  <a:pt x="475" y="52"/>
                  <a:pt x="475" y="52"/>
                  <a:pt x="475" y="53"/>
                </a:cubicBezTo>
                <a:cubicBezTo>
                  <a:pt x="474" y="53"/>
                  <a:pt x="474" y="53"/>
                  <a:pt x="474" y="54"/>
                </a:cubicBezTo>
                <a:cubicBezTo>
                  <a:pt x="474" y="54"/>
                  <a:pt x="474" y="54"/>
                  <a:pt x="474" y="54"/>
                </a:cubicBezTo>
                <a:cubicBezTo>
                  <a:pt x="475" y="54"/>
                  <a:pt x="474" y="54"/>
                  <a:pt x="474" y="55"/>
                </a:cubicBezTo>
                <a:cubicBezTo>
                  <a:pt x="475" y="55"/>
                  <a:pt x="475" y="56"/>
                  <a:pt x="475" y="56"/>
                </a:cubicBezTo>
                <a:cubicBezTo>
                  <a:pt x="475" y="57"/>
                  <a:pt x="476" y="57"/>
                  <a:pt x="476" y="57"/>
                </a:cubicBezTo>
                <a:cubicBezTo>
                  <a:pt x="477" y="57"/>
                  <a:pt x="477" y="57"/>
                  <a:pt x="477" y="59"/>
                </a:cubicBezTo>
                <a:cubicBezTo>
                  <a:pt x="478" y="59"/>
                  <a:pt x="479" y="59"/>
                  <a:pt x="479" y="59"/>
                </a:cubicBezTo>
                <a:cubicBezTo>
                  <a:pt x="480" y="59"/>
                  <a:pt x="480" y="59"/>
                  <a:pt x="480" y="59"/>
                </a:cubicBezTo>
                <a:cubicBezTo>
                  <a:pt x="480" y="60"/>
                  <a:pt x="480" y="59"/>
                  <a:pt x="481" y="60"/>
                </a:cubicBezTo>
                <a:cubicBezTo>
                  <a:pt x="481" y="60"/>
                  <a:pt x="481" y="61"/>
                  <a:pt x="482" y="61"/>
                </a:cubicBezTo>
                <a:cubicBezTo>
                  <a:pt x="483" y="61"/>
                  <a:pt x="484" y="60"/>
                  <a:pt x="485" y="61"/>
                </a:cubicBezTo>
                <a:cubicBezTo>
                  <a:pt x="488" y="61"/>
                  <a:pt x="489" y="60"/>
                  <a:pt x="489" y="58"/>
                </a:cubicBezTo>
                <a:cubicBezTo>
                  <a:pt x="490" y="58"/>
                  <a:pt x="490" y="58"/>
                  <a:pt x="491" y="59"/>
                </a:cubicBezTo>
                <a:cubicBezTo>
                  <a:pt x="491" y="59"/>
                  <a:pt x="491" y="60"/>
                  <a:pt x="491" y="60"/>
                </a:cubicBezTo>
                <a:cubicBezTo>
                  <a:pt x="492" y="61"/>
                  <a:pt x="494" y="61"/>
                  <a:pt x="495" y="61"/>
                </a:cubicBezTo>
                <a:cubicBezTo>
                  <a:pt x="496" y="61"/>
                  <a:pt x="497" y="61"/>
                  <a:pt x="498" y="60"/>
                </a:cubicBezTo>
                <a:cubicBezTo>
                  <a:pt x="499" y="60"/>
                  <a:pt x="499" y="60"/>
                  <a:pt x="500" y="60"/>
                </a:cubicBezTo>
                <a:cubicBezTo>
                  <a:pt x="501" y="60"/>
                  <a:pt x="503" y="60"/>
                  <a:pt x="505" y="60"/>
                </a:cubicBezTo>
                <a:cubicBezTo>
                  <a:pt x="505" y="60"/>
                  <a:pt x="506" y="61"/>
                  <a:pt x="505" y="62"/>
                </a:cubicBezTo>
                <a:cubicBezTo>
                  <a:pt x="505" y="62"/>
                  <a:pt x="504" y="62"/>
                  <a:pt x="504" y="63"/>
                </a:cubicBezTo>
                <a:cubicBezTo>
                  <a:pt x="503" y="63"/>
                  <a:pt x="503" y="62"/>
                  <a:pt x="501" y="62"/>
                </a:cubicBezTo>
                <a:cubicBezTo>
                  <a:pt x="501" y="62"/>
                  <a:pt x="502" y="62"/>
                  <a:pt x="501" y="62"/>
                </a:cubicBezTo>
                <a:cubicBezTo>
                  <a:pt x="501" y="62"/>
                  <a:pt x="500" y="62"/>
                  <a:pt x="500" y="62"/>
                </a:cubicBezTo>
                <a:cubicBezTo>
                  <a:pt x="499" y="62"/>
                  <a:pt x="498" y="62"/>
                  <a:pt x="497" y="62"/>
                </a:cubicBezTo>
                <a:cubicBezTo>
                  <a:pt x="496" y="62"/>
                  <a:pt x="497" y="62"/>
                  <a:pt x="496" y="62"/>
                </a:cubicBezTo>
                <a:cubicBezTo>
                  <a:pt x="496" y="63"/>
                  <a:pt x="496" y="62"/>
                  <a:pt x="496" y="63"/>
                </a:cubicBezTo>
                <a:cubicBezTo>
                  <a:pt x="494" y="63"/>
                  <a:pt x="493" y="62"/>
                  <a:pt x="492" y="62"/>
                </a:cubicBezTo>
                <a:cubicBezTo>
                  <a:pt x="491" y="63"/>
                  <a:pt x="490" y="63"/>
                  <a:pt x="489" y="64"/>
                </a:cubicBezTo>
                <a:cubicBezTo>
                  <a:pt x="488" y="64"/>
                  <a:pt x="486" y="64"/>
                  <a:pt x="485" y="64"/>
                </a:cubicBezTo>
                <a:cubicBezTo>
                  <a:pt x="485" y="66"/>
                  <a:pt x="486" y="66"/>
                  <a:pt x="487" y="66"/>
                </a:cubicBezTo>
                <a:cubicBezTo>
                  <a:pt x="486" y="67"/>
                  <a:pt x="484" y="66"/>
                  <a:pt x="483" y="66"/>
                </a:cubicBezTo>
                <a:cubicBezTo>
                  <a:pt x="483" y="66"/>
                  <a:pt x="482" y="66"/>
                  <a:pt x="482" y="66"/>
                </a:cubicBezTo>
                <a:cubicBezTo>
                  <a:pt x="481" y="65"/>
                  <a:pt x="481" y="65"/>
                  <a:pt x="480" y="65"/>
                </a:cubicBezTo>
                <a:cubicBezTo>
                  <a:pt x="480" y="65"/>
                  <a:pt x="480" y="64"/>
                  <a:pt x="479" y="65"/>
                </a:cubicBezTo>
                <a:cubicBezTo>
                  <a:pt x="479" y="65"/>
                  <a:pt x="477" y="65"/>
                  <a:pt x="477" y="66"/>
                </a:cubicBezTo>
                <a:cubicBezTo>
                  <a:pt x="477" y="66"/>
                  <a:pt x="478" y="66"/>
                  <a:pt x="478" y="67"/>
                </a:cubicBezTo>
                <a:cubicBezTo>
                  <a:pt x="478" y="68"/>
                  <a:pt x="479" y="68"/>
                  <a:pt x="479" y="69"/>
                </a:cubicBezTo>
                <a:cubicBezTo>
                  <a:pt x="479" y="69"/>
                  <a:pt x="481" y="68"/>
                  <a:pt x="481" y="68"/>
                </a:cubicBezTo>
                <a:cubicBezTo>
                  <a:pt x="481" y="69"/>
                  <a:pt x="482" y="69"/>
                  <a:pt x="482" y="70"/>
                </a:cubicBezTo>
                <a:cubicBezTo>
                  <a:pt x="483" y="70"/>
                  <a:pt x="484" y="70"/>
                  <a:pt x="484" y="70"/>
                </a:cubicBezTo>
                <a:cubicBezTo>
                  <a:pt x="485" y="70"/>
                  <a:pt x="487" y="70"/>
                  <a:pt x="485" y="71"/>
                </a:cubicBezTo>
                <a:cubicBezTo>
                  <a:pt x="483" y="71"/>
                  <a:pt x="484" y="72"/>
                  <a:pt x="485" y="73"/>
                </a:cubicBezTo>
                <a:cubicBezTo>
                  <a:pt x="486" y="73"/>
                  <a:pt x="486" y="74"/>
                  <a:pt x="487" y="75"/>
                </a:cubicBezTo>
                <a:cubicBezTo>
                  <a:pt x="487" y="75"/>
                  <a:pt x="488" y="74"/>
                  <a:pt x="488" y="75"/>
                </a:cubicBezTo>
                <a:cubicBezTo>
                  <a:pt x="489" y="75"/>
                  <a:pt x="490" y="75"/>
                  <a:pt x="491" y="75"/>
                </a:cubicBezTo>
                <a:cubicBezTo>
                  <a:pt x="491" y="75"/>
                  <a:pt x="495" y="76"/>
                  <a:pt x="496" y="76"/>
                </a:cubicBezTo>
                <a:cubicBezTo>
                  <a:pt x="496" y="75"/>
                  <a:pt x="495" y="73"/>
                  <a:pt x="495" y="73"/>
                </a:cubicBezTo>
                <a:cubicBezTo>
                  <a:pt x="495" y="72"/>
                  <a:pt x="496" y="72"/>
                  <a:pt x="496" y="71"/>
                </a:cubicBezTo>
                <a:cubicBezTo>
                  <a:pt x="497" y="71"/>
                  <a:pt x="497" y="71"/>
                  <a:pt x="498" y="72"/>
                </a:cubicBezTo>
                <a:cubicBezTo>
                  <a:pt x="498" y="73"/>
                  <a:pt x="499" y="74"/>
                  <a:pt x="500" y="73"/>
                </a:cubicBezTo>
                <a:cubicBezTo>
                  <a:pt x="500" y="72"/>
                  <a:pt x="500" y="72"/>
                  <a:pt x="501" y="72"/>
                </a:cubicBezTo>
                <a:cubicBezTo>
                  <a:pt x="502" y="71"/>
                  <a:pt x="503" y="71"/>
                  <a:pt x="504" y="71"/>
                </a:cubicBezTo>
                <a:cubicBezTo>
                  <a:pt x="505" y="71"/>
                  <a:pt x="505" y="72"/>
                  <a:pt x="505" y="73"/>
                </a:cubicBezTo>
                <a:cubicBezTo>
                  <a:pt x="505" y="73"/>
                  <a:pt x="506" y="73"/>
                  <a:pt x="506" y="74"/>
                </a:cubicBezTo>
                <a:cubicBezTo>
                  <a:pt x="507" y="75"/>
                  <a:pt x="508" y="73"/>
                  <a:pt x="508" y="72"/>
                </a:cubicBezTo>
                <a:cubicBezTo>
                  <a:pt x="509" y="72"/>
                  <a:pt x="509" y="73"/>
                  <a:pt x="510" y="73"/>
                </a:cubicBezTo>
                <a:cubicBezTo>
                  <a:pt x="511" y="73"/>
                  <a:pt x="510" y="72"/>
                  <a:pt x="511" y="72"/>
                </a:cubicBezTo>
                <a:cubicBezTo>
                  <a:pt x="512" y="72"/>
                  <a:pt x="513" y="72"/>
                  <a:pt x="515" y="72"/>
                </a:cubicBezTo>
                <a:cubicBezTo>
                  <a:pt x="515" y="72"/>
                  <a:pt x="515" y="72"/>
                  <a:pt x="515" y="72"/>
                </a:cubicBezTo>
                <a:cubicBezTo>
                  <a:pt x="515" y="71"/>
                  <a:pt x="515" y="71"/>
                  <a:pt x="516" y="71"/>
                </a:cubicBezTo>
                <a:cubicBezTo>
                  <a:pt x="517" y="70"/>
                  <a:pt x="517" y="70"/>
                  <a:pt x="518" y="71"/>
                </a:cubicBezTo>
                <a:cubicBezTo>
                  <a:pt x="518" y="72"/>
                  <a:pt x="518" y="72"/>
                  <a:pt x="518" y="73"/>
                </a:cubicBezTo>
                <a:cubicBezTo>
                  <a:pt x="519" y="73"/>
                  <a:pt x="520" y="72"/>
                  <a:pt x="521" y="72"/>
                </a:cubicBezTo>
                <a:cubicBezTo>
                  <a:pt x="521" y="71"/>
                  <a:pt x="522" y="70"/>
                  <a:pt x="523" y="71"/>
                </a:cubicBezTo>
                <a:cubicBezTo>
                  <a:pt x="523" y="71"/>
                  <a:pt x="524" y="72"/>
                  <a:pt x="524" y="72"/>
                </a:cubicBezTo>
                <a:cubicBezTo>
                  <a:pt x="525" y="72"/>
                  <a:pt x="525" y="72"/>
                  <a:pt x="526" y="72"/>
                </a:cubicBezTo>
                <a:cubicBezTo>
                  <a:pt x="527" y="72"/>
                  <a:pt x="531" y="73"/>
                  <a:pt x="531" y="74"/>
                </a:cubicBezTo>
                <a:cubicBezTo>
                  <a:pt x="531" y="74"/>
                  <a:pt x="533" y="75"/>
                  <a:pt x="534" y="76"/>
                </a:cubicBezTo>
                <a:cubicBezTo>
                  <a:pt x="535" y="76"/>
                  <a:pt x="535" y="76"/>
                  <a:pt x="535" y="77"/>
                </a:cubicBezTo>
                <a:cubicBezTo>
                  <a:pt x="535" y="77"/>
                  <a:pt x="537" y="76"/>
                  <a:pt x="537" y="77"/>
                </a:cubicBezTo>
                <a:cubicBezTo>
                  <a:pt x="537" y="77"/>
                  <a:pt x="539" y="77"/>
                  <a:pt x="539" y="77"/>
                </a:cubicBezTo>
                <a:cubicBezTo>
                  <a:pt x="539" y="77"/>
                  <a:pt x="542" y="79"/>
                  <a:pt x="542" y="79"/>
                </a:cubicBezTo>
                <a:cubicBezTo>
                  <a:pt x="542" y="81"/>
                  <a:pt x="542" y="81"/>
                  <a:pt x="543" y="81"/>
                </a:cubicBezTo>
                <a:cubicBezTo>
                  <a:pt x="544" y="81"/>
                  <a:pt x="544" y="82"/>
                  <a:pt x="545" y="82"/>
                </a:cubicBezTo>
                <a:cubicBezTo>
                  <a:pt x="546" y="82"/>
                  <a:pt x="545" y="83"/>
                  <a:pt x="546" y="83"/>
                </a:cubicBezTo>
                <a:cubicBezTo>
                  <a:pt x="547" y="83"/>
                  <a:pt x="548" y="84"/>
                  <a:pt x="548" y="85"/>
                </a:cubicBezTo>
                <a:cubicBezTo>
                  <a:pt x="548" y="85"/>
                  <a:pt x="548" y="85"/>
                  <a:pt x="548" y="85"/>
                </a:cubicBezTo>
                <a:cubicBezTo>
                  <a:pt x="548" y="86"/>
                  <a:pt x="548" y="86"/>
                  <a:pt x="549" y="86"/>
                </a:cubicBezTo>
                <a:cubicBezTo>
                  <a:pt x="550" y="86"/>
                  <a:pt x="551" y="86"/>
                  <a:pt x="552" y="87"/>
                </a:cubicBezTo>
                <a:cubicBezTo>
                  <a:pt x="551" y="87"/>
                  <a:pt x="551" y="88"/>
                  <a:pt x="551" y="88"/>
                </a:cubicBezTo>
                <a:cubicBezTo>
                  <a:pt x="551" y="88"/>
                  <a:pt x="551" y="88"/>
                  <a:pt x="551" y="89"/>
                </a:cubicBezTo>
                <a:cubicBezTo>
                  <a:pt x="551" y="89"/>
                  <a:pt x="551" y="89"/>
                  <a:pt x="551" y="90"/>
                </a:cubicBezTo>
                <a:cubicBezTo>
                  <a:pt x="551" y="91"/>
                  <a:pt x="548" y="90"/>
                  <a:pt x="548" y="91"/>
                </a:cubicBezTo>
                <a:cubicBezTo>
                  <a:pt x="549" y="91"/>
                  <a:pt x="550" y="91"/>
                  <a:pt x="552" y="90"/>
                </a:cubicBezTo>
                <a:cubicBezTo>
                  <a:pt x="552" y="91"/>
                  <a:pt x="551" y="91"/>
                  <a:pt x="552" y="92"/>
                </a:cubicBezTo>
                <a:cubicBezTo>
                  <a:pt x="553" y="93"/>
                  <a:pt x="553" y="93"/>
                  <a:pt x="553" y="94"/>
                </a:cubicBezTo>
                <a:cubicBezTo>
                  <a:pt x="553" y="94"/>
                  <a:pt x="555" y="95"/>
                  <a:pt x="555" y="96"/>
                </a:cubicBezTo>
                <a:cubicBezTo>
                  <a:pt x="555" y="96"/>
                  <a:pt x="555" y="96"/>
                  <a:pt x="555" y="96"/>
                </a:cubicBezTo>
                <a:cubicBezTo>
                  <a:pt x="555" y="96"/>
                  <a:pt x="555" y="97"/>
                  <a:pt x="555" y="97"/>
                </a:cubicBezTo>
                <a:cubicBezTo>
                  <a:pt x="555" y="97"/>
                  <a:pt x="556" y="97"/>
                  <a:pt x="556" y="97"/>
                </a:cubicBezTo>
                <a:cubicBezTo>
                  <a:pt x="556" y="98"/>
                  <a:pt x="556" y="99"/>
                  <a:pt x="557" y="99"/>
                </a:cubicBezTo>
                <a:cubicBezTo>
                  <a:pt x="557" y="99"/>
                  <a:pt x="556" y="100"/>
                  <a:pt x="556" y="100"/>
                </a:cubicBezTo>
                <a:cubicBezTo>
                  <a:pt x="557" y="100"/>
                  <a:pt x="558" y="100"/>
                  <a:pt x="558" y="100"/>
                </a:cubicBezTo>
                <a:cubicBezTo>
                  <a:pt x="559" y="100"/>
                  <a:pt x="559" y="101"/>
                  <a:pt x="558" y="101"/>
                </a:cubicBezTo>
                <a:cubicBezTo>
                  <a:pt x="558" y="101"/>
                  <a:pt x="558" y="101"/>
                  <a:pt x="558" y="102"/>
                </a:cubicBezTo>
                <a:cubicBezTo>
                  <a:pt x="558" y="102"/>
                  <a:pt x="558" y="102"/>
                  <a:pt x="558" y="103"/>
                </a:cubicBezTo>
                <a:cubicBezTo>
                  <a:pt x="557" y="103"/>
                  <a:pt x="558" y="104"/>
                  <a:pt x="558" y="105"/>
                </a:cubicBezTo>
                <a:cubicBezTo>
                  <a:pt x="557" y="105"/>
                  <a:pt x="555" y="104"/>
                  <a:pt x="554" y="105"/>
                </a:cubicBezTo>
                <a:cubicBezTo>
                  <a:pt x="553" y="105"/>
                  <a:pt x="555" y="106"/>
                  <a:pt x="555" y="106"/>
                </a:cubicBezTo>
                <a:cubicBezTo>
                  <a:pt x="555" y="107"/>
                  <a:pt x="554" y="108"/>
                  <a:pt x="554" y="109"/>
                </a:cubicBezTo>
                <a:cubicBezTo>
                  <a:pt x="553" y="109"/>
                  <a:pt x="553" y="108"/>
                  <a:pt x="553" y="109"/>
                </a:cubicBezTo>
                <a:cubicBezTo>
                  <a:pt x="553" y="111"/>
                  <a:pt x="554" y="110"/>
                  <a:pt x="555" y="110"/>
                </a:cubicBezTo>
                <a:cubicBezTo>
                  <a:pt x="555" y="111"/>
                  <a:pt x="554" y="111"/>
                  <a:pt x="554" y="112"/>
                </a:cubicBezTo>
                <a:cubicBezTo>
                  <a:pt x="553" y="112"/>
                  <a:pt x="552" y="112"/>
                  <a:pt x="553" y="113"/>
                </a:cubicBezTo>
                <a:cubicBezTo>
                  <a:pt x="553" y="113"/>
                  <a:pt x="554" y="113"/>
                  <a:pt x="554" y="114"/>
                </a:cubicBezTo>
                <a:cubicBezTo>
                  <a:pt x="554" y="114"/>
                  <a:pt x="554" y="114"/>
                  <a:pt x="555" y="114"/>
                </a:cubicBezTo>
                <a:cubicBezTo>
                  <a:pt x="556" y="114"/>
                  <a:pt x="557" y="115"/>
                  <a:pt x="558" y="115"/>
                </a:cubicBezTo>
                <a:cubicBezTo>
                  <a:pt x="560" y="114"/>
                  <a:pt x="559" y="113"/>
                  <a:pt x="560" y="112"/>
                </a:cubicBezTo>
                <a:cubicBezTo>
                  <a:pt x="560" y="112"/>
                  <a:pt x="560" y="110"/>
                  <a:pt x="561" y="110"/>
                </a:cubicBezTo>
                <a:cubicBezTo>
                  <a:pt x="561" y="111"/>
                  <a:pt x="561" y="112"/>
                  <a:pt x="562" y="113"/>
                </a:cubicBezTo>
                <a:cubicBezTo>
                  <a:pt x="562" y="113"/>
                  <a:pt x="563" y="113"/>
                  <a:pt x="563" y="112"/>
                </a:cubicBezTo>
                <a:cubicBezTo>
                  <a:pt x="563" y="112"/>
                  <a:pt x="564" y="112"/>
                  <a:pt x="564" y="112"/>
                </a:cubicBezTo>
                <a:cubicBezTo>
                  <a:pt x="564" y="113"/>
                  <a:pt x="564" y="113"/>
                  <a:pt x="565" y="113"/>
                </a:cubicBezTo>
                <a:cubicBezTo>
                  <a:pt x="566" y="113"/>
                  <a:pt x="567" y="113"/>
                  <a:pt x="567" y="113"/>
                </a:cubicBezTo>
                <a:cubicBezTo>
                  <a:pt x="568" y="113"/>
                  <a:pt x="567" y="113"/>
                  <a:pt x="568" y="113"/>
                </a:cubicBezTo>
                <a:cubicBezTo>
                  <a:pt x="568" y="113"/>
                  <a:pt x="569" y="113"/>
                  <a:pt x="570" y="113"/>
                </a:cubicBezTo>
                <a:cubicBezTo>
                  <a:pt x="569" y="114"/>
                  <a:pt x="569" y="114"/>
                  <a:pt x="569" y="114"/>
                </a:cubicBezTo>
                <a:cubicBezTo>
                  <a:pt x="569" y="115"/>
                  <a:pt x="570" y="115"/>
                  <a:pt x="570" y="115"/>
                </a:cubicBezTo>
                <a:cubicBezTo>
                  <a:pt x="572" y="115"/>
                  <a:pt x="573" y="114"/>
                  <a:pt x="575" y="114"/>
                </a:cubicBezTo>
                <a:cubicBezTo>
                  <a:pt x="575" y="114"/>
                  <a:pt x="575" y="114"/>
                  <a:pt x="574" y="115"/>
                </a:cubicBezTo>
                <a:cubicBezTo>
                  <a:pt x="574" y="115"/>
                  <a:pt x="572" y="115"/>
                  <a:pt x="572" y="116"/>
                </a:cubicBezTo>
                <a:cubicBezTo>
                  <a:pt x="572" y="116"/>
                  <a:pt x="572" y="116"/>
                  <a:pt x="573" y="116"/>
                </a:cubicBezTo>
                <a:cubicBezTo>
                  <a:pt x="573" y="116"/>
                  <a:pt x="574" y="116"/>
                  <a:pt x="574" y="116"/>
                </a:cubicBezTo>
                <a:cubicBezTo>
                  <a:pt x="574" y="115"/>
                  <a:pt x="575" y="116"/>
                  <a:pt x="576" y="116"/>
                </a:cubicBezTo>
                <a:cubicBezTo>
                  <a:pt x="577" y="116"/>
                  <a:pt x="577" y="116"/>
                  <a:pt x="578" y="117"/>
                </a:cubicBezTo>
                <a:cubicBezTo>
                  <a:pt x="577" y="117"/>
                  <a:pt x="575" y="117"/>
                  <a:pt x="574" y="117"/>
                </a:cubicBezTo>
                <a:cubicBezTo>
                  <a:pt x="575" y="118"/>
                  <a:pt x="575" y="118"/>
                  <a:pt x="576" y="118"/>
                </a:cubicBezTo>
                <a:cubicBezTo>
                  <a:pt x="576" y="118"/>
                  <a:pt x="577" y="119"/>
                  <a:pt x="577" y="119"/>
                </a:cubicBezTo>
                <a:cubicBezTo>
                  <a:pt x="576" y="119"/>
                  <a:pt x="575" y="119"/>
                  <a:pt x="575" y="119"/>
                </a:cubicBezTo>
                <a:cubicBezTo>
                  <a:pt x="574" y="120"/>
                  <a:pt x="574" y="120"/>
                  <a:pt x="574" y="121"/>
                </a:cubicBezTo>
                <a:cubicBezTo>
                  <a:pt x="575" y="121"/>
                  <a:pt x="576" y="121"/>
                  <a:pt x="577" y="121"/>
                </a:cubicBezTo>
                <a:cubicBezTo>
                  <a:pt x="577" y="121"/>
                  <a:pt x="577" y="122"/>
                  <a:pt x="577" y="122"/>
                </a:cubicBezTo>
                <a:cubicBezTo>
                  <a:pt x="576" y="122"/>
                  <a:pt x="575" y="122"/>
                  <a:pt x="575" y="122"/>
                </a:cubicBezTo>
                <a:cubicBezTo>
                  <a:pt x="575" y="123"/>
                  <a:pt x="575" y="123"/>
                  <a:pt x="576" y="123"/>
                </a:cubicBezTo>
                <a:cubicBezTo>
                  <a:pt x="577" y="124"/>
                  <a:pt x="577" y="123"/>
                  <a:pt x="577" y="125"/>
                </a:cubicBezTo>
                <a:cubicBezTo>
                  <a:pt x="576" y="125"/>
                  <a:pt x="575" y="124"/>
                  <a:pt x="574" y="124"/>
                </a:cubicBezTo>
                <a:cubicBezTo>
                  <a:pt x="574" y="123"/>
                  <a:pt x="573" y="123"/>
                  <a:pt x="572" y="123"/>
                </a:cubicBezTo>
                <a:cubicBezTo>
                  <a:pt x="571" y="123"/>
                  <a:pt x="572" y="123"/>
                  <a:pt x="571" y="122"/>
                </a:cubicBezTo>
                <a:cubicBezTo>
                  <a:pt x="570" y="122"/>
                  <a:pt x="570" y="121"/>
                  <a:pt x="569" y="121"/>
                </a:cubicBezTo>
                <a:cubicBezTo>
                  <a:pt x="565" y="120"/>
                  <a:pt x="562" y="120"/>
                  <a:pt x="559" y="120"/>
                </a:cubicBezTo>
                <a:cubicBezTo>
                  <a:pt x="559" y="120"/>
                  <a:pt x="558" y="120"/>
                  <a:pt x="558" y="121"/>
                </a:cubicBezTo>
                <a:cubicBezTo>
                  <a:pt x="557" y="121"/>
                  <a:pt x="557" y="122"/>
                  <a:pt x="558" y="123"/>
                </a:cubicBezTo>
                <a:cubicBezTo>
                  <a:pt x="558" y="123"/>
                  <a:pt x="558" y="123"/>
                  <a:pt x="558" y="123"/>
                </a:cubicBezTo>
                <a:cubicBezTo>
                  <a:pt x="559" y="123"/>
                  <a:pt x="559" y="123"/>
                  <a:pt x="559" y="123"/>
                </a:cubicBezTo>
                <a:cubicBezTo>
                  <a:pt x="559" y="123"/>
                  <a:pt x="560" y="123"/>
                  <a:pt x="560" y="123"/>
                </a:cubicBezTo>
                <a:cubicBezTo>
                  <a:pt x="561" y="124"/>
                  <a:pt x="561" y="124"/>
                  <a:pt x="562" y="124"/>
                </a:cubicBezTo>
                <a:cubicBezTo>
                  <a:pt x="562" y="125"/>
                  <a:pt x="562" y="126"/>
                  <a:pt x="561" y="125"/>
                </a:cubicBezTo>
                <a:cubicBezTo>
                  <a:pt x="561" y="125"/>
                  <a:pt x="561" y="125"/>
                  <a:pt x="561" y="125"/>
                </a:cubicBezTo>
                <a:cubicBezTo>
                  <a:pt x="560" y="125"/>
                  <a:pt x="559" y="125"/>
                  <a:pt x="559" y="125"/>
                </a:cubicBezTo>
                <a:cubicBezTo>
                  <a:pt x="558" y="125"/>
                  <a:pt x="556" y="125"/>
                  <a:pt x="556" y="127"/>
                </a:cubicBezTo>
                <a:cubicBezTo>
                  <a:pt x="556" y="127"/>
                  <a:pt x="557" y="128"/>
                  <a:pt x="557" y="128"/>
                </a:cubicBezTo>
                <a:cubicBezTo>
                  <a:pt x="556" y="129"/>
                  <a:pt x="556" y="129"/>
                  <a:pt x="555" y="130"/>
                </a:cubicBezTo>
                <a:cubicBezTo>
                  <a:pt x="555" y="131"/>
                  <a:pt x="555" y="131"/>
                  <a:pt x="554" y="132"/>
                </a:cubicBezTo>
                <a:cubicBezTo>
                  <a:pt x="554" y="132"/>
                  <a:pt x="555" y="133"/>
                  <a:pt x="555" y="133"/>
                </a:cubicBezTo>
                <a:cubicBezTo>
                  <a:pt x="556" y="133"/>
                  <a:pt x="557" y="133"/>
                  <a:pt x="558" y="133"/>
                </a:cubicBezTo>
                <a:cubicBezTo>
                  <a:pt x="559" y="133"/>
                  <a:pt x="560" y="134"/>
                  <a:pt x="560" y="133"/>
                </a:cubicBezTo>
                <a:cubicBezTo>
                  <a:pt x="560" y="133"/>
                  <a:pt x="560" y="133"/>
                  <a:pt x="561" y="133"/>
                </a:cubicBezTo>
                <a:cubicBezTo>
                  <a:pt x="561" y="133"/>
                  <a:pt x="561" y="134"/>
                  <a:pt x="561" y="134"/>
                </a:cubicBezTo>
                <a:cubicBezTo>
                  <a:pt x="561" y="135"/>
                  <a:pt x="561" y="135"/>
                  <a:pt x="560" y="135"/>
                </a:cubicBezTo>
                <a:cubicBezTo>
                  <a:pt x="559" y="135"/>
                  <a:pt x="558" y="135"/>
                  <a:pt x="557" y="135"/>
                </a:cubicBezTo>
                <a:cubicBezTo>
                  <a:pt x="557" y="136"/>
                  <a:pt x="558" y="136"/>
                  <a:pt x="560" y="137"/>
                </a:cubicBezTo>
                <a:cubicBezTo>
                  <a:pt x="561" y="137"/>
                  <a:pt x="562" y="137"/>
                  <a:pt x="563" y="137"/>
                </a:cubicBezTo>
                <a:cubicBezTo>
                  <a:pt x="563" y="136"/>
                  <a:pt x="563" y="136"/>
                  <a:pt x="563" y="136"/>
                </a:cubicBezTo>
                <a:cubicBezTo>
                  <a:pt x="563" y="136"/>
                  <a:pt x="564" y="136"/>
                  <a:pt x="564" y="136"/>
                </a:cubicBezTo>
                <a:cubicBezTo>
                  <a:pt x="564" y="135"/>
                  <a:pt x="565" y="136"/>
                  <a:pt x="566" y="136"/>
                </a:cubicBezTo>
                <a:cubicBezTo>
                  <a:pt x="566" y="136"/>
                  <a:pt x="566" y="135"/>
                  <a:pt x="566" y="135"/>
                </a:cubicBezTo>
                <a:cubicBezTo>
                  <a:pt x="567" y="135"/>
                  <a:pt x="568" y="134"/>
                  <a:pt x="568" y="134"/>
                </a:cubicBezTo>
                <a:cubicBezTo>
                  <a:pt x="569" y="134"/>
                  <a:pt x="569" y="134"/>
                  <a:pt x="570" y="133"/>
                </a:cubicBezTo>
                <a:cubicBezTo>
                  <a:pt x="570" y="133"/>
                  <a:pt x="570" y="133"/>
                  <a:pt x="570" y="133"/>
                </a:cubicBezTo>
                <a:cubicBezTo>
                  <a:pt x="570" y="133"/>
                  <a:pt x="571" y="132"/>
                  <a:pt x="571" y="132"/>
                </a:cubicBezTo>
                <a:cubicBezTo>
                  <a:pt x="569" y="131"/>
                  <a:pt x="568" y="130"/>
                  <a:pt x="567" y="129"/>
                </a:cubicBezTo>
                <a:cubicBezTo>
                  <a:pt x="566" y="127"/>
                  <a:pt x="565" y="126"/>
                  <a:pt x="564" y="126"/>
                </a:cubicBezTo>
                <a:cubicBezTo>
                  <a:pt x="563" y="126"/>
                  <a:pt x="563" y="125"/>
                  <a:pt x="563" y="124"/>
                </a:cubicBezTo>
                <a:cubicBezTo>
                  <a:pt x="563" y="124"/>
                  <a:pt x="564" y="124"/>
                  <a:pt x="565" y="125"/>
                </a:cubicBezTo>
                <a:cubicBezTo>
                  <a:pt x="565" y="125"/>
                  <a:pt x="565" y="125"/>
                  <a:pt x="565" y="125"/>
                </a:cubicBezTo>
                <a:cubicBezTo>
                  <a:pt x="565" y="125"/>
                  <a:pt x="566" y="125"/>
                  <a:pt x="566" y="125"/>
                </a:cubicBezTo>
                <a:cubicBezTo>
                  <a:pt x="567" y="125"/>
                  <a:pt x="567" y="126"/>
                  <a:pt x="568" y="126"/>
                </a:cubicBezTo>
                <a:cubicBezTo>
                  <a:pt x="568" y="126"/>
                  <a:pt x="568" y="127"/>
                  <a:pt x="569" y="127"/>
                </a:cubicBezTo>
                <a:cubicBezTo>
                  <a:pt x="570" y="127"/>
                  <a:pt x="569" y="128"/>
                  <a:pt x="570" y="128"/>
                </a:cubicBezTo>
                <a:cubicBezTo>
                  <a:pt x="571" y="128"/>
                  <a:pt x="572" y="128"/>
                  <a:pt x="573" y="127"/>
                </a:cubicBezTo>
                <a:cubicBezTo>
                  <a:pt x="574" y="127"/>
                  <a:pt x="573" y="128"/>
                  <a:pt x="575" y="128"/>
                </a:cubicBezTo>
                <a:cubicBezTo>
                  <a:pt x="576" y="128"/>
                  <a:pt x="577" y="127"/>
                  <a:pt x="578" y="127"/>
                </a:cubicBezTo>
                <a:cubicBezTo>
                  <a:pt x="577" y="128"/>
                  <a:pt x="577" y="128"/>
                  <a:pt x="577" y="128"/>
                </a:cubicBezTo>
                <a:cubicBezTo>
                  <a:pt x="577" y="129"/>
                  <a:pt x="577" y="130"/>
                  <a:pt x="578" y="130"/>
                </a:cubicBezTo>
                <a:cubicBezTo>
                  <a:pt x="577" y="130"/>
                  <a:pt x="577" y="130"/>
                  <a:pt x="577" y="130"/>
                </a:cubicBezTo>
                <a:cubicBezTo>
                  <a:pt x="576" y="131"/>
                  <a:pt x="576" y="131"/>
                  <a:pt x="576" y="132"/>
                </a:cubicBezTo>
                <a:cubicBezTo>
                  <a:pt x="576" y="132"/>
                  <a:pt x="577" y="132"/>
                  <a:pt x="577" y="132"/>
                </a:cubicBezTo>
                <a:cubicBezTo>
                  <a:pt x="576" y="133"/>
                  <a:pt x="576" y="133"/>
                  <a:pt x="576" y="134"/>
                </a:cubicBezTo>
                <a:cubicBezTo>
                  <a:pt x="577" y="134"/>
                  <a:pt x="578" y="134"/>
                  <a:pt x="578" y="134"/>
                </a:cubicBezTo>
                <a:cubicBezTo>
                  <a:pt x="579" y="134"/>
                  <a:pt x="578" y="134"/>
                  <a:pt x="579" y="134"/>
                </a:cubicBezTo>
                <a:cubicBezTo>
                  <a:pt x="578" y="135"/>
                  <a:pt x="578" y="135"/>
                  <a:pt x="578" y="136"/>
                </a:cubicBezTo>
                <a:cubicBezTo>
                  <a:pt x="578" y="136"/>
                  <a:pt x="579" y="136"/>
                  <a:pt x="579" y="136"/>
                </a:cubicBezTo>
                <a:cubicBezTo>
                  <a:pt x="579" y="137"/>
                  <a:pt x="578" y="138"/>
                  <a:pt x="578" y="139"/>
                </a:cubicBezTo>
                <a:cubicBezTo>
                  <a:pt x="578" y="138"/>
                  <a:pt x="577" y="138"/>
                  <a:pt x="577" y="138"/>
                </a:cubicBezTo>
                <a:cubicBezTo>
                  <a:pt x="577" y="137"/>
                  <a:pt x="577" y="137"/>
                  <a:pt x="577" y="136"/>
                </a:cubicBezTo>
                <a:cubicBezTo>
                  <a:pt x="577" y="136"/>
                  <a:pt x="576" y="136"/>
                  <a:pt x="575" y="136"/>
                </a:cubicBezTo>
                <a:cubicBezTo>
                  <a:pt x="575" y="136"/>
                  <a:pt x="575" y="139"/>
                  <a:pt x="575" y="139"/>
                </a:cubicBezTo>
                <a:cubicBezTo>
                  <a:pt x="576" y="139"/>
                  <a:pt x="576" y="139"/>
                  <a:pt x="576" y="140"/>
                </a:cubicBezTo>
                <a:cubicBezTo>
                  <a:pt x="576" y="140"/>
                  <a:pt x="575" y="140"/>
                  <a:pt x="576" y="140"/>
                </a:cubicBezTo>
                <a:cubicBezTo>
                  <a:pt x="576" y="140"/>
                  <a:pt x="576" y="141"/>
                  <a:pt x="577" y="141"/>
                </a:cubicBezTo>
                <a:cubicBezTo>
                  <a:pt x="576" y="141"/>
                  <a:pt x="576" y="142"/>
                  <a:pt x="576" y="142"/>
                </a:cubicBezTo>
                <a:cubicBezTo>
                  <a:pt x="576" y="142"/>
                  <a:pt x="575" y="143"/>
                  <a:pt x="574" y="143"/>
                </a:cubicBezTo>
                <a:cubicBezTo>
                  <a:pt x="574" y="143"/>
                  <a:pt x="572" y="143"/>
                  <a:pt x="572" y="143"/>
                </a:cubicBezTo>
                <a:cubicBezTo>
                  <a:pt x="572" y="142"/>
                  <a:pt x="571" y="143"/>
                  <a:pt x="571" y="142"/>
                </a:cubicBezTo>
                <a:cubicBezTo>
                  <a:pt x="570" y="143"/>
                  <a:pt x="570" y="143"/>
                  <a:pt x="570" y="144"/>
                </a:cubicBezTo>
                <a:cubicBezTo>
                  <a:pt x="570" y="144"/>
                  <a:pt x="568" y="143"/>
                  <a:pt x="568" y="144"/>
                </a:cubicBezTo>
                <a:cubicBezTo>
                  <a:pt x="568" y="143"/>
                  <a:pt x="566" y="145"/>
                  <a:pt x="567" y="145"/>
                </a:cubicBezTo>
                <a:cubicBezTo>
                  <a:pt x="569" y="145"/>
                  <a:pt x="570" y="145"/>
                  <a:pt x="572" y="145"/>
                </a:cubicBezTo>
                <a:cubicBezTo>
                  <a:pt x="572" y="145"/>
                  <a:pt x="573" y="145"/>
                  <a:pt x="574" y="145"/>
                </a:cubicBezTo>
                <a:cubicBezTo>
                  <a:pt x="575" y="145"/>
                  <a:pt x="574" y="145"/>
                  <a:pt x="575" y="145"/>
                </a:cubicBezTo>
                <a:cubicBezTo>
                  <a:pt x="575" y="144"/>
                  <a:pt x="576" y="144"/>
                  <a:pt x="577" y="144"/>
                </a:cubicBezTo>
                <a:cubicBezTo>
                  <a:pt x="577" y="145"/>
                  <a:pt x="577" y="146"/>
                  <a:pt x="577" y="146"/>
                </a:cubicBezTo>
                <a:cubicBezTo>
                  <a:pt x="576" y="146"/>
                  <a:pt x="575" y="146"/>
                  <a:pt x="574" y="146"/>
                </a:cubicBezTo>
                <a:cubicBezTo>
                  <a:pt x="574" y="146"/>
                  <a:pt x="574" y="146"/>
                  <a:pt x="574" y="146"/>
                </a:cubicBezTo>
                <a:cubicBezTo>
                  <a:pt x="574" y="147"/>
                  <a:pt x="573" y="147"/>
                  <a:pt x="572" y="147"/>
                </a:cubicBezTo>
                <a:cubicBezTo>
                  <a:pt x="571" y="147"/>
                  <a:pt x="571" y="147"/>
                  <a:pt x="570" y="147"/>
                </a:cubicBezTo>
                <a:cubicBezTo>
                  <a:pt x="570" y="147"/>
                  <a:pt x="570" y="146"/>
                  <a:pt x="569" y="146"/>
                </a:cubicBezTo>
                <a:cubicBezTo>
                  <a:pt x="569" y="146"/>
                  <a:pt x="568" y="146"/>
                  <a:pt x="568" y="145"/>
                </a:cubicBezTo>
                <a:cubicBezTo>
                  <a:pt x="568" y="146"/>
                  <a:pt x="566" y="146"/>
                  <a:pt x="568" y="147"/>
                </a:cubicBezTo>
                <a:cubicBezTo>
                  <a:pt x="569" y="147"/>
                  <a:pt x="570" y="148"/>
                  <a:pt x="571" y="148"/>
                </a:cubicBezTo>
                <a:cubicBezTo>
                  <a:pt x="570" y="149"/>
                  <a:pt x="569" y="148"/>
                  <a:pt x="568" y="147"/>
                </a:cubicBezTo>
                <a:cubicBezTo>
                  <a:pt x="567" y="147"/>
                  <a:pt x="566" y="147"/>
                  <a:pt x="565" y="148"/>
                </a:cubicBezTo>
                <a:cubicBezTo>
                  <a:pt x="564" y="149"/>
                  <a:pt x="564" y="149"/>
                  <a:pt x="563" y="150"/>
                </a:cubicBezTo>
                <a:cubicBezTo>
                  <a:pt x="563" y="150"/>
                  <a:pt x="563" y="151"/>
                  <a:pt x="563" y="152"/>
                </a:cubicBezTo>
                <a:cubicBezTo>
                  <a:pt x="564" y="152"/>
                  <a:pt x="564" y="151"/>
                  <a:pt x="565" y="151"/>
                </a:cubicBezTo>
                <a:cubicBezTo>
                  <a:pt x="565" y="151"/>
                  <a:pt x="565" y="151"/>
                  <a:pt x="566" y="150"/>
                </a:cubicBezTo>
                <a:cubicBezTo>
                  <a:pt x="566" y="150"/>
                  <a:pt x="566" y="150"/>
                  <a:pt x="566" y="150"/>
                </a:cubicBezTo>
                <a:cubicBezTo>
                  <a:pt x="567" y="150"/>
                  <a:pt x="567" y="150"/>
                  <a:pt x="568" y="150"/>
                </a:cubicBezTo>
                <a:cubicBezTo>
                  <a:pt x="568" y="149"/>
                  <a:pt x="568" y="150"/>
                  <a:pt x="569" y="150"/>
                </a:cubicBezTo>
                <a:cubicBezTo>
                  <a:pt x="570" y="150"/>
                  <a:pt x="569" y="149"/>
                  <a:pt x="570" y="149"/>
                </a:cubicBezTo>
                <a:cubicBezTo>
                  <a:pt x="571" y="149"/>
                  <a:pt x="571" y="149"/>
                  <a:pt x="572" y="149"/>
                </a:cubicBezTo>
                <a:cubicBezTo>
                  <a:pt x="572" y="149"/>
                  <a:pt x="571" y="149"/>
                  <a:pt x="572" y="149"/>
                </a:cubicBezTo>
                <a:cubicBezTo>
                  <a:pt x="573" y="149"/>
                  <a:pt x="572" y="149"/>
                  <a:pt x="571" y="149"/>
                </a:cubicBezTo>
                <a:cubicBezTo>
                  <a:pt x="572" y="150"/>
                  <a:pt x="572" y="150"/>
                  <a:pt x="573" y="151"/>
                </a:cubicBezTo>
                <a:cubicBezTo>
                  <a:pt x="573" y="151"/>
                  <a:pt x="573" y="151"/>
                  <a:pt x="573" y="151"/>
                </a:cubicBezTo>
                <a:cubicBezTo>
                  <a:pt x="574" y="151"/>
                  <a:pt x="575" y="151"/>
                  <a:pt x="575" y="151"/>
                </a:cubicBezTo>
                <a:cubicBezTo>
                  <a:pt x="576" y="151"/>
                  <a:pt x="576" y="150"/>
                  <a:pt x="575" y="150"/>
                </a:cubicBezTo>
                <a:cubicBezTo>
                  <a:pt x="575" y="149"/>
                  <a:pt x="575" y="149"/>
                  <a:pt x="576" y="148"/>
                </a:cubicBezTo>
                <a:cubicBezTo>
                  <a:pt x="576" y="148"/>
                  <a:pt x="577" y="148"/>
                  <a:pt x="578" y="148"/>
                </a:cubicBezTo>
                <a:cubicBezTo>
                  <a:pt x="577" y="149"/>
                  <a:pt x="577" y="149"/>
                  <a:pt x="577" y="149"/>
                </a:cubicBezTo>
                <a:cubicBezTo>
                  <a:pt x="577" y="150"/>
                  <a:pt x="578" y="150"/>
                  <a:pt x="577" y="150"/>
                </a:cubicBezTo>
                <a:cubicBezTo>
                  <a:pt x="577" y="151"/>
                  <a:pt x="577" y="151"/>
                  <a:pt x="577" y="151"/>
                </a:cubicBezTo>
                <a:cubicBezTo>
                  <a:pt x="577" y="152"/>
                  <a:pt x="576" y="152"/>
                  <a:pt x="576" y="152"/>
                </a:cubicBezTo>
                <a:cubicBezTo>
                  <a:pt x="575" y="152"/>
                  <a:pt x="574" y="152"/>
                  <a:pt x="573" y="152"/>
                </a:cubicBezTo>
                <a:cubicBezTo>
                  <a:pt x="573" y="152"/>
                  <a:pt x="573" y="152"/>
                  <a:pt x="573" y="152"/>
                </a:cubicBezTo>
                <a:cubicBezTo>
                  <a:pt x="573" y="152"/>
                  <a:pt x="571" y="151"/>
                  <a:pt x="571" y="151"/>
                </a:cubicBezTo>
                <a:cubicBezTo>
                  <a:pt x="571" y="150"/>
                  <a:pt x="569" y="151"/>
                  <a:pt x="569" y="150"/>
                </a:cubicBezTo>
                <a:cubicBezTo>
                  <a:pt x="568" y="150"/>
                  <a:pt x="567" y="150"/>
                  <a:pt x="566" y="151"/>
                </a:cubicBezTo>
                <a:cubicBezTo>
                  <a:pt x="566" y="151"/>
                  <a:pt x="566" y="151"/>
                  <a:pt x="565" y="152"/>
                </a:cubicBezTo>
                <a:cubicBezTo>
                  <a:pt x="565" y="152"/>
                  <a:pt x="565" y="153"/>
                  <a:pt x="565" y="153"/>
                </a:cubicBezTo>
                <a:cubicBezTo>
                  <a:pt x="565" y="153"/>
                  <a:pt x="564" y="153"/>
                  <a:pt x="564" y="153"/>
                </a:cubicBezTo>
                <a:cubicBezTo>
                  <a:pt x="563" y="153"/>
                  <a:pt x="563" y="154"/>
                  <a:pt x="563" y="154"/>
                </a:cubicBezTo>
                <a:cubicBezTo>
                  <a:pt x="562" y="154"/>
                  <a:pt x="563" y="154"/>
                  <a:pt x="563" y="154"/>
                </a:cubicBezTo>
                <a:cubicBezTo>
                  <a:pt x="564" y="154"/>
                  <a:pt x="564" y="155"/>
                  <a:pt x="564" y="156"/>
                </a:cubicBezTo>
                <a:cubicBezTo>
                  <a:pt x="564" y="156"/>
                  <a:pt x="563" y="156"/>
                  <a:pt x="563" y="156"/>
                </a:cubicBezTo>
                <a:cubicBezTo>
                  <a:pt x="564" y="156"/>
                  <a:pt x="564" y="156"/>
                  <a:pt x="565" y="156"/>
                </a:cubicBezTo>
                <a:cubicBezTo>
                  <a:pt x="566" y="156"/>
                  <a:pt x="565" y="157"/>
                  <a:pt x="566" y="157"/>
                </a:cubicBezTo>
                <a:cubicBezTo>
                  <a:pt x="566" y="157"/>
                  <a:pt x="566" y="158"/>
                  <a:pt x="566" y="158"/>
                </a:cubicBezTo>
                <a:cubicBezTo>
                  <a:pt x="566" y="158"/>
                  <a:pt x="566" y="158"/>
                  <a:pt x="566" y="158"/>
                </a:cubicBezTo>
                <a:cubicBezTo>
                  <a:pt x="566" y="158"/>
                  <a:pt x="566" y="159"/>
                  <a:pt x="566" y="159"/>
                </a:cubicBezTo>
                <a:cubicBezTo>
                  <a:pt x="565" y="159"/>
                  <a:pt x="564" y="159"/>
                  <a:pt x="564" y="159"/>
                </a:cubicBezTo>
                <a:cubicBezTo>
                  <a:pt x="564" y="160"/>
                  <a:pt x="564" y="160"/>
                  <a:pt x="564" y="160"/>
                </a:cubicBezTo>
                <a:cubicBezTo>
                  <a:pt x="563" y="160"/>
                  <a:pt x="565" y="162"/>
                  <a:pt x="565" y="161"/>
                </a:cubicBezTo>
                <a:cubicBezTo>
                  <a:pt x="565" y="160"/>
                  <a:pt x="566" y="161"/>
                  <a:pt x="566" y="161"/>
                </a:cubicBezTo>
                <a:cubicBezTo>
                  <a:pt x="566" y="162"/>
                  <a:pt x="563" y="162"/>
                  <a:pt x="563" y="162"/>
                </a:cubicBezTo>
                <a:cubicBezTo>
                  <a:pt x="564" y="163"/>
                  <a:pt x="564" y="164"/>
                  <a:pt x="565" y="164"/>
                </a:cubicBezTo>
                <a:cubicBezTo>
                  <a:pt x="566" y="164"/>
                  <a:pt x="566" y="163"/>
                  <a:pt x="566" y="163"/>
                </a:cubicBezTo>
                <a:cubicBezTo>
                  <a:pt x="568" y="163"/>
                  <a:pt x="567" y="164"/>
                  <a:pt x="566" y="164"/>
                </a:cubicBezTo>
                <a:cubicBezTo>
                  <a:pt x="565" y="165"/>
                  <a:pt x="566" y="165"/>
                  <a:pt x="566" y="166"/>
                </a:cubicBezTo>
                <a:cubicBezTo>
                  <a:pt x="566" y="166"/>
                  <a:pt x="567" y="166"/>
                  <a:pt x="568" y="165"/>
                </a:cubicBezTo>
                <a:cubicBezTo>
                  <a:pt x="568" y="165"/>
                  <a:pt x="568" y="166"/>
                  <a:pt x="568" y="166"/>
                </a:cubicBezTo>
                <a:cubicBezTo>
                  <a:pt x="569" y="166"/>
                  <a:pt x="570" y="164"/>
                  <a:pt x="570" y="164"/>
                </a:cubicBezTo>
                <a:cubicBezTo>
                  <a:pt x="571" y="164"/>
                  <a:pt x="572" y="165"/>
                  <a:pt x="571" y="165"/>
                </a:cubicBezTo>
                <a:cubicBezTo>
                  <a:pt x="570" y="166"/>
                  <a:pt x="569" y="166"/>
                  <a:pt x="568" y="167"/>
                </a:cubicBezTo>
                <a:cubicBezTo>
                  <a:pt x="569" y="167"/>
                  <a:pt x="572" y="169"/>
                  <a:pt x="570" y="169"/>
                </a:cubicBezTo>
                <a:cubicBezTo>
                  <a:pt x="569" y="169"/>
                  <a:pt x="569" y="171"/>
                  <a:pt x="570" y="171"/>
                </a:cubicBezTo>
                <a:cubicBezTo>
                  <a:pt x="570" y="171"/>
                  <a:pt x="571" y="171"/>
                  <a:pt x="571" y="171"/>
                </a:cubicBezTo>
                <a:cubicBezTo>
                  <a:pt x="571" y="171"/>
                  <a:pt x="571" y="172"/>
                  <a:pt x="572" y="172"/>
                </a:cubicBezTo>
                <a:cubicBezTo>
                  <a:pt x="573" y="172"/>
                  <a:pt x="571" y="173"/>
                  <a:pt x="571" y="173"/>
                </a:cubicBezTo>
                <a:cubicBezTo>
                  <a:pt x="571" y="174"/>
                  <a:pt x="571" y="175"/>
                  <a:pt x="571" y="175"/>
                </a:cubicBezTo>
                <a:cubicBezTo>
                  <a:pt x="573" y="175"/>
                  <a:pt x="574" y="174"/>
                  <a:pt x="574" y="173"/>
                </a:cubicBezTo>
                <a:cubicBezTo>
                  <a:pt x="575" y="173"/>
                  <a:pt x="575" y="173"/>
                  <a:pt x="576" y="173"/>
                </a:cubicBezTo>
                <a:cubicBezTo>
                  <a:pt x="576" y="173"/>
                  <a:pt x="576" y="172"/>
                  <a:pt x="577" y="172"/>
                </a:cubicBezTo>
                <a:cubicBezTo>
                  <a:pt x="577" y="172"/>
                  <a:pt x="578" y="172"/>
                  <a:pt x="578" y="173"/>
                </a:cubicBezTo>
                <a:cubicBezTo>
                  <a:pt x="578" y="173"/>
                  <a:pt x="578" y="174"/>
                  <a:pt x="578" y="175"/>
                </a:cubicBezTo>
                <a:cubicBezTo>
                  <a:pt x="578" y="174"/>
                  <a:pt x="577" y="174"/>
                  <a:pt x="577" y="174"/>
                </a:cubicBezTo>
                <a:cubicBezTo>
                  <a:pt x="577" y="175"/>
                  <a:pt x="577" y="175"/>
                  <a:pt x="577" y="176"/>
                </a:cubicBezTo>
                <a:cubicBezTo>
                  <a:pt x="575" y="176"/>
                  <a:pt x="574" y="177"/>
                  <a:pt x="572" y="177"/>
                </a:cubicBezTo>
                <a:cubicBezTo>
                  <a:pt x="572" y="177"/>
                  <a:pt x="574" y="177"/>
                  <a:pt x="574" y="177"/>
                </a:cubicBezTo>
                <a:cubicBezTo>
                  <a:pt x="575" y="177"/>
                  <a:pt x="575" y="177"/>
                  <a:pt x="575" y="178"/>
                </a:cubicBezTo>
                <a:cubicBezTo>
                  <a:pt x="575" y="178"/>
                  <a:pt x="574" y="178"/>
                  <a:pt x="574" y="178"/>
                </a:cubicBezTo>
                <a:cubicBezTo>
                  <a:pt x="574" y="178"/>
                  <a:pt x="573" y="178"/>
                  <a:pt x="573" y="178"/>
                </a:cubicBezTo>
                <a:cubicBezTo>
                  <a:pt x="573" y="178"/>
                  <a:pt x="573" y="178"/>
                  <a:pt x="572" y="178"/>
                </a:cubicBezTo>
                <a:cubicBezTo>
                  <a:pt x="573" y="179"/>
                  <a:pt x="573" y="180"/>
                  <a:pt x="574" y="180"/>
                </a:cubicBezTo>
                <a:cubicBezTo>
                  <a:pt x="574" y="180"/>
                  <a:pt x="573" y="181"/>
                  <a:pt x="573" y="181"/>
                </a:cubicBezTo>
                <a:cubicBezTo>
                  <a:pt x="574" y="182"/>
                  <a:pt x="575" y="182"/>
                  <a:pt x="576" y="181"/>
                </a:cubicBezTo>
                <a:cubicBezTo>
                  <a:pt x="576" y="182"/>
                  <a:pt x="576" y="184"/>
                  <a:pt x="575" y="183"/>
                </a:cubicBezTo>
                <a:cubicBezTo>
                  <a:pt x="575" y="183"/>
                  <a:pt x="575" y="184"/>
                  <a:pt x="575" y="184"/>
                </a:cubicBezTo>
                <a:cubicBezTo>
                  <a:pt x="576" y="184"/>
                  <a:pt x="577" y="184"/>
                  <a:pt x="577" y="185"/>
                </a:cubicBezTo>
                <a:cubicBezTo>
                  <a:pt x="577" y="185"/>
                  <a:pt x="576" y="184"/>
                  <a:pt x="576" y="185"/>
                </a:cubicBezTo>
                <a:cubicBezTo>
                  <a:pt x="576" y="185"/>
                  <a:pt x="576" y="185"/>
                  <a:pt x="576" y="186"/>
                </a:cubicBezTo>
                <a:cubicBezTo>
                  <a:pt x="576" y="186"/>
                  <a:pt x="576" y="186"/>
                  <a:pt x="577" y="186"/>
                </a:cubicBezTo>
                <a:cubicBezTo>
                  <a:pt x="578" y="185"/>
                  <a:pt x="578" y="185"/>
                  <a:pt x="579" y="185"/>
                </a:cubicBezTo>
                <a:cubicBezTo>
                  <a:pt x="579" y="186"/>
                  <a:pt x="578" y="187"/>
                  <a:pt x="578" y="188"/>
                </a:cubicBezTo>
                <a:cubicBezTo>
                  <a:pt x="579" y="188"/>
                  <a:pt x="579" y="188"/>
                  <a:pt x="579" y="189"/>
                </a:cubicBezTo>
                <a:cubicBezTo>
                  <a:pt x="580" y="188"/>
                  <a:pt x="581" y="188"/>
                  <a:pt x="582" y="188"/>
                </a:cubicBezTo>
                <a:cubicBezTo>
                  <a:pt x="581" y="189"/>
                  <a:pt x="581" y="190"/>
                  <a:pt x="581" y="191"/>
                </a:cubicBezTo>
                <a:cubicBezTo>
                  <a:pt x="582" y="191"/>
                  <a:pt x="583" y="190"/>
                  <a:pt x="583" y="190"/>
                </a:cubicBezTo>
                <a:cubicBezTo>
                  <a:pt x="584" y="190"/>
                  <a:pt x="584" y="189"/>
                  <a:pt x="585" y="189"/>
                </a:cubicBezTo>
                <a:cubicBezTo>
                  <a:pt x="585" y="189"/>
                  <a:pt x="585" y="189"/>
                  <a:pt x="586" y="189"/>
                </a:cubicBezTo>
                <a:cubicBezTo>
                  <a:pt x="585" y="190"/>
                  <a:pt x="585" y="191"/>
                  <a:pt x="585" y="192"/>
                </a:cubicBezTo>
                <a:cubicBezTo>
                  <a:pt x="586" y="192"/>
                  <a:pt x="585" y="192"/>
                  <a:pt x="586" y="192"/>
                </a:cubicBezTo>
                <a:cubicBezTo>
                  <a:pt x="587" y="192"/>
                  <a:pt x="587" y="191"/>
                  <a:pt x="587" y="191"/>
                </a:cubicBezTo>
                <a:cubicBezTo>
                  <a:pt x="587" y="192"/>
                  <a:pt x="586" y="193"/>
                  <a:pt x="586" y="194"/>
                </a:cubicBezTo>
                <a:cubicBezTo>
                  <a:pt x="587" y="194"/>
                  <a:pt x="587" y="193"/>
                  <a:pt x="587" y="193"/>
                </a:cubicBezTo>
                <a:cubicBezTo>
                  <a:pt x="588" y="194"/>
                  <a:pt x="588" y="195"/>
                  <a:pt x="588" y="195"/>
                </a:cubicBezTo>
                <a:cubicBezTo>
                  <a:pt x="588" y="195"/>
                  <a:pt x="587" y="196"/>
                  <a:pt x="587" y="196"/>
                </a:cubicBezTo>
                <a:cubicBezTo>
                  <a:pt x="588" y="197"/>
                  <a:pt x="590" y="197"/>
                  <a:pt x="589" y="196"/>
                </a:cubicBezTo>
                <a:cubicBezTo>
                  <a:pt x="590" y="196"/>
                  <a:pt x="590" y="196"/>
                  <a:pt x="590" y="196"/>
                </a:cubicBezTo>
                <a:cubicBezTo>
                  <a:pt x="590" y="196"/>
                  <a:pt x="590" y="196"/>
                  <a:pt x="590" y="196"/>
                </a:cubicBezTo>
                <a:cubicBezTo>
                  <a:pt x="590" y="197"/>
                  <a:pt x="588" y="197"/>
                  <a:pt x="588" y="197"/>
                </a:cubicBezTo>
                <a:cubicBezTo>
                  <a:pt x="588" y="198"/>
                  <a:pt x="589" y="198"/>
                  <a:pt x="590" y="198"/>
                </a:cubicBezTo>
                <a:cubicBezTo>
                  <a:pt x="590" y="198"/>
                  <a:pt x="590" y="199"/>
                  <a:pt x="590" y="200"/>
                </a:cubicBezTo>
                <a:cubicBezTo>
                  <a:pt x="590" y="200"/>
                  <a:pt x="591" y="200"/>
                  <a:pt x="592" y="200"/>
                </a:cubicBezTo>
                <a:cubicBezTo>
                  <a:pt x="592" y="201"/>
                  <a:pt x="591" y="200"/>
                  <a:pt x="591" y="201"/>
                </a:cubicBezTo>
                <a:cubicBezTo>
                  <a:pt x="591" y="202"/>
                  <a:pt x="591" y="202"/>
                  <a:pt x="592" y="202"/>
                </a:cubicBezTo>
                <a:cubicBezTo>
                  <a:pt x="593" y="202"/>
                  <a:pt x="592" y="201"/>
                  <a:pt x="593" y="201"/>
                </a:cubicBezTo>
                <a:cubicBezTo>
                  <a:pt x="594" y="201"/>
                  <a:pt x="594" y="199"/>
                  <a:pt x="594" y="200"/>
                </a:cubicBezTo>
                <a:cubicBezTo>
                  <a:pt x="595" y="201"/>
                  <a:pt x="594" y="201"/>
                  <a:pt x="595" y="201"/>
                </a:cubicBezTo>
                <a:cubicBezTo>
                  <a:pt x="596" y="201"/>
                  <a:pt x="596" y="200"/>
                  <a:pt x="596" y="200"/>
                </a:cubicBezTo>
                <a:cubicBezTo>
                  <a:pt x="596" y="200"/>
                  <a:pt x="597" y="200"/>
                  <a:pt x="597" y="200"/>
                </a:cubicBezTo>
                <a:cubicBezTo>
                  <a:pt x="598" y="200"/>
                  <a:pt x="598" y="199"/>
                  <a:pt x="598" y="199"/>
                </a:cubicBezTo>
                <a:cubicBezTo>
                  <a:pt x="598" y="198"/>
                  <a:pt x="599" y="197"/>
                  <a:pt x="600" y="197"/>
                </a:cubicBezTo>
                <a:cubicBezTo>
                  <a:pt x="601" y="198"/>
                  <a:pt x="600" y="199"/>
                  <a:pt x="600" y="200"/>
                </a:cubicBezTo>
                <a:cubicBezTo>
                  <a:pt x="600" y="200"/>
                  <a:pt x="600" y="200"/>
                  <a:pt x="601" y="199"/>
                </a:cubicBezTo>
                <a:cubicBezTo>
                  <a:pt x="601" y="200"/>
                  <a:pt x="600" y="200"/>
                  <a:pt x="600" y="200"/>
                </a:cubicBezTo>
                <a:cubicBezTo>
                  <a:pt x="600" y="201"/>
                  <a:pt x="598" y="201"/>
                  <a:pt x="599" y="201"/>
                </a:cubicBezTo>
                <a:cubicBezTo>
                  <a:pt x="600" y="201"/>
                  <a:pt x="601" y="201"/>
                  <a:pt x="602" y="201"/>
                </a:cubicBezTo>
                <a:cubicBezTo>
                  <a:pt x="602" y="201"/>
                  <a:pt x="602" y="202"/>
                  <a:pt x="602" y="203"/>
                </a:cubicBezTo>
                <a:cubicBezTo>
                  <a:pt x="602" y="202"/>
                  <a:pt x="602" y="203"/>
                  <a:pt x="603" y="203"/>
                </a:cubicBezTo>
                <a:cubicBezTo>
                  <a:pt x="603" y="203"/>
                  <a:pt x="604" y="202"/>
                  <a:pt x="604" y="202"/>
                </a:cubicBezTo>
                <a:cubicBezTo>
                  <a:pt x="604" y="200"/>
                  <a:pt x="605" y="201"/>
                  <a:pt x="605" y="202"/>
                </a:cubicBezTo>
                <a:cubicBezTo>
                  <a:pt x="605" y="202"/>
                  <a:pt x="606" y="202"/>
                  <a:pt x="606" y="202"/>
                </a:cubicBezTo>
                <a:cubicBezTo>
                  <a:pt x="606" y="201"/>
                  <a:pt x="607" y="201"/>
                  <a:pt x="607" y="202"/>
                </a:cubicBezTo>
                <a:cubicBezTo>
                  <a:pt x="607" y="203"/>
                  <a:pt x="606" y="202"/>
                  <a:pt x="606" y="204"/>
                </a:cubicBezTo>
                <a:cubicBezTo>
                  <a:pt x="605" y="204"/>
                  <a:pt x="605" y="205"/>
                  <a:pt x="605" y="205"/>
                </a:cubicBezTo>
                <a:cubicBezTo>
                  <a:pt x="606" y="205"/>
                  <a:pt x="607" y="203"/>
                  <a:pt x="608" y="203"/>
                </a:cubicBezTo>
                <a:cubicBezTo>
                  <a:pt x="607" y="204"/>
                  <a:pt x="607" y="204"/>
                  <a:pt x="607" y="205"/>
                </a:cubicBezTo>
                <a:cubicBezTo>
                  <a:pt x="607" y="205"/>
                  <a:pt x="608" y="205"/>
                  <a:pt x="608" y="206"/>
                </a:cubicBezTo>
                <a:cubicBezTo>
                  <a:pt x="609" y="206"/>
                  <a:pt x="609" y="206"/>
                  <a:pt x="609" y="204"/>
                </a:cubicBezTo>
                <a:cubicBezTo>
                  <a:pt x="609" y="204"/>
                  <a:pt x="609" y="203"/>
                  <a:pt x="609" y="203"/>
                </a:cubicBezTo>
                <a:cubicBezTo>
                  <a:pt x="611" y="203"/>
                  <a:pt x="609" y="205"/>
                  <a:pt x="609" y="205"/>
                </a:cubicBezTo>
                <a:cubicBezTo>
                  <a:pt x="609" y="206"/>
                  <a:pt x="610" y="206"/>
                  <a:pt x="610" y="206"/>
                </a:cubicBezTo>
                <a:cubicBezTo>
                  <a:pt x="611" y="206"/>
                  <a:pt x="611" y="207"/>
                  <a:pt x="612" y="208"/>
                </a:cubicBezTo>
                <a:cubicBezTo>
                  <a:pt x="613" y="207"/>
                  <a:pt x="613" y="207"/>
                  <a:pt x="614" y="207"/>
                </a:cubicBezTo>
                <a:cubicBezTo>
                  <a:pt x="614" y="207"/>
                  <a:pt x="613" y="206"/>
                  <a:pt x="614" y="206"/>
                </a:cubicBezTo>
                <a:cubicBezTo>
                  <a:pt x="614" y="206"/>
                  <a:pt x="615" y="206"/>
                  <a:pt x="615" y="206"/>
                </a:cubicBezTo>
                <a:cubicBezTo>
                  <a:pt x="615" y="205"/>
                  <a:pt x="615" y="205"/>
                  <a:pt x="615" y="205"/>
                </a:cubicBezTo>
                <a:cubicBezTo>
                  <a:pt x="614" y="205"/>
                  <a:pt x="614" y="205"/>
                  <a:pt x="614" y="204"/>
                </a:cubicBezTo>
                <a:cubicBezTo>
                  <a:pt x="614" y="204"/>
                  <a:pt x="614" y="204"/>
                  <a:pt x="614" y="204"/>
                </a:cubicBezTo>
                <a:cubicBezTo>
                  <a:pt x="613" y="203"/>
                  <a:pt x="614" y="203"/>
                  <a:pt x="615" y="203"/>
                </a:cubicBezTo>
                <a:cubicBezTo>
                  <a:pt x="615" y="203"/>
                  <a:pt x="615" y="202"/>
                  <a:pt x="614" y="202"/>
                </a:cubicBezTo>
                <a:cubicBezTo>
                  <a:pt x="614" y="202"/>
                  <a:pt x="614" y="202"/>
                  <a:pt x="614" y="202"/>
                </a:cubicBezTo>
                <a:cubicBezTo>
                  <a:pt x="613" y="202"/>
                  <a:pt x="613" y="202"/>
                  <a:pt x="613" y="201"/>
                </a:cubicBezTo>
                <a:cubicBezTo>
                  <a:pt x="612" y="201"/>
                  <a:pt x="612" y="202"/>
                  <a:pt x="611" y="201"/>
                </a:cubicBezTo>
                <a:cubicBezTo>
                  <a:pt x="612" y="201"/>
                  <a:pt x="612" y="201"/>
                  <a:pt x="612" y="200"/>
                </a:cubicBezTo>
                <a:cubicBezTo>
                  <a:pt x="612" y="201"/>
                  <a:pt x="614" y="201"/>
                  <a:pt x="614" y="200"/>
                </a:cubicBezTo>
                <a:cubicBezTo>
                  <a:pt x="614" y="200"/>
                  <a:pt x="614" y="200"/>
                  <a:pt x="614" y="200"/>
                </a:cubicBezTo>
                <a:cubicBezTo>
                  <a:pt x="615" y="199"/>
                  <a:pt x="615" y="199"/>
                  <a:pt x="615" y="198"/>
                </a:cubicBezTo>
                <a:cubicBezTo>
                  <a:pt x="614" y="197"/>
                  <a:pt x="615" y="197"/>
                  <a:pt x="616" y="197"/>
                </a:cubicBezTo>
                <a:cubicBezTo>
                  <a:pt x="616" y="196"/>
                  <a:pt x="617" y="195"/>
                  <a:pt x="616" y="195"/>
                </a:cubicBezTo>
                <a:cubicBezTo>
                  <a:pt x="616" y="195"/>
                  <a:pt x="616" y="194"/>
                  <a:pt x="616" y="194"/>
                </a:cubicBezTo>
                <a:cubicBezTo>
                  <a:pt x="617" y="194"/>
                  <a:pt x="617" y="194"/>
                  <a:pt x="617" y="193"/>
                </a:cubicBezTo>
                <a:cubicBezTo>
                  <a:pt x="618" y="192"/>
                  <a:pt x="618" y="192"/>
                  <a:pt x="618" y="191"/>
                </a:cubicBezTo>
                <a:cubicBezTo>
                  <a:pt x="618" y="191"/>
                  <a:pt x="618" y="192"/>
                  <a:pt x="618" y="191"/>
                </a:cubicBezTo>
                <a:cubicBezTo>
                  <a:pt x="618" y="191"/>
                  <a:pt x="617" y="190"/>
                  <a:pt x="617" y="190"/>
                </a:cubicBezTo>
                <a:cubicBezTo>
                  <a:pt x="617" y="190"/>
                  <a:pt x="617" y="189"/>
                  <a:pt x="617" y="188"/>
                </a:cubicBezTo>
                <a:cubicBezTo>
                  <a:pt x="618" y="188"/>
                  <a:pt x="619" y="188"/>
                  <a:pt x="619" y="188"/>
                </a:cubicBezTo>
                <a:cubicBezTo>
                  <a:pt x="619" y="188"/>
                  <a:pt x="620" y="187"/>
                  <a:pt x="620" y="186"/>
                </a:cubicBezTo>
                <a:cubicBezTo>
                  <a:pt x="619" y="186"/>
                  <a:pt x="619" y="186"/>
                  <a:pt x="619" y="186"/>
                </a:cubicBezTo>
                <a:cubicBezTo>
                  <a:pt x="619" y="185"/>
                  <a:pt x="619" y="183"/>
                  <a:pt x="620" y="184"/>
                </a:cubicBezTo>
                <a:cubicBezTo>
                  <a:pt x="621" y="184"/>
                  <a:pt x="620" y="184"/>
                  <a:pt x="621" y="185"/>
                </a:cubicBezTo>
                <a:cubicBezTo>
                  <a:pt x="621" y="185"/>
                  <a:pt x="622" y="185"/>
                  <a:pt x="622" y="185"/>
                </a:cubicBezTo>
                <a:cubicBezTo>
                  <a:pt x="622" y="184"/>
                  <a:pt x="621" y="183"/>
                  <a:pt x="622" y="183"/>
                </a:cubicBezTo>
                <a:cubicBezTo>
                  <a:pt x="623" y="183"/>
                  <a:pt x="622" y="182"/>
                  <a:pt x="622" y="182"/>
                </a:cubicBezTo>
                <a:cubicBezTo>
                  <a:pt x="622" y="181"/>
                  <a:pt x="623" y="181"/>
                  <a:pt x="622" y="181"/>
                </a:cubicBezTo>
                <a:cubicBezTo>
                  <a:pt x="622" y="180"/>
                  <a:pt x="621" y="180"/>
                  <a:pt x="621" y="180"/>
                </a:cubicBezTo>
                <a:cubicBezTo>
                  <a:pt x="622" y="180"/>
                  <a:pt x="623" y="181"/>
                  <a:pt x="625" y="181"/>
                </a:cubicBezTo>
                <a:cubicBezTo>
                  <a:pt x="625" y="180"/>
                  <a:pt x="625" y="178"/>
                  <a:pt x="624" y="177"/>
                </a:cubicBezTo>
                <a:cubicBezTo>
                  <a:pt x="625" y="177"/>
                  <a:pt x="626" y="176"/>
                  <a:pt x="626" y="175"/>
                </a:cubicBezTo>
                <a:cubicBezTo>
                  <a:pt x="625" y="175"/>
                  <a:pt x="622" y="175"/>
                  <a:pt x="622" y="174"/>
                </a:cubicBezTo>
                <a:cubicBezTo>
                  <a:pt x="622" y="174"/>
                  <a:pt x="622" y="174"/>
                  <a:pt x="623" y="174"/>
                </a:cubicBezTo>
                <a:cubicBezTo>
                  <a:pt x="623" y="174"/>
                  <a:pt x="623" y="174"/>
                  <a:pt x="623" y="174"/>
                </a:cubicBezTo>
                <a:cubicBezTo>
                  <a:pt x="624" y="174"/>
                  <a:pt x="626" y="174"/>
                  <a:pt x="627" y="174"/>
                </a:cubicBezTo>
                <a:cubicBezTo>
                  <a:pt x="627" y="173"/>
                  <a:pt x="627" y="172"/>
                  <a:pt x="627" y="171"/>
                </a:cubicBezTo>
                <a:cubicBezTo>
                  <a:pt x="627" y="171"/>
                  <a:pt x="627" y="171"/>
                  <a:pt x="627" y="171"/>
                </a:cubicBezTo>
                <a:cubicBezTo>
                  <a:pt x="626" y="171"/>
                  <a:pt x="626" y="170"/>
                  <a:pt x="626" y="170"/>
                </a:cubicBezTo>
                <a:cubicBezTo>
                  <a:pt x="625" y="169"/>
                  <a:pt x="625" y="168"/>
                  <a:pt x="624" y="167"/>
                </a:cubicBezTo>
                <a:cubicBezTo>
                  <a:pt x="625" y="167"/>
                  <a:pt x="625" y="167"/>
                  <a:pt x="626" y="167"/>
                </a:cubicBezTo>
                <a:cubicBezTo>
                  <a:pt x="626" y="167"/>
                  <a:pt x="626" y="168"/>
                  <a:pt x="627" y="167"/>
                </a:cubicBezTo>
                <a:cubicBezTo>
                  <a:pt x="627" y="167"/>
                  <a:pt x="628" y="167"/>
                  <a:pt x="628" y="166"/>
                </a:cubicBezTo>
                <a:cubicBezTo>
                  <a:pt x="628" y="166"/>
                  <a:pt x="629" y="166"/>
                  <a:pt x="629" y="166"/>
                </a:cubicBezTo>
                <a:cubicBezTo>
                  <a:pt x="629" y="165"/>
                  <a:pt x="629" y="164"/>
                  <a:pt x="628" y="164"/>
                </a:cubicBezTo>
                <a:cubicBezTo>
                  <a:pt x="630" y="164"/>
                  <a:pt x="631" y="164"/>
                  <a:pt x="632" y="164"/>
                </a:cubicBezTo>
                <a:cubicBezTo>
                  <a:pt x="632" y="164"/>
                  <a:pt x="633" y="164"/>
                  <a:pt x="632" y="163"/>
                </a:cubicBezTo>
                <a:cubicBezTo>
                  <a:pt x="634" y="164"/>
                  <a:pt x="635" y="164"/>
                  <a:pt x="637" y="164"/>
                </a:cubicBezTo>
                <a:cubicBezTo>
                  <a:pt x="636" y="163"/>
                  <a:pt x="637" y="164"/>
                  <a:pt x="637" y="163"/>
                </a:cubicBezTo>
                <a:cubicBezTo>
                  <a:pt x="638" y="162"/>
                  <a:pt x="639" y="162"/>
                  <a:pt x="640" y="162"/>
                </a:cubicBezTo>
                <a:cubicBezTo>
                  <a:pt x="640" y="162"/>
                  <a:pt x="640" y="163"/>
                  <a:pt x="641" y="164"/>
                </a:cubicBezTo>
                <a:cubicBezTo>
                  <a:pt x="641" y="164"/>
                  <a:pt x="642" y="165"/>
                  <a:pt x="642" y="165"/>
                </a:cubicBezTo>
                <a:cubicBezTo>
                  <a:pt x="642" y="165"/>
                  <a:pt x="643" y="163"/>
                  <a:pt x="643" y="163"/>
                </a:cubicBezTo>
                <a:cubicBezTo>
                  <a:pt x="644" y="163"/>
                  <a:pt x="644" y="163"/>
                  <a:pt x="644" y="163"/>
                </a:cubicBezTo>
                <a:cubicBezTo>
                  <a:pt x="644" y="162"/>
                  <a:pt x="644" y="162"/>
                  <a:pt x="645" y="161"/>
                </a:cubicBezTo>
                <a:cubicBezTo>
                  <a:pt x="646" y="161"/>
                  <a:pt x="647" y="161"/>
                  <a:pt x="647" y="162"/>
                </a:cubicBezTo>
                <a:cubicBezTo>
                  <a:pt x="647" y="163"/>
                  <a:pt x="648" y="163"/>
                  <a:pt x="648" y="162"/>
                </a:cubicBezTo>
                <a:cubicBezTo>
                  <a:pt x="648" y="161"/>
                  <a:pt x="648" y="161"/>
                  <a:pt x="649" y="161"/>
                </a:cubicBezTo>
                <a:cubicBezTo>
                  <a:pt x="649" y="160"/>
                  <a:pt x="649" y="160"/>
                  <a:pt x="649" y="160"/>
                </a:cubicBezTo>
                <a:cubicBezTo>
                  <a:pt x="649" y="160"/>
                  <a:pt x="648" y="160"/>
                  <a:pt x="649" y="160"/>
                </a:cubicBezTo>
                <a:cubicBezTo>
                  <a:pt x="650" y="160"/>
                  <a:pt x="649" y="159"/>
                  <a:pt x="650" y="159"/>
                </a:cubicBezTo>
                <a:cubicBezTo>
                  <a:pt x="651" y="159"/>
                  <a:pt x="651" y="157"/>
                  <a:pt x="652" y="156"/>
                </a:cubicBezTo>
                <a:cubicBezTo>
                  <a:pt x="652" y="156"/>
                  <a:pt x="652" y="156"/>
                  <a:pt x="653" y="156"/>
                </a:cubicBezTo>
                <a:cubicBezTo>
                  <a:pt x="654" y="156"/>
                  <a:pt x="654" y="155"/>
                  <a:pt x="655" y="155"/>
                </a:cubicBezTo>
                <a:cubicBezTo>
                  <a:pt x="656" y="154"/>
                  <a:pt x="655" y="154"/>
                  <a:pt x="656" y="154"/>
                </a:cubicBezTo>
                <a:cubicBezTo>
                  <a:pt x="657" y="154"/>
                  <a:pt x="658" y="153"/>
                  <a:pt x="659" y="152"/>
                </a:cubicBezTo>
                <a:cubicBezTo>
                  <a:pt x="659" y="152"/>
                  <a:pt x="660" y="151"/>
                  <a:pt x="660" y="150"/>
                </a:cubicBezTo>
                <a:cubicBezTo>
                  <a:pt x="660" y="150"/>
                  <a:pt x="661" y="150"/>
                  <a:pt x="662" y="149"/>
                </a:cubicBezTo>
                <a:cubicBezTo>
                  <a:pt x="662" y="149"/>
                  <a:pt x="663" y="148"/>
                  <a:pt x="663" y="149"/>
                </a:cubicBezTo>
                <a:cubicBezTo>
                  <a:pt x="664" y="149"/>
                  <a:pt x="665" y="148"/>
                  <a:pt x="665" y="147"/>
                </a:cubicBezTo>
                <a:cubicBezTo>
                  <a:pt x="665" y="147"/>
                  <a:pt x="665" y="146"/>
                  <a:pt x="665" y="145"/>
                </a:cubicBezTo>
                <a:cubicBezTo>
                  <a:pt x="665" y="144"/>
                  <a:pt x="664" y="145"/>
                  <a:pt x="664" y="145"/>
                </a:cubicBezTo>
                <a:cubicBezTo>
                  <a:pt x="663" y="144"/>
                  <a:pt x="662" y="143"/>
                  <a:pt x="662" y="141"/>
                </a:cubicBezTo>
                <a:cubicBezTo>
                  <a:pt x="662" y="140"/>
                  <a:pt x="663" y="140"/>
                  <a:pt x="663" y="141"/>
                </a:cubicBezTo>
                <a:cubicBezTo>
                  <a:pt x="663" y="142"/>
                  <a:pt x="664" y="143"/>
                  <a:pt x="665" y="144"/>
                </a:cubicBezTo>
                <a:cubicBezTo>
                  <a:pt x="666" y="144"/>
                  <a:pt x="670" y="146"/>
                  <a:pt x="670" y="144"/>
                </a:cubicBezTo>
                <a:cubicBezTo>
                  <a:pt x="671" y="145"/>
                  <a:pt x="671" y="145"/>
                  <a:pt x="671" y="145"/>
                </a:cubicBezTo>
                <a:cubicBezTo>
                  <a:pt x="671" y="144"/>
                  <a:pt x="672" y="144"/>
                  <a:pt x="673" y="144"/>
                </a:cubicBezTo>
                <a:cubicBezTo>
                  <a:pt x="674" y="144"/>
                  <a:pt x="674" y="143"/>
                  <a:pt x="673" y="142"/>
                </a:cubicBezTo>
                <a:cubicBezTo>
                  <a:pt x="675" y="142"/>
                  <a:pt x="675" y="142"/>
                  <a:pt x="675" y="143"/>
                </a:cubicBezTo>
                <a:cubicBezTo>
                  <a:pt x="676" y="143"/>
                  <a:pt x="676" y="143"/>
                  <a:pt x="677" y="143"/>
                </a:cubicBezTo>
                <a:cubicBezTo>
                  <a:pt x="678" y="143"/>
                  <a:pt x="678" y="143"/>
                  <a:pt x="678" y="142"/>
                </a:cubicBezTo>
                <a:cubicBezTo>
                  <a:pt x="678" y="141"/>
                  <a:pt x="678" y="142"/>
                  <a:pt x="678" y="142"/>
                </a:cubicBezTo>
                <a:cubicBezTo>
                  <a:pt x="678" y="141"/>
                  <a:pt x="678" y="141"/>
                  <a:pt x="678" y="141"/>
                </a:cubicBezTo>
                <a:cubicBezTo>
                  <a:pt x="679" y="141"/>
                  <a:pt x="679" y="141"/>
                  <a:pt x="679" y="141"/>
                </a:cubicBezTo>
                <a:cubicBezTo>
                  <a:pt x="679" y="142"/>
                  <a:pt x="681" y="142"/>
                  <a:pt x="681" y="142"/>
                </a:cubicBezTo>
                <a:cubicBezTo>
                  <a:pt x="681" y="141"/>
                  <a:pt x="683" y="141"/>
                  <a:pt x="683" y="142"/>
                </a:cubicBezTo>
                <a:cubicBezTo>
                  <a:pt x="683" y="142"/>
                  <a:pt x="683" y="142"/>
                  <a:pt x="684" y="142"/>
                </a:cubicBezTo>
                <a:cubicBezTo>
                  <a:pt x="684" y="141"/>
                  <a:pt x="683" y="141"/>
                  <a:pt x="685" y="141"/>
                </a:cubicBezTo>
                <a:cubicBezTo>
                  <a:pt x="685" y="141"/>
                  <a:pt x="686" y="141"/>
                  <a:pt x="686" y="141"/>
                </a:cubicBezTo>
                <a:cubicBezTo>
                  <a:pt x="687" y="141"/>
                  <a:pt x="686" y="140"/>
                  <a:pt x="687" y="140"/>
                </a:cubicBezTo>
                <a:cubicBezTo>
                  <a:pt x="688" y="140"/>
                  <a:pt x="689" y="140"/>
                  <a:pt x="690" y="139"/>
                </a:cubicBezTo>
                <a:cubicBezTo>
                  <a:pt x="691" y="139"/>
                  <a:pt x="692" y="138"/>
                  <a:pt x="693" y="138"/>
                </a:cubicBezTo>
                <a:cubicBezTo>
                  <a:pt x="693" y="137"/>
                  <a:pt x="693" y="137"/>
                  <a:pt x="693" y="136"/>
                </a:cubicBezTo>
                <a:cubicBezTo>
                  <a:pt x="694" y="137"/>
                  <a:pt x="694" y="137"/>
                  <a:pt x="696" y="137"/>
                </a:cubicBezTo>
                <a:cubicBezTo>
                  <a:pt x="696" y="137"/>
                  <a:pt x="696" y="137"/>
                  <a:pt x="696" y="136"/>
                </a:cubicBezTo>
                <a:cubicBezTo>
                  <a:pt x="697" y="136"/>
                  <a:pt x="697" y="137"/>
                  <a:pt x="697" y="135"/>
                </a:cubicBezTo>
                <a:cubicBezTo>
                  <a:pt x="697" y="135"/>
                  <a:pt x="697" y="134"/>
                  <a:pt x="699" y="134"/>
                </a:cubicBezTo>
                <a:cubicBezTo>
                  <a:pt x="699" y="134"/>
                  <a:pt x="700" y="135"/>
                  <a:pt x="700" y="135"/>
                </a:cubicBezTo>
                <a:cubicBezTo>
                  <a:pt x="701" y="134"/>
                  <a:pt x="701" y="134"/>
                  <a:pt x="702" y="134"/>
                </a:cubicBezTo>
                <a:cubicBezTo>
                  <a:pt x="702" y="134"/>
                  <a:pt x="702" y="133"/>
                  <a:pt x="703" y="133"/>
                </a:cubicBezTo>
                <a:cubicBezTo>
                  <a:pt x="704" y="133"/>
                  <a:pt x="705" y="133"/>
                  <a:pt x="706" y="133"/>
                </a:cubicBezTo>
                <a:close/>
              </a:path>
            </a:pathLst>
          </a:custGeom>
          <a:solidFill>
            <a:schemeClr val="tx2">
              <a:lumMod val="75000"/>
            </a:schemeClr>
          </a:solidFill>
          <a:ln>
            <a:noFill/>
          </a:ln>
        </p:spPr>
        <p:txBody>
          <a:bodyPr vert="horz" wrap="square" lIns="68564" tIns="34289" rIns="68564" bIns="34289"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Tree>
    <p:extLst>
      <p:ext uri="{BB962C8B-B14F-4D97-AF65-F5344CB8AC3E}">
        <p14:creationId xmlns:p14="http://schemas.microsoft.com/office/powerpoint/2010/main" val="38874655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algn="l" eaLnBrk="1" hangingPunct="1">
              <a:defRPr/>
            </a:lvl1pPr>
          </a:lstStyle>
          <a:p>
            <a:pPr>
              <a:defRPr/>
            </a:pPr>
            <a:fld id="{4A8FBE27-0CA9-4E5C-95C5-501D102EA5D7}" type="slidenum">
              <a:rPr lang="es-ES"/>
              <a:pPr>
                <a:defRPr/>
              </a:pPr>
              <a:t>‹#›</a:t>
            </a:fld>
            <a:endParaRPr lang="es-ES"/>
          </a:p>
        </p:txBody>
      </p:sp>
      <p:sp>
        <p:nvSpPr>
          <p:cNvPr id="3" name="Footer Placeholder 2"/>
          <p:cNvSpPr>
            <a:spLocks noGrp="1"/>
          </p:cNvSpPr>
          <p:nvPr>
            <p:ph type="ftr" sz="quarter" idx="11"/>
          </p:nvPr>
        </p:nvSpPr>
        <p:spPr/>
        <p:txBody>
          <a:bodyPr/>
          <a:lstStyle>
            <a:lvl1pPr>
              <a:defRPr/>
            </a:lvl1pPr>
          </a:lstStyle>
          <a:p>
            <a:pPr>
              <a:defRPr/>
            </a:pPr>
            <a:endParaRPr/>
          </a:p>
        </p:txBody>
      </p:sp>
    </p:spTree>
  </p:cSld>
  <p:clrMapOvr>
    <a:masterClrMapping/>
  </p:clrMapOvr>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R1">
    <p:spTree>
      <p:nvGrpSpPr>
        <p:cNvPr id="1" name=""/>
        <p:cNvGrpSpPr/>
        <p:nvPr/>
      </p:nvGrpSpPr>
      <p:grpSpPr>
        <a:xfrm>
          <a:off x="0" y="0"/>
          <a:ext cx="0" cy="0"/>
          <a:chOff x="0" y="0"/>
          <a:chExt cx="0" cy="0"/>
        </a:xfrm>
      </p:grpSpPr>
      <p:sp>
        <p:nvSpPr>
          <p:cNvPr id="33" name="Picture Placeholder 32"/>
          <p:cNvSpPr>
            <a:spLocks noGrp="1"/>
          </p:cNvSpPr>
          <p:nvPr userDrawn="1">
            <p:ph type="pic" sz="quarter" idx="10"/>
          </p:nvPr>
        </p:nvSpPr>
        <p:spPr>
          <a:xfrm>
            <a:off x="4777697" y="1"/>
            <a:ext cx="3771900" cy="4929188"/>
          </a:xfrm>
          <a:custGeom>
            <a:avLst/>
            <a:gdLst>
              <a:gd name="connsiteX0" fmla="*/ 1449076 w 5029152"/>
              <a:gd name="connsiteY0" fmla="*/ 1 h 6572250"/>
              <a:gd name="connsiteX1" fmla="*/ 2131000 w 5029152"/>
              <a:gd name="connsiteY1" fmla="*/ 1 h 6572250"/>
              <a:gd name="connsiteX2" fmla="*/ 2131000 w 5029152"/>
              <a:gd name="connsiteY2" fmla="*/ 6309291 h 6572250"/>
              <a:gd name="connsiteX3" fmla="*/ 1449076 w 5029152"/>
              <a:gd name="connsiteY3" fmla="*/ 6309291 h 6572250"/>
              <a:gd name="connsiteX4" fmla="*/ 724538 w 5029152"/>
              <a:gd name="connsiteY4" fmla="*/ 1 h 6572250"/>
              <a:gd name="connsiteX5" fmla="*/ 1406462 w 5029152"/>
              <a:gd name="connsiteY5" fmla="*/ 1 h 6572250"/>
              <a:gd name="connsiteX6" fmla="*/ 1406462 w 5029152"/>
              <a:gd name="connsiteY6" fmla="*/ 5577779 h 6572250"/>
              <a:gd name="connsiteX7" fmla="*/ 724538 w 5029152"/>
              <a:gd name="connsiteY7" fmla="*/ 5577779 h 6572250"/>
              <a:gd name="connsiteX8" fmla="*/ 0 w 5029152"/>
              <a:gd name="connsiteY8" fmla="*/ 1 h 6572250"/>
              <a:gd name="connsiteX9" fmla="*/ 681924 w 5029152"/>
              <a:gd name="connsiteY9" fmla="*/ 1 h 6572250"/>
              <a:gd name="connsiteX10" fmla="*/ 681924 w 5029152"/>
              <a:gd name="connsiteY10" fmla="*/ 6572250 h 6572250"/>
              <a:gd name="connsiteX11" fmla="*/ 0 w 5029152"/>
              <a:gd name="connsiteY11" fmla="*/ 6572250 h 6572250"/>
              <a:gd name="connsiteX12" fmla="*/ 4347229 w 5029152"/>
              <a:gd name="connsiteY12" fmla="*/ 0 h 6572250"/>
              <a:gd name="connsiteX13" fmla="*/ 5029152 w 5029152"/>
              <a:gd name="connsiteY13" fmla="*/ 0 h 6572250"/>
              <a:gd name="connsiteX14" fmla="*/ 5029152 w 5029152"/>
              <a:gd name="connsiteY14" fmla="*/ 6126413 h 6572250"/>
              <a:gd name="connsiteX15" fmla="*/ 4347229 w 5029152"/>
              <a:gd name="connsiteY15" fmla="*/ 6126413 h 6572250"/>
              <a:gd name="connsiteX16" fmla="*/ 3622691 w 5029152"/>
              <a:gd name="connsiteY16" fmla="*/ 0 h 6572250"/>
              <a:gd name="connsiteX17" fmla="*/ 4304615 w 5029152"/>
              <a:gd name="connsiteY17" fmla="*/ 0 h 6572250"/>
              <a:gd name="connsiteX18" fmla="*/ 4304615 w 5029152"/>
              <a:gd name="connsiteY18" fmla="*/ 5394901 h 6572250"/>
              <a:gd name="connsiteX19" fmla="*/ 3622691 w 5029152"/>
              <a:gd name="connsiteY19" fmla="*/ 5394901 h 6572250"/>
              <a:gd name="connsiteX20" fmla="*/ 2898153 w 5029152"/>
              <a:gd name="connsiteY20" fmla="*/ 0 h 6572250"/>
              <a:gd name="connsiteX21" fmla="*/ 3580077 w 5029152"/>
              <a:gd name="connsiteY21" fmla="*/ 0 h 6572250"/>
              <a:gd name="connsiteX22" fmla="*/ 3580077 w 5029152"/>
              <a:gd name="connsiteY22" fmla="*/ 5943535 h 6572250"/>
              <a:gd name="connsiteX23" fmla="*/ 2898153 w 5029152"/>
              <a:gd name="connsiteY23" fmla="*/ 5943535 h 6572250"/>
              <a:gd name="connsiteX24" fmla="*/ 2173615 w 5029152"/>
              <a:gd name="connsiteY24" fmla="*/ 0 h 6572250"/>
              <a:gd name="connsiteX25" fmla="*/ 2855539 w 5029152"/>
              <a:gd name="connsiteY25" fmla="*/ 0 h 6572250"/>
              <a:gd name="connsiteX26" fmla="*/ 2855539 w 5029152"/>
              <a:gd name="connsiteY26" fmla="*/ 5029145 h 6572250"/>
              <a:gd name="connsiteX27" fmla="*/ 2173615 w 5029152"/>
              <a:gd name="connsiteY27" fmla="*/ 5029145 h 65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9152" h="6572250">
                <a:moveTo>
                  <a:pt x="1449076" y="1"/>
                </a:moveTo>
                <a:lnTo>
                  <a:pt x="2131000" y="1"/>
                </a:lnTo>
                <a:lnTo>
                  <a:pt x="2131000" y="6309291"/>
                </a:lnTo>
                <a:lnTo>
                  <a:pt x="1449076" y="6309291"/>
                </a:lnTo>
                <a:close/>
                <a:moveTo>
                  <a:pt x="724538" y="1"/>
                </a:moveTo>
                <a:lnTo>
                  <a:pt x="1406462" y="1"/>
                </a:lnTo>
                <a:lnTo>
                  <a:pt x="1406462" y="5577779"/>
                </a:lnTo>
                <a:lnTo>
                  <a:pt x="724538" y="5577779"/>
                </a:lnTo>
                <a:close/>
                <a:moveTo>
                  <a:pt x="0" y="1"/>
                </a:moveTo>
                <a:lnTo>
                  <a:pt x="681924" y="1"/>
                </a:lnTo>
                <a:lnTo>
                  <a:pt x="681924" y="6572250"/>
                </a:lnTo>
                <a:lnTo>
                  <a:pt x="0" y="6572250"/>
                </a:lnTo>
                <a:close/>
                <a:moveTo>
                  <a:pt x="4347229" y="0"/>
                </a:moveTo>
                <a:lnTo>
                  <a:pt x="5029152" y="0"/>
                </a:lnTo>
                <a:lnTo>
                  <a:pt x="5029152" y="6126413"/>
                </a:lnTo>
                <a:lnTo>
                  <a:pt x="4347229" y="6126413"/>
                </a:lnTo>
                <a:close/>
                <a:moveTo>
                  <a:pt x="3622691" y="0"/>
                </a:moveTo>
                <a:lnTo>
                  <a:pt x="4304615" y="0"/>
                </a:lnTo>
                <a:lnTo>
                  <a:pt x="4304615" y="5394901"/>
                </a:lnTo>
                <a:lnTo>
                  <a:pt x="3622691" y="5394901"/>
                </a:lnTo>
                <a:close/>
                <a:moveTo>
                  <a:pt x="2898153" y="0"/>
                </a:moveTo>
                <a:lnTo>
                  <a:pt x="3580077" y="0"/>
                </a:lnTo>
                <a:lnTo>
                  <a:pt x="3580077" y="5943535"/>
                </a:lnTo>
                <a:lnTo>
                  <a:pt x="2898153" y="5943535"/>
                </a:lnTo>
                <a:close/>
                <a:moveTo>
                  <a:pt x="2173615" y="0"/>
                </a:moveTo>
                <a:lnTo>
                  <a:pt x="2855539" y="0"/>
                </a:lnTo>
                <a:lnTo>
                  <a:pt x="2855539" y="5029145"/>
                </a:lnTo>
                <a:lnTo>
                  <a:pt x="2173615" y="502914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82946845"/>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R2">
    <p:spTree>
      <p:nvGrpSpPr>
        <p:cNvPr id="1" name=""/>
        <p:cNvGrpSpPr/>
        <p:nvPr/>
      </p:nvGrpSpPr>
      <p:grpSpPr>
        <a:xfrm>
          <a:off x="0" y="0"/>
          <a:ext cx="0" cy="0"/>
          <a:chOff x="0" y="0"/>
          <a:chExt cx="0" cy="0"/>
        </a:xfrm>
      </p:grpSpPr>
      <p:grpSp>
        <p:nvGrpSpPr>
          <p:cNvPr id="11" name="Group 10"/>
          <p:cNvGrpSpPr/>
          <p:nvPr userDrawn="1"/>
        </p:nvGrpSpPr>
        <p:grpSpPr>
          <a:xfrm>
            <a:off x="5331862" y="-30028"/>
            <a:ext cx="1783064" cy="5340714"/>
            <a:chOff x="6743391" y="-40037"/>
            <a:chExt cx="2377418" cy="7120952"/>
          </a:xfrm>
          <a:solidFill>
            <a:schemeClr val="tx2">
              <a:lumMod val="75000"/>
              <a:lumOff val="25000"/>
            </a:schemeClr>
          </a:solidFill>
        </p:grpSpPr>
        <p:sp>
          <p:nvSpPr>
            <p:cNvPr id="12" name="Freeform 11"/>
            <p:cNvSpPr/>
            <p:nvPr/>
          </p:nvSpPr>
          <p:spPr>
            <a:xfrm rot="1200000">
              <a:off x="8197210" y="5091063"/>
              <a:ext cx="365760" cy="1765207"/>
            </a:xfrm>
            <a:custGeom>
              <a:avLst/>
              <a:gdLst>
                <a:gd name="connsiteX0" fmla="*/ 365760 w 365760"/>
                <a:gd name="connsiteY0" fmla="*/ 0 h 1765207"/>
                <a:gd name="connsiteX1" fmla="*/ 365760 w 365760"/>
                <a:gd name="connsiteY1" fmla="*/ 1632082 h 1765207"/>
                <a:gd name="connsiteX2" fmla="*/ 0 w 365760"/>
                <a:gd name="connsiteY2" fmla="*/ 1765207 h 1765207"/>
                <a:gd name="connsiteX3" fmla="*/ 0 w 365760"/>
                <a:gd name="connsiteY3" fmla="*/ 133126 h 1765207"/>
              </a:gdLst>
              <a:ahLst/>
              <a:cxnLst>
                <a:cxn ang="0">
                  <a:pos x="connsiteX0" y="connsiteY0"/>
                </a:cxn>
                <a:cxn ang="0">
                  <a:pos x="connsiteX1" y="connsiteY1"/>
                </a:cxn>
                <a:cxn ang="0">
                  <a:pos x="connsiteX2" y="connsiteY2"/>
                </a:cxn>
                <a:cxn ang="0">
                  <a:pos x="connsiteX3" y="connsiteY3"/>
                </a:cxn>
              </a:cxnLst>
              <a:rect l="l" t="t" r="r" b="b"/>
              <a:pathLst>
                <a:path w="365760" h="1765207">
                  <a:moveTo>
                    <a:pt x="365760" y="0"/>
                  </a:moveTo>
                  <a:lnTo>
                    <a:pt x="365760" y="1632082"/>
                  </a:lnTo>
                  <a:lnTo>
                    <a:pt x="0" y="1765207"/>
                  </a:lnTo>
                  <a:lnTo>
                    <a:pt x="0" y="133126"/>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13" name="Freeform 12"/>
            <p:cNvSpPr/>
            <p:nvPr/>
          </p:nvSpPr>
          <p:spPr>
            <a:xfrm rot="1200000">
              <a:off x="6743391" y="972631"/>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14" name="Freeform 13"/>
            <p:cNvSpPr/>
            <p:nvPr/>
          </p:nvSpPr>
          <p:spPr>
            <a:xfrm rot="1200000">
              <a:off x="7094507" y="2161338"/>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sp>
          <p:nvSpPr>
            <p:cNvPr id="15" name="Freeform 14"/>
            <p:cNvSpPr/>
            <p:nvPr/>
          </p:nvSpPr>
          <p:spPr>
            <a:xfrm rot="1200000">
              <a:off x="8755049" y="-40037"/>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8" fontAlgn="auto">
                <a:spcBef>
                  <a:spcPts val="0"/>
                </a:spcBef>
                <a:spcAft>
                  <a:spcPts val="0"/>
                </a:spcAft>
              </a:pPr>
              <a:endParaRPr lang="en-US" sz="2000" dirty="0">
                <a:solidFill>
                  <a:srgbClr val="1F1F1F"/>
                </a:solidFill>
              </a:endParaRPr>
            </a:p>
          </p:txBody>
        </p:sp>
      </p:grpSp>
      <p:sp>
        <p:nvSpPr>
          <p:cNvPr id="23" name="Picture Placeholder 19"/>
          <p:cNvSpPr>
            <a:spLocks noGrp="1"/>
          </p:cNvSpPr>
          <p:nvPr>
            <p:ph type="pic" sz="quarter" idx="10"/>
          </p:nvPr>
        </p:nvSpPr>
        <p:spPr>
          <a:xfrm>
            <a:off x="4800205" y="128155"/>
            <a:ext cx="3475076" cy="4824859"/>
          </a:xfrm>
          <a:custGeom>
            <a:avLst/>
            <a:gdLst>
              <a:gd name="connsiteX0" fmla="*/ 3375866 w 4633435"/>
              <a:gd name="connsiteY0" fmla="*/ 1948335 h 6433145"/>
              <a:gd name="connsiteX1" fmla="*/ 1743529 w 4633435"/>
              <a:gd name="connsiteY1" fmla="*/ 6433145 h 6433145"/>
              <a:gd name="connsiteX2" fmla="*/ 1354296 w 4633435"/>
              <a:gd name="connsiteY2" fmla="*/ 6433145 h 6433145"/>
              <a:gd name="connsiteX3" fmla="*/ 2986632 w 4633435"/>
              <a:gd name="connsiteY3" fmla="*/ 1948336 h 6433145"/>
              <a:gd name="connsiteX4" fmla="*/ 1927309 w 4633435"/>
              <a:gd name="connsiteY4" fmla="*/ 1085245 h 6433145"/>
              <a:gd name="connsiteX5" fmla="*/ 389233 w 4633435"/>
              <a:gd name="connsiteY5" fmla="*/ 5311073 h 6433145"/>
              <a:gd name="connsiteX6" fmla="*/ 0 w 4633435"/>
              <a:gd name="connsiteY6" fmla="*/ 5311073 h 6433145"/>
              <a:gd name="connsiteX7" fmla="*/ 1538076 w 4633435"/>
              <a:gd name="connsiteY7" fmla="*/ 1085245 h 6433145"/>
              <a:gd name="connsiteX8" fmla="*/ 4144614 w 4633435"/>
              <a:gd name="connsiteY8" fmla="*/ 1054143 h 6433145"/>
              <a:gd name="connsiteX9" fmla="*/ 2240188 w 4633435"/>
              <a:gd name="connsiteY9" fmla="*/ 6286513 h 6433145"/>
              <a:gd name="connsiteX10" fmla="*/ 1850955 w 4633435"/>
              <a:gd name="connsiteY10" fmla="*/ 6286512 h 6433145"/>
              <a:gd name="connsiteX11" fmla="*/ 3755381 w 4633435"/>
              <a:gd name="connsiteY11" fmla="*/ 1054144 h 6433145"/>
              <a:gd name="connsiteX12" fmla="*/ 4633435 w 4633435"/>
              <a:gd name="connsiteY12" fmla="*/ 929046 h 6433145"/>
              <a:gd name="connsiteX13" fmla="*/ 2931731 w 4633435"/>
              <a:gd name="connsiteY13" fmla="*/ 5604439 h 6433145"/>
              <a:gd name="connsiteX14" fmla="*/ 2542497 w 4633435"/>
              <a:gd name="connsiteY14" fmla="*/ 5604441 h 6433145"/>
              <a:gd name="connsiteX15" fmla="*/ 4244201 w 4633435"/>
              <a:gd name="connsiteY15" fmla="*/ 929046 h 6433145"/>
              <a:gd name="connsiteX16" fmla="*/ 2556829 w 4633435"/>
              <a:gd name="connsiteY16" fmla="*/ 693359 h 6433145"/>
              <a:gd name="connsiteX17" fmla="*/ 2946062 w 4633435"/>
              <a:gd name="connsiteY17" fmla="*/ 693360 h 6433145"/>
              <a:gd name="connsiteX18" fmla="*/ 1105166 w 4633435"/>
              <a:gd name="connsiteY18" fmla="*/ 5751182 h 6433145"/>
              <a:gd name="connsiteX19" fmla="*/ 715932 w 4633435"/>
              <a:gd name="connsiteY19" fmla="*/ 5751182 h 6433145"/>
              <a:gd name="connsiteX20" fmla="*/ 3117220 w 4633435"/>
              <a:gd name="connsiteY20" fmla="*/ 371622 h 6433145"/>
              <a:gd name="connsiteX21" fmla="*/ 3506455 w 4633435"/>
              <a:gd name="connsiteY21" fmla="*/ 371623 h 6433145"/>
              <a:gd name="connsiteX22" fmla="*/ 1733179 w 4633435"/>
              <a:gd name="connsiteY22" fmla="*/ 5243655 h 6433145"/>
              <a:gd name="connsiteX23" fmla="*/ 1343944 w 4633435"/>
              <a:gd name="connsiteY23" fmla="*/ 5243655 h 6433145"/>
              <a:gd name="connsiteX24" fmla="*/ 2755136 w 4633435"/>
              <a:gd name="connsiteY24" fmla="*/ 0 h 6433145"/>
              <a:gd name="connsiteX25" fmla="*/ 525012 w 4633435"/>
              <a:gd name="connsiteY25" fmla="*/ 6127216 h 6433145"/>
              <a:gd name="connsiteX26" fmla="*/ 135778 w 4633435"/>
              <a:gd name="connsiteY26" fmla="*/ 6127217 h 6433145"/>
              <a:gd name="connsiteX27" fmla="*/ 2365902 w 4633435"/>
              <a:gd name="connsiteY27" fmla="*/ 1 h 643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33435" h="6433145">
                <a:moveTo>
                  <a:pt x="3375866" y="1948335"/>
                </a:moveTo>
                <a:lnTo>
                  <a:pt x="1743529" y="6433145"/>
                </a:lnTo>
                <a:lnTo>
                  <a:pt x="1354296" y="6433145"/>
                </a:lnTo>
                <a:lnTo>
                  <a:pt x="2986632" y="1948336"/>
                </a:lnTo>
                <a:close/>
                <a:moveTo>
                  <a:pt x="1927309" y="1085245"/>
                </a:moveTo>
                <a:lnTo>
                  <a:pt x="389233" y="5311073"/>
                </a:lnTo>
                <a:lnTo>
                  <a:pt x="0" y="5311073"/>
                </a:lnTo>
                <a:lnTo>
                  <a:pt x="1538076" y="1085245"/>
                </a:lnTo>
                <a:close/>
                <a:moveTo>
                  <a:pt x="4144614" y="1054143"/>
                </a:moveTo>
                <a:lnTo>
                  <a:pt x="2240188" y="6286513"/>
                </a:lnTo>
                <a:lnTo>
                  <a:pt x="1850955" y="6286512"/>
                </a:lnTo>
                <a:lnTo>
                  <a:pt x="3755381" y="1054144"/>
                </a:lnTo>
                <a:close/>
                <a:moveTo>
                  <a:pt x="4633435" y="929046"/>
                </a:moveTo>
                <a:lnTo>
                  <a:pt x="2931731" y="5604439"/>
                </a:lnTo>
                <a:lnTo>
                  <a:pt x="2542497" y="5604441"/>
                </a:lnTo>
                <a:lnTo>
                  <a:pt x="4244201" y="929046"/>
                </a:lnTo>
                <a:close/>
                <a:moveTo>
                  <a:pt x="2556829" y="693359"/>
                </a:moveTo>
                <a:lnTo>
                  <a:pt x="2946062" y="693360"/>
                </a:lnTo>
                <a:lnTo>
                  <a:pt x="1105166" y="5751182"/>
                </a:lnTo>
                <a:lnTo>
                  <a:pt x="715932" y="5751182"/>
                </a:lnTo>
                <a:close/>
                <a:moveTo>
                  <a:pt x="3117220" y="371622"/>
                </a:moveTo>
                <a:lnTo>
                  <a:pt x="3506455" y="371623"/>
                </a:lnTo>
                <a:lnTo>
                  <a:pt x="1733179" y="5243655"/>
                </a:lnTo>
                <a:lnTo>
                  <a:pt x="1343944" y="5243655"/>
                </a:lnTo>
                <a:close/>
                <a:moveTo>
                  <a:pt x="2755136" y="0"/>
                </a:moveTo>
                <a:lnTo>
                  <a:pt x="525012" y="6127216"/>
                </a:lnTo>
                <a:lnTo>
                  <a:pt x="135778" y="6127217"/>
                </a:lnTo>
                <a:lnTo>
                  <a:pt x="2365902" y="1"/>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345383116"/>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R3">
    <p:spTree>
      <p:nvGrpSpPr>
        <p:cNvPr id="1" name=""/>
        <p:cNvGrpSpPr/>
        <p:nvPr/>
      </p:nvGrpSpPr>
      <p:grpSpPr>
        <a:xfrm>
          <a:off x="0" y="0"/>
          <a:ext cx="0" cy="0"/>
          <a:chOff x="0" y="0"/>
          <a:chExt cx="0" cy="0"/>
        </a:xfrm>
      </p:grpSpPr>
      <p:sp>
        <p:nvSpPr>
          <p:cNvPr id="4" name="Freeform 6"/>
          <p:cNvSpPr>
            <a:spLocks/>
          </p:cNvSpPr>
          <p:nvPr userDrawn="1"/>
        </p:nvSpPr>
        <p:spPr bwMode="auto">
          <a:xfrm>
            <a:off x="2411950" y="10"/>
            <a:ext cx="3623090" cy="5179730"/>
          </a:xfrm>
          <a:custGeom>
            <a:avLst/>
            <a:gdLst>
              <a:gd name="T0" fmla="*/ 3084 w 3859"/>
              <a:gd name="T1" fmla="*/ 0 h 5517"/>
              <a:gd name="T2" fmla="*/ 3859 w 3859"/>
              <a:gd name="T3" fmla="*/ 0 h 5517"/>
              <a:gd name="T4" fmla="*/ 0 w 3859"/>
              <a:gd name="T5" fmla="*/ 5517 h 5517"/>
              <a:gd name="T6" fmla="*/ 3084 w 3859"/>
              <a:gd name="T7" fmla="*/ 0 h 5517"/>
            </a:gdLst>
            <a:ahLst/>
            <a:cxnLst>
              <a:cxn ang="0">
                <a:pos x="T0" y="T1"/>
              </a:cxn>
              <a:cxn ang="0">
                <a:pos x="T2" y="T3"/>
              </a:cxn>
              <a:cxn ang="0">
                <a:pos x="T4" y="T5"/>
              </a:cxn>
              <a:cxn ang="0">
                <a:pos x="T6" y="T7"/>
              </a:cxn>
            </a:cxnLst>
            <a:rect l="0" t="0" r="r" b="b"/>
            <a:pathLst>
              <a:path w="3859" h="5517">
                <a:moveTo>
                  <a:pt x="3084" y="0"/>
                </a:moveTo>
                <a:lnTo>
                  <a:pt x="3859" y="0"/>
                </a:lnTo>
                <a:lnTo>
                  <a:pt x="0" y="5517"/>
                </a:lnTo>
                <a:lnTo>
                  <a:pt x="3084" y="0"/>
                </a:lnTo>
                <a:close/>
              </a:path>
            </a:pathLst>
          </a:custGeom>
          <a:gradFill>
            <a:gsLst>
              <a:gs pos="0">
                <a:schemeClr val="accent1"/>
              </a:gs>
              <a:gs pos="100000">
                <a:schemeClr val="bg2"/>
              </a:gs>
            </a:gsLst>
            <a:lin ang="5400000" scaled="1"/>
          </a:gradFill>
          <a:ln>
            <a:noFill/>
          </a:ln>
        </p:spPr>
        <p:txBody>
          <a:bodyPr vert="horz" wrap="square" lIns="68564" tIns="34289" rIns="68564" bIns="34289"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 name="Picture Placeholder 6"/>
          <p:cNvSpPr>
            <a:spLocks noGrp="1"/>
          </p:cNvSpPr>
          <p:nvPr>
            <p:ph type="pic" sz="quarter" idx="10"/>
          </p:nvPr>
        </p:nvSpPr>
        <p:spPr>
          <a:xfrm>
            <a:off x="3" y="10"/>
            <a:ext cx="5307418" cy="4945952"/>
          </a:xfrm>
          <a:custGeom>
            <a:avLst/>
            <a:gdLst>
              <a:gd name="connsiteX0" fmla="*/ 0 w 7076557"/>
              <a:gd name="connsiteY0" fmla="*/ 0 h 6594602"/>
              <a:gd name="connsiteX1" fmla="*/ 7076557 w 7076557"/>
              <a:gd name="connsiteY1" fmla="*/ 0 h 6594602"/>
              <a:gd name="connsiteX2" fmla="*/ 3169617 w 7076557"/>
              <a:gd name="connsiteY2" fmla="*/ 6594602 h 6594602"/>
              <a:gd name="connsiteX3" fmla="*/ 0 w 7076557"/>
              <a:gd name="connsiteY3" fmla="*/ 4639255 h 6594602"/>
            </a:gdLst>
            <a:ahLst/>
            <a:cxnLst>
              <a:cxn ang="0">
                <a:pos x="connsiteX0" y="connsiteY0"/>
              </a:cxn>
              <a:cxn ang="0">
                <a:pos x="connsiteX1" y="connsiteY1"/>
              </a:cxn>
              <a:cxn ang="0">
                <a:pos x="connsiteX2" y="connsiteY2"/>
              </a:cxn>
              <a:cxn ang="0">
                <a:pos x="connsiteX3" y="connsiteY3"/>
              </a:cxn>
            </a:cxnLst>
            <a:rect l="l" t="t" r="r" b="b"/>
            <a:pathLst>
              <a:path w="7076557" h="6594602">
                <a:moveTo>
                  <a:pt x="0" y="0"/>
                </a:moveTo>
                <a:lnTo>
                  <a:pt x="7076557" y="0"/>
                </a:lnTo>
                <a:lnTo>
                  <a:pt x="3169617" y="6594602"/>
                </a:lnTo>
                <a:lnTo>
                  <a:pt x="0" y="46392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25891700"/>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CR4">
    <p:spTree>
      <p:nvGrpSpPr>
        <p:cNvPr id="1" name=""/>
        <p:cNvGrpSpPr/>
        <p:nvPr/>
      </p:nvGrpSpPr>
      <p:grpSpPr>
        <a:xfrm>
          <a:off x="0" y="0"/>
          <a:ext cx="0" cy="0"/>
          <a:chOff x="0" y="0"/>
          <a:chExt cx="0" cy="0"/>
        </a:xfrm>
      </p:grpSpPr>
      <p:sp>
        <p:nvSpPr>
          <p:cNvPr id="4" name="Freeform 6"/>
          <p:cNvSpPr>
            <a:spLocks/>
          </p:cNvSpPr>
          <p:nvPr userDrawn="1"/>
        </p:nvSpPr>
        <p:spPr bwMode="auto">
          <a:xfrm>
            <a:off x="2411950" y="10"/>
            <a:ext cx="3623090" cy="5179730"/>
          </a:xfrm>
          <a:custGeom>
            <a:avLst/>
            <a:gdLst>
              <a:gd name="T0" fmla="*/ 3084 w 3859"/>
              <a:gd name="T1" fmla="*/ 0 h 5517"/>
              <a:gd name="T2" fmla="*/ 3859 w 3859"/>
              <a:gd name="T3" fmla="*/ 0 h 5517"/>
              <a:gd name="T4" fmla="*/ 0 w 3859"/>
              <a:gd name="T5" fmla="*/ 5517 h 5517"/>
              <a:gd name="T6" fmla="*/ 3084 w 3859"/>
              <a:gd name="T7" fmla="*/ 0 h 5517"/>
            </a:gdLst>
            <a:ahLst/>
            <a:cxnLst>
              <a:cxn ang="0">
                <a:pos x="T0" y="T1"/>
              </a:cxn>
              <a:cxn ang="0">
                <a:pos x="T2" y="T3"/>
              </a:cxn>
              <a:cxn ang="0">
                <a:pos x="T4" y="T5"/>
              </a:cxn>
              <a:cxn ang="0">
                <a:pos x="T6" y="T7"/>
              </a:cxn>
            </a:cxnLst>
            <a:rect l="0" t="0" r="r" b="b"/>
            <a:pathLst>
              <a:path w="3859" h="5517">
                <a:moveTo>
                  <a:pt x="3084" y="0"/>
                </a:moveTo>
                <a:lnTo>
                  <a:pt x="3859" y="0"/>
                </a:lnTo>
                <a:lnTo>
                  <a:pt x="0" y="5517"/>
                </a:lnTo>
                <a:lnTo>
                  <a:pt x="3084" y="0"/>
                </a:lnTo>
                <a:close/>
              </a:path>
            </a:pathLst>
          </a:custGeom>
          <a:gradFill>
            <a:gsLst>
              <a:gs pos="0">
                <a:schemeClr val="accent3"/>
              </a:gs>
              <a:gs pos="100000">
                <a:schemeClr val="bg2"/>
              </a:gs>
            </a:gsLst>
            <a:lin ang="5400000" scaled="1"/>
          </a:gradFill>
          <a:ln>
            <a:noFill/>
          </a:ln>
        </p:spPr>
        <p:txBody>
          <a:bodyPr vert="horz" wrap="square" lIns="68564" tIns="34289" rIns="68564" bIns="34289"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 name="Picture Placeholder 6"/>
          <p:cNvSpPr>
            <a:spLocks noGrp="1"/>
          </p:cNvSpPr>
          <p:nvPr>
            <p:ph type="pic" sz="quarter" idx="10"/>
          </p:nvPr>
        </p:nvSpPr>
        <p:spPr>
          <a:xfrm>
            <a:off x="3" y="10"/>
            <a:ext cx="5307418" cy="4945952"/>
          </a:xfrm>
          <a:custGeom>
            <a:avLst/>
            <a:gdLst>
              <a:gd name="connsiteX0" fmla="*/ 0 w 7076557"/>
              <a:gd name="connsiteY0" fmla="*/ 0 h 6594602"/>
              <a:gd name="connsiteX1" fmla="*/ 7076557 w 7076557"/>
              <a:gd name="connsiteY1" fmla="*/ 0 h 6594602"/>
              <a:gd name="connsiteX2" fmla="*/ 3169617 w 7076557"/>
              <a:gd name="connsiteY2" fmla="*/ 6594602 h 6594602"/>
              <a:gd name="connsiteX3" fmla="*/ 0 w 7076557"/>
              <a:gd name="connsiteY3" fmla="*/ 4639255 h 6594602"/>
            </a:gdLst>
            <a:ahLst/>
            <a:cxnLst>
              <a:cxn ang="0">
                <a:pos x="connsiteX0" y="connsiteY0"/>
              </a:cxn>
              <a:cxn ang="0">
                <a:pos x="connsiteX1" y="connsiteY1"/>
              </a:cxn>
              <a:cxn ang="0">
                <a:pos x="connsiteX2" y="connsiteY2"/>
              </a:cxn>
              <a:cxn ang="0">
                <a:pos x="connsiteX3" y="connsiteY3"/>
              </a:cxn>
            </a:cxnLst>
            <a:rect l="l" t="t" r="r" b="b"/>
            <a:pathLst>
              <a:path w="7076557" h="6594602">
                <a:moveTo>
                  <a:pt x="0" y="0"/>
                </a:moveTo>
                <a:lnTo>
                  <a:pt x="7076557" y="0"/>
                </a:lnTo>
                <a:lnTo>
                  <a:pt x="3169617" y="6594602"/>
                </a:lnTo>
                <a:lnTo>
                  <a:pt x="0" y="46392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978253169"/>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CR5">
    <p:spTree>
      <p:nvGrpSpPr>
        <p:cNvPr id="1" name=""/>
        <p:cNvGrpSpPr/>
        <p:nvPr/>
      </p:nvGrpSpPr>
      <p:grpSpPr>
        <a:xfrm>
          <a:off x="0" y="0"/>
          <a:ext cx="0" cy="0"/>
          <a:chOff x="0" y="0"/>
          <a:chExt cx="0" cy="0"/>
        </a:xfrm>
      </p:grpSpPr>
      <p:sp>
        <p:nvSpPr>
          <p:cNvPr id="4" name="Freeform 6"/>
          <p:cNvSpPr>
            <a:spLocks/>
          </p:cNvSpPr>
          <p:nvPr userDrawn="1"/>
        </p:nvSpPr>
        <p:spPr bwMode="auto">
          <a:xfrm>
            <a:off x="2411950" y="10"/>
            <a:ext cx="3623090" cy="5179730"/>
          </a:xfrm>
          <a:custGeom>
            <a:avLst/>
            <a:gdLst>
              <a:gd name="T0" fmla="*/ 3084 w 3859"/>
              <a:gd name="T1" fmla="*/ 0 h 5517"/>
              <a:gd name="T2" fmla="*/ 3859 w 3859"/>
              <a:gd name="T3" fmla="*/ 0 h 5517"/>
              <a:gd name="T4" fmla="*/ 0 w 3859"/>
              <a:gd name="T5" fmla="*/ 5517 h 5517"/>
              <a:gd name="T6" fmla="*/ 3084 w 3859"/>
              <a:gd name="T7" fmla="*/ 0 h 5517"/>
            </a:gdLst>
            <a:ahLst/>
            <a:cxnLst>
              <a:cxn ang="0">
                <a:pos x="T0" y="T1"/>
              </a:cxn>
              <a:cxn ang="0">
                <a:pos x="T2" y="T3"/>
              </a:cxn>
              <a:cxn ang="0">
                <a:pos x="T4" y="T5"/>
              </a:cxn>
              <a:cxn ang="0">
                <a:pos x="T6" y="T7"/>
              </a:cxn>
            </a:cxnLst>
            <a:rect l="0" t="0" r="r" b="b"/>
            <a:pathLst>
              <a:path w="3859" h="5517">
                <a:moveTo>
                  <a:pt x="3084" y="0"/>
                </a:moveTo>
                <a:lnTo>
                  <a:pt x="3859" y="0"/>
                </a:lnTo>
                <a:lnTo>
                  <a:pt x="0" y="5517"/>
                </a:lnTo>
                <a:lnTo>
                  <a:pt x="3084" y="0"/>
                </a:lnTo>
                <a:close/>
              </a:path>
            </a:pathLst>
          </a:custGeom>
          <a:gradFill>
            <a:gsLst>
              <a:gs pos="0">
                <a:schemeClr val="accent4"/>
              </a:gs>
              <a:gs pos="100000">
                <a:schemeClr val="bg2"/>
              </a:gs>
            </a:gsLst>
            <a:lin ang="5400000" scaled="1"/>
          </a:gradFill>
          <a:ln>
            <a:noFill/>
          </a:ln>
        </p:spPr>
        <p:txBody>
          <a:bodyPr vert="horz" wrap="square" lIns="68564" tIns="34289" rIns="68564" bIns="34289"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7" name="Picture Placeholder 6"/>
          <p:cNvSpPr>
            <a:spLocks noGrp="1"/>
          </p:cNvSpPr>
          <p:nvPr>
            <p:ph type="pic" sz="quarter" idx="10"/>
          </p:nvPr>
        </p:nvSpPr>
        <p:spPr>
          <a:xfrm>
            <a:off x="3" y="10"/>
            <a:ext cx="5307418" cy="4945952"/>
          </a:xfrm>
          <a:custGeom>
            <a:avLst/>
            <a:gdLst>
              <a:gd name="connsiteX0" fmla="*/ 0 w 7076557"/>
              <a:gd name="connsiteY0" fmla="*/ 0 h 6594602"/>
              <a:gd name="connsiteX1" fmla="*/ 7076557 w 7076557"/>
              <a:gd name="connsiteY1" fmla="*/ 0 h 6594602"/>
              <a:gd name="connsiteX2" fmla="*/ 3169617 w 7076557"/>
              <a:gd name="connsiteY2" fmla="*/ 6594602 h 6594602"/>
              <a:gd name="connsiteX3" fmla="*/ 0 w 7076557"/>
              <a:gd name="connsiteY3" fmla="*/ 4639255 h 6594602"/>
            </a:gdLst>
            <a:ahLst/>
            <a:cxnLst>
              <a:cxn ang="0">
                <a:pos x="connsiteX0" y="connsiteY0"/>
              </a:cxn>
              <a:cxn ang="0">
                <a:pos x="connsiteX1" y="connsiteY1"/>
              </a:cxn>
              <a:cxn ang="0">
                <a:pos x="connsiteX2" y="connsiteY2"/>
              </a:cxn>
              <a:cxn ang="0">
                <a:pos x="connsiteX3" y="connsiteY3"/>
              </a:cxn>
            </a:cxnLst>
            <a:rect l="l" t="t" r="r" b="b"/>
            <a:pathLst>
              <a:path w="7076557" h="6594602">
                <a:moveTo>
                  <a:pt x="0" y="0"/>
                </a:moveTo>
                <a:lnTo>
                  <a:pt x="7076557" y="0"/>
                </a:lnTo>
                <a:lnTo>
                  <a:pt x="3169617" y="6594602"/>
                </a:lnTo>
                <a:lnTo>
                  <a:pt x="0" y="46392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660835117"/>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CR6">
    <p:spTree>
      <p:nvGrpSpPr>
        <p:cNvPr id="1" name=""/>
        <p:cNvGrpSpPr/>
        <p:nvPr/>
      </p:nvGrpSpPr>
      <p:grpSpPr>
        <a:xfrm>
          <a:off x="0" y="0"/>
          <a:ext cx="0" cy="0"/>
          <a:chOff x="0" y="0"/>
          <a:chExt cx="0" cy="0"/>
        </a:xfrm>
      </p:grpSpPr>
      <p:sp>
        <p:nvSpPr>
          <p:cNvPr id="11" name="Freeform 5"/>
          <p:cNvSpPr>
            <a:spLocks/>
          </p:cNvSpPr>
          <p:nvPr userDrawn="1"/>
        </p:nvSpPr>
        <p:spPr bwMode="auto">
          <a:xfrm>
            <a:off x="2944094" y="0"/>
            <a:ext cx="3625945" cy="5177790"/>
          </a:xfrm>
          <a:custGeom>
            <a:avLst/>
            <a:gdLst>
              <a:gd name="T0" fmla="*/ 194 w 972"/>
              <a:gd name="T1" fmla="*/ 0 h 1388"/>
              <a:gd name="T2" fmla="*/ 0 w 972"/>
              <a:gd name="T3" fmla="*/ 0 h 1388"/>
              <a:gd name="T4" fmla="*/ 972 w 972"/>
              <a:gd name="T5" fmla="*/ 1388 h 1388"/>
              <a:gd name="T6" fmla="*/ 194 w 972"/>
              <a:gd name="T7" fmla="*/ 0 h 1388"/>
            </a:gdLst>
            <a:ahLst/>
            <a:cxnLst>
              <a:cxn ang="0">
                <a:pos x="T0" y="T1"/>
              </a:cxn>
              <a:cxn ang="0">
                <a:pos x="T2" y="T3"/>
              </a:cxn>
              <a:cxn ang="0">
                <a:pos x="T4" y="T5"/>
              </a:cxn>
              <a:cxn ang="0">
                <a:pos x="T6" y="T7"/>
              </a:cxn>
            </a:cxnLst>
            <a:rect l="0" t="0" r="r" b="b"/>
            <a:pathLst>
              <a:path w="972" h="1388">
                <a:moveTo>
                  <a:pt x="194" y="0"/>
                </a:moveTo>
                <a:lnTo>
                  <a:pt x="0" y="0"/>
                </a:lnTo>
                <a:lnTo>
                  <a:pt x="972" y="1388"/>
                </a:lnTo>
                <a:lnTo>
                  <a:pt x="194" y="0"/>
                </a:lnTo>
                <a:close/>
              </a:path>
            </a:pathLst>
          </a:custGeom>
          <a:gradFill>
            <a:gsLst>
              <a:gs pos="0">
                <a:schemeClr val="accent1"/>
              </a:gs>
              <a:gs pos="100000">
                <a:schemeClr val="bg2"/>
              </a:gs>
            </a:gsLst>
            <a:lin ang="5400000" scaled="1"/>
          </a:gradFill>
          <a:ln>
            <a:noFill/>
          </a:ln>
        </p:spPr>
        <p:txBody>
          <a:bodyPr vert="horz" wrap="square" lIns="68564" tIns="34289" rIns="68564" bIns="34289"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 name="Picture Placeholder 13"/>
          <p:cNvSpPr>
            <a:spLocks noGrp="1"/>
          </p:cNvSpPr>
          <p:nvPr>
            <p:ph type="pic" sz="quarter" idx="10"/>
          </p:nvPr>
        </p:nvSpPr>
        <p:spPr>
          <a:xfrm>
            <a:off x="3667778" y="0"/>
            <a:ext cx="5476221" cy="4953966"/>
          </a:xfrm>
          <a:custGeom>
            <a:avLst/>
            <a:gdLst>
              <a:gd name="connsiteX0" fmla="*/ 0 w 7301628"/>
              <a:gd name="connsiteY0" fmla="*/ 0 h 6605288"/>
              <a:gd name="connsiteX1" fmla="*/ 7301628 w 7301628"/>
              <a:gd name="connsiteY1" fmla="*/ 0 h 6605288"/>
              <a:gd name="connsiteX2" fmla="*/ 7301628 w 7301628"/>
              <a:gd name="connsiteY2" fmla="*/ 4516267 h 6605288"/>
              <a:gd name="connsiteX3" fmla="*/ 3904481 w 7301628"/>
              <a:gd name="connsiteY3" fmla="*/ 6605288 h 6605288"/>
            </a:gdLst>
            <a:ahLst/>
            <a:cxnLst>
              <a:cxn ang="0">
                <a:pos x="connsiteX0" y="connsiteY0"/>
              </a:cxn>
              <a:cxn ang="0">
                <a:pos x="connsiteX1" y="connsiteY1"/>
              </a:cxn>
              <a:cxn ang="0">
                <a:pos x="connsiteX2" y="connsiteY2"/>
              </a:cxn>
              <a:cxn ang="0">
                <a:pos x="connsiteX3" y="connsiteY3"/>
              </a:cxn>
            </a:cxnLst>
            <a:rect l="l" t="t" r="r" b="b"/>
            <a:pathLst>
              <a:path w="7301628" h="6605288">
                <a:moveTo>
                  <a:pt x="0" y="0"/>
                </a:moveTo>
                <a:lnTo>
                  <a:pt x="7301628" y="0"/>
                </a:lnTo>
                <a:lnTo>
                  <a:pt x="7301628" y="4516267"/>
                </a:lnTo>
                <a:lnTo>
                  <a:pt x="3904481" y="6605288"/>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185676826"/>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CR7">
    <p:spTree>
      <p:nvGrpSpPr>
        <p:cNvPr id="1" name=""/>
        <p:cNvGrpSpPr/>
        <p:nvPr/>
      </p:nvGrpSpPr>
      <p:grpSpPr>
        <a:xfrm>
          <a:off x="0" y="0"/>
          <a:ext cx="0" cy="0"/>
          <a:chOff x="0" y="0"/>
          <a:chExt cx="0" cy="0"/>
        </a:xfrm>
      </p:grpSpPr>
      <p:sp>
        <p:nvSpPr>
          <p:cNvPr id="11" name="Freeform 5"/>
          <p:cNvSpPr>
            <a:spLocks/>
          </p:cNvSpPr>
          <p:nvPr userDrawn="1"/>
        </p:nvSpPr>
        <p:spPr bwMode="auto">
          <a:xfrm>
            <a:off x="2944094" y="0"/>
            <a:ext cx="3625945" cy="5177790"/>
          </a:xfrm>
          <a:custGeom>
            <a:avLst/>
            <a:gdLst>
              <a:gd name="T0" fmla="*/ 194 w 972"/>
              <a:gd name="T1" fmla="*/ 0 h 1388"/>
              <a:gd name="T2" fmla="*/ 0 w 972"/>
              <a:gd name="T3" fmla="*/ 0 h 1388"/>
              <a:gd name="T4" fmla="*/ 972 w 972"/>
              <a:gd name="T5" fmla="*/ 1388 h 1388"/>
              <a:gd name="T6" fmla="*/ 194 w 972"/>
              <a:gd name="T7" fmla="*/ 0 h 1388"/>
            </a:gdLst>
            <a:ahLst/>
            <a:cxnLst>
              <a:cxn ang="0">
                <a:pos x="T0" y="T1"/>
              </a:cxn>
              <a:cxn ang="0">
                <a:pos x="T2" y="T3"/>
              </a:cxn>
              <a:cxn ang="0">
                <a:pos x="T4" y="T5"/>
              </a:cxn>
              <a:cxn ang="0">
                <a:pos x="T6" y="T7"/>
              </a:cxn>
            </a:cxnLst>
            <a:rect l="0" t="0" r="r" b="b"/>
            <a:pathLst>
              <a:path w="972" h="1388">
                <a:moveTo>
                  <a:pt x="194" y="0"/>
                </a:moveTo>
                <a:lnTo>
                  <a:pt x="0" y="0"/>
                </a:lnTo>
                <a:lnTo>
                  <a:pt x="972" y="1388"/>
                </a:lnTo>
                <a:lnTo>
                  <a:pt x="194" y="0"/>
                </a:lnTo>
                <a:close/>
              </a:path>
            </a:pathLst>
          </a:custGeom>
          <a:gradFill>
            <a:gsLst>
              <a:gs pos="0">
                <a:schemeClr val="accent3"/>
              </a:gs>
              <a:gs pos="100000">
                <a:schemeClr val="bg2"/>
              </a:gs>
            </a:gsLst>
            <a:lin ang="5400000" scaled="1"/>
          </a:gradFill>
          <a:ln>
            <a:noFill/>
          </a:ln>
        </p:spPr>
        <p:txBody>
          <a:bodyPr vert="horz" wrap="square" lIns="68564" tIns="34289" rIns="68564" bIns="34289"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 name="Picture Placeholder 13"/>
          <p:cNvSpPr>
            <a:spLocks noGrp="1"/>
          </p:cNvSpPr>
          <p:nvPr>
            <p:ph type="pic" sz="quarter" idx="10"/>
          </p:nvPr>
        </p:nvSpPr>
        <p:spPr>
          <a:xfrm>
            <a:off x="3667778" y="0"/>
            <a:ext cx="5476221" cy="4953966"/>
          </a:xfrm>
          <a:custGeom>
            <a:avLst/>
            <a:gdLst>
              <a:gd name="connsiteX0" fmla="*/ 0 w 7301628"/>
              <a:gd name="connsiteY0" fmla="*/ 0 h 6605288"/>
              <a:gd name="connsiteX1" fmla="*/ 7301628 w 7301628"/>
              <a:gd name="connsiteY1" fmla="*/ 0 h 6605288"/>
              <a:gd name="connsiteX2" fmla="*/ 7301628 w 7301628"/>
              <a:gd name="connsiteY2" fmla="*/ 4516267 h 6605288"/>
              <a:gd name="connsiteX3" fmla="*/ 3904481 w 7301628"/>
              <a:gd name="connsiteY3" fmla="*/ 6605288 h 6605288"/>
            </a:gdLst>
            <a:ahLst/>
            <a:cxnLst>
              <a:cxn ang="0">
                <a:pos x="connsiteX0" y="connsiteY0"/>
              </a:cxn>
              <a:cxn ang="0">
                <a:pos x="connsiteX1" y="connsiteY1"/>
              </a:cxn>
              <a:cxn ang="0">
                <a:pos x="connsiteX2" y="connsiteY2"/>
              </a:cxn>
              <a:cxn ang="0">
                <a:pos x="connsiteX3" y="connsiteY3"/>
              </a:cxn>
            </a:cxnLst>
            <a:rect l="l" t="t" r="r" b="b"/>
            <a:pathLst>
              <a:path w="7301628" h="6605288">
                <a:moveTo>
                  <a:pt x="0" y="0"/>
                </a:moveTo>
                <a:lnTo>
                  <a:pt x="7301628" y="0"/>
                </a:lnTo>
                <a:lnTo>
                  <a:pt x="7301628" y="4516267"/>
                </a:lnTo>
                <a:lnTo>
                  <a:pt x="3904481" y="6605288"/>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67546446"/>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CR8">
    <p:spTree>
      <p:nvGrpSpPr>
        <p:cNvPr id="1" name=""/>
        <p:cNvGrpSpPr/>
        <p:nvPr/>
      </p:nvGrpSpPr>
      <p:grpSpPr>
        <a:xfrm>
          <a:off x="0" y="0"/>
          <a:ext cx="0" cy="0"/>
          <a:chOff x="0" y="0"/>
          <a:chExt cx="0" cy="0"/>
        </a:xfrm>
      </p:grpSpPr>
      <p:sp>
        <p:nvSpPr>
          <p:cNvPr id="11" name="Freeform 5"/>
          <p:cNvSpPr>
            <a:spLocks/>
          </p:cNvSpPr>
          <p:nvPr userDrawn="1"/>
        </p:nvSpPr>
        <p:spPr bwMode="auto">
          <a:xfrm>
            <a:off x="2944094" y="0"/>
            <a:ext cx="3625945" cy="5177790"/>
          </a:xfrm>
          <a:custGeom>
            <a:avLst/>
            <a:gdLst>
              <a:gd name="T0" fmla="*/ 194 w 972"/>
              <a:gd name="T1" fmla="*/ 0 h 1388"/>
              <a:gd name="T2" fmla="*/ 0 w 972"/>
              <a:gd name="T3" fmla="*/ 0 h 1388"/>
              <a:gd name="T4" fmla="*/ 972 w 972"/>
              <a:gd name="T5" fmla="*/ 1388 h 1388"/>
              <a:gd name="T6" fmla="*/ 194 w 972"/>
              <a:gd name="T7" fmla="*/ 0 h 1388"/>
            </a:gdLst>
            <a:ahLst/>
            <a:cxnLst>
              <a:cxn ang="0">
                <a:pos x="T0" y="T1"/>
              </a:cxn>
              <a:cxn ang="0">
                <a:pos x="T2" y="T3"/>
              </a:cxn>
              <a:cxn ang="0">
                <a:pos x="T4" y="T5"/>
              </a:cxn>
              <a:cxn ang="0">
                <a:pos x="T6" y="T7"/>
              </a:cxn>
            </a:cxnLst>
            <a:rect l="0" t="0" r="r" b="b"/>
            <a:pathLst>
              <a:path w="972" h="1388">
                <a:moveTo>
                  <a:pt x="194" y="0"/>
                </a:moveTo>
                <a:lnTo>
                  <a:pt x="0" y="0"/>
                </a:lnTo>
                <a:lnTo>
                  <a:pt x="972" y="1388"/>
                </a:lnTo>
                <a:lnTo>
                  <a:pt x="194" y="0"/>
                </a:lnTo>
                <a:close/>
              </a:path>
            </a:pathLst>
          </a:custGeom>
          <a:gradFill>
            <a:gsLst>
              <a:gs pos="0">
                <a:schemeClr val="accent4"/>
              </a:gs>
              <a:gs pos="100000">
                <a:schemeClr val="bg2"/>
              </a:gs>
            </a:gsLst>
            <a:lin ang="5400000" scaled="1"/>
          </a:gradFill>
          <a:ln>
            <a:noFill/>
          </a:ln>
        </p:spPr>
        <p:txBody>
          <a:bodyPr vert="horz" wrap="square" lIns="68564" tIns="34289" rIns="68564" bIns="34289" numCol="1" anchor="t" anchorCtr="0" compatLnSpc="1">
            <a:prstTxWarp prst="textNoShape">
              <a:avLst/>
            </a:prstTxWarp>
          </a:bodyPr>
          <a:lstStyle/>
          <a:p>
            <a:pPr defTabSz="685648" fontAlgn="auto">
              <a:spcBef>
                <a:spcPts val="0"/>
              </a:spcBef>
              <a:spcAft>
                <a:spcPts val="0"/>
              </a:spcAft>
            </a:pPr>
            <a:endParaRPr lang="en-US" sz="2000" dirty="0">
              <a:solidFill>
                <a:srgbClr val="4F4F52"/>
              </a:solidFill>
              <a:latin typeface="Roboto Light"/>
              <a:cs typeface="+mn-cs"/>
            </a:endParaRPr>
          </a:p>
        </p:txBody>
      </p:sp>
      <p:sp>
        <p:nvSpPr>
          <p:cNvPr id="14" name="Picture Placeholder 13"/>
          <p:cNvSpPr>
            <a:spLocks noGrp="1"/>
          </p:cNvSpPr>
          <p:nvPr>
            <p:ph type="pic" sz="quarter" idx="10"/>
          </p:nvPr>
        </p:nvSpPr>
        <p:spPr>
          <a:xfrm>
            <a:off x="3667778" y="0"/>
            <a:ext cx="5476221" cy="4953966"/>
          </a:xfrm>
          <a:custGeom>
            <a:avLst/>
            <a:gdLst>
              <a:gd name="connsiteX0" fmla="*/ 0 w 7301628"/>
              <a:gd name="connsiteY0" fmla="*/ 0 h 6605288"/>
              <a:gd name="connsiteX1" fmla="*/ 7301628 w 7301628"/>
              <a:gd name="connsiteY1" fmla="*/ 0 h 6605288"/>
              <a:gd name="connsiteX2" fmla="*/ 7301628 w 7301628"/>
              <a:gd name="connsiteY2" fmla="*/ 4516267 h 6605288"/>
              <a:gd name="connsiteX3" fmla="*/ 3904481 w 7301628"/>
              <a:gd name="connsiteY3" fmla="*/ 6605288 h 6605288"/>
            </a:gdLst>
            <a:ahLst/>
            <a:cxnLst>
              <a:cxn ang="0">
                <a:pos x="connsiteX0" y="connsiteY0"/>
              </a:cxn>
              <a:cxn ang="0">
                <a:pos x="connsiteX1" y="connsiteY1"/>
              </a:cxn>
              <a:cxn ang="0">
                <a:pos x="connsiteX2" y="connsiteY2"/>
              </a:cxn>
              <a:cxn ang="0">
                <a:pos x="connsiteX3" y="connsiteY3"/>
              </a:cxn>
            </a:cxnLst>
            <a:rect l="l" t="t" r="r" b="b"/>
            <a:pathLst>
              <a:path w="7301628" h="6605288">
                <a:moveTo>
                  <a:pt x="0" y="0"/>
                </a:moveTo>
                <a:lnTo>
                  <a:pt x="7301628" y="0"/>
                </a:lnTo>
                <a:lnTo>
                  <a:pt x="7301628" y="4516267"/>
                </a:lnTo>
                <a:lnTo>
                  <a:pt x="3904481" y="6605288"/>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37844971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Advisors">
    <p:spTree>
      <p:nvGrpSpPr>
        <p:cNvPr id="1" name=""/>
        <p:cNvGrpSpPr/>
        <p:nvPr/>
      </p:nvGrpSpPr>
      <p:grpSpPr>
        <a:xfrm>
          <a:off x="0" y="0"/>
          <a:ext cx="0" cy="0"/>
          <a:chOff x="0" y="0"/>
          <a:chExt cx="0" cy="0"/>
        </a:xfrm>
      </p:grpSpPr>
      <p:sp>
        <p:nvSpPr>
          <p:cNvPr id="19" name="Picture Placeholder 18"/>
          <p:cNvSpPr>
            <a:spLocks noGrp="1"/>
          </p:cNvSpPr>
          <p:nvPr>
            <p:ph type="pic" sz="quarter" idx="13"/>
          </p:nvPr>
        </p:nvSpPr>
        <p:spPr>
          <a:xfrm>
            <a:off x="3543302" y="250316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3"/>
            </a:solidFill>
          </a:ln>
        </p:spPr>
        <p:txBody>
          <a:bodyPr wrap="square" anchor="ctr" anchorCtr="0">
            <a:noAutofit/>
          </a:bodyPr>
          <a:lstStyle>
            <a:lvl1pPr algn="ctr">
              <a:defRPr/>
            </a:lvl1pPr>
          </a:lstStyle>
          <a:p>
            <a:endParaRPr lang="en-US" dirty="0"/>
          </a:p>
        </p:txBody>
      </p:sp>
      <p:sp>
        <p:nvSpPr>
          <p:cNvPr id="20" name="Picture Placeholder 19"/>
          <p:cNvSpPr>
            <a:spLocks noGrp="1"/>
          </p:cNvSpPr>
          <p:nvPr>
            <p:ph type="pic" sz="quarter" idx="14"/>
          </p:nvPr>
        </p:nvSpPr>
        <p:spPr>
          <a:xfrm>
            <a:off x="6423622" y="250316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3"/>
            </a:solidFill>
          </a:ln>
        </p:spPr>
        <p:txBody>
          <a:bodyPr wrap="square" anchor="ctr" anchorCtr="0">
            <a:noAutofit/>
          </a:bodyPr>
          <a:lstStyle>
            <a:lvl1pPr algn="ctr">
              <a:defRPr/>
            </a:lvl1pPr>
          </a:lstStyle>
          <a:p>
            <a:endParaRPr lang="en-US" dirty="0"/>
          </a:p>
        </p:txBody>
      </p:sp>
      <p:sp>
        <p:nvSpPr>
          <p:cNvPr id="21" name="Picture Placeholder 20"/>
          <p:cNvSpPr>
            <a:spLocks noGrp="1"/>
          </p:cNvSpPr>
          <p:nvPr>
            <p:ph type="pic" sz="quarter" idx="15"/>
          </p:nvPr>
        </p:nvSpPr>
        <p:spPr>
          <a:xfrm>
            <a:off x="662983" y="250316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3"/>
            </a:solidFill>
          </a:ln>
        </p:spPr>
        <p:txBody>
          <a:bodyPr wrap="square" anchor="ctr" anchorCtr="0">
            <a:noAutofit/>
          </a:bodyPr>
          <a:lstStyle>
            <a:lvl1pPr algn="ctr">
              <a:defRPr/>
            </a:lvl1pPr>
          </a:lstStyle>
          <a:p>
            <a:endParaRPr lang="en-US" dirty="0"/>
          </a:p>
        </p:txBody>
      </p:sp>
      <p:sp>
        <p:nvSpPr>
          <p:cNvPr id="22" name="Picture Placeholder 21"/>
          <p:cNvSpPr>
            <a:spLocks noGrp="1"/>
          </p:cNvSpPr>
          <p:nvPr>
            <p:ph type="pic" sz="quarter" idx="16"/>
          </p:nvPr>
        </p:nvSpPr>
        <p:spPr>
          <a:xfrm>
            <a:off x="3543302" y="3737579"/>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4"/>
            </a:solidFill>
          </a:ln>
        </p:spPr>
        <p:txBody>
          <a:bodyPr wrap="square" anchor="ctr" anchorCtr="0">
            <a:noAutofit/>
          </a:bodyPr>
          <a:lstStyle>
            <a:lvl1pPr algn="ctr">
              <a:defRPr/>
            </a:lvl1pPr>
          </a:lstStyle>
          <a:p>
            <a:endParaRPr lang="en-US" dirty="0"/>
          </a:p>
        </p:txBody>
      </p:sp>
      <p:sp>
        <p:nvSpPr>
          <p:cNvPr id="23" name="Picture Placeholder 22"/>
          <p:cNvSpPr>
            <a:spLocks noGrp="1"/>
          </p:cNvSpPr>
          <p:nvPr>
            <p:ph type="pic" sz="quarter" idx="17"/>
          </p:nvPr>
        </p:nvSpPr>
        <p:spPr>
          <a:xfrm>
            <a:off x="6423622" y="3737579"/>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4"/>
            </a:solidFill>
          </a:ln>
        </p:spPr>
        <p:txBody>
          <a:bodyPr wrap="square" anchor="ctr" anchorCtr="0">
            <a:noAutofit/>
          </a:bodyPr>
          <a:lstStyle>
            <a:lvl1pPr algn="ctr">
              <a:defRPr/>
            </a:lvl1pPr>
          </a:lstStyle>
          <a:p>
            <a:endParaRPr lang="en-US" dirty="0"/>
          </a:p>
        </p:txBody>
      </p:sp>
      <p:sp>
        <p:nvSpPr>
          <p:cNvPr id="24" name="Picture Placeholder 23"/>
          <p:cNvSpPr>
            <a:spLocks noGrp="1"/>
          </p:cNvSpPr>
          <p:nvPr>
            <p:ph type="pic" sz="quarter" idx="18"/>
          </p:nvPr>
        </p:nvSpPr>
        <p:spPr>
          <a:xfrm>
            <a:off x="662983" y="3737579"/>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4"/>
            </a:solidFill>
          </a:ln>
        </p:spPr>
        <p:txBody>
          <a:bodyPr wrap="square" anchor="ctr" anchorCtr="0">
            <a:noAutofit/>
          </a:bodyPr>
          <a:lstStyle>
            <a:lvl1pPr algn="ctr">
              <a:defRPr/>
            </a:lvl1pPr>
          </a:lstStyle>
          <a:p>
            <a:endParaRPr lang="en-US" dirty="0"/>
          </a:p>
        </p:txBody>
      </p:sp>
      <p:sp>
        <p:nvSpPr>
          <p:cNvPr id="17" name="Picture Placeholder 16"/>
          <p:cNvSpPr>
            <a:spLocks noGrp="1"/>
          </p:cNvSpPr>
          <p:nvPr>
            <p:ph type="pic" sz="quarter" idx="11"/>
          </p:nvPr>
        </p:nvSpPr>
        <p:spPr>
          <a:xfrm>
            <a:off x="3543302" y="1268744"/>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1"/>
            </a:solidFill>
          </a:ln>
        </p:spPr>
        <p:txBody>
          <a:bodyPr wrap="square" anchor="ctr" anchorCtr="0">
            <a:noAutofit/>
          </a:bodyPr>
          <a:lstStyle>
            <a:lvl1pPr algn="ctr">
              <a:defRPr/>
            </a:lvl1pPr>
          </a:lstStyle>
          <a:p>
            <a:endParaRPr lang="en-US" dirty="0"/>
          </a:p>
        </p:txBody>
      </p:sp>
      <p:sp>
        <p:nvSpPr>
          <p:cNvPr id="18" name="Picture Placeholder 17"/>
          <p:cNvSpPr>
            <a:spLocks noGrp="1"/>
          </p:cNvSpPr>
          <p:nvPr>
            <p:ph type="pic" sz="quarter" idx="12"/>
          </p:nvPr>
        </p:nvSpPr>
        <p:spPr>
          <a:xfrm>
            <a:off x="6423622" y="1268744"/>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1"/>
            </a:solidFill>
          </a:ln>
        </p:spPr>
        <p:txBody>
          <a:bodyPr wrap="square" anchor="ctr" anchorCtr="0">
            <a:noAutofit/>
          </a:bodyPr>
          <a:lstStyle>
            <a:lvl1pPr algn="ctr">
              <a:defRPr/>
            </a:lvl1pPr>
          </a:lstStyle>
          <a:p>
            <a:endParaRPr lang="en-US" dirty="0"/>
          </a:p>
        </p:txBody>
      </p:sp>
      <p:sp>
        <p:nvSpPr>
          <p:cNvPr id="16" name="Picture Placeholder 15"/>
          <p:cNvSpPr>
            <a:spLocks noGrp="1"/>
          </p:cNvSpPr>
          <p:nvPr>
            <p:ph type="pic" sz="quarter" idx="10"/>
          </p:nvPr>
        </p:nvSpPr>
        <p:spPr>
          <a:xfrm>
            <a:off x="662983" y="1268744"/>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1"/>
            </a:solidFill>
          </a:ln>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p>
            <a:r>
              <a:rPr lang="en-US"/>
              <a:t>Click to edit Master title style</a:t>
            </a:r>
          </a:p>
        </p:txBody>
      </p:sp>
      <p:grpSp>
        <p:nvGrpSpPr>
          <p:cNvPr id="25" name="Group 24"/>
          <p:cNvGrpSpPr/>
          <p:nvPr userDrawn="1"/>
        </p:nvGrpSpPr>
        <p:grpSpPr>
          <a:xfrm>
            <a:off x="615835" y="695412"/>
            <a:ext cx="377186" cy="68580"/>
            <a:chOff x="792538" y="868707"/>
            <a:chExt cx="502914" cy="91440"/>
          </a:xfrm>
        </p:grpSpPr>
        <p:sp>
          <p:nvSpPr>
            <p:cNvPr id="26" name="Oval 25"/>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7" name="Oval 26"/>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8" name="Oval 27"/>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sp>
          <p:nvSpPr>
            <p:cNvPr id="29" name="Oval 28"/>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48"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346016054"/>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1" name="Rectangle 10"/>
          <p:cNvSpPr/>
          <p:nvPr userDrawn="1"/>
        </p:nvSpPr>
        <p:spPr>
          <a:xfrm>
            <a:off x="4572000" y="0"/>
            <a:ext cx="54864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685648" fontAlgn="auto">
              <a:spcBef>
                <a:spcPts val="0"/>
              </a:spcBef>
              <a:spcAft>
                <a:spcPts val="0"/>
              </a:spcAft>
            </a:pPr>
            <a:endParaRPr lang="en-US" sz="2000" dirty="0">
              <a:solidFill>
                <a:srgbClr val="1F1F1F"/>
              </a:solidFill>
            </a:endParaRPr>
          </a:p>
        </p:txBody>
      </p:sp>
      <p:sp>
        <p:nvSpPr>
          <p:cNvPr id="12" name="Picture Placeholder 3"/>
          <p:cNvSpPr>
            <a:spLocks noGrp="1"/>
          </p:cNvSpPr>
          <p:nvPr>
            <p:ph type="pic" sz="quarter" idx="10"/>
          </p:nvPr>
        </p:nvSpPr>
        <p:spPr>
          <a:xfrm>
            <a:off x="0" y="0"/>
            <a:ext cx="4572000" cy="514350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29342036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bg>
      <p:bgPr>
        <a:gradFill>
          <a:gsLst>
            <a:gs pos="0">
              <a:schemeClr val="accent1"/>
            </a:gs>
            <a:gs pos="50000">
              <a:schemeClr val="accent1">
                <a:lumMod val="75000"/>
                <a:lumOff val="25000"/>
              </a:schemeClr>
            </a:gs>
            <a:gs pos="100000">
              <a:schemeClr val="tx2">
                <a:lumMod val="20000"/>
                <a:lumOff val="80000"/>
              </a:schemeClr>
            </a:gs>
          </a:gsLst>
          <a:lin ang="5400000" scaled="0"/>
        </a:gradFill>
        <a:effectLst/>
      </p:bgPr>
    </p:bg>
    <p:spTree>
      <p:nvGrpSpPr>
        <p:cNvPr id="1" name=""/>
        <p:cNvGrpSpPr/>
        <p:nvPr/>
      </p:nvGrpSpPr>
      <p:grpSpPr>
        <a:xfrm>
          <a:off x="0" y="0"/>
          <a:ext cx="0" cy="0"/>
          <a:chOff x="0" y="0"/>
          <a:chExt cx="0" cy="0"/>
        </a:xfrm>
      </p:grpSpPr>
      <p:sp>
        <p:nvSpPr>
          <p:cNvPr id="6" name="Forma libre 11"/>
          <p:cNvSpPr/>
          <p:nvPr userDrawn="1"/>
        </p:nvSpPr>
        <p:spPr>
          <a:xfrm>
            <a:off x="0" y="3918433"/>
            <a:ext cx="9144000" cy="1225153"/>
          </a:xfrm>
          <a:custGeom>
            <a:avLst/>
            <a:gdLst>
              <a:gd name="connsiteX0" fmla="*/ 0 w 9194204"/>
              <a:gd name="connsiteY0" fmla="*/ 0 h 1932290"/>
              <a:gd name="connsiteX1" fmla="*/ 9194204 w 9194204"/>
              <a:gd name="connsiteY1" fmla="*/ 640478 h 1932290"/>
              <a:gd name="connsiteX2" fmla="*/ 9183349 w 9194204"/>
              <a:gd name="connsiteY2" fmla="*/ 1932290 h 1932290"/>
              <a:gd name="connsiteX3" fmla="*/ 0 w 9194204"/>
              <a:gd name="connsiteY3" fmla="*/ 1921434 h 1932290"/>
              <a:gd name="connsiteX4" fmla="*/ 0 w 9194204"/>
              <a:gd name="connsiteY4" fmla="*/ 0 h 1932290"/>
              <a:gd name="connsiteX0" fmla="*/ 0 w 9194204"/>
              <a:gd name="connsiteY0" fmla="*/ 0 h 1924352"/>
              <a:gd name="connsiteX1" fmla="*/ 9194204 w 9194204"/>
              <a:gd name="connsiteY1" fmla="*/ 640478 h 1924352"/>
              <a:gd name="connsiteX2" fmla="*/ 9194204 w 9194204"/>
              <a:gd name="connsiteY2" fmla="*/ 1924352 h 1924352"/>
              <a:gd name="connsiteX3" fmla="*/ 0 w 9194204"/>
              <a:gd name="connsiteY3" fmla="*/ 1921434 h 1924352"/>
              <a:gd name="connsiteX4" fmla="*/ 0 w 9194204"/>
              <a:gd name="connsiteY4" fmla="*/ 0 h 1924352"/>
              <a:gd name="connsiteX0" fmla="*/ 0 w 9194204"/>
              <a:gd name="connsiteY0" fmla="*/ 0 h 1932290"/>
              <a:gd name="connsiteX1" fmla="*/ 9194204 w 9194204"/>
              <a:gd name="connsiteY1" fmla="*/ 640478 h 1932290"/>
              <a:gd name="connsiteX2" fmla="*/ 9194204 w 9194204"/>
              <a:gd name="connsiteY2" fmla="*/ 1924352 h 1932290"/>
              <a:gd name="connsiteX3" fmla="*/ 0 w 9194204"/>
              <a:gd name="connsiteY3" fmla="*/ 1932290 h 1932290"/>
              <a:gd name="connsiteX4" fmla="*/ 0 w 9194204"/>
              <a:gd name="connsiteY4" fmla="*/ 0 h 1932290"/>
              <a:gd name="connsiteX0" fmla="*/ 0 w 9194204"/>
              <a:gd name="connsiteY0" fmla="*/ 0 h 1932290"/>
              <a:gd name="connsiteX1" fmla="*/ 9194204 w 9194204"/>
              <a:gd name="connsiteY1" fmla="*/ 640478 h 1932290"/>
              <a:gd name="connsiteX2" fmla="*/ 9194204 w 9194204"/>
              <a:gd name="connsiteY2" fmla="*/ 1932290 h 1932290"/>
              <a:gd name="connsiteX3" fmla="*/ 0 w 9194204"/>
              <a:gd name="connsiteY3" fmla="*/ 1932290 h 1932290"/>
              <a:gd name="connsiteX4" fmla="*/ 0 w 9194204"/>
              <a:gd name="connsiteY4" fmla="*/ 0 h 1932290"/>
              <a:gd name="connsiteX0" fmla="*/ 0 w 9194204"/>
              <a:gd name="connsiteY0" fmla="*/ 0 h 1932290"/>
              <a:gd name="connsiteX1" fmla="*/ 9194204 w 9194204"/>
              <a:gd name="connsiteY1" fmla="*/ 947886 h 1932290"/>
              <a:gd name="connsiteX2" fmla="*/ 9194204 w 9194204"/>
              <a:gd name="connsiteY2" fmla="*/ 1932290 h 1932290"/>
              <a:gd name="connsiteX3" fmla="*/ 0 w 9194204"/>
              <a:gd name="connsiteY3" fmla="*/ 1932290 h 1932290"/>
              <a:gd name="connsiteX4" fmla="*/ 0 w 9194204"/>
              <a:gd name="connsiteY4" fmla="*/ 0 h 1932290"/>
              <a:gd name="connsiteX0" fmla="*/ 0 w 9194204"/>
              <a:gd name="connsiteY0" fmla="*/ 0 h 1633793"/>
              <a:gd name="connsiteX1" fmla="*/ 9194204 w 9194204"/>
              <a:gd name="connsiteY1" fmla="*/ 649389 h 1633793"/>
              <a:gd name="connsiteX2" fmla="*/ 9194204 w 9194204"/>
              <a:gd name="connsiteY2" fmla="*/ 1633793 h 1633793"/>
              <a:gd name="connsiteX3" fmla="*/ 0 w 9194204"/>
              <a:gd name="connsiteY3" fmla="*/ 1633793 h 1633793"/>
              <a:gd name="connsiteX4" fmla="*/ 0 w 9194204"/>
              <a:gd name="connsiteY4" fmla="*/ 0 h 1633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4204" h="1633793">
                <a:moveTo>
                  <a:pt x="0" y="0"/>
                </a:moveTo>
                <a:lnTo>
                  <a:pt x="9194204" y="649389"/>
                </a:lnTo>
                <a:cubicBezTo>
                  <a:pt x="9190586" y="1079993"/>
                  <a:pt x="9194204" y="1633793"/>
                  <a:pt x="9194204" y="1633793"/>
                </a:cubicBezTo>
                <a:lnTo>
                  <a:pt x="0" y="1633793"/>
                </a:lnTo>
                <a:lnTo>
                  <a:pt x="0"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284" tIns="45642" rIns="91284" bIns="45642" anchor="ctr"/>
          <a:lstStyle/>
          <a:p>
            <a:pPr algn="ctr" defTabSz="456269" fontAlgn="auto">
              <a:spcBef>
                <a:spcPts val="0"/>
              </a:spcBef>
              <a:spcAft>
                <a:spcPts val="0"/>
              </a:spcAft>
              <a:defRPr/>
            </a:pPr>
            <a:endParaRPr lang="es-ES_tradnl" sz="1800">
              <a:solidFill>
                <a:srgbClr val="FFFFFF"/>
              </a:solidFill>
            </a:endParaRPr>
          </a:p>
        </p:txBody>
      </p:sp>
      <p:pic>
        <p:nvPicPr>
          <p:cNvPr id="7" name="Imagen 6" descr="TFN_Logo Port_Azul.png"/>
          <p:cNvPicPr>
            <a:picLocks noChangeAspect="1"/>
          </p:cNvPicPr>
          <p:nvPr userDrawn="1"/>
        </p:nvPicPr>
        <p:blipFill>
          <a:blip r:embed="rId2"/>
          <a:srcRect/>
          <a:stretch>
            <a:fillRect/>
          </a:stretch>
        </p:blipFill>
        <p:spPr bwMode="auto">
          <a:xfrm>
            <a:off x="7297742" y="4611369"/>
            <a:ext cx="1419225" cy="290513"/>
          </a:xfrm>
          <a:prstGeom prst="rect">
            <a:avLst/>
          </a:prstGeom>
          <a:noFill/>
          <a:ln w="9525">
            <a:noFill/>
            <a:miter lim="800000"/>
            <a:headEnd/>
            <a:tailEnd/>
          </a:ln>
        </p:spPr>
      </p:pic>
      <p:sp>
        <p:nvSpPr>
          <p:cNvPr id="2" name="Title 1"/>
          <p:cNvSpPr>
            <a:spLocks noGrp="1"/>
          </p:cNvSpPr>
          <p:nvPr>
            <p:ph type="ctrTitle"/>
          </p:nvPr>
        </p:nvSpPr>
        <p:spPr>
          <a:xfrm>
            <a:off x="359140" y="230988"/>
            <a:ext cx="8399168" cy="560016"/>
          </a:xfrm>
          <a:noFill/>
          <a:ln w="9525">
            <a:noFill/>
            <a:miter lim="800000"/>
            <a:headEnd/>
            <a:tailEnd/>
          </a:ln>
        </p:spPr>
        <p:txBody>
          <a:bodyPr/>
          <a:lstStyle>
            <a:lvl1pPr algn="l" defTabSz="456269" rtl="0" eaLnBrk="1" fontAlgn="base" hangingPunct="1">
              <a:lnSpc>
                <a:spcPts val="3800"/>
              </a:lnSpc>
              <a:spcBef>
                <a:spcPct val="0"/>
              </a:spcBef>
              <a:spcAft>
                <a:spcPts val="600"/>
              </a:spcAft>
              <a:buClr>
                <a:srgbClr val="65C3D4"/>
              </a:buClr>
              <a:buSzPct val="150000"/>
              <a:buFont typeface="Wingdings" charset="2"/>
              <a:buNone/>
              <a:defRPr lang="en-GB" sz="4600" b="0" kern="1200" dirty="0">
                <a:solidFill>
                  <a:srgbClr val="FFFFFF"/>
                </a:solidFill>
                <a:latin typeface="Telefonica Headline Light" charset="0"/>
                <a:ea typeface="ＭＳ Ｐゴシック" charset="-128"/>
                <a:cs typeface="+mn-cs"/>
              </a:defRPr>
            </a:lvl1pPr>
          </a:lstStyle>
          <a:p>
            <a:r>
              <a:rPr lang="en-GB" dirty="0"/>
              <a:t>Click to edit Master title style</a:t>
            </a:r>
          </a:p>
        </p:txBody>
      </p:sp>
      <p:sp>
        <p:nvSpPr>
          <p:cNvPr id="3" name="Subtitle 2"/>
          <p:cNvSpPr>
            <a:spLocks noGrp="1"/>
          </p:cNvSpPr>
          <p:nvPr>
            <p:ph type="subTitle" idx="1"/>
          </p:nvPr>
        </p:nvSpPr>
        <p:spPr>
          <a:xfrm>
            <a:off x="359141" y="1020367"/>
            <a:ext cx="8399169" cy="523220"/>
          </a:xfrm>
          <a:noFill/>
          <a:ln w="9525">
            <a:noFill/>
            <a:miter lim="800000"/>
            <a:headEnd/>
            <a:tailEnd/>
          </a:ln>
        </p:spPr>
        <p:txBody>
          <a:bodyPr rIns="0" bIns="0">
            <a:spAutoFit/>
          </a:bodyPr>
          <a:lstStyle>
            <a:lvl1pPr marL="0" indent="0" algn="l" defTabSz="456269" rtl="0" eaLnBrk="1" fontAlgn="base" hangingPunct="1">
              <a:spcBef>
                <a:spcPct val="0"/>
              </a:spcBef>
              <a:spcAft>
                <a:spcPts val="600"/>
              </a:spcAft>
              <a:buClr>
                <a:srgbClr val="65C3D4"/>
              </a:buClr>
              <a:buSzPct val="150000"/>
              <a:buFont typeface="Wingdings" charset="2"/>
              <a:buNone/>
              <a:defRPr lang="en-GB" sz="3400" b="0" kern="1200">
                <a:solidFill>
                  <a:srgbClr val="FFFFFF"/>
                </a:solidFill>
                <a:latin typeface="Telefonica Headline Light" charset="0"/>
                <a:ea typeface="ＭＳ Ｐゴシック" charset="-128"/>
                <a:cs typeface="+mn-cs"/>
              </a:defRPr>
            </a:lvl1pPr>
            <a:lvl2pPr marL="456269" indent="0" algn="ctr">
              <a:buNone/>
              <a:defRPr/>
            </a:lvl2pPr>
            <a:lvl3pPr marL="912644" indent="0" algn="ctr">
              <a:buNone/>
              <a:defRPr/>
            </a:lvl3pPr>
            <a:lvl4pPr marL="1368948" indent="0" algn="ctr">
              <a:buNone/>
              <a:defRPr/>
            </a:lvl4pPr>
            <a:lvl5pPr marL="1825286" indent="0" algn="ctr">
              <a:buNone/>
              <a:defRPr/>
            </a:lvl5pPr>
            <a:lvl6pPr marL="2281554" indent="0" algn="ctr">
              <a:buNone/>
              <a:defRPr/>
            </a:lvl6pPr>
            <a:lvl7pPr marL="2737820" indent="0" algn="ctr">
              <a:buNone/>
              <a:defRPr/>
            </a:lvl7pPr>
            <a:lvl8pPr marL="3194165" indent="0" algn="ctr">
              <a:buNone/>
              <a:defRPr/>
            </a:lvl8pPr>
            <a:lvl9pPr marL="3650488" indent="0" algn="ctr">
              <a:buNone/>
              <a:defRPr/>
            </a:lvl9pPr>
          </a:lstStyle>
          <a:p>
            <a:r>
              <a:rPr lang="en-GB" dirty="0"/>
              <a:t>Click to edit Master subtitle style</a:t>
            </a:r>
          </a:p>
        </p:txBody>
      </p:sp>
      <p:sp>
        <p:nvSpPr>
          <p:cNvPr id="13" name="Text Placeholder 12"/>
          <p:cNvSpPr>
            <a:spLocks noGrp="1"/>
          </p:cNvSpPr>
          <p:nvPr>
            <p:ph type="body" sz="quarter" idx="11"/>
          </p:nvPr>
        </p:nvSpPr>
        <p:spPr>
          <a:xfrm>
            <a:off x="358721" y="2132496"/>
            <a:ext cx="8401179" cy="422405"/>
          </a:xfrm>
          <a:noFill/>
          <a:ln w="9525">
            <a:noFill/>
            <a:miter lim="800000"/>
            <a:headEnd/>
            <a:tailEnd/>
          </a:ln>
        </p:spPr>
        <p:txBody>
          <a:bodyPr tIns="71882" rIns="71882" bIns="71882">
            <a:spAutoFit/>
          </a:bodyPr>
          <a:lstStyle>
            <a:lvl1pPr algn="l" defTabSz="456269" rtl="0" eaLnBrk="1" fontAlgn="base" hangingPunct="1">
              <a:spcBef>
                <a:spcPct val="0"/>
              </a:spcBef>
              <a:spcAft>
                <a:spcPct val="0"/>
              </a:spcAft>
              <a:buFont typeface="Arial" charset="0"/>
              <a:buNone/>
              <a:defRPr lang="en-US" sz="1800" b="0" kern="1200" dirty="0" smtClean="0">
                <a:solidFill>
                  <a:srgbClr val="FFFFFF"/>
                </a:solidFill>
                <a:latin typeface="Telefonica Headline Light" charset="0"/>
                <a:ea typeface="ＭＳ Ｐゴシック" charset="-128"/>
                <a:cs typeface="+mn-cs"/>
              </a:defRPr>
            </a:lvl1pPr>
          </a:lstStyle>
          <a:p>
            <a:pPr lvl="0"/>
            <a:r>
              <a:rPr lang="en-US" dirty="0"/>
              <a:t>Click to edit Master text styles</a:t>
            </a:r>
          </a:p>
        </p:txBody>
      </p:sp>
      <p:sp>
        <p:nvSpPr>
          <p:cNvPr id="12" name="Text Placeholder 12"/>
          <p:cNvSpPr>
            <a:spLocks noGrp="1"/>
          </p:cNvSpPr>
          <p:nvPr>
            <p:ph type="body" sz="quarter" idx="13"/>
          </p:nvPr>
        </p:nvSpPr>
        <p:spPr>
          <a:xfrm>
            <a:off x="358721" y="2628945"/>
            <a:ext cx="8401179" cy="422405"/>
          </a:xfrm>
          <a:noFill/>
          <a:ln w="9525">
            <a:noFill/>
            <a:miter lim="800000"/>
            <a:headEnd/>
            <a:tailEnd/>
          </a:ln>
        </p:spPr>
        <p:txBody>
          <a:bodyPr tIns="71882" rIns="71882" bIns="71882">
            <a:spAutoFit/>
          </a:bodyPr>
          <a:lstStyle>
            <a:lvl1pPr algn="l" defTabSz="456269" rtl="0" eaLnBrk="1" fontAlgn="base" hangingPunct="1">
              <a:spcBef>
                <a:spcPct val="0"/>
              </a:spcBef>
              <a:spcAft>
                <a:spcPct val="0"/>
              </a:spcAft>
              <a:buFont typeface="Arial" charset="0"/>
              <a:buNone/>
              <a:defRPr lang="en-US" sz="1800" b="0" kern="1200" dirty="0" smtClean="0">
                <a:solidFill>
                  <a:srgbClr val="FFFFFF"/>
                </a:solidFill>
                <a:latin typeface="Telefonica Headline Light" charset="0"/>
                <a:ea typeface="ＭＳ Ｐゴシック" charset="-128"/>
                <a:cs typeface="+mn-cs"/>
              </a:defRPr>
            </a:lvl1pPr>
          </a:lstStyle>
          <a:p>
            <a:pPr lvl="0"/>
            <a:r>
              <a:rPr lang="en-US" dirty="0"/>
              <a:t>Click to edit Master text styles</a:t>
            </a:r>
          </a:p>
        </p:txBody>
      </p:sp>
    </p:spTree>
  </p:cSld>
  <p:clrMapOvr>
    <a:masterClrMapping/>
  </p:clrMapOvr>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blank" preserve="1">
  <p:cSld name="Blank Dark">
    <p:bg>
      <p:bgPr>
        <a:solidFill>
          <a:schemeClr val="tx2">
            <a:lumMod val="90000"/>
            <a:lumOff val="1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670515"/>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blank" preserve="1">
  <p:cSld name="Blank bg">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2" name="Group 1"/>
          <p:cNvGrpSpPr>
            <a:grpSpLocks noChangeAspect="1"/>
          </p:cNvGrpSpPr>
          <p:nvPr userDrawn="1"/>
        </p:nvGrpSpPr>
        <p:grpSpPr>
          <a:xfrm>
            <a:off x="182880" y="968119"/>
            <a:ext cx="8778240" cy="3072690"/>
            <a:chOff x="2719388" y="2247900"/>
            <a:chExt cx="6748462" cy="2362200"/>
          </a:xfrm>
          <a:solidFill>
            <a:schemeClr val="tx2">
              <a:lumMod val="85000"/>
            </a:schemeClr>
          </a:solidFill>
        </p:grpSpPr>
        <p:sp>
          <p:nvSpPr>
            <p:cNvPr id="3" name="Freeform 5"/>
            <p:cNvSpPr>
              <a:spLocks/>
            </p:cNvSpPr>
            <p:nvPr/>
          </p:nvSpPr>
          <p:spPr bwMode="auto">
            <a:xfrm>
              <a:off x="5416550" y="3241675"/>
              <a:ext cx="74613" cy="4763"/>
            </a:xfrm>
            <a:custGeom>
              <a:avLst/>
              <a:gdLst>
                <a:gd name="T0" fmla="*/ 20 w 20"/>
                <a:gd name="T1" fmla="*/ 0 h 1"/>
                <a:gd name="T2" fmla="*/ 0 w 20"/>
                <a:gd name="T3" fmla="*/ 1 h 1"/>
                <a:gd name="T4" fmla="*/ 20 w 20"/>
                <a:gd name="T5" fmla="*/ 0 h 1"/>
              </a:gdLst>
              <a:ahLst/>
              <a:cxnLst>
                <a:cxn ang="0">
                  <a:pos x="T0" y="T1"/>
                </a:cxn>
                <a:cxn ang="0">
                  <a:pos x="T2" y="T3"/>
                </a:cxn>
                <a:cxn ang="0">
                  <a:pos x="T4" y="T5"/>
                </a:cxn>
              </a:cxnLst>
              <a:rect l="0" t="0" r="r" b="b"/>
              <a:pathLst>
                <a:path w="20" h="1">
                  <a:moveTo>
                    <a:pt x="20" y="0"/>
                  </a:moveTo>
                  <a:cubicBezTo>
                    <a:pt x="14" y="0"/>
                    <a:pt x="6" y="0"/>
                    <a:pt x="0" y="1"/>
                  </a:cubicBezTo>
                  <a:cubicBezTo>
                    <a:pt x="6" y="1"/>
                    <a:pt x="14" y="0"/>
                    <a:pt x="2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 name="Freeform 6"/>
            <p:cNvSpPr>
              <a:spLocks/>
            </p:cNvSpPr>
            <p:nvPr/>
          </p:nvSpPr>
          <p:spPr bwMode="auto">
            <a:xfrm>
              <a:off x="5311775" y="3389313"/>
              <a:ext cx="44450" cy="46038"/>
            </a:xfrm>
            <a:custGeom>
              <a:avLst/>
              <a:gdLst>
                <a:gd name="T0" fmla="*/ 0 w 12"/>
                <a:gd name="T1" fmla="*/ 0 h 12"/>
                <a:gd name="T2" fmla="*/ 12 w 12"/>
                <a:gd name="T3" fmla="*/ 12 h 12"/>
                <a:gd name="T4" fmla="*/ 0 w 12"/>
                <a:gd name="T5" fmla="*/ 0 h 12"/>
              </a:gdLst>
              <a:ahLst/>
              <a:cxnLst>
                <a:cxn ang="0">
                  <a:pos x="T0" y="T1"/>
                </a:cxn>
                <a:cxn ang="0">
                  <a:pos x="T2" y="T3"/>
                </a:cxn>
                <a:cxn ang="0">
                  <a:pos x="T4" y="T5"/>
                </a:cxn>
              </a:cxnLst>
              <a:rect l="0" t="0" r="r" b="b"/>
              <a:pathLst>
                <a:path w="12" h="12">
                  <a:moveTo>
                    <a:pt x="0" y="0"/>
                  </a:moveTo>
                  <a:cubicBezTo>
                    <a:pt x="4" y="4"/>
                    <a:pt x="8" y="8"/>
                    <a:pt x="12" y="12"/>
                  </a:cubicBezTo>
                  <a:cubicBezTo>
                    <a:pt x="8" y="8"/>
                    <a:pt x="4"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 name="Oval 7"/>
            <p:cNvSpPr>
              <a:spLocks noChangeArrowheads="1"/>
            </p:cNvSpPr>
            <p:nvPr/>
          </p:nvSpPr>
          <p:spPr bwMode="auto">
            <a:xfrm>
              <a:off x="4608513" y="3027363"/>
              <a:ext cx="117475" cy="112713"/>
            </a:xfrm>
            <a:prstGeom prst="ellipse">
              <a:avLst/>
            </a:pr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 name="Freeform 8"/>
            <p:cNvSpPr>
              <a:spLocks noEditPoints="1"/>
            </p:cNvSpPr>
            <p:nvPr/>
          </p:nvSpPr>
          <p:spPr bwMode="auto">
            <a:xfrm>
              <a:off x="7437438" y="3773488"/>
              <a:ext cx="720725" cy="381000"/>
            </a:xfrm>
            <a:custGeom>
              <a:avLst/>
              <a:gdLst>
                <a:gd name="T0" fmla="*/ 78 w 192"/>
                <a:gd name="T1" fmla="*/ 24 h 101"/>
                <a:gd name="T2" fmla="*/ 80 w 192"/>
                <a:gd name="T3" fmla="*/ 24 h 101"/>
                <a:gd name="T4" fmla="*/ 86 w 192"/>
                <a:gd name="T5" fmla="*/ 32 h 101"/>
                <a:gd name="T6" fmla="*/ 65 w 192"/>
                <a:gd name="T7" fmla="*/ 74 h 101"/>
                <a:gd name="T8" fmla="*/ 65 w 192"/>
                <a:gd name="T9" fmla="*/ 74 h 101"/>
                <a:gd name="T10" fmla="*/ 54 w 192"/>
                <a:gd name="T11" fmla="*/ 75 h 101"/>
                <a:gd name="T12" fmla="*/ 52 w 192"/>
                <a:gd name="T13" fmla="*/ 77 h 101"/>
                <a:gd name="T14" fmla="*/ 14 w 192"/>
                <a:gd name="T15" fmla="*/ 43 h 101"/>
                <a:gd name="T16" fmla="*/ 15 w 192"/>
                <a:gd name="T17" fmla="*/ 39 h 101"/>
                <a:gd name="T18" fmla="*/ 96 w 192"/>
                <a:gd name="T19" fmla="*/ 0 h 101"/>
                <a:gd name="T20" fmla="*/ 78 w 192"/>
                <a:gd name="T21" fmla="*/ 19 h 101"/>
                <a:gd name="T22" fmla="*/ 15 w 192"/>
                <a:gd name="T23" fmla="*/ 37 h 101"/>
                <a:gd name="T24" fmla="*/ 15 w 192"/>
                <a:gd name="T25" fmla="*/ 37 h 101"/>
                <a:gd name="T26" fmla="*/ 10 w 192"/>
                <a:gd name="T27" fmla="*/ 33 h 101"/>
                <a:gd name="T28" fmla="*/ 13 w 192"/>
                <a:gd name="T29" fmla="*/ 9 h 101"/>
                <a:gd name="T30" fmla="*/ 8 w 192"/>
                <a:gd name="T31" fmla="*/ 33 h 101"/>
                <a:gd name="T32" fmla="*/ 2 w 192"/>
                <a:gd name="T33" fmla="*/ 42 h 101"/>
                <a:gd name="T34" fmla="*/ 11 w 192"/>
                <a:gd name="T35" fmla="*/ 45 h 101"/>
                <a:gd name="T36" fmla="*/ 12 w 192"/>
                <a:gd name="T37" fmla="*/ 45 h 101"/>
                <a:gd name="T38" fmla="*/ 49 w 192"/>
                <a:gd name="T39" fmla="*/ 79 h 101"/>
                <a:gd name="T40" fmla="*/ 48 w 192"/>
                <a:gd name="T41" fmla="*/ 93 h 101"/>
                <a:gd name="T42" fmla="*/ 66 w 192"/>
                <a:gd name="T43" fmla="*/ 99 h 101"/>
                <a:gd name="T44" fmla="*/ 69 w 192"/>
                <a:gd name="T45" fmla="*/ 76 h 101"/>
                <a:gd name="T46" fmla="*/ 91 w 192"/>
                <a:gd name="T47" fmla="*/ 34 h 101"/>
                <a:gd name="T48" fmla="*/ 91 w 192"/>
                <a:gd name="T49" fmla="*/ 34 h 101"/>
                <a:gd name="T50" fmla="*/ 104 w 192"/>
                <a:gd name="T51" fmla="*/ 33 h 101"/>
                <a:gd name="T52" fmla="*/ 109 w 192"/>
                <a:gd name="T53" fmla="*/ 30 h 101"/>
                <a:gd name="T54" fmla="*/ 178 w 192"/>
                <a:gd name="T55" fmla="*/ 78 h 101"/>
                <a:gd name="T56" fmla="*/ 178 w 192"/>
                <a:gd name="T57" fmla="*/ 83 h 101"/>
                <a:gd name="T58" fmla="*/ 187 w 192"/>
                <a:gd name="T59" fmla="*/ 87 h 101"/>
                <a:gd name="T60" fmla="*/ 184 w 192"/>
                <a:gd name="T61" fmla="*/ 74 h 101"/>
                <a:gd name="T62" fmla="*/ 179 w 192"/>
                <a:gd name="T63" fmla="*/ 76 h 101"/>
                <a:gd name="T64" fmla="*/ 179 w 192"/>
                <a:gd name="T65" fmla="*/ 76 h 101"/>
                <a:gd name="T66" fmla="*/ 112 w 192"/>
                <a:gd name="T67" fmla="*/ 26 h 101"/>
                <a:gd name="T68" fmla="*/ 96 w 192"/>
                <a:gd name="T6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01">
                  <a:moveTo>
                    <a:pt x="15" y="39"/>
                  </a:moveTo>
                  <a:cubicBezTo>
                    <a:pt x="15" y="38"/>
                    <a:pt x="68" y="24"/>
                    <a:pt x="78" y="24"/>
                  </a:cubicBezTo>
                  <a:cubicBezTo>
                    <a:pt x="79" y="24"/>
                    <a:pt x="80" y="24"/>
                    <a:pt x="80" y="24"/>
                  </a:cubicBezTo>
                  <a:cubicBezTo>
                    <a:pt x="80" y="24"/>
                    <a:pt x="80" y="24"/>
                    <a:pt x="80" y="24"/>
                  </a:cubicBezTo>
                  <a:cubicBezTo>
                    <a:pt x="80" y="25"/>
                    <a:pt x="80" y="25"/>
                    <a:pt x="80" y="25"/>
                  </a:cubicBezTo>
                  <a:cubicBezTo>
                    <a:pt x="81" y="28"/>
                    <a:pt x="84" y="30"/>
                    <a:pt x="86" y="32"/>
                  </a:cubicBezTo>
                  <a:cubicBezTo>
                    <a:pt x="86" y="31"/>
                    <a:pt x="86" y="31"/>
                    <a:pt x="86" y="31"/>
                  </a:cubicBezTo>
                  <a:cubicBezTo>
                    <a:pt x="89" y="33"/>
                    <a:pt x="68" y="74"/>
                    <a:pt x="65" y="74"/>
                  </a:cubicBezTo>
                  <a:cubicBezTo>
                    <a:pt x="65" y="74"/>
                    <a:pt x="65" y="74"/>
                    <a:pt x="65" y="74"/>
                  </a:cubicBezTo>
                  <a:cubicBezTo>
                    <a:pt x="65" y="74"/>
                    <a:pt x="65" y="74"/>
                    <a:pt x="65" y="74"/>
                  </a:cubicBezTo>
                  <a:cubicBezTo>
                    <a:pt x="63" y="74"/>
                    <a:pt x="62" y="74"/>
                    <a:pt x="60" y="74"/>
                  </a:cubicBezTo>
                  <a:cubicBezTo>
                    <a:pt x="58" y="74"/>
                    <a:pt x="56" y="74"/>
                    <a:pt x="54" y="75"/>
                  </a:cubicBezTo>
                  <a:cubicBezTo>
                    <a:pt x="53" y="76"/>
                    <a:pt x="53" y="76"/>
                    <a:pt x="52" y="77"/>
                  </a:cubicBezTo>
                  <a:cubicBezTo>
                    <a:pt x="52" y="77"/>
                    <a:pt x="52" y="77"/>
                    <a:pt x="52" y="77"/>
                  </a:cubicBezTo>
                  <a:cubicBezTo>
                    <a:pt x="52" y="77"/>
                    <a:pt x="52" y="77"/>
                    <a:pt x="52" y="77"/>
                  </a:cubicBezTo>
                  <a:cubicBezTo>
                    <a:pt x="48" y="77"/>
                    <a:pt x="13" y="44"/>
                    <a:pt x="14" y="43"/>
                  </a:cubicBezTo>
                  <a:cubicBezTo>
                    <a:pt x="14" y="43"/>
                    <a:pt x="14" y="43"/>
                    <a:pt x="14" y="43"/>
                  </a:cubicBezTo>
                  <a:cubicBezTo>
                    <a:pt x="15" y="42"/>
                    <a:pt x="15" y="40"/>
                    <a:pt x="15" y="39"/>
                  </a:cubicBezTo>
                  <a:cubicBezTo>
                    <a:pt x="15" y="39"/>
                    <a:pt x="15" y="39"/>
                    <a:pt x="15" y="39"/>
                  </a:cubicBezTo>
                  <a:moveTo>
                    <a:pt x="96" y="0"/>
                  </a:moveTo>
                  <a:cubicBezTo>
                    <a:pt x="94" y="0"/>
                    <a:pt x="91" y="1"/>
                    <a:pt x="89" y="2"/>
                  </a:cubicBezTo>
                  <a:cubicBezTo>
                    <a:pt x="81" y="5"/>
                    <a:pt x="78" y="12"/>
                    <a:pt x="78" y="19"/>
                  </a:cubicBezTo>
                  <a:cubicBezTo>
                    <a:pt x="78" y="19"/>
                    <a:pt x="78" y="19"/>
                    <a:pt x="78" y="19"/>
                  </a:cubicBezTo>
                  <a:cubicBezTo>
                    <a:pt x="79" y="23"/>
                    <a:pt x="20" y="37"/>
                    <a:pt x="15" y="37"/>
                  </a:cubicBezTo>
                  <a:cubicBezTo>
                    <a:pt x="15" y="37"/>
                    <a:pt x="15" y="37"/>
                    <a:pt x="15" y="37"/>
                  </a:cubicBezTo>
                  <a:cubicBezTo>
                    <a:pt x="15" y="37"/>
                    <a:pt x="15" y="37"/>
                    <a:pt x="15" y="37"/>
                  </a:cubicBezTo>
                  <a:cubicBezTo>
                    <a:pt x="14" y="37"/>
                    <a:pt x="14" y="37"/>
                    <a:pt x="14" y="37"/>
                  </a:cubicBezTo>
                  <a:cubicBezTo>
                    <a:pt x="14" y="35"/>
                    <a:pt x="12" y="34"/>
                    <a:pt x="10" y="33"/>
                  </a:cubicBezTo>
                  <a:cubicBezTo>
                    <a:pt x="10" y="33"/>
                    <a:pt x="10" y="33"/>
                    <a:pt x="10" y="33"/>
                  </a:cubicBezTo>
                  <a:cubicBezTo>
                    <a:pt x="10" y="33"/>
                    <a:pt x="11" y="22"/>
                    <a:pt x="13" y="9"/>
                  </a:cubicBezTo>
                  <a:cubicBezTo>
                    <a:pt x="11" y="22"/>
                    <a:pt x="9" y="33"/>
                    <a:pt x="8" y="33"/>
                  </a:cubicBezTo>
                  <a:cubicBezTo>
                    <a:pt x="8" y="33"/>
                    <a:pt x="8" y="33"/>
                    <a:pt x="8" y="33"/>
                  </a:cubicBezTo>
                  <a:cubicBezTo>
                    <a:pt x="7" y="33"/>
                    <a:pt x="6" y="33"/>
                    <a:pt x="5" y="34"/>
                  </a:cubicBezTo>
                  <a:cubicBezTo>
                    <a:pt x="2" y="35"/>
                    <a:pt x="0" y="39"/>
                    <a:pt x="2" y="42"/>
                  </a:cubicBezTo>
                  <a:cubicBezTo>
                    <a:pt x="3" y="45"/>
                    <a:pt x="6" y="46"/>
                    <a:pt x="8" y="46"/>
                  </a:cubicBezTo>
                  <a:cubicBezTo>
                    <a:pt x="9" y="46"/>
                    <a:pt x="10" y="46"/>
                    <a:pt x="11" y="45"/>
                  </a:cubicBezTo>
                  <a:cubicBezTo>
                    <a:pt x="12" y="45"/>
                    <a:pt x="12" y="45"/>
                    <a:pt x="12" y="45"/>
                  </a:cubicBezTo>
                  <a:cubicBezTo>
                    <a:pt x="12" y="45"/>
                    <a:pt x="12" y="45"/>
                    <a:pt x="12" y="45"/>
                  </a:cubicBezTo>
                  <a:cubicBezTo>
                    <a:pt x="12" y="45"/>
                    <a:pt x="12" y="45"/>
                    <a:pt x="12" y="45"/>
                  </a:cubicBezTo>
                  <a:cubicBezTo>
                    <a:pt x="14" y="45"/>
                    <a:pt x="51" y="77"/>
                    <a:pt x="49" y="79"/>
                  </a:cubicBezTo>
                  <a:cubicBezTo>
                    <a:pt x="49" y="79"/>
                    <a:pt x="49" y="79"/>
                    <a:pt x="49" y="79"/>
                  </a:cubicBezTo>
                  <a:cubicBezTo>
                    <a:pt x="46" y="83"/>
                    <a:pt x="46" y="88"/>
                    <a:pt x="48" y="93"/>
                  </a:cubicBezTo>
                  <a:cubicBezTo>
                    <a:pt x="50" y="98"/>
                    <a:pt x="55" y="101"/>
                    <a:pt x="60" y="101"/>
                  </a:cubicBezTo>
                  <a:cubicBezTo>
                    <a:pt x="62" y="101"/>
                    <a:pt x="65" y="100"/>
                    <a:pt x="66" y="99"/>
                  </a:cubicBezTo>
                  <a:cubicBezTo>
                    <a:pt x="73" y="96"/>
                    <a:pt x="76" y="88"/>
                    <a:pt x="73" y="81"/>
                  </a:cubicBezTo>
                  <a:cubicBezTo>
                    <a:pt x="72" y="79"/>
                    <a:pt x="70" y="78"/>
                    <a:pt x="69" y="76"/>
                  </a:cubicBezTo>
                  <a:cubicBezTo>
                    <a:pt x="69" y="76"/>
                    <a:pt x="69" y="76"/>
                    <a:pt x="69" y="76"/>
                  </a:cubicBezTo>
                  <a:cubicBezTo>
                    <a:pt x="66" y="75"/>
                    <a:pt x="87" y="34"/>
                    <a:pt x="91" y="34"/>
                  </a:cubicBezTo>
                  <a:cubicBezTo>
                    <a:pt x="91" y="34"/>
                    <a:pt x="91" y="34"/>
                    <a:pt x="91" y="34"/>
                  </a:cubicBezTo>
                  <a:cubicBezTo>
                    <a:pt x="91" y="34"/>
                    <a:pt x="91" y="34"/>
                    <a:pt x="91" y="34"/>
                  </a:cubicBezTo>
                  <a:cubicBezTo>
                    <a:pt x="92" y="34"/>
                    <a:pt x="94" y="35"/>
                    <a:pt x="96" y="35"/>
                  </a:cubicBezTo>
                  <a:cubicBezTo>
                    <a:pt x="99" y="35"/>
                    <a:pt x="101" y="34"/>
                    <a:pt x="104" y="33"/>
                  </a:cubicBezTo>
                  <a:cubicBezTo>
                    <a:pt x="106" y="32"/>
                    <a:pt x="107" y="31"/>
                    <a:pt x="109" y="29"/>
                  </a:cubicBezTo>
                  <a:cubicBezTo>
                    <a:pt x="109" y="30"/>
                    <a:pt x="109" y="30"/>
                    <a:pt x="109" y="30"/>
                  </a:cubicBezTo>
                  <a:cubicBezTo>
                    <a:pt x="109" y="30"/>
                    <a:pt x="109" y="29"/>
                    <a:pt x="109" y="29"/>
                  </a:cubicBezTo>
                  <a:cubicBezTo>
                    <a:pt x="115" y="29"/>
                    <a:pt x="179" y="76"/>
                    <a:pt x="178" y="78"/>
                  </a:cubicBezTo>
                  <a:cubicBezTo>
                    <a:pt x="178" y="78"/>
                    <a:pt x="178" y="78"/>
                    <a:pt x="178" y="78"/>
                  </a:cubicBezTo>
                  <a:cubicBezTo>
                    <a:pt x="177" y="79"/>
                    <a:pt x="177" y="82"/>
                    <a:pt x="178" y="83"/>
                  </a:cubicBezTo>
                  <a:cubicBezTo>
                    <a:pt x="179" y="86"/>
                    <a:pt x="182" y="87"/>
                    <a:pt x="184" y="87"/>
                  </a:cubicBezTo>
                  <a:cubicBezTo>
                    <a:pt x="185" y="87"/>
                    <a:pt x="186" y="87"/>
                    <a:pt x="187" y="87"/>
                  </a:cubicBezTo>
                  <a:cubicBezTo>
                    <a:pt x="191" y="85"/>
                    <a:pt x="192" y="81"/>
                    <a:pt x="190" y="78"/>
                  </a:cubicBezTo>
                  <a:cubicBezTo>
                    <a:pt x="189" y="75"/>
                    <a:pt x="187" y="74"/>
                    <a:pt x="184" y="74"/>
                  </a:cubicBezTo>
                  <a:cubicBezTo>
                    <a:pt x="183" y="74"/>
                    <a:pt x="182" y="74"/>
                    <a:pt x="181" y="75"/>
                  </a:cubicBezTo>
                  <a:cubicBezTo>
                    <a:pt x="181" y="75"/>
                    <a:pt x="180" y="75"/>
                    <a:pt x="179" y="76"/>
                  </a:cubicBezTo>
                  <a:cubicBezTo>
                    <a:pt x="179" y="76"/>
                    <a:pt x="179" y="76"/>
                    <a:pt x="179" y="76"/>
                  </a:cubicBezTo>
                  <a:cubicBezTo>
                    <a:pt x="179" y="76"/>
                    <a:pt x="179" y="76"/>
                    <a:pt x="179" y="76"/>
                  </a:cubicBezTo>
                  <a:cubicBezTo>
                    <a:pt x="177" y="76"/>
                    <a:pt x="110" y="29"/>
                    <a:pt x="112" y="26"/>
                  </a:cubicBezTo>
                  <a:cubicBezTo>
                    <a:pt x="112" y="26"/>
                    <a:pt x="112" y="26"/>
                    <a:pt x="112" y="26"/>
                  </a:cubicBezTo>
                  <a:cubicBezTo>
                    <a:pt x="115" y="21"/>
                    <a:pt x="115" y="15"/>
                    <a:pt x="112" y="10"/>
                  </a:cubicBezTo>
                  <a:cubicBezTo>
                    <a:pt x="109" y="4"/>
                    <a:pt x="103" y="0"/>
                    <a:pt x="96"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 name="Freeform 9"/>
            <p:cNvSpPr>
              <a:spLocks noEditPoints="1"/>
            </p:cNvSpPr>
            <p:nvPr/>
          </p:nvSpPr>
          <p:spPr bwMode="auto">
            <a:xfrm>
              <a:off x="6915150" y="2703513"/>
              <a:ext cx="2552700" cy="1103313"/>
            </a:xfrm>
            <a:custGeom>
              <a:avLst/>
              <a:gdLst>
                <a:gd name="T0" fmla="*/ 305 w 680"/>
                <a:gd name="T1" fmla="*/ 180 h 293"/>
                <a:gd name="T2" fmla="*/ 476 w 680"/>
                <a:gd name="T3" fmla="*/ 198 h 293"/>
                <a:gd name="T4" fmla="*/ 671 w 680"/>
                <a:gd name="T5" fmla="*/ 164 h 293"/>
                <a:gd name="T6" fmla="*/ 639 w 680"/>
                <a:gd name="T7" fmla="*/ 163 h 293"/>
                <a:gd name="T8" fmla="*/ 176 w 680"/>
                <a:gd name="T9" fmla="*/ 124 h 293"/>
                <a:gd name="T10" fmla="*/ 137 w 680"/>
                <a:gd name="T11" fmla="*/ 142 h 293"/>
                <a:gd name="T12" fmla="*/ 210 w 680"/>
                <a:gd name="T13" fmla="*/ 112 h 293"/>
                <a:gd name="T14" fmla="*/ 209 w 680"/>
                <a:gd name="T15" fmla="*/ 112 h 293"/>
                <a:gd name="T16" fmla="*/ 302 w 680"/>
                <a:gd name="T17" fmla="*/ 177 h 293"/>
                <a:gd name="T18" fmla="*/ 501 w 680"/>
                <a:gd name="T19" fmla="*/ 103 h 293"/>
                <a:gd name="T20" fmla="*/ 447 w 680"/>
                <a:gd name="T21" fmla="*/ 82 h 293"/>
                <a:gd name="T22" fmla="*/ 431 w 680"/>
                <a:gd name="T23" fmla="*/ 75 h 293"/>
                <a:gd name="T24" fmla="*/ 272 w 680"/>
                <a:gd name="T25" fmla="*/ 100 h 293"/>
                <a:gd name="T26" fmla="*/ 176 w 680"/>
                <a:gd name="T27" fmla="*/ 124 h 293"/>
                <a:gd name="T28" fmla="*/ 165 w 680"/>
                <a:gd name="T29" fmla="*/ 74 h 293"/>
                <a:gd name="T30" fmla="*/ 209 w 680"/>
                <a:gd name="T31" fmla="*/ 110 h 293"/>
                <a:gd name="T32" fmla="*/ 1 w 680"/>
                <a:gd name="T33" fmla="*/ 9 h 293"/>
                <a:gd name="T34" fmla="*/ 112 w 680"/>
                <a:gd name="T35" fmla="*/ 136 h 293"/>
                <a:gd name="T36" fmla="*/ 172 w 680"/>
                <a:gd name="T37" fmla="*/ 142 h 293"/>
                <a:gd name="T38" fmla="*/ 187 w 680"/>
                <a:gd name="T39" fmla="*/ 142 h 293"/>
                <a:gd name="T40" fmla="*/ 251 w 680"/>
                <a:gd name="T41" fmla="*/ 143 h 293"/>
                <a:gd name="T42" fmla="*/ 266 w 680"/>
                <a:gd name="T43" fmla="*/ 103 h 293"/>
                <a:gd name="T44" fmla="*/ 298 w 680"/>
                <a:gd name="T45" fmla="*/ 202 h 293"/>
                <a:gd name="T46" fmla="*/ 361 w 680"/>
                <a:gd name="T47" fmla="*/ 264 h 293"/>
                <a:gd name="T48" fmla="*/ 313 w 680"/>
                <a:gd name="T49" fmla="*/ 172 h 293"/>
                <a:gd name="T50" fmla="*/ 443 w 680"/>
                <a:gd name="T51" fmla="*/ 83 h 293"/>
                <a:gd name="T52" fmla="*/ 364 w 680"/>
                <a:gd name="T53" fmla="*/ 184 h 293"/>
                <a:gd name="T54" fmla="*/ 399 w 680"/>
                <a:gd name="T55" fmla="*/ 155 h 293"/>
                <a:gd name="T56" fmla="*/ 358 w 680"/>
                <a:gd name="T57" fmla="*/ 180 h 293"/>
                <a:gd name="T58" fmla="*/ 430 w 680"/>
                <a:gd name="T59" fmla="*/ 184 h 293"/>
                <a:gd name="T60" fmla="*/ 436 w 680"/>
                <a:gd name="T61" fmla="*/ 180 h 293"/>
                <a:gd name="T62" fmla="*/ 469 w 680"/>
                <a:gd name="T63" fmla="*/ 199 h 293"/>
                <a:gd name="T64" fmla="*/ 518 w 680"/>
                <a:gd name="T65" fmla="*/ 271 h 293"/>
                <a:gd name="T66" fmla="*/ 522 w 680"/>
                <a:gd name="T67" fmla="*/ 268 h 293"/>
                <a:gd name="T68" fmla="*/ 480 w 680"/>
                <a:gd name="T69" fmla="*/ 199 h 293"/>
                <a:gd name="T70" fmla="*/ 548 w 680"/>
                <a:gd name="T71" fmla="*/ 166 h 293"/>
                <a:gd name="T72" fmla="*/ 585 w 680"/>
                <a:gd name="T73" fmla="*/ 189 h 293"/>
                <a:gd name="T74" fmla="*/ 586 w 680"/>
                <a:gd name="T75" fmla="*/ 184 h 293"/>
                <a:gd name="T76" fmla="*/ 586 w 680"/>
                <a:gd name="T77" fmla="*/ 135 h 293"/>
                <a:gd name="T78" fmla="*/ 593 w 680"/>
                <a:gd name="T79" fmla="*/ 135 h 293"/>
                <a:gd name="T80" fmla="*/ 639 w 680"/>
                <a:gd name="T81" fmla="*/ 165 h 293"/>
                <a:gd name="T82" fmla="*/ 593 w 680"/>
                <a:gd name="T83" fmla="*/ 258 h 293"/>
                <a:gd name="T84" fmla="*/ 592 w 680"/>
                <a:gd name="T85" fmla="*/ 270 h 293"/>
                <a:gd name="T86" fmla="*/ 675 w 680"/>
                <a:gd name="T87" fmla="*/ 169 h 293"/>
                <a:gd name="T88" fmla="*/ 671 w 680"/>
                <a:gd name="T89" fmla="*/ 163 h 293"/>
                <a:gd name="T90" fmla="*/ 585 w 680"/>
                <a:gd name="T91" fmla="*/ 134 h 293"/>
                <a:gd name="T92" fmla="*/ 541 w 680"/>
                <a:gd name="T93" fmla="*/ 159 h 293"/>
                <a:gd name="T94" fmla="*/ 519 w 680"/>
                <a:gd name="T95" fmla="*/ 102 h 293"/>
                <a:gd name="T96" fmla="*/ 454 w 680"/>
                <a:gd name="T97" fmla="*/ 75 h 293"/>
                <a:gd name="T98" fmla="*/ 277 w 680"/>
                <a:gd name="T99" fmla="*/ 88 h 293"/>
                <a:gd name="T100" fmla="*/ 260 w 680"/>
                <a:gd name="T101" fmla="*/ 102 h 293"/>
                <a:gd name="T102" fmla="*/ 245 w 680"/>
                <a:gd name="T103" fmla="*/ 146 h 293"/>
                <a:gd name="T104" fmla="*/ 211 w 680"/>
                <a:gd name="T105" fmla="*/ 113 h 293"/>
                <a:gd name="T106" fmla="*/ 211 w 680"/>
                <a:gd name="T107" fmla="*/ 105 h 293"/>
                <a:gd name="T108" fmla="*/ 168 w 680"/>
                <a:gd name="T109" fmla="*/ 55 h 293"/>
                <a:gd name="T110" fmla="*/ 122 w 680"/>
                <a:gd name="T111" fmla="*/ 132 h 293"/>
                <a:gd name="T112" fmla="*/ 115 w 680"/>
                <a:gd name="T113" fmla="*/ 133 h 293"/>
                <a:gd name="T114" fmla="*/ 98 w 680"/>
                <a:gd name="T115" fmla="*/ 90 h 293"/>
                <a:gd name="T116" fmla="*/ 102 w 680"/>
                <a:gd name="T117" fmla="*/ 84 h 293"/>
                <a:gd name="T118" fmla="*/ 13 w 680"/>
                <a:gd name="T119" fmla="*/ 1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0" h="293">
                  <a:moveTo>
                    <a:pt x="305" y="180"/>
                  </a:moveTo>
                  <a:cubicBezTo>
                    <a:pt x="304" y="180"/>
                    <a:pt x="307" y="177"/>
                    <a:pt x="313" y="173"/>
                  </a:cubicBezTo>
                  <a:cubicBezTo>
                    <a:pt x="333" y="207"/>
                    <a:pt x="354" y="243"/>
                    <a:pt x="355" y="247"/>
                  </a:cubicBezTo>
                  <a:cubicBezTo>
                    <a:pt x="350" y="244"/>
                    <a:pt x="302" y="199"/>
                    <a:pt x="304" y="197"/>
                  </a:cubicBezTo>
                  <a:cubicBezTo>
                    <a:pt x="304" y="197"/>
                    <a:pt x="304" y="197"/>
                    <a:pt x="304" y="197"/>
                  </a:cubicBezTo>
                  <a:cubicBezTo>
                    <a:pt x="307" y="193"/>
                    <a:pt x="308" y="187"/>
                    <a:pt x="305" y="182"/>
                  </a:cubicBezTo>
                  <a:cubicBezTo>
                    <a:pt x="305" y="181"/>
                    <a:pt x="305" y="181"/>
                    <a:pt x="305" y="180"/>
                  </a:cubicBezTo>
                  <a:cubicBezTo>
                    <a:pt x="305" y="180"/>
                    <a:pt x="305" y="180"/>
                    <a:pt x="305" y="180"/>
                  </a:cubicBezTo>
                  <a:moveTo>
                    <a:pt x="473" y="198"/>
                  </a:moveTo>
                  <a:cubicBezTo>
                    <a:pt x="472" y="198"/>
                    <a:pt x="469" y="187"/>
                    <a:pt x="465" y="171"/>
                  </a:cubicBezTo>
                  <a:cubicBezTo>
                    <a:pt x="473" y="170"/>
                    <a:pt x="481" y="169"/>
                    <a:pt x="489" y="168"/>
                  </a:cubicBezTo>
                  <a:cubicBezTo>
                    <a:pt x="483" y="184"/>
                    <a:pt x="477" y="198"/>
                    <a:pt x="476" y="198"/>
                  </a:cubicBezTo>
                  <a:cubicBezTo>
                    <a:pt x="476" y="198"/>
                    <a:pt x="476" y="198"/>
                    <a:pt x="476" y="198"/>
                  </a:cubicBezTo>
                  <a:cubicBezTo>
                    <a:pt x="476" y="198"/>
                    <a:pt x="476" y="198"/>
                    <a:pt x="476" y="198"/>
                  </a:cubicBezTo>
                  <a:cubicBezTo>
                    <a:pt x="475" y="198"/>
                    <a:pt x="475" y="198"/>
                    <a:pt x="474" y="198"/>
                  </a:cubicBezTo>
                  <a:cubicBezTo>
                    <a:pt x="473" y="198"/>
                    <a:pt x="473" y="198"/>
                    <a:pt x="473" y="198"/>
                  </a:cubicBezTo>
                  <a:cubicBezTo>
                    <a:pt x="473" y="198"/>
                    <a:pt x="473" y="198"/>
                    <a:pt x="473" y="198"/>
                  </a:cubicBezTo>
                  <a:cubicBezTo>
                    <a:pt x="473" y="198"/>
                    <a:pt x="473" y="198"/>
                    <a:pt x="473" y="198"/>
                  </a:cubicBezTo>
                  <a:moveTo>
                    <a:pt x="632" y="162"/>
                  </a:moveTo>
                  <a:cubicBezTo>
                    <a:pt x="631" y="162"/>
                    <a:pt x="596" y="137"/>
                    <a:pt x="594" y="134"/>
                  </a:cubicBezTo>
                  <a:cubicBezTo>
                    <a:pt x="598" y="135"/>
                    <a:pt x="671" y="163"/>
                    <a:pt x="671" y="164"/>
                  </a:cubicBezTo>
                  <a:cubicBezTo>
                    <a:pt x="671" y="164"/>
                    <a:pt x="671" y="164"/>
                    <a:pt x="671" y="164"/>
                  </a:cubicBezTo>
                  <a:cubicBezTo>
                    <a:pt x="671" y="164"/>
                    <a:pt x="671" y="164"/>
                    <a:pt x="671" y="164"/>
                  </a:cubicBezTo>
                  <a:cubicBezTo>
                    <a:pt x="671" y="164"/>
                    <a:pt x="671" y="164"/>
                    <a:pt x="671" y="164"/>
                  </a:cubicBezTo>
                  <a:cubicBezTo>
                    <a:pt x="671" y="164"/>
                    <a:pt x="663" y="165"/>
                    <a:pt x="655" y="165"/>
                  </a:cubicBezTo>
                  <a:cubicBezTo>
                    <a:pt x="647" y="165"/>
                    <a:pt x="639" y="164"/>
                    <a:pt x="639" y="164"/>
                  </a:cubicBezTo>
                  <a:cubicBezTo>
                    <a:pt x="639" y="164"/>
                    <a:pt x="639" y="164"/>
                    <a:pt x="639" y="164"/>
                  </a:cubicBezTo>
                  <a:cubicBezTo>
                    <a:pt x="639" y="164"/>
                    <a:pt x="639" y="163"/>
                    <a:pt x="639" y="163"/>
                  </a:cubicBezTo>
                  <a:cubicBezTo>
                    <a:pt x="638" y="162"/>
                    <a:pt x="636" y="161"/>
                    <a:pt x="635" y="161"/>
                  </a:cubicBezTo>
                  <a:cubicBezTo>
                    <a:pt x="634" y="161"/>
                    <a:pt x="634" y="161"/>
                    <a:pt x="633" y="161"/>
                  </a:cubicBezTo>
                  <a:cubicBezTo>
                    <a:pt x="633" y="161"/>
                    <a:pt x="632" y="162"/>
                    <a:pt x="632" y="162"/>
                  </a:cubicBezTo>
                  <a:cubicBezTo>
                    <a:pt x="632" y="162"/>
                    <a:pt x="632" y="162"/>
                    <a:pt x="632" y="162"/>
                  </a:cubicBezTo>
                  <a:cubicBezTo>
                    <a:pt x="632" y="162"/>
                    <a:pt x="632" y="162"/>
                    <a:pt x="632" y="162"/>
                  </a:cubicBezTo>
                  <a:moveTo>
                    <a:pt x="137" y="142"/>
                  </a:moveTo>
                  <a:cubicBezTo>
                    <a:pt x="136" y="141"/>
                    <a:pt x="157" y="132"/>
                    <a:pt x="176" y="124"/>
                  </a:cubicBezTo>
                  <a:cubicBezTo>
                    <a:pt x="176" y="130"/>
                    <a:pt x="177" y="134"/>
                    <a:pt x="176" y="134"/>
                  </a:cubicBezTo>
                  <a:cubicBezTo>
                    <a:pt x="176" y="134"/>
                    <a:pt x="176" y="134"/>
                    <a:pt x="176" y="134"/>
                  </a:cubicBezTo>
                  <a:cubicBezTo>
                    <a:pt x="175" y="134"/>
                    <a:pt x="175" y="134"/>
                    <a:pt x="175" y="134"/>
                  </a:cubicBezTo>
                  <a:cubicBezTo>
                    <a:pt x="173" y="136"/>
                    <a:pt x="172" y="138"/>
                    <a:pt x="171" y="140"/>
                  </a:cubicBezTo>
                  <a:cubicBezTo>
                    <a:pt x="171" y="140"/>
                    <a:pt x="171" y="140"/>
                    <a:pt x="171" y="140"/>
                  </a:cubicBezTo>
                  <a:cubicBezTo>
                    <a:pt x="171" y="141"/>
                    <a:pt x="152" y="143"/>
                    <a:pt x="143" y="143"/>
                  </a:cubicBezTo>
                  <a:cubicBezTo>
                    <a:pt x="139" y="143"/>
                    <a:pt x="137" y="143"/>
                    <a:pt x="137" y="142"/>
                  </a:cubicBezTo>
                  <a:cubicBezTo>
                    <a:pt x="137" y="142"/>
                    <a:pt x="137" y="142"/>
                    <a:pt x="137" y="142"/>
                  </a:cubicBezTo>
                  <a:cubicBezTo>
                    <a:pt x="137" y="142"/>
                    <a:pt x="137" y="142"/>
                    <a:pt x="137" y="142"/>
                  </a:cubicBezTo>
                  <a:cubicBezTo>
                    <a:pt x="137" y="142"/>
                    <a:pt x="137" y="142"/>
                    <a:pt x="137" y="142"/>
                  </a:cubicBezTo>
                  <a:moveTo>
                    <a:pt x="209" y="112"/>
                  </a:moveTo>
                  <a:cubicBezTo>
                    <a:pt x="209" y="112"/>
                    <a:pt x="209" y="112"/>
                    <a:pt x="209" y="112"/>
                  </a:cubicBezTo>
                  <a:cubicBezTo>
                    <a:pt x="210" y="112"/>
                    <a:pt x="210" y="112"/>
                    <a:pt x="210" y="112"/>
                  </a:cubicBezTo>
                  <a:cubicBezTo>
                    <a:pt x="210" y="112"/>
                    <a:pt x="210" y="112"/>
                    <a:pt x="210" y="112"/>
                  </a:cubicBezTo>
                  <a:cubicBezTo>
                    <a:pt x="210" y="113"/>
                    <a:pt x="185" y="135"/>
                    <a:pt x="183" y="135"/>
                  </a:cubicBezTo>
                  <a:cubicBezTo>
                    <a:pt x="183" y="135"/>
                    <a:pt x="183" y="135"/>
                    <a:pt x="183" y="135"/>
                  </a:cubicBezTo>
                  <a:cubicBezTo>
                    <a:pt x="183" y="135"/>
                    <a:pt x="183" y="135"/>
                    <a:pt x="183" y="135"/>
                  </a:cubicBezTo>
                  <a:cubicBezTo>
                    <a:pt x="181" y="134"/>
                    <a:pt x="180" y="134"/>
                    <a:pt x="178" y="134"/>
                  </a:cubicBezTo>
                  <a:cubicBezTo>
                    <a:pt x="178" y="134"/>
                    <a:pt x="178" y="134"/>
                    <a:pt x="178" y="134"/>
                  </a:cubicBezTo>
                  <a:cubicBezTo>
                    <a:pt x="178" y="134"/>
                    <a:pt x="177" y="130"/>
                    <a:pt x="176" y="124"/>
                  </a:cubicBezTo>
                  <a:cubicBezTo>
                    <a:pt x="193" y="118"/>
                    <a:pt x="208" y="112"/>
                    <a:pt x="209" y="112"/>
                  </a:cubicBezTo>
                  <a:cubicBezTo>
                    <a:pt x="209" y="112"/>
                    <a:pt x="209" y="112"/>
                    <a:pt x="209" y="112"/>
                  </a:cubicBezTo>
                  <a:moveTo>
                    <a:pt x="289" y="173"/>
                  </a:moveTo>
                  <a:cubicBezTo>
                    <a:pt x="286" y="173"/>
                    <a:pt x="269" y="109"/>
                    <a:pt x="270" y="102"/>
                  </a:cubicBezTo>
                  <a:cubicBezTo>
                    <a:pt x="273" y="106"/>
                    <a:pt x="292" y="138"/>
                    <a:pt x="312" y="171"/>
                  </a:cubicBezTo>
                  <a:cubicBezTo>
                    <a:pt x="306" y="174"/>
                    <a:pt x="302" y="177"/>
                    <a:pt x="302" y="177"/>
                  </a:cubicBezTo>
                  <a:cubicBezTo>
                    <a:pt x="302" y="177"/>
                    <a:pt x="302" y="177"/>
                    <a:pt x="302" y="177"/>
                  </a:cubicBezTo>
                  <a:cubicBezTo>
                    <a:pt x="302" y="177"/>
                    <a:pt x="302" y="177"/>
                    <a:pt x="302" y="177"/>
                  </a:cubicBezTo>
                  <a:cubicBezTo>
                    <a:pt x="299" y="174"/>
                    <a:pt x="295" y="173"/>
                    <a:pt x="291" y="173"/>
                  </a:cubicBezTo>
                  <a:cubicBezTo>
                    <a:pt x="290" y="173"/>
                    <a:pt x="290" y="173"/>
                    <a:pt x="289" y="173"/>
                  </a:cubicBezTo>
                  <a:cubicBezTo>
                    <a:pt x="289" y="173"/>
                    <a:pt x="289" y="173"/>
                    <a:pt x="289" y="173"/>
                  </a:cubicBezTo>
                  <a:cubicBezTo>
                    <a:pt x="289" y="173"/>
                    <a:pt x="289" y="173"/>
                    <a:pt x="289" y="173"/>
                  </a:cubicBezTo>
                  <a:moveTo>
                    <a:pt x="452" y="78"/>
                  </a:moveTo>
                  <a:cubicBezTo>
                    <a:pt x="452" y="78"/>
                    <a:pt x="452" y="78"/>
                    <a:pt x="453" y="78"/>
                  </a:cubicBezTo>
                  <a:cubicBezTo>
                    <a:pt x="457" y="78"/>
                    <a:pt x="501" y="101"/>
                    <a:pt x="501" y="103"/>
                  </a:cubicBezTo>
                  <a:cubicBezTo>
                    <a:pt x="501" y="103"/>
                    <a:pt x="501" y="103"/>
                    <a:pt x="501" y="103"/>
                  </a:cubicBezTo>
                  <a:cubicBezTo>
                    <a:pt x="500" y="105"/>
                    <a:pt x="500" y="108"/>
                    <a:pt x="501" y="110"/>
                  </a:cubicBezTo>
                  <a:cubicBezTo>
                    <a:pt x="502" y="112"/>
                    <a:pt x="504" y="113"/>
                    <a:pt x="506" y="114"/>
                  </a:cubicBezTo>
                  <a:cubicBezTo>
                    <a:pt x="506" y="114"/>
                    <a:pt x="506" y="114"/>
                    <a:pt x="506" y="114"/>
                  </a:cubicBezTo>
                  <a:cubicBezTo>
                    <a:pt x="507" y="115"/>
                    <a:pt x="497" y="144"/>
                    <a:pt x="489" y="168"/>
                  </a:cubicBezTo>
                  <a:cubicBezTo>
                    <a:pt x="481" y="169"/>
                    <a:pt x="473" y="170"/>
                    <a:pt x="465" y="171"/>
                  </a:cubicBezTo>
                  <a:cubicBezTo>
                    <a:pt x="457" y="137"/>
                    <a:pt x="445" y="83"/>
                    <a:pt x="447" y="82"/>
                  </a:cubicBezTo>
                  <a:cubicBezTo>
                    <a:pt x="447" y="82"/>
                    <a:pt x="447" y="82"/>
                    <a:pt x="447" y="82"/>
                  </a:cubicBezTo>
                  <a:cubicBezTo>
                    <a:pt x="448" y="82"/>
                    <a:pt x="448" y="82"/>
                    <a:pt x="448" y="82"/>
                  </a:cubicBezTo>
                  <a:cubicBezTo>
                    <a:pt x="450" y="81"/>
                    <a:pt x="451" y="80"/>
                    <a:pt x="452" y="78"/>
                  </a:cubicBezTo>
                  <a:cubicBezTo>
                    <a:pt x="452" y="78"/>
                    <a:pt x="452" y="78"/>
                    <a:pt x="452" y="78"/>
                  </a:cubicBezTo>
                  <a:moveTo>
                    <a:pt x="277" y="92"/>
                  </a:moveTo>
                  <a:cubicBezTo>
                    <a:pt x="277" y="90"/>
                    <a:pt x="413" y="74"/>
                    <a:pt x="429" y="74"/>
                  </a:cubicBezTo>
                  <a:cubicBezTo>
                    <a:pt x="431" y="74"/>
                    <a:pt x="431" y="74"/>
                    <a:pt x="431" y="75"/>
                  </a:cubicBezTo>
                  <a:cubicBezTo>
                    <a:pt x="431" y="75"/>
                    <a:pt x="431" y="75"/>
                    <a:pt x="431" y="75"/>
                  </a:cubicBezTo>
                  <a:cubicBezTo>
                    <a:pt x="431" y="75"/>
                    <a:pt x="432" y="76"/>
                    <a:pt x="432" y="76"/>
                  </a:cubicBezTo>
                  <a:cubicBezTo>
                    <a:pt x="432" y="77"/>
                    <a:pt x="432" y="77"/>
                    <a:pt x="432" y="77"/>
                  </a:cubicBezTo>
                  <a:cubicBezTo>
                    <a:pt x="432" y="77"/>
                    <a:pt x="432" y="77"/>
                    <a:pt x="432" y="77"/>
                  </a:cubicBezTo>
                  <a:cubicBezTo>
                    <a:pt x="433" y="79"/>
                    <a:pt x="343" y="149"/>
                    <a:pt x="312" y="170"/>
                  </a:cubicBezTo>
                  <a:cubicBezTo>
                    <a:pt x="291" y="135"/>
                    <a:pt x="272" y="101"/>
                    <a:pt x="272" y="100"/>
                  </a:cubicBezTo>
                  <a:cubicBezTo>
                    <a:pt x="272" y="100"/>
                    <a:pt x="272" y="100"/>
                    <a:pt x="272" y="100"/>
                  </a:cubicBezTo>
                  <a:cubicBezTo>
                    <a:pt x="275" y="98"/>
                    <a:pt x="277" y="95"/>
                    <a:pt x="277" y="92"/>
                  </a:cubicBezTo>
                  <a:cubicBezTo>
                    <a:pt x="277" y="92"/>
                    <a:pt x="277" y="92"/>
                    <a:pt x="277" y="92"/>
                  </a:cubicBezTo>
                  <a:moveTo>
                    <a:pt x="165" y="74"/>
                  </a:moveTo>
                  <a:cubicBezTo>
                    <a:pt x="165" y="74"/>
                    <a:pt x="165" y="74"/>
                    <a:pt x="165" y="74"/>
                  </a:cubicBezTo>
                  <a:cubicBezTo>
                    <a:pt x="166" y="74"/>
                    <a:pt x="167" y="74"/>
                    <a:pt x="168" y="74"/>
                  </a:cubicBezTo>
                  <a:cubicBezTo>
                    <a:pt x="168" y="74"/>
                    <a:pt x="168" y="74"/>
                    <a:pt x="168" y="74"/>
                  </a:cubicBezTo>
                  <a:cubicBezTo>
                    <a:pt x="169" y="74"/>
                    <a:pt x="174" y="107"/>
                    <a:pt x="176" y="124"/>
                  </a:cubicBezTo>
                  <a:cubicBezTo>
                    <a:pt x="158" y="131"/>
                    <a:pt x="139" y="139"/>
                    <a:pt x="135" y="139"/>
                  </a:cubicBezTo>
                  <a:cubicBezTo>
                    <a:pt x="135" y="139"/>
                    <a:pt x="135" y="138"/>
                    <a:pt x="135" y="138"/>
                  </a:cubicBezTo>
                  <a:cubicBezTo>
                    <a:pt x="135" y="138"/>
                    <a:pt x="135" y="138"/>
                    <a:pt x="135" y="138"/>
                  </a:cubicBezTo>
                  <a:cubicBezTo>
                    <a:pt x="134" y="137"/>
                    <a:pt x="133" y="135"/>
                    <a:pt x="131" y="134"/>
                  </a:cubicBezTo>
                  <a:cubicBezTo>
                    <a:pt x="131" y="134"/>
                    <a:pt x="131" y="134"/>
                    <a:pt x="131" y="134"/>
                  </a:cubicBezTo>
                  <a:cubicBezTo>
                    <a:pt x="129" y="133"/>
                    <a:pt x="163" y="74"/>
                    <a:pt x="165" y="74"/>
                  </a:cubicBezTo>
                  <a:cubicBezTo>
                    <a:pt x="165" y="74"/>
                    <a:pt x="165" y="74"/>
                    <a:pt x="165" y="74"/>
                  </a:cubicBezTo>
                  <a:moveTo>
                    <a:pt x="171" y="74"/>
                  </a:moveTo>
                  <a:cubicBezTo>
                    <a:pt x="172" y="74"/>
                    <a:pt x="173" y="73"/>
                    <a:pt x="174" y="72"/>
                  </a:cubicBezTo>
                  <a:cubicBezTo>
                    <a:pt x="174" y="72"/>
                    <a:pt x="174" y="72"/>
                    <a:pt x="174" y="72"/>
                  </a:cubicBezTo>
                  <a:cubicBezTo>
                    <a:pt x="174" y="72"/>
                    <a:pt x="174" y="72"/>
                    <a:pt x="174" y="72"/>
                  </a:cubicBezTo>
                  <a:cubicBezTo>
                    <a:pt x="177" y="72"/>
                    <a:pt x="210" y="106"/>
                    <a:pt x="210" y="107"/>
                  </a:cubicBezTo>
                  <a:cubicBezTo>
                    <a:pt x="210" y="107"/>
                    <a:pt x="210" y="107"/>
                    <a:pt x="210" y="107"/>
                  </a:cubicBezTo>
                  <a:cubicBezTo>
                    <a:pt x="209" y="108"/>
                    <a:pt x="209" y="109"/>
                    <a:pt x="209" y="110"/>
                  </a:cubicBezTo>
                  <a:cubicBezTo>
                    <a:pt x="209" y="110"/>
                    <a:pt x="209" y="110"/>
                    <a:pt x="209" y="110"/>
                  </a:cubicBezTo>
                  <a:cubicBezTo>
                    <a:pt x="209" y="111"/>
                    <a:pt x="193" y="117"/>
                    <a:pt x="176" y="124"/>
                  </a:cubicBezTo>
                  <a:cubicBezTo>
                    <a:pt x="174" y="107"/>
                    <a:pt x="170" y="74"/>
                    <a:pt x="171" y="74"/>
                  </a:cubicBezTo>
                  <a:cubicBezTo>
                    <a:pt x="171" y="74"/>
                    <a:pt x="171" y="74"/>
                    <a:pt x="171" y="74"/>
                  </a:cubicBezTo>
                  <a:moveTo>
                    <a:pt x="8" y="0"/>
                  </a:moveTo>
                  <a:cubicBezTo>
                    <a:pt x="7" y="0"/>
                    <a:pt x="6" y="0"/>
                    <a:pt x="5" y="0"/>
                  </a:cubicBezTo>
                  <a:cubicBezTo>
                    <a:pt x="1" y="2"/>
                    <a:pt x="0" y="6"/>
                    <a:pt x="1" y="9"/>
                  </a:cubicBezTo>
                  <a:cubicBezTo>
                    <a:pt x="3" y="12"/>
                    <a:pt x="5" y="13"/>
                    <a:pt x="8" y="13"/>
                  </a:cubicBezTo>
                  <a:cubicBezTo>
                    <a:pt x="9" y="13"/>
                    <a:pt x="10" y="13"/>
                    <a:pt x="11" y="12"/>
                  </a:cubicBezTo>
                  <a:cubicBezTo>
                    <a:pt x="11" y="12"/>
                    <a:pt x="11" y="12"/>
                    <a:pt x="11" y="12"/>
                  </a:cubicBezTo>
                  <a:cubicBezTo>
                    <a:pt x="11" y="12"/>
                    <a:pt x="11" y="12"/>
                    <a:pt x="11" y="12"/>
                  </a:cubicBezTo>
                  <a:cubicBezTo>
                    <a:pt x="11" y="12"/>
                    <a:pt x="11" y="12"/>
                    <a:pt x="11" y="12"/>
                  </a:cubicBezTo>
                  <a:cubicBezTo>
                    <a:pt x="13" y="12"/>
                    <a:pt x="114" y="134"/>
                    <a:pt x="112" y="136"/>
                  </a:cubicBezTo>
                  <a:cubicBezTo>
                    <a:pt x="112" y="136"/>
                    <a:pt x="112" y="136"/>
                    <a:pt x="112" y="136"/>
                  </a:cubicBezTo>
                  <a:cubicBezTo>
                    <a:pt x="108" y="140"/>
                    <a:pt x="107" y="146"/>
                    <a:pt x="109" y="152"/>
                  </a:cubicBezTo>
                  <a:cubicBezTo>
                    <a:pt x="112" y="157"/>
                    <a:pt x="117" y="160"/>
                    <a:pt x="122" y="160"/>
                  </a:cubicBezTo>
                  <a:cubicBezTo>
                    <a:pt x="125" y="160"/>
                    <a:pt x="127" y="159"/>
                    <a:pt x="129" y="158"/>
                  </a:cubicBezTo>
                  <a:cubicBezTo>
                    <a:pt x="134" y="156"/>
                    <a:pt x="137" y="151"/>
                    <a:pt x="137" y="146"/>
                  </a:cubicBezTo>
                  <a:cubicBezTo>
                    <a:pt x="137" y="146"/>
                    <a:pt x="137" y="146"/>
                    <a:pt x="137" y="146"/>
                  </a:cubicBezTo>
                  <a:cubicBezTo>
                    <a:pt x="137" y="144"/>
                    <a:pt x="160" y="142"/>
                    <a:pt x="168" y="142"/>
                  </a:cubicBezTo>
                  <a:cubicBezTo>
                    <a:pt x="170" y="142"/>
                    <a:pt x="172" y="142"/>
                    <a:pt x="172" y="142"/>
                  </a:cubicBezTo>
                  <a:cubicBezTo>
                    <a:pt x="172" y="142"/>
                    <a:pt x="172" y="142"/>
                    <a:pt x="172" y="142"/>
                  </a:cubicBezTo>
                  <a:cubicBezTo>
                    <a:pt x="172" y="143"/>
                    <a:pt x="172" y="143"/>
                    <a:pt x="172" y="143"/>
                  </a:cubicBezTo>
                  <a:cubicBezTo>
                    <a:pt x="173" y="146"/>
                    <a:pt x="176" y="147"/>
                    <a:pt x="178" y="147"/>
                  </a:cubicBezTo>
                  <a:cubicBezTo>
                    <a:pt x="179" y="147"/>
                    <a:pt x="180" y="147"/>
                    <a:pt x="181" y="146"/>
                  </a:cubicBezTo>
                  <a:cubicBezTo>
                    <a:pt x="183" y="146"/>
                    <a:pt x="184" y="144"/>
                    <a:pt x="185" y="142"/>
                  </a:cubicBezTo>
                  <a:cubicBezTo>
                    <a:pt x="185" y="142"/>
                    <a:pt x="185" y="142"/>
                    <a:pt x="185" y="142"/>
                  </a:cubicBezTo>
                  <a:cubicBezTo>
                    <a:pt x="185" y="142"/>
                    <a:pt x="186" y="142"/>
                    <a:pt x="187" y="142"/>
                  </a:cubicBezTo>
                  <a:cubicBezTo>
                    <a:pt x="197" y="142"/>
                    <a:pt x="245" y="147"/>
                    <a:pt x="245" y="147"/>
                  </a:cubicBezTo>
                  <a:cubicBezTo>
                    <a:pt x="245" y="147"/>
                    <a:pt x="245" y="147"/>
                    <a:pt x="245" y="147"/>
                  </a:cubicBezTo>
                  <a:cubicBezTo>
                    <a:pt x="245" y="148"/>
                    <a:pt x="245" y="148"/>
                    <a:pt x="245" y="149"/>
                  </a:cubicBezTo>
                  <a:cubicBezTo>
                    <a:pt x="246" y="150"/>
                    <a:pt x="247" y="151"/>
                    <a:pt x="249" y="151"/>
                  </a:cubicBezTo>
                  <a:cubicBezTo>
                    <a:pt x="250" y="151"/>
                    <a:pt x="250" y="151"/>
                    <a:pt x="251" y="151"/>
                  </a:cubicBezTo>
                  <a:cubicBezTo>
                    <a:pt x="253" y="150"/>
                    <a:pt x="254" y="147"/>
                    <a:pt x="253" y="145"/>
                  </a:cubicBezTo>
                  <a:cubicBezTo>
                    <a:pt x="252" y="144"/>
                    <a:pt x="251" y="144"/>
                    <a:pt x="251" y="143"/>
                  </a:cubicBezTo>
                  <a:cubicBezTo>
                    <a:pt x="251" y="143"/>
                    <a:pt x="251" y="143"/>
                    <a:pt x="251" y="143"/>
                  </a:cubicBezTo>
                  <a:cubicBezTo>
                    <a:pt x="250" y="143"/>
                    <a:pt x="261" y="103"/>
                    <a:pt x="264" y="103"/>
                  </a:cubicBezTo>
                  <a:cubicBezTo>
                    <a:pt x="264" y="103"/>
                    <a:pt x="264" y="103"/>
                    <a:pt x="264" y="103"/>
                  </a:cubicBezTo>
                  <a:cubicBezTo>
                    <a:pt x="263" y="103"/>
                    <a:pt x="263" y="103"/>
                    <a:pt x="263" y="103"/>
                  </a:cubicBezTo>
                  <a:cubicBezTo>
                    <a:pt x="264" y="103"/>
                    <a:pt x="265" y="103"/>
                    <a:pt x="265" y="103"/>
                  </a:cubicBezTo>
                  <a:cubicBezTo>
                    <a:pt x="265" y="103"/>
                    <a:pt x="266" y="103"/>
                    <a:pt x="266" y="103"/>
                  </a:cubicBezTo>
                  <a:cubicBezTo>
                    <a:pt x="266" y="103"/>
                    <a:pt x="266" y="103"/>
                    <a:pt x="266" y="103"/>
                  </a:cubicBezTo>
                  <a:cubicBezTo>
                    <a:pt x="266" y="103"/>
                    <a:pt x="266" y="103"/>
                    <a:pt x="266" y="103"/>
                  </a:cubicBezTo>
                  <a:cubicBezTo>
                    <a:pt x="269" y="103"/>
                    <a:pt x="288" y="173"/>
                    <a:pt x="285" y="174"/>
                  </a:cubicBezTo>
                  <a:cubicBezTo>
                    <a:pt x="285" y="174"/>
                    <a:pt x="285" y="174"/>
                    <a:pt x="285" y="174"/>
                  </a:cubicBezTo>
                  <a:cubicBezTo>
                    <a:pt x="284" y="174"/>
                    <a:pt x="284" y="174"/>
                    <a:pt x="284" y="174"/>
                  </a:cubicBezTo>
                  <a:cubicBezTo>
                    <a:pt x="276" y="178"/>
                    <a:pt x="273" y="187"/>
                    <a:pt x="277" y="194"/>
                  </a:cubicBezTo>
                  <a:cubicBezTo>
                    <a:pt x="279" y="200"/>
                    <a:pt x="285" y="203"/>
                    <a:pt x="291" y="203"/>
                  </a:cubicBezTo>
                  <a:cubicBezTo>
                    <a:pt x="293" y="203"/>
                    <a:pt x="295" y="203"/>
                    <a:pt x="298" y="202"/>
                  </a:cubicBezTo>
                  <a:cubicBezTo>
                    <a:pt x="299" y="201"/>
                    <a:pt x="300" y="201"/>
                    <a:pt x="300" y="200"/>
                  </a:cubicBezTo>
                  <a:cubicBezTo>
                    <a:pt x="300" y="200"/>
                    <a:pt x="300" y="200"/>
                    <a:pt x="300" y="200"/>
                  </a:cubicBezTo>
                  <a:cubicBezTo>
                    <a:pt x="300" y="200"/>
                    <a:pt x="300" y="200"/>
                    <a:pt x="301" y="200"/>
                  </a:cubicBezTo>
                  <a:cubicBezTo>
                    <a:pt x="305" y="200"/>
                    <a:pt x="354" y="247"/>
                    <a:pt x="353" y="249"/>
                  </a:cubicBezTo>
                  <a:cubicBezTo>
                    <a:pt x="353" y="249"/>
                    <a:pt x="353" y="249"/>
                    <a:pt x="353" y="249"/>
                  </a:cubicBezTo>
                  <a:cubicBezTo>
                    <a:pt x="351" y="252"/>
                    <a:pt x="351" y="255"/>
                    <a:pt x="352" y="258"/>
                  </a:cubicBezTo>
                  <a:cubicBezTo>
                    <a:pt x="354" y="262"/>
                    <a:pt x="357" y="264"/>
                    <a:pt x="361" y="264"/>
                  </a:cubicBezTo>
                  <a:cubicBezTo>
                    <a:pt x="363" y="264"/>
                    <a:pt x="364" y="264"/>
                    <a:pt x="366" y="263"/>
                  </a:cubicBezTo>
                  <a:cubicBezTo>
                    <a:pt x="371" y="261"/>
                    <a:pt x="373" y="255"/>
                    <a:pt x="370" y="250"/>
                  </a:cubicBezTo>
                  <a:cubicBezTo>
                    <a:pt x="369" y="247"/>
                    <a:pt x="365" y="245"/>
                    <a:pt x="361" y="245"/>
                  </a:cubicBezTo>
                  <a:cubicBezTo>
                    <a:pt x="360" y="245"/>
                    <a:pt x="359" y="245"/>
                    <a:pt x="358" y="245"/>
                  </a:cubicBezTo>
                  <a:cubicBezTo>
                    <a:pt x="358" y="245"/>
                    <a:pt x="358" y="245"/>
                    <a:pt x="358" y="245"/>
                  </a:cubicBezTo>
                  <a:cubicBezTo>
                    <a:pt x="358" y="245"/>
                    <a:pt x="358" y="245"/>
                    <a:pt x="358" y="245"/>
                  </a:cubicBezTo>
                  <a:cubicBezTo>
                    <a:pt x="357" y="245"/>
                    <a:pt x="334" y="209"/>
                    <a:pt x="313" y="172"/>
                  </a:cubicBezTo>
                  <a:cubicBezTo>
                    <a:pt x="341" y="149"/>
                    <a:pt x="431" y="80"/>
                    <a:pt x="435" y="80"/>
                  </a:cubicBezTo>
                  <a:cubicBezTo>
                    <a:pt x="435" y="80"/>
                    <a:pt x="435" y="80"/>
                    <a:pt x="435" y="80"/>
                  </a:cubicBezTo>
                  <a:cubicBezTo>
                    <a:pt x="435" y="80"/>
                    <a:pt x="435" y="80"/>
                    <a:pt x="435" y="80"/>
                  </a:cubicBezTo>
                  <a:cubicBezTo>
                    <a:pt x="437" y="82"/>
                    <a:pt x="440" y="83"/>
                    <a:pt x="443" y="83"/>
                  </a:cubicBezTo>
                  <a:cubicBezTo>
                    <a:pt x="443" y="83"/>
                    <a:pt x="443" y="83"/>
                    <a:pt x="443" y="83"/>
                  </a:cubicBezTo>
                  <a:cubicBezTo>
                    <a:pt x="443" y="83"/>
                    <a:pt x="443" y="83"/>
                    <a:pt x="443" y="83"/>
                  </a:cubicBezTo>
                  <a:cubicBezTo>
                    <a:pt x="443" y="83"/>
                    <a:pt x="443" y="83"/>
                    <a:pt x="443" y="83"/>
                  </a:cubicBezTo>
                  <a:cubicBezTo>
                    <a:pt x="445" y="83"/>
                    <a:pt x="458" y="137"/>
                    <a:pt x="465" y="171"/>
                  </a:cubicBezTo>
                  <a:cubicBezTo>
                    <a:pt x="419" y="178"/>
                    <a:pt x="369" y="185"/>
                    <a:pt x="365" y="185"/>
                  </a:cubicBezTo>
                  <a:cubicBezTo>
                    <a:pt x="365" y="185"/>
                    <a:pt x="365" y="185"/>
                    <a:pt x="365" y="185"/>
                  </a:cubicBezTo>
                  <a:cubicBezTo>
                    <a:pt x="365" y="185"/>
                    <a:pt x="365" y="185"/>
                    <a:pt x="365" y="185"/>
                  </a:cubicBezTo>
                  <a:cubicBezTo>
                    <a:pt x="364" y="184"/>
                    <a:pt x="364" y="184"/>
                    <a:pt x="364" y="184"/>
                  </a:cubicBezTo>
                  <a:cubicBezTo>
                    <a:pt x="364" y="184"/>
                    <a:pt x="364" y="184"/>
                    <a:pt x="364" y="184"/>
                  </a:cubicBezTo>
                  <a:cubicBezTo>
                    <a:pt x="364" y="184"/>
                    <a:pt x="364" y="184"/>
                    <a:pt x="364" y="184"/>
                  </a:cubicBezTo>
                  <a:cubicBezTo>
                    <a:pt x="364" y="183"/>
                    <a:pt x="394" y="163"/>
                    <a:pt x="396" y="163"/>
                  </a:cubicBezTo>
                  <a:cubicBezTo>
                    <a:pt x="396" y="163"/>
                    <a:pt x="396" y="163"/>
                    <a:pt x="396" y="163"/>
                  </a:cubicBezTo>
                  <a:cubicBezTo>
                    <a:pt x="396" y="163"/>
                    <a:pt x="396" y="163"/>
                    <a:pt x="396" y="163"/>
                  </a:cubicBezTo>
                  <a:cubicBezTo>
                    <a:pt x="397" y="164"/>
                    <a:pt x="398" y="165"/>
                    <a:pt x="399" y="165"/>
                  </a:cubicBezTo>
                  <a:cubicBezTo>
                    <a:pt x="400" y="165"/>
                    <a:pt x="401" y="164"/>
                    <a:pt x="401" y="164"/>
                  </a:cubicBezTo>
                  <a:cubicBezTo>
                    <a:pt x="404" y="163"/>
                    <a:pt x="405" y="160"/>
                    <a:pt x="404" y="158"/>
                  </a:cubicBezTo>
                  <a:cubicBezTo>
                    <a:pt x="403" y="156"/>
                    <a:pt x="401" y="155"/>
                    <a:pt x="399" y="155"/>
                  </a:cubicBezTo>
                  <a:cubicBezTo>
                    <a:pt x="398" y="155"/>
                    <a:pt x="398" y="156"/>
                    <a:pt x="397" y="156"/>
                  </a:cubicBezTo>
                  <a:cubicBezTo>
                    <a:pt x="395" y="157"/>
                    <a:pt x="394" y="160"/>
                    <a:pt x="395" y="162"/>
                  </a:cubicBezTo>
                  <a:cubicBezTo>
                    <a:pt x="395" y="162"/>
                    <a:pt x="395" y="162"/>
                    <a:pt x="395" y="162"/>
                  </a:cubicBezTo>
                  <a:cubicBezTo>
                    <a:pt x="395" y="163"/>
                    <a:pt x="365" y="182"/>
                    <a:pt x="363" y="182"/>
                  </a:cubicBezTo>
                  <a:cubicBezTo>
                    <a:pt x="363" y="182"/>
                    <a:pt x="363" y="182"/>
                    <a:pt x="363" y="182"/>
                  </a:cubicBezTo>
                  <a:cubicBezTo>
                    <a:pt x="363" y="182"/>
                    <a:pt x="363" y="182"/>
                    <a:pt x="363" y="182"/>
                  </a:cubicBezTo>
                  <a:cubicBezTo>
                    <a:pt x="362" y="181"/>
                    <a:pt x="360" y="180"/>
                    <a:pt x="358" y="180"/>
                  </a:cubicBezTo>
                  <a:cubicBezTo>
                    <a:pt x="357" y="180"/>
                    <a:pt x="356" y="180"/>
                    <a:pt x="355" y="181"/>
                  </a:cubicBezTo>
                  <a:cubicBezTo>
                    <a:pt x="352" y="182"/>
                    <a:pt x="350" y="186"/>
                    <a:pt x="352" y="190"/>
                  </a:cubicBezTo>
                  <a:cubicBezTo>
                    <a:pt x="353" y="192"/>
                    <a:pt x="356" y="193"/>
                    <a:pt x="358" y="193"/>
                  </a:cubicBezTo>
                  <a:cubicBezTo>
                    <a:pt x="359" y="193"/>
                    <a:pt x="360" y="193"/>
                    <a:pt x="361" y="193"/>
                  </a:cubicBezTo>
                  <a:cubicBezTo>
                    <a:pt x="363" y="192"/>
                    <a:pt x="365" y="190"/>
                    <a:pt x="365" y="187"/>
                  </a:cubicBezTo>
                  <a:cubicBezTo>
                    <a:pt x="365" y="188"/>
                    <a:pt x="365" y="188"/>
                    <a:pt x="365" y="188"/>
                  </a:cubicBezTo>
                  <a:cubicBezTo>
                    <a:pt x="365" y="186"/>
                    <a:pt x="417" y="184"/>
                    <a:pt x="430" y="184"/>
                  </a:cubicBezTo>
                  <a:cubicBezTo>
                    <a:pt x="431" y="184"/>
                    <a:pt x="432" y="184"/>
                    <a:pt x="432" y="184"/>
                  </a:cubicBezTo>
                  <a:cubicBezTo>
                    <a:pt x="432" y="184"/>
                    <a:pt x="432" y="184"/>
                    <a:pt x="432" y="184"/>
                  </a:cubicBezTo>
                  <a:cubicBezTo>
                    <a:pt x="433" y="185"/>
                    <a:pt x="433" y="185"/>
                    <a:pt x="433" y="185"/>
                  </a:cubicBezTo>
                  <a:cubicBezTo>
                    <a:pt x="433" y="187"/>
                    <a:pt x="435" y="187"/>
                    <a:pt x="436" y="187"/>
                  </a:cubicBezTo>
                  <a:cubicBezTo>
                    <a:pt x="437" y="187"/>
                    <a:pt x="438" y="187"/>
                    <a:pt x="438" y="187"/>
                  </a:cubicBezTo>
                  <a:cubicBezTo>
                    <a:pt x="440" y="186"/>
                    <a:pt x="441" y="184"/>
                    <a:pt x="440" y="182"/>
                  </a:cubicBezTo>
                  <a:cubicBezTo>
                    <a:pt x="439" y="180"/>
                    <a:pt x="438" y="180"/>
                    <a:pt x="436" y="180"/>
                  </a:cubicBezTo>
                  <a:cubicBezTo>
                    <a:pt x="436" y="180"/>
                    <a:pt x="435" y="180"/>
                    <a:pt x="435" y="180"/>
                  </a:cubicBezTo>
                  <a:cubicBezTo>
                    <a:pt x="433" y="181"/>
                    <a:pt x="432" y="182"/>
                    <a:pt x="432" y="183"/>
                  </a:cubicBezTo>
                  <a:cubicBezTo>
                    <a:pt x="432" y="183"/>
                    <a:pt x="432" y="183"/>
                    <a:pt x="432" y="183"/>
                  </a:cubicBezTo>
                  <a:cubicBezTo>
                    <a:pt x="432" y="184"/>
                    <a:pt x="387" y="186"/>
                    <a:pt x="370" y="186"/>
                  </a:cubicBezTo>
                  <a:cubicBezTo>
                    <a:pt x="370" y="186"/>
                    <a:pt x="370" y="186"/>
                    <a:pt x="370" y="186"/>
                  </a:cubicBezTo>
                  <a:cubicBezTo>
                    <a:pt x="383" y="183"/>
                    <a:pt x="425" y="177"/>
                    <a:pt x="465" y="171"/>
                  </a:cubicBezTo>
                  <a:cubicBezTo>
                    <a:pt x="468" y="187"/>
                    <a:pt x="470" y="198"/>
                    <a:pt x="469" y="199"/>
                  </a:cubicBezTo>
                  <a:cubicBezTo>
                    <a:pt x="469" y="199"/>
                    <a:pt x="469" y="199"/>
                    <a:pt x="469" y="199"/>
                  </a:cubicBezTo>
                  <a:cubicBezTo>
                    <a:pt x="464" y="201"/>
                    <a:pt x="460" y="205"/>
                    <a:pt x="460" y="211"/>
                  </a:cubicBezTo>
                  <a:cubicBezTo>
                    <a:pt x="460" y="218"/>
                    <a:pt x="466" y="224"/>
                    <a:pt x="474" y="224"/>
                  </a:cubicBezTo>
                  <a:cubicBezTo>
                    <a:pt x="476" y="224"/>
                    <a:pt x="478" y="223"/>
                    <a:pt x="480" y="222"/>
                  </a:cubicBezTo>
                  <a:cubicBezTo>
                    <a:pt x="480" y="222"/>
                    <a:pt x="480" y="222"/>
                    <a:pt x="480" y="222"/>
                  </a:cubicBezTo>
                  <a:cubicBezTo>
                    <a:pt x="480" y="222"/>
                    <a:pt x="480" y="222"/>
                    <a:pt x="480" y="222"/>
                  </a:cubicBezTo>
                  <a:cubicBezTo>
                    <a:pt x="483" y="222"/>
                    <a:pt x="520" y="269"/>
                    <a:pt x="518" y="271"/>
                  </a:cubicBezTo>
                  <a:cubicBezTo>
                    <a:pt x="518" y="271"/>
                    <a:pt x="518" y="271"/>
                    <a:pt x="518" y="271"/>
                  </a:cubicBezTo>
                  <a:cubicBezTo>
                    <a:pt x="514" y="275"/>
                    <a:pt x="513" y="281"/>
                    <a:pt x="516" y="286"/>
                  </a:cubicBezTo>
                  <a:cubicBezTo>
                    <a:pt x="518" y="290"/>
                    <a:pt x="523" y="293"/>
                    <a:pt x="528" y="293"/>
                  </a:cubicBezTo>
                  <a:cubicBezTo>
                    <a:pt x="530" y="293"/>
                    <a:pt x="532" y="293"/>
                    <a:pt x="534" y="292"/>
                  </a:cubicBezTo>
                  <a:cubicBezTo>
                    <a:pt x="540" y="289"/>
                    <a:pt x="543" y="281"/>
                    <a:pt x="540" y="275"/>
                  </a:cubicBezTo>
                  <a:cubicBezTo>
                    <a:pt x="538" y="270"/>
                    <a:pt x="533" y="267"/>
                    <a:pt x="528" y="267"/>
                  </a:cubicBezTo>
                  <a:cubicBezTo>
                    <a:pt x="526" y="267"/>
                    <a:pt x="524" y="268"/>
                    <a:pt x="522" y="268"/>
                  </a:cubicBezTo>
                  <a:cubicBezTo>
                    <a:pt x="521" y="269"/>
                    <a:pt x="521" y="269"/>
                    <a:pt x="521" y="269"/>
                  </a:cubicBezTo>
                  <a:cubicBezTo>
                    <a:pt x="522" y="269"/>
                    <a:pt x="522" y="269"/>
                    <a:pt x="522" y="269"/>
                  </a:cubicBezTo>
                  <a:cubicBezTo>
                    <a:pt x="522" y="269"/>
                    <a:pt x="522" y="269"/>
                    <a:pt x="521" y="269"/>
                  </a:cubicBezTo>
                  <a:cubicBezTo>
                    <a:pt x="518" y="269"/>
                    <a:pt x="482" y="222"/>
                    <a:pt x="484" y="220"/>
                  </a:cubicBezTo>
                  <a:cubicBezTo>
                    <a:pt x="483" y="220"/>
                    <a:pt x="483" y="220"/>
                    <a:pt x="483" y="220"/>
                  </a:cubicBezTo>
                  <a:cubicBezTo>
                    <a:pt x="486" y="218"/>
                    <a:pt x="487" y="214"/>
                    <a:pt x="487" y="211"/>
                  </a:cubicBezTo>
                  <a:cubicBezTo>
                    <a:pt x="487" y="206"/>
                    <a:pt x="484" y="201"/>
                    <a:pt x="480" y="199"/>
                  </a:cubicBezTo>
                  <a:cubicBezTo>
                    <a:pt x="480" y="199"/>
                    <a:pt x="480" y="199"/>
                    <a:pt x="480" y="199"/>
                  </a:cubicBezTo>
                  <a:cubicBezTo>
                    <a:pt x="479" y="199"/>
                    <a:pt x="483" y="184"/>
                    <a:pt x="489" y="168"/>
                  </a:cubicBezTo>
                  <a:cubicBezTo>
                    <a:pt x="516" y="164"/>
                    <a:pt x="539" y="161"/>
                    <a:pt x="541" y="161"/>
                  </a:cubicBezTo>
                  <a:cubicBezTo>
                    <a:pt x="542" y="161"/>
                    <a:pt x="542" y="161"/>
                    <a:pt x="542" y="161"/>
                  </a:cubicBezTo>
                  <a:cubicBezTo>
                    <a:pt x="542" y="161"/>
                    <a:pt x="542" y="161"/>
                    <a:pt x="542" y="161"/>
                  </a:cubicBezTo>
                  <a:cubicBezTo>
                    <a:pt x="542" y="162"/>
                    <a:pt x="542" y="162"/>
                    <a:pt x="542" y="162"/>
                  </a:cubicBezTo>
                  <a:cubicBezTo>
                    <a:pt x="543" y="164"/>
                    <a:pt x="546" y="166"/>
                    <a:pt x="548" y="166"/>
                  </a:cubicBezTo>
                  <a:cubicBezTo>
                    <a:pt x="549" y="166"/>
                    <a:pt x="550" y="165"/>
                    <a:pt x="551" y="165"/>
                  </a:cubicBezTo>
                  <a:cubicBezTo>
                    <a:pt x="552" y="165"/>
                    <a:pt x="553" y="164"/>
                    <a:pt x="553" y="164"/>
                  </a:cubicBezTo>
                  <a:cubicBezTo>
                    <a:pt x="553" y="164"/>
                    <a:pt x="553" y="164"/>
                    <a:pt x="553" y="164"/>
                  </a:cubicBezTo>
                  <a:cubicBezTo>
                    <a:pt x="553" y="164"/>
                    <a:pt x="553" y="164"/>
                    <a:pt x="553" y="164"/>
                  </a:cubicBezTo>
                  <a:cubicBezTo>
                    <a:pt x="555" y="164"/>
                    <a:pt x="586" y="185"/>
                    <a:pt x="585" y="185"/>
                  </a:cubicBezTo>
                  <a:cubicBezTo>
                    <a:pt x="585" y="185"/>
                    <a:pt x="585" y="185"/>
                    <a:pt x="585" y="185"/>
                  </a:cubicBezTo>
                  <a:cubicBezTo>
                    <a:pt x="584" y="187"/>
                    <a:pt x="584" y="188"/>
                    <a:pt x="585" y="189"/>
                  </a:cubicBezTo>
                  <a:cubicBezTo>
                    <a:pt x="586" y="191"/>
                    <a:pt x="588" y="192"/>
                    <a:pt x="589" y="192"/>
                  </a:cubicBezTo>
                  <a:cubicBezTo>
                    <a:pt x="590" y="192"/>
                    <a:pt x="591" y="192"/>
                    <a:pt x="591" y="192"/>
                  </a:cubicBezTo>
                  <a:cubicBezTo>
                    <a:pt x="594" y="191"/>
                    <a:pt x="595" y="188"/>
                    <a:pt x="594" y="186"/>
                  </a:cubicBezTo>
                  <a:cubicBezTo>
                    <a:pt x="593" y="184"/>
                    <a:pt x="591" y="183"/>
                    <a:pt x="589" y="183"/>
                  </a:cubicBezTo>
                  <a:cubicBezTo>
                    <a:pt x="589" y="183"/>
                    <a:pt x="588" y="183"/>
                    <a:pt x="587" y="183"/>
                  </a:cubicBezTo>
                  <a:cubicBezTo>
                    <a:pt x="587" y="184"/>
                    <a:pt x="586" y="184"/>
                    <a:pt x="586" y="184"/>
                  </a:cubicBezTo>
                  <a:cubicBezTo>
                    <a:pt x="586" y="184"/>
                    <a:pt x="586" y="184"/>
                    <a:pt x="586" y="184"/>
                  </a:cubicBezTo>
                  <a:cubicBezTo>
                    <a:pt x="586" y="184"/>
                    <a:pt x="586" y="184"/>
                    <a:pt x="586" y="184"/>
                  </a:cubicBezTo>
                  <a:cubicBezTo>
                    <a:pt x="584" y="184"/>
                    <a:pt x="554" y="163"/>
                    <a:pt x="554" y="162"/>
                  </a:cubicBezTo>
                  <a:cubicBezTo>
                    <a:pt x="554" y="162"/>
                    <a:pt x="554" y="162"/>
                    <a:pt x="554" y="162"/>
                  </a:cubicBezTo>
                  <a:cubicBezTo>
                    <a:pt x="555" y="160"/>
                    <a:pt x="556" y="158"/>
                    <a:pt x="555" y="156"/>
                  </a:cubicBezTo>
                  <a:cubicBezTo>
                    <a:pt x="555" y="156"/>
                    <a:pt x="555" y="156"/>
                    <a:pt x="555" y="156"/>
                  </a:cubicBezTo>
                  <a:cubicBezTo>
                    <a:pt x="555" y="156"/>
                    <a:pt x="555" y="156"/>
                    <a:pt x="555" y="156"/>
                  </a:cubicBezTo>
                  <a:cubicBezTo>
                    <a:pt x="554" y="155"/>
                    <a:pt x="584" y="135"/>
                    <a:pt x="586" y="135"/>
                  </a:cubicBezTo>
                  <a:cubicBezTo>
                    <a:pt x="586" y="135"/>
                    <a:pt x="586" y="135"/>
                    <a:pt x="586" y="135"/>
                  </a:cubicBezTo>
                  <a:cubicBezTo>
                    <a:pt x="586" y="135"/>
                    <a:pt x="586" y="135"/>
                    <a:pt x="586" y="135"/>
                  </a:cubicBezTo>
                  <a:cubicBezTo>
                    <a:pt x="587" y="136"/>
                    <a:pt x="588" y="137"/>
                    <a:pt x="589" y="137"/>
                  </a:cubicBezTo>
                  <a:cubicBezTo>
                    <a:pt x="590" y="137"/>
                    <a:pt x="591" y="137"/>
                    <a:pt x="591" y="136"/>
                  </a:cubicBezTo>
                  <a:cubicBezTo>
                    <a:pt x="592" y="136"/>
                    <a:pt x="592" y="136"/>
                    <a:pt x="593" y="135"/>
                  </a:cubicBezTo>
                  <a:cubicBezTo>
                    <a:pt x="593" y="135"/>
                    <a:pt x="593" y="135"/>
                    <a:pt x="593" y="135"/>
                  </a:cubicBezTo>
                  <a:cubicBezTo>
                    <a:pt x="593" y="135"/>
                    <a:pt x="593" y="135"/>
                    <a:pt x="593" y="135"/>
                  </a:cubicBezTo>
                  <a:cubicBezTo>
                    <a:pt x="594" y="135"/>
                    <a:pt x="632" y="162"/>
                    <a:pt x="631" y="163"/>
                  </a:cubicBezTo>
                  <a:cubicBezTo>
                    <a:pt x="631" y="163"/>
                    <a:pt x="631" y="163"/>
                    <a:pt x="631" y="163"/>
                  </a:cubicBezTo>
                  <a:cubicBezTo>
                    <a:pt x="631" y="164"/>
                    <a:pt x="631" y="165"/>
                    <a:pt x="631" y="166"/>
                  </a:cubicBezTo>
                  <a:cubicBezTo>
                    <a:pt x="632" y="168"/>
                    <a:pt x="633" y="169"/>
                    <a:pt x="635" y="169"/>
                  </a:cubicBezTo>
                  <a:cubicBezTo>
                    <a:pt x="635" y="169"/>
                    <a:pt x="636" y="168"/>
                    <a:pt x="637" y="168"/>
                  </a:cubicBezTo>
                  <a:cubicBezTo>
                    <a:pt x="638" y="168"/>
                    <a:pt x="639" y="166"/>
                    <a:pt x="639" y="165"/>
                  </a:cubicBezTo>
                  <a:cubicBezTo>
                    <a:pt x="639" y="165"/>
                    <a:pt x="639" y="165"/>
                    <a:pt x="639" y="165"/>
                  </a:cubicBezTo>
                  <a:cubicBezTo>
                    <a:pt x="639" y="165"/>
                    <a:pt x="647" y="165"/>
                    <a:pt x="655" y="165"/>
                  </a:cubicBezTo>
                  <a:cubicBezTo>
                    <a:pt x="663" y="165"/>
                    <a:pt x="671" y="165"/>
                    <a:pt x="671" y="165"/>
                  </a:cubicBezTo>
                  <a:cubicBezTo>
                    <a:pt x="671" y="165"/>
                    <a:pt x="671" y="165"/>
                    <a:pt x="671" y="165"/>
                  </a:cubicBezTo>
                  <a:cubicBezTo>
                    <a:pt x="671" y="166"/>
                    <a:pt x="671" y="166"/>
                    <a:pt x="671" y="166"/>
                  </a:cubicBezTo>
                  <a:cubicBezTo>
                    <a:pt x="671" y="167"/>
                    <a:pt x="672" y="167"/>
                    <a:pt x="672" y="167"/>
                  </a:cubicBezTo>
                  <a:cubicBezTo>
                    <a:pt x="672" y="167"/>
                    <a:pt x="672" y="167"/>
                    <a:pt x="672" y="167"/>
                  </a:cubicBezTo>
                  <a:cubicBezTo>
                    <a:pt x="672" y="168"/>
                    <a:pt x="595" y="258"/>
                    <a:pt x="593" y="258"/>
                  </a:cubicBezTo>
                  <a:cubicBezTo>
                    <a:pt x="593" y="258"/>
                    <a:pt x="593" y="258"/>
                    <a:pt x="593" y="258"/>
                  </a:cubicBezTo>
                  <a:cubicBezTo>
                    <a:pt x="593" y="258"/>
                    <a:pt x="593" y="258"/>
                    <a:pt x="593" y="258"/>
                  </a:cubicBezTo>
                  <a:cubicBezTo>
                    <a:pt x="592" y="258"/>
                    <a:pt x="591" y="257"/>
                    <a:pt x="589" y="257"/>
                  </a:cubicBezTo>
                  <a:cubicBezTo>
                    <a:pt x="588" y="257"/>
                    <a:pt x="587" y="258"/>
                    <a:pt x="586" y="258"/>
                  </a:cubicBezTo>
                  <a:cubicBezTo>
                    <a:pt x="583" y="260"/>
                    <a:pt x="582" y="264"/>
                    <a:pt x="583" y="267"/>
                  </a:cubicBezTo>
                  <a:cubicBezTo>
                    <a:pt x="584" y="269"/>
                    <a:pt x="587" y="271"/>
                    <a:pt x="589" y="271"/>
                  </a:cubicBezTo>
                  <a:cubicBezTo>
                    <a:pt x="590" y="271"/>
                    <a:pt x="591" y="270"/>
                    <a:pt x="592" y="270"/>
                  </a:cubicBezTo>
                  <a:cubicBezTo>
                    <a:pt x="596" y="268"/>
                    <a:pt x="597" y="264"/>
                    <a:pt x="596" y="261"/>
                  </a:cubicBezTo>
                  <a:cubicBezTo>
                    <a:pt x="595" y="261"/>
                    <a:pt x="595" y="260"/>
                    <a:pt x="595" y="260"/>
                  </a:cubicBezTo>
                  <a:cubicBezTo>
                    <a:pt x="595" y="260"/>
                    <a:pt x="595" y="260"/>
                    <a:pt x="595" y="260"/>
                  </a:cubicBezTo>
                  <a:cubicBezTo>
                    <a:pt x="594" y="259"/>
                    <a:pt x="672" y="168"/>
                    <a:pt x="673" y="168"/>
                  </a:cubicBezTo>
                  <a:cubicBezTo>
                    <a:pt x="673" y="168"/>
                    <a:pt x="673" y="168"/>
                    <a:pt x="673" y="168"/>
                  </a:cubicBezTo>
                  <a:cubicBezTo>
                    <a:pt x="673" y="168"/>
                    <a:pt x="673" y="168"/>
                    <a:pt x="673" y="168"/>
                  </a:cubicBezTo>
                  <a:cubicBezTo>
                    <a:pt x="673" y="168"/>
                    <a:pt x="674" y="169"/>
                    <a:pt x="675" y="169"/>
                  </a:cubicBezTo>
                  <a:cubicBezTo>
                    <a:pt x="675" y="169"/>
                    <a:pt x="676" y="168"/>
                    <a:pt x="677" y="168"/>
                  </a:cubicBezTo>
                  <a:cubicBezTo>
                    <a:pt x="679" y="167"/>
                    <a:pt x="680" y="165"/>
                    <a:pt x="679" y="163"/>
                  </a:cubicBezTo>
                  <a:cubicBezTo>
                    <a:pt x="678" y="162"/>
                    <a:pt x="676" y="161"/>
                    <a:pt x="675" y="161"/>
                  </a:cubicBezTo>
                  <a:cubicBezTo>
                    <a:pt x="674" y="161"/>
                    <a:pt x="674" y="161"/>
                    <a:pt x="673" y="161"/>
                  </a:cubicBezTo>
                  <a:cubicBezTo>
                    <a:pt x="672" y="161"/>
                    <a:pt x="672" y="162"/>
                    <a:pt x="671" y="163"/>
                  </a:cubicBezTo>
                  <a:cubicBezTo>
                    <a:pt x="671" y="163"/>
                    <a:pt x="671" y="163"/>
                    <a:pt x="671" y="163"/>
                  </a:cubicBezTo>
                  <a:cubicBezTo>
                    <a:pt x="671" y="163"/>
                    <a:pt x="671" y="163"/>
                    <a:pt x="671" y="163"/>
                  </a:cubicBezTo>
                  <a:cubicBezTo>
                    <a:pt x="669" y="163"/>
                    <a:pt x="594" y="134"/>
                    <a:pt x="594" y="133"/>
                  </a:cubicBezTo>
                  <a:cubicBezTo>
                    <a:pt x="594" y="133"/>
                    <a:pt x="594" y="133"/>
                    <a:pt x="594" y="133"/>
                  </a:cubicBezTo>
                  <a:cubicBezTo>
                    <a:pt x="594" y="132"/>
                    <a:pt x="594" y="131"/>
                    <a:pt x="594" y="130"/>
                  </a:cubicBezTo>
                  <a:cubicBezTo>
                    <a:pt x="593" y="129"/>
                    <a:pt x="591" y="128"/>
                    <a:pt x="589" y="128"/>
                  </a:cubicBezTo>
                  <a:cubicBezTo>
                    <a:pt x="589" y="128"/>
                    <a:pt x="588" y="128"/>
                    <a:pt x="587" y="128"/>
                  </a:cubicBezTo>
                  <a:cubicBezTo>
                    <a:pt x="585" y="129"/>
                    <a:pt x="584" y="132"/>
                    <a:pt x="585" y="134"/>
                  </a:cubicBezTo>
                  <a:cubicBezTo>
                    <a:pt x="585" y="134"/>
                    <a:pt x="585" y="134"/>
                    <a:pt x="585" y="134"/>
                  </a:cubicBezTo>
                  <a:cubicBezTo>
                    <a:pt x="585" y="135"/>
                    <a:pt x="556" y="154"/>
                    <a:pt x="553" y="154"/>
                  </a:cubicBezTo>
                  <a:cubicBezTo>
                    <a:pt x="553" y="154"/>
                    <a:pt x="553" y="154"/>
                    <a:pt x="553" y="154"/>
                  </a:cubicBezTo>
                  <a:cubicBezTo>
                    <a:pt x="553" y="154"/>
                    <a:pt x="553" y="154"/>
                    <a:pt x="553" y="154"/>
                  </a:cubicBezTo>
                  <a:cubicBezTo>
                    <a:pt x="552" y="153"/>
                    <a:pt x="550" y="152"/>
                    <a:pt x="548" y="152"/>
                  </a:cubicBezTo>
                  <a:cubicBezTo>
                    <a:pt x="547" y="152"/>
                    <a:pt x="546" y="153"/>
                    <a:pt x="545" y="153"/>
                  </a:cubicBezTo>
                  <a:cubicBezTo>
                    <a:pt x="543" y="154"/>
                    <a:pt x="541" y="156"/>
                    <a:pt x="541" y="159"/>
                  </a:cubicBezTo>
                  <a:cubicBezTo>
                    <a:pt x="541" y="159"/>
                    <a:pt x="541" y="159"/>
                    <a:pt x="541" y="159"/>
                  </a:cubicBezTo>
                  <a:cubicBezTo>
                    <a:pt x="541" y="159"/>
                    <a:pt x="518" y="163"/>
                    <a:pt x="489" y="167"/>
                  </a:cubicBezTo>
                  <a:cubicBezTo>
                    <a:pt x="497" y="144"/>
                    <a:pt x="507" y="115"/>
                    <a:pt x="509" y="115"/>
                  </a:cubicBezTo>
                  <a:cubicBezTo>
                    <a:pt x="509" y="115"/>
                    <a:pt x="509" y="115"/>
                    <a:pt x="509" y="115"/>
                  </a:cubicBezTo>
                  <a:cubicBezTo>
                    <a:pt x="509" y="115"/>
                    <a:pt x="509" y="115"/>
                    <a:pt x="509" y="115"/>
                  </a:cubicBezTo>
                  <a:cubicBezTo>
                    <a:pt x="509" y="115"/>
                    <a:pt x="510" y="115"/>
                    <a:pt x="510" y="115"/>
                  </a:cubicBezTo>
                  <a:cubicBezTo>
                    <a:pt x="512" y="115"/>
                    <a:pt x="513" y="115"/>
                    <a:pt x="515" y="115"/>
                  </a:cubicBezTo>
                  <a:cubicBezTo>
                    <a:pt x="520" y="112"/>
                    <a:pt x="522" y="107"/>
                    <a:pt x="519" y="102"/>
                  </a:cubicBezTo>
                  <a:cubicBezTo>
                    <a:pt x="518" y="98"/>
                    <a:pt x="514" y="96"/>
                    <a:pt x="510" y="96"/>
                  </a:cubicBezTo>
                  <a:cubicBezTo>
                    <a:pt x="509" y="96"/>
                    <a:pt x="507" y="97"/>
                    <a:pt x="506" y="97"/>
                  </a:cubicBezTo>
                  <a:cubicBezTo>
                    <a:pt x="504" y="98"/>
                    <a:pt x="503" y="99"/>
                    <a:pt x="502" y="100"/>
                  </a:cubicBezTo>
                  <a:cubicBezTo>
                    <a:pt x="502" y="100"/>
                    <a:pt x="502" y="100"/>
                    <a:pt x="502" y="100"/>
                  </a:cubicBezTo>
                  <a:cubicBezTo>
                    <a:pt x="502" y="100"/>
                    <a:pt x="502" y="100"/>
                    <a:pt x="502" y="100"/>
                  </a:cubicBezTo>
                  <a:cubicBezTo>
                    <a:pt x="498" y="100"/>
                    <a:pt x="453" y="77"/>
                    <a:pt x="454" y="75"/>
                  </a:cubicBezTo>
                  <a:cubicBezTo>
                    <a:pt x="454" y="75"/>
                    <a:pt x="454" y="75"/>
                    <a:pt x="454" y="75"/>
                  </a:cubicBezTo>
                  <a:cubicBezTo>
                    <a:pt x="455" y="73"/>
                    <a:pt x="455" y="69"/>
                    <a:pt x="453" y="67"/>
                  </a:cubicBezTo>
                  <a:cubicBezTo>
                    <a:pt x="451" y="62"/>
                    <a:pt x="447" y="60"/>
                    <a:pt x="443" y="60"/>
                  </a:cubicBezTo>
                  <a:cubicBezTo>
                    <a:pt x="441" y="60"/>
                    <a:pt x="439" y="60"/>
                    <a:pt x="438" y="61"/>
                  </a:cubicBezTo>
                  <a:cubicBezTo>
                    <a:pt x="433" y="63"/>
                    <a:pt x="431" y="67"/>
                    <a:pt x="431" y="71"/>
                  </a:cubicBezTo>
                  <a:cubicBezTo>
                    <a:pt x="431" y="71"/>
                    <a:pt x="431" y="71"/>
                    <a:pt x="431" y="71"/>
                  </a:cubicBezTo>
                  <a:cubicBezTo>
                    <a:pt x="431" y="73"/>
                    <a:pt x="295" y="88"/>
                    <a:pt x="278" y="88"/>
                  </a:cubicBezTo>
                  <a:cubicBezTo>
                    <a:pt x="277" y="88"/>
                    <a:pt x="277" y="88"/>
                    <a:pt x="277" y="88"/>
                  </a:cubicBezTo>
                  <a:cubicBezTo>
                    <a:pt x="277" y="88"/>
                    <a:pt x="277" y="88"/>
                    <a:pt x="277" y="88"/>
                  </a:cubicBezTo>
                  <a:cubicBezTo>
                    <a:pt x="276" y="88"/>
                    <a:pt x="276" y="87"/>
                    <a:pt x="276" y="86"/>
                  </a:cubicBezTo>
                  <a:cubicBezTo>
                    <a:pt x="274" y="82"/>
                    <a:pt x="270" y="80"/>
                    <a:pt x="265" y="80"/>
                  </a:cubicBezTo>
                  <a:cubicBezTo>
                    <a:pt x="263" y="80"/>
                    <a:pt x="262" y="80"/>
                    <a:pt x="260" y="81"/>
                  </a:cubicBezTo>
                  <a:cubicBezTo>
                    <a:pt x="254" y="84"/>
                    <a:pt x="251" y="90"/>
                    <a:pt x="254" y="96"/>
                  </a:cubicBezTo>
                  <a:cubicBezTo>
                    <a:pt x="256" y="99"/>
                    <a:pt x="258" y="101"/>
                    <a:pt x="260" y="102"/>
                  </a:cubicBezTo>
                  <a:cubicBezTo>
                    <a:pt x="260" y="102"/>
                    <a:pt x="260" y="102"/>
                    <a:pt x="260" y="102"/>
                  </a:cubicBezTo>
                  <a:cubicBezTo>
                    <a:pt x="262" y="103"/>
                    <a:pt x="250" y="143"/>
                    <a:pt x="249" y="143"/>
                  </a:cubicBezTo>
                  <a:cubicBezTo>
                    <a:pt x="249" y="143"/>
                    <a:pt x="249" y="143"/>
                    <a:pt x="249" y="143"/>
                  </a:cubicBezTo>
                  <a:cubicBezTo>
                    <a:pt x="249" y="143"/>
                    <a:pt x="249" y="143"/>
                    <a:pt x="249" y="143"/>
                  </a:cubicBezTo>
                  <a:cubicBezTo>
                    <a:pt x="249" y="143"/>
                    <a:pt x="249" y="143"/>
                    <a:pt x="249" y="143"/>
                  </a:cubicBezTo>
                  <a:cubicBezTo>
                    <a:pt x="248" y="143"/>
                    <a:pt x="248" y="143"/>
                    <a:pt x="247" y="143"/>
                  </a:cubicBezTo>
                  <a:cubicBezTo>
                    <a:pt x="246" y="144"/>
                    <a:pt x="245" y="145"/>
                    <a:pt x="245" y="146"/>
                  </a:cubicBezTo>
                  <a:cubicBezTo>
                    <a:pt x="245" y="146"/>
                    <a:pt x="245" y="146"/>
                    <a:pt x="245" y="146"/>
                  </a:cubicBezTo>
                  <a:cubicBezTo>
                    <a:pt x="245" y="146"/>
                    <a:pt x="245" y="146"/>
                    <a:pt x="244" y="146"/>
                  </a:cubicBezTo>
                  <a:cubicBezTo>
                    <a:pt x="237" y="146"/>
                    <a:pt x="185" y="141"/>
                    <a:pt x="185" y="140"/>
                  </a:cubicBezTo>
                  <a:cubicBezTo>
                    <a:pt x="185" y="140"/>
                    <a:pt x="185" y="140"/>
                    <a:pt x="185" y="140"/>
                  </a:cubicBezTo>
                  <a:cubicBezTo>
                    <a:pt x="185" y="139"/>
                    <a:pt x="185" y="138"/>
                    <a:pt x="184" y="138"/>
                  </a:cubicBezTo>
                  <a:cubicBezTo>
                    <a:pt x="184" y="137"/>
                    <a:pt x="184" y="137"/>
                    <a:pt x="184" y="137"/>
                  </a:cubicBezTo>
                  <a:cubicBezTo>
                    <a:pt x="184" y="137"/>
                    <a:pt x="184" y="137"/>
                    <a:pt x="184" y="137"/>
                  </a:cubicBezTo>
                  <a:cubicBezTo>
                    <a:pt x="183" y="136"/>
                    <a:pt x="209" y="113"/>
                    <a:pt x="211" y="113"/>
                  </a:cubicBezTo>
                  <a:cubicBezTo>
                    <a:pt x="211" y="113"/>
                    <a:pt x="211" y="113"/>
                    <a:pt x="211" y="113"/>
                  </a:cubicBezTo>
                  <a:cubicBezTo>
                    <a:pt x="210" y="113"/>
                    <a:pt x="210" y="113"/>
                    <a:pt x="210" y="113"/>
                  </a:cubicBezTo>
                  <a:cubicBezTo>
                    <a:pt x="211" y="114"/>
                    <a:pt x="212" y="114"/>
                    <a:pt x="214" y="114"/>
                  </a:cubicBezTo>
                  <a:cubicBezTo>
                    <a:pt x="214" y="114"/>
                    <a:pt x="215" y="114"/>
                    <a:pt x="216" y="114"/>
                  </a:cubicBezTo>
                  <a:cubicBezTo>
                    <a:pt x="218" y="113"/>
                    <a:pt x="219" y="110"/>
                    <a:pt x="218" y="107"/>
                  </a:cubicBezTo>
                  <a:cubicBezTo>
                    <a:pt x="217" y="106"/>
                    <a:pt x="215" y="105"/>
                    <a:pt x="214" y="105"/>
                  </a:cubicBezTo>
                  <a:cubicBezTo>
                    <a:pt x="213" y="105"/>
                    <a:pt x="212" y="105"/>
                    <a:pt x="211" y="105"/>
                  </a:cubicBezTo>
                  <a:cubicBezTo>
                    <a:pt x="211" y="106"/>
                    <a:pt x="211" y="106"/>
                    <a:pt x="211" y="106"/>
                  </a:cubicBezTo>
                  <a:cubicBezTo>
                    <a:pt x="211" y="106"/>
                    <a:pt x="211" y="106"/>
                    <a:pt x="211" y="106"/>
                  </a:cubicBezTo>
                  <a:cubicBezTo>
                    <a:pt x="211" y="106"/>
                    <a:pt x="211" y="106"/>
                    <a:pt x="211" y="106"/>
                  </a:cubicBezTo>
                  <a:cubicBezTo>
                    <a:pt x="209" y="106"/>
                    <a:pt x="175" y="72"/>
                    <a:pt x="176" y="70"/>
                  </a:cubicBezTo>
                  <a:cubicBezTo>
                    <a:pt x="176" y="70"/>
                    <a:pt x="176" y="70"/>
                    <a:pt x="176" y="70"/>
                  </a:cubicBezTo>
                  <a:cubicBezTo>
                    <a:pt x="177" y="69"/>
                    <a:pt x="178" y="67"/>
                    <a:pt x="178" y="65"/>
                  </a:cubicBezTo>
                  <a:cubicBezTo>
                    <a:pt x="178" y="59"/>
                    <a:pt x="174" y="55"/>
                    <a:pt x="168" y="55"/>
                  </a:cubicBezTo>
                  <a:cubicBezTo>
                    <a:pt x="163" y="55"/>
                    <a:pt x="158" y="59"/>
                    <a:pt x="158" y="65"/>
                  </a:cubicBezTo>
                  <a:cubicBezTo>
                    <a:pt x="158" y="68"/>
                    <a:pt x="160" y="70"/>
                    <a:pt x="162" y="72"/>
                  </a:cubicBezTo>
                  <a:cubicBezTo>
                    <a:pt x="162" y="72"/>
                    <a:pt x="162" y="72"/>
                    <a:pt x="162" y="72"/>
                  </a:cubicBezTo>
                  <a:cubicBezTo>
                    <a:pt x="164" y="73"/>
                    <a:pt x="131" y="132"/>
                    <a:pt x="127" y="132"/>
                  </a:cubicBezTo>
                  <a:cubicBezTo>
                    <a:pt x="127" y="132"/>
                    <a:pt x="127" y="132"/>
                    <a:pt x="127" y="132"/>
                  </a:cubicBezTo>
                  <a:cubicBezTo>
                    <a:pt x="127" y="132"/>
                    <a:pt x="127" y="132"/>
                    <a:pt x="127" y="132"/>
                  </a:cubicBezTo>
                  <a:cubicBezTo>
                    <a:pt x="126" y="132"/>
                    <a:pt x="124" y="132"/>
                    <a:pt x="122" y="132"/>
                  </a:cubicBezTo>
                  <a:cubicBezTo>
                    <a:pt x="121" y="132"/>
                    <a:pt x="120" y="132"/>
                    <a:pt x="119" y="132"/>
                  </a:cubicBezTo>
                  <a:cubicBezTo>
                    <a:pt x="119" y="132"/>
                    <a:pt x="119" y="132"/>
                    <a:pt x="119" y="132"/>
                  </a:cubicBezTo>
                  <a:cubicBezTo>
                    <a:pt x="119" y="132"/>
                    <a:pt x="119" y="132"/>
                    <a:pt x="119" y="132"/>
                  </a:cubicBezTo>
                  <a:cubicBezTo>
                    <a:pt x="118" y="132"/>
                    <a:pt x="113" y="122"/>
                    <a:pt x="109" y="112"/>
                  </a:cubicBezTo>
                  <a:cubicBezTo>
                    <a:pt x="113" y="122"/>
                    <a:pt x="117" y="133"/>
                    <a:pt x="115" y="133"/>
                  </a:cubicBezTo>
                  <a:cubicBezTo>
                    <a:pt x="116" y="133"/>
                    <a:pt x="116" y="133"/>
                    <a:pt x="116" y="133"/>
                  </a:cubicBezTo>
                  <a:cubicBezTo>
                    <a:pt x="115" y="133"/>
                    <a:pt x="115" y="133"/>
                    <a:pt x="115" y="133"/>
                  </a:cubicBezTo>
                  <a:cubicBezTo>
                    <a:pt x="115" y="133"/>
                    <a:pt x="115" y="133"/>
                    <a:pt x="115" y="133"/>
                  </a:cubicBezTo>
                  <a:cubicBezTo>
                    <a:pt x="115" y="133"/>
                    <a:pt x="115" y="133"/>
                    <a:pt x="115" y="133"/>
                  </a:cubicBezTo>
                  <a:cubicBezTo>
                    <a:pt x="112" y="133"/>
                    <a:pt x="26" y="30"/>
                    <a:pt x="14" y="13"/>
                  </a:cubicBezTo>
                  <a:cubicBezTo>
                    <a:pt x="28" y="23"/>
                    <a:pt x="95" y="83"/>
                    <a:pt x="95" y="84"/>
                  </a:cubicBezTo>
                  <a:cubicBezTo>
                    <a:pt x="95" y="84"/>
                    <a:pt x="95" y="84"/>
                    <a:pt x="95" y="84"/>
                  </a:cubicBezTo>
                  <a:cubicBezTo>
                    <a:pt x="94" y="85"/>
                    <a:pt x="94" y="86"/>
                    <a:pt x="95" y="88"/>
                  </a:cubicBezTo>
                  <a:cubicBezTo>
                    <a:pt x="95" y="89"/>
                    <a:pt x="97" y="90"/>
                    <a:pt x="98" y="90"/>
                  </a:cubicBezTo>
                  <a:cubicBezTo>
                    <a:pt x="99" y="90"/>
                    <a:pt x="99" y="90"/>
                    <a:pt x="99" y="90"/>
                  </a:cubicBezTo>
                  <a:cubicBezTo>
                    <a:pt x="99" y="90"/>
                    <a:pt x="99" y="90"/>
                    <a:pt x="99" y="90"/>
                  </a:cubicBezTo>
                  <a:cubicBezTo>
                    <a:pt x="99" y="90"/>
                    <a:pt x="99" y="90"/>
                    <a:pt x="99" y="90"/>
                  </a:cubicBezTo>
                  <a:cubicBezTo>
                    <a:pt x="100" y="90"/>
                    <a:pt x="103" y="97"/>
                    <a:pt x="106" y="105"/>
                  </a:cubicBezTo>
                  <a:cubicBezTo>
                    <a:pt x="103" y="97"/>
                    <a:pt x="100" y="90"/>
                    <a:pt x="101" y="90"/>
                  </a:cubicBezTo>
                  <a:cubicBezTo>
                    <a:pt x="100" y="90"/>
                    <a:pt x="100" y="90"/>
                    <a:pt x="100" y="90"/>
                  </a:cubicBezTo>
                  <a:cubicBezTo>
                    <a:pt x="102" y="89"/>
                    <a:pt x="103" y="86"/>
                    <a:pt x="102" y="84"/>
                  </a:cubicBezTo>
                  <a:cubicBezTo>
                    <a:pt x="102" y="83"/>
                    <a:pt x="100" y="82"/>
                    <a:pt x="98" y="82"/>
                  </a:cubicBezTo>
                  <a:cubicBezTo>
                    <a:pt x="98" y="82"/>
                    <a:pt x="97" y="82"/>
                    <a:pt x="97" y="83"/>
                  </a:cubicBezTo>
                  <a:cubicBezTo>
                    <a:pt x="96" y="83"/>
                    <a:pt x="96" y="83"/>
                    <a:pt x="96" y="83"/>
                  </a:cubicBezTo>
                  <a:cubicBezTo>
                    <a:pt x="96" y="83"/>
                    <a:pt x="96" y="83"/>
                    <a:pt x="96" y="83"/>
                  </a:cubicBezTo>
                  <a:cubicBezTo>
                    <a:pt x="96" y="83"/>
                    <a:pt x="96" y="83"/>
                    <a:pt x="96" y="83"/>
                  </a:cubicBezTo>
                  <a:cubicBezTo>
                    <a:pt x="95" y="83"/>
                    <a:pt x="13" y="11"/>
                    <a:pt x="13" y="10"/>
                  </a:cubicBezTo>
                  <a:cubicBezTo>
                    <a:pt x="13" y="10"/>
                    <a:pt x="13" y="10"/>
                    <a:pt x="13" y="10"/>
                  </a:cubicBezTo>
                  <a:cubicBezTo>
                    <a:pt x="15" y="8"/>
                    <a:pt x="15" y="6"/>
                    <a:pt x="14" y="3"/>
                  </a:cubicBezTo>
                  <a:cubicBezTo>
                    <a:pt x="13" y="1"/>
                    <a:pt x="10" y="0"/>
                    <a:pt x="8"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8" name="Freeform 10"/>
            <p:cNvSpPr>
              <a:spLocks noEditPoints="1"/>
            </p:cNvSpPr>
            <p:nvPr/>
          </p:nvSpPr>
          <p:spPr bwMode="auto">
            <a:xfrm>
              <a:off x="6415088" y="4025900"/>
              <a:ext cx="315913" cy="323850"/>
            </a:xfrm>
            <a:custGeom>
              <a:avLst/>
              <a:gdLst>
                <a:gd name="T0" fmla="*/ 14 w 84"/>
                <a:gd name="T1" fmla="*/ 43 h 86"/>
                <a:gd name="T2" fmla="*/ 45 w 84"/>
                <a:gd name="T3" fmla="*/ 13 h 86"/>
                <a:gd name="T4" fmla="*/ 45 w 84"/>
                <a:gd name="T5" fmla="*/ 13 h 86"/>
                <a:gd name="T6" fmla="*/ 45 w 84"/>
                <a:gd name="T7" fmla="*/ 13 h 86"/>
                <a:gd name="T8" fmla="*/ 49 w 84"/>
                <a:gd name="T9" fmla="*/ 14 h 86"/>
                <a:gd name="T10" fmla="*/ 52 w 84"/>
                <a:gd name="T11" fmla="*/ 14 h 86"/>
                <a:gd name="T12" fmla="*/ 52 w 84"/>
                <a:gd name="T13" fmla="*/ 14 h 86"/>
                <a:gd name="T14" fmla="*/ 52 w 84"/>
                <a:gd name="T15" fmla="*/ 14 h 86"/>
                <a:gd name="T16" fmla="*/ 76 w 84"/>
                <a:gd name="T17" fmla="*/ 49 h 86"/>
                <a:gd name="T18" fmla="*/ 76 w 84"/>
                <a:gd name="T19" fmla="*/ 49 h 86"/>
                <a:gd name="T20" fmla="*/ 74 w 84"/>
                <a:gd name="T21" fmla="*/ 53 h 86"/>
                <a:gd name="T22" fmla="*/ 74 w 84"/>
                <a:gd name="T23" fmla="*/ 55 h 86"/>
                <a:gd name="T24" fmla="*/ 74 w 84"/>
                <a:gd name="T25" fmla="*/ 55 h 86"/>
                <a:gd name="T26" fmla="*/ 42 w 84"/>
                <a:gd name="T27" fmla="*/ 80 h 86"/>
                <a:gd name="T28" fmla="*/ 42 w 84"/>
                <a:gd name="T29" fmla="*/ 80 h 86"/>
                <a:gd name="T30" fmla="*/ 42 w 84"/>
                <a:gd name="T31" fmla="*/ 80 h 86"/>
                <a:gd name="T32" fmla="*/ 39 w 84"/>
                <a:gd name="T33" fmla="*/ 79 h 86"/>
                <a:gd name="T34" fmla="*/ 37 w 84"/>
                <a:gd name="T35" fmla="*/ 79 h 86"/>
                <a:gd name="T36" fmla="*/ 37 w 84"/>
                <a:gd name="T37" fmla="*/ 79 h 86"/>
                <a:gd name="T38" fmla="*/ 37 w 84"/>
                <a:gd name="T39" fmla="*/ 79 h 86"/>
                <a:gd name="T40" fmla="*/ 37 w 84"/>
                <a:gd name="T41" fmla="*/ 79 h 86"/>
                <a:gd name="T42" fmla="*/ 14 w 84"/>
                <a:gd name="T43" fmla="*/ 52 h 86"/>
                <a:gd name="T44" fmla="*/ 14 w 84"/>
                <a:gd name="T45" fmla="*/ 52 h 86"/>
                <a:gd name="T46" fmla="*/ 15 w 84"/>
                <a:gd name="T47" fmla="*/ 48 h 86"/>
                <a:gd name="T48" fmla="*/ 14 w 84"/>
                <a:gd name="T49" fmla="*/ 43 h 86"/>
                <a:gd name="T50" fmla="*/ 14 w 84"/>
                <a:gd name="T51" fmla="*/ 43 h 86"/>
                <a:gd name="T52" fmla="*/ 49 w 84"/>
                <a:gd name="T53" fmla="*/ 0 h 86"/>
                <a:gd name="T54" fmla="*/ 46 w 84"/>
                <a:gd name="T55" fmla="*/ 0 h 86"/>
                <a:gd name="T56" fmla="*/ 42 w 84"/>
                <a:gd name="T57" fmla="*/ 10 h 86"/>
                <a:gd name="T58" fmla="*/ 43 w 84"/>
                <a:gd name="T59" fmla="*/ 11 h 86"/>
                <a:gd name="T60" fmla="*/ 43 w 84"/>
                <a:gd name="T61" fmla="*/ 11 h 86"/>
                <a:gd name="T62" fmla="*/ 12 w 84"/>
                <a:gd name="T63" fmla="*/ 42 h 86"/>
                <a:gd name="T64" fmla="*/ 12 w 84"/>
                <a:gd name="T65" fmla="*/ 42 h 86"/>
                <a:gd name="T66" fmla="*/ 12 w 84"/>
                <a:gd name="T67" fmla="*/ 42 h 86"/>
                <a:gd name="T68" fmla="*/ 8 w 84"/>
                <a:gd name="T69" fmla="*/ 40 h 86"/>
                <a:gd name="T70" fmla="*/ 0 w 84"/>
                <a:gd name="T71" fmla="*/ 48 h 86"/>
                <a:gd name="T72" fmla="*/ 8 w 84"/>
                <a:gd name="T73" fmla="*/ 55 h 86"/>
                <a:gd name="T74" fmla="*/ 12 w 84"/>
                <a:gd name="T75" fmla="*/ 54 h 86"/>
                <a:gd name="T76" fmla="*/ 12 w 84"/>
                <a:gd name="T77" fmla="*/ 54 h 86"/>
                <a:gd name="T78" fmla="*/ 12 w 84"/>
                <a:gd name="T79" fmla="*/ 54 h 86"/>
                <a:gd name="T80" fmla="*/ 36 w 84"/>
                <a:gd name="T81" fmla="*/ 80 h 86"/>
                <a:gd name="T82" fmla="*/ 36 w 84"/>
                <a:gd name="T83" fmla="*/ 80 h 86"/>
                <a:gd name="T84" fmla="*/ 35 w 84"/>
                <a:gd name="T85" fmla="*/ 84 h 86"/>
                <a:gd name="T86" fmla="*/ 39 w 84"/>
                <a:gd name="T87" fmla="*/ 86 h 86"/>
                <a:gd name="T88" fmla="*/ 41 w 84"/>
                <a:gd name="T89" fmla="*/ 86 h 86"/>
                <a:gd name="T90" fmla="*/ 43 w 84"/>
                <a:gd name="T91" fmla="*/ 81 h 86"/>
                <a:gd name="T92" fmla="*/ 42 w 84"/>
                <a:gd name="T93" fmla="*/ 81 h 86"/>
                <a:gd name="T94" fmla="*/ 42 w 84"/>
                <a:gd name="T95" fmla="*/ 81 h 86"/>
                <a:gd name="T96" fmla="*/ 75 w 84"/>
                <a:gd name="T97" fmla="*/ 56 h 86"/>
                <a:gd name="T98" fmla="*/ 75 w 84"/>
                <a:gd name="T99" fmla="*/ 56 h 86"/>
                <a:gd name="T100" fmla="*/ 75 w 84"/>
                <a:gd name="T101" fmla="*/ 56 h 86"/>
                <a:gd name="T102" fmla="*/ 79 w 84"/>
                <a:gd name="T103" fmla="*/ 58 h 86"/>
                <a:gd name="T104" fmla="*/ 84 w 84"/>
                <a:gd name="T105" fmla="*/ 53 h 86"/>
                <a:gd name="T106" fmla="*/ 79 w 84"/>
                <a:gd name="T107" fmla="*/ 48 h 86"/>
                <a:gd name="T108" fmla="*/ 77 w 84"/>
                <a:gd name="T109" fmla="*/ 48 h 86"/>
                <a:gd name="T110" fmla="*/ 77 w 84"/>
                <a:gd name="T111" fmla="*/ 48 h 86"/>
                <a:gd name="T112" fmla="*/ 54 w 84"/>
                <a:gd name="T113" fmla="*/ 13 h 86"/>
                <a:gd name="T114" fmla="*/ 54 w 84"/>
                <a:gd name="T115" fmla="*/ 13 h 86"/>
                <a:gd name="T116" fmla="*/ 56 w 84"/>
                <a:gd name="T117" fmla="*/ 4 h 86"/>
                <a:gd name="T118" fmla="*/ 49 w 84"/>
                <a:gd name="T11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6">
                  <a:moveTo>
                    <a:pt x="14" y="43"/>
                  </a:moveTo>
                  <a:cubicBezTo>
                    <a:pt x="13" y="42"/>
                    <a:pt x="43" y="13"/>
                    <a:pt x="45" y="13"/>
                  </a:cubicBezTo>
                  <a:cubicBezTo>
                    <a:pt x="45" y="13"/>
                    <a:pt x="45" y="13"/>
                    <a:pt x="45" y="13"/>
                  </a:cubicBezTo>
                  <a:cubicBezTo>
                    <a:pt x="45" y="13"/>
                    <a:pt x="45" y="13"/>
                    <a:pt x="45" y="13"/>
                  </a:cubicBezTo>
                  <a:cubicBezTo>
                    <a:pt x="46" y="14"/>
                    <a:pt x="48" y="14"/>
                    <a:pt x="49" y="14"/>
                  </a:cubicBezTo>
                  <a:cubicBezTo>
                    <a:pt x="50" y="14"/>
                    <a:pt x="51" y="14"/>
                    <a:pt x="52" y="14"/>
                  </a:cubicBezTo>
                  <a:cubicBezTo>
                    <a:pt x="52" y="14"/>
                    <a:pt x="52" y="14"/>
                    <a:pt x="52" y="14"/>
                  </a:cubicBezTo>
                  <a:cubicBezTo>
                    <a:pt x="52" y="14"/>
                    <a:pt x="52" y="14"/>
                    <a:pt x="52" y="14"/>
                  </a:cubicBezTo>
                  <a:cubicBezTo>
                    <a:pt x="54" y="14"/>
                    <a:pt x="76" y="48"/>
                    <a:pt x="76" y="49"/>
                  </a:cubicBezTo>
                  <a:cubicBezTo>
                    <a:pt x="76" y="49"/>
                    <a:pt x="76" y="49"/>
                    <a:pt x="76" y="49"/>
                  </a:cubicBezTo>
                  <a:cubicBezTo>
                    <a:pt x="75" y="50"/>
                    <a:pt x="74" y="51"/>
                    <a:pt x="74" y="53"/>
                  </a:cubicBezTo>
                  <a:cubicBezTo>
                    <a:pt x="74" y="54"/>
                    <a:pt x="74" y="54"/>
                    <a:pt x="74" y="55"/>
                  </a:cubicBezTo>
                  <a:cubicBezTo>
                    <a:pt x="74" y="55"/>
                    <a:pt x="74" y="55"/>
                    <a:pt x="74" y="55"/>
                  </a:cubicBezTo>
                  <a:cubicBezTo>
                    <a:pt x="75" y="56"/>
                    <a:pt x="43" y="80"/>
                    <a:pt x="42" y="80"/>
                  </a:cubicBezTo>
                  <a:cubicBezTo>
                    <a:pt x="42" y="80"/>
                    <a:pt x="42" y="80"/>
                    <a:pt x="42" y="80"/>
                  </a:cubicBezTo>
                  <a:cubicBezTo>
                    <a:pt x="42" y="80"/>
                    <a:pt x="42" y="80"/>
                    <a:pt x="42" y="80"/>
                  </a:cubicBezTo>
                  <a:cubicBezTo>
                    <a:pt x="41" y="79"/>
                    <a:pt x="40" y="79"/>
                    <a:pt x="39" y="79"/>
                  </a:cubicBezTo>
                  <a:cubicBezTo>
                    <a:pt x="38" y="79"/>
                    <a:pt x="38" y="79"/>
                    <a:pt x="37" y="79"/>
                  </a:cubicBezTo>
                  <a:cubicBezTo>
                    <a:pt x="37" y="79"/>
                    <a:pt x="37" y="79"/>
                    <a:pt x="37" y="79"/>
                  </a:cubicBezTo>
                  <a:cubicBezTo>
                    <a:pt x="37" y="79"/>
                    <a:pt x="37" y="79"/>
                    <a:pt x="37" y="79"/>
                  </a:cubicBezTo>
                  <a:cubicBezTo>
                    <a:pt x="37" y="79"/>
                    <a:pt x="37" y="79"/>
                    <a:pt x="37" y="79"/>
                  </a:cubicBezTo>
                  <a:cubicBezTo>
                    <a:pt x="36" y="79"/>
                    <a:pt x="13" y="54"/>
                    <a:pt x="14" y="52"/>
                  </a:cubicBezTo>
                  <a:cubicBezTo>
                    <a:pt x="14" y="52"/>
                    <a:pt x="14" y="52"/>
                    <a:pt x="14" y="52"/>
                  </a:cubicBezTo>
                  <a:cubicBezTo>
                    <a:pt x="15" y="51"/>
                    <a:pt x="15" y="49"/>
                    <a:pt x="15" y="48"/>
                  </a:cubicBezTo>
                  <a:cubicBezTo>
                    <a:pt x="15" y="46"/>
                    <a:pt x="15" y="44"/>
                    <a:pt x="14" y="43"/>
                  </a:cubicBezTo>
                  <a:cubicBezTo>
                    <a:pt x="14" y="43"/>
                    <a:pt x="14" y="43"/>
                    <a:pt x="14" y="43"/>
                  </a:cubicBezTo>
                  <a:moveTo>
                    <a:pt x="49" y="0"/>
                  </a:moveTo>
                  <a:cubicBezTo>
                    <a:pt x="48" y="0"/>
                    <a:pt x="47" y="0"/>
                    <a:pt x="46" y="0"/>
                  </a:cubicBezTo>
                  <a:cubicBezTo>
                    <a:pt x="42" y="2"/>
                    <a:pt x="41" y="7"/>
                    <a:pt x="42" y="10"/>
                  </a:cubicBezTo>
                  <a:cubicBezTo>
                    <a:pt x="43" y="11"/>
                    <a:pt x="43" y="11"/>
                    <a:pt x="43" y="11"/>
                  </a:cubicBezTo>
                  <a:cubicBezTo>
                    <a:pt x="43" y="11"/>
                    <a:pt x="43" y="11"/>
                    <a:pt x="43" y="11"/>
                  </a:cubicBezTo>
                  <a:cubicBezTo>
                    <a:pt x="44" y="13"/>
                    <a:pt x="14" y="42"/>
                    <a:pt x="12" y="42"/>
                  </a:cubicBezTo>
                  <a:cubicBezTo>
                    <a:pt x="12" y="42"/>
                    <a:pt x="12" y="42"/>
                    <a:pt x="12" y="42"/>
                  </a:cubicBezTo>
                  <a:cubicBezTo>
                    <a:pt x="12" y="42"/>
                    <a:pt x="12" y="42"/>
                    <a:pt x="12" y="42"/>
                  </a:cubicBezTo>
                  <a:cubicBezTo>
                    <a:pt x="11" y="41"/>
                    <a:pt x="9" y="40"/>
                    <a:pt x="8" y="40"/>
                  </a:cubicBezTo>
                  <a:cubicBezTo>
                    <a:pt x="4" y="40"/>
                    <a:pt x="0" y="44"/>
                    <a:pt x="0" y="48"/>
                  </a:cubicBezTo>
                  <a:cubicBezTo>
                    <a:pt x="0" y="52"/>
                    <a:pt x="4" y="55"/>
                    <a:pt x="8" y="55"/>
                  </a:cubicBezTo>
                  <a:cubicBezTo>
                    <a:pt x="9" y="55"/>
                    <a:pt x="11" y="55"/>
                    <a:pt x="12" y="54"/>
                  </a:cubicBezTo>
                  <a:cubicBezTo>
                    <a:pt x="12" y="54"/>
                    <a:pt x="12" y="54"/>
                    <a:pt x="12" y="54"/>
                  </a:cubicBezTo>
                  <a:cubicBezTo>
                    <a:pt x="12" y="54"/>
                    <a:pt x="12" y="54"/>
                    <a:pt x="12" y="54"/>
                  </a:cubicBezTo>
                  <a:cubicBezTo>
                    <a:pt x="14" y="54"/>
                    <a:pt x="36" y="79"/>
                    <a:pt x="36" y="80"/>
                  </a:cubicBezTo>
                  <a:cubicBezTo>
                    <a:pt x="36" y="80"/>
                    <a:pt x="36" y="80"/>
                    <a:pt x="36" y="80"/>
                  </a:cubicBezTo>
                  <a:cubicBezTo>
                    <a:pt x="35" y="81"/>
                    <a:pt x="35" y="83"/>
                    <a:pt x="35" y="84"/>
                  </a:cubicBezTo>
                  <a:cubicBezTo>
                    <a:pt x="36" y="85"/>
                    <a:pt x="37" y="86"/>
                    <a:pt x="39" y="86"/>
                  </a:cubicBezTo>
                  <a:cubicBezTo>
                    <a:pt x="40" y="86"/>
                    <a:pt x="40" y="86"/>
                    <a:pt x="41" y="86"/>
                  </a:cubicBezTo>
                  <a:cubicBezTo>
                    <a:pt x="43" y="85"/>
                    <a:pt x="44" y="83"/>
                    <a:pt x="43" y="81"/>
                  </a:cubicBezTo>
                  <a:cubicBezTo>
                    <a:pt x="42" y="81"/>
                    <a:pt x="42" y="81"/>
                    <a:pt x="42" y="81"/>
                  </a:cubicBezTo>
                  <a:cubicBezTo>
                    <a:pt x="42" y="81"/>
                    <a:pt x="42" y="81"/>
                    <a:pt x="42" y="81"/>
                  </a:cubicBezTo>
                  <a:cubicBezTo>
                    <a:pt x="42" y="80"/>
                    <a:pt x="74" y="56"/>
                    <a:pt x="75" y="56"/>
                  </a:cubicBezTo>
                  <a:cubicBezTo>
                    <a:pt x="75" y="56"/>
                    <a:pt x="75" y="56"/>
                    <a:pt x="75" y="56"/>
                  </a:cubicBezTo>
                  <a:cubicBezTo>
                    <a:pt x="75" y="56"/>
                    <a:pt x="75" y="56"/>
                    <a:pt x="75" y="56"/>
                  </a:cubicBezTo>
                  <a:cubicBezTo>
                    <a:pt x="76" y="57"/>
                    <a:pt x="78" y="58"/>
                    <a:pt x="79" y="58"/>
                  </a:cubicBezTo>
                  <a:cubicBezTo>
                    <a:pt x="82" y="58"/>
                    <a:pt x="84" y="55"/>
                    <a:pt x="84" y="53"/>
                  </a:cubicBezTo>
                  <a:cubicBezTo>
                    <a:pt x="84" y="50"/>
                    <a:pt x="82" y="48"/>
                    <a:pt x="79" y="48"/>
                  </a:cubicBezTo>
                  <a:cubicBezTo>
                    <a:pt x="78" y="48"/>
                    <a:pt x="78" y="48"/>
                    <a:pt x="77" y="48"/>
                  </a:cubicBezTo>
                  <a:cubicBezTo>
                    <a:pt x="77" y="48"/>
                    <a:pt x="77" y="48"/>
                    <a:pt x="77" y="48"/>
                  </a:cubicBezTo>
                  <a:cubicBezTo>
                    <a:pt x="76" y="48"/>
                    <a:pt x="53" y="14"/>
                    <a:pt x="54" y="13"/>
                  </a:cubicBezTo>
                  <a:cubicBezTo>
                    <a:pt x="54" y="13"/>
                    <a:pt x="54" y="13"/>
                    <a:pt x="54" y="13"/>
                  </a:cubicBezTo>
                  <a:cubicBezTo>
                    <a:pt x="57" y="11"/>
                    <a:pt x="58" y="7"/>
                    <a:pt x="56" y="4"/>
                  </a:cubicBezTo>
                  <a:cubicBezTo>
                    <a:pt x="55" y="1"/>
                    <a:pt x="52" y="0"/>
                    <a:pt x="49"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 name="Freeform 11"/>
            <p:cNvSpPr>
              <a:spLocks/>
            </p:cNvSpPr>
            <p:nvPr/>
          </p:nvSpPr>
          <p:spPr bwMode="auto">
            <a:xfrm>
              <a:off x="4856163" y="2439988"/>
              <a:ext cx="87313" cy="74613"/>
            </a:xfrm>
            <a:custGeom>
              <a:avLst/>
              <a:gdLst>
                <a:gd name="T0" fmla="*/ 12 w 23"/>
                <a:gd name="T1" fmla="*/ 0 h 20"/>
                <a:gd name="T2" fmla="*/ 7 w 23"/>
                <a:gd name="T3" fmla="*/ 1 h 20"/>
                <a:gd name="T4" fmla="*/ 3 w 23"/>
                <a:gd name="T5" fmla="*/ 14 h 20"/>
                <a:gd name="T6" fmla="*/ 12 w 23"/>
                <a:gd name="T7" fmla="*/ 20 h 20"/>
                <a:gd name="T8" fmla="*/ 16 w 23"/>
                <a:gd name="T9" fmla="*/ 19 h 20"/>
                <a:gd name="T10" fmla="*/ 21 w 23"/>
                <a:gd name="T11" fmla="*/ 6 h 20"/>
                <a:gd name="T12" fmla="*/ 12 w 2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3" h="20">
                  <a:moveTo>
                    <a:pt x="12" y="0"/>
                  </a:moveTo>
                  <a:cubicBezTo>
                    <a:pt x="10" y="0"/>
                    <a:pt x="9" y="1"/>
                    <a:pt x="7" y="1"/>
                  </a:cubicBezTo>
                  <a:cubicBezTo>
                    <a:pt x="2" y="4"/>
                    <a:pt x="0" y="9"/>
                    <a:pt x="3" y="14"/>
                  </a:cubicBezTo>
                  <a:cubicBezTo>
                    <a:pt x="4" y="18"/>
                    <a:pt x="8" y="20"/>
                    <a:pt x="12" y="20"/>
                  </a:cubicBezTo>
                  <a:cubicBezTo>
                    <a:pt x="13" y="20"/>
                    <a:pt x="15" y="19"/>
                    <a:pt x="16" y="19"/>
                  </a:cubicBezTo>
                  <a:cubicBezTo>
                    <a:pt x="21" y="16"/>
                    <a:pt x="23" y="11"/>
                    <a:pt x="21" y="6"/>
                  </a:cubicBezTo>
                  <a:cubicBezTo>
                    <a:pt x="19" y="2"/>
                    <a:pt x="15" y="0"/>
                    <a:pt x="12"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0" name="Freeform 12"/>
            <p:cNvSpPr>
              <a:spLocks noEditPoints="1"/>
            </p:cNvSpPr>
            <p:nvPr/>
          </p:nvSpPr>
          <p:spPr bwMode="auto">
            <a:xfrm>
              <a:off x="3411538" y="2424113"/>
              <a:ext cx="1062038" cy="1203325"/>
            </a:xfrm>
            <a:custGeom>
              <a:avLst/>
              <a:gdLst>
                <a:gd name="T0" fmla="*/ 138 w 283"/>
                <a:gd name="T1" fmla="*/ 81 h 319"/>
                <a:gd name="T2" fmla="*/ 141 w 283"/>
                <a:gd name="T3" fmla="*/ 80 h 319"/>
                <a:gd name="T4" fmla="*/ 180 w 283"/>
                <a:gd name="T5" fmla="*/ 107 h 319"/>
                <a:gd name="T6" fmla="*/ 178 w 283"/>
                <a:gd name="T7" fmla="*/ 108 h 319"/>
                <a:gd name="T8" fmla="*/ 103 w 283"/>
                <a:gd name="T9" fmla="*/ 101 h 319"/>
                <a:gd name="T10" fmla="*/ 135 w 283"/>
                <a:gd name="T11" fmla="*/ 80 h 319"/>
                <a:gd name="T12" fmla="*/ 199 w 283"/>
                <a:gd name="T13" fmla="*/ 2 h 319"/>
                <a:gd name="T14" fmla="*/ 202 w 283"/>
                <a:gd name="T15" fmla="*/ 34 h 319"/>
                <a:gd name="T16" fmla="*/ 187 w 283"/>
                <a:gd name="T17" fmla="*/ 108 h 319"/>
                <a:gd name="T18" fmla="*/ 184 w 283"/>
                <a:gd name="T19" fmla="*/ 105 h 319"/>
                <a:gd name="T20" fmla="*/ 181 w 283"/>
                <a:gd name="T21" fmla="*/ 106 h 319"/>
                <a:gd name="T22" fmla="*/ 142 w 283"/>
                <a:gd name="T23" fmla="*/ 79 h 319"/>
                <a:gd name="T24" fmla="*/ 136 w 283"/>
                <a:gd name="T25" fmla="*/ 72 h 319"/>
                <a:gd name="T26" fmla="*/ 102 w 283"/>
                <a:gd name="T27" fmla="*/ 99 h 319"/>
                <a:gd name="T28" fmla="*/ 97 w 283"/>
                <a:gd name="T29" fmla="*/ 97 h 319"/>
                <a:gd name="T30" fmla="*/ 97 w 283"/>
                <a:gd name="T31" fmla="*/ 110 h 319"/>
                <a:gd name="T32" fmla="*/ 98 w 283"/>
                <a:gd name="T33" fmla="*/ 110 h 319"/>
                <a:gd name="T34" fmla="*/ 132 w 283"/>
                <a:gd name="T35" fmla="*/ 211 h 319"/>
                <a:gd name="T36" fmla="*/ 144 w 283"/>
                <a:gd name="T37" fmla="*/ 206 h 319"/>
                <a:gd name="T38" fmla="*/ 137 w 283"/>
                <a:gd name="T39" fmla="*/ 202 h 319"/>
                <a:gd name="T40" fmla="*/ 100 w 283"/>
                <a:gd name="T41" fmla="*/ 109 h 319"/>
                <a:gd name="T42" fmla="*/ 102 w 283"/>
                <a:gd name="T43" fmla="*/ 108 h 319"/>
                <a:gd name="T44" fmla="*/ 134 w 283"/>
                <a:gd name="T45" fmla="*/ 134 h 319"/>
                <a:gd name="T46" fmla="*/ 142 w 283"/>
                <a:gd name="T47" fmla="*/ 130 h 319"/>
                <a:gd name="T48" fmla="*/ 135 w 283"/>
                <a:gd name="T49" fmla="*/ 129 h 319"/>
                <a:gd name="T50" fmla="*/ 103 w 283"/>
                <a:gd name="T51" fmla="*/ 106 h 319"/>
                <a:gd name="T52" fmla="*/ 104 w 283"/>
                <a:gd name="T53" fmla="*/ 105 h 319"/>
                <a:gd name="T54" fmla="*/ 179 w 283"/>
                <a:gd name="T55" fmla="*/ 109 h 319"/>
                <a:gd name="T56" fmla="*/ 185 w 283"/>
                <a:gd name="T57" fmla="*/ 113 h 319"/>
                <a:gd name="T58" fmla="*/ 195 w 283"/>
                <a:gd name="T59" fmla="*/ 107 h 319"/>
                <a:gd name="T60" fmla="*/ 164 w 283"/>
                <a:gd name="T61" fmla="*/ 256 h 319"/>
                <a:gd name="T62" fmla="*/ 70 w 283"/>
                <a:gd name="T63" fmla="*/ 189 h 319"/>
                <a:gd name="T64" fmla="*/ 51 w 283"/>
                <a:gd name="T65" fmla="*/ 160 h 319"/>
                <a:gd name="T66" fmla="*/ 41 w 283"/>
                <a:gd name="T67" fmla="*/ 197 h 319"/>
                <a:gd name="T68" fmla="*/ 13 w 283"/>
                <a:gd name="T69" fmla="*/ 269 h 319"/>
                <a:gd name="T70" fmla="*/ 7 w 283"/>
                <a:gd name="T71" fmla="*/ 269 h 319"/>
                <a:gd name="T72" fmla="*/ 15 w 283"/>
                <a:gd name="T73" fmla="*/ 285 h 319"/>
                <a:gd name="T74" fmla="*/ 18 w 283"/>
                <a:gd name="T75" fmla="*/ 282 h 319"/>
                <a:gd name="T76" fmla="*/ 66 w 283"/>
                <a:gd name="T77" fmla="*/ 317 h 319"/>
                <a:gd name="T78" fmla="*/ 79 w 283"/>
                <a:gd name="T79" fmla="*/ 302 h 319"/>
                <a:gd name="T80" fmla="*/ 64 w 283"/>
                <a:gd name="T81" fmla="*/ 304 h 319"/>
                <a:gd name="T82" fmla="*/ 19 w 283"/>
                <a:gd name="T83" fmla="*/ 280 h 319"/>
                <a:gd name="T84" fmla="*/ 15 w 283"/>
                <a:gd name="T85" fmla="*/ 270 h 319"/>
                <a:gd name="T86" fmla="*/ 46 w 283"/>
                <a:gd name="T87" fmla="*/ 200 h 319"/>
                <a:gd name="T88" fmla="*/ 66 w 283"/>
                <a:gd name="T89" fmla="*/ 194 h 319"/>
                <a:gd name="T90" fmla="*/ 161 w 283"/>
                <a:gd name="T91" fmla="*/ 259 h 319"/>
                <a:gd name="T92" fmla="*/ 174 w 283"/>
                <a:gd name="T93" fmla="*/ 280 h 319"/>
                <a:gd name="T94" fmla="*/ 178 w 283"/>
                <a:gd name="T95" fmla="*/ 252 h 319"/>
                <a:gd name="T96" fmla="*/ 263 w 283"/>
                <a:gd name="T97" fmla="*/ 97 h 319"/>
                <a:gd name="T98" fmla="*/ 283 w 283"/>
                <a:gd name="T99" fmla="*/ 94 h 319"/>
                <a:gd name="T100" fmla="*/ 262 w 283"/>
                <a:gd name="T101" fmla="*/ 94 h 319"/>
                <a:gd name="T102" fmla="*/ 207 w 283"/>
                <a:gd name="T103" fmla="*/ 35 h 319"/>
                <a:gd name="T104" fmla="*/ 223 w 283"/>
                <a:gd name="T105" fmla="*/ 1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3" h="319">
                  <a:moveTo>
                    <a:pt x="135" y="80"/>
                  </a:moveTo>
                  <a:cubicBezTo>
                    <a:pt x="135" y="80"/>
                    <a:pt x="135" y="80"/>
                    <a:pt x="135" y="80"/>
                  </a:cubicBezTo>
                  <a:cubicBezTo>
                    <a:pt x="135" y="81"/>
                    <a:pt x="137" y="81"/>
                    <a:pt x="138" y="81"/>
                  </a:cubicBezTo>
                  <a:cubicBezTo>
                    <a:pt x="139" y="81"/>
                    <a:pt x="139" y="81"/>
                    <a:pt x="140" y="81"/>
                  </a:cubicBezTo>
                  <a:cubicBezTo>
                    <a:pt x="141" y="81"/>
                    <a:pt x="141" y="80"/>
                    <a:pt x="142" y="80"/>
                  </a:cubicBezTo>
                  <a:cubicBezTo>
                    <a:pt x="141" y="80"/>
                    <a:pt x="141" y="80"/>
                    <a:pt x="141" y="80"/>
                  </a:cubicBezTo>
                  <a:cubicBezTo>
                    <a:pt x="141" y="80"/>
                    <a:pt x="141" y="80"/>
                    <a:pt x="141" y="80"/>
                  </a:cubicBezTo>
                  <a:cubicBezTo>
                    <a:pt x="143" y="80"/>
                    <a:pt x="180" y="107"/>
                    <a:pt x="180" y="107"/>
                  </a:cubicBezTo>
                  <a:cubicBezTo>
                    <a:pt x="180" y="107"/>
                    <a:pt x="180" y="107"/>
                    <a:pt x="180" y="107"/>
                  </a:cubicBezTo>
                  <a:cubicBezTo>
                    <a:pt x="180" y="108"/>
                    <a:pt x="180" y="108"/>
                    <a:pt x="180" y="108"/>
                  </a:cubicBezTo>
                  <a:cubicBezTo>
                    <a:pt x="180" y="108"/>
                    <a:pt x="180" y="108"/>
                    <a:pt x="180" y="108"/>
                  </a:cubicBezTo>
                  <a:cubicBezTo>
                    <a:pt x="180" y="108"/>
                    <a:pt x="179" y="108"/>
                    <a:pt x="178" y="108"/>
                  </a:cubicBezTo>
                  <a:cubicBezTo>
                    <a:pt x="169" y="108"/>
                    <a:pt x="104" y="104"/>
                    <a:pt x="104" y="103"/>
                  </a:cubicBezTo>
                  <a:cubicBezTo>
                    <a:pt x="104" y="103"/>
                    <a:pt x="104" y="103"/>
                    <a:pt x="104" y="103"/>
                  </a:cubicBezTo>
                  <a:cubicBezTo>
                    <a:pt x="104" y="102"/>
                    <a:pt x="104" y="101"/>
                    <a:pt x="103" y="101"/>
                  </a:cubicBezTo>
                  <a:cubicBezTo>
                    <a:pt x="103" y="101"/>
                    <a:pt x="103" y="101"/>
                    <a:pt x="103" y="101"/>
                  </a:cubicBezTo>
                  <a:cubicBezTo>
                    <a:pt x="103" y="101"/>
                    <a:pt x="103" y="101"/>
                    <a:pt x="103" y="101"/>
                  </a:cubicBezTo>
                  <a:cubicBezTo>
                    <a:pt x="103" y="99"/>
                    <a:pt x="133" y="80"/>
                    <a:pt x="135" y="80"/>
                  </a:cubicBezTo>
                  <a:cubicBezTo>
                    <a:pt x="135" y="80"/>
                    <a:pt x="135" y="80"/>
                    <a:pt x="135" y="80"/>
                  </a:cubicBezTo>
                  <a:moveTo>
                    <a:pt x="207" y="0"/>
                  </a:moveTo>
                  <a:cubicBezTo>
                    <a:pt x="204" y="0"/>
                    <a:pt x="202" y="1"/>
                    <a:pt x="199" y="2"/>
                  </a:cubicBezTo>
                  <a:cubicBezTo>
                    <a:pt x="190" y="6"/>
                    <a:pt x="186" y="16"/>
                    <a:pt x="191" y="25"/>
                  </a:cubicBezTo>
                  <a:cubicBezTo>
                    <a:pt x="193" y="30"/>
                    <a:pt x="197" y="33"/>
                    <a:pt x="202" y="34"/>
                  </a:cubicBezTo>
                  <a:cubicBezTo>
                    <a:pt x="202" y="34"/>
                    <a:pt x="202" y="34"/>
                    <a:pt x="202" y="34"/>
                  </a:cubicBezTo>
                  <a:cubicBezTo>
                    <a:pt x="203" y="34"/>
                    <a:pt x="200" y="67"/>
                    <a:pt x="195" y="107"/>
                  </a:cubicBezTo>
                  <a:cubicBezTo>
                    <a:pt x="191" y="107"/>
                    <a:pt x="188" y="108"/>
                    <a:pt x="188" y="108"/>
                  </a:cubicBezTo>
                  <a:cubicBezTo>
                    <a:pt x="187" y="108"/>
                    <a:pt x="187" y="108"/>
                    <a:pt x="187" y="108"/>
                  </a:cubicBezTo>
                  <a:cubicBezTo>
                    <a:pt x="187" y="108"/>
                    <a:pt x="187" y="108"/>
                    <a:pt x="187" y="108"/>
                  </a:cubicBezTo>
                  <a:cubicBezTo>
                    <a:pt x="187" y="107"/>
                    <a:pt x="187" y="107"/>
                    <a:pt x="187" y="107"/>
                  </a:cubicBezTo>
                  <a:cubicBezTo>
                    <a:pt x="187" y="106"/>
                    <a:pt x="185" y="105"/>
                    <a:pt x="184" y="105"/>
                  </a:cubicBezTo>
                  <a:cubicBezTo>
                    <a:pt x="183" y="105"/>
                    <a:pt x="182" y="105"/>
                    <a:pt x="182" y="106"/>
                  </a:cubicBezTo>
                  <a:cubicBezTo>
                    <a:pt x="181" y="106"/>
                    <a:pt x="181" y="106"/>
                    <a:pt x="181" y="106"/>
                  </a:cubicBezTo>
                  <a:cubicBezTo>
                    <a:pt x="181" y="106"/>
                    <a:pt x="181" y="106"/>
                    <a:pt x="181" y="106"/>
                  </a:cubicBezTo>
                  <a:cubicBezTo>
                    <a:pt x="181" y="106"/>
                    <a:pt x="181" y="106"/>
                    <a:pt x="181" y="106"/>
                  </a:cubicBezTo>
                  <a:cubicBezTo>
                    <a:pt x="179" y="106"/>
                    <a:pt x="142" y="80"/>
                    <a:pt x="142" y="79"/>
                  </a:cubicBezTo>
                  <a:cubicBezTo>
                    <a:pt x="142" y="79"/>
                    <a:pt x="142" y="79"/>
                    <a:pt x="142" y="79"/>
                  </a:cubicBezTo>
                  <a:cubicBezTo>
                    <a:pt x="143" y="78"/>
                    <a:pt x="143" y="76"/>
                    <a:pt x="142" y="75"/>
                  </a:cubicBezTo>
                  <a:cubicBezTo>
                    <a:pt x="142" y="73"/>
                    <a:pt x="140" y="72"/>
                    <a:pt x="138" y="72"/>
                  </a:cubicBezTo>
                  <a:cubicBezTo>
                    <a:pt x="137" y="72"/>
                    <a:pt x="137" y="72"/>
                    <a:pt x="136" y="72"/>
                  </a:cubicBezTo>
                  <a:cubicBezTo>
                    <a:pt x="134" y="74"/>
                    <a:pt x="133" y="76"/>
                    <a:pt x="134" y="79"/>
                  </a:cubicBezTo>
                  <a:cubicBezTo>
                    <a:pt x="134" y="79"/>
                    <a:pt x="134" y="79"/>
                    <a:pt x="134" y="79"/>
                  </a:cubicBezTo>
                  <a:cubicBezTo>
                    <a:pt x="134" y="79"/>
                    <a:pt x="104" y="99"/>
                    <a:pt x="102" y="99"/>
                  </a:cubicBezTo>
                  <a:cubicBezTo>
                    <a:pt x="102" y="99"/>
                    <a:pt x="102" y="99"/>
                    <a:pt x="102" y="99"/>
                  </a:cubicBezTo>
                  <a:cubicBezTo>
                    <a:pt x="102" y="99"/>
                    <a:pt x="102" y="99"/>
                    <a:pt x="102" y="99"/>
                  </a:cubicBezTo>
                  <a:cubicBezTo>
                    <a:pt x="101" y="98"/>
                    <a:pt x="99" y="97"/>
                    <a:pt x="97" y="97"/>
                  </a:cubicBezTo>
                  <a:cubicBezTo>
                    <a:pt x="96" y="97"/>
                    <a:pt x="95" y="97"/>
                    <a:pt x="94" y="97"/>
                  </a:cubicBezTo>
                  <a:cubicBezTo>
                    <a:pt x="91" y="99"/>
                    <a:pt x="89" y="103"/>
                    <a:pt x="91" y="106"/>
                  </a:cubicBezTo>
                  <a:cubicBezTo>
                    <a:pt x="92" y="109"/>
                    <a:pt x="94" y="110"/>
                    <a:pt x="97" y="110"/>
                  </a:cubicBezTo>
                  <a:cubicBezTo>
                    <a:pt x="97" y="110"/>
                    <a:pt x="98" y="110"/>
                    <a:pt x="98" y="110"/>
                  </a:cubicBezTo>
                  <a:cubicBezTo>
                    <a:pt x="98" y="110"/>
                    <a:pt x="98" y="110"/>
                    <a:pt x="98" y="110"/>
                  </a:cubicBezTo>
                  <a:cubicBezTo>
                    <a:pt x="98" y="110"/>
                    <a:pt x="98" y="110"/>
                    <a:pt x="98" y="110"/>
                  </a:cubicBezTo>
                  <a:cubicBezTo>
                    <a:pt x="100" y="110"/>
                    <a:pt x="136" y="202"/>
                    <a:pt x="135" y="203"/>
                  </a:cubicBezTo>
                  <a:cubicBezTo>
                    <a:pt x="135" y="203"/>
                    <a:pt x="135" y="203"/>
                    <a:pt x="135" y="203"/>
                  </a:cubicBezTo>
                  <a:cubicBezTo>
                    <a:pt x="132" y="204"/>
                    <a:pt x="130" y="208"/>
                    <a:pt x="132" y="211"/>
                  </a:cubicBezTo>
                  <a:cubicBezTo>
                    <a:pt x="133" y="214"/>
                    <a:pt x="136" y="215"/>
                    <a:pt x="138" y="215"/>
                  </a:cubicBezTo>
                  <a:cubicBezTo>
                    <a:pt x="139" y="215"/>
                    <a:pt x="140" y="215"/>
                    <a:pt x="141" y="214"/>
                  </a:cubicBezTo>
                  <a:cubicBezTo>
                    <a:pt x="144" y="213"/>
                    <a:pt x="146" y="209"/>
                    <a:pt x="144" y="206"/>
                  </a:cubicBezTo>
                  <a:cubicBezTo>
                    <a:pt x="143" y="203"/>
                    <a:pt x="141" y="202"/>
                    <a:pt x="138" y="202"/>
                  </a:cubicBezTo>
                  <a:cubicBezTo>
                    <a:pt x="138" y="202"/>
                    <a:pt x="137" y="202"/>
                    <a:pt x="137" y="202"/>
                  </a:cubicBezTo>
                  <a:cubicBezTo>
                    <a:pt x="137" y="202"/>
                    <a:pt x="137" y="202"/>
                    <a:pt x="137" y="202"/>
                  </a:cubicBezTo>
                  <a:cubicBezTo>
                    <a:pt x="137" y="202"/>
                    <a:pt x="137" y="202"/>
                    <a:pt x="137" y="202"/>
                  </a:cubicBezTo>
                  <a:cubicBezTo>
                    <a:pt x="135" y="202"/>
                    <a:pt x="99" y="110"/>
                    <a:pt x="100" y="109"/>
                  </a:cubicBezTo>
                  <a:cubicBezTo>
                    <a:pt x="100" y="109"/>
                    <a:pt x="100" y="109"/>
                    <a:pt x="100" y="109"/>
                  </a:cubicBezTo>
                  <a:cubicBezTo>
                    <a:pt x="101" y="109"/>
                    <a:pt x="101" y="108"/>
                    <a:pt x="102" y="108"/>
                  </a:cubicBezTo>
                  <a:cubicBezTo>
                    <a:pt x="102" y="108"/>
                    <a:pt x="102" y="108"/>
                    <a:pt x="102" y="108"/>
                  </a:cubicBezTo>
                  <a:cubicBezTo>
                    <a:pt x="102" y="108"/>
                    <a:pt x="102" y="108"/>
                    <a:pt x="102" y="108"/>
                  </a:cubicBezTo>
                  <a:cubicBezTo>
                    <a:pt x="104" y="108"/>
                    <a:pt x="134" y="129"/>
                    <a:pt x="134" y="130"/>
                  </a:cubicBezTo>
                  <a:cubicBezTo>
                    <a:pt x="134" y="130"/>
                    <a:pt x="134" y="130"/>
                    <a:pt x="134" y="130"/>
                  </a:cubicBezTo>
                  <a:cubicBezTo>
                    <a:pt x="133" y="131"/>
                    <a:pt x="133" y="133"/>
                    <a:pt x="134" y="134"/>
                  </a:cubicBezTo>
                  <a:cubicBezTo>
                    <a:pt x="135" y="136"/>
                    <a:pt x="136" y="137"/>
                    <a:pt x="138" y="137"/>
                  </a:cubicBezTo>
                  <a:cubicBezTo>
                    <a:pt x="139" y="137"/>
                    <a:pt x="139" y="136"/>
                    <a:pt x="140" y="136"/>
                  </a:cubicBezTo>
                  <a:cubicBezTo>
                    <a:pt x="143" y="135"/>
                    <a:pt x="144" y="132"/>
                    <a:pt x="142" y="130"/>
                  </a:cubicBezTo>
                  <a:cubicBezTo>
                    <a:pt x="142" y="128"/>
                    <a:pt x="140" y="127"/>
                    <a:pt x="138" y="127"/>
                  </a:cubicBezTo>
                  <a:cubicBezTo>
                    <a:pt x="137" y="127"/>
                    <a:pt x="137" y="127"/>
                    <a:pt x="136" y="128"/>
                  </a:cubicBezTo>
                  <a:cubicBezTo>
                    <a:pt x="136" y="128"/>
                    <a:pt x="135" y="128"/>
                    <a:pt x="135" y="129"/>
                  </a:cubicBezTo>
                  <a:cubicBezTo>
                    <a:pt x="135" y="129"/>
                    <a:pt x="135" y="129"/>
                    <a:pt x="135" y="129"/>
                  </a:cubicBezTo>
                  <a:cubicBezTo>
                    <a:pt x="135" y="129"/>
                    <a:pt x="135" y="129"/>
                    <a:pt x="135" y="129"/>
                  </a:cubicBezTo>
                  <a:cubicBezTo>
                    <a:pt x="133" y="129"/>
                    <a:pt x="103" y="108"/>
                    <a:pt x="103" y="106"/>
                  </a:cubicBezTo>
                  <a:cubicBezTo>
                    <a:pt x="103" y="106"/>
                    <a:pt x="103" y="106"/>
                    <a:pt x="103" y="106"/>
                  </a:cubicBezTo>
                  <a:cubicBezTo>
                    <a:pt x="103" y="106"/>
                    <a:pt x="104" y="105"/>
                    <a:pt x="104" y="105"/>
                  </a:cubicBezTo>
                  <a:cubicBezTo>
                    <a:pt x="104" y="105"/>
                    <a:pt x="104" y="105"/>
                    <a:pt x="104" y="105"/>
                  </a:cubicBezTo>
                  <a:cubicBezTo>
                    <a:pt x="104" y="105"/>
                    <a:pt x="105" y="105"/>
                    <a:pt x="106" y="105"/>
                  </a:cubicBezTo>
                  <a:cubicBezTo>
                    <a:pt x="120" y="105"/>
                    <a:pt x="179" y="109"/>
                    <a:pt x="179" y="109"/>
                  </a:cubicBezTo>
                  <a:cubicBezTo>
                    <a:pt x="179" y="109"/>
                    <a:pt x="179" y="109"/>
                    <a:pt x="179" y="109"/>
                  </a:cubicBezTo>
                  <a:cubicBezTo>
                    <a:pt x="180" y="110"/>
                    <a:pt x="180" y="110"/>
                    <a:pt x="180" y="111"/>
                  </a:cubicBezTo>
                  <a:cubicBezTo>
                    <a:pt x="181" y="112"/>
                    <a:pt x="182" y="113"/>
                    <a:pt x="184" y="113"/>
                  </a:cubicBezTo>
                  <a:cubicBezTo>
                    <a:pt x="184" y="113"/>
                    <a:pt x="185" y="113"/>
                    <a:pt x="185" y="113"/>
                  </a:cubicBezTo>
                  <a:cubicBezTo>
                    <a:pt x="187" y="112"/>
                    <a:pt x="188" y="110"/>
                    <a:pt x="188" y="109"/>
                  </a:cubicBezTo>
                  <a:cubicBezTo>
                    <a:pt x="188" y="109"/>
                    <a:pt x="188" y="109"/>
                    <a:pt x="188" y="109"/>
                  </a:cubicBezTo>
                  <a:cubicBezTo>
                    <a:pt x="188" y="109"/>
                    <a:pt x="190" y="108"/>
                    <a:pt x="195" y="107"/>
                  </a:cubicBezTo>
                  <a:cubicBezTo>
                    <a:pt x="187" y="171"/>
                    <a:pt x="176" y="252"/>
                    <a:pt x="174" y="252"/>
                  </a:cubicBezTo>
                  <a:cubicBezTo>
                    <a:pt x="174" y="252"/>
                    <a:pt x="174" y="252"/>
                    <a:pt x="174" y="252"/>
                  </a:cubicBezTo>
                  <a:cubicBezTo>
                    <a:pt x="170" y="252"/>
                    <a:pt x="167" y="253"/>
                    <a:pt x="164" y="256"/>
                  </a:cubicBezTo>
                  <a:cubicBezTo>
                    <a:pt x="164" y="256"/>
                    <a:pt x="164" y="256"/>
                    <a:pt x="164" y="256"/>
                  </a:cubicBezTo>
                  <a:cubicBezTo>
                    <a:pt x="164" y="256"/>
                    <a:pt x="164" y="256"/>
                    <a:pt x="164" y="256"/>
                  </a:cubicBezTo>
                  <a:cubicBezTo>
                    <a:pt x="159" y="256"/>
                    <a:pt x="68" y="193"/>
                    <a:pt x="70" y="189"/>
                  </a:cubicBezTo>
                  <a:cubicBezTo>
                    <a:pt x="70" y="189"/>
                    <a:pt x="70" y="189"/>
                    <a:pt x="70" y="189"/>
                  </a:cubicBezTo>
                  <a:cubicBezTo>
                    <a:pt x="74" y="181"/>
                    <a:pt x="72" y="170"/>
                    <a:pt x="64" y="164"/>
                  </a:cubicBezTo>
                  <a:cubicBezTo>
                    <a:pt x="61" y="161"/>
                    <a:pt x="56" y="160"/>
                    <a:pt x="51" y="160"/>
                  </a:cubicBezTo>
                  <a:cubicBezTo>
                    <a:pt x="45" y="160"/>
                    <a:pt x="39" y="162"/>
                    <a:pt x="35" y="167"/>
                  </a:cubicBezTo>
                  <a:cubicBezTo>
                    <a:pt x="27" y="176"/>
                    <a:pt x="29" y="188"/>
                    <a:pt x="38" y="195"/>
                  </a:cubicBezTo>
                  <a:cubicBezTo>
                    <a:pt x="39" y="196"/>
                    <a:pt x="40" y="197"/>
                    <a:pt x="41" y="197"/>
                  </a:cubicBezTo>
                  <a:cubicBezTo>
                    <a:pt x="40" y="197"/>
                    <a:pt x="40" y="197"/>
                    <a:pt x="40" y="197"/>
                  </a:cubicBezTo>
                  <a:cubicBezTo>
                    <a:pt x="44" y="199"/>
                    <a:pt x="15" y="269"/>
                    <a:pt x="13" y="269"/>
                  </a:cubicBezTo>
                  <a:cubicBezTo>
                    <a:pt x="13" y="269"/>
                    <a:pt x="13" y="269"/>
                    <a:pt x="13" y="269"/>
                  </a:cubicBezTo>
                  <a:cubicBezTo>
                    <a:pt x="13" y="269"/>
                    <a:pt x="13" y="269"/>
                    <a:pt x="13" y="269"/>
                  </a:cubicBezTo>
                  <a:cubicBezTo>
                    <a:pt x="12" y="269"/>
                    <a:pt x="11" y="268"/>
                    <a:pt x="11" y="268"/>
                  </a:cubicBezTo>
                  <a:cubicBezTo>
                    <a:pt x="9" y="268"/>
                    <a:pt x="8" y="269"/>
                    <a:pt x="7" y="269"/>
                  </a:cubicBezTo>
                  <a:cubicBezTo>
                    <a:pt x="2" y="271"/>
                    <a:pt x="0" y="277"/>
                    <a:pt x="2" y="281"/>
                  </a:cubicBezTo>
                  <a:cubicBezTo>
                    <a:pt x="4" y="284"/>
                    <a:pt x="7" y="286"/>
                    <a:pt x="11" y="286"/>
                  </a:cubicBezTo>
                  <a:cubicBezTo>
                    <a:pt x="12" y="286"/>
                    <a:pt x="13" y="286"/>
                    <a:pt x="15" y="285"/>
                  </a:cubicBezTo>
                  <a:cubicBezTo>
                    <a:pt x="16" y="284"/>
                    <a:pt x="17" y="284"/>
                    <a:pt x="18" y="282"/>
                  </a:cubicBezTo>
                  <a:cubicBezTo>
                    <a:pt x="18" y="283"/>
                    <a:pt x="18" y="283"/>
                    <a:pt x="18" y="283"/>
                  </a:cubicBezTo>
                  <a:cubicBezTo>
                    <a:pt x="18" y="282"/>
                    <a:pt x="18" y="282"/>
                    <a:pt x="18" y="282"/>
                  </a:cubicBezTo>
                  <a:cubicBezTo>
                    <a:pt x="21" y="282"/>
                    <a:pt x="63" y="305"/>
                    <a:pt x="63" y="306"/>
                  </a:cubicBezTo>
                  <a:cubicBezTo>
                    <a:pt x="63" y="306"/>
                    <a:pt x="63" y="306"/>
                    <a:pt x="63" y="306"/>
                  </a:cubicBezTo>
                  <a:cubicBezTo>
                    <a:pt x="61" y="310"/>
                    <a:pt x="62" y="314"/>
                    <a:pt x="66" y="317"/>
                  </a:cubicBezTo>
                  <a:cubicBezTo>
                    <a:pt x="68" y="319"/>
                    <a:pt x="70" y="319"/>
                    <a:pt x="72" y="319"/>
                  </a:cubicBezTo>
                  <a:cubicBezTo>
                    <a:pt x="75" y="319"/>
                    <a:pt x="78" y="318"/>
                    <a:pt x="80" y="316"/>
                  </a:cubicBezTo>
                  <a:cubicBezTo>
                    <a:pt x="83" y="312"/>
                    <a:pt x="83" y="306"/>
                    <a:pt x="79" y="302"/>
                  </a:cubicBezTo>
                  <a:cubicBezTo>
                    <a:pt x="77" y="301"/>
                    <a:pt x="74" y="300"/>
                    <a:pt x="72" y="300"/>
                  </a:cubicBezTo>
                  <a:cubicBezTo>
                    <a:pt x="69" y="300"/>
                    <a:pt x="66" y="301"/>
                    <a:pt x="64" y="304"/>
                  </a:cubicBezTo>
                  <a:cubicBezTo>
                    <a:pt x="64" y="304"/>
                    <a:pt x="64" y="304"/>
                    <a:pt x="64" y="304"/>
                  </a:cubicBezTo>
                  <a:cubicBezTo>
                    <a:pt x="64" y="304"/>
                    <a:pt x="64" y="304"/>
                    <a:pt x="64" y="304"/>
                  </a:cubicBezTo>
                  <a:cubicBezTo>
                    <a:pt x="64" y="304"/>
                    <a:pt x="64" y="304"/>
                    <a:pt x="64" y="304"/>
                  </a:cubicBezTo>
                  <a:cubicBezTo>
                    <a:pt x="60" y="304"/>
                    <a:pt x="19" y="282"/>
                    <a:pt x="19" y="280"/>
                  </a:cubicBezTo>
                  <a:cubicBezTo>
                    <a:pt x="19" y="280"/>
                    <a:pt x="19" y="280"/>
                    <a:pt x="19" y="280"/>
                  </a:cubicBezTo>
                  <a:cubicBezTo>
                    <a:pt x="20" y="278"/>
                    <a:pt x="20" y="276"/>
                    <a:pt x="19" y="273"/>
                  </a:cubicBezTo>
                  <a:cubicBezTo>
                    <a:pt x="18" y="272"/>
                    <a:pt x="17" y="271"/>
                    <a:pt x="15" y="270"/>
                  </a:cubicBezTo>
                  <a:cubicBezTo>
                    <a:pt x="15" y="270"/>
                    <a:pt x="15" y="270"/>
                    <a:pt x="15" y="270"/>
                  </a:cubicBezTo>
                  <a:cubicBezTo>
                    <a:pt x="14" y="269"/>
                    <a:pt x="42" y="200"/>
                    <a:pt x="46" y="200"/>
                  </a:cubicBezTo>
                  <a:cubicBezTo>
                    <a:pt x="46" y="200"/>
                    <a:pt x="46" y="200"/>
                    <a:pt x="46" y="200"/>
                  </a:cubicBezTo>
                  <a:cubicBezTo>
                    <a:pt x="46" y="199"/>
                    <a:pt x="46" y="199"/>
                    <a:pt x="46" y="199"/>
                  </a:cubicBezTo>
                  <a:cubicBezTo>
                    <a:pt x="48" y="200"/>
                    <a:pt x="49" y="200"/>
                    <a:pt x="51" y="200"/>
                  </a:cubicBezTo>
                  <a:cubicBezTo>
                    <a:pt x="57" y="200"/>
                    <a:pt x="62" y="198"/>
                    <a:pt x="66" y="194"/>
                  </a:cubicBezTo>
                  <a:cubicBezTo>
                    <a:pt x="66" y="194"/>
                    <a:pt x="66" y="194"/>
                    <a:pt x="66" y="194"/>
                  </a:cubicBezTo>
                  <a:cubicBezTo>
                    <a:pt x="66" y="194"/>
                    <a:pt x="66" y="194"/>
                    <a:pt x="66" y="194"/>
                  </a:cubicBezTo>
                  <a:cubicBezTo>
                    <a:pt x="73" y="194"/>
                    <a:pt x="163" y="257"/>
                    <a:pt x="161" y="259"/>
                  </a:cubicBezTo>
                  <a:cubicBezTo>
                    <a:pt x="161" y="259"/>
                    <a:pt x="161" y="259"/>
                    <a:pt x="161" y="259"/>
                  </a:cubicBezTo>
                  <a:cubicBezTo>
                    <a:pt x="160" y="261"/>
                    <a:pt x="160" y="263"/>
                    <a:pt x="160" y="266"/>
                  </a:cubicBezTo>
                  <a:cubicBezTo>
                    <a:pt x="160" y="273"/>
                    <a:pt x="166" y="280"/>
                    <a:pt x="174" y="280"/>
                  </a:cubicBezTo>
                  <a:cubicBezTo>
                    <a:pt x="182" y="280"/>
                    <a:pt x="189" y="273"/>
                    <a:pt x="189" y="266"/>
                  </a:cubicBezTo>
                  <a:cubicBezTo>
                    <a:pt x="189" y="259"/>
                    <a:pt x="184" y="254"/>
                    <a:pt x="178" y="252"/>
                  </a:cubicBezTo>
                  <a:cubicBezTo>
                    <a:pt x="178" y="252"/>
                    <a:pt x="178" y="252"/>
                    <a:pt x="178" y="252"/>
                  </a:cubicBezTo>
                  <a:cubicBezTo>
                    <a:pt x="177" y="252"/>
                    <a:pt x="187" y="170"/>
                    <a:pt x="195" y="107"/>
                  </a:cubicBezTo>
                  <a:cubicBezTo>
                    <a:pt x="213" y="104"/>
                    <a:pt x="255" y="97"/>
                    <a:pt x="262" y="97"/>
                  </a:cubicBezTo>
                  <a:cubicBezTo>
                    <a:pt x="263" y="97"/>
                    <a:pt x="263" y="97"/>
                    <a:pt x="263" y="97"/>
                  </a:cubicBezTo>
                  <a:cubicBezTo>
                    <a:pt x="263" y="97"/>
                    <a:pt x="263" y="97"/>
                    <a:pt x="263" y="97"/>
                  </a:cubicBezTo>
                  <a:cubicBezTo>
                    <a:pt x="264" y="101"/>
                    <a:pt x="268" y="103"/>
                    <a:pt x="273" y="103"/>
                  </a:cubicBezTo>
                  <a:cubicBezTo>
                    <a:pt x="278" y="103"/>
                    <a:pt x="283" y="99"/>
                    <a:pt x="283" y="94"/>
                  </a:cubicBezTo>
                  <a:cubicBezTo>
                    <a:pt x="283" y="88"/>
                    <a:pt x="278" y="84"/>
                    <a:pt x="273" y="84"/>
                  </a:cubicBezTo>
                  <a:cubicBezTo>
                    <a:pt x="267" y="84"/>
                    <a:pt x="262" y="88"/>
                    <a:pt x="262" y="94"/>
                  </a:cubicBezTo>
                  <a:cubicBezTo>
                    <a:pt x="262" y="94"/>
                    <a:pt x="262" y="94"/>
                    <a:pt x="262" y="94"/>
                  </a:cubicBezTo>
                  <a:cubicBezTo>
                    <a:pt x="262" y="94"/>
                    <a:pt x="262" y="94"/>
                    <a:pt x="262" y="94"/>
                  </a:cubicBezTo>
                  <a:cubicBezTo>
                    <a:pt x="263" y="96"/>
                    <a:pt x="215" y="104"/>
                    <a:pt x="195" y="107"/>
                  </a:cubicBezTo>
                  <a:cubicBezTo>
                    <a:pt x="201" y="67"/>
                    <a:pt x="206" y="35"/>
                    <a:pt x="207" y="35"/>
                  </a:cubicBezTo>
                  <a:cubicBezTo>
                    <a:pt x="207" y="35"/>
                    <a:pt x="207" y="35"/>
                    <a:pt x="207" y="35"/>
                  </a:cubicBezTo>
                  <a:cubicBezTo>
                    <a:pt x="210" y="35"/>
                    <a:pt x="212" y="34"/>
                    <a:pt x="214" y="33"/>
                  </a:cubicBezTo>
                  <a:cubicBezTo>
                    <a:pt x="223" y="29"/>
                    <a:pt x="227" y="19"/>
                    <a:pt x="223" y="10"/>
                  </a:cubicBezTo>
                  <a:cubicBezTo>
                    <a:pt x="220" y="4"/>
                    <a:pt x="214" y="0"/>
                    <a:pt x="207"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1" name="Freeform 13"/>
            <p:cNvSpPr>
              <a:spLocks/>
            </p:cNvSpPr>
            <p:nvPr/>
          </p:nvSpPr>
          <p:spPr bwMode="auto">
            <a:xfrm>
              <a:off x="5762625" y="2805113"/>
              <a:ext cx="36513" cy="30163"/>
            </a:xfrm>
            <a:custGeom>
              <a:avLst/>
              <a:gdLst>
                <a:gd name="T0" fmla="*/ 0 w 10"/>
                <a:gd name="T1" fmla="*/ 0 h 8"/>
                <a:gd name="T2" fmla="*/ 10 w 10"/>
                <a:gd name="T3" fmla="*/ 8 h 8"/>
                <a:gd name="T4" fmla="*/ 0 w 10"/>
                <a:gd name="T5" fmla="*/ 0 h 8"/>
              </a:gdLst>
              <a:ahLst/>
              <a:cxnLst>
                <a:cxn ang="0">
                  <a:pos x="T0" y="T1"/>
                </a:cxn>
                <a:cxn ang="0">
                  <a:pos x="T2" y="T3"/>
                </a:cxn>
                <a:cxn ang="0">
                  <a:pos x="T4" y="T5"/>
                </a:cxn>
              </a:cxnLst>
              <a:rect l="0" t="0" r="r" b="b"/>
              <a:pathLst>
                <a:path w="10" h="8">
                  <a:moveTo>
                    <a:pt x="0" y="0"/>
                  </a:moveTo>
                  <a:cubicBezTo>
                    <a:pt x="3" y="3"/>
                    <a:pt x="6" y="6"/>
                    <a:pt x="10" y="8"/>
                  </a:cubicBezTo>
                  <a:cubicBezTo>
                    <a:pt x="6" y="6"/>
                    <a:pt x="3" y="3"/>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 name="Freeform 14"/>
            <p:cNvSpPr>
              <a:spLocks noEditPoints="1"/>
            </p:cNvSpPr>
            <p:nvPr/>
          </p:nvSpPr>
          <p:spPr bwMode="auto">
            <a:xfrm>
              <a:off x="5799138" y="2613025"/>
              <a:ext cx="241300" cy="293688"/>
            </a:xfrm>
            <a:custGeom>
              <a:avLst/>
              <a:gdLst>
                <a:gd name="T0" fmla="*/ 28 w 64"/>
                <a:gd name="T1" fmla="*/ 13 h 78"/>
                <a:gd name="T2" fmla="*/ 31 w 64"/>
                <a:gd name="T3" fmla="*/ 12 h 78"/>
                <a:gd name="T4" fmla="*/ 31 w 64"/>
                <a:gd name="T5" fmla="*/ 12 h 78"/>
                <a:gd name="T6" fmla="*/ 31 w 64"/>
                <a:gd name="T7" fmla="*/ 12 h 78"/>
                <a:gd name="T8" fmla="*/ 48 w 64"/>
                <a:gd name="T9" fmla="*/ 38 h 78"/>
                <a:gd name="T10" fmla="*/ 48 w 64"/>
                <a:gd name="T11" fmla="*/ 38 h 78"/>
                <a:gd name="T12" fmla="*/ 46 w 64"/>
                <a:gd name="T13" fmla="*/ 49 h 78"/>
                <a:gd name="T14" fmla="*/ 46 w 64"/>
                <a:gd name="T15" fmla="*/ 49 h 78"/>
                <a:gd name="T16" fmla="*/ 46 w 64"/>
                <a:gd name="T17" fmla="*/ 49 h 78"/>
                <a:gd name="T18" fmla="*/ 20 w 64"/>
                <a:gd name="T19" fmla="*/ 70 h 78"/>
                <a:gd name="T20" fmla="*/ 20 w 64"/>
                <a:gd name="T21" fmla="*/ 70 h 78"/>
                <a:gd name="T22" fmla="*/ 20 w 64"/>
                <a:gd name="T23" fmla="*/ 70 h 78"/>
                <a:gd name="T24" fmla="*/ 18 w 64"/>
                <a:gd name="T25" fmla="*/ 69 h 78"/>
                <a:gd name="T26" fmla="*/ 18 w 64"/>
                <a:gd name="T27" fmla="*/ 69 h 78"/>
                <a:gd name="T28" fmla="*/ 28 w 64"/>
                <a:gd name="T29" fmla="*/ 13 h 78"/>
                <a:gd name="T30" fmla="*/ 28 w 64"/>
                <a:gd name="T31" fmla="*/ 13 h 78"/>
                <a:gd name="T32" fmla="*/ 28 w 64"/>
                <a:gd name="T33" fmla="*/ 13 h 78"/>
                <a:gd name="T34" fmla="*/ 28 w 64"/>
                <a:gd name="T35" fmla="*/ 0 h 78"/>
                <a:gd name="T36" fmla="*/ 25 w 64"/>
                <a:gd name="T37" fmla="*/ 0 h 78"/>
                <a:gd name="T38" fmla="*/ 22 w 64"/>
                <a:gd name="T39" fmla="*/ 9 h 78"/>
                <a:gd name="T40" fmla="*/ 26 w 64"/>
                <a:gd name="T41" fmla="*/ 13 h 78"/>
                <a:gd name="T42" fmla="*/ 26 w 64"/>
                <a:gd name="T43" fmla="*/ 13 h 78"/>
                <a:gd name="T44" fmla="*/ 17 w 64"/>
                <a:gd name="T45" fmla="*/ 69 h 78"/>
                <a:gd name="T46" fmla="*/ 17 w 64"/>
                <a:gd name="T47" fmla="*/ 69 h 78"/>
                <a:gd name="T48" fmla="*/ 17 w 64"/>
                <a:gd name="T49" fmla="*/ 69 h 78"/>
                <a:gd name="T50" fmla="*/ 15 w 64"/>
                <a:gd name="T51" fmla="*/ 69 h 78"/>
                <a:gd name="T52" fmla="*/ 13 w 64"/>
                <a:gd name="T53" fmla="*/ 70 h 78"/>
                <a:gd name="T54" fmla="*/ 14 w 64"/>
                <a:gd name="T55" fmla="*/ 70 h 78"/>
                <a:gd name="T56" fmla="*/ 14 w 64"/>
                <a:gd name="T57" fmla="*/ 70 h 78"/>
                <a:gd name="T58" fmla="*/ 0 w 64"/>
                <a:gd name="T59" fmla="*/ 59 h 78"/>
                <a:gd name="T60" fmla="*/ 12 w 64"/>
                <a:gd name="T61" fmla="*/ 71 h 78"/>
                <a:gd name="T62" fmla="*/ 12 w 64"/>
                <a:gd name="T63" fmla="*/ 71 h 78"/>
                <a:gd name="T64" fmla="*/ 12 w 64"/>
                <a:gd name="T65" fmla="*/ 75 h 78"/>
                <a:gd name="T66" fmla="*/ 17 w 64"/>
                <a:gd name="T67" fmla="*/ 78 h 78"/>
                <a:gd name="T68" fmla="*/ 19 w 64"/>
                <a:gd name="T69" fmla="*/ 78 h 78"/>
                <a:gd name="T70" fmla="*/ 21 w 64"/>
                <a:gd name="T71" fmla="*/ 72 h 78"/>
                <a:gd name="T72" fmla="*/ 21 w 64"/>
                <a:gd name="T73" fmla="*/ 71 h 78"/>
                <a:gd name="T74" fmla="*/ 21 w 64"/>
                <a:gd name="T75" fmla="*/ 71 h 78"/>
                <a:gd name="T76" fmla="*/ 48 w 64"/>
                <a:gd name="T77" fmla="*/ 51 h 78"/>
                <a:gd name="T78" fmla="*/ 48 w 64"/>
                <a:gd name="T79" fmla="*/ 51 h 78"/>
                <a:gd name="T80" fmla="*/ 48 w 64"/>
                <a:gd name="T81" fmla="*/ 51 h 78"/>
                <a:gd name="T82" fmla="*/ 54 w 64"/>
                <a:gd name="T83" fmla="*/ 54 h 78"/>
                <a:gd name="T84" fmla="*/ 58 w 64"/>
                <a:gd name="T85" fmla="*/ 53 h 78"/>
                <a:gd name="T86" fmla="*/ 62 w 64"/>
                <a:gd name="T87" fmla="*/ 41 h 78"/>
                <a:gd name="T88" fmla="*/ 54 w 64"/>
                <a:gd name="T89" fmla="*/ 36 h 78"/>
                <a:gd name="T90" fmla="*/ 50 w 64"/>
                <a:gd name="T91" fmla="*/ 37 h 78"/>
                <a:gd name="T92" fmla="*/ 50 w 64"/>
                <a:gd name="T93" fmla="*/ 37 h 78"/>
                <a:gd name="T94" fmla="*/ 50 w 64"/>
                <a:gd name="T95" fmla="*/ 37 h 78"/>
                <a:gd name="T96" fmla="*/ 33 w 64"/>
                <a:gd name="T97" fmla="*/ 11 h 78"/>
                <a:gd name="T98" fmla="*/ 33 w 64"/>
                <a:gd name="T99" fmla="*/ 11 h 78"/>
                <a:gd name="T100" fmla="*/ 34 w 64"/>
                <a:gd name="T101" fmla="*/ 4 h 78"/>
                <a:gd name="T102" fmla="*/ 28 w 64"/>
                <a:gd name="T10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78">
                  <a:moveTo>
                    <a:pt x="28" y="13"/>
                  </a:moveTo>
                  <a:cubicBezTo>
                    <a:pt x="29" y="13"/>
                    <a:pt x="30" y="13"/>
                    <a:pt x="31" y="12"/>
                  </a:cubicBezTo>
                  <a:cubicBezTo>
                    <a:pt x="31" y="12"/>
                    <a:pt x="31" y="12"/>
                    <a:pt x="31" y="12"/>
                  </a:cubicBezTo>
                  <a:cubicBezTo>
                    <a:pt x="31" y="12"/>
                    <a:pt x="31" y="12"/>
                    <a:pt x="31" y="12"/>
                  </a:cubicBezTo>
                  <a:cubicBezTo>
                    <a:pt x="32" y="12"/>
                    <a:pt x="49" y="37"/>
                    <a:pt x="48" y="38"/>
                  </a:cubicBezTo>
                  <a:cubicBezTo>
                    <a:pt x="48" y="38"/>
                    <a:pt x="48" y="38"/>
                    <a:pt x="48" y="38"/>
                  </a:cubicBezTo>
                  <a:cubicBezTo>
                    <a:pt x="45" y="41"/>
                    <a:pt x="44" y="45"/>
                    <a:pt x="46" y="49"/>
                  </a:cubicBezTo>
                  <a:cubicBezTo>
                    <a:pt x="46" y="49"/>
                    <a:pt x="46" y="49"/>
                    <a:pt x="46" y="49"/>
                  </a:cubicBezTo>
                  <a:cubicBezTo>
                    <a:pt x="46" y="49"/>
                    <a:pt x="46" y="49"/>
                    <a:pt x="46" y="49"/>
                  </a:cubicBezTo>
                  <a:cubicBezTo>
                    <a:pt x="47" y="51"/>
                    <a:pt x="21" y="70"/>
                    <a:pt x="20" y="70"/>
                  </a:cubicBezTo>
                  <a:cubicBezTo>
                    <a:pt x="20" y="70"/>
                    <a:pt x="20" y="70"/>
                    <a:pt x="20" y="70"/>
                  </a:cubicBezTo>
                  <a:cubicBezTo>
                    <a:pt x="20" y="70"/>
                    <a:pt x="20" y="70"/>
                    <a:pt x="20" y="70"/>
                  </a:cubicBezTo>
                  <a:cubicBezTo>
                    <a:pt x="19" y="70"/>
                    <a:pt x="19" y="69"/>
                    <a:pt x="18" y="69"/>
                  </a:cubicBezTo>
                  <a:cubicBezTo>
                    <a:pt x="18" y="69"/>
                    <a:pt x="18" y="69"/>
                    <a:pt x="18" y="69"/>
                  </a:cubicBezTo>
                  <a:cubicBezTo>
                    <a:pt x="17" y="69"/>
                    <a:pt x="26" y="13"/>
                    <a:pt x="28" y="13"/>
                  </a:cubicBezTo>
                  <a:cubicBezTo>
                    <a:pt x="28" y="13"/>
                    <a:pt x="28" y="13"/>
                    <a:pt x="28" y="13"/>
                  </a:cubicBezTo>
                  <a:cubicBezTo>
                    <a:pt x="28" y="13"/>
                    <a:pt x="28" y="13"/>
                    <a:pt x="28" y="13"/>
                  </a:cubicBezTo>
                  <a:moveTo>
                    <a:pt x="28" y="0"/>
                  </a:moveTo>
                  <a:cubicBezTo>
                    <a:pt x="27" y="0"/>
                    <a:pt x="26" y="0"/>
                    <a:pt x="25" y="0"/>
                  </a:cubicBezTo>
                  <a:cubicBezTo>
                    <a:pt x="21" y="2"/>
                    <a:pt x="20" y="6"/>
                    <a:pt x="22" y="9"/>
                  </a:cubicBezTo>
                  <a:cubicBezTo>
                    <a:pt x="22" y="11"/>
                    <a:pt x="24" y="12"/>
                    <a:pt x="26" y="13"/>
                  </a:cubicBezTo>
                  <a:cubicBezTo>
                    <a:pt x="26" y="13"/>
                    <a:pt x="26" y="13"/>
                    <a:pt x="26" y="13"/>
                  </a:cubicBezTo>
                  <a:cubicBezTo>
                    <a:pt x="27" y="13"/>
                    <a:pt x="18" y="69"/>
                    <a:pt x="17" y="69"/>
                  </a:cubicBezTo>
                  <a:cubicBezTo>
                    <a:pt x="17" y="69"/>
                    <a:pt x="17" y="69"/>
                    <a:pt x="17" y="69"/>
                  </a:cubicBezTo>
                  <a:cubicBezTo>
                    <a:pt x="17" y="69"/>
                    <a:pt x="17" y="69"/>
                    <a:pt x="17" y="69"/>
                  </a:cubicBezTo>
                  <a:cubicBezTo>
                    <a:pt x="16" y="69"/>
                    <a:pt x="15" y="69"/>
                    <a:pt x="15" y="69"/>
                  </a:cubicBezTo>
                  <a:cubicBezTo>
                    <a:pt x="14" y="70"/>
                    <a:pt x="14" y="70"/>
                    <a:pt x="13" y="70"/>
                  </a:cubicBezTo>
                  <a:cubicBezTo>
                    <a:pt x="14" y="70"/>
                    <a:pt x="14" y="70"/>
                    <a:pt x="14" y="70"/>
                  </a:cubicBezTo>
                  <a:cubicBezTo>
                    <a:pt x="14" y="70"/>
                    <a:pt x="14" y="70"/>
                    <a:pt x="14" y="70"/>
                  </a:cubicBezTo>
                  <a:cubicBezTo>
                    <a:pt x="13" y="70"/>
                    <a:pt x="7" y="65"/>
                    <a:pt x="0" y="59"/>
                  </a:cubicBezTo>
                  <a:cubicBezTo>
                    <a:pt x="7" y="66"/>
                    <a:pt x="13" y="71"/>
                    <a:pt x="12" y="71"/>
                  </a:cubicBezTo>
                  <a:cubicBezTo>
                    <a:pt x="12" y="71"/>
                    <a:pt x="12" y="71"/>
                    <a:pt x="12" y="71"/>
                  </a:cubicBezTo>
                  <a:cubicBezTo>
                    <a:pt x="12" y="72"/>
                    <a:pt x="12" y="74"/>
                    <a:pt x="12" y="75"/>
                  </a:cubicBezTo>
                  <a:cubicBezTo>
                    <a:pt x="13" y="77"/>
                    <a:pt x="15" y="78"/>
                    <a:pt x="17" y="78"/>
                  </a:cubicBezTo>
                  <a:cubicBezTo>
                    <a:pt x="17" y="78"/>
                    <a:pt x="18" y="78"/>
                    <a:pt x="19" y="78"/>
                  </a:cubicBezTo>
                  <a:cubicBezTo>
                    <a:pt x="21" y="77"/>
                    <a:pt x="22" y="74"/>
                    <a:pt x="21" y="72"/>
                  </a:cubicBezTo>
                  <a:cubicBezTo>
                    <a:pt x="21" y="71"/>
                    <a:pt x="21" y="71"/>
                    <a:pt x="21" y="71"/>
                  </a:cubicBezTo>
                  <a:cubicBezTo>
                    <a:pt x="21" y="71"/>
                    <a:pt x="21" y="71"/>
                    <a:pt x="21" y="71"/>
                  </a:cubicBezTo>
                  <a:cubicBezTo>
                    <a:pt x="20" y="70"/>
                    <a:pt x="45" y="51"/>
                    <a:pt x="48" y="51"/>
                  </a:cubicBezTo>
                  <a:cubicBezTo>
                    <a:pt x="48" y="51"/>
                    <a:pt x="48" y="51"/>
                    <a:pt x="48" y="51"/>
                  </a:cubicBezTo>
                  <a:cubicBezTo>
                    <a:pt x="48" y="51"/>
                    <a:pt x="48" y="51"/>
                    <a:pt x="48" y="51"/>
                  </a:cubicBezTo>
                  <a:cubicBezTo>
                    <a:pt x="49" y="53"/>
                    <a:pt x="52" y="54"/>
                    <a:pt x="54" y="54"/>
                  </a:cubicBezTo>
                  <a:cubicBezTo>
                    <a:pt x="55" y="54"/>
                    <a:pt x="57" y="53"/>
                    <a:pt x="58" y="53"/>
                  </a:cubicBezTo>
                  <a:cubicBezTo>
                    <a:pt x="63" y="51"/>
                    <a:pt x="64" y="46"/>
                    <a:pt x="62" y="41"/>
                  </a:cubicBezTo>
                  <a:cubicBezTo>
                    <a:pt x="61" y="38"/>
                    <a:pt x="57" y="36"/>
                    <a:pt x="54" y="36"/>
                  </a:cubicBezTo>
                  <a:cubicBezTo>
                    <a:pt x="53" y="36"/>
                    <a:pt x="51" y="36"/>
                    <a:pt x="50" y="37"/>
                  </a:cubicBezTo>
                  <a:cubicBezTo>
                    <a:pt x="50" y="37"/>
                    <a:pt x="50" y="37"/>
                    <a:pt x="50" y="37"/>
                  </a:cubicBezTo>
                  <a:cubicBezTo>
                    <a:pt x="50" y="37"/>
                    <a:pt x="50" y="37"/>
                    <a:pt x="50" y="37"/>
                  </a:cubicBezTo>
                  <a:cubicBezTo>
                    <a:pt x="48" y="37"/>
                    <a:pt x="32" y="12"/>
                    <a:pt x="33" y="11"/>
                  </a:cubicBezTo>
                  <a:cubicBezTo>
                    <a:pt x="33" y="11"/>
                    <a:pt x="33" y="11"/>
                    <a:pt x="33" y="11"/>
                  </a:cubicBezTo>
                  <a:cubicBezTo>
                    <a:pt x="35" y="9"/>
                    <a:pt x="35" y="6"/>
                    <a:pt x="34" y="4"/>
                  </a:cubicBezTo>
                  <a:cubicBezTo>
                    <a:pt x="33" y="1"/>
                    <a:pt x="30" y="0"/>
                    <a:pt x="28"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 name="Freeform 15"/>
            <p:cNvSpPr>
              <a:spLocks/>
            </p:cNvSpPr>
            <p:nvPr/>
          </p:nvSpPr>
          <p:spPr bwMode="auto">
            <a:xfrm>
              <a:off x="6832600" y="3729038"/>
              <a:ext cx="30163" cy="63500"/>
            </a:xfrm>
            <a:custGeom>
              <a:avLst/>
              <a:gdLst>
                <a:gd name="T0" fmla="*/ 0 w 8"/>
                <a:gd name="T1" fmla="*/ 0 h 17"/>
                <a:gd name="T2" fmla="*/ 8 w 8"/>
                <a:gd name="T3" fmla="*/ 17 h 17"/>
                <a:gd name="T4" fmla="*/ 0 w 8"/>
                <a:gd name="T5" fmla="*/ 0 h 17"/>
              </a:gdLst>
              <a:ahLst/>
              <a:cxnLst>
                <a:cxn ang="0">
                  <a:pos x="T0" y="T1"/>
                </a:cxn>
                <a:cxn ang="0">
                  <a:pos x="T2" y="T3"/>
                </a:cxn>
                <a:cxn ang="0">
                  <a:pos x="T4" y="T5"/>
                </a:cxn>
              </a:cxnLst>
              <a:rect l="0" t="0" r="r" b="b"/>
              <a:pathLst>
                <a:path w="8" h="17">
                  <a:moveTo>
                    <a:pt x="0" y="0"/>
                  </a:moveTo>
                  <a:cubicBezTo>
                    <a:pt x="3" y="5"/>
                    <a:pt x="6" y="11"/>
                    <a:pt x="8" y="17"/>
                  </a:cubicBezTo>
                  <a:cubicBezTo>
                    <a:pt x="6" y="11"/>
                    <a:pt x="3" y="5"/>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 name="Freeform 16"/>
            <p:cNvSpPr>
              <a:spLocks/>
            </p:cNvSpPr>
            <p:nvPr/>
          </p:nvSpPr>
          <p:spPr bwMode="auto">
            <a:xfrm>
              <a:off x="6656388" y="3328988"/>
              <a:ext cx="17463" cy="3175"/>
            </a:xfrm>
            <a:custGeom>
              <a:avLst/>
              <a:gdLst>
                <a:gd name="T0" fmla="*/ 0 w 5"/>
                <a:gd name="T1" fmla="*/ 0 h 1"/>
                <a:gd name="T2" fmla="*/ 5 w 5"/>
                <a:gd name="T3" fmla="*/ 1 h 1"/>
                <a:gd name="T4" fmla="*/ 0 w 5"/>
                <a:gd name="T5" fmla="*/ 0 h 1"/>
              </a:gdLst>
              <a:ahLst/>
              <a:cxnLst>
                <a:cxn ang="0">
                  <a:pos x="T0" y="T1"/>
                </a:cxn>
                <a:cxn ang="0">
                  <a:pos x="T2" y="T3"/>
                </a:cxn>
                <a:cxn ang="0">
                  <a:pos x="T4" y="T5"/>
                </a:cxn>
              </a:cxnLst>
              <a:rect l="0" t="0" r="r" b="b"/>
              <a:pathLst>
                <a:path w="5" h="1">
                  <a:moveTo>
                    <a:pt x="0" y="0"/>
                  </a:moveTo>
                  <a:cubicBezTo>
                    <a:pt x="2" y="0"/>
                    <a:pt x="4" y="1"/>
                    <a:pt x="5" y="1"/>
                  </a:cubicBezTo>
                  <a:cubicBezTo>
                    <a:pt x="4" y="0"/>
                    <a:pt x="2" y="0"/>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 name="Freeform 17"/>
            <p:cNvSpPr>
              <a:spLocks/>
            </p:cNvSpPr>
            <p:nvPr/>
          </p:nvSpPr>
          <p:spPr bwMode="auto">
            <a:xfrm>
              <a:off x="6040438" y="3951288"/>
              <a:ext cx="44450" cy="19050"/>
            </a:xfrm>
            <a:custGeom>
              <a:avLst/>
              <a:gdLst>
                <a:gd name="T0" fmla="*/ 0 w 12"/>
                <a:gd name="T1" fmla="*/ 0 h 5"/>
                <a:gd name="T2" fmla="*/ 12 w 12"/>
                <a:gd name="T3" fmla="*/ 5 h 5"/>
                <a:gd name="T4" fmla="*/ 0 w 12"/>
                <a:gd name="T5" fmla="*/ 0 h 5"/>
              </a:gdLst>
              <a:ahLst/>
              <a:cxnLst>
                <a:cxn ang="0">
                  <a:pos x="T0" y="T1"/>
                </a:cxn>
                <a:cxn ang="0">
                  <a:pos x="T2" y="T3"/>
                </a:cxn>
                <a:cxn ang="0">
                  <a:pos x="T4" y="T5"/>
                </a:cxn>
              </a:cxnLst>
              <a:rect l="0" t="0" r="r" b="b"/>
              <a:pathLst>
                <a:path w="12" h="5">
                  <a:moveTo>
                    <a:pt x="0" y="0"/>
                  </a:moveTo>
                  <a:cubicBezTo>
                    <a:pt x="4" y="1"/>
                    <a:pt x="8" y="3"/>
                    <a:pt x="12" y="5"/>
                  </a:cubicBezTo>
                  <a:cubicBezTo>
                    <a:pt x="8" y="3"/>
                    <a:pt x="4"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 name="Freeform 18"/>
            <p:cNvSpPr>
              <a:spLocks/>
            </p:cNvSpPr>
            <p:nvPr/>
          </p:nvSpPr>
          <p:spPr bwMode="auto">
            <a:xfrm>
              <a:off x="7485063" y="3729038"/>
              <a:ext cx="11113" cy="77788"/>
            </a:xfrm>
            <a:custGeom>
              <a:avLst/>
              <a:gdLst>
                <a:gd name="T0" fmla="*/ 3 w 3"/>
                <a:gd name="T1" fmla="*/ 0 h 21"/>
                <a:gd name="T2" fmla="*/ 0 w 3"/>
                <a:gd name="T3" fmla="*/ 21 h 21"/>
                <a:gd name="T4" fmla="*/ 3 w 3"/>
                <a:gd name="T5" fmla="*/ 0 h 21"/>
              </a:gdLst>
              <a:ahLst/>
              <a:cxnLst>
                <a:cxn ang="0">
                  <a:pos x="T0" y="T1"/>
                </a:cxn>
                <a:cxn ang="0">
                  <a:pos x="T2" y="T3"/>
                </a:cxn>
                <a:cxn ang="0">
                  <a:pos x="T4" y="T5"/>
                </a:cxn>
              </a:cxnLst>
              <a:rect l="0" t="0" r="r" b="b"/>
              <a:pathLst>
                <a:path w="3" h="21">
                  <a:moveTo>
                    <a:pt x="3" y="0"/>
                  </a:moveTo>
                  <a:cubicBezTo>
                    <a:pt x="2" y="7"/>
                    <a:pt x="1" y="15"/>
                    <a:pt x="0" y="21"/>
                  </a:cubicBezTo>
                  <a:cubicBezTo>
                    <a:pt x="1" y="15"/>
                    <a:pt x="2" y="7"/>
                    <a:pt x="3"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 name="Freeform 19"/>
            <p:cNvSpPr>
              <a:spLocks noEditPoints="1"/>
            </p:cNvSpPr>
            <p:nvPr/>
          </p:nvSpPr>
          <p:spPr bwMode="auto">
            <a:xfrm>
              <a:off x="2719388" y="2635250"/>
              <a:ext cx="4916488" cy="1974850"/>
            </a:xfrm>
            <a:custGeom>
              <a:avLst/>
              <a:gdLst>
                <a:gd name="T0" fmla="*/ 893 w 1309"/>
                <a:gd name="T1" fmla="*/ 437 h 524"/>
                <a:gd name="T2" fmla="*/ 374 w 1309"/>
                <a:gd name="T3" fmla="*/ 407 h 524"/>
                <a:gd name="T4" fmla="*/ 109 w 1309"/>
                <a:gd name="T5" fmla="*/ 335 h 524"/>
                <a:gd name="T6" fmla="*/ 711 w 1309"/>
                <a:gd name="T7" fmla="*/ 231 h 524"/>
                <a:gd name="T8" fmla="*/ 511 w 1309"/>
                <a:gd name="T9" fmla="*/ 291 h 524"/>
                <a:gd name="T10" fmla="*/ 1098 w 1309"/>
                <a:gd name="T11" fmla="*/ 219 h 524"/>
                <a:gd name="T12" fmla="*/ 125 w 1309"/>
                <a:gd name="T13" fmla="*/ 212 h 524"/>
                <a:gd name="T14" fmla="*/ 774 w 1309"/>
                <a:gd name="T15" fmla="*/ 164 h 524"/>
                <a:gd name="T16" fmla="*/ 772 w 1309"/>
                <a:gd name="T17" fmla="*/ 166 h 524"/>
                <a:gd name="T18" fmla="*/ 994 w 1309"/>
                <a:gd name="T19" fmla="*/ 178 h 524"/>
                <a:gd name="T20" fmla="*/ 776 w 1309"/>
                <a:gd name="T21" fmla="*/ 159 h 524"/>
                <a:gd name="T22" fmla="*/ 776 w 1309"/>
                <a:gd name="T23" fmla="*/ 159 h 524"/>
                <a:gd name="T24" fmla="*/ 40 w 1309"/>
                <a:gd name="T25" fmla="*/ 153 h 524"/>
                <a:gd name="T26" fmla="*/ 41 w 1309"/>
                <a:gd name="T27" fmla="*/ 138 h 524"/>
                <a:gd name="T28" fmla="*/ 625 w 1309"/>
                <a:gd name="T29" fmla="*/ 165 h 524"/>
                <a:gd name="T30" fmla="*/ 523 w 1309"/>
                <a:gd name="T31" fmla="*/ 211 h 524"/>
                <a:gd name="T32" fmla="*/ 784 w 1309"/>
                <a:gd name="T33" fmla="*/ 34 h 524"/>
                <a:gd name="T34" fmla="*/ 738 w 1309"/>
                <a:gd name="T35" fmla="*/ 161 h 524"/>
                <a:gd name="T36" fmla="*/ 645 w 1309"/>
                <a:gd name="T37" fmla="*/ 268 h 524"/>
                <a:gd name="T38" fmla="*/ 686 w 1309"/>
                <a:gd name="T39" fmla="*/ 160 h 524"/>
                <a:gd name="T40" fmla="*/ 656 w 1309"/>
                <a:gd name="T41" fmla="*/ 136 h 524"/>
                <a:gd name="T42" fmla="*/ 505 w 1309"/>
                <a:gd name="T43" fmla="*/ 214 h 524"/>
                <a:gd name="T44" fmla="*/ 320 w 1309"/>
                <a:gd name="T45" fmla="*/ 318 h 524"/>
                <a:gd name="T46" fmla="*/ 85 w 1309"/>
                <a:gd name="T47" fmla="*/ 202 h 524"/>
                <a:gd name="T48" fmla="*/ 106 w 1309"/>
                <a:gd name="T49" fmla="*/ 162 h 524"/>
                <a:gd name="T50" fmla="*/ 48 w 1309"/>
                <a:gd name="T51" fmla="*/ 132 h 524"/>
                <a:gd name="T52" fmla="*/ 15 w 1309"/>
                <a:gd name="T53" fmla="*/ 168 h 524"/>
                <a:gd name="T54" fmla="*/ 55 w 1309"/>
                <a:gd name="T55" fmla="*/ 246 h 524"/>
                <a:gd name="T56" fmla="*/ 66 w 1309"/>
                <a:gd name="T57" fmla="*/ 318 h 524"/>
                <a:gd name="T58" fmla="*/ 113 w 1309"/>
                <a:gd name="T59" fmla="*/ 332 h 524"/>
                <a:gd name="T60" fmla="*/ 165 w 1309"/>
                <a:gd name="T61" fmla="*/ 300 h 524"/>
                <a:gd name="T62" fmla="*/ 375 w 1309"/>
                <a:gd name="T63" fmla="*/ 342 h 524"/>
                <a:gd name="T64" fmla="*/ 401 w 1309"/>
                <a:gd name="T65" fmla="*/ 388 h 524"/>
                <a:gd name="T66" fmla="*/ 379 w 1309"/>
                <a:gd name="T67" fmla="*/ 337 h 524"/>
                <a:gd name="T68" fmla="*/ 519 w 1309"/>
                <a:gd name="T69" fmla="*/ 309 h 524"/>
                <a:gd name="T70" fmla="*/ 641 w 1309"/>
                <a:gd name="T71" fmla="*/ 298 h 524"/>
                <a:gd name="T72" fmla="*/ 552 w 1309"/>
                <a:gd name="T73" fmla="*/ 435 h 524"/>
                <a:gd name="T74" fmla="*/ 681 w 1309"/>
                <a:gd name="T75" fmla="*/ 478 h 524"/>
                <a:gd name="T76" fmla="*/ 675 w 1309"/>
                <a:gd name="T77" fmla="*/ 489 h 524"/>
                <a:gd name="T78" fmla="*/ 758 w 1309"/>
                <a:gd name="T79" fmla="*/ 416 h 524"/>
                <a:gd name="T80" fmla="*/ 741 w 1309"/>
                <a:gd name="T81" fmla="*/ 317 h 524"/>
                <a:gd name="T82" fmla="*/ 889 w 1309"/>
                <a:gd name="T83" fmla="*/ 439 h 524"/>
                <a:gd name="T84" fmla="*/ 926 w 1309"/>
                <a:gd name="T85" fmla="*/ 363 h 524"/>
                <a:gd name="T86" fmla="*/ 871 w 1309"/>
                <a:gd name="T87" fmla="*/ 413 h 524"/>
                <a:gd name="T88" fmla="*/ 712 w 1309"/>
                <a:gd name="T89" fmla="*/ 233 h 524"/>
                <a:gd name="T90" fmla="*/ 764 w 1309"/>
                <a:gd name="T91" fmla="*/ 165 h 524"/>
                <a:gd name="T92" fmla="*/ 845 w 1309"/>
                <a:gd name="T93" fmla="*/ 209 h 524"/>
                <a:gd name="T94" fmla="*/ 912 w 1309"/>
                <a:gd name="T95" fmla="*/ 234 h 524"/>
                <a:gd name="T96" fmla="*/ 884 w 1309"/>
                <a:gd name="T97" fmla="*/ 349 h 524"/>
                <a:gd name="T98" fmla="*/ 1000 w 1309"/>
                <a:gd name="T99" fmla="*/ 192 h 524"/>
                <a:gd name="T100" fmla="*/ 1083 w 1309"/>
                <a:gd name="T101" fmla="*/ 271 h 524"/>
                <a:gd name="T102" fmla="*/ 1023 w 1309"/>
                <a:gd name="T103" fmla="*/ 286 h 524"/>
                <a:gd name="T104" fmla="*/ 1067 w 1309"/>
                <a:gd name="T105" fmla="*/ 180 h 524"/>
                <a:gd name="T106" fmla="*/ 1069 w 1309"/>
                <a:gd name="T107" fmla="*/ 194 h 524"/>
                <a:gd name="T108" fmla="*/ 1138 w 1309"/>
                <a:gd name="T109" fmla="*/ 197 h 524"/>
                <a:gd name="T110" fmla="*/ 1141 w 1309"/>
                <a:gd name="T111" fmla="*/ 192 h 524"/>
                <a:gd name="T112" fmla="*/ 1130 w 1309"/>
                <a:gd name="T113" fmla="*/ 80 h 524"/>
                <a:gd name="T114" fmla="*/ 1257 w 1309"/>
                <a:gd name="T115" fmla="*/ 243 h 524"/>
                <a:gd name="T116" fmla="*/ 1273 w 1309"/>
                <a:gd name="T117" fmla="*/ 254 h 524"/>
                <a:gd name="T118" fmla="*/ 1148 w 1309"/>
                <a:gd name="T119" fmla="*/ 135 h 524"/>
                <a:gd name="T120" fmla="*/ 1023 w 1309"/>
                <a:gd name="T121" fmla="*/ 153 h 524"/>
                <a:gd name="T122" fmla="*/ 1011 w 1309"/>
                <a:gd name="T123" fmla="*/ 101 h 524"/>
                <a:gd name="T124" fmla="*/ 848 w 1309"/>
                <a:gd name="T125" fmla="*/ 12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9" h="524">
                  <a:moveTo>
                    <a:pt x="897" y="418"/>
                  </a:moveTo>
                  <a:cubicBezTo>
                    <a:pt x="895" y="415"/>
                    <a:pt x="923" y="393"/>
                    <a:pt x="929" y="393"/>
                  </a:cubicBezTo>
                  <a:cubicBezTo>
                    <a:pt x="930" y="393"/>
                    <a:pt x="930" y="394"/>
                    <a:pt x="930" y="394"/>
                  </a:cubicBezTo>
                  <a:cubicBezTo>
                    <a:pt x="930" y="394"/>
                    <a:pt x="930" y="394"/>
                    <a:pt x="930" y="394"/>
                  </a:cubicBezTo>
                  <a:cubicBezTo>
                    <a:pt x="932" y="395"/>
                    <a:pt x="934" y="397"/>
                    <a:pt x="936" y="398"/>
                  </a:cubicBezTo>
                  <a:cubicBezTo>
                    <a:pt x="938" y="399"/>
                    <a:pt x="941" y="400"/>
                    <a:pt x="943" y="400"/>
                  </a:cubicBezTo>
                  <a:cubicBezTo>
                    <a:pt x="943" y="400"/>
                    <a:pt x="943" y="400"/>
                    <a:pt x="943" y="400"/>
                  </a:cubicBezTo>
                  <a:cubicBezTo>
                    <a:pt x="948" y="401"/>
                    <a:pt x="942" y="495"/>
                    <a:pt x="939" y="496"/>
                  </a:cubicBezTo>
                  <a:cubicBezTo>
                    <a:pt x="939" y="496"/>
                    <a:pt x="939" y="496"/>
                    <a:pt x="939" y="496"/>
                  </a:cubicBezTo>
                  <a:cubicBezTo>
                    <a:pt x="938" y="496"/>
                    <a:pt x="936" y="496"/>
                    <a:pt x="935" y="497"/>
                  </a:cubicBezTo>
                  <a:cubicBezTo>
                    <a:pt x="935" y="497"/>
                    <a:pt x="935" y="497"/>
                    <a:pt x="935" y="497"/>
                  </a:cubicBezTo>
                  <a:cubicBezTo>
                    <a:pt x="935" y="497"/>
                    <a:pt x="935" y="497"/>
                    <a:pt x="935" y="497"/>
                  </a:cubicBezTo>
                  <a:cubicBezTo>
                    <a:pt x="932" y="497"/>
                    <a:pt x="891" y="439"/>
                    <a:pt x="893" y="437"/>
                  </a:cubicBezTo>
                  <a:cubicBezTo>
                    <a:pt x="893" y="437"/>
                    <a:pt x="893" y="437"/>
                    <a:pt x="893" y="437"/>
                  </a:cubicBezTo>
                  <a:cubicBezTo>
                    <a:pt x="896" y="434"/>
                    <a:pt x="898" y="430"/>
                    <a:pt x="898" y="426"/>
                  </a:cubicBezTo>
                  <a:cubicBezTo>
                    <a:pt x="899" y="423"/>
                    <a:pt x="898" y="420"/>
                    <a:pt x="896" y="418"/>
                  </a:cubicBezTo>
                  <a:cubicBezTo>
                    <a:pt x="897" y="418"/>
                    <a:pt x="897" y="418"/>
                    <a:pt x="897" y="418"/>
                  </a:cubicBezTo>
                  <a:moveTo>
                    <a:pt x="382" y="350"/>
                  </a:moveTo>
                  <a:cubicBezTo>
                    <a:pt x="383" y="350"/>
                    <a:pt x="384" y="350"/>
                    <a:pt x="385" y="349"/>
                  </a:cubicBezTo>
                  <a:cubicBezTo>
                    <a:pt x="385" y="349"/>
                    <a:pt x="385" y="349"/>
                    <a:pt x="385" y="349"/>
                  </a:cubicBezTo>
                  <a:cubicBezTo>
                    <a:pt x="385" y="349"/>
                    <a:pt x="385" y="349"/>
                    <a:pt x="385" y="349"/>
                  </a:cubicBezTo>
                  <a:cubicBezTo>
                    <a:pt x="386" y="349"/>
                    <a:pt x="403" y="374"/>
                    <a:pt x="402" y="375"/>
                  </a:cubicBezTo>
                  <a:cubicBezTo>
                    <a:pt x="402" y="375"/>
                    <a:pt x="402" y="375"/>
                    <a:pt x="402" y="375"/>
                  </a:cubicBezTo>
                  <a:cubicBezTo>
                    <a:pt x="399" y="378"/>
                    <a:pt x="398" y="382"/>
                    <a:pt x="400" y="385"/>
                  </a:cubicBezTo>
                  <a:cubicBezTo>
                    <a:pt x="400" y="386"/>
                    <a:pt x="400" y="386"/>
                    <a:pt x="400" y="386"/>
                  </a:cubicBezTo>
                  <a:cubicBezTo>
                    <a:pt x="400" y="386"/>
                    <a:pt x="400" y="386"/>
                    <a:pt x="400" y="386"/>
                  </a:cubicBezTo>
                  <a:cubicBezTo>
                    <a:pt x="401" y="388"/>
                    <a:pt x="375" y="407"/>
                    <a:pt x="374" y="407"/>
                  </a:cubicBezTo>
                  <a:cubicBezTo>
                    <a:pt x="374" y="407"/>
                    <a:pt x="374" y="407"/>
                    <a:pt x="374" y="407"/>
                  </a:cubicBezTo>
                  <a:cubicBezTo>
                    <a:pt x="374" y="407"/>
                    <a:pt x="374" y="407"/>
                    <a:pt x="374" y="407"/>
                  </a:cubicBezTo>
                  <a:cubicBezTo>
                    <a:pt x="373" y="406"/>
                    <a:pt x="373" y="406"/>
                    <a:pt x="372" y="406"/>
                  </a:cubicBezTo>
                  <a:cubicBezTo>
                    <a:pt x="372" y="406"/>
                    <a:pt x="372" y="406"/>
                    <a:pt x="372" y="406"/>
                  </a:cubicBezTo>
                  <a:cubicBezTo>
                    <a:pt x="371" y="406"/>
                    <a:pt x="380" y="350"/>
                    <a:pt x="382" y="350"/>
                  </a:cubicBezTo>
                  <a:cubicBezTo>
                    <a:pt x="382" y="350"/>
                    <a:pt x="382" y="350"/>
                    <a:pt x="382" y="350"/>
                  </a:cubicBezTo>
                  <a:cubicBezTo>
                    <a:pt x="382" y="350"/>
                    <a:pt x="382" y="350"/>
                    <a:pt x="382" y="350"/>
                  </a:cubicBezTo>
                  <a:moveTo>
                    <a:pt x="110" y="294"/>
                  </a:moveTo>
                  <a:cubicBezTo>
                    <a:pt x="110" y="294"/>
                    <a:pt x="110" y="294"/>
                    <a:pt x="110" y="294"/>
                  </a:cubicBezTo>
                  <a:cubicBezTo>
                    <a:pt x="110" y="294"/>
                    <a:pt x="111" y="295"/>
                    <a:pt x="112" y="295"/>
                  </a:cubicBezTo>
                  <a:cubicBezTo>
                    <a:pt x="112" y="295"/>
                    <a:pt x="112" y="295"/>
                    <a:pt x="112" y="295"/>
                  </a:cubicBezTo>
                  <a:cubicBezTo>
                    <a:pt x="113" y="295"/>
                    <a:pt x="113" y="332"/>
                    <a:pt x="112" y="332"/>
                  </a:cubicBezTo>
                  <a:cubicBezTo>
                    <a:pt x="112" y="332"/>
                    <a:pt x="112" y="332"/>
                    <a:pt x="112" y="332"/>
                  </a:cubicBezTo>
                  <a:cubicBezTo>
                    <a:pt x="112" y="333"/>
                    <a:pt x="111" y="333"/>
                    <a:pt x="111" y="333"/>
                  </a:cubicBezTo>
                  <a:cubicBezTo>
                    <a:pt x="110" y="333"/>
                    <a:pt x="109" y="334"/>
                    <a:pt x="109" y="335"/>
                  </a:cubicBezTo>
                  <a:cubicBezTo>
                    <a:pt x="109" y="334"/>
                    <a:pt x="109" y="334"/>
                    <a:pt x="109" y="334"/>
                  </a:cubicBezTo>
                  <a:cubicBezTo>
                    <a:pt x="109" y="334"/>
                    <a:pt x="109" y="334"/>
                    <a:pt x="109" y="334"/>
                  </a:cubicBezTo>
                  <a:cubicBezTo>
                    <a:pt x="107" y="334"/>
                    <a:pt x="70" y="323"/>
                    <a:pt x="70" y="322"/>
                  </a:cubicBezTo>
                  <a:cubicBezTo>
                    <a:pt x="70" y="322"/>
                    <a:pt x="70" y="322"/>
                    <a:pt x="70" y="322"/>
                  </a:cubicBezTo>
                  <a:cubicBezTo>
                    <a:pt x="70" y="321"/>
                    <a:pt x="70" y="321"/>
                    <a:pt x="70" y="320"/>
                  </a:cubicBezTo>
                  <a:cubicBezTo>
                    <a:pt x="70" y="320"/>
                    <a:pt x="70" y="320"/>
                    <a:pt x="70" y="320"/>
                  </a:cubicBezTo>
                  <a:cubicBezTo>
                    <a:pt x="70" y="320"/>
                    <a:pt x="70" y="320"/>
                    <a:pt x="70" y="320"/>
                  </a:cubicBezTo>
                  <a:cubicBezTo>
                    <a:pt x="69" y="319"/>
                    <a:pt x="108" y="294"/>
                    <a:pt x="110" y="294"/>
                  </a:cubicBezTo>
                  <a:cubicBezTo>
                    <a:pt x="110" y="294"/>
                    <a:pt x="110" y="294"/>
                    <a:pt x="110" y="294"/>
                  </a:cubicBezTo>
                  <a:moveTo>
                    <a:pt x="656" y="271"/>
                  </a:moveTo>
                  <a:cubicBezTo>
                    <a:pt x="663" y="262"/>
                    <a:pt x="685" y="240"/>
                    <a:pt x="708" y="218"/>
                  </a:cubicBezTo>
                  <a:cubicBezTo>
                    <a:pt x="710" y="221"/>
                    <a:pt x="712" y="223"/>
                    <a:pt x="711" y="223"/>
                  </a:cubicBezTo>
                  <a:cubicBezTo>
                    <a:pt x="711" y="223"/>
                    <a:pt x="711" y="223"/>
                    <a:pt x="711" y="223"/>
                  </a:cubicBezTo>
                  <a:cubicBezTo>
                    <a:pt x="710" y="225"/>
                    <a:pt x="709" y="228"/>
                    <a:pt x="711" y="231"/>
                  </a:cubicBezTo>
                  <a:cubicBezTo>
                    <a:pt x="711" y="231"/>
                    <a:pt x="711" y="231"/>
                    <a:pt x="711" y="231"/>
                  </a:cubicBezTo>
                  <a:cubicBezTo>
                    <a:pt x="711" y="231"/>
                    <a:pt x="711" y="231"/>
                    <a:pt x="711" y="231"/>
                  </a:cubicBezTo>
                  <a:cubicBezTo>
                    <a:pt x="711" y="232"/>
                    <a:pt x="669" y="263"/>
                    <a:pt x="656" y="271"/>
                  </a:cubicBezTo>
                  <a:moveTo>
                    <a:pt x="516" y="214"/>
                  </a:moveTo>
                  <a:cubicBezTo>
                    <a:pt x="516" y="214"/>
                    <a:pt x="516" y="214"/>
                    <a:pt x="516" y="214"/>
                  </a:cubicBezTo>
                  <a:cubicBezTo>
                    <a:pt x="521" y="214"/>
                    <a:pt x="573" y="327"/>
                    <a:pt x="571" y="328"/>
                  </a:cubicBezTo>
                  <a:cubicBezTo>
                    <a:pt x="571" y="328"/>
                    <a:pt x="571" y="328"/>
                    <a:pt x="571" y="328"/>
                  </a:cubicBezTo>
                  <a:cubicBezTo>
                    <a:pt x="570" y="329"/>
                    <a:pt x="569" y="330"/>
                    <a:pt x="568" y="331"/>
                  </a:cubicBezTo>
                  <a:cubicBezTo>
                    <a:pt x="568" y="331"/>
                    <a:pt x="568" y="331"/>
                    <a:pt x="568" y="331"/>
                  </a:cubicBezTo>
                  <a:cubicBezTo>
                    <a:pt x="568" y="331"/>
                    <a:pt x="568" y="331"/>
                    <a:pt x="568" y="331"/>
                  </a:cubicBezTo>
                  <a:cubicBezTo>
                    <a:pt x="564" y="331"/>
                    <a:pt x="519" y="308"/>
                    <a:pt x="520" y="306"/>
                  </a:cubicBezTo>
                  <a:cubicBezTo>
                    <a:pt x="520" y="306"/>
                    <a:pt x="520" y="306"/>
                    <a:pt x="520" y="306"/>
                  </a:cubicBezTo>
                  <a:cubicBezTo>
                    <a:pt x="521" y="303"/>
                    <a:pt x="521" y="300"/>
                    <a:pt x="520" y="297"/>
                  </a:cubicBezTo>
                  <a:cubicBezTo>
                    <a:pt x="518" y="294"/>
                    <a:pt x="515" y="292"/>
                    <a:pt x="511" y="291"/>
                  </a:cubicBezTo>
                  <a:cubicBezTo>
                    <a:pt x="511" y="291"/>
                    <a:pt x="511" y="291"/>
                    <a:pt x="511" y="291"/>
                  </a:cubicBezTo>
                  <a:cubicBezTo>
                    <a:pt x="509" y="291"/>
                    <a:pt x="508" y="215"/>
                    <a:pt x="513" y="214"/>
                  </a:cubicBezTo>
                  <a:cubicBezTo>
                    <a:pt x="513" y="214"/>
                    <a:pt x="513" y="214"/>
                    <a:pt x="513" y="214"/>
                  </a:cubicBezTo>
                  <a:cubicBezTo>
                    <a:pt x="514" y="214"/>
                    <a:pt x="515" y="214"/>
                    <a:pt x="516" y="214"/>
                  </a:cubicBezTo>
                  <a:cubicBezTo>
                    <a:pt x="516" y="214"/>
                    <a:pt x="516" y="214"/>
                    <a:pt x="516" y="214"/>
                  </a:cubicBezTo>
                  <a:moveTo>
                    <a:pt x="1072" y="189"/>
                  </a:moveTo>
                  <a:cubicBezTo>
                    <a:pt x="1072" y="189"/>
                    <a:pt x="1073" y="189"/>
                    <a:pt x="1075" y="189"/>
                  </a:cubicBezTo>
                  <a:cubicBezTo>
                    <a:pt x="1088" y="189"/>
                    <a:pt x="1130" y="192"/>
                    <a:pt x="1130" y="193"/>
                  </a:cubicBezTo>
                  <a:cubicBezTo>
                    <a:pt x="1130" y="193"/>
                    <a:pt x="1130" y="193"/>
                    <a:pt x="1130" y="193"/>
                  </a:cubicBezTo>
                  <a:cubicBezTo>
                    <a:pt x="1131" y="194"/>
                    <a:pt x="1131" y="194"/>
                    <a:pt x="1131" y="195"/>
                  </a:cubicBezTo>
                  <a:cubicBezTo>
                    <a:pt x="1131" y="195"/>
                    <a:pt x="1131" y="195"/>
                    <a:pt x="1131" y="195"/>
                  </a:cubicBezTo>
                  <a:cubicBezTo>
                    <a:pt x="1132" y="196"/>
                    <a:pt x="1100" y="219"/>
                    <a:pt x="1098" y="219"/>
                  </a:cubicBezTo>
                  <a:cubicBezTo>
                    <a:pt x="1098" y="219"/>
                    <a:pt x="1098" y="219"/>
                    <a:pt x="1098" y="219"/>
                  </a:cubicBezTo>
                  <a:cubicBezTo>
                    <a:pt x="1098" y="219"/>
                    <a:pt x="1098" y="219"/>
                    <a:pt x="1098" y="219"/>
                  </a:cubicBezTo>
                  <a:cubicBezTo>
                    <a:pt x="1098" y="219"/>
                    <a:pt x="1097" y="218"/>
                    <a:pt x="1096" y="218"/>
                  </a:cubicBezTo>
                  <a:cubicBezTo>
                    <a:pt x="1095" y="218"/>
                    <a:pt x="1095" y="219"/>
                    <a:pt x="1094" y="219"/>
                  </a:cubicBezTo>
                  <a:cubicBezTo>
                    <a:pt x="1094" y="219"/>
                    <a:pt x="1094" y="219"/>
                    <a:pt x="1094" y="219"/>
                  </a:cubicBezTo>
                  <a:cubicBezTo>
                    <a:pt x="1094" y="219"/>
                    <a:pt x="1094" y="219"/>
                    <a:pt x="1094" y="219"/>
                  </a:cubicBezTo>
                  <a:cubicBezTo>
                    <a:pt x="1094" y="219"/>
                    <a:pt x="1094" y="219"/>
                    <a:pt x="1094" y="219"/>
                  </a:cubicBezTo>
                  <a:cubicBezTo>
                    <a:pt x="1093" y="219"/>
                    <a:pt x="1069" y="193"/>
                    <a:pt x="1070" y="192"/>
                  </a:cubicBezTo>
                  <a:cubicBezTo>
                    <a:pt x="1070" y="192"/>
                    <a:pt x="1070" y="192"/>
                    <a:pt x="1070" y="192"/>
                  </a:cubicBezTo>
                  <a:cubicBezTo>
                    <a:pt x="1071" y="191"/>
                    <a:pt x="1072" y="190"/>
                    <a:pt x="1072" y="189"/>
                  </a:cubicBezTo>
                  <a:cubicBezTo>
                    <a:pt x="1072" y="189"/>
                    <a:pt x="1072" y="189"/>
                    <a:pt x="1072" y="189"/>
                  </a:cubicBezTo>
                  <a:moveTo>
                    <a:pt x="76" y="193"/>
                  </a:moveTo>
                  <a:cubicBezTo>
                    <a:pt x="75" y="193"/>
                    <a:pt x="62" y="176"/>
                    <a:pt x="54" y="165"/>
                  </a:cubicBezTo>
                  <a:cubicBezTo>
                    <a:pt x="56" y="165"/>
                    <a:pt x="58" y="164"/>
                    <a:pt x="61" y="164"/>
                  </a:cubicBezTo>
                  <a:cubicBezTo>
                    <a:pt x="83" y="181"/>
                    <a:pt x="126" y="212"/>
                    <a:pt x="125" y="212"/>
                  </a:cubicBezTo>
                  <a:cubicBezTo>
                    <a:pt x="125" y="212"/>
                    <a:pt x="125" y="212"/>
                    <a:pt x="125" y="212"/>
                  </a:cubicBezTo>
                  <a:cubicBezTo>
                    <a:pt x="125" y="213"/>
                    <a:pt x="125" y="213"/>
                    <a:pt x="125" y="213"/>
                  </a:cubicBezTo>
                  <a:cubicBezTo>
                    <a:pt x="125" y="213"/>
                    <a:pt x="125" y="213"/>
                    <a:pt x="125" y="213"/>
                  </a:cubicBezTo>
                  <a:cubicBezTo>
                    <a:pt x="125" y="213"/>
                    <a:pt x="125" y="213"/>
                    <a:pt x="125" y="213"/>
                  </a:cubicBezTo>
                  <a:cubicBezTo>
                    <a:pt x="122" y="213"/>
                    <a:pt x="86" y="201"/>
                    <a:pt x="86" y="200"/>
                  </a:cubicBezTo>
                  <a:cubicBezTo>
                    <a:pt x="86" y="200"/>
                    <a:pt x="86" y="200"/>
                    <a:pt x="86" y="200"/>
                  </a:cubicBezTo>
                  <a:cubicBezTo>
                    <a:pt x="86" y="199"/>
                    <a:pt x="86" y="197"/>
                    <a:pt x="86" y="196"/>
                  </a:cubicBezTo>
                  <a:cubicBezTo>
                    <a:pt x="84" y="194"/>
                    <a:pt x="82" y="192"/>
                    <a:pt x="79" y="192"/>
                  </a:cubicBezTo>
                  <a:cubicBezTo>
                    <a:pt x="78" y="192"/>
                    <a:pt x="77" y="193"/>
                    <a:pt x="76" y="193"/>
                  </a:cubicBezTo>
                  <a:cubicBezTo>
                    <a:pt x="76" y="193"/>
                    <a:pt x="76" y="193"/>
                    <a:pt x="76" y="193"/>
                  </a:cubicBezTo>
                  <a:cubicBezTo>
                    <a:pt x="76" y="193"/>
                    <a:pt x="76" y="193"/>
                    <a:pt x="76" y="193"/>
                  </a:cubicBezTo>
                  <a:cubicBezTo>
                    <a:pt x="76" y="193"/>
                    <a:pt x="76" y="193"/>
                    <a:pt x="76" y="193"/>
                  </a:cubicBezTo>
                  <a:moveTo>
                    <a:pt x="772" y="166"/>
                  </a:moveTo>
                  <a:cubicBezTo>
                    <a:pt x="773" y="165"/>
                    <a:pt x="774" y="165"/>
                    <a:pt x="774" y="164"/>
                  </a:cubicBezTo>
                  <a:cubicBezTo>
                    <a:pt x="774" y="164"/>
                    <a:pt x="774" y="164"/>
                    <a:pt x="774" y="164"/>
                  </a:cubicBezTo>
                  <a:cubicBezTo>
                    <a:pt x="774" y="164"/>
                    <a:pt x="775" y="164"/>
                    <a:pt x="775" y="164"/>
                  </a:cubicBezTo>
                  <a:cubicBezTo>
                    <a:pt x="778" y="164"/>
                    <a:pt x="841" y="198"/>
                    <a:pt x="841" y="199"/>
                  </a:cubicBezTo>
                  <a:cubicBezTo>
                    <a:pt x="841" y="199"/>
                    <a:pt x="841" y="199"/>
                    <a:pt x="841" y="199"/>
                  </a:cubicBezTo>
                  <a:cubicBezTo>
                    <a:pt x="840" y="201"/>
                    <a:pt x="840" y="203"/>
                    <a:pt x="841" y="205"/>
                  </a:cubicBezTo>
                  <a:cubicBezTo>
                    <a:pt x="842" y="206"/>
                    <a:pt x="842" y="207"/>
                    <a:pt x="843" y="208"/>
                  </a:cubicBezTo>
                  <a:cubicBezTo>
                    <a:pt x="843" y="208"/>
                    <a:pt x="843" y="208"/>
                    <a:pt x="843" y="208"/>
                  </a:cubicBezTo>
                  <a:cubicBezTo>
                    <a:pt x="844" y="208"/>
                    <a:pt x="822" y="249"/>
                    <a:pt x="818" y="249"/>
                  </a:cubicBezTo>
                  <a:cubicBezTo>
                    <a:pt x="818" y="249"/>
                    <a:pt x="818" y="249"/>
                    <a:pt x="818" y="249"/>
                  </a:cubicBezTo>
                  <a:cubicBezTo>
                    <a:pt x="818" y="249"/>
                    <a:pt x="818" y="249"/>
                    <a:pt x="818" y="249"/>
                  </a:cubicBezTo>
                  <a:cubicBezTo>
                    <a:pt x="816" y="248"/>
                    <a:pt x="813" y="247"/>
                    <a:pt x="811" y="247"/>
                  </a:cubicBezTo>
                  <a:cubicBezTo>
                    <a:pt x="810" y="247"/>
                    <a:pt x="808" y="247"/>
                    <a:pt x="807" y="248"/>
                  </a:cubicBezTo>
                  <a:cubicBezTo>
                    <a:pt x="807" y="248"/>
                    <a:pt x="807" y="248"/>
                    <a:pt x="807" y="248"/>
                  </a:cubicBezTo>
                  <a:cubicBezTo>
                    <a:pt x="807" y="248"/>
                    <a:pt x="807" y="248"/>
                    <a:pt x="807" y="248"/>
                  </a:cubicBezTo>
                  <a:cubicBezTo>
                    <a:pt x="803" y="248"/>
                    <a:pt x="771" y="166"/>
                    <a:pt x="772" y="166"/>
                  </a:cubicBezTo>
                  <a:cubicBezTo>
                    <a:pt x="772" y="166"/>
                    <a:pt x="772" y="166"/>
                    <a:pt x="772" y="166"/>
                  </a:cubicBezTo>
                  <a:moveTo>
                    <a:pt x="54" y="165"/>
                  </a:moveTo>
                  <a:cubicBezTo>
                    <a:pt x="50" y="159"/>
                    <a:pt x="47" y="155"/>
                    <a:pt x="47" y="155"/>
                  </a:cubicBezTo>
                  <a:cubicBezTo>
                    <a:pt x="48" y="155"/>
                    <a:pt x="53" y="159"/>
                    <a:pt x="61" y="164"/>
                  </a:cubicBezTo>
                  <a:cubicBezTo>
                    <a:pt x="58" y="164"/>
                    <a:pt x="56" y="164"/>
                    <a:pt x="54" y="165"/>
                  </a:cubicBezTo>
                  <a:moveTo>
                    <a:pt x="47" y="155"/>
                  </a:moveTo>
                  <a:cubicBezTo>
                    <a:pt x="47" y="155"/>
                    <a:pt x="47" y="155"/>
                    <a:pt x="47" y="155"/>
                  </a:cubicBezTo>
                  <a:cubicBezTo>
                    <a:pt x="47" y="155"/>
                    <a:pt x="47" y="155"/>
                    <a:pt x="47" y="155"/>
                  </a:cubicBezTo>
                  <a:cubicBezTo>
                    <a:pt x="47" y="155"/>
                    <a:pt x="47" y="155"/>
                    <a:pt x="47" y="155"/>
                  </a:cubicBezTo>
                  <a:moveTo>
                    <a:pt x="872" y="144"/>
                  </a:moveTo>
                  <a:cubicBezTo>
                    <a:pt x="873" y="144"/>
                    <a:pt x="873" y="144"/>
                    <a:pt x="874" y="144"/>
                  </a:cubicBezTo>
                  <a:cubicBezTo>
                    <a:pt x="886" y="144"/>
                    <a:pt x="995" y="171"/>
                    <a:pt x="995" y="175"/>
                  </a:cubicBezTo>
                  <a:cubicBezTo>
                    <a:pt x="995" y="175"/>
                    <a:pt x="995" y="175"/>
                    <a:pt x="995" y="175"/>
                  </a:cubicBezTo>
                  <a:cubicBezTo>
                    <a:pt x="994" y="176"/>
                    <a:pt x="994" y="177"/>
                    <a:pt x="994" y="178"/>
                  </a:cubicBezTo>
                  <a:cubicBezTo>
                    <a:pt x="994" y="181"/>
                    <a:pt x="995" y="183"/>
                    <a:pt x="996" y="186"/>
                  </a:cubicBezTo>
                  <a:cubicBezTo>
                    <a:pt x="998" y="190"/>
                    <a:pt x="943" y="219"/>
                    <a:pt x="938" y="219"/>
                  </a:cubicBezTo>
                  <a:cubicBezTo>
                    <a:pt x="938" y="219"/>
                    <a:pt x="937" y="219"/>
                    <a:pt x="937" y="219"/>
                  </a:cubicBezTo>
                  <a:cubicBezTo>
                    <a:pt x="937" y="219"/>
                    <a:pt x="937" y="219"/>
                    <a:pt x="937" y="219"/>
                  </a:cubicBezTo>
                  <a:cubicBezTo>
                    <a:pt x="934" y="215"/>
                    <a:pt x="930" y="213"/>
                    <a:pt x="925" y="213"/>
                  </a:cubicBezTo>
                  <a:cubicBezTo>
                    <a:pt x="923" y="213"/>
                    <a:pt x="921" y="213"/>
                    <a:pt x="919" y="214"/>
                  </a:cubicBezTo>
                  <a:cubicBezTo>
                    <a:pt x="918" y="215"/>
                    <a:pt x="918" y="215"/>
                    <a:pt x="918" y="215"/>
                  </a:cubicBezTo>
                  <a:cubicBezTo>
                    <a:pt x="918" y="215"/>
                    <a:pt x="918" y="215"/>
                    <a:pt x="918" y="215"/>
                  </a:cubicBezTo>
                  <a:cubicBezTo>
                    <a:pt x="918" y="215"/>
                    <a:pt x="918" y="215"/>
                    <a:pt x="918" y="215"/>
                  </a:cubicBezTo>
                  <a:cubicBezTo>
                    <a:pt x="915" y="215"/>
                    <a:pt x="866" y="152"/>
                    <a:pt x="869" y="150"/>
                  </a:cubicBezTo>
                  <a:cubicBezTo>
                    <a:pt x="869" y="150"/>
                    <a:pt x="869" y="150"/>
                    <a:pt x="869" y="150"/>
                  </a:cubicBezTo>
                  <a:cubicBezTo>
                    <a:pt x="870" y="148"/>
                    <a:pt x="872" y="146"/>
                    <a:pt x="872" y="144"/>
                  </a:cubicBezTo>
                  <a:cubicBezTo>
                    <a:pt x="872" y="144"/>
                    <a:pt x="872" y="144"/>
                    <a:pt x="872" y="144"/>
                  </a:cubicBezTo>
                  <a:moveTo>
                    <a:pt x="776" y="159"/>
                  </a:moveTo>
                  <a:cubicBezTo>
                    <a:pt x="776" y="157"/>
                    <a:pt x="826" y="144"/>
                    <a:pt x="836" y="144"/>
                  </a:cubicBezTo>
                  <a:cubicBezTo>
                    <a:pt x="837" y="144"/>
                    <a:pt x="838" y="144"/>
                    <a:pt x="838" y="144"/>
                  </a:cubicBezTo>
                  <a:cubicBezTo>
                    <a:pt x="838" y="144"/>
                    <a:pt x="838" y="144"/>
                    <a:pt x="838" y="144"/>
                  </a:cubicBezTo>
                  <a:cubicBezTo>
                    <a:pt x="840" y="149"/>
                    <a:pt x="845" y="153"/>
                    <a:pt x="851" y="154"/>
                  </a:cubicBezTo>
                  <a:cubicBezTo>
                    <a:pt x="851" y="154"/>
                    <a:pt x="851" y="154"/>
                    <a:pt x="851" y="154"/>
                  </a:cubicBezTo>
                  <a:cubicBezTo>
                    <a:pt x="854" y="155"/>
                    <a:pt x="849" y="194"/>
                    <a:pt x="847" y="195"/>
                  </a:cubicBezTo>
                  <a:cubicBezTo>
                    <a:pt x="847" y="195"/>
                    <a:pt x="847" y="195"/>
                    <a:pt x="847" y="195"/>
                  </a:cubicBezTo>
                  <a:cubicBezTo>
                    <a:pt x="846" y="195"/>
                    <a:pt x="846" y="195"/>
                    <a:pt x="845" y="195"/>
                  </a:cubicBezTo>
                  <a:cubicBezTo>
                    <a:pt x="844" y="196"/>
                    <a:pt x="843" y="196"/>
                    <a:pt x="842" y="197"/>
                  </a:cubicBezTo>
                  <a:cubicBezTo>
                    <a:pt x="842" y="197"/>
                    <a:pt x="842" y="197"/>
                    <a:pt x="842" y="197"/>
                  </a:cubicBezTo>
                  <a:cubicBezTo>
                    <a:pt x="842" y="197"/>
                    <a:pt x="842" y="197"/>
                    <a:pt x="842" y="197"/>
                  </a:cubicBezTo>
                  <a:cubicBezTo>
                    <a:pt x="839" y="197"/>
                    <a:pt x="775" y="163"/>
                    <a:pt x="776" y="162"/>
                  </a:cubicBezTo>
                  <a:cubicBezTo>
                    <a:pt x="776" y="162"/>
                    <a:pt x="776" y="162"/>
                    <a:pt x="776" y="162"/>
                  </a:cubicBezTo>
                  <a:cubicBezTo>
                    <a:pt x="776" y="161"/>
                    <a:pt x="776" y="160"/>
                    <a:pt x="776" y="159"/>
                  </a:cubicBezTo>
                  <a:cubicBezTo>
                    <a:pt x="776" y="159"/>
                    <a:pt x="776" y="159"/>
                    <a:pt x="776" y="159"/>
                  </a:cubicBezTo>
                  <a:moveTo>
                    <a:pt x="48" y="137"/>
                  </a:moveTo>
                  <a:cubicBezTo>
                    <a:pt x="48" y="137"/>
                    <a:pt x="48" y="137"/>
                    <a:pt x="48" y="137"/>
                  </a:cubicBezTo>
                  <a:cubicBezTo>
                    <a:pt x="51" y="137"/>
                    <a:pt x="108" y="159"/>
                    <a:pt x="108" y="160"/>
                  </a:cubicBezTo>
                  <a:cubicBezTo>
                    <a:pt x="108" y="160"/>
                    <a:pt x="108" y="160"/>
                    <a:pt x="108" y="160"/>
                  </a:cubicBezTo>
                  <a:cubicBezTo>
                    <a:pt x="108" y="161"/>
                    <a:pt x="108" y="161"/>
                    <a:pt x="108" y="161"/>
                  </a:cubicBezTo>
                  <a:cubicBezTo>
                    <a:pt x="108" y="161"/>
                    <a:pt x="108" y="161"/>
                    <a:pt x="108" y="161"/>
                  </a:cubicBezTo>
                  <a:cubicBezTo>
                    <a:pt x="107" y="161"/>
                    <a:pt x="84" y="163"/>
                    <a:pt x="61" y="164"/>
                  </a:cubicBezTo>
                  <a:cubicBezTo>
                    <a:pt x="53" y="158"/>
                    <a:pt x="47" y="154"/>
                    <a:pt x="48" y="154"/>
                  </a:cubicBezTo>
                  <a:cubicBezTo>
                    <a:pt x="48" y="154"/>
                    <a:pt x="48" y="154"/>
                    <a:pt x="48" y="154"/>
                  </a:cubicBezTo>
                  <a:cubicBezTo>
                    <a:pt x="48" y="153"/>
                    <a:pt x="48" y="151"/>
                    <a:pt x="48" y="150"/>
                  </a:cubicBezTo>
                  <a:cubicBezTo>
                    <a:pt x="47" y="149"/>
                    <a:pt x="45" y="148"/>
                    <a:pt x="44" y="148"/>
                  </a:cubicBezTo>
                  <a:cubicBezTo>
                    <a:pt x="43" y="148"/>
                    <a:pt x="43" y="148"/>
                    <a:pt x="42" y="148"/>
                  </a:cubicBezTo>
                  <a:cubicBezTo>
                    <a:pt x="40" y="149"/>
                    <a:pt x="39" y="152"/>
                    <a:pt x="40" y="153"/>
                  </a:cubicBezTo>
                  <a:cubicBezTo>
                    <a:pt x="41" y="155"/>
                    <a:pt x="42" y="156"/>
                    <a:pt x="44" y="156"/>
                  </a:cubicBezTo>
                  <a:cubicBezTo>
                    <a:pt x="45" y="156"/>
                    <a:pt x="45" y="156"/>
                    <a:pt x="46" y="155"/>
                  </a:cubicBezTo>
                  <a:cubicBezTo>
                    <a:pt x="46" y="155"/>
                    <a:pt x="46" y="155"/>
                    <a:pt x="46" y="155"/>
                  </a:cubicBezTo>
                  <a:cubicBezTo>
                    <a:pt x="46" y="155"/>
                    <a:pt x="46" y="155"/>
                    <a:pt x="46" y="155"/>
                  </a:cubicBezTo>
                  <a:cubicBezTo>
                    <a:pt x="46" y="155"/>
                    <a:pt x="46" y="155"/>
                    <a:pt x="46" y="155"/>
                  </a:cubicBezTo>
                  <a:cubicBezTo>
                    <a:pt x="46" y="155"/>
                    <a:pt x="49" y="159"/>
                    <a:pt x="53" y="165"/>
                  </a:cubicBezTo>
                  <a:cubicBezTo>
                    <a:pt x="38" y="165"/>
                    <a:pt x="24" y="166"/>
                    <a:pt x="18" y="166"/>
                  </a:cubicBezTo>
                  <a:cubicBezTo>
                    <a:pt x="16" y="166"/>
                    <a:pt x="15" y="166"/>
                    <a:pt x="15" y="166"/>
                  </a:cubicBezTo>
                  <a:cubicBezTo>
                    <a:pt x="15" y="166"/>
                    <a:pt x="15" y="166"/>
                    <a:pt x="15" y="166"/>
                  </a:cubicBezTo>
                  <a:cubicBezTo>
                    <a:pt x="14" y="165"/>
                    <a:pt x="14" y="165"/>
                    <a:pt x="14" y="164"/>
                  </a:cubicBezTo>
                  <a:cubicBezTo>
                    <a:pt x="13" y="163"/>
                    <a:pt x="13" y="163"/>
                    <a:pt x="13" y="163"/>
                  </a:cubicBezTo>
                  <a:cubicBezTo>
                    <a:pt x="13" y="163"/>
                    <a:pt x="13" y="163"/>
                    <a:pt x="13" y="163"/>
                  </a:cubicBezTo>
                  <a:cubicBezTo>
                    <a:pt x="13" y="162"/>
                    <a:pt x="40" y="138"/>
                    <a:pt x="41" y="138"/>
                  </a:cubicBezTo>
                  <a:cubicBezTo>
                    <a:pt x="41" y="138"/>
                    <a:pt x="41" y="138"/>
                    <a:pt x="41" y="138"/>
                  </a:cubicBezTo>
                  <a:cubicBezTo>
                    <a:pt x="41" y="138"/>
                    <a:pt x="41" y="138"/>
                    <a:pt x="41" y="138"/>
                  </a:cubicBezTo>
                  <a:cubicBezTo>
                    <a:pt x="42" y="139"/>
                    <a:pt x="43" y="139"/>
                    <a:pt x="44" y="139"/>
                  </a:cubicBezTo>
                  <a:cubicBezTo>
                    <a:pt x="45" y="139"/>
                    <a:pt x="45" y="139"/>
                    <a:pt x="46" y="139"/>
                  </a:cubicBezTo>
                  <a:cubicBezTo>
                    <a:pt x="47" y="138"/>
                    <a:pt x="48" y="138"/>
                    <a:pt x="48" y="137"/>
                  </a:cubicBezTo>
                  <a:cubicBezTo>
                    <a:pt x="48" y="137"/>
                    <a:pt x="48" y="137"/>
                    <a:pt x="48" y="137"/>
                  </a:cubicBezTo>
                  <a:moveTo>
                    <a:pt x="586" y="70"/>
                  </a:moveTo>
                  <a:cubicBezTo>
                    <a:pt x="586" y="70"/>
                    <a:pt x="586" y="70"/>
                    <a:pt x="586" y="70"/>
                  </a:cubicBezTo>
                  <a:cubicBezTo>
                    <a:pt x="588" y="70"/>
                    <a:pt x="590" y="71"/>
                    <a:pt x="592" y="71"/>
                  </a:cubicBezTo>
                  <a:cubicBezTo>
                    <a:pt x="594" y="71"/>
                    <a:pt x="596" y="70"/>
                    <a:pt x="598" y="70"/>
                  </a:cubicBezTo>
                  <a:cubicBezTo>
                    <a:pt x="597" y="70"/>
                    <a:pt x="597" y="70"/>
                    <a:pt x="597" y="70"/>
                  </a:cubicBezTo>
                  <a:cubicBezTo>
                    <a:pt x="597" y="70"/>
                    <a:pt x="597" y="70"/>
                    <a:pt x="598" y="70"/>
                  </a:cubicBezTo>
                  <a:cubicBezTo>
                    <a:pt x="601" y="70"/>
                    <a:pt x="642" y="138"/>
                    <a:pt x="637" y="142"/>
                  </a:cubicBezTo>
                  <a:cubicBezTo>
                    <a:pt x="637" y="142"/>
                    <a:pt x="637" y="142"/>
                    <a:pt x="637" y="142"/>
                  </a:cubicBezTo>
                  <a:cubicBezTo>
                    <a:pt x="630" y="147"/>
                    <a:pt x="625" y="156"/>
                    <a:pt x="625" y="165"/>
                  </a:cubicBezTo>
                  <a:cubicBezTo>
                    <a:pt x="625" y="179"/>
                    <a:pt x="634" y="190"/>
                    <a:pt x="648" y="194"/>
                  </a:cubicBezTo>
                  <a:cubicBezTo>
                    <a:pt x="653" y="195"/>
                    <a:pt x="643" y="267"/>
                    <a:pt x="640" y="268"/>
                  </a:cubicBezTo>
                  <a:cubicBezTo>
                    <a:pt x="640" y="268"/>
                    <a:pt x="640" y="268"/>
                    <a:pt x="640" y="268"/>
                  </a:cubicBezTo>
                  <a:cubicBezTo>
                    <a:pt x="632" y="268"/>
                    <a:pt x="625" y="274"/>
                    <a:pt x="625" y="283"/>
                  </a:cubicBezTo>
                  <a:cubicBezTo>
                    <a:pt x="625" y="286"/>
                    <a:pt x="626" y="288"/>
                    <a:pt x="628" y="291"/>
                  </a:cubicBezTo>
                  <a:cubicBezTo>
                    <a:pt x="628" y="291"/>
                    <a:pt x="628" y="291"/>
                    <a:pt x="628" y="291"/>
                  </a:cubicBezTo>
                  <a:cubicBezTo>
                    <a:pt x="629" y="293"/>
                    <a:pt x="586" y="329"/>
                    <a:pt x="583" y="329"/>
                  </a:cubicBezTo>
                  <a:cubicBezTo>
                    <a:pt x="583" y="329"/>
                    <a:pt x="583" y="329"/>
                    <a:pt x="583" y="329"/>
                  </a:cubicBezTo>
                  <a:cubicBezTo>
                    <a:pt x="583" y="329"/>
                    <a:pt x="583" y="329"/>
                    <a:pt x="583" y="329"/>
                  </a:cubicBezTo>
                  <a:cubicBezTo>
                    <a:pt x="581" y="328"/>
                    <a:pt x="579" y="327"/>
                    <a:pt x="576" y="327"/>
                  </a:cubicBezTo>
                  <a:cubicBezTo>
                    <a:pt x="576" y="327"/>
                    <a:pt x="575" y="327"/>
                    <a:pt x="574" y="327"/>
                  </a:cubicBezTo>
                  <a:cubicBezTo>
                    <a:pt x="574" y="327"/>
                    <a:pt x="574" y="327"/>
                    <a:pt x="574" y="327"/>
                  </a:cubicBezTo>
                  <a:cubicBezTo>
                    <a:pt x="574" y="327"/>
                    <a:pt x="574" y="327"/>
                    <a:pt x="574" y="327"/>
                  </a:cubicBezTo>
                  <a:cubicBezTo>
                    <a:pt x="572" y="327"/>
                    <a:pt x="518" y="213"/>
                    <a:pt x="523" y="211"/>
                  </a:cubicBezTo>
                  <a:cubicBezTo>
                    <a:pt x="523" y="211"/>
                    <a:pt x="523" y="211"/>
                    <a:pt x="523" y="211"/>
                  </a:cubicBezTo>
                  <a:cubicBezTo>
                    <a:pt x="530" y="206"/>
                    <a:pt x="535" y="199"/>
                    <a:pt x="535" y="190"/>
                  </a:cubicBezTo>
                  <a:cubicBezTo>
                    <a:pt x="535" y="182"/>
                    <a:pt x="531" y="175"/>
                    <a:pt x="525" y="171"/>
                  </a:cubicBezTo>
                  <a:cubicBezTo>
                    <a:pt x="525" y="171"/>
                    <a:pt x="525" y="171"/>
                    <a:pt x="525" y="171"/>
                  </a:cubicBezTo>
                  <a:cubicBezTo>
                    <a:pt x="521" y="168"/>
                    <a:pt x="583" y="70"/>
                    <a:pt x="586" y="70"/>
                  </a:cubicBezTo>
                  <a:cubicBezTo>
                    <a:pt x="586" y="70"/>
                    <a:pt x="586" y="70"/>
                    <a:pt x="586" y="70"/>
                  </a:cubicBezTo>
                  <a:moveTo>
                    <a:pt x="678" y="145"/>
                  </a:moveTo>
                  <a:cubicBezTo>
                    <a:pt x="674" y="141"/>
                    <a:pt x="762" y="34"/>
                    <a:pt x="767" y="34"/>
                  </a:cubicBezTo>
                  <a:cubicBezTo>
                    <a:pt x="767" y="34"/>
                    <a:pt x="767" y="34"/>
                    <a:pt x="767" y="34"/>
                  </a:cubicBezTo>
                  <a:cubicBezTo>
                    <a:pt x="767" y="34"/>
                    <a:pt x="767" y="34"/>
                    <a:pt x="767" y="34"/>
                  </a:cubicBezTo>
                  <a:cubicBezTo>
                    <a:pt x="770" y="35"/>
                    <a:pt x="773" y="36"/>
                    <a:pt x="776" y="36"/>
                  </a:cubicBezTo>
                  <a:cubicBezTo>
                    <a:pt x="779" y="36"/>
                    <a:pt x="781" y="35"/>
                    <a:pt x="784" y="34"/>
                  </a:cubicBezTo>
                  <a:cubicBezTo>
                    <a:pt x="784" y="34"/>
                    <a:pt x="784" y="34"/>
                    <a:pt x="784" y="34"/>
                  </a:cubicBezTo>
                  <a:cubicBezTo>
                    <a:pt x="784" y="34"/>
                    <a:pt x="784" y="34"/>
                    <a:pt x="784" y="34"/>
                  </a:cubicBezTo>
                  <a:cubicBezTo>
                    <a:pt x="788" y="34"/>
                    <a:pt x="846" y="121"/>
                    <a:pt x="843" y="124"/>
                  </a:cubicBezTo>
                  <a:cubicBezTo>
                    <a:pt x="843" y="123"/>
                    <a:pt x="843" y="123"/>
                    <a:pt x="843" y="123"/>
                  </a:cubicBezTo>
                  <a:cubicBezTo>
                    <a:pt x="839" y="127"/>
                    <a:pt x="837" y="132"/>
                    <a:pt x="837" y="137"/>
                  </a:cubicBezTo>
                  <a:cubicBezTo>
                    <a:pt x="837" y="138"/>
                    <a:pt x="837" y="138"/>
                    <a:pt x="837" y="139"/>
                  </a:cubicBezTo>
                  <a:cubicBezTo>
                    <a:pt x="837" y="139"/>
                    <a:pt x="837" y="139"/>
                    <a:pt x="837" y="139"/>
                  </a:cubicBezTo>
                  <a:cubicBezTo>
                    <a:pt x="837" y="142"/>
                    <a:pt x="781" y="156"/>
                    <a:pt x="776" y="156"/>
                  </a:cubicBezTo>
                  <a:cubicBezTo>
                    <a:pt x="776" y="156"/>
                    <a:pt x="775" y="156"/>
                    <a:pt x="775" y="156"/>
                  </a:cubicBezTo>
                  <a:cubicBezTo>
                    <a:pt x="775" y="156"/>
                    <a:pt x="775" y="156"/>
                    <a:pt x="775" y="156"/>
                  </a:cubicBezTo>
                  <a:cubicBezTo>
                    <a:pt x="775" y="156"/>
                    <a:pt x="775" y="156"/>
                    <a:pt x="775" y="156"/>
                  </a:cubicBezTo>
                  <a:cubicBezTo>
                    <a:pt x="774" y="153"/>
                    <a:pt x="771" y="152"/>
                    <a:pt x="768" y="152"/>
                  </a:cubicBezTo>
                  <a:cubicBezTo>
                    <a:pt x="767" y="152"/>
                    <a:pt x="766" y="152"/>
                    <a:pt x="765" y="153"/>
                  </a:cubicBezTo>
                  <a:cubicBezTo>
                    <a:pt x="763" y="154"/>
                    <a:pt x="761" y="156"/>
                    <a:pt x="761" y="158"/>
                  </a:cubicBezTo>
                  <a:cubicBezTo>
                    <a:pt x="761" y="158"/>
                    <a:pt x="761" y="158"/>
                    <a:pt x="761" y="158"/>
                  </a:cubicBezTo>
                  <a:cubicBezTo>
                    <a:pt x="761" y="159"/>
                    <a:pt x="751" y="160"/>
                    <a:pt x="738" y="161"/>
                  </a:cubicBezTo>
                  <a:cubicBezTo>
                    <a:pt x="744" y="161"/>
                    <a:pt x="749" y="161"/>
                    <a:pt x="753" y="161"/>
                  </a:cubicBezTo>
                  <a:cubicBezTo>
                    <a:pt x="758" y="161"/>
                    <a:pt x="761" y="161"/>
                    <a:pt x="761" y="161"/>
                  </a:cubicBezTo>
                  <a:cubicBezTo>
                    <a:pt x="761" y="161"/>
                    <a:pt x="761" y="161"/>
                    <a:pt x="761" y="161"/>
                  </a:cubicBezTo>
                  <a:cubicBezTo>
                    <a:pt x="761" y="161"/>
                    <a:pt x="761" y="162"/>
                    <a:pt x="761" y="162"/>
                  </a:cubicBezTo>
                  <a:cubicBezTo>
                    <a:pt x="762" y="163"/>
                    <a:pt x="762" y="163"/>
                    <a:pt x="762" y="164"/>
                  </a:cubicBezTo>
                  <a:cubicBezTo>
                    <a:pt x="762" y="164"/>
                    <a:pt x="762" y="164"/>
                    <a:pt x="762" y="164"/>
                  </a:cubicBezTo>
                  <a:cubicBezTo>
                    <a:pt x="763" y="164"/>
                    <a:pt x="736" y="191"/>
                    <a:pt x="708" y="218"/>
                  </a:cubicBezTo>
                  <a:cubicBezTo>
                    <a:pt x="706" y="216"/>
                    <a:pt x="704" y="214"/>
                    <a:pt x="702" y="212"/>
                  </a:cubicBezTo>
                  <a:cubicBezTo>
                    <a:pt x="704" y="214"/>
                    <a:pt x="706" y="216"/>
                    <a:pt x="707" y="218"/>
                  </a:cubicBezTo>
                  <a:cubicBezTo>
                    <a:pt x="680" y="244"/>
                    <a:pt x="652" y="270"/>
                    <a:pt x="650" y="270"/>
                  </a:cubicBezTo>
                  <a:cubicBezTo>
                    <a:pt x="650" y="270"/>
                    <a:pt x="650" y="270"/>
                    <a:pt x="650" y="270"/>
                  </a:cubicBezTo>
                  <a:cubicBezTo>
                    <a:pt x="650" y="270"/>
                    <a:pt x="650" y="270"/>
                    <a:pt x="650" y="270"/>
                  </a:cubicBezTo>
                  <a:cubicBezTo>
                    <a:pt x="649" y="269"/>
                    <a:pt x="647" y="269"/>
                    <a:pt x="645" y="268"/>
                  </a:cubicBezTo>
                  <a:cubicBezTo>
                    <a:pt x="645" y="268"/>
                    <a:pt x="645" y="268"/>
                    <a:pt x="645" y="268"/>
                  </a:cubicBezTo>
                  <a:cubicBezTo>
                    <a:pt x="642" y="267"/>
                    <a:pt x="650" y="195"/>
                    <a:pt x="656" y="195"/>
                  </a:cubicBezTo>
                  <a:cubicBezTo>
                    <a:pt x="656" y="195"/>
                    <a:pt x="656" y="195"/>
                    <a:pt x="656" y="195"/>
                  </a:cubicBezTo>
                  <a:cubicBezTo>
                    <a:pt x="663" y="194"/>
                    <a:pt x="669" y="192"/>
                    <a:pt x="674" y="189"/>
                  </a:cubicBezTo>
                  <a:cubicBezTo>
                    <a:pt x="674" y="189"/>
                    <a:pt x="674" y="189"/>
                    <a:pt x="674" y="189"/>
                  </a:cubicBezTo>
                  <a:cubicBezTo>
                    <a:pt x="674" y="189"/>
                    <a:pt x="674" y="189"/>
                    <a:pt x="674" y="189"/>
                  </a:cubicBezTo>
                  <a:cubicBezTo>
                    <a:pt x="677" y="189"/>
                    <a:pt x="683" y="194"/>
                    <a:pt x="690" y="200"/>
                  </a:cubicBezTo>
                  <a:cubicBezTo>
                    <a:pt x="683" y="192"/>
                    <a:pt x="678" y="186"/>
                    <a:pt x="679" y="184"/>
                  </a:cubicBezTo>
                  <a:cubicBezTo>
                    <a:pt x="679" y="184"/>
                    <a:pt x="679" y="184"/>
                    <a:pt x="679" y="184"/>
                  </a:cubicBezTo>
                  <a:cubicBezTo>
                    <a:pt x="683" y="179"/>
                    <a:pt x="686" y="174"/>
                    <a:pt x="686" y="168"/>
                  </a:cubicBezTo>
                  <a:cubicBezTo>
                    <a:pt x="686" y="168"/>
                    <a:pt x="686" y="168"/>
                    <a:pt x="686" y="168"/>
                  </a:cubicBezTo>
                  <a:cubicBezTo>
                    <a:pt x="686" y="165"/>
                    <a:pt x="701" y="163"/>
                    <a:pt x="718" y="162"/>
                  </a:cubicBezTo>
                  <a:cubicBezTo>
                    <a:pt x="713" y="162"/>
                    <a:pt x="709" y="162"/>
                    <a:pt x="705" y="162"/>
                  </a:cubicBezTo>
                  <a:cubicBezTo>
                    <a:pt x="694" y="162"/>
                    <a:pt x="686" y="161"/>
                    <a:pt x="686" y="160"/>
                  </a:cubicBezTo>
                  <a:cubicBezTo>
                    <a:pt x="686" y="160"/>
                    <a:pt x="686" y="160"/>
                    <a:pt x="686" y="160"/>
                  </a:cubicBezTo>
                  <a:cubicBezTo>
                    <a:pt x="685" y="154"/>
                    <a:pt x="682" y="149"/>
                    <a:pt x="678" y="145"/>
                  </a:cubicBezTo>
                  <a:cubicBezTo>
                    <a:pt x="678" y="145"/>
                    <a:pt x="678" y="145"/>
                    <a:pt x="678" y="145"/>
                  </a:cubicBezTo>
                  <a:moveTo>
                    <a:pt x="789" y="31"/>
                  </a:moveTo>
                  <a:cubicBezTo>
                    <a:pt x="789" y="31"/>
                    <a:pt x="789" y="31"/>
                    <a:pt x="789" y="31"/>
                  </a:cubicBezTo>
                  <a:cubicBezTo>
                    <a:pt x="789" y="31"/>
                    <a:pt x="789" y="31"/>
                    <a:pt x="789" y="31"/>
                  </a:cubicBezTo>
                  <a:cubicBezTo>
                    <a:pt x="789" y="31"/>
                    <a:pt x="789" y="31"/>
                    <a:pt x="789" y="31"/>
                  </a:cubicBezTo>
                  <a:moveTo>
                    <a:pt x="776" y="0"/>
                  </a:moveTo>
                  <a:cubicBezTo>
                    <a:pt x="766" y="0"/>
                    <a:pt x="757" y="8"/>
                    <a:pt x="757" y="18"/>
                  </a:cubicBezTo>
                  <a:cubicBezTo>
                    <a:pt x="757" y="23"/>
                    <a:pt x="759" y="27"/>
                    <a:pt x="763" y="30"/>
                  </a:cubicBezTo>
                  <a:cubicBezTo>
                    <a:pt x="762" y="30"/>
                    <a:pt x="762" y="30"/>
                    <a:pt x="762" y="30"/>
                  </a:cubicBezTo>
                  <a:cubicBezTo>
                    <a:pt x="765" y="33"/>
                    <a:pt x="678" y="140"/>
                    <a:pt x="671" y="140"/>
                  </a:cubicBezTo>
                  <a:cubicBezTo>
                    <a:pt x="671" y="140"/>
                    <a:pt x="671" y="140"/>
                    <a:pt x="671" y="140"/>
                  </a:cubicBezTo>
                  <a:cubicBezTo>
                    <a:pt x="671" y="140"/>
                    <a:pt x="671" y="140"/>
                    <a:pt x="671" y="140"/>
                  </a:cubicBezTo>
                  <a:cubicBezTo>
                    <a:pt x="666" y="137"/>
                    <a:pt x="661" y="136"/>
                    <a:pt x="656" y="136"/>
                  </a:cubicBezTo>
                  <a:cubicBezTo>
                    <a:pt x="652" y="136"/>
                    <a:pt x="648" y="136"/>
                    <a:pt x="645" y="138"/>
                  </a:cubicBezTo>
                  <a:cubicBezTo>
                    <a:pt x="645" y="138"/>
                    <a:pt x="645" y="138"/>
                    <a:pt x="644" y="138"/>
                  </a:cubicBezTo>
                  <a:cubicBezTo>
                    <a:pt x="638" y="138"/>
                    <a:pt x="600" y="69"/>
                    <a:pt x="602" y="67"/>
                  </a:cubicBezTo>
                  <a:cubicBezTo>
                    <a:pt x="602" y="68"/>
                    <a:pt x="602" y="68"/>
                    <a:pt x="602" y="68"/>
                  </a:cubicBezTo>
                  <a:cubicBezTo>
                    <a:pt x="606" y="65"/>
                    <a:pt x="608" y="60"/>
                    <a:pt x="608" y="56"/>
                  </a:cubicBezTo>
                  <a:cubicBezTo>
                    <a:pt x="608" y="47"/>
                    <a:pt x="601" y="41"/>
                    <a:pt x="592" y="41"/>
                  </a:cubicBezTo>
                  <a:cubicBezTo>
                    <a:pt x="584" y="41"/>
                    <a:pt x="576" y="47"/>
                    <a:pt x="576" y="56"/>
                  </a:cubicBezTo>
                  <a:cubicBezTo>
                    <a:pt x="576" y="60"/>
                    <a:pt x="579" y="64"/>
                    <a:pt x="582" y="67"/>
                  </a:cubicBezTo>
                  <a:cubicBezTo>
                    <a:pt x="582" y="67"/>
                    <a:pt x="582" y="67"/>
                    <a:pt x="582" y="67"/>
                  </a:cubicBezTo>
                  <a:cubicBezTo>
                    <a:pt x="584" y="69"/>
                    <a:pt x="525" y="167"/>
                    <a:pt x="519" y="167"/>
                  </a:cubicBezTo>
                  <a:cubicBezTo>
                    <a:pt x="519" y="167"/>
                    <a:pt x="519" y="167"/>
                    <a:pt x="519" y="167"/>
                  </a:cubicBezTo>
                  <a:cubicBezTo>
                    <a:pt x="516" y="166"/>
                    <a:pt x="512" y="165"/>
                    <a:pt x="509" y="165"/>
                  </a:cubicBezTo>
                  <a:cubicBezTo>
                    <a:pt x="495" y="165"/>
                    <a:pt x="483" y="176"/>
                    <a:pt x="483" y="190"/>
                  </a:cubicBezTo>
                  <a:cubicBezTo>
                    <a:pt x="483" y="202"/>
                    <a:pt x="493" y="213"/>
                    <a:pt x="505" y="214"/>
                  </a:cubicBezTo>
                  <a:cubicBezTo>
                    <a:pt x="505" y="214"/>
                    <a:pt x="505" y="214"/>
                    <a:pt x="505" y="214"/>
                  </a:cubicBezTo>
                  <a:cubicBezTo>
                    <a:pt x="510" y="215"/>
                    <a:pt x="509" y="291"/>
                    <a:pt x="507" y="291"/>
                  </a:cubicBezTo>
                  <a:cubicBezTo>
                    <a:pt x="507" y="291"/>
                    <a:pt x="507" y="291"/>
                    <a:pt x="507" y="291"/>
                  </a:cubicBezTo>
                  <a:cubicBezTo>
                    <a:pt x="506" y="291"/>
                    <a:pt x="505" y="291"/>
                    <a:pt x="504" y="292"/>
                  </a:cubicBezTo>
                  <a:cubicBezTo>
                    <a:pt x="500" y="294"/>
                    <a:pt x="497" y="298"/>
                    <a:pt x="497" y="302"/>
                  </a:cubicBezTo>
                  <a:cubicBezTo>
                    <a:pt x="497" y="302"/>
                    <a:pt x="497" y="302"/>
                    <a:pt x="497" y="302"/>
                  </a:cubicBezTo>
                  <a:cubicBezTo>
                    <a:pt x="497" y="304"/>
                    <a:pt x="361" y="319"/>
                    <a:pt x="345" y="319"/>
                  </a:cubicBezTo>
                  <a:cubicBezTo>
                    <a:pt x="343" y="319"/>
                    <a:pt x="343" y="319"/>
                    <a:pt x="343" y="319"/>
                  </a:cubicBezTo>
                  <a:cubicBezTo>
                    <a:pt x="343" y="319"/>
                    <a:pt x="343" y="319"/>
                    <a:pt x="343" y="319"/>
                  </a:cubicBezTo>
                  <a:cubicBezTo>
                    <a:pt x="343" y="318"/>
                    <a:pt x="342" y="318"/>
                    <a:pt x="342" y="317"/>
                  </a:cubicBezTo>
                  <a:cubicBezTo>
                    <a:pt x="340" y="313"/>
                    <a:pt x="336" y="311"/>
                    <a:pt x="331" y="311"/>
                  </a:cubicBezTo>
                  <a:cubicBezTo>
                    <a:pt x="330" y="311"/>
                    <a:pt x="328" y="311"/>
                    <a:pt x="326" y="312"/>
                  </a:cubicBezTo>
                  <a:cubicBezTo>
                    <a:pt x="323" y="313"/>
                    <a:pt x="321" y="315"/>
                    <a:pt x="320" y="318"/>
                  </a:cubicBezTo>
                  <a:cubicBezTo>
                    <a:pt x="320" y="318"/>
                    <a:pt x="320" y="318"/>
                    <a:pt x="320" y="318"/>
                  </a:cubicBezTo>
                  <a:cubicBezTo>
                    <a:pt x="320" y="318"/>
                    <a:pt x="320" y="318"/>
                    <a:pt x="320" y="318"/>
                  </a:cubicBezTo>
                  <a:cubicBezTo>
                    <a:pt x="310" y="318"/>
                    <a:pt x="180" y="290"/>
                    <a:pt x="180" y="287"/>
                  </a:cubicBezTo>
                  <a:cubicBezTo>
                    <a:pt x="180" y="287"/>
                    <a:pt x="180" y="287"/>
                    <a:pt x="180" y="287"/>
                  </a:cubicBezTo>
                  <a:cubicBezTo>
                    <a:pt x="180" y="283"/>
                    <a:pt x="178" y="279"/>
                    <a:pt x="175" y="276"/>
                  </a:cubicBezTo>
                  <a:cubicBezTo>
                    <a:pt x="172" y="273"/>
                    <a:pt x="169" y="272"/>
                    <a:pt x="165" y="272"/>
                  </a:cubicBezTo>
                  <a:cubicBezTo>
                    <a:pt x="161" y="272"/>
                    <a:pt x="157" y="274"/>
                    <a:pt x="154" y="277"/>
                  </a:cubicBezTo>
                  <a:cubicBezTo>
                    <a:pt x="154" y="278"/>
                    <a:pt x="153" y="279"/>
                    <a:pt x="153" y="280"/>
                  </a:cubicBezTo>
                  <a:cubicBezTo>
                    <a:pt x="153" y="280"/>
                    <a:pt x="153" y="280"/>
                    <a:pt x="153" y="280"/>
                  </a:cubicBezTo>
                  <a:cubicBezTo>
                    <a:pt x="153" y="280"/>
                    <a:pt x="152" y="280"/>
                    <a:pt x="152" y="280"/>
                  </a:cubicBezTo>
                  <a:cubicBezTo>
                    <a:pt x="148" y="280"/>
                    <a:pt x="124" y="272"/>
                    <a:pt x="103" y="265"/>
                  </a:cubicBezTo>
                  <a:cubicBezTo>
                    <a:pt x="94" y="241"/>
                    <a:pt x="82" y="205"/>
                    <a:pt x="83" y="205"/>
                  </a:cubicBezTo>
                  <a:cubicBezTo>
                    <a:pt x="82" y="205"/>
                    <a:pt x="82" y="205"/>
                    <a:pt x="82" y="205"/>
                  </a:cubicBezTo>
                  <a:cubicBezTo>
                    <a:pt x="84" y="204"/>
                    <a:pt x="85" y="203"/>
                    <a:pt x="85" y="202"/>
                  </a:cubicBezTo>
                  <a:cubicBezTo>
                    <a:pt x="85" y="202"/>
                    <a:pt x="85" y="202"/>
                    <a:pt x="85" y="202"/>
                  </a:cubicBezTo>
                  <a:cubicBezTo>
                    <a:pt x="85" y="202"/>
                    <a:pt x="86" y="202"/>
                    <a:pt x="86" y="202"/>
                  </a:cubicBezTo>
                  <a:cubicBezTo>
                    <a:pt x="90" y="202"/>
                    <a:pt x="125" y="213"/>
                    <a:pt x="125" y="214"/>
                  </a:cubicBezTo>
                  <a:cubicBezTo>
                    <a:pt x="125" y="214"/>
                    <a:pt x="125" y="214"/>
                    <a:pt x="125" y="214"/>
                  </a:cubicBezTo>
                  <a:cubicBezTo>
                    <a:pt x="125" y="215"/>
                    <a:pt x="125" y="216"/>
                    <a:pt x="125" y="217"/>
                  </a:cubicBezTo>
                  <a:cubicBezTo>
                    <a:pt x="126" y="218"/>
                    <a:pt x="128" y="219"/>
                    <a:pt x="130" y="219"/>
                  </a:cubicBezTo>
                  <a:cubicBezTo>
                    <a:pt x="130" y="219"/>
                    <a:pt x="131" y="219"/>
                    <a:pt x="132" y="219"/>
                  </a:cubicBezTo>
                  <a:cubicBezTo>
                    <a:pt x="134" y="218"/>
                    <a:pt x="135" y="215"/>
                    <a:pt x="134" y="213"/>
                  </a:cubicBezTo>
                  <a:cubicBezTo>
                    <a:pt x="133" y="211"/>
                    <a:pt x="131" y="210"/>
                    <a:pt x="130" y="210"/>
                  </a:cubicBezTo>
                  <a:cubicBezTo>
                    <a:pt x="129" y="210"/>
                    <a:pt x="128" y="210"/>
                    <a:pt x="128" y="210"/>
                  </a:cubicBezTo>
                  <a:cubicBezTo>
                    <a:pt x="127" y="211"/>
                    <a:pt x="127" y="211"/>
                    <a:pt x="126" y="211"/>
                  </a:cubicBezTo>
                  <a:cubicBezTo>
                    <a:pt x="126" y="211"/>
                    <a:pt x="126" y="211"/>
                    <a:pt x="126" y="211"/>
                  </a:cubicBezTo>
                  <a:cubicBezTo>
                    <a:pt x="126" y="211"/>
                    <a:pt x="126" y="211"/>
                    <a:pt x="126" y="211"/>
                  </a:cubicBezTo>
                  <a:cubicBezTo>
                    <a:pt x="125" y="211"/>
                    <a:pt x="83" y="181"/>
                    <a:pt x="61" y="164"/>
                  </a:cubicBezTo>
                  <a:cubicBezTo>
                    <a:pt x="81" y="163"/>
                    <a:pt x="100" y="162"/>
                    <a:pt x="106" y="162"/>
                  </a:cubicBezTo>
                  <a:cubicBezTo>
                    <a:pt x="107" y="162"/>
                    <a:pt x="108" y="162"/>
                    <a:pt x="108" y="162"/>
                  </a:cubicBezTo>
                  <a:cubicBezTo>
                    <a:pt x="108" y="162"/>
                    <a:pt x="108" y="162"/>
                    <a:pt x="108" y="162"/>
                  </a:cubicBezTo>
                  <a:cubicBezTo>
                    <a:pt x="108" y="163"/>
                    <a:pt x="108" y="163"/>
                    <a:pt x="108" y="163"/>
                  </a:cubicBezTo>
                  <a:cubicBezTo>
                    <a:pt x="109" y="165"/>
                    <a:pt x="111" y="166"/>
                    <a:pt x="112" y="166"/>
                  </a:cubicBezTo>
                  <a:cubicBezTo>
                    <a:pt x="113" y="166"/>
                    <a:pt x="114" y="166"/>
                    <a:pt x="114" y="165"/>
                  </a:cubicBezTo>
                  <a:cubicBezTo>
                    <a:pt x="117" y="164"/>
                    <a:pt x="118" y="162"/>
                    <a:pt x="117" y="159"/>
                  </a:cubicBezTo>
                  <a:cubicBezTo>
                    <a:pt x="116" y="158"/>
                    <a:pt x="114" y="157"/>
                    <a:pt x="112" y="157"/>
                  </a:cubicBezTo>
                  <a:cubicBezTo>
                    <a:pt x="112" y="157"/>
                    <a:pt x="111" y="157"/>
                    <a:pt x="110" y="157"/>
                  </a:cubicBezTo>
                  <a:cubicBezTo>
                    <a:pt x="109" y="158"/>
                    <a:pt x="109" y="158"/>
                    <a:pt x="108" y="159"/>
                  </a:cubicBezTo>
                  <a:cubicBezTo>
                    <a:pt x="108" y="159"/>
                    <a:pt x="108" y="159"/>
                    <a:pt x="108" y="159"/>
                  </a:cubicBezTo>
                  <a:cubicBezTo>
                    <a:pt x="108" y="159"/>
                    <a:pt x="108" y="159"/>
                    <a:pt x="108" y="159"/>
                  </a:cubicBezTo>
                  <a:cubicBezTo>
                    <a:pt x="106" y="159"/>
                    <a:pt x="49" y="136"/>
                    <a:pt x="49" y="135"/>
                  </a:cubicBezTo>
                  <a:cubicBezTo>
                    <a:pt x="49" y="136"/>
                    <a:pt x="49" y="136"/>
                    <a:pt x="49" y="136"/>
                  </a:cubicBezTo>
                  <a:cubicBezTo>
                    <a:pt x="49" y="135"/>
                    <a:pt x="49" y="133"/>
                    <a:pt x="48" y="132"/>
                  </a:cubicBezTo>
                  <a:cubicBezTo>
                    <a:pt x="48" y="131"/>
                    <a:pt x="46" y="130"/>
                    <a:pt x="44" y="130"/>
                  </a:cubicBezTo>
                  <a:cubicBezTo>
                    <a:pt x="43" y="130"/>
                    <a:pt x="43" y="130"/>
                    <a:pt x="42" y="130"/>
                  </a:cubicBezTo>
                  <a:cubicBezTo>
                    <a:pt x="40" y="131"/>
                    <a:pt x="39" y="134"/>
                    <a:pt x="40" y="136"/>
                  </a:cubicBezTo>
                  <a:cubicBezTo>
                    <a:pt x="40" y="137"/>
                    <a:pt x="40" y="137"/>
                    <a:pt x="40" y="137"/>
                  </a:cubicBezTo>
                  <a:cubicBezTo>
                    <a:pt x="40" y="137"/>
                    <a:pt x="40" y="137"/>
                    <a:pt x="40" y="137"/>
                  </a:cubicBezTo>
                  <a:cubicBezTo>
                    <a:pt x="41" y="138"/>
                    <a:pt x="14" y="162"/>
                    <a:pt x="12" y="162"/>
                  </a:cubicBezTo>
                  <a:cubicBezTo>
                    <a:pt x="12" y="162"/>
                    <a:pt x="12" y="162"/>
                    <a:pt x="12" y="162"/>
                  </a:cubicBezTo>
                  <a:cubicBezTo>
                    <a:pt x="12" y="162"/>
                    <a:pt x="12" y="162"/>
                    <a:pt x="12" y="162"/>
                  </a:cubicBezTo>
                  <a:cubicBezTo>
                    <a:pt x="11" y="161"/>
                    <a:pt x="9" y="161"/>
                    <a:pt x="8" y="161"/>
                  </a:cubicBezTo>
                  <a:cubicBezTo>
                    <a:pt x="7" y="161"/>
                    <a:pt x="6" y="161"/>
                    <a:pt x="5" y="161"/>
                  </a:cubicBezTo>
                  <a:cubicBezTo>
                    <a:pt x="1" y="163"/>
                    <a:pt x="0" y="167"/>
                    <a:pt x="2" y="170"/>
                  </a:cubicBezTo>
                  <a:cubicBezTo>
                    <a:pt x="3" y="172"/>
                    <a:pt x="5" y="174"/>
                    <a:pt x="8" y="174"/>
                  </a:cubicBezTo>
                  <a:cubicBezTo>
                    <a:pt x="9" y="174"/>
                    <a:pt x="10" y="174"/>
                    <a:pt x="11" y="173"/>
                  </a:cubicBezTo>
                  <a:cubicBezTo>
                    <a:pt x="13" y="172"/>
                    <a:pt x="14" y="170"/>
                    <a:pt x="15" y="168"/>
                  </a:cubicBezTo>
                  <a:cubicBezTo>
                    <a:pt x="15" y="168"/>
                    <a:pt x="15" y="168"/>
                    <a:pt x="15" y="168"/>
                  </a:cubicBezTo>
                  <a:cubicBezTo>
                    <a:pt x="15" y="167"/>
                    <a:pt x="33" y="166"/>
                    <a:pt x="53" y="165"/>
                  </a:cubicBezTo>
                  <a:cubicBezTo>
                    <a:pt x="62" y="176"/>
                    <a:pt x="75" y="194"/>
                    <a:pt x="74" y="194"/>
                  </a:cubicBezTo>
                  <a:cubicBezTo>
                    <a:pt x="75" y="194"/>
                    <a:pt x="75" y="194"/>
                    <a:pt x="75" y="194"/>
                  </a:cubicBezTo>
                  <a:cubicBezTo>
                    <a:pt x="72" y="196"/>
                    <a:pt x="72" y="199"/>
                    <a:pt x="73" y="202"/>
                  </a:cubicBezTo>
                  <a:cubicBezTo>
                    <a:pt x="74" y="204"/>
                    <a:pt x="77" y="206"/>
                    <a:pt x="79" y="206"/>
                  </a:cubicBezTo>
                  <a:cubicBezTo>
                    <a:pt x="80" y="206"/>
                    <a:pt x="80" y="206"/>
                    <a:pt x="81" y="206"/>
                  </a:cubicBezTo>
                  <a:cubicBezTo>
                    <a:pt x="81" y="206"/>
                    <a:pt x="81" y="206"/>
                    <a:pt x="81" y="206"/>
                  </a:cubicBezTo>
                  <a:cubicBezTo>
                    <a:pt x="81" y="206"/>
                    <a:pt x="81" y="206"/>
                    <a:pt x="81" y="206"/>
                  </a:cubicBezTo>
                  <a:cubicBezTo>
                    <a:pt x="81" y="206"/>
                    <a:pt x="94" y="241"/>
                    <a:pt x="103" y="265"/>
                  </a:cubicBezTo>
                  <a:cubicBezTo>
                    <a:pt x="91" y="261"/>
                    <a:pt x="79" y="257"/>
                    <a:pt x="73" y="254"/>
                  </a:cubicBezTo>
                  <a:cubicBezTo>
                    <a:pt x="74" y="251"/>
                    <a:pt x="72" y="247"/>
                    <a:pt x="70" y="245"/>
                  </a:cubicBezTo>
                  <a:cubicBezTo>
                    <a:pt x="68" y="244"/>
                    <a:pt x="65" y="243"/>
                    <a:pt x="63" y="243"/>
                  </a:cubicBezTo>
                  <a:cubicBezTo>
                    <a:pt x="60" y="243"/>
                    <a:pt x="57" y="244"/>
                    <a:pt x="55" y="246"/>
                  </a:cubicBezTo>
                  <a:cubicBezTo>
                    <a:pt x="52" y="251"/>
                    <a:pt x="52" y="257"/>
                    <a:pt x="57" y="260"/>
                  </a:cubicBezTo>
                  <a:cubicBezTo>
                    <a:pt x="59" y="262"/>
                    <a:pt x="61" y="262"/>
                    <a:pt x="63" y="262"/>
                  </a:cubicBezTo>
                  <a:cubicBezTo>
                    <a:pt x="66" y="262"/>
                    <a:pt x="69" y="261"/>
                    <a:pt x="71" y="259"/>
                  </a:cubicBezTo>
                  <a:cubicBezTo>
                    <a:pt x="72" y="258"/>
                    <a:pt x="72" y="257"/>
                    <a:pt x="73" y="256"/>
                  </a:cubicBezTo>
                  <a:cubicBezTo>
                    <a:pt x="79" y="258"/>
                    <a:pt x="91" y="261"/>
                    <a:pt x="103" y="265"/>
                  </a:cubicBezTo>
                  <a:cubicBezTo>
                    <a:pt x="108" y="278"/>
                    <a:pt x="111" y="288"/>
                    <a:pt x="111" y="288"/>
                  </a:cubicBezTo>
                  <a:cubicBezTo>
                    <a:pt x="111" y="288"/>
                    <a:pt x="111" y="288"/>
                    <a:pt x="111" y="288"/>
                  </a:cubicBezTo>
                  <a:cubicBezTo>
                    <a:pt x="109" y="289"/>
                    <a:pt x="108" y="291"/>
                    <a:pt x="109" y="293"/>
                  </a:cubicBezTo>
                  <a:cubicBezTo>
                    <a:pt x="109" y="293"/>
                    <a:pt x="109" y="293"/>
                    <a:pt x="109" y="293"/>
                  </a:cubicBezTo>
                  <a:cubicBezTo>
                    <a:pt x="109" y="293"/>
                    <a:pt x="109" y="293"/>
                    <a:pt x="109" y="293"/>
                  </a:cubicBezTo>
                  <a:cubicBezTo>
                    <a:pt x="109" y="293"/>
                    <a:pt x="70" y="319"/>
                    <a:pt x="69" y="319"/>
                  </a:cubicBezTo>
                  <a:cubicBezTo>
                    <a:pt x="69" y="319"/>
                    <a:pt x="69" y="319"/>
                    <a:pt x="69" y="319"/>
                  </a:cubicBezTo>
                  <a:cubicBezTo>
                    <a:pt x="69" y="319"/>
                    <a:pt x="69" y="319"/>
                    <a:pt x="69" y="319"/>
                  </a:cubicBezTo>
                  <a:cubicBezTo>
                    <a:pt x="68" y="319"/>
                    <a:pt x="67" y="318"/>
                    <a:pt x="66" y="318"/>
                  </a:cubicBezTo>
                  <a:cubicBezTo>
                    <a:pt x="66" y="318"/>
                    <a:pt x="66" y="318"/>
                    <a:pt x="65" y="318"/>
                  </a:cubicBezTo>
                  <a:cubicBezTo>
                    <a:pt x="63" y="319"/>
                    <a:pt x="63" y="321"/>
                    <a:pt x="63" y="323"/>
                  </a:cubicBezTo>
                  <a:cubicBezTo>
                    <a:pt x="64" y="324"/>
                    <a:pt x="65" y="325"/>
                    <a:pt x="67" y="325"/>
                  </a:cubicBezTo>
                  <a:cubicBezTo>
                    <a:pt x="67" y="325"/>
                    <a:pt x="67" y="324"/>
                    <a:pt x="68" y="324"/>
                  </a:cubicBezTo>
                  <a:cubicBezTo>
                    <a:pt x="69" y="324"/>
                    <a:pt x="69" y="323"/>
                    <a:pt x="69" y="323"/>
                  </a:cubicBezTo>
                  <a:cubicBezTo>
                    <a:pt x="69" y="323"/>
                    <a:pt x="69" y="323"/>
                    <a:pt x="69" y="323"/>
                  </a:cubicBezTo>
                  <a:cubicBezTo>
                    <a:pt x="69" y="323"/>
                    <a:pt x="69" y="323"/>
                    <a:pt x="70" y="323"/>
                  </a:cubicBezTo>
                  <a:cubicBezTo>
                    <a:pt x="71" y="323"/>
                    <a:pt x="109" y="335"/>
                    <a:pt x="109" y="336"/>
                  </a:cubicBezTo>
                  <a:cubicBezTo>
                    <a:pt x="109" y="335"/>
                    <a:pt x="109" y="335"/>
                    <a:pt x="109" y="335"/>
                  </a:cubicBezTo>
                  <a:cubicBezTo>
                    <a:pt x="108" y="336"/>
                    <a:pt x="109" y="337"/>
                    <a:pt x="109" y="338"/>
                  </a:cubicBezTo>
                  <a:cubicBezTo>
                    <a:pt x="110" y="339"/>
                    <a:pt x="111" y="340"/>
                    <a:pt x="112" y="340"/>
                  </a:cubicBezTo>
                  <a:cubicBezTo>
                    <a:pt x="113" y="340"/>
                    <a:pt x="114" y="340"/>
                    <a:pt x="114" y="340"/>
                  </a:cubicBezTo>
                  <a:cubicBezTo>
                    <a:pt x="116" y="339"/>
                    <a:pt x="117" y="336"/>
                    <a:pt x="116" y="335"/>
                  </a:cubicBezTo>
                  <a:cubicBezTo>
                    <a:pt x="115" y="333"/>
                    <a:pt x="114" y="333"/>
                    <a:pt x="113" y="332"/>
                  </a:cubicBezTo>
                  <a:cubicBezTo>
                    <a:pt x="113" y="332"/>
                    <a:pt x="113" y="332"/>
                    <a:pt x="113" y="332"/>
                  </a:cubicBezTo>
                  <a:cubicBezTo>
                    <a:pt x="112" y="332"/>
                    <a:pt x="112" y="295"/>
                    <a:pt x="113" y="295"/>
                  </a:cubicBezTo>
                  <a:cubicBezTo>
                    <a:pt x="113" y="295"/>
                    <a:pt x="113" y="295"/>
                    <a:pt x="113" y="295"/>
                  </a:cubicBezTo>
                  <a:cubicBezTo>
                    <a:pt x="113" y="295"/>
                    <a:pt x="114" y="295"/>
                    <a:pt x="114" y="295"/>
                  </a:cubicBezTo>
                  <a:cubicBezTo>
                    <a:pt x="116" y="294"/>
                    <a:pt x="117" y="291"/>
                    <a:pt x="116" y="290"/>
                  </a:cubicBezTo>
                  <a:cubicBezTo>
                    <a:pt x="115" y="288"/>
                    <a:pt x="114" y="287"/>
                    <a:pt x="112" y="287"/>
                  </a:cubicBezTo>
                  <a:cubicBezTo>
                    <a:pt x="112" y="287"/>
                    <a:pt x="112" y="287"/>
                    <a:pt x="112" y="287"/>
                  </a:cubicBezTo>
                  <a:cubicBezTo>
                    <a:pt x="112" y="287"/>
                    <a:pt x="112" y="287"/>
                    <a:pt x="112" y="287"/>
                  </a:cubicBezTo>
                  <a:cubicBezTo>
                    <a:pt x="112" y="287"/>
                    <a:pt x="112" y="287"/>
                    <a:pt x="112" y="287"/>
                  </a:cubicBezTo>
                  <a:cubicBezTo>
                    <a:pt x="112" y="287"/>
                    <a:pt x="108" y="278"/>
                    <a:pt x="103" y="265"/>
                  </a:cubicBezTo>
                  <a:cubicBezTo>
                    <a:pt x="126" y="273"/>
                    <a:pt x="151" y="282"/>
                    <a:pt x="151" y="284"/>
                  </a:cubicBezTo>
                  <a:cubicBezTo>
                    <a:pt x="151" y="284"/>
                    <a:pt x="151" y="284"/>
                    <a:pt x="151" y="284"/>
                  </a:cubicBezTo>
                  <a:cubicBezTo>
                    <a:pt x="150" y="289"/>
                    <a:pt x="152" y="294"/>
                    <a:pt x="156" y="297"/>
                  </a:cubicBezTo>
                  <a:cubicBezTo>
                    <a:pt x="159" y="299"/>
                    <a:pt x="162" y="300"/>
                    <a:pt x="165" y="300"/>
                  </a:cubicBezTo>
                  <a:cubicBezTo>
                    <a:pt x="170" y="300"/>
                    <a:pt x="174" y="299"/>
                    <a:pt x="177" y="295"/>
                  </a:cubicBezTo>
                  <a:cubicBezTo>
                    <a:pt x="178" y="294"/>
                    <a:pt x="178" y="293"/>
                    <a:pt x="179" y="291"/>
                  </a:cubicBezTo>
                  <a:cubicBezTo>
                    <a:pt x="179" y="291"/>
                    <a:pt x="179" y="291"/>
                    <a:pt x="179" y="291"/>
                  </a:cubicBezTo>
                  <a:cubicBezTo>
                    <a:pt x="179" y="291"/>
                    <a:pt x="179" y="291"/>
                    <a:pt x="180" y="291"/>
                  </a:cubicBezTo>
                  <a:cubicBezTo>
                    <a:pt x="191" y="291"/>
                    <a:pt x="320" y="319"/>
                    <a:pt x="319" y="321"/>
                  </a:cubicBezTo>
                  <a:cubicBezTo>
                    <a:pt x="319" y="321"/>
                    <a:pt x="319" y="321"/>
                    <a:pt x="319" y="321"/>
                  </a:cubicBezTo>
                  <a:cubicBezTo>
                    <a:pt x="319" y="323"/>
                    <a:pt x="320" y="325"/>
                    <a:pt x="321" y="327"/>
                  </a:cubicBezTo>
                  <a:cubicBezTo>
                    <a:pt x="323" y="331"/>
                    <a:pt x="327" y="333"/>
                    <a:pt x="331" y="333"/>
                  </a:cubicBezTo>
                  <a:cubicBezTo>
                    <a:pt x="333" y="333"/>
                    <a:pt x="335" y="333"/>
                    <a:pt x="336" y="332"/>
                  </a:cubicBezTo>
                  <a:cubicBezTo>
                    <a:pt x="339" y="331"/>
                    <a:pt x="340" y="330"/>
                    <a:pt x="341" y="328"/>
                  </a:cubicBezTo>
                  <a:cubicBezTo>
                    <a:pt x="341" y="328"/>
                    <a:pt x="341" y="328"/>
                    <a:pt x="341" y="328"/>
                  </a:cubicBezTo>
                  <a:cubicBezTo>
                    <a:pt x="342" y="328"/>
                    <a:pt x="342" y="328"/>
                    <a:pt x="342" y="328"/>
                  </a:cubicBezTo>
                  <a:cubicBezTo>
                    <a:pt x="347" y="328"/>
                    <a:pt x="375" y="340"/>
                    <a:pt x="375" y="342"/>
                  </a:cubicBezTo>
                  <a:cubicBezTo>
                    <a:pt x="375" y="342"/>
                    <a:pt x="375" y="342"/>
                    <a:pt x="375" y="342"/>
                  </a:cubicBezTo>
                  <a:cubicBezTo>
                    <a:pt x="375" y="343"/>
                    <a:pt x="375" y="345"/>
                    <a:pt x="375" y="346"/>
                  </a:cubicBezTo>
                  <a:cubicBezTo>
                    <a:pt x="376" y="348"/>
                    <a:pt x="378" y="349"/>
                    <a:pt x="380" y="350"/>
                  </a:cubicBezTo>
                  <a:cubicBezTo>
                    <a:pt x="380" y="350"/>
                    <a:pt x="380" y="350"/>
                    <a:pt x="380" y="350"/>
                  </a:cubicBezTo>
                  <a:cubicBezTo>
                    <a:pt x="381" y="350"/>
                    <a:pt x="371" y="406"/>
                    <a:pt x="370" y="406"/>
                  </a:cubicBezTo>
                  <a:cubicBezTo>
                    <a:pt x="371" y="406"/>
                    <a:pt x="371" y="406"/>
                    <a:pt x="371" y="406"/>
                  </a:cubicBezTo>
                  <a:cubicBezTo>
                    <a:pt x="371" y="406"/>
                    <a:pt x="371" y="406"/>
                    <a:pt x="370" y="406"/>
                  </a:cubicBezTo>
                  <a:cubicBezTo>
                    <a:pt x="370" y="406"/>
                    <a:pt x="369" y="406"/>
                    <a:pt x="368" y="406"/>
                  </a:cubicBezTo>
                  <a:cubicBezTo>
                    <a:pt x="366" y="407"/>
                    <a:pt x="365" y="410"/>
                    <a:pt x="366" y="412"/>
                  </a:cubicBezTo>
                  <a:cubicBezTo>
                    <a:pt x="367" y="414"/>
                    <a:pt x="369" y="415"/>
                    <a:pt x="370" y="415"/>
                  </a:cubicBezTo>
                  <a:cubicBezTo>
                    <a:pt x="371" y="415"/>
                    <a:pt x="372" y="415"/>
                    <a:pt x="373" y="414"/>
                  </a:cubicBezTo>
                  <a:cubicBezTo>
                    <a:pt x="375" y="413"/>
                    <a:pt x="376" y="411"/>
                    <a:pt x="375" y="408"/>
                  </a:cubicBezTo>
                  <a:cubicBezTo>
                    <a:pt x="375" y="408"/>
                    <a:pt x="375" y="408"/>
                    <a:pt x="375" y="408"/>
                  </a:cubicBezTo>
                  <a:cubicBezTo>
                    <a:pt x="375" y="408"/>
                    <a:pt x="375" y="408"/>
                    <a:pt x="375" y="408"/>
                  </a:cubicBezTo>
                  <a:cubicBezTo>
                    <a:pt x="374" y="407"/>
                    <a:pt x="399" y="388"/>
                    <a:pt x="401" y="388"/>
                  </a:cubicBezTo>
                  <a:cubicBezTo>
                    <a:pt x="402" y="388"/>
                    <a:pt x="402" y="388"/>
                    <a:pt x="402" y="388"/>
                  </a:cubicBezTo>
                  <a:cubicBezTo>
                    <a:pt x="402" y="388"/>
                    <a:pt x="402" y="388"/>
                    <a:pt x="402" y="388"/>
                  </a:cubicBezTo>
                  <a:cubicBezTo>
                    <a:pt x="403" y="390"/>
                    <a:pt x="406" y="390"/>
                    <a:pt x="408" y="390"/>
                  </a:cubicBezTo>
                  <a:cubicBezTo>
                    <a:pt x="409" y="390"/>
                    <a:pt x="411" y="390"/>
                    <a:pt x="412" y="390"/>
                  </a:cubicBezTo>
                  <a:cubicBezTo>
                    <a:pt x="416" y="388"/>
                    <a:pt x="418" y="382"/>
                    <a:pt x="416" y="378"/>
                  </a:cubicBezTo>
                  <a:cubicBezTo>
                    <a:pt x="415" y="375"/>
                    <a:pt x="411" y="373"/>
                    <a:pt x="408" y="373"/>
                  </a:cubicBezTo>
                  <a:cubicBezTo>
                    <a:pt x="407" y="373"/>
                    <a:pt x="405" y="373"/>
                    <a:pt x="404" y="374"/>
                  </a:cubicBezTo>
                  <a:cubicBezTo>
                    <a:pt x="404" y="374"/>
                    <a:pt x="404" y="374"/>
                    <a:pt x="404" y="374"/>
                  </a:cubicBezTo>
                  <a:cubicBezTo>
                    <a:pt x="404" y="374"/>
                    <a:pt x="404" y="374"/>
                    <a:pt x="404" y="374"/>
                  </a:cubicBezTo>
                  <a:cubicBezTo>
                    <a:pt x="402" y="374"/>
                    <a:pt x="385" y="349"/>
                    <a:pt x="386" y="348"/>
                  </a:cubicBezTo>
                  <a:cubicBezTo>
                    <a:pt x="386" y="348"/>
                    <a:pt x="386" y="348"/>
                    <a:pt x="386" y="348"/>
                  </a:cubicBezTo>
                  <a:cubicBezTo>
                    <a:pt x="389" y="346"/>
                    <a:pt x="389" y="343"/>
                    <a:pt x="388" y="340"/>
                  </a:cubicBezTo>
                  <a:cubicBezTo>
                    <a:pt x="387" y="338"/>
                    <a:pt x="384" y="337"/>
                    <a:pt x="382" y="337"/>
                  </a:cubicBezTo>
                  <a:cubicBezTo>
                    <a:pt x="381" y="337"/>
                    <a:pt x="380" y="337"/>
                    <a:pt x="379" y="337"/>
                  </a:cubicBezTo>
                  <a:cubicBezTo>
                    <a:pt x="378" y="338"/>
                    <a:pt x="377" y="339"/>
                    <a:pt x="376" y="340"/>
                  </a:cubicBezTo>
                  <a:cubicBezTo>
                    <a:pt x="376" y="340"/>
                    <a:pt x="376" y="340"/>
                    <a:pt x="376" y="340"/>
                  </a:cubicBezTo>
                  <a:cubicBezTo>
                    <a:pt x="376" y="340"/>
                    <a:pt x="376" y="340"/>
                    <a:pt x="376" y="340"/>
                  </a:cubicBezTo>
                  <a:cubicBezTo>
                    <a:pt x="373" y="340"/>
                    <a:pt x="342" y="327"/>
                    <a:pt x="343" y="325"/>
                  </a:cubicBezTo>
                  <a:cubicBezTo>
                    <a:pt x="343" y="325"/>
                    <a:pt x="343" y="325"/>
                    <a:pt x="343" y="325"/>
                  </a:cubicBezTo>
                  <a:cubicBezTo>
                    <a:pt x="343" y="324"/>
                    <a:pt x="343" y="323"/>
                    <a:pt x="343" y="322"/>
                  </a:cubicBezTo>
                  <a:cubicBezTo>
                    <a:pt x="343" y="322"/>
                    <a:pt x="343" y="322"/>
                    <a:pt x="343" y="322"/>
                  </a:cubicBezTo>
                  <a:cubicBezTo>
                    <a:pt x="343" y="320"/>
                    <a:pt x="479" y="305"/>
                    <a:pt x="496" y="305"/>
                  </a:cubicBezTo>
                  <a:cubicBezTo>
                    <a:pt x="497" y="305"/>
                    <a:pt x="497" y="305"/>
                    <a:pt x="497" y="305"/>
                  </a:cubicBezTo>
                  <a:cubicBezTo>
                    <a:pt x="497" y="305"/>
                    <a:pt x="497" y="305"/>
                    <a:pt x="497" y="305"/>
                  </a:cubicBezTo>
                  <a:cubicBezTo>
                    <a:pt x="498" y="306"/>
                    <a:pt x="498" y="306"/>
                    <a:pt x="498" y="307"/>
                  </a:cubicBezTo>
                  <a:cubicBezTo>
                    <a:pt x="500" y="311"/>
                    <a:pt x="504" y="314"/>
                    <a:pt x="509" y="314"/>
                  </a:cubicBezTo>
                  <a:cubicBezTo>
                    <a:pt x="511" y="314"/>
                    <a:pt x="512" y="313"/>
                    <a:pt x="514" y="313"/>
                  </a:cubicBezTo>
                  <a:cubicBezTo>
                    <a:pt x="516" y="312"/>
                    <a:pt x="517" y="311"/>
                    <a:pt x="519" y="309"/>
                  </a:cubicBezTo>
                  <a:cubicBezTo>
                    <a:pt x="519" y="309"/>
                    <a:pt x="519" y="309"/>
                    <a:pt x="519" y="309"/>
                  </a:cubicBezTo>
                  <a:cubicBezTo>
                    <a:pt x="519" y="309"/>
                    <a:pt x="519" y="309"/>
                    <a:pt x="519" y="309"/>
                  </a:cubicBezTo>
                  <a:cubicBezTo>
                    <a:pt x="523" y="309"/>
                    <a:pt x="568" y="332"/>
                    <a:pt x="567" y="333"/>
                  </a:cubicBezTo>
                  <a:cubicBezTo>
                    <a:pt x="567" y="333"/>
                    <a:pt x="567" y="333"/>
                    <a:pt x="567" y="333"/>
                  </a:cubicBezTo>
                  <a:cubicBezTo>
                    <a:pt x="566" y="336"/>
                    <a:pt x="566" y="338"/>
                    <a:pt x="567" y="341"/>
                  </a:cubicBezTo>
                  <a:cubicBezTo>
                    <a:pt x="569" y="344"/>
                    <a:pt x="573" y="346"/>
                    <a:pt x="576" y="346"/>
                  </a:cubicBezTo>
                  <a:cubicBezTo>
                    <a:pt x="578" y="346"/>
                    <a:pt x="579" y="346"/>
                    <a:pt x="581" y="345"/>
                  </a:cubicBezTo>
                  <a:cubicBezTo>
                    <a:pt x="586" y="343"/>
                    <a:pt x="588" y="337"/>
                    <a:pt x="586" y="332"/>
                  </a:cubicBezTo>
                  <a:cubicBezTo>
                    <a:pt x="585" y="331"/>
                    <a:pt x="585" y="331"/>
                    <a:pt x="585" y="331"/>
                  </a:cubicBezTo>
                  <a:cubicBezTo>
                    <a:pt x="585" y="331"/>
                    <a:pt x="585" y="331"/>
                    <a:pt x="585" y="331"/>
                  </a:cubicBezTo>
                  <a:cubicBezTo>
                    <a:pt x="584" y="330"/>
                    <a:pt x="626" y="294"/>
                    <a:pt x="631" y="294"/>
                  </a:cubicBezTo>
                  <a:cubicBezTo>
                    <a:pt x="631" y="294"/>
                    <a:pt x="631" y="294"/>
                    <a:pt x="631" y="294"/>
                  </a:cubicBezTo>
                  <a:cubicBezTo>
                    <a:pt x="631" y="294"/>
                    <a:pt x="631" y="294"/>
                    <a:pt x="631" y="294"/>
                  </a:cubicBezTo>
                  <a:cubicBezTo>
                    <a:pt x="634" y="296"/>
                    <a:pt x="637" y="298"/>
                    <a:pt x="641" y="298"/>
                  </a:cubicBezTo>
                  <a:cubicBezTo>
                    <a:pt x="647" y="298"/>
                    <a:pt x="653" y="294"/>
                    <a:pt x="655" y="289"/>
                  </a:cubicBezTo>
                  <a:cubicBezTo>
                    <a:pt x="655" y="289"/>
                    <a:pt x="655" y="289"/>
                    <a:pt x="655" y="289"/>
                  </a:cubicBezTo>
                  <a:cubicBezTo>
                    <a:pt x="655" y="289"/>
                    <a:pt x="656" y="289"/>
                    <a:pt x="656" y="289"/>
                  </a:cubicBezTo>
                  <a:cubicBezTo>
                    <a:pt x="666" y="289"/>
                    <a:pt x="737" y="308"/>
                    <a:pt x="737" y="310"/>
                  </a:cubicBezTo>
                  <a:cubicBezTo>
                    <a:pt x="737" y="310"/>
                    <a:pt x="737" y="310"/>
                    <a:pt x="737" y="310"/>
                  </a:cubicBezTo>
                  <a:cubicBezTo>
                    <a:pt x="737" y="311"/>
                    <a:pt x="737" y="312"/>
                    <a:pt x="738" y="314"/>
                  </a:cubicBezTo>
                  <a:cubicBezTo>
                    <a:pt x="738" y="314"/>
                    <a:pt x="739" y="315"/>
                    <a:pt x="739" y="316"/>
                  </a:cubicBezTo>
                  <a:cubicBezTo>
                    <a:pt x="739" y="316"/>
                    <a:pt x="739" y="316"/>
                    <a:pt x="739" y="316"/>
                  </a:cubicBezTo>
                  <a:cubicBezTo>
                    <a:pt x="740" y="317"/>
                    <a:pt x="692" y="378"/>
                    <a:pt x="689" y="378"/>
                  </a:cubicBezTo>
                  <a:cubicBezTo>
                    <a:pt x="689" y="378"/>
                    <a:pt x="689" y="378"/>
                    <a:pt x="689" y="378"/>
                  </a:cubicBezTo>
                  <a:cubicBezTo>
                    <a:pt x="687" y="377"/>
                    <a:pt x="684" y="376"/>
                    <a:pt x="682" y="376"/>
                  </a:cubicBezTo>
                  <a:cubicBezTo>
                    <a:pt x="674" y="376"/>
                    <a:pt x="667" y="382"/>
                    <a:pt x="667" y="390"/>
                  </a:cubicBezTo>
                  <a:cubicBezTo>
                    <a:pt x="667" y="391"/>
                    <a:pt x="667" y="392"/>
                    <a:pt x="668" y="393"/>
                  </a:cubicBezTo>
                  <a:cubicBezTo>
                    <a:pt x="668" y="396"/>
                    <a:pt x="559" y="435"/>
                    <a:pt x="552" y="435"/>
                  </a:cubicBezTo>
                  <a:cubicBezTo>
                    <a:pt x="552" y="435"/>
                    <a:pt x="552" y="435"/>
                    <a:pt x="552" y="435"/>
                  </a:cubicBezTo>
                  <a:cubicBezTo>
                    <a:pt x="552" y="435"/>
                    <a:pt x="552" y="435"/>
                    <a:pt x="552" y="435"/>
                  </a:cubicBezTo>
                  <a:cubicBezTo>
                    <a:pt x="550" y="431"/>
                    <a:pt x="545" y="429"/>
                    <a:pt x="540" y="429"/>
                  </a:cubicBezTo>
                  <a:cubicBezTo>
                    <a:pt x="533" y="429"/>
                    <a:pt x="527" y="434"/>
                    <a:pt x="527" y="442"/>
                  </a:cubicBezTo>
                  <a:cubicBezTo>
                    <a:pt x="527" y="449"/>
                    <a:pt x="533" y="455"/>
                    <a:pt x="540" y="455"/>
                  </a:cubicBezTo>
                  <a:cubicBezTo>
                    <a:pt x="548" y="455"/>
                    <a:pt x="554" y="449"/>
                    <a:pt x="554" y="442"/>
                  </a:cubicBezTo>
                  <a:cubicBezTo>
                    <a:pt x="554" y="441"/>
                    <a:pt x="554" y="440"/>
                    <a:pt x="553" y="439"/>
                  </a:cubicBezTo>
                  <a:cubicBezTo>
                    <a:pt x="553" y="436"/>
                    <a:pt x="661" y="397"/>
                    <a:pt x="669" y="397"/>
                  </a:cubicBezTo>
                  <a:cubicBezTo>
                    <a:pt x="669" y="397"/>
                    <a:pt x="669" y="397"/>
                    <a:pt x="669" y="397"/>
                  </a:cubicBezTo>
                  <a:cubicBezTo>
                    <a:pt x="669" y="397"/>
                    <a:pt x="669" y="397"/>
                    <a:pt x="669" y="397"/>
                  </a:cubicBezTo>
                  <a:cubicBezTo>
                    <a:pt x="671" y="401"/>
                    <a:pt x="675" y="403"/>
                    <a:pt x="680" y="404"/>
                  </a:cubicBezTo>
                  <a:cubicBezTo>
                    <a:pt x="680" y="404"/>
                    <a:pt x="680" y="404"/>
                    <a:pt x="680" y="404"/>
                  </a:cubicBezTo>
                  <a:cubicBezTo>
                    <a:pt x="683" y="404"/>
                    <a:pt x="682" y="478"/>
                    <a:pt x="681" y="478"/>
                  </a:cubicBezTo>
                  <a:cubicBezTo>
                    <a:pt x="681" y="478"/>
                    <a:pt x="681" y="478"/>
                    <a:pt x="681" y="478"/>
                  </a:cubicBezTo>
                  <a:cubicBezTo>
                    <a:pt x="680" y="478"/>
                    <a:pt x="679" y="479"/>
                    <a:pt x="679" y="479"/>
                  </a:cubicBezTo>
                  <a:cubicBezTo>
                    <a:pt x="676" y="480"/>
                    <a:pt x="674" y="483"/>
                    <a:pt x="674" y="486"/>
                  </a:cubicBezTo>
                  <a:cubicBezTo>
                    <a:pt x="674" y="486"/>
                    <a:pt x="674" y="486"/>
                    <a:pt x="674" y="486"/>
                  </a:cubicBezTo>
                  <a:cubicBezTo>
                    <a:pt x="674" y="488"/>
                    <a:pt x="615" y="505"/>
                    <a:pt x="607" y="505"/>
                  </a:cubicBezTo>
                  <a:cubicBezTo>
                    <a:pt x="607" y="505"/>
                    <a:pt x="606" y="505"/>
                    <a:pt x="606" y="505"/>
                  </a:cubicBezTo>
                  <a:cubicBezTo>
                    <a:pt x="606" y="505"/>
                    <a:pt x="606" y="505"/>
                    <a:pt x="606" y="505"/>
                  </a:cubicBezTo>
                  <a:cubicBezTo>
                    <a:pt x="604" y="501"/>
                    <a:pt x="599" y="498"/>
                    <a:pt x="594" y="498"/>
                  </a:cubicBezTo>
                  <a:cubicBezTo>
                    <a:pt x="592" y="498"/>
                    <a:pt x="590" y="498"/>
                    <a:pt x="588" y="499"/>
                  </a:cubicBezTo>
                  <a:cubicBezTo>
                    <a:pt x="582" y="502"/>
                    <a:pt x="579" y="510"/>
                    <a:pt x="582" y="516"/>
                  </a:cubicBezTo>
                  <a:cubicBezTo>
                    <a:pt x="584" y="521"/>
                    <a:pt x="589" y="524"/>
                    <a:pt x="594" y="524"/>
                  </a:cubicBezTo>
                  <a:cubicBezTo>
                    <a:pt x="596" y="524"/>
                    <a:pt x="598" y="523"/>
                    <a:pt x="600" y="523"/>
                  </a:cubicBezTo>
                  <a:cubicBezTo>
                    <a:pt x="605" y="520"/>
                    <a:pt x="608" y="515"/>
                    <a:pt x="608" y="509"/>
                  </a:cubicBezTo>
                  <a:cubicBezTo>
                    <a:pt x="608" y="509"/>
                    <a:pt x="608" y="509"/>
                    <a:pt x="608" y="509"/>
                  </a:cubicBezTo>
                  <a:cubicBezTo>
                    <a:pt x="607" y="507"/>
                    <a:pt x="670" y="489"/>
                    <a:pt x="675" y="489"/>
                  </a:cubicBezTo>
                  <a:cubicBezTo>
                    <a:pt x="675" y="489"/>
                    <a:pt x="675" y="489"/>
                    <a:pt x="675" y="489"/>
                  </a:cubicBezTo>
                  <a:cubicBezTo>
                    <a:pt x="675" y="489"/>
                    <a:pt x="675" y="489"/>
                    <a:pt x="675" y="489"/>
                  </a:cubicBezTo>
                  <a:cubicBezTo>
                    <a:pt x="676" y="491"/>
                    <a:pt x="679" y="493"/>
                    <a:pt x="682" y="493"/>
                  </a:cubicBezTo>
                  <a:cubicBezTo>
                    <a:pt x="683" y="493"/>
                    <a:pt x="684" y="493"/>
                    <a:pt x="685" y="492"/>
                  </a:cubicBezTo>
                  <a:cubicBezTo>
                    <a:pt x="689" y="490"/>
                    <a:pt x="690" y="486"/>
                    <a:pt x="689" y="482"/>
                  </a:cubicBezTo>
                  <a:cubicBezTo>
                    <a:pt x="688" y="480"/>
                    <a:pt x="685" y="479"/>
                    <a:pt x="683" y="478"/>
                  </a:cubicBezTo>
                  <a:cubicBezTo>
                    <a:pt x="683" y="478"/>
                    <a:pt x="683" y="478"/>
                    <a:pt x="683" y="478"/>
                  </a:cubicBezTo>
                  <a:cubicBezTo>
                    <a:pt x="682" y="478"/>
                    <a:pt x="681" y="404"/>
                    <a:pt x="684" y="404"/>
                  </a:cubicBezTo>
                  <a:cubicBezTo>
                    <a:pt x="684" y="404"/>
                    <a:pt x="684" y="404"/>
                    <a:pt x="684" y="404"/>
                  </a:cubicBezTo>
                  <a:cubicBezTo>
                    <a:pt x="689" y="403"/>
                    <a:pt x="693" y="400"/>
                    <a:pt x="695" y="396"/>
                  </a:cubicBezTo>
                  <a:cubicBezTo>
                    <a:pt x="695" y="396"/>
                    <a:pt x="695" y="396"/>
                    <a:pt x="695" y="396"/>
                  </a:cubicBezTo>
                  <a:cubicBezTo>
                    <a:pt x="695" y="396"/>
                    <a:pt x="695" y="396"/>
                    <a:pt x="696" y="396"/>
                  </a:cubicBezTo>
                  <a:cubicBezTo>
                    <a:pt x="704" y="396"/>
                    <a:pt x="759" y="413"/>
                    <a:pt x="758" y="416"/>
                  </a:cubicBezTo>
                  <a:cubicBezTo>
                    <a:pt x="758" y="416"/>
                    <a:pt x="758" y="416"/>
                    <a:pt x="758" y="416"/>
                  </a:cubicBezTo>
                  <a:cubicBezTo>
                    <a:pt x="758" y="417"/>
                    <a:pt x="758" y="418"/>
                    <a:pt x="758" y="419"/>
                  </a:cubicBezTo>
                  <a:cubicBezTo>
                    <a:pt x="758" y="429"/>
                    <a:pt x="766" y="437"/>
                    <a:pt x="776" y="437"/>
                  </a:cubicBezTo>
                  <a:cubicBezTo>
                    <a:pt x="786" y="437"/>
                    <a:pt x="795" y="429"/>
                    <a:pt x="795" y="419"/>
                  </a:cubicBezTo>
                  <a:cubicBezTo>
                    <a:pt x="795" y="409"/>
                    <a:pt x="786" y="401"/>
                    <a:pt x="776" y="401"/>
                  </a:cubicBezTo>
                  <a:cubicBezTo>
                    <a:pt x="769" y="401"/>
                    <a:pt x="763" y="405"/>
                    <a:pt x="760" y="411"/>
                  </a:cubicBezTo>
                  <a:cubicBezTo>
                    <a:pt x="760" y="411"/>
                    <a:pt x="760" y="411"/>
                    <a:pt x="760" y="411"/>
                  </a:cubicBezTo>
                  <a:cubicBezTo>
                    <a:pt x="760" y="411"/>
                    <a:pt x="759" y="411"/>
                    <a:pt x="759" y="411"/>
                  </a:cubicBezTo>
                  <a:cubicBezTo>
                    <a:pt x="749" y="411"/>
                    <a:pt x="696" y="395"/>
                    <a:pt x="696" y="392"/>
                  </a:cubicBezTo>
                  <a:cubicBezTo>
                    <a:pt x="696" y="392"/>
                    <a:pt x="696" y="392"/>
                    <a:pt x="696" y="392"/>
                  </a:cubicBezTo>
                  <a:cubicBezTo>
                    <a:pt x="696" y="391"/>
                    <a:pt x="696" y="391"/>
                    <a:pt x="696" y="390"/>
                  </a:cubicBezTo>
                  <a:cubicBezTo>
                    <a:pt x="696" y="386"/>
                    <a:pt x="695" y="383"/>
                    <a:pt x="692" y="380"/>
                  </a:cubicBezTo>
                  <a:cubicBezTo>
                    <a:pt x="692" y="380"/>
                    <a:pt x="692" y="380"/>
                    <a:pt x="692" y="380"/>
                  </a:cubicBezTo>
                  <a:cubicBezTo>
                    <a:pt x="690" y="378"/>
                    <a:pt x="739" y="317"/>
                    <a:pt x="741" y="317"/>
                  </a:cubicBezTo>
                  <a:cubicBezTo>
                    <a:pt x="741" y="317"/>
                    <a:pt x="741" y="317"/>
                    <a:pt x="741" y="317"/>
                  </a:cubicBezTo>
                  <a:cubicBezTo>
                    <a:pt x="741" y="317"/>
                    <a:pt x="741" y="317"/>
                    <a:pt x="741" y="317"/>
                  </a:cubicBezTo>
                  <a:cubicBezTo>
                    <a:pt x="742" y="318"/>
                    <a:pt x="743" y="318"/>
                    <a:pt x="745" y="318"/>
                  </a:cubicBezTo>
                  <a:cubicBezTo>
                    <a:pt x="746" y="318"/>
                    <a:pt x="747" y="318"/>
                    <a:pt x="748" y="317"/>
                  </a:cubicBezTo>
                  <a:cubicBezTo>
                    <a:pt x="748" y="317"/>
                    <a:pt x="749" y="316"/>
                    <a:pt x="750" y="316"/>
                  </a:cubicBezTo>
                  <a:cubicBezTo>
                    <a:pt x="749" y="316"/>
                    <a:pt x="749" y="316"/>
                    <a:pt x="749" y="316"/>
                  </a:cubicBezTo>
                  <a:cubicBezTo>
                    <a:pt x="749" y="316"/>
                    <a:pt x="750" y="316"/>
                    <a:pt x="750" y="316"/>
                  </a:cubicBezTo>
                  <a:cubicBezTo>
                    <a:pt x="752" y="316"/>
                    <a:pt x="870" y="414"/>
                    <a:pt x="868" y="417"/>
                  </a:cubicBezTo>
                  <a:cubicBezTo>
                    <a:pt x="868" y="417"/>
                    <a:pt x="868" y="417"/>
                    <a:pt x="868" y="417"/>
                  </a:cubicBezTo>
                  <a:cubicBezTo>
                    <a:pt x="867" y="419"/>
                    <a:pt x="866" y="421"/>
                    <a:pt x="866" y="424"/>
                  </a:cubicBezTo>
                  <a:cubicBezTo>
                    <a:pt x="865" y="433"/>
                    <a:pt x="872" y="440"/>
                    <a:pt x="881" y="441"/>
                  </a:cubicBezTo>
                  <a:cubicBezTo>
                    <a:pt x="882" y="441"/>
                    <a:pt x="882" y="441"/>
                    <a:pt x="882" y="441"/>
                  </a:cubicBezTo>
                  <a:cubicBezTo>
                    <a:pt x="885" y="441"/>
                    <a:pt x="887" y="440"/>
                    <a:pt x="889" y="439"/>
                  </a:cubicBezTo>
                  <a:cubicBezTo>
                    <a:pt x="889" y="439"/>
                    <a:pt x="889" y="439"/>
                    <a:pt x="889" y="439"/>
                  </a:cubicBezTo>
                  <a:cubicBezTo>
                    <a:pt x="889" y="439"/>
                    <a:pt x="889" y="439"/>
                    <a:pt x="889" y="439"/>
                  </a:cubicBezTo>
                  <a:cubicBezTo>
                    <a:pt x="893" y="439"/>
                    <a:pt x="933" y="497"/>
                    <a:pt x="931" y="499"/>
                  </a:cubicBezTo>
                  <a:cubicBezTo>
                    <a:pt x="931" y="499"/>
                    <a:pt x="931" y="499"/>
                    <a:pt x="931" y="499"/>
                  </a:cubicBezTo>
                  <a:cubicBezTo>
                    <a:pt x="929" y="501"/>
                    <a:pt x="927" y="504"/>
                    <a:pt x="927" y="508"/>
                  </a:cubicBezTo>
                  <a:cubicBezTo>
                    <a:pt x="926" y="515"/>
                    <a:pt x="932" y="522"/>
                    <a:pt x="940" y="522"/>
                  </a:cubicBezTo>
                  <a:cubicBezTo>
                    <a:pt x="940" y="522"/>
                    <a:pt x="940" y="522"/>
                    <a:pt x="941" y="522"/>
                  </a:cubicBezTo>
                  <a:cubicBezTo>
                    <a:pt x="948" y="522"/>
                    <a:pt x="954" y="516"/>
                    <a:pt x="954" y="509"/>
                  </a:cubicBezTo>
                  <a:cubicBezTo>
                    <a:pt x="955" y="503"/>
                    <a:pt x="950" y="497"/>
                    <a:pt x="944" y="496"/>
                  </a:cubicBezTo>
                  <a:cubicBezTo>
                    <a:pt x="944" y="496"/>
                    <a:pt x="944" y="496"/>
                    <a:pt x="944" y="496"/>
                  </a:cubicBezTo>
                  <a:cubicBezTo>
                    <a:pt x="941" y="495"/>
                    <a:pt x="946" y="401"/>
                    <a:pt x="951" y="401"/>
                  </a:cubicBezTo>
                  <a:cubicBezTo>
                    <a:pt x="951" y="401"/>
                    <a:pt x="951" y="401"/>
                    <a:pt x="951" y="401"/>
                  </a:cubicBezTo>
                  <a:cubicBezTo>
                    <a:pt x="959" y="400"/>
                    <a:pt x="967" y="395"/>
                    <a:pt x="971" y="388"/>
                  </a:cubicBezTo>
                  <a:cubicBezTo>
                    <a:pt x="978" y="376"/>
                    <a:pt x="973" y="361"/>
                    <a:pt x="960" y="354"/>
                  </a:cubicBezTo>
                  <a:cubicBezTo>
                    <a:pt x="957" y="352"/>
                    <a:pt x="952" y="351"/>
                    <a:pt x="948" y="351"/>
                  </a:cubicBezTo>
                  <a:cubicBezTo>
                    <a:pt x="940" y="351"/>
                    <a:pt x="931" y="355"/>
                    <a:pt x="926" y="363"/>
                  </a:cubicBezTo>
                  <a:cubicBezTo>
                    <a:pt x="926" y="363"/>
                    <a:pt x="926" y="363"/>
                    <a:pt x="926" y="363"/>
                  </a:cubicBezTo>
                  <a:cubicBezTo>
                    <a:pt x="926" y="363"/>
                    <a:pt x="926" y="363"/>
                    <a:pt x="925" y="363"/>
                  </a:cubicBezTo>
                  <a:cubicBezTo>
                    <a:pt x="921" y="363"/>
                    <a:pt x="909" y="359"/>
                    <a:pt x="896" y="354"/>
                  </a:cubicBezTo>
                  <a:cubicBezTo>
                    <a:pt x="911" y="360"/>
                    <a:pt x="924" y="367"/>
                    <a:pt x="923" y="369"/>
                  </a:cubicBezTo>
                  <a:cubicBezTo>
                    <a:pt x="923" y="369"/>
                    <a:pt x="923" y="369"/>
                    <a:pt x="923" y="369"/>
                  </a:cubicBezTo>
                  <a:cubicBezTo>
                    <a:pt x="921" y="376"/>
                    <a:pt x="922" y="382"/>
                    <a:pt x="926" y="388"/>
                  </a:cubicBezTo>
                  <a:cubicBezTo>
                    <a:pt x="926" y="388"/>
                    <a:pt x="926" y="388"/>
                    <a:pt x="926" y="388"/>
                  </a:cubicBezTo>
                  <a:cubicBezTo>
                    <a:pt x="928" y="392"/>
                    <a:pt x="898" y="414"/>
                    <a:pt x="894" y="414"/>
                  </a:cubicBezTo>
                  <a:cubicBezTo>
                    <a:pt x="893" y="414"/>
                    <a:pt x="893" y="414"/>
                    <a:pt x="893" y="413"/>
                  </a:cubicBezTo>
                  <a:cubicBezTo>
                    <a:pt x="893" y="413"/>
                    <a:pt x="893" y="413"/>
                    <a:pt x="893" y="413"/>
                  </a:cubicBezTo>
                  <a:cubicBezTo>
                    <a:pt x="890" y="411"/>
                    <a:pt x="887" y="410"/>
                    <a:pt x="883" y="409"/>
                  </a:cubicBezTo>
                  <a:cubicBezTo>
                    <a:pt x="883" y="409"/>
                    <a:pt x="882" y="409"/>
                    <a:pt x="882" y="409"/>
                  </a:cubicBezTo>
                  <a:cubicBezTo>
                    <a:pt x="878" y="409"/>
                    <a:pt x="874" y="411"/>
                    <a:pt x="871" y="413"/>
                  </a:cubicBezTo>
                  <a:cubicBezTo>
                    <a:pt x="871" y="413"/>
                    <a:pt x="871" y="413"/>
                    <a:pt x="871" y="413"/>
                  </a:cubicBezTo>
                  <a:cubicBezTo>
                    <a:pt x="871" y="413"/>
                    <a:pt x="871" y="413"/>
                    <a:pt x="871" y="413"/>
                  </a:cubicBezTo>
                  <a:cubicBezTo>
                    <a:pt x="867" y="413"/>
                    <a:pt x="750" y="316"/>
                    <a:pt x="751" y="314"/>
                  </a:cubicBezTo>
                  <a:cubicBezTo>
                    <a:pt x="751" y="314"/>
                    <a:pt x="751" y="314"/>
                    <a:pt x="751" y="314"/>
                  </a:cubicBezTo>
                  <a:cubicBezTo>
                    <a:pt x="752" y="312"/>
                    <a:pt x="753" y="310"/>
                    <a:pt x="752" y="307"/>
                  </a:cubicBezTo>
                  <a:cubicBezTo>
                    <a:pt x="750" y="305"/>
                    <a:pt x="747" y="303"/>
                    <a:pt x="745" y="303"/>
                  </a:cubicBezTo>
                  <a:cubicBezTo>
                    <a:pt x="744" y="303"/>
                    <a:pt x="742" y="303"/>
                    <a:pt x="741" y="304"/>
                  </a:cubicBezTo>
                  <a:cubicBezTo>
                    <a:pt x="740" y="305"/>
                    <a:pt x="738" y="306"/>
                    <a:pt x="738" y="307"/>
                  </a:cubicBezTo>
                  <a:cubicBezTo>
                    <a:pt x="738" y="307"/>
                    <a:pt x="738" y="307"/>
                    <a:pt x="738" y="307"/>
                  </a:cubicBezTo>
                  <a:cubicBezTo>
                    <a:pt x="738" y="307"/>
                    <a:pt x="738" y="307"/>
                    <a:pt x="737" y="307"/>
                  </a:cubicBezTo>
                  <a:cubicBezTo>
                    <a:pt x="732" y="307"/>
                    <a:pt x="656" y="287"/>
                    <a:pt x="657" y="284"/>
                  </a:cubicBezTo>
                  <a:cubicBezTo>
                    <a:pt x="657" y="285"/>
                    <a:pt x="657" y="285"/>
                    <a:pt x="657" y="285"/>
                  </a:cubicBezTo>
                  <a:cubicBezTo>
                    <a:pt x="657" y="284"/>
                    <a:pt x="657" y="283"/>
                    <a:pt x="657" y="283"/>
                  </a:cubicBezTo>
                  <a:cubicBezTo>
                    <a:pt x="657" y="280"/>
                    <a:pt x="656" y="278"/>
                    <a:pt x="655" y="275"/>
                  </a:cubicBezTo>
                  <a:cubicBezTo>
                    <a:pt x="653" y="273"/>
                    <a:pt x="710" y="233"/>
                    <a:pt x="712" y="233"/>
                  </a:cubicBezTo>
                  <a:cubicBezTo>
                    <a:pt x="712" y="233"/>
                    <a:pt x="712" y="233"/>
                    <a:pt x="712" y="233"/>
                  </a:cubicBezTo>
                  <a:cubicBezTo>
                    <a:pt x="712" y="233"/>
                    <a:pt x="712" y="233"/>
                    <a:pt x="712" y="233"/>
                  </a:cubicBezTo>
                  <a:cubicBezTo>
                    <a:pt x="714" y="234"/>
                    <a:pt x="716" y="235"/>
                    <a:pt x="718" y="235"/>
                  </a:cubicBezTo>
                  <a:cubicBezTo>
                    <a:pt x="719" y="235"/>
                    <a:pt x="720" y="235"/>
                    <a:pt x="721" y="234"/>
                  </a:cubicBezTo>
                  <a:cubicBezTo>
                    <a:pt x="725" y="233"/>
                    <a:pt x="726" y="228"/>
                    <a:pt x="724" y="225"/>
                  </a:cubicBezTo>
                  <a:cubicBezTo>
                    <a:pt x="723" y="222"/>
                    <a:pt x="720" y="220"/>
                    <a:pt x="718" y="220"/>
                  </a:cubicBezTo>
                  <a:cubicBezTo>
                    <a:pt x="716" y="220"/>
                    <a:pt x="715" y="221"/>
                    <a:pt x="714" y="221"/>
                  </a:cubicBezTo>
                  <a:cubicBezTo>
                    <a:pt x="713" y="222"/>
                    <a:pt x="713" y="222"/>
                    <a:pt x="713" y="222"/>
                  </a:cubicBezTo>
                  <a:cubicBezTo>
                    <a:pt x="713" y="222"/>
                    <a:pt x="713" y="222"/>
                    <a:pt x="713" y="222"/>
                  </a:cubicBezTo>
                  <a:cubicBezTo>
                    <a:pt x="713" y="222"/>
                    <a:pt x="713" y="222"/>
                    <a:pt x="713" y="222"/>
                  </a:cubicBezTo>
                  <a:cubicBezTo>
                    <a:pt x="713" y="222"/>
                    <a:pt x="711" y="220"/>
                    <a:pt x="708" y="218"/>
                  </a:cubicBezTo>
                  <a:cubicBezTo>
                    <a:pt x="735" y="191"/>
                    <a:pt x="763" y="165"/>
                    <a:pt x="764" y="165"/>
                  </a:cubicBezTo>
                  <a:cubicBezTo>
                    <a:pt x="764" y="165"/>
                    <a:pt x="764" y="165"/>
                    <a:pt x="764" y="165"/>
                  </a:cubicBezTo>
                  <a:cubicBezTo>
                    <a:pt x="764" y="165"/>
                    <a:pt x="764" y="165"/>
                    <a:pt x="764" y="165"/>
                  </a:cubicBezTo>
                  <a:cubicBezTo>
                    <a:pt x="765" y="166"/>
                    <a:pt x="767" y="167"/>
                    <a:pt x="768" y="167"/>
                  </a:cubicBezTo>
                  <a:cubicBezTo>
                    <a:pt x="769" y="167"/>
                    <a:pt x="769" y="167"/>
                    <a:pt x="770" y="166"/>
                  </a:cubicBezTo>
                  <a:cubicBezTo>
                    <a:pt x="770" y="167"/>
                    <a:pt x="770" y="167"/>
                    <a:pt x="770" y="167"/>
                  </a:cubicBezTo>
                  <a:cubicBezTo>
                    <a:pt x="770" y="167"/>
                    <a:pt x="770" y="167"/>
                    <a:pt x="770" y="167"/>
                  </a:cubicBezTo>
                  <a:cubicBezTo>
                    <a:pt x="772" y="167"/>
                    <a:pt x="805" y="248"/>
                    <a:pt x="802" y="250"/>
                  </a:cubicBezTo>
                  <a:cubicBezTo>
                    <a:pt x="802" y="250"/>
                    <a:pt x="802" y="250"/>
                    <a:pt x="802" y="250"/>
                  </a:cubicBezTo>
                  <a:cubicBezTo>
                    <a:pt x="793" y="254"/>
                    <a:pt x="790" y="265"/>
                    <a:pt x="794" y="273"/>
                  </a:cubicBezTo>
                  <a:cubicBezTo>
                    <a:pt x="797" y="280"/>
                    <a:pt x="804" y="284"/>
                    <a:pt x="811" y="284"/>
                  </a:cubicBezTo>
                  <a:cubicBezTo>
                    <a:pt x="814" y="284"/>
                    <a:pt x="817" y="283"/>
                    <a:pt x="819" y="282"/>
                  </a:cubicBezTo>
                  <a:cubicBezTo>
                    <a:pt x="829" y="278"/>
                    <a:pt x="833" y="267"/>
                    <a:pt x="828" y="258"/>
                  </a:cubicBezTo>
                  <a:cubicBezTo>
                    <a:pt x="827" y="255"/>
                    <a:pt x="825" y="253"/>
                    <a:pt x="822" y="251"/>
                  </a:cubicBezTo>
                  <a:cubicBezTo>
                    <a:pt x="823" y="251"/>
                    <a:pt x="823" y="251"/>
                    <a:pt x="823" y="251"/>
                  </a:cubicBezTo>
                  <a:cubicBezTo>
                    <a:pt x="820" y="249"/>
                    <a:pt x="844" y="209"/>
                    <a:pt x="845" y="209"/>
                  </a:cubicBezTo>
                  <a:cubicBezTo>
                    <a:pt x="845" y="209"/>
                    <a:pt x="845" y="209"/>
                    <a:pt x="845" y="209"/>
                  </a:cubicBezTo>
                  <a:cubicBezTo>
                    <a:pt x="845" y="209"/>
                    <a:pt x="845" y="209"/>
                    <a:pt x="845" y="209"/>
                  </a:cubicBezTo>
                  <a:cubicBezTo>
                    <a:pt x="846" y="209"/>
                    <a:pt x="847" y="209"/>
                    <a:pt x="848" y="209"/>
                  </a:cubicBezTo>
                  <a:cubicBezTo>
                    <a:pt x="849" y="209"/>
                    <a:pt x="850" y="209"/>
                    <a:pt x="851" y="208"/>
                  </a:cubicBezTo>
                  <a:cubicBezTo>
                    <a:pt x="855" y="207"/>
                    <a:pt x="857" y="202"/>
                    <a:pt x="855" y="199"/>
                  </a:cubicBezTo>
                  <a:cubicBezTo>
                    <a:pt x="854" y="197"/>
                    <a:pt x="852" y="195"/>
                    <a:pt x="850" y="195"/>
                  </a:cubicBezTo>
                  <a:cubicBezTo>
                    <a:pt x="850" y="195"/>
                    <a:pt x="850" y="195"/>
                    <a:pt x="850" y="195"/>
                  </a:cubicBezTo>
                  <a:cubicBezTo>
                    <a:pt x="849" y="194"/>
                    <a:pt x="852" y="155"/>
                    <a:pt x="856" y="155"/>
                  </a:cubicBezTo>
                  <a:cubicBezTo>
                    <a:pt x="856" y="155"/>
                    <a:pt x="856" y="155"/>
                    <a:pt x="856" y="155"/>
                  </a:cubicBezTo>
                  <a:cubicBezTo>
                    <a:pt x="859" y="155"/>
                    <a:pt x="862" y="154"/>
                    <a:pt x="864" y="153"/>
                  </a:cubicBezTo>
                  <a:cubicBezTo>
                    <a:pt x="864" y="153"/>
                    <a:pt x="864" y="153"/>
                    <a:pt x="864" y="153"/>
                  </a:cubicBezTo>
                  <a:cubicBezTo>
                    <a:pt x="864" y="153"/>
                    <a:pt x="864" y="153"/>
                    <a:pt x="864" y="153"/>
                  </a:cubicBezTo>
                  <a:cubicBezTo>
                    <a:pt x="869" y="153"/>
                    <a:pt x="917" y="215"/>
                    <a:pt x="914" y="217"/>
                  </a:cubicBezTo>
                  <a:cubicBezTo>
                    <a:pt x="915" y="217"/>
                    <a:pt x="915" y="217"/>
                    <a:pt x="915" y="217"/>
                  </a:cubicBezTo>
                  <a:cubicBezTo>
                    <a:pt x="910" y="222"/>
                    <a:pt x="909" y="228"/>
                    <a:pt x="912" y="234"/>
                  </a:cubicBezTo>
                  <a:cubicBezTo>
                    <a:pt x="913" y="236"/>
                    <a:pt x="914" y="238"/>
                    <a:pt x="916" y="239"/>
                  </a:cubicBezTo>
                  <a:cubicBezTo>
                    <a:pt x="915" y="239"/>
                    <a:pt x="915" y="239"/>
                    <a:pt x="915" y="239"/>
                  </a:cubicBezTo>
                  <a:cubicBezTo>
                    <a:pt x="918" y="241"/>
                    <a:pt x="860" y="330"/>
                    <a:pt x="858" y="330"/>
                  </a:cubicBezTo>
                  <a:cubicBezTo>
                    <a:pt x="858" y="330"/>
                    <a:pt x="858" y="330"/>
                    <a:pt x="858" y="330"/>
                  </a:cubicBezTo>
                  <a:cubicBezTo>
                    <a:pt x="858" y="330"/>
                    <a:pt x="858" y="330"/>
                    <a:pt x="858" y="330"/>
                  </a:cubicBezTo>
                  <a:cubicBezTo>
                    <a:pt x="857" y="329"/>
                    <a:pt x="856" y="329"/>
                    <a:pt x="855" y="329"/>
                  </a:cubicBezTo>
                  <a:cubicBezTo>
                    <a:pt x="854" y="329"/>
                    <a:pt x="853" y="329"/>
                    <a:pt x="852" y="330"/>
                  </a:cubicBezTo>
                  <a:cubicBezTo>
                    <a:pt x="848" y="332"/>
                    <a:pt x="847" y="336"/>
                    <a:pt x="848" y="340"/>
                  </a:cubicBezTo>
                  <a:cubicBezTo>
                    <a:pt x="850" y="342"/>
                    <a:pt x="852" y="344"/>
                    <a:pt x="855" y="344"/>
                  </a:cubicBezTo>
                  <a:cubicBezTo>
                    <a:pt x="856" y="344"/>
                    <a:pt x="858" y="344"/>
                    <a:pt x="859" y="343"/>
                  </a:cubicBezTo>
                  <a:cubicBezTo>
                    <a:pt x="860" y="343"/>
                    <a:pt x="861" y="342"/>
                    <a:pt x="862" y="341"/>
                  </a:cubicBezTo>
                  <a:cubicBezTo>
                    <a:pt x="862" y="341"/>
                    <a:pt x="862" y="341"/>
                    <a:pt x="862" y="341"/>
                  </a:cubicBezTo>
                  <a:cubicBezTo>
                    <a:pt x="862" y="341"/>
                    <a:pt x="862" y="341"/>
                    <a:pt x="862" y="341"/>
                  </a:cubicBezTo>
                  <a:cubicBezTo>
                    <a:pt x="863" y="341"/>
                    <a:pt x="873" y="344"/>
                    <a:pt x="884" y="349"/>
                  </a:cubicBezTo>
                  <a:cubicBezTo>
                    <a:pt x="872" y="344"/>
                    <a:pt x="863" y="339"/>
                    <a:pt x="863" y="338"/>
                  </a:cubicBezTo>
                  <a:cubicBezTo>
                    <a:pt x="863" y="338"/>
                    <a:pt x="863" y="338"/>
                    <a:pt x="863" y="338"/>
                  </a:cubicBezTo>
                  <a:cubicBezTo>
                    <a:pt x="863" y="337"/>
                    <a:pt x="863" y="335"/>
                    <a:pt x="862" y="333"/>
                  </a:cubicBezTo>
                  <a:cubicBezTo>
                    <a:pt x="862" y="332"/>
                    <a:pt x="861" y="332"/>
                    <a:pt x="860" y="331"/>
                  </a:cubicBezTo>
                  <a:cubicBezTo>
                    <a:pt x="860" y="331"/>
                    <a:pt x="860" y="331"/>
                    <a:pt x="860" y="331"/>
                  </a:cubicBezTo>
                  <a:cubicBezTo>
                    <a:pt x="859" y="330"/>
                    <a:pt x="916" y="241"/>
                    <a:pt x="919" y="241"/>
                  </a:cubicBezTo>
                  <a:cubicBezTo>
                    <a:pt x="919" y="241"/>
                    <a:pt x="919" y="241"/>
                    <a:pt x="919" y="241"/>
                  </a:cubicBezTo>
                  <a:cubicBezTo>
                    <a:pt x="919" y="241"/>
                    <a:pt x="919" y="241"/>
                    <a:pt x="919" y="241"/>
                  </a:cubicBezTo>
                  <a:cubicBezTo>
                    <a:pt x="921" y="242"/>
                    <a:pt x="923" y="242"/>
                    <a:pt x="925" y="242"/>
                  </a:cubicBezTo>
                  <a:cubicBezTo>
                    <a:pt x="928" y="242"/>
                    <a:pt x="930" y="242"/>
                    <a:pt x="932" y="241"/>
                  </a:cubicBezTo>
                  <a:cubicBezTo>
                    <a:pt x="939" y="238"/>
                    <a:pt x="942" y="230"/>
                    <a:pt x="940" y="223"/>
                  </a:cubicBezTo>
                  <a:cubicBezTo>
                    <a:pt x="940" y="223"/>
                    <a:pt x="940" y="223"/>
                    <a:pt x="940" y="223"/>
                  </a:cubicBezTo>
                  <a:cubicBezTo>
                    <a:pt x="939" y="220"/>
                    <a:pt x="990" y="192"/>
                    <a:pt x="999" y="192"/>
                  </a:cubicBezTo>
                  <a:cubicBezTo>
                    <a:pt x="999" y="192"/>
                    <a:pt x="999" y="192"/>
                    <a:pt x="1000" y="192"/>
                  </a:cubicBezTo>
                  <a:cubicBezTo>
                    <a:pt x="1000" y="192"/>
                    <a:pt x="1000" y="192"/>
                    <a:pt x="1000" y="192"/>
                  </a:cubicBezTo>
                  <a:cubicBezTo>
                    <a:pt x="1003" y="196"/>
                    <a:pt x="1008" y="200"/>
                    <a:pt x="1013" y="201"/>
                  </a:cubicBezTo>
                  <a:cubicBezTo>
                    <a:pt x="1013" y="201"/>
                    <a:pt x="1013" y="201"/>
                    <a:pt x="1013" y="201"/>
                  </a:cubicBezTo>
                  <a:cubicBezTo>
                    <a:pt x="1018" y="202"/>
                    <a:pt x="1008" y="276"/>
                    <a:pt x="1004" y="276"/>
                  </a:cubicBezTo>
                  <a:cubicBezTo>
                    <a:pt x="1004" y="276"/>
                    <a:pt x="1004" y="276"/>
                    <a:pt x="1004" y="276"/>
                  </a:cubicBezTo>
                  <a:cubicBezTo>
                    <a:pt x="993" y="277"/>
                    <a:pt x="984" y="286"/>
                    <a:pt x="984" y="297"/>
                  </a:cubicBezTo>
                  <a:cubicBezTo>
                    <a:pt x="984" y="308"/>
                    <a:pt x="994" y="317"/>
                    <a:pt x="1005" y="317"/>
                  </a:cubicBezTo>
                  <a:cubicBezTo>
                    <a:pt x="1017" y="317"/>
                    <a:pt x="1026" y="308"/>
                    <a:pt x="1026" y="297"/>
                  </a:cubicBezTo>
                  <a:cubicBezTo>
                    <a:pt x="1026" y="295"/>
                    <a:pt x="1026" y="293"/>
                    <a:pt x="1025" y="291"/>
                  </a:cubicBezTo>
                  <a:cubicBezTo>
                    <a:pt x="1025" y="291"/>
                    <a:pt x="1025" y="291"/>
                    <a:pt x="1025" y="291"/>
                  </a:cubicBezTo>
                  <a:cubicBezTo>
                    <a:pt x="1024" y="287"/>
                    <a:pt x="1073" y="268"/>
                    <a:pt x="1076" y="268"/>
                  </a:cubicBezTo>
                  <a:cubicBezTo>
                    <a:pt x="1076" y="268"/>
                    <a:pt x="1076" y="268"/>
                    <a:pt x="1076" y="268"/>
                  </a:cubicBezTo>
                  <a:cubicBezTo>
                    <a:pt x="1076" y="268"/>
                    <a:pt x="1076" y="268"/>
                    <a:pt x="1076" y="268"/>
                  </a:cubicBezTo>
                  <a:cubicBezTo>
                    <a:pt x="1078" y="270"/>
                    <a:pt x="1080" y="271"/>
                    <a:pt x="1083" y="271"/>
                  </a:cubicBezTo>
                  <a:cubicBezTo>
                    <a:pt x="1083" y="271"/>
                    <a:pt x="1084" y="271"/>
                    <a:pt x="1085" y="271"/>
                  </a:cubicBezTo>
                  <a:cubicBezTo>
                    <a:pt x="1085" y="271"/>
                    <a:pt x="1085" y="271"/>
                    <a:pt x="1085" y="271"/>
                  </a:cubicBezTo>
                  <a:cubicBezTo>
                    <a:pt x="1085" y="271"/>
                    <a:pt x="1085" y="271"/>
                    <a:pt x="1085" y="271"/>
                  </a:cubicBezTo>
                  <a:cubicBezTo>
                    <a:pt x="1085" y="271"/>
                    <a:pt x="1090" y="279"/>
                    <a:pt x="1095" y="290"/>
                  </a:cubicBezTo>
                  <a:cubicBezTo>
                    <a:pt x="1090" y="279"/>
                    <a:pt x="1087" y="270"/>
                    <a:pt x="1087" y="270"/>
                  </a:cubicBezTo>
                  <a:cubicBezTo>
                    <a:pt x="1087" y="270"/>
                    <a:pt x="1087" y="270"/>
                    <a:pt x="1087" y="270"/>
                  </a:cubicBezTo>
                  <a:cubicBezTo>
                    <a:pt x="1090" y="268"/>
                    <a:pt x="1091" y="264"/>
                    <a:pt x="1090" y="261"/>
                  </a:cubicBezTo>
                  <a:cubicBezTo>
                    <a:pt x="1088" y="258"/>
                    <a:pt x="1086" y="257"/>
                    <a:pt x="1083" y="257"/>
                  </a:cubicBezTo>
                  <a:cubicBezTo>
                    <a:pt x="1082" y="257"/>
                    <a:pt x="1080" y="257"/>
                    <a:pt x="1079" y="257"/>
                  </a:cubicBezTo>
                  <a:cubicBezTo>
                    <a:pt x="1076" y="259"/>
                    <a:pt x="1074" y="262"/>
                    <a:pt x="1075" y="266"/>
                  </a:cubicBezTo>
                  <a:cubicBezTo>
                    <a:pt x="1075" y="266"/>
                    <a:pt x="1075" y="266"/>
                    <a:pt x="1075" y="266"/>
                  </a:cubicBezTo>
                  <a:cubicBezTo>
                    <a:pt x="1076" y="267"/>
                    <a:pt x="1032" y="286"/>
                    <a:pt x="1024" y="286"/>
                  </a:cubicBezTo>
                  <a:cubicBezTo>
                    <a:pt x="1024" y="286"/>
                    <a:pt x="1023" y="286"/>
                    <a:pt x="1023" y="286"/>
                  </a:cubicBezTo>
                  <a:cubicBezTo>
                    <a:pt x="1023" y="286"/>
                    <a:pt x="1023" y="286"/>
                    <a:pt x="1023" y="286"/>
                  </a:cubicBezTo>
                  <a:cubicBezTo>
                    <a:pt x="1020" y="282"/>
                    <a:pt x="1016" y="279"/>
                    <a:pt x="1011" y="277"/>
                  </a:cubicBezTo>
                  <a:cubicBezTo>
                    <a:pt x="1011" y="277"/>
                    <a:pt x="1011" y="277"/>
                    <a:pt x="1011" y="277"/>
                  </a:cubicBezTo>
                  <a:cubicBezTo>
                    <a:pt x="1007" y="276"/>
                    <a:pt x="1016" y="202"/>
                    <a:pt x="1021" y="202"/>
                  </a:cubicBezTo>
                  <a:cubicBezTo>
                    <a:pt x="1021" y="202"/>
                    <a:pt x="1021" y="202"/>
                    <a:pt x="1021" y="202"/>
                  </a:cubicBezTo>
                  <a:cubicBezTo>
                    <a:pt x="1031" y="201"/>
                    <a:pt x="1040" y="195"/>
                    <a:pt x="1044" y="186"/>
                  </a:cubicBezTo>
                  <a:cubicBezTo>
                    <a:pt x="1044" y="184"/>
                    <a:pt x="1046" y="184"/>
                    <a:pt x="1048" y="184"/>
                  </a:cubicBezTo>
                  <a:cubicBezTo>
                    <a:pt x="1048" y="184"/>
                    <a:pt x="1048" y="184"/>
                    <a:pt x="1048" y="184"/>
                  </a:cubicBezTo>
                  <a:cubicBezTo>
                    <a:pt x="1046" y="183"/>
                    <a:pt x="1045" y="182"/>
                    <a:pt x="1045" y="180"/>
                  </a:cubicBezTo>
                  <a:cubicBezTo>
                    <a:pt x="1045" y="180"/>
                    <a:pt x="1045" y="180"/>
                    <a:pt x="1045" y="180"/>
                  </a:cubicBezTo>
                  <a:cubicBezTo>
                    <a:pt x="1045" y="179"/>
                    <a:pt x="1045" y="178"/>
                    <a:pt x="1045" y="178"/>
                  </a:cubicBezTo>
                  <a:cubicBezTo>
                    <a:pt x="1045" y="172"/>
                    <a:pt x="1043" y="167"/>
                    <a:pt x="1040" y="163"/>
                  </a:cubicBezTo>
                  <a:cubicBezTo>
                    <a:pt x="1040" y="163"/>
                    <a:pt x="1040" y="163"/>
                    <a:pt x="1040" y="163"/>
                  </a:cubicBezTo>
                  <a:cubicBezTo>
                    <a:pt x="1037" y="159"/>
                    <a:pt x="1115" y="80"/>
                    <a:pt x="1121" y="78"/>
                  </a:cubicBezTo>
                  <a:cubicBezTo>
                    <a:pt x="1120" y="84"/>
                    <a:pt x="1068" y="180"/>
                    <a:pt x="1067" y="180"/>
                  </a:cubicBezTo>
                  <a:cubicBezTo>
                    <a:pt x="1067" y="180"/>
                    <a:pt x="1067" y="180"/>
                    <a:pt x="1067" y="180"/>
                  </a:cubicBezTo>
                  <a:cubicBezTo>
                    <a:pt x="1067" y="180"/>
                    <a:pt x="1067" y="180"/>
                    <a:pt x="1067" y="180"/>
                  </a:cubicBezTo>
                  <a:cubicBezTo>
                    <a:pt x="1066" y="180"/>
                    <a:pt x="1065" y="180"/>
                    <a:pt x="1064" y="180"/>
                  </a:cubicBezTo>
                  <a:cubicBezTo>
                    <a:pt x="1061" y="180"/>
                    <a:pt x="1059" y="182"/>
                    <a:pt x="1058" y="184"/>
                  </a:cubicBezTo>
                  <a:cubicBezTo>
                    <a:pt x="1058" y="184"/>
                    <a:pt x="1058" y="184"/>
                    <a:pt x="1058" y="184"/>
                  </a:cubicBezTo>
                  <a:cubicBezTo>
                    <a:pt x="1057" y="185"/>
                    <a:pt x="1056" y="185"/>
                    <a:pt x="1055" y="185"/>
                  </a:cubicBezTo>
                  <a:cubicBezTo>
                    <a:pt x="1054" y="185"/>
                    <a:pt x="1054" y="185"/>
                    <a:pt x="1053" y="185"/>
                  </a:cubicBezTo>
                  <a:cubicBezTo>
                    <a:pt x="1055" y="186"/>
                    <a:pt x="1057" y="187"/>
                    <a:pt x="1057" y="187"/>
                  </a:cubicBezTo>
                  <a:cubicBezTo>
                    <a:pt x="1057" y="187"/>
                    <a:pt x="1057" y="187"/>
                    <a:pt x="1057" y="187"/>
                  </a:cubicBezTo>
                  <a:cubicBezTo>
                    <a:pt x="1057" y="187"/>
                    <a:pt x="1057" y="187"/>
                    <a:pt x="1057" y="187"/>
                  </a:cubicBezTo>
                  <a:cubicBezTo>
                    <a:pt x="1057" y="191"/>
                    <a:pt x="1060" y="195"/>
                    <a:pt x="1064" y="195"/>
                  </a:cubicBezTo>
                  <a:cubicBezTo>
                    <a:pt x="1066" y="195"/>
                    <a:pt x="1067" y="194"/>
                    <a:pt x="1069" y="194"/>
                  </a:cubicBezTo>
                  <a:cubicBezTo>
                    <a:pt x="1069" y="194"/>
                    <a:pt x="1069" y="194"/>
                    <a:pt x="1069" y="194"/>
                  </a:cubicBezTo>
                  <a:cubicBezTo>
                    <a:pt x="1069" y="194"/>
                    <a:pt x="1069" y="194"/>
                    <a:pt x="1069" y="194"/>
                  </a:cubicBezTo>
                  <a:cubicBezTo>
                    <a:pt x="1070" y="194"/>
                    <a:pt x="1093" y="219"/>
                    <a:pt x="1093" y="220"/>
                  </a:cubicBezTo>
                  <a:cubicBezTo>
                    <a:pt x="1093" y="220"/>
                    <a:pt x="1093" y="220"/>
                    <a:pt x="1093" y="220"/>
                  </a:cubicBezTo>
                  <a:cubicBezTo>
                    <a:pt x="1092" y="221"/>
                    <a:pt x="1091" y="222"/>
                    <a:pt x="1092" y="224"/>
                  </a:cubicBezTo>
                  <a:cubicBezTo>
                    <a:pt x="1093" y="225"/>
                    <a:pt x="1094" y="226"/>
                    <a:pt x="1096" y="226"/>
                  </a:cubicBezTo>
                  <a:cubicBezTo>
                    <a:pt x="1096" y="226"/>
                    <a:pt x="1097" y="226"/>
                    <a:pt x="1097" y="226"/>
                  </a:cubicBezTo>
                  <a:cubicBezTo>
                    <a:pt x="1099" y="225"/>
                    <a:pt x="1100" y="222"/>
                    <a:pt x="1099" y="221"/>
                  </a:cubicBezTo>
                  <a:cubicBezTo>
                    <a:pt x="1099" y="220"/>
                    <a:pt x="1099" y="220"/>
                    <a:pt x="1099" y="220"/>
                  </a:cubicBezTo>
                  <a:cubicBezTo>
                    <a:pt x="1099" y="220"/>
                    <a:pt x="1099" y="220"/>
                    <a:pt x="1099" y="220"/>
                  </a:cubicBezTo>
                  <a:cubicBezTo>
                    <a:pt x="1099" y="220"/>
                    <a:pt x="1130" y="196"/>
                    <a:pt x="1132" y="196"/>
                  </a:cubicBezTo>
                  <a:cubicBezTo>
                    <a:pt x="1132" y="196"/>
                    <a:pt x="1132" y="196"/>
                    <a:pt x="1132" y="196"/>
                  </a:cubicBezTo>
                  <a:cubicBezTo>
                    <a:pt x="1132" y="196"/>
                    <a:pt x="1132" y="196"/>
                    <a:pt x="1132" y="196"/>
                  </a:cubicBezTo>
                  <a:cubicBezTo>
                    <a:pt x="1133" y="197"/>
                    <a:pt x="1134" y="197"/>
                    <a:pt x="1136" y="197"/>
                  </a:cubicBezTo>
                  <a:cubicBezTo>
                    <a:pt x="1136" y="197"/>
                    <a:pt x="1137" y="197"/>
                    <a:pt x="1138" y="197"/>
                  </a:cubicBezTo>
                  <a:cubicBezTo>
                    <a:pt x="1138" y="197"/>
                    <a:pt x="1138" y="197"/>
                    <a:pt x="1138" y="197"/>
                  </a:cubicBezTo>
                  <a:cubicBezTo>
                    <a:pt x="1138" y="197"/>
                    <a:pt x="1138" y="197"/>
                    <a:pt x="1138" y="197"/>
                  </a:cubicBezTo>
                  <a:cubicBezTo>
                    <a:pt x="1139" y="197"/>
                    <a:pt x="1171" y="245"/>
                    <a:pt x="1169" y="247"/>
                  </a:cubicBezTo>
                  <a:cubicBezTo>
                    <a:pt x="1169" y="247"/>
                    <a:pt x="1169" y="247"/>
                    <a:pt x="1169" y="247"/>
                  </a:cubicBezTo>
                  <a:cubicBezTo>
                    <a:pt x="1164" y="251"/>
                    <a:pt x="1162" y="258"/>
                    <a:pt x="1165" y="264"/>
                  </a:cubicBezTo>
                  <a:cubicBezTo>
                    <a:pt x="1168" y="269"/>
                    <a:pt x="1173" y="272"/>
                    <a:pt x="1179" y="272"/>
                  </a:cubicBezTo>
                  <a:cubicBezTo>
                    <a:pt x="1181" y="272"/>
                    <a:pt x="1183" y="272"/>
                    <a:pt x="1185" y="271"/>
                  </a:cubicBezTo>
                  <a:cubicBezTo>
                    <a:pt x="1193" y="268"/>
                    <a:pt x="1196" y="259"/>
                    <a:pt x="1192" y="252"/>
                  </a:cubicBezTo>
                  <a:cubicBezTo>
                    <a:pt x="1190" y="246"/>
                    <a:pt x="1184" y="243"/>
                    <a:pt x="1179" y="243"/>
                  </a:cubicBezTo>
                  <a:cubicBezTo>
                    <a:pt x="1177" y="243"/>
                    <a:pt x="1175" y="244"/>
                    <a:pt x="1173" y="245"/>
                  </a:cubicBezTo>
                  <a:cubicBezTo>
                    <a:pt x="1173" y="245"/>
                    <a:pt x="1173" y="245"/>
                    <a:pt x="1173" y="245"/>
                  </a:cubicBezTo>
                  <a:cubicBezTo>
                    <a:pt x="1173" y="245"/>
                    <a:pt x="1173" y="245"/>
                    <a:pt x="1173" y="245"/>
                  </a:cubicBezTo>
                  <a:cubicBezTo>
                    <a:pt x="1169" y="245"/>
                    <a:pt x="1138" y="197"/>
                    <a:pt x="1139" y="196"/>
                  </a:cubicBezTo>
                  <a:cubicBezTo>
                    <a:pt x="1139" y="196"/>
                    <a:pt x="1139" y="196"/>
                    <a:pt x="1139" y="196"/>
                  </a:cubicBezTo>
                  <a:cubicBezTo>
                    <a:pt x="1140" y="195"/>
                    <a:pt x="1141" y="194"/>
                    <a:pt x="1141" y="192"/>
                  </a:cubicBezTo>
                  <a:cubicBezTo>
                    <a:pt x="1141" y="190"/>
                    <a:pt x="1139" y="187"/>
                    <a:pt x="1136" y="187"/>
                  </a:cubicBezTo>
                  <a:cubicBezTo>
                    <a:pt x="1133" y="187"/>
                    <a:pt x="1131" y="189"/>
                    <a:pt x="1131" y="191"/>
                  </a:cubicBezTo>
                  <a:cubicBezTo>
                    <a:pt x="1131" y="191"/>
                    <a:pt x="1131" y="191"/>
                    <a:pt x="1131" y="191"/>
                  </a:cubicBezTo>
                  <a:cubicBezTo>
                    <a:pt x="1131" y="191"/>
                    <a:pt x="1130" y="191"/>
                    <a:pt x="1129" y="191"/>
                  </a:cubicBezTo>
                  <a:cubicBezTo>
                    <a:pt x="1119" y="191"/>
                    <a:pt x="1072" y="188"/>
                    <a:pt x="1072" y="187"/>
                  </a:cubicBezTo>
                  <a:cubicBezTo>
                    <a:pt x="1072" y="187"/>
                    <a:pt x="1072" y="187"/>
                    <a:pt x="1072" y="187"/>
                  </a:cubicBezTo>
                  <a:cubicBezTo>
                    <a:pt x="1072" y="185"/>
                    <a:pt x="1071" y="183"/>
                    <a:pt x="1069" y="181"/>
                  </a:cubicBezTo>
                  <a:cubicBezTo>
                    <a:pt x="1069" y="182"/>
                    <a:pt x="1069" y="182"/>
                    <a:pt x="1069" y="182"/>
                  </a:cubicBezTo>
                  <a:cubicBezTo>
                    <a:pt x="1068" y="181"/>
                    <a:pt x="1122" y="80"/>
                    <a:pt x="1125" y="80"/>
                  </a:cubicBezTo>
                  <a:cubicBezTo>
                    <a:pt x="1125" y="80"/>
                    <a:pt x="1125" y="80"/>
                    <a:pt x="1125" y="80"/>
                  </a:cubicBezTo>
                  <a:cubicBezTo>
                    <a:pt x="1125" y="80"/>
                    <a:pt x="1125" y="80"/>
                    <a:pt x="1125" y="80"/>
                  </a:cubicBezTo>
                  <a:cubicBezTo>
                    <a:pt x="1126" y="80"/>
                    <a:pt x="1127" y="80"/>
                    <a:pt x="1129" y="80"/>
                  </a:cubicBezTo>
                  <a:cubicBezTo>
                    <a:pt x="1129" y="80"/>
                    <a:pt x="1130" y="80"/>
                    <a:pt x="1130" y="80"/>
                  </a:cubicBezTo>
                  <a:cubicBezTo>
                    <a:pt x="1130" y="80"/>
                    <a:pt x="1130" y="80"/>
                    <a:pt x="1130" y="80"/>
                  </a:cubicBezTo>
                  <a:cubicBezTo>
                    <a:pt x="1130" y="80"/>
                    <a:pt x="1130" y="80"/>
                    <a:pt x="1130" y="80"/>
                  </a:cubicBezTo>
                  <a:cubicBezTo>
                    <a:pt x="1133" y="80"/>
                    <a:pt x="1146" y="135"/>
                    <a:pt x="1143" y="136"/>
                  </a:cubicBezTo>
                  <a:cubicBezTo>
                    <a:pt x="1143" y="136"/>
                    <a:pt x="1143" y="136"/>
                    <a:pt x="1143" y="136"/>
                  </a:cubicBezTo>
                  <a:cubicBezTo>
                    <a:pt x="1143" y="136"/>
                    <a:pt x="1142" y="136"/>
                    <a:pt x="1142" y="137"/>
                  </a:cubicBezTo>
                  <a:cubicBezTo>
                    <a:pt x="1133" y="141"/>
                    <a:pt x="1129" y="151"/>
                    <a:pt x="1133" y="160"/>
                  </a:cubicBezTo>
                  <a:cubicBezTo>
                    <a:pt x="1136" y="167"/>
                    <a:pt x="1143" y="171"/>
                    <a:pt x="1150" y="171"/>
                  </a:cubicBezTo>
                  <a:cubicBezTo>
                    <a:pt x="1153" y="171"/>
                    <a:pt x="1155" y="170"/>
                    <a:pt x="1158" y="169"/>
                  </a:cubicBezTo>
                  <a:cubicBezTo>
                    <a:pt x="1161" y="168"/>
                    <a:pt x="1163" y="166"/>
                    <a:pt x="1164" y="164"/>
                  </a:cubicBezTo>
                  <a:cubicBezTo>
                    <a:pt x="1164" y="164"/>
                    <a:pt x="1164" y="164"/>
                    <a:pt x="1164" y="164"/>
                  </a:cubicBezTo>
                  <a:cubicBezTo>
                    <a:pt x="1164" y="164"/>
                    <a:pt x="1165" y="164"/>
                    <a:pt x="1165" y="164"/>
                  </a:cubicBezTo>
                  <a:cubicBezTo>
                    <a:pt x="1171" y="164"/>
                    <a:pt x="1256" y="212"/>
                    <a:pt x="1254" y="217"/>
                  </a:cubicBezTo>
                  <a:cubicBezTo>
                    <a:pt x="1253" y="220"/>
                    <a:pt x="1252" y="224"/>
                    <a:pt x="1252" y="228"/>
                  </a:cubicBezTo>
                  <a:cubicBezTo>
                    <a:pt x="1252" y="233"/>
                    <a:pt x="1254" y="238"/>
                    <a:pt x="1257" y="243"/>
                  </a:cubicBezTo>
                  <a:cubicBezTo>
                    <a:pt x="1257" y="243"/>
                    <a:pt x="1257" y="243"/>
                    <a:pt x="1257" y="243"/>
                  </a:cubicBezTo>
                  <a:cubicBezTo>
                    <a:pt x="1259" y="247"/>
                    <a:pt x="1178" y="318"/>
                    <a:pt x="1154" y="334"/>
                  </a:cubicBezTo>
                  <a:cubicBezTo>
                    <a:pt x="1151" y="326"/>
                    <a:pt x="1143" y="320"/>
                    <a:pt x="1134" y="320"/>
                  </a:cubicBezTo>
                  <a:cubicBezTo>
                    <a:pt x="1126" y="320"/>
                    <a:pt x="1120" y="324"/>
                    <a:pt x="1116" y="329"/>
                  </a:cubicBezTo>
                  <a:cubicBezTo>
                    <a:pt x="1113" y="324"/>
                    <a:pt x="1108" y="316"/>
                    <a:pt x="1103" y="307"/>
                  </a:cubicBezTo>
                  <a:cubicBezTo>
                    <a:pt x="1109" y="319"/>
                    <a:pt x="1113" y="329"/>
                    <a:pt x="1113" y="334"/>
                  </a:cubicBezTo>
                  <a:cubicBezTo>
                    <a:pt x="1112" y="336"/>
                    <a:pt x="1112" y="339"/>
                    <a:pt x="1112" y="341"/>
                  </a:cubicBezTo>
                  <a:cubicBezTo>
                    <a:pt x="1112" y="353"/>
                    <a:pt x="1122" y="363"/>
                    <a:pt x="1134" y="363"/>
                  </a:cubicBezTo>
                  <a:cubicBezTo>
                    <a:pt x="1146" y="363"/>
                    <a:pt x="1156" y="353"/>
                    <a:pt x="1156" y="341"/>
                  </a:cubicBezTo>
                  <a:cubicBezTo>
                    <a:pt x="1156" y="341"/>
                    <a:pt x="1156" y="341"/>
                    <a:pt x="1156" y="341"/>
                  </a:cubicBezTo>
                  <a:cubicBezTo>
                    <a:pt x="1169" y="323"/>
                    <a:pt x="1255" y="249"/>
                    <a:pt x="1262" y="249"/>
                  </a:cubicBezTo>
                  <a:cubicBezTo>
                    <a:pt x="1262" y="249"/>
                    <a:pt x="1263" y="249"/>
                    <a:pt x="1263" y="249"/>
                  </a:cubicBezTo>
                  <a:cubicBezTo>
                    <a:pt x="1263" y="249"/>
                    <a:pt x="1263" y="249"/>
                    <a:pt x="1263" y="249"/>
                  </a:cubicBezTo>
                  <a:cubicBezTo>
                    <a:pt x="1266" y="251"/>
                    <a:pt x="1269" y="253"/>
                    <a:pt x="1273" y="254"/>
                  </a:cubicBezTo>
                  <a:cubicBezTo>
                    <a:pt x="1273" y="254"/>
                    <a:pt x="1273" y="254"/>
                    <a:pt x="1273" y="254"/>
                  </a:cubicBezTo>
                  <a:cubicBezTo>
                    <a:pt x="1275" y="255"/>
                    <a:pt x="1274" y="272"/>
                    <a:pt x="1272" y="290"/>
                  </a:cubicBezTo>
                  <a:cubicBezTo>
                    <a:pt x="1275" y="272"/>
                    <a:pt x="1278" y="255"/>
                    <a:pt x="1281" y="255"/>
                  </a:cubicBezTo>
                  <a:cubicBezTo>
                    <a:pt x="1281" y="255"/>
                    <a:pt x="1281" y="255"/>
                    <a:pt x="1281" y="255"/>
                  </a:cubicBezTo>
                  <a:cubicBezTo>
                    <a:pt x="1297" y="255"/>
                    <a:pt x="1309" y="243"/>
                    <a:pt x="1309" y="228"/>
                  </a:cubicBezTo>
                  <a:cubicBezTo>
                    <a:pt x="1309" y="212"/>
                    <a:pt x="1297" y="200"/>
                    <a:pt x="1281" y="200"/>
                  </a:cubicBezTo>
                  <a:cubicBezTo>
                    <a:pt x="1272" y="200"/>
                    <a:pt x="1264" y="204"/>
                    <a:pt x="1258" y="210"/>
                  </a:cubicBezTo>
                  <a:cubicBezTo>
                    <a:pt x="1258" y="210"/>
                    <a:pt x="1258" y="210"/>
                    <a:pt x="1258" y="210"/>
                  </a:cubicBezTo>
                  <a:cubicBezTo>
                    <a:pt x="1248" y="210"/>
                    <a:pt x="1166" y="163"/>
                    <a:pt x="1167" y="159"/>
                  </a:cubicBezTo>
                  <a:cubicBezTo>
                    <a:pt x="1167" y="159"/>
                    <a:pt x="1167" y="159"/>
                    <a:pt x="1167" y="159"/>
                  </a:cubicBezTo>
                  <a:cubicBezTo>
                    <a:pt x="1169" y="155"/>
                    <a:pt x="1169" y="150"/>
                    <a:pt x="1167" y="145"/>
                  </a:cubicBezTo>
                  <a:cubicBezTo>
                    <a:pt x="1164" y="139"/>
                    <a:pt x="1157" y="135"/>
                    <a:pt x="1150" y="135"/>
                  </a:cubicBezTo>
                  <a:cubicBezTo>
                    <a:pt x="1149" y="135"/>
                    <a:pt x="1149" y="135"/>
                    <a:pt x="1148" y="135"/>
                  </a:cubicBezTo>
                  <a:cubicBezTo>
                    <a:pt x="1149" y="135"/>
                    <a:pt x="1149" y="135"/>
                    <a:pt x="1149" y="135"/>
                  </a:cubicBezTo>
                  <a:cubicBezTo>
                    <a:pt x="1149" y="135"/>
                    <a:pt x="1149" y="135"/>
                    <a:pt x="1148" y="135"/>
                  </a:cubicBezTo>
                  <a:cubicBezTo>
                    <a:pt x="1145" y="135"/>
                    <a:pt x="1132" y="80"/>
                    <a:pt x="1134" y="79"/>
                  </a:cubicBezTo>
                  <a:cubicBezTo>
                    <a:pt x="1134" y="79"/>
                    <a:pt x="1134" y="79"/>
                    <a:pt x="1134" y="79"/>
                  </a:cubicBezTo>
                  <a:cubicBezTo>
                    <a:pt x="1135" y="79"/>
                    <a:pt x="1135" y="79"/>
                    <a:pt x="1135" y="79"/>
                  </a:cubicBezTo>
                  <a:cubicBezTo>
                    <a:pt x="1141" y="76"/>
                    <a:pt x="1144" y="68"/>
                    <a:pt x="1141" y="62"/>
                  </a:cubicBezTo>
                  <a:cubicBezTo>
                    <a:pt x="1139" y="57"/>
                    <a:pt x="1134" y="54"/>
                    <a:pt x="1129" y="54"/>
                  </a:cubicBezTo>
                  <a:cubicBezTo>
                    <a:pt x="1127" y="54"/>
                    <a:pt x="1125" y="55"/>
                    <a:pt x="1123" y="56"/>
                  </a:cubicBezTo>
                  <a:cubicBezTo>
                    <a:pt x="1116" y="59"/>
                    <a:pt x="1113" y="66"/>
                    <a:pt x="1117" y="73"/>
                  </a:cubicBezTo>
                  <a:cubicBezTo>
                    <a:pt x="1117" y="74"/>
                    <a:pt x="1118" y="74"/>
                    <a:pt x="1118" y="75"/>
                  </a:cubicBezTo>
                  <a:cubicBezTo>
                    <a:pt x="1118" y="75"/>
                    <a:pt x="1118" y="75"/>
                    <a:pt x="1118" y="75"/>
                  </a:cubicBezTo>
                  <a:cubicBezTo>
                    <a:pt x="1120" y="77"/>
                    <a:pt x="1041" y="158"/>
                    <a:pt x="1035" y="158"/>
                  </a:cubicBezTo>
                  <a:cubicBezTo>
                    <a:pt x="1034" y="158"/>
                    <a:pt x="1034" y="158"/>
                    <a:pt x="1034" y="158"/>
                  </a:cubicBezTo>
                  <a:cubicBezTo>
                    <a:pt x="1034" y="158"/>
                    <a:pt x="1034" y="158"/>
                    <a:pt x="1034" y="158"/>
                  </a:cubicBezTo>
                  <a:cubicBezTo>
                    <a:pt x="1031" y="155"/>
                    <a:pt x="1027" y="154"/>
                    <a:pt x="1023" y="153"/>
                  </a:cubicBezTo>
                  <a:cubicBezTo>
                    <a:pt x="1023" y="153"/>
                    <a:pt x="1023" y="153"/>
                    <a:pt x="1023" y="153"/>
                  </a:cubicBezTo>
                  <a:cubicBezTo>
                    <a:pt x="1018" y="153"/>
                    <a:pt x="1019" y="84"/>
                    <a:pt x="1022" y="84"/>
                  </a:cubicBezTo>
                  <a:cubicBezTo>
                    <a:pt x="1022" y="84"/>
                    <a:pt x="1022" y="84"/>
                    <a:pt x="1022" y="84"/>
                  </a:cubicBezTo>
                  <a:cubicBezTo>
                    <a:pt x="1028" y="83"/>
                    <a:pt x="1033" y="77"/>
                    <a:pt x="1033" y="71"/>
                  </a:cubicBezTo>
                  <a:cubicBezTo>
                    <a:pt x="1033" y="64"/>
                    <a:pt x="1027" y="58"/>
                    <a:pt x="1020" y="58"/>
                  </a:cubicBezTo>
                  <a:cubicBezTo>
                    <a:pt x="1015" y="58"/>
                    <a:pt x="1011" y="60"/>
                    <a:pt x="1009" y="63"/>
                  </a:cubicBezTo>
                  <a:cubicBezTo>
                    <a:pt x="1009" y="63"/>
                    <a:pt x="1009" y="63"/>
                    <a:pt x="1009" y="63"/>
                  </a:cubicBezTo>
                  <a:cubicBezTo>
                    <a:pt x="1009" y="63"/>
                    <a:pt x="1009" y="63"/>
                    <a:pt x="1008" y="63"/>
                  </a:cubicBezTo>
                  <a:cubicBezTo>
                    <a:pt x="1006" y="63"/>
                    <a:pt x="1000" y="60"/>
                    <a:pt x="994" y="57"/>
                  </a:cubicBezTo>
                  <a:cubicBezTo>
                    <a:pt x="1001" y="61"/>
                    <a:pt x="1008" y="65"/>
                    <a:pt x="1007" y="66"/>
                  </a:cubicBezTo>
                  <a:cubicBezTo>
                    <a:pt x="1007" y="66"/>
                    <a:pt x="1007" y="66"/>
                    <a:pt x="1007" y="66"/>
                  </a:cubicBezTo>
                  <a:cubicBezTo>
                    <a:pt x="1007" y="68"/>
                    <a:pt x="1006" y="69"/>
                    <a:pt x="1006" y="71"/>
                  </a:cubicBezTo>
                  <a:cubicBezTo>
                    <a:pt x="1006" y="76"/>
                    <a:pt x="1010" y="81"/>
                    <a:pt x="1014" y="83"/>
                  </a:cubicBezTo>
                  <a:cubicBezTo>
                    <a:pt x="1014" y="83"/>
                    <a:pt x="1014" y="83"/>
                    <a:pt x="1014" y="83"/>
                  </a:cubicBezTo>
                  <a:cubicBezTo>
                    <a:pt x="1016" y="83"/>
                    <a:pt x="1013" y="92"/>
                    <a:pt x="1011" y="101"/>
                  </a:cubicBezTo>
                  <a:cubicBezTo>
                    <a:pt x="1013" y="93"/>
                    <a:pt x="1016" y="85"/>
                    <a:pt x="1018" y="84"/>
                  </a:cubicBezTo>
                  <a:cubicBezTo>
                    <a:pt x="1020" y="87"/>
                    <a:pt x="1021" y="153"/>
                    <a:pt x="1016" y="153"/>
                  </a:cubicBezTo>
                  <a:cubicBezTo>
                    <a:pt x="1016" y="153"/>
                    <a:pt x="1016" y="153"/>
                    <a:pt x="1016" y="153"/>
                  </a:cubicBezTo>
                  <a:cubicBezTo>
                    <a:pt x="1016" y="153"/>
                    <a:pt x="1016" y="153"/>
                    <a:pt x="1016" y="153"/>
                  </a:cubicBezTo>
                  <a:cubicBezTo>
                    <a:pt x="1016" y="153"/>
                    <a:pt x="1016" y="153"/>
                    <a:pt x="1016" y="153"/>
                  </a:cubicBezTo>
                  <a:cubicBezTo>
                    <a:pt x="1014" y="153"/>
                    <a:pt x="1012" y="151"/>
                    <a:pt x="1011" y="147"/>
                  </a:cubicBezTo>
                  <a:cubicBezTo>
                    <a:pt x="1012" y="151"/>
                    <a:pt x="1012" y="154"/>
                    <a:pt x="1010" y="155"/>
                  </a:cubicBezTo>
                  <a:cubicBezTo>
                    <a:pt x="1004" y="157"/>
                    <a:pt x="999" y="162"/>
                    <a:pt x="996" y="168"/>
                  </a:cubicBezTo>
                  <a:cubicBezTo>
                    <a:pt x="996" y="168"/>
                    <a:pt x="996" y="168"/>
                    <a:pt x="994" y="168"/>
                  </a:cubicBezTo>
                  <a:cubicBezTo>
                    <a:pt x="978" y="168"/>
                    <a:pt x="874" y="142"/>
                    <a:pt x="874" y="139"/>
                  </a:cubicBezTo>
                  <a:cubicBezTo>
                    <a:pt x="874" y="139"/>
                    <a:pt x="874" y="139"/>
                    <a:pt x="874" y="139"/>
                  </a:cubicBezTo>
                  <a:cubicBezTo>
                    <a:pt x="874" y="138"/>
                    <a:pt x="874" y="138"/>
                    <a:pt x="874" y="137"/>
                  </a:cubicBezTo>
                  <a:cubicBezTo>
                    <a:pt x="874" y="127"/>
                    <a:pt x="866" y="119"/>
                    <a:pt x="855" y="119"/>
                  </a:cubicBezTo>
                  <a:cubicBezTo>
                    <a:pt x="853" y="119"/>
                    <a:pt x="850" y="120"/>
                    <a:pt x="848" y="121"/>
                  </a:cubicBezTo>
                  <a:cubicBezTo>
                    <a:pt x="848" y="120"/>
                    <a:pt x="848" y="120"/>
                    <a:pt x="848" y="120"/>
                  </a:cubicBezTo>
                  <a:cubicBezTo>
                    <a:pt x="848" y="121"/>
                    <a:pt x="848" y="121"/>
                    <a:pt x="848" y="121"/>
                  </a:cubicBezTo>
                  <a:cubicBezTo>
                    <a:pt x="843" y="121"/>
                    <a:pt x="786" y="34"/>
                    <a:pt x="789" y="31"/>
                  </a:cubicBezTo>
                  <a:cubicBezTo>
                    <a:pt x="789" y="31"/>
                    <a:pt x="789" y="31"/>
                    <a:pt x="789" y="31"/>
                  </a:cubicBezTo>
                  <a:cubicBezTo>
                    <a:pt x="791" y="31"/>
                    <a:pt x="800" y="38"/>
                    <a:pt x="810" y="45"/>
                  </a:cubicBezTo>
                  <a:cubicBezTo>
                    <a:pt x="800" y="37"/>
                    <a:pt x="791" y="29"/>
                    <a:pt x="792" y="28"/>
                  </a:cubicBezTo>
                  <a:cubicBezTo>
                    <a:pt x="792" y="28"/>
                    <a:pt x="792" y="28"/>
                    <a:pt x="792" y="28"/>
                  </a:cubicBezTo>
                  <a:cubicBezTo>
                    <a:pt x="794" y="25"/>
                    <a:pt x="795" y="22"/>
                    <a:pt x="795" y="18"/>
                  </a:cubicBezTo>
                  <a:cubicBezTo>
                    <a:pt x="795" y="8"/>
                    <a:pt x="787" y="0"/>
                    <a:pt x="776"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8" name="Freeform 20"/>
            <p:cNvSpPr>
              <a:spLocks/>
            </p:cNvSpPr>
            <p:nvPr/>
          </p:nvSpPr>
          <p:spPr bwMode="auto">
            <a:xfrm>
              <a:off x="6035675" y="2900363"/>
              <a:ext cx="52388" cy="41275"/>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cubicBezTo>
                    <a:pt x="9" y="4"/>
                    <a:pt x="4" y="8"/>
                    <a:pt x="0" y="11"/>
                  </a:cubicBezTo>
                  <a:cubicBezTo>
                    <a:pt x="4" y="8"/>
                    <a:pt x="10" y="4"/>
                    <a:pt x="14"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9" name="Freeform 21"/>
            <p:cNvSpPr>
              <a:spLocks noEditPoints="1"/>
            </p:cNvSpPr>
            <p:nvPr/>
          </p:nvSpPr>
          <p:spPr bwMode="auto">
            <a:xfrm>
              <a:off x="5457825" y="2247900"/>
              <a:ext cx="1231900" cy="652463"/>
            </a:xfrm>
            <a:custGeom>
              <a:avLst/>
              <a:gdLst>
                <a:gd name="T0" fmla="*/ 294 w 328"/>
                <a:gd name="T1" fmla="*/ 53 h 173"/>
                <a:gd name="T2" fmla="*/ 290 w 328"/>
                <a:gd name="T3" fmla="*/ 68 h 173"/>
                <a:gd name="T4" fmla="*/ 237 w 328"/>
                <a:gd name="T5" fmla="*/ 89 h 173"/>
                <a:gd name="T6" fmla="*/ 255 w 328"/>
                <a:gd name="T7" fmla="*/ 21 h 173"/>
                <a:gd name="T8" fmla="*/ 257 w 328"/>
                <a:gd name="T9" fmla="*/ 22 h 173"/>
                <a:gd name="T10" fmla="*/ 257 w 328"/>
                <a:gd name="T11" fmla="*/ 0 h 173"/>
                <a:gd name="T12" fmla="*/ 252 w 328"/>
                <a:gd name="T13" fmla="*/ 20 h 173"/>
                <a:gd name="T14" fmla="*/ 230 w 328"/>
                <a:gd name="T15" fmla="*/ 84 h 173"/>
                <a:gd name="T16" fmla="*/ 225 w 328"/>
                <a:gd name="T17" fmla="*/ 84 h 173"/>
                <a:gd name="T18" fmla="*/ 213 w 328"/>
                <a:gd name="T19" fmla="*/ 59 h 173"/>
                <a:gd name="T20" fmla="*/ 199 w 328"/>
                <a:gd name="T21" fmla="*/ 34 h 173"/>
                <a:gd name="T22" fmla="*/ 185 w 328"/>
                <a:gd name="T23" fmla="*/ 44 h 173"/>
                <a:gd name="T24" fmla="*/ 104 w 328"/>
                <a:gd name="T25" fmla="*/ 22 h 173"/>
                <a:gd name="T26" fmla="*/ 88 w 328"/>
                <a:gd name="T27" fmla="*/ 38 h 173"/>
                <a:gd name="T28" fmla="*/ 16 w 328"/>
                <a:gd name="T29" fmla="*/ 52 h 173"/>
                <a:gd name="T30" fmla="*/ 6 w 328"/>
                <a:gd name="T31" fmla="*/ 48 h 173"/>
                <a:gd name="T32" fmla="*/ 12 w 328"/>
                <a:gd name="T33" fmla="*/ 61 h 173"/>
                <a:gd name="T34" fmla="*/ 86 w 328"/>
                <a:gd name="T35" fmla="*/ 42 h 173"/>
                <a:gd name="T36" fmla="*/ 104 w 328"/>
                <a:gd name="T37" fmla="*/ 54 h 173"/>
                <a:gd name="T38" fmla="*/ 128 w 328"/>
                <a:gd name="T39" fmla="*/ 41 h 173"/>
                <a:gd name="T40" fmla="*/ 192 w 328"/>
                <a:gd name="T41" fmla="*/ 53 h 173"/>
                <a:gd name="T42" fmla="*/ 210 w 328"/>
                <a:gd name="T43" fmla="*/ 60 h 173"/>
                <a:gd name="T44" fmla="*/ 222 w 328"/>
                <a:gd name="T45" fmla="*/ 86 h 173"/>
                <a:gd name="T46" fmla="*/ 222 w 328"/>
                <a:gd name="T47" fmla="*/ 101 h 173"/>
                <a:gd name="T48" fmla="*/ 205 w 328"/>
                <a:gd name="T49" fmla="*/ 130 h 173"/>
                <a:gd name="T50" fmla="*/ 178 w 328"/>
                <a:gd name="T51" fmla="*/ 162 h 173"/>
                <a:gd name="T52" fmla="*/ 181 w 328"/>
                <a:gd name="T53" fmla="*/ 166 h 173"/>
                <a:gd name="T54" fmla="*/ 198 w 328"/>
                <a:gd name="T55" fmla="*/ 172 h 173"/>
                <a:gd name="T56" fmla="*/ 226 w 328"/>
                <a:gd name="T57" fmla="*/ 150 h 173"/>
                <a:gd name="T58" fmla="*/ 211 w 328"/>
                <a:gd name="T59" fmla="*/ 132 h 173"/>
                <a:gd name="T60" fmla="*/ 225 w 328"/>
                <a:gd name="T61" fmla="*/ 103 h 173"/>
                <a:gd name="T62" fmla="*/ 230 w 328"/>
                <a:gd name="T63" fmla="*/ 103 h 173"/>
                <a:gd name="T64" fmla="*/ 244 w 328"/>
                <a:gd name="T65" fmla="*/ 146 h 173"/>
                <a:gd name="T66" fmla="*/ 242 w 328"/>
                <a:gd name="T67" fmla="*/ 149 h 173"/>
                <a:gd name="T68" fmla="*/ 242 w 328"/>
                <a:gd name="T69" fmla="*/ 151 h 173"/>
                <a:gd name="T70" fmla="*/ 248 w 328"/>
                <a:gd name="T71" fmla="*/ 154 h 173"/>
                <a:gd name="T72" fmla="*/ 250 w 328"/>
                <a:gd name="T73" fmla="*/ 153 h 173"/>
                <a:gd name="T74" fmla="*/ 251 w 328"/>
                <a:gd name="T75" fmla="*/ 152 h 173"/>
                <a:gd name="T76" fmla="*/ 246 w 328"/>
                <a:gd name="T77" fmla="*/ 146 h 173"/>
                <a:gd name="T78" fmla="*/ 232 w 328"/>
                <a:gd name="T79" fmla="*/ 102 h 173"/>
                <a:gd name="T80" fmla="*/ 238 w 328"/>
                <a:gd name="T81" fmla="*/ 92 h 173"/>
                <a:gd name="T82" fmla="*/ 292 w 328"/>
                <a:gd name="T83" fmla="*/ 72 h 173"/>
                <a:gd name="T84" fmla="*/ 324 w 328"/>
                <a:gd name="T85" fmla="*/ 57 h 173"/>
                <a:gd name="T86" fmla="*/ 297 w 328"/>
                <a:gd name="T87" fmla="*/ 50 h 173"/>
                <a:gd name="T88" fmla="*/ 266 w 328"/>
                <a:gd name="T89" fmla="*/ 17 h 173"/>
                <a:gd name="T90" fmla="*/ 257 w 328"/>
                <a:gd name="T9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173">
                  <a:moveTo>
                    <a:pt x="263" y="20"/>
                  </a:moveTo>
                  <a:cubicBezTo>
                    <a:pt x="263" y="20"/>
                    <a:pt x="263" y="20"/>
                    <a:pt x="263" y="20"/>
                  </a:cubicBezTo>
                  <a:cubicBezTo>
                    <a:pt x="266" y="20"/>
                    <a:pt x="296" y="51"/>
                    <a:pt x="294" y="53"/>
                  </a:cubicBezTo>
                  <a:cubicBezTo>
                    <a:pt x="294" y="53"/>
                    <a:pt x="294" y="53"/>
                    <a:pt x="294" y="53"/>
                  </a:cubicBezTo>
                  <a:cubicBezTo>
                    <a:pt x="290" y="57"/>
                    <a:pt x="289" y="63"/>
                    <a:pt x="290" y="68"/>
                  </a:cubicBezTo>
                  <a:cubicBezTo>
                    <a:pt x="290" y="68"/>
                    <a:pt x="290" y="68"/>
                    <a:pt x="290" y="68"/>
                  </a:cubicBezTo>
                  <a:cubicBezTo>
                    <a:pt x="291" y="71"/>
                    <a:pt x="242" y="89"/>
                    <a:pt x="237" y="89"/>
                  </a:cubicBezTo>
                  <a:cubicBezTo>
                    <a:pt x="237" y="89"/>
                    <a:pt x="237" y="89"/>
                    <a:pt x="237" y="89"/>
                  </a:cubicBezTo>
                  <a:cubicBezTo>
                    <a:pt x="237" y="89"/>
                    <a:pt x="237" y="89"/>
                    <a:pt x="237" y="89"/>
                  </a:cubicBezTo>
                  <a:cubicBezTo>
                    <a:pt x="236" y="87"/>
                    <a:pt x="234" y="86"/>
                    <a:pt x="233" y="85"/>
                  </a:cubicBezTo>
                  <a:cubicBezTo>
                    <a:pt x="233" y="85"/>
                    <a:pt x="233" y="85"/>
                    <a:pt x="233" y="85"/>
                  </a:cubicBezTo>
                  <a:cubicBezTo>
                    <a:pt x="231" y="84"/>
                    <a:pt x="253" y="21"/>
                    <a:pt x="255" y="21"/>
                  </a:cubicBezTo>
                  <a:cubicBezTo>
                    <a:pt x="255" y="21"/>
                    <a:pt x="255" y="21"/>
                    <a:pt x="255" y="21"/>
                  </a:cubicBezTo>
                  <a:cubicBezTo>
                    <a:pt x="255" y="21"/>
                    <a:pt x="255" y="21"/>
                    <a:pt x="255" y="21"/>
                  </a:cubicBezTo>
                  <a:cubicBezTo>
                    <a:pt x="256" y="21"/>
                    <a:pt x="256" y="22"/>
                    <a:pt x="257" y="22"/>
                  </a:cubicBezTo>
                  <a:cubicBezTo>
                    <a:pt x="259" y="22"/>
                    <a:pt x="261" y="21"/>
                    <a:pt x="263" y="20"/>
                  </a:cubicBezTo>
                  <a:cubicBezTo>
                    <a:pt x="263" y="20"/>
                    <a:pt x="263" y="20"/>
                    <a:pt x="263" y="20"/>
                  </a:cubicBezTo>
                  <a:moveTo>
                    <a:pt x="257" y="0"/>
                  </a:moveTo>
                  <a:cubicBezTo>
                    <a:pt x="251" y="0"/>
                    <a:pt x="246" y="5"/>
                    <a:pt x="246" y="11"/>
                  </a:cubicBezTo>
                  <a:cubicBezTo>
                    <a:pt x="246" y="15"/>
                    <a:pt x="248" y="19"/>
                    <a:pt x="252" y="20"/>
                  </a:cubicBezTo>
                  <a:cubicBezTo>
                    <a:pt x="252" y="20"/>
                    <a:pt x="252" y="20"/>
                    <a:pt x="252" y="20"/>
                  </a:cubicBezTo>
                  <a:cubicBezTo>
                    <a:pt x="254" y="21"/>
                    <a:pt x="232" y="84"/>
                    <a:pt x="230" y="84"/>
                  </a:cubicBezTo>
                  <a:cubicBezTo>
                    <a:pt x="230" y="84"/>
                    <a:pt x="230" y="84"/>
                    <a:pt x="230" y="84"/>
                  </a:cubicBezTo>
                  <a:cubicBezTo>
                    <a:pt x="230" y="84"/>
                    <a:pt x="230" y="84"/>
                    <a:pt x="230" y="84"/>
                  </a:cubicBezTo>
                  <a:cubicBezTo>
                    <a:pt x="229" y="84"/>
                    <a:pt x="229" y="84"/>
                    <a:pt x="228" y="84"/>
                  </a:cubicBezTo>
                  <a:cubicBezTo>
                    <a:pt x="227" y="84"/>
                    <a:pt x="226" y="84"/>
                    <a:pt x="225" y="85"/>
                  </a:cubicBezTo>
                  <a:cubicBezTo>
                    <a:pt x="225" y="84"/>
                    <a:pt x="225" y="84"/>
                    <a:pt x="225" y="84"/>
                  </a:cubicBezTo>
                  <a:cubicBezTo>
                    <a:pt x="225" y="85"/>
                    <a:pt x="225" y="85"/>
                    <a:pt x="225" y="85"/>
                  </a:cubicBezTo>
                  <a:cubicBezTo>
                    <a:pt x="223" y="85"/>
                    <a:pt x="211" y="60"/>
                    <a:pt x="214" y="59"/>
                  </a:cubicBezTo>
                  <a:cubicBezTo>
                    <a:pt x="213" y="59"/>
                    <a:pt x="213" y="59"/>
                    <a:pt x="213" y="59"/>
                  </a:cubicBezTo>
                  <a:cubicBezTo>
                    <a:pt x="220" y="55"/>
                    <a:pt x="222" y="47"/>
                    <a:pt x="219" y="41"/>
                  </a:cubicBezTo>
                  <a:cubicBezTo>
                    <a:pt x="216" y="36"/>
                    <a:pt x="211" y="33"/>
                    <a:pt x="205" y="33"/>
                  </a:cubicBezTo>
                  <a:cubicBezTo>
                    <a:pt x="203" y="33"/>
                    <a:pt x="201" y="33"/>
                    <a:pt x="199" y="34"/>
                  </a:cubicBezTo>
                  <a:cubicBezTo>
                    <a:pt x="195" y="36"/>
                    <a:pt x="192" y="39"/>
                    <a:pt x="191" y="43"/>
                  </a:cubicBezTo>
                  <a:cubicBezTo>
                    <a:pt x="191" y="43"/>
                    <a:pt x="191" y="43"/>
                    <a:pt x="191" y="43"/>
                  </a:cubicBezTo>
                  <a:cubicBezTo>
                    <a:pt x="191" y="44"/>
                    <a:pt x="189" y="44"/>
                    <a:pt x="185" y="44"/>
                  </a:cubicBezTo>
                  <a:cubicBezTo>
                    <a:pt x="168" y="44"/>
                    <a:pt x="121" y="39"/>
                    <a:pt x="121" y="37"/>
                  </a:cubicBezTo>
                  <a:cubicBezTo>
                    <a:pt x="121" y="37"/>
                    <a:pt x="121" y="37"/>
                    <a:pt x="121" y="37"/>
                  </a:cubicBezTo>
                  <a:cubicBezTo>
                    <a:pt x="121" y="28"/>
                    <a:pt x="114" y="22"/>
                    <a:pt x="104" y="22"/>
                  </a:cubicBezTo>
                  <a:cubicBezTo>
                    <a:pt x="95" y="22"/>
                    <a:pt x="88" y="29"/>
                    <a:pt x="88" y="38"/>
                  </a:cubicBezTo>
                  <a:cubicBezTo>
                    <a:pt x="88" y="38"/>
                    <a:pt x="88" y="38"/>
                    <a:pt x="88" y="38"/>
                  </a:cubicBezTo>
                  <a:cubicBezTo>
                    <a:pt x="88" y="38"/>
                    <a:pt x="88" y="38"/>
                    <a:pt x="88" y="38"/>
                  </a:cubicBezTo>
                  <a:cubicBezTo>
                    <a:pt x="88" y="41"/>
                    <a:pt x="24" y="52"/>
                    <a:pt x="17" y="52"/>
                  </a:cubicBezTo>
                  <a:cubicBezTo>
                    <a:pt x="16" y="52"/>
                    <a:pt x="16" y="52"/>
                    <a:pt x="16" y="52"/>
                  </a:cubicBezTo>
                  <a:cubicBezTo>
                    <a:pt x="16" y="52"/>
                    <a:pt x="16" y="52"/>
                    <a:pt x="16" y="52"/>
                  </a:cubicBezTo>
                  <a:cubicBezTo>
                    <a:pt x="16" y="51"/>
                    <a:pt x="16" y="51"/>
                    <a:pt x="16" y="51"/>
                  </a:cubicBezTo>
                  <a:cubicBezTo>
                    <a:pt x="14" y="48"/>
                    <a:pt x="12" y="47"/>
                    <a:pt x="9" y="47"/>
                  </a:cubicBezTo>
                  <a:cubicBezTo>
                    <a:pt x="8" y="47"/>
                    <a:pt x="7" y="47"/>
                    <a:pt x="6" y="48"/>
                  </a:cubicBezTo>
                  <a:cubicBezTo>
                    <a:pt x="2" y="49"/>
                    <a:pt x="0" y="54"/>
                    <a:pt x="2" y="57"/>
                  </a:cubicBezTo>
                  <a:cubicBezTo>
                    <a:pt x="3" y="60"/>
                    <a:pt x="6" y="61"/>
                    <a:pt x="9" y="61"/>
                  </a:cubicBezTo>
                  <a:cubicBezTo>
                    <a:pt x="10" y="61"/>
                    <a:pt x="11" y="61"/>
                    <a:pt x="12" y="61"/>
                  </a:cubicBezTo>
                  <a:cubicBezTo>
                    <a:pt x="15" y="60"/>
                    <a:pt x="17" y="57"/>
                    <a:pt x="16" y="54"/>
                  </a:cubicBezTo>
                  <a:cubicBezTo>
                    <a:pt x="16" y="54"/>
                    <a:pt x="16" y="54"/>
                    <a:pt x="16" y="54"/>
                  </a:cubicBezTo>
                  <a:cubicBezTo>
                    <a:pt x="16" y="53"/>
                    <a:pt x="73" y="42"/>
                    <a:pt x="86" y="42"/>
                  </a:cubicBezTo>
                  <a:cubicBezTo>
                    <a:pt x="87" y="42"/>
                    <a:pt x="88" y="43"/>
                    <a:pt x="89" y="43"/>
                  </a:cubicBezTo>
                  <a:cubicBezTo>
                    <a:pt x="88" y="43"/>
                    <a:pt x="88" y="43"/>
                    <a:pt x="88" y="43"/>
                  </a:cubicBezTo>
                  <a:cubicBezTo>
                    <a:pt x="91" y="49"/>
                    <a:pt x="97" y="54"/>
                    <a:pt x="104" y="54"/>
                  </a:cubicBezTo>
                  <a:cubicBezTo>
                    <a:pt x="112" y="54"/>
                    <a:pt x="119" y="49"/>
                    <a:pt x="121" y="42"/>
                  </a:cubicBezTo>
                  <a:cubicBezTo>
                    <a:pt x="121" y="42"/>
                    <a:pt x="121" y="42"/>
                    <a:pt x="121" y="42"/>
                  </a:cubicBezTo>
                  <a:cubicBezTo>
                    <a:pt x="121" y="41"/>
                    <a:pt x="124" y="41"/>
                    <a:pt x="128" y="41"/>
                  </a:cubicBezTo>
                  <a:cubicBezTo>
                    <a:pt x="145" y="41"/>
                    <a:pt x="191" y="46"/>
                    <a:pt x="191" y="48"/>
                  </a:cubicBezTo>
                  <a:cubicBezTo>
                    <a:pt x="191" y="48"/>
                    <a:pt x="191" y="48"/>
                    <a:pt x="191" y="48"/>
                  </a:cubicBezTo>
                  <a:cubicBezTo>
                    <a:pt x="191" y="49"/>
                    <a:pt x="191" y="51"/>
                    <a:pt x="192" y="53"/>
                  </a:cubicBezTo>
                  <a:cubicBezTo>
                    <a:pt x="195" y="58"/>
                    <a:pt x="200" y="61"/>
                    <a:pt x="205" y="61"/>
                  </a:cubicBezTo>
                  <a:cubicBezTo>
                    <a:pt x="207" y="61"/>
                    <a:pt x="208" y="61"/>
                    <a:pt x="210" y="60"/>
                  </a:cubicBezTo>
                  <a:cubicBezTo>
                    <a:pt x="210" y="60"/>
                    <a:pt x="210" y="60"/>
                    <a:pt x="210" y="60"/>
                  </a:cubicBezTo>
                  <a:cubicBezTo>
                    <a:pt x="210" y="60"/>
                    <a:pt x="210" y="60"/>
                    <a:pt x="210" y="60"/>
                  </a:cubicBezTo>
                  <a:cubicBezTo>
                    <a:pt x="213" y="60"/>
                    <a:pt x="224" y="85"/>
                    <a:pt x="222" y="86"/>
                  </a:cubicBezTo>
                  <a:cubicBezTo>
                    <a:pt x="222" y="86"/>
                    <a:pt x="222" y="86"/>
                    <a:pt x="222" y="86"/>
                  </a:cubicBezTo>
                  <a:cubicBezTo>
                    <a:pt x="218" y="88"/>
                    <a:pt x="217" y="94"/>
                    <a:pt x="219" y="98"/>
                  </a:cubicBezTo>
                  <a:cubicBezTo>
                    <a:pt x="220" y="99"/>
                    <a:pt x="221" y="101"/>
                    <a:pt x="222" y="101"/>
                  </a:cubicBezTo>
                  <a:cubicBezTo>
                    <a:pt x="222" y="101"/>
                    <a:pt x="222" y="101"/>
                    <a:pt x="222" y="101"/>
                  </a:cubicBezTo>
                  <a:cubicBezTo>
                    <a:pt x="223" y="103"/>
                    <a:pt x="210" y="130"/>
                    <a:pt x="206" y="130"/>
                  </a:cubicBezTo>
                  <a:cubicBezTo>
                    <a:pt x="206" y="130"/>
                    <a:pt x="205" y="130"/>
                    <a:pt x="205" y="130"/>
                  </a:cubicBezTo>
                  <a:cubicBezTo>
                    <a:pt x="205" y="130"/>
                    <a:pt x="205" y="130"/>
                    <a:pt x="205" y="130"/>
                  </a:cubicBezTo>
                  <a:cubicBezTo>
                    <a:pt x="203" y="129"/>
                    <a:pt x="201" y="128"/>
                    <a:pt x="198" y="128"/>
                  </a:cubicBezTo>
                  <a:cubicBezTo>
                    <a:pt x="185" y="128"/>
                    <a:pt x="175" y="138"/>
                    <a:pt x="175" y="150"/>
                  </a:cubicBezTo>
                  <a:cubicBezTo>
                    <a:pt x="175" y="155"/>
                    <a:pt x="176" y="159"/>
                    <a:pt x="178" y="162"/>
                  </a:cubicBezTo>
                  <a:cubicBezTo>
                    <a:pt x="178" y="162"/>
                    <a:pt x="178" y="162"/>
                    <a:pt x="178" y="162"/>
                  </a:cubicBezTo>
                  <a:cubicBezTo>
                    <a:pt x="179" y="163"/>
                    <a:pt x="174" y="168"/>
                    <a:pt x="168" y="173"/>
                  </a:cubicBezTo>
                  <a:cubicBezTo>
                    <a:pt x="174" y="169"/>
                    <a:pt x="179" y="166"/>
                    <a:pt x="181" y="166"/>
                  </a:cubicBezTo>
                  <a:cubicBezTo>
                    <a:pt x="182" y="166"/>
                    <a:pt x="182" y="166"/>
                    <a:pt x="182" y="166"/>
                  </a:cubicBezTo>
                  <a:cubicBezTo>
                    <a:pt x="182" y="166"/>
                    <a:pt x="182" y="166"/>
                    <a:pt x="182" y="166"/>
                  </a:cubicBezTo>
                  <a:cubicBezTo>
                    <a:pt x="186" y="170"/>
                    <a:pt x="192" y="172"/>
                    <a:pt x="198" y="172"/>
                  </a:cubicBezTo>
                  <a:cubicBezTo>
                    <a:pt x="210" y="172"/>
                    <a:pt x="219" y="164"/>
                    <a:pt x="221" y="153"/>
                  </a:cubicBezTo>
                  <a:cubicBezTo>
                    <a:pt x="221" y="153"/>
                    <a:pt x="221" y="153"/>
                    <a:pt x="221" y="153"/>
                  </a:cubicBezTo>
                  <a:cubicBezTo>
                    <a:pt x="221" y="151"/>
                    <a:pt x="223" y="151"/>
                    <a:pt x="226" y="150"/>
                  </a:cubicBezTo>
                  <a:cubicBezTo>
                    <a:pt x="223" y="150"/>
                    <a:pt x="221" y="149"/>
                    <a:pt x="221" y="148"/>
                  </a:cubicBezTo>
                  <a:cubicBezTo>
                    <a:pt x="221" y="148"/>
                    <a:pt x="221" y="148"/>
                    <a:pt x="221" y="148"/>
                  </a:cubicBezTo>
                  <a:cubicBezTo>
                    <a:pt x="220" y="141"/>
                    <a:pt x="216" y="136"/>
                    <a:pt x="211" y="132"/>
                  </a:cubicBezTo>
                  <a:cubicBezTo>
                    <a:pt x="211" y="132"/>
                    <a:pt x="211" y="132"/>
                    <a:pt x="211" y="132"/>
                  </a:cubicBezTo>
                  <a:cubicBezTo>
                    <a:pt x="207" y="130"/>
                    <a:pt x="223" y="103"/>
                    <a:pt x="225" y="103"/>
                  </a:cubicBezTo>
                  <a:cubicBezTo>
                    <a:pt x="225" y="103"/>
                    <a:pt x="225" y="103"/>
                    <a:pt x="225" y="103"/>
                  </a:cubicBezTo>
                  <a:cubicBezTo>
                    <a:pt x="225" y="103"/>
                    <a:pt x="225" y="103"/>
                    <a:pt x="225" y="103"/>
                  </a:cubicBezTo>
                  <a:cubicBezTo>
                    <a:pt x="226" y="103"/>
                    <a:pt x="227" y="103"/>
                    <a:pt x="228" y="103"/>
                  </a:cubicBezTo>
                  <a:cubicBezTo>
                    <a:pt x="229" y="103"/>
                    <a:pt x="229" y="103"/>
                    <a:pt x="230" y="103"/>
                  </a:cubicBezTo>
                  <a:cubicBezTo>
                    <a:pt x="230" y="103"/>
                    <a:pt x="230" y="103"/>
                    <a:pt x="230" y="103"/>
                  </a:cubicBezTo>
                  <a:cubicBezTo>
                    <a:pt x="230" y="103"/>
                    <a:pt x="230" y="103"/>
                    <a:pt x="230" y="103"/>
                  </a:cubicBezTo>
                  <a:cubicBezTo>
                    <a:pt x="232" y="103"/>
                    <a:pt x="245" y="146"/>
                    <a:pt x="244" y="146"/>
                  </a:cubicBezTo>
                  <a:cubicBezTo>
                    <a:pt x="244" y="146"/>
                    <a:pt x="244" y="146"/>
                    <a:pt x="244" y="146"/>
                  </a:cubicBezTo>
                  <a:cubicBezTo>
                    <a:pt x="243" y="147"/>
                    <a:pt x="242" y="148"/>
                    <a:pt x="242" y="150"/>
                  </a:cubicBezTo>
                  <a:cubicBezTo>
                    <a:pt x="242" y="149"/>
                    <a:pt x="242" y="149"/>
                    <a:pt x="242" y="149"/>
                  </a:cubicBezTo>
                  <a:cubicBezTo>
                    <a:pt x="242" y="150"/>
                    <a:pt x="240" y="150"/>
                    <a:pt x="237" y="150"/>
                  </a:cubicBezTo>
                  <a:cubicBezTo>
                    <a:pt x="240" y="151"/>
                    <a:pt x="242" y="151"/>
                    <a:pt x="242" y="151"/>
                  </a:cubicBezTo>
                  <a:cubicBezTo>
                    <a:pt x="242" y="151"/>
                    <a:pt x="242" y="151"/>
                    <a:pt x="242" y="151"/>
                  </a:cubicBezTo>
                  <a:cubicBezTo>
                    <a:pt x="242" y="151"/>
                    <a:pt x="242" y="152"/>
                    <a:pt x="242" y="152"/>
                  </a:cubicBezTo>
                  <a:cubicBezTo>
                    <a:pt x="243" y="154"/>
                    <a:pt x="245" y="155"/>
                    <a:pt x="246" y="155"/>
                  </a:cubicBezTo>
                  <a:cubicBezTo>
                    <a:pt x="247" y="155"/>
                    <a:pt x="248" y="155"/>
                    <a:pt x="248" y="154"/>
                  </a:cubicBezTo>
                  <a:cubicBezTo>
                    <a:pt x="249" y="154"/>
                    <a:pt x="250" y="154"/>
                    <a:pt x="250" y="153"/>
                  </a:cubicBezTo>
                  <a:cubicBezTo>
                    <a:pt x="250" y="153"/>
                    <a:pt x="250" y="153"/>
                    <a:pt x="250" y="153"/>
                  </a:cubicBezTo>
                  <a:cubicBezTo>
                    <a:pt x="250" y="153"/>
                    <a:pt x="250" y="153"/>
                    <a:pt x="250" y="153"/>
                  </a:cubicBezTo>
                  <a:cubicBezTo>
                    <a:pt x="251" y="153"/>
                    <a:pt x="256" y="155"/>
                    <a:pt x="262" y="158"/>
                  </a:cubicBezTo>
                  <a:cubicBezTo>
                    <a:pt x="256" y="155"/>
                    <a:pt x="251" y="152"/>
                    <a:pt x="251" y="152"/>
                  </a:cubicBezTo>
                  <a:cubicBezTo>
                    <a:pt x="251" y="152"/>
                    <a:pt x="251" y="152"/>
                    <a:pt x="251" y="152"/>
                  </a:cubicBezTo>
                  <a:cubicBezTo>
                    <a:pt x="251" y="151"/>
                    <a:pt x="251" y="150"/>
                    <a:pt x="251" y="148"/>
                  </a:cubicBezTo>
                  <a:cubicBezTo>
                    <a:pt x="250" y="147"/>
                    <a:pt x="248" y="146"/>
                    <a:pt x="246" y="146"/>
                  </a:cubicBezTo>
                  <a:cubicBezTo>
                    <a:pt x="246" y="146"/>
                    <a:pt x="246" y="146"/>
                    <a:pt x="246" y="146"/>
                  </a:cubicBezTo>
                  <a:cubicBezTo>
                    <a:pt x="246" y="146"/>
                    <a:pt x="246" y="146"/>
                    <a:pt x="246" y="146"/>
                  </a:cubicBezTo>
                  <a:cubicBezTo>
                    <a:pt x="246" y="146"/>
                    <a:pt x="246" y="146"/>
                    <a:pt x="246" y="146"/>
                  </a:cubicBezTo>
                  <a:cubicBezTo>
                    <a:pt x="245" y="146"/>
                    <a:pt x="231" y="103"/>
                    <a:pt x="232" y="102"/>
                  </a:cubicBezTo>
                  <a:cubicBezTo>
                    <a:pt x="232" y="102"/>
                    <a:pt x="232" y="102"/>
                    <a:pt x="232" y="102"/>
                  </a:cubicBezTo>
                  <a:cubicBezTo>
                    <a:pt x="237" y="101"/>
                    <a:pt x="239" y="96"/>
                    <a:pt x="238" y="92"/>
                  </a:cubicBezTo>
                  <a:cubicBezTo>
                    <a:pt x="238" y="92"/>
                    <a:pt x="238" y="92"/>
                    <a:pt x="238" y="92"/>
                  </a:cubicBezTo>
                  <a:cubicBezTo>
                    <a:pt x="237" y="90"/>
                    <a:pt x="283" y="72"/>
                    <a:pt x="291" y="72"/>
                  </a:cubicBezTo>
                  <a:cubicBezTo>
                    <a:pt x="292" y="72"/>
                    <a:pt x="292" y="72"/>
                    <a:pt x="292" y="73"/>
                  </a:cubicBezTo>
                  <a:cubicBezTo>
                    <a:pt x="292" y="72"/>
                    <a:pt x="292" y="72"/>
                    <a:pt x="292" y="72"/>
                  </a:cubicBezTo>
                  <a:cubicBezTo>
                    <a:pt x="295" y="78"/>
                    <a:pt x="301" y="81"/>
                    <a:pt x="308" y="81"/>
                  </a:cubicBezTo>
                  <a:cubicBezTo>
                    <a:pt x="310" y="81"/>
                    <a:pt x="313" y="81"/>
                    <a:pt x="315" y="80"/>
                  </a:cubicBezTo>
                  <a:cubicBezTo>
                    <a:pt x="324" y="76"/>
                    <a:pt x="328" y="65"/>
                    <a:pt x="324" y="57"/>
                  </a:cubicBezTo>
                  <a:cubicBezTo>
                    <a:pt x="321" y="51"/>
                    <a:pt x="314" y="47"/>
                    <a:pt x="308" y="47"/>
                  </a:cubicBezTo>
                  <a:cubicBezTo>
                    <a:pt x="305" y="47"/>
                    <a:pt x="302" y="47"/>
                    <a:pt x="300" y="49"/>
                  </a:cubicBezTo>
                  <a:cubicBezTo>
                    <a:pt x="299" y="49"/>
                    <a:pt x="298" y="49"/>
                    <a:pt x="297" y="50"/>
                  </a:cubicBezTo>
                  <a:cubicBezTo>
                    <a:pt x="298" y="50"/>
                    <a:pt x="298" y="50"/>
                    <a:pt x="298" y="50"/>
                  </a:cubicBezTo>
                  <a:cubicBezTo>
                    <a:pt x="298" y="50"/>
                    <a:pt x="297" y="50"/>
                    <a:pt x="297" y="50"/>
                  </a:cubicBezTo>
                  <a:cubicBezTo>
                    <a:pt x="293" y="50"/>
                    <a:pt x="264" y="19"/>
                    <a:pt x="266" y="17"/>
                  </a:cubicBezTo>
                  <a:cubicBezTo>
                    <a:pt x="266" y="17"/>
                    <a:pt x="266" y="17"/>
                    <a:pt x="266" y="17"/>
                  </a:cubicBezTo>
                  <a:cubicBezTo>
                    <a:pt x="267" y="16"/>
                    <a:pt x="268" y="13"/>
                    <a:pt x="268" y="11"/>
                  </a:cubicBezTo>
                  <a:cubicBezTo>
                    <a:pt x="268" y="5"/>
                    <a:pt x="263" y="0"/>
                    <a:pt x="257"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0" name="Freeform 22"/>
            <p:cNvSpPr>
              <a:spLocks/>
            </p:cNvSpPr>
            <p:nvPr/>
          </p:nvSpPr>
          <p:spPr bwMode="auto">
            <a:xfrm>
              <a:off x="7312025" y="3098800"/>
              <a:ext cx="12700" cy="26988"/>
            </a:xfrm>
            <a:custGeom>
              <a:avLst/>
              <a:gdLst>
                <a:gd name="T0" fmla="*/ 0 w 3"/>
                <a:gd name="T1" fmla="*/ 0 h 7"/>
                <a:gd name="T2" fmla="*/ 3 w 3"/>
                <a:gd name="T3" fmla="*/ 7 h 7"/>
                <a:gd name="T4" fmla="*/ 0 w 3"/>
                <a:gd name="T5" fmla="*/ 0 h 7"/>
              </a:gdLst>
              <a:ahLst/>
              <a:cxnLst>
                <a:cxn ang="0">
                  <a:pos x="T0" y="T1"/>
                </a:cxn>
                <a:cxn ang="0">
                  <a:pos x="T2" y="T3"/>
                </a:cxn>
                <a:cxn ang="0">
                  <a:pos x="T4" y="T5"/>
                </a:cxn>
              </a:cxnLst>
              <a:rect l="0" t="0" r="r" b="b"/>
              <a:pathLst>
                <a:path w="3" h="7">
                  <a:moveTo>
                    <a:pt x="0" y="0"/>
                  </a:moveTo>
                  <a:cubicBezTo>
                    <a:pt x="1" y="2"/>
                    <a:pt x="2" y="4"/>
                    <a:pt x="3" y="7"/>
                  </a:cubicBezTo>
                  <a:cubicBezTo>
                    <a:pt x="2" y="4"/>
                    <a:pt x="1" y="2"/>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1" name="Freeform 23"/>
            <p:cNvSpPr>
              <a:spLocks/>
            </p:cNvSpPr>
            <p:nvPr/>
          </p:nvSpPr>
          <p:spPr bwMode="auto">
            <a:xfrm>
              <a:off x="6307138" y="2813050"/>
              <a:ext cx="41275" cy="3175"/>
            </a:xfrm>
            <a:custGeom>
              <a:avLst/>
              <a:gdLst>
                <a:gd name="T0" fmla="*/ 5 w 11"/>
                <a:gd name="T1" fmla="*/ 0 h 1"/>
                <a:gd name="T2" fmla="*/ 0 w 11"/>
                <a:gd name="T3" fmla="*/ 0 h 1"/>
                <a:gd name="T4" fmla="*/ 5 w 11"/>
                <a:gd name="T5" fmla="*/ 1 h 1"/>
                <a:gd name="T6" fmla="*/ 11 w 11"/>
                <a:gd name="T7" fmla="*/ 0 h 1"/>
                <a:gd name="T8" fmla="*/ 5 w 11"/>
                <a:gd name="T9" fmla="*/ 0 h 1"/>
              </a:gdLst>
              <a:ahLst/>
              <a:cxnLst>
                <a:cxn ang="0">
                  <a:pos x="T0" y="T1"/>
                </a:cxn>
                <a:cxn ang="0">
                  <a:pos x="T2" y="T3"/>
                </a:cxn>
                <a:cxn ang="0">
                  <a:pos x="T4" y="T5"/>
                </a:cxn>
                <a:cxn ang="0">
                  <a:pos x="T6" y="T7"/>
                </a:cxn>
                <a:cxn ang="0">
                  <a:pos x="T8" y="T9"/>
                </a:cxn>
              </a:cxnLst>
              <a:rect l="0" t="0" r="r" b="b"/>
              <a:pathLst>
                <a:path w="11" h="1">
                  <a:moveTo>
                    <a:pt x="5" y="0"/>
                  </a:moveTo>
                  <a:cubicBezTo>
                    <a:pt x="4" y="0"/>
                    <a:pt x="2" y="0"/>
                    <a:pt x="0" y="0"/>
                  </a:cubicBezTo>
                  <a:cubicBezTo>
                    <a:pt x="2" y="1"/>
                    <a:pt x="4" y="1"/>
                    <a:pt x="5" y="1"/>
                  </a:cubicBezTo>
                  <a:cubicBezTo>
                    <a:pt x="7" y="1"/>
                    <a:pt x="9" y="0"/>
                    <a:pt x="11" y="0"/>
                  </a:cubicBezTo>
                  <a:cubicBezTo>
                    <a:pt x="9" y="0"/>
                    <a:pt x="7" y="0"/>
                    <a:pt x="5"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2" name="Freeform 24"/>
            <p:cNvSpPr>
              <a:spLocks/>
            </p:cNvSpPr>
            <p:nvPr/>
          </p:nvSpPr>
          <p:spPr bwMode="auto">
            <a:xfrm>
              <a:off x="6442075" y="2843213"/>
              <a:ext cx="11113" cy="7938"/>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2"/>
                    <a:pt x="1"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3" name="Freeform 25"/>
            <p:cNvSpPr>
              <a:spLocks/>
            </p:cNvSpPr>
            <p:nvPr/>
          </p:nvSpPr>
          <p:spPr bwMode="auto">
            <a:xfrm>
              <a:off x="6502400" y="3136900"/>
              <a:ext cx="14288" cy="52388"/>
            </a:xfrm>
            <a:custGeom>
              <a:avLst/>
              <a:gdLst>
                <a:gd name="T0" fmla="*/ 0 w 4"/>
                <a:gd name="T1" fmla="*/ 0 h 14"/>
                <a:gd name="T2" fmla="*/ 4 w 4"/>
                <a:gd name="T3" fmla="*/ 14 h 14"/>
                <a:gd name="T4" fmla="*/ 0 w 4"/>
                <a:gd name="T5" fmla="*/ 0 h 14"/>
              </a:gdLst>
              <a:ahLst/>
              <a:cxnLst>
                <a:cxn ang="0">
                  <a:pos x="T0" y="T1"/>
                </a:cxn>
                <a:cxn ang="0">
                  <a:pos x="T2" y="T3"/>
                </a:cxn>
                <a:cxn ang="0">
                  <a:pos x="T4" y="T5"/>
                </a:cxn>
              </a:cxnLst>
              <a:rect l="0" t="0" r="r" b="b"/>
              <a:pathLst>
                <a:path w="4" h="14">
                  <a:moveTo>
                    <a:pt x="0" y="0"/>
                  </a:moveTo>
                  <a:cubicBezTo>
                    <a:pt x="1" y="4"/>
                    <a:pt x="2" y="9"/>
                    <a:pt x="4" y="14"/>
                  </a:cubicBezTo>
                  <a:cubicBezTo>
                    <a:pt x="3" y="9"/>
                    <a:pt x="1"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4" name="Freeform 26"/>
            <p:cNvSpPr>
              <a:spLocks noEditPoints="1"/>
            </p:cNvSpPr>
            <p:nvPr/>
          </p:nvSpPr>
          <p:spPr bwMode="auto">
            <a:xfrm>
              <a:off x="5980113" y="2941638"/>
              <a:ext cx="528638" cy="195263"/>
            </a:xfrm>
            <a:custGeom>
              <a:avLst/>
              <a:gdLst>
                <a:gd name="T0" fmla="*/ 95 w 141"/>
                <a:gd name="T1" fmla="*/ 22 h 52"/>
                <a:gd name="T2" fmla="*/ 101 w 141"/>
                <a:gd name="T3" fmla="*/ 23 h 52"/>
                <a:gd name="T4" fmla="*/ 103 w 141"/>
                <a:gd name="T5" fmla="*/ 22 h 52"/>
                <a:gd name="T6" fmla="*/ 133 w 141"/>
                <a:gd name="T7" fmla="*/ 41 h 52"/>
                <a:gd name="T8" fmla="*/ 132 w 141"/>
                <a:gd name="T9" fmla="*/ 42 h 52"/>
                <a:gd name="T10" fmla="*/ 70 w 141"/>
                <a:gd name="T11" fmla="*/ 45 h 52"/>
                <a:gd name="T12" fmla="*/ 65 w 141"/>
                <a:gd name="T13" fmla="*/ 45 h 52"/>
                <a:gd name="T14" fmla="*/ 64 w 141"/>
                <a:gd name="T15" fmla="*/ 43 h 52"/>
                <a:gd name="T16" fmla="*/ 95 w 141"/>
                <a:gd name="T17" fmla="*/ 22 h 52"/>
                <a:gd name="T18" fmla="*/ 15 w 141"/>
                <a:gd name="T19" fmla="*/ 0 h 52"/>
                <a:gd name="T20" fmla="*/ 7 w 141"/>
                <a:gd name="T21" fmla="*/ 6 h 52"/>
                <a:gd name="T22" fmla="*/ 4 w 141"/>
                <a:gd name="T23" fmla="*/ 5 h 52"/>
                <a:gd name="T24" fmla="*/ 1 w 141"/>
                <a:gd name="T25" fmla="*/ 10 h 52"/>
                <a:gd name="T26" fmla="*/ 6 w 141"/>
                <a:gd name="T27" fmla="*/ 12 h 52"/>
                <a:gd name="T28" fmla="*/ 7 w 141"/>
                <a:gd name="T29" fmla="*/ 11 h 52"/>
                <a:gd name="T30" fmla="*/ 52 w 141"/>
                <a:gd name="T31" fmla="*/ 43 h 52"/>
                <a:gd name="T32" fmla="*/ 52 w 141"/>
                <a:gd name="T33" fmla="*/ 49 h 52"/>
                <a:gd name="T34" fmla="*/ 61 w 141"/>
                <a:gd name="T35" fmla="*/ 52 h 52"/>
                <a:gd name="T36" fmla="*/ 65 w 141"/>
                <a:gd name="T37" fmla="*/ 47 h 52"/>
                <a:gd name="T38" fmla="*/ 132 w 141"/>
                <a:gd name="T39" fmla="*/ 43 h 52"/>
                <a:gd name="T40" fmla="*/ 133 w 141"/>
                <a:gd name="T41" fmla="*/ 44 h 52"/>
                <a:gd name="T42" fmla="*/ 137 w 141"/>
                <a:gd name="T43" fmla="*/ 46 h 52"/>
                <a:gd name="T44" fmla="*/ 137 w 141"/>
                <a:gd name="T45" fmla="*/ 46 h 52"/>
                <a:gd name="T46" fmla="*/ 138 w 141"/>
                <a:gd name="T47" fmla="*/ 46 h 52"/>
                <a:gd name="T48" fmla="*/ 140 w 141"/>
                <a:gd name="T49" fmla="*/ 41 h 52"/>
                <a:gd name="T50" fmla="*/ 138 w 141"/>
                <a:gd name="T51" fmla="*/ 39 h 52"/>
                <a:gd name="T52" fmla="*/ 137 w 141"/>
                <a:gd name="T53" fmla="*/ 39 h 52"/>
                <a:gd name="T54" fmla="*/ 137 w 141"/>
                <a:gd name="T55" fmla="*/ 39 h 52"/>
                <a:gd name="T56" fmla="*/ 135 w 141"/>
                <a:gd name="T57" fmla="*/ 39 h 52"/>
                <a:gd name="T58" fmla="*/ 133 w 141"/>
                <a:gd name="T59" fmla="*/ 40 h 52"/>
                <a:gd name="T60" fmla="*/ 103 w 141"/>
                <a:gd name="T61" fmla="*/ 21 h 52"/>
                <a:gd name="T62" fmla="*/ 103 w 141"/>
                <a:gd name="T63" fmla="*/ 17 h 52"/>
                <a:gd name="T64" fmla="*/ 97 w 141"/>
                <a:gd name="T65" fmla="*/ 15 h 52"/>
                <a:gd name="T66" fmla="*/ 95 w 141"/>
                <a:gd name="T67" fmla="*/ 21 h 52"/>
                <a:gd name="T68" fmla="*/ 63 w 141"/>
                <a:gd name="T69" fmla="*/ 41 h 52"/>
                <a:gd name="T70" fmla="*/ 58 w 141"/>
                <a:gd name="T71" fmla="*/ 39 h 52"/>
                <a:gd name="T72" fmla="*/ 53 w 141"/>
                <a:gd name="T73" fmla="*/ 41 h 52"/>
                <a:gd name="T74" fmla="*/ 53 w 141"/>
                <a:gd name="T75" fmla="*/ 41 h 52"/>
                <a:gd name="T76" fmla="*/ 8 w 141"/>
                <a:gd name="T77" fmla="*/ 10 h 52"/>
                <a:gd name="T78" fmla="*/ 8 w 141"/>
                <a:gd name="T79" fmla="*/ 7 h 52"/>
                <a:gd name="T80" fmla="*/ 15 w 141"/>
                <a:gd name="T8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52">
                  <a:moveTo>
                    <a:pt x="96" y="22"/>
                  </a:moveTo>
                  <a:cubicBezTo>
                    <a:pt x="95" y="22"/>
                    <a:pt x="95" y="22"/>
                    <a:pt x="95" y="22"/>
                  </a:cubicBezTo>
                  <a:cubicBezTo>
                    <a:pt x="96" y="23"/>
                    <a:pt x="98" y="24"/>
                    <a:pt x="99" y="24"/>
                  </a:cubicBezTo>
                  <a:cubicBezTo>
                    <a:pt x="100" y="24"/>
                    <a:pt x="100" y="23"/>
                    <a:pt x="101" y="23"/>
                  </a:cubicBezTo>
                  <a:cubicBezTo>
                    <a:pt x="102" y="23"/>
                    <a:pt x="102" y="23"/>
                    <a:pt x="103" y="22"/>
                  </a:cubicBezTo>
                  <a:cubicBezTo>
                    <a:pt x="103" y="22"/>
                    <a:pt x="103" y="22"/>
                    <a:pt x="103" y="22"/>
                  </a:cubicBezTo>
                  <a:cubicBezTo>
                    <a:pt x="103" y="22"/>
                    <a:pt x="103" y="22"/>
                    <a:pt x="103" y="22"/>
                  </a:cubicBezTo>
                  <a:cubicBezTo>
                    <a:pt x="104" y="22"/>
                    <a:pt x="133" y="40"/>
                    <a:pt x="133" y="41"/>
                  </a:cubicBezTo>
                  <a:cubicBezTo>
                    <a:pt x="133" y="41"/>
                    <a:pt x="133" y="41"/>
                    <a:pt x="133" y="41"/>
                  </a:cubicBezTo>
                  <a:cubicBezTo>
                    <a:pt x="132" y="41"/>
                    <a:pt x="132" y="42"/>
                    <a:pt x="132" y="42"/>
                  </a:cubicBezTo>
                  <a:cubicBezTo>
                    <a:pt x="132" y="42"/>
                    <a:pt x="132" y="42"/>
                    <a:pt x="132" y="42"/>
                  </a:cubicBezTo>
                  <a:cubicBezTo>
                    <a:pt x="132" y="43"/>
                    <a:pt x="86" y="45"/>
                    <a:pt x="70" y="45"/>
                  </a:cubicBezTo>
                  <a:cubicBezTo>
                    <a:pt x="67" y="45"/>
                    <a:pt x="65" y="45"/>
                    <a:pt x="65" y="45"/>
                  </a:cubicBezTo>
                  <a:cubicBezTo>
                    <a:pt x="65" y="45"/>
                    <a:pt x="65" y="45"/>
                    <a:pt x="65" y="45"/>
                  </a:cubicBezTo>
                  <a:cubicBezTo>
                    <a:pt x="65" y="44"/>
                    <a:pt x="64" y="43"/>
                    <a:pt x="64" y="43"/>
                  </a:cubicBezTo>
                  <a:cubicBezTo>
                    <a:pt x="64" y="43"/>
                    <a:pt x="64" y="43"/>
                    <a:pt x="64" y="43"/>
                  </a:cubicBezTo>
                  <a:cubicBezTo>
                    <a:pt x="64" y="43"/>
                    <a:pt x="64" y="43"/>
                    <a:pt x="64" y="43"/>
                  </a:cubicBezTo>
                  <a:cubicBezTo>
                    <a:pt x="64" y="42"/>
                    <a:pt x="94" y="22"/>
                    <a:pt x="95" y="22"/>
                  </a:cubicBezTo>
                  <a:cubicBezTo>
                    <a:pt x="96" y="22"/>
                    <a:pt x="96" y="22"/>
                    <a:pt x="96" y="22"/>
                  </a:cubicBezTo>
                  <a:moveTo>
                    <a:pt x="15" y="0"/>
                  </a:moveTo>
                  <a:cubicBezTo>
                    <a:pt x="11" y="3"/>
                    <a:pt x="8" y="6"/>
                    <a:pt x="7" y="6"/>
                  </a:cubicBezTo>
                  <a:cubicBezTo>
                    <a:pt x="7" y="6"/>
                    <a:pt x="7" y="6"/>
                    <a:pt x="7" y="6"/>
                  </a:cubicBezTo>
                  <a:cubicBezTo>
                    <a:pt x="7" y="6"/>
                    <a:pt x="7" y="6"/>
                    <a:pt x="7" y="6"/>
                  </a:cubicBezTo>
                  <a:cubicBezTo>
                    <a:pt x="6" y="5"/>
                    <a:pt x="5" y="5"/>
                    <a:pt x="4" y="5"/>
                  </a:cubicBezTo>
                  <a:cubicBezTo>
                    <a:pt x="4" y="5"/>
                    <a:pt x="3" y="5"/>
                    <a:pt x="3" y="5"/>
                  </a:cubicBezTo>
                  <a:cubicBezTo>
                    <a:pt x="1" y="6"/>
                    <a:pt x="0" y="8"/>
                    <a:pt x="1" y="10"/>
                  </a:cubicBezTo>
                  <a:cubicBezTo>
                    <a:pt x="1" y="12"/>
                    <a:pt x="3" y="12"/>
                    <a:pt x="4" y="12"/>
                  </a:cubicBezTo>
                  <a:cubicBezTo>
                    <a:pt x="5" y="12"/>
                    <a:pt x="6" y="12"/>
                    <a:pt x="6" y="12"/>
                  </a:cubicBezTo>
                  <a:cubicBezTo>
                    <a:pt x="7" y="12"/>
                    <a:pt x="7" y="12"/>
                    <a:pt x="7" y="11"/>
                  </a:cubicBezTo>
                  <a:cubicBezTo>
                    <a:pt x="7" y="11"/>
                    <a:pt x="7" y="11"/>
                    <a:pt x="7" y="11"/>
                  </a:cubicBezTo>
                  <a:cubicBezTo>
                    <a:pt x="7" y="11"/>
                    <a:pt x="7" y="11"/>
                    <a:pt x="7" y="11"/>
                  </a:cubicBezTo>
                  <a:cubicBezTo>
                    <a:pt x="9" y="11"/>
                    <a:pt x="52" y="42"/>
                    <a:pt x="52" y="43"/>
                  </a:cubicBezTo>
                  <a:cubicBezTo>
                    <a:pt x="52" y="43"/>
                    <a:pt x="52" y="43"/>
                    <a:pt x="52" y="43"/>
                  </a:cubicBezTo>
                  <a:cubicBezTo>
                    <a:pt x="51" y="44"/>
                    <a:pt x="51" y="47"/>
                    <a:pt x="52" y="49"/>
                  </a:cubicBezTo>
                  <a:cubicBezTo>
                    <a:pt x="53" y="51"/>
                    <a:pt x="55" y="52"/>
                    <a:pt x="58" y="52"/>
                  </a:cubicBezTo>
                  <a:cubicBezTo>
                    <a:pt x="59" y="52"/>
                    <a:pt x="60" y="52"/>
                    <a:pt x="61" y="52"/>
                  </a:cubicBezTo>
                  <a:cubicBezTo>
                    <a:pt x="63" y="51"/>
                    <a:pt x="65" y="49"/>
                    <a:pt x="65" y="46"/>
                  </a:cubicBezTo>
                  <a:cubicBezTo>
                    <a:pt x="65" y="47"/>
                    <a:pt x="65" y="47"/>
                    <a:pt x="65" y="47"/>
                  </a:cubicBezTo>
                  <a:cubicBezTo>
                    <a:pt x="65" y="45"/>
                    <a:pt x="117" y="43"/>
                    <a:pt x="129" y="43"/>
                  </a:cubicBezTo>
                  <a:cubicBezTo>
                    <a:pt x="131" y="43"/>
                    <a:pt x="132" y="43"/>
                    <a:pt x="132" y="43"/>
                  </a:cubicBezTo>
                  <a:cubicBezTo>
                    <a:pt x="132" y="43"/>
                    <a:pt x="132" y="43"/>
                    <a:pt x="132" y="43"/>
                  </a:cubicBezTo>
                  <a:cubicBezTo>
                    <a:pt x="133" y="44"/>
                    <a:pt x="133" y="44"/>
                    <a:pt x="133" y="44"/>
                  </a:cubicBezTo>
                  <a:cubicBezTo>
                    <a:pt x="133" y="46"/>
                    <a:pt x="135" y="46"/>
                    <a:pt x="136" y="46"/>
                  </a:cubicBezTo>
                  <a:cubicBezTo>
                    <a:pt x="136" y="46"/>
                    <a:pt x="137" y="46"/>
                    <a:pt x="137" y="46"/>
                  </a:cubicBezTo>
                  <a:cubicBezTo>
                    <a:pt x="137" y="46"/>
                    <a:pt x="137" y="46"/>
                    <a:pt x="137" y="46"/>
                  </a:cubicBezTo>
                  <a:cubicBezTo>
                    <a:pt x="137" y="46"/>
                    <a:pt x="137" y="46"/>
                    <a:pt x="137" y="46"/>
                  </a:cubicBezTo>
                  <a:cubicBezTo>
                    <a:pt x="137" y="46"/>
                    <a:pt x="138" y="49"/>
                    <a:pt x="139" y="52"/>
                  </a:cubicBezTo>
                  <a:cubicBezTo>
                    <a:pt x="138" y="48"/>
                    <a:pt x="138" y="46"/>
                    <a:pt x="138" y="46"/>
                  </a:cubicBezTo>
                  <a:cubicBezTo>
                    <a:pt x="138" y="46"/>
                    <a:pt x="138" y="46"/>
                    <a:pt x="138" y="46"/>
                  </a:cubicBezTo>
                  <a:cubicBezTo>
                    <a:pt x="140" y="45"/>
                    <a:pt x="141" y="43"/>
                    <a:pt x="140" y="41"/>
                  </a:cubicBezTo>
                  <a:cubicBezTo>
                    <a:pt x="140" y="40"/>
                    <a:pt x="139" y="39"/>
                    <a:pt x="138" y="39"/>
                  </a:cubicBezTo>
                  <a:cubicBezTo>
                    <a:pt x="138" y="39"/>
                    <a:pt x="138" y="39"/>
                    <a:pt x="138" y="39"/>
                  </a:cubicBezTo>
                  <a:cubicBezTo>
                    <a:pt x="138" y="39"/>
                    <a:pt x="139" y="33"/>
                    <a:pt x="141" y="25"/>
                  </a:cubicBezTo>
                  <a:cubicBezTo>
                    <a:pt x="139" y="33"/>
                    <a:pt x="137" y="39"/>
                    <a:pt x="137" y="39"/>
                  </a:cubicBezTo>
                  <a:cubicBezTo>
                    <a:pt x="137" y="39"/>
                    <a:pt x="137" y="39"/>
                    <a:pt x="137" y="39"/>
                  </a:cubicBezTo>
                  <a:cubicBezTo>
                    <a:pt x="137" y="39"/>
                    <a:pt x="137" y="39"/>
                    <a:pt x="137" y="39"/>
                  </a:cubicBezTo>
                  <a:cubicBezTo>
                    <a:pt x="137" y="39"/>
                    <a:pt x="136" y="39"/>
                    <a:pt x="136" y="39"/>
                  </a:cubicBezTo>
                  <a:cubicBezTo>
                    <a:pt x="136" y="39"/>
                    <a:pt x="135" y="39"/>
                    <a:pt x="135" y="39"/>
                  </a:cubicBezTo>
                  <a:cubicBezTo>
                    <a:pt x="134" y="39"/>
                    <a:pt x="134" y="40"/>
                    <a:pt x="133" y="40"/>
                  </a:cubicBezTo>
                  <a:cubicBezTo>
                    <a:pt x="133" y="40"/>
                    <a:pt x="133" y="40"/>
                    <a:pt x="133" y="40"/>
                  </a:cubicBezTo>
                  <a:cubicBezTo>
                    <a:pt x="133" y="40"/>
                    <a:pt x="133" y="40"/>
                    <a:pt x="133" y="40"/>
                  </a:cubicBezTo>
                  <a:cubicBezTo>
                    <a:pt x="132" y="40"/>
                    <a:pt x="103" y="22"/>
                    <a:pt x="103" y="21"/>
                  </a:cubicBezTo>
                  <a:cubicBezTo>
                    <a:pt x="103" y="21"/>
                    <a:pt x="103" y="21"/>
                    <a:pt x="103" y="21"/>
                  </a:cubicBezTo>
                  <a:cubicBezTo>
                    <a:pt x="104" y="20"/>
                    <a:pt x="104" y="18"/>
                    <a:pt x="103" y="17"/>
                  </a:cubicBezTo>
                  <a:cubicBezTo>
                    <a:pt x="103" y="15"/>
                    <a:pt x="101" y="14"/>
                    <a:pt x="99" y="14"/>
                  </a:cubicBezTo>
                  <a:cubicBezTo>
                    <a:pt x="98" y="14"/>
                    <a:pt x="98" y="15"/>
                    <a:pt x="97" y="15"/>
                  </a:cubicBezTo>
                  <a:cubicBezTo>
                    <a:pt x="95" y="16"/>
                    <a:pt x="94" y="19"/>
                    <a:pt x="95" y="21"/>
                  </a:cubicBezTo>
                  <a:cubicBezTo>
                    <a:pt x="95" y="21"/>
                    <a:pt x="95" y="21"/>
                    <a:pt x="95" y="21"/>
                  </a:cubicBezTo>
                  <a:cubicBezTo>
                    <a:pt x="95" y="22"/>
                    <a:pt x="65" y="41"/>
                    <a:pt x="63" y="41"/>
                  </a:cubicBezTo>
                  <a:cubicBezTo>
                    <a:pt x="63" y="41"/>
                    <a:pt x="63" y="41"/>
                    <a:pt x="63" y="41"/>
                  </a:cubicBezTo>
                  <a:cubicBezTo>
                    <a:pt x="63" y="41"/>
                    <a:pt x="63" y="41"/>
                    <a:pt x="63" y="41"/>
                  </a:cubicBezTo>
                  <a:cubicBezTo>
                    <a:pt x="62" y="40"/>
                    <a:pt x="60" y="39"/>
                    <a:pt x="58" y="39"/>
                  </a:cubicBezTo>
                  <a:cubicBezTo>
                    <a:pt x="57" y="39"/>
                    <a:pt x="56" y="39"/>
                    <a:pt x="55" y="40"/>
                  </a:cubicBezTo>
                  <a:cubicBezTo>
                    <a:pt x="54" y="40"/>
                    <a:pt x="54" y="41"/>
                    <a:pt x="53" y="41"/>
                  </a:cubicBezTo>
                  <a:cubicBezTo>
                    <a:pt x="53" y="41"/>
                    <a:pt x="53" y="41"/>
                    <a:pt x="53" y="41"/>
                  </a:cubicBezTo>
                  <a:cubicBezTo>
                    <a:pt x="53" y="41"/>
                    <a:pt x="53" y="41"/>
                    <a:pt x="53" y="41"/>
                  </a:cubicBezTo>
                  <a:cubicBezTo>
                    <a:pt x="51" y="41"/>
                    <a:pt x="8" y="11"/>
                    <a:pt x="8" y="10"/>
                  </a:cubicBezTo>
                  <a:cubicBezTo>
                    <a:pt x="8" y="10"/>
                    <a:pt x="8" y="10"/>
                    <a:pt x="8" y="10"/>
                  </a:cubicBezTo>
                  <a:cubicBezTo>
                    <a:pt x="9" y="9"/>
                    <a:pt x="9" y="8"/>
                    <a:pt x="8" y="7"/>
                  </a:cubicBezTo>
                  <a:cubicBezTo>
                    <a:pt x="8" y="7"/>
                    <a:pt x="8" y="7"/>
                    <a:pt x="8" y="7"/>
                  </a:cubicBezTo>
                  <a:cubicBezTo>
                    <a:pt x="8" y="7"/>
                    <a:pt x="8" y="7"/>
                    <a:pt x="8" y="7"/>
                  </a:cubicBezTo>
                  <a:cubicBezTo>
                    <a:pt x="8" y="6"/>
                    <a:pt x="11" y="4"/>
                    <a:pt x="15"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5" name="Freeform 27"/>
            <p:cNvSpPr>
              <a:spLocks/>
            </p:cNvSpPr>
            <p:nvPr/>
          </p:nvSpPr>
          <p:spPr bwMode="auto">
            <a:xfrm>
              <a:off x="6508750" y="3016250"/>
              <a:ext cx="7938" cy="19050"/>
            </a:xfrm>
            <a:custGeom>
              <a:avLst/>
              <a:gdLst>
                <a:gd name="T0" fmla="*/ 2 w 2"/>
                <a:gd name="T1" fmla="*/ 0 h 5"/>
                <a:gd name="T2" fmla="*/ 0 w 2"/>
                <a:gd name="T3" fmla="*/ 5 h 5"/>
                <a:gd name="T4" fmla="*/ 2 w 2"/>
                <a:gd name="T5" fmla="*/ 0 h 5"/>
              </a:gdLst>
              <a:ahLst/>
              <a:cxnLst>
                <a:cxn ang="0">
                  <a:pos x="T0" y="T1"/>
                </a:cxn>
                <a:cxn ang="0">
                  <a:pos x="T2" y="T3"/>
                </a:cxn>
                <a:cxn ang="0">
                  <a:pos x="T4" y="T5"/>
                </a:cxn>
              </a:cxnLst>
              <a:rect l="0" t="0" r="r" b="b"/>
              <a:pathLst>
                <a:path w="2" h="5">
                  <a:moveTo>
                    <a:pt x="2" y="0"/>
                  </a:moveTo>
                  <a:cubicBezTo>
                    <a:pt x="1" y="2"/>
                    <a:pt x="1" y="4"/>
                    <a:pt x="0" y="5"/>
                  </a:cubicBezTo>
                  <a:cubicBezTo>
                    <a:pt x="1" y="4"/>
                    <a:pt x="1" y="2"/>
                    <a:pt x="2"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grpSp>
    </p:spTree>
    <p:extLst>
      <p:ext uri="{BB962C8B-B14F-4D97-AF65-F5344CB8AC3E}">
        <p14:creationId xmlns:p14="http://schemas.microsoft.com/office/powerpoint/2010/main" val="27526592"/>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2300513823"/>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itle Only bg">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grpSp>
        <p:nvGrpSpPr>
          <p:cNvPr id="11" name="Group 10"/>
          <p:cNvGrpSpPr>
            <a:grpSpLocks noChangeAspect="1"/>
          </p:cNvGrpSpPr>
          <p:nvPr userDrawn="1"/>
        </p:nvGrpSpPr>
        <p:grpSpPr>
          <a:xfrm>
            <a:off x="182880" y="1419279"/>
            <a:ext cx="8778240" cy="3072690"/>
            <a:chOff x="2719388" y="2247900"/>
            <a:chExt cx="6748462" cy="2362200"/>
          </a:xfrm>
          <a:solidFill>
            <a:schemeClr val="tx2">
              <a:lumMod val="85000"/>
            </a:schemeClr>
          </a:solidFill>
        </p:grpSpPr>
        <p:sp>
          <p:nvSpPr>
            <p:cNvPr id="12" name="Freeform 5"/>
            <p:cNvSpPr>
              <a:spLocks/>
            </p:cNvSpPr>
            <p:nvPr/>
          </p:nvSpPr>
          <p:spPr bwMode="auto">
            <a:xfrm>
              <a:off x="5416550" y="3241675"/>
              <a:ext cx="74613" cy="4763"/>
            </a:xfrm>
            <a:custGeom>
              <a:avLst/>
              <a:gdLst>
                <a:gd name="T0" fmla="*/ 20 w 20"/>
                <a:gd name="T1" fmla="*/ 0 h 1"/>
                <a:gd name="T2" fmla="*/ 0 w 20"/>
                <a:gd name="T3" fmla="*/ 1 h 1"/>
                <a:gd name="T4" fmla="*/ 20 w 20"/>
                <a:gd name="T5" fmla="*/ 0 h 1"/>
              </a:gdLst>
              <a:ahLst/>
              <a:cxnLst>
                <a:cxn ang="0">
                  <a:pos x="T0" y="T1"/>
                </a:cxn>
                <a:cxn ang="0">
                  <a:pos x="T2" y="T3"/>
                </a:cxn>
                <a:cxn ang="0">
                  <a:pos x="T4" y="T5"/>
                </a:cxn>
              </a:cxnLst>
              <a:rect l="0" t="0" r="r" b="b"/>
              <a:pathLst>
                <a:path w="20" h="1">
                  <a:moveTo>
                    <a:pt x="20" y="0"/>
                  </a:moveTo>
                  <a:cubicBezTo>
                    <a:pt x="14" y="0"/>
                    <a:pt x="6" y="0"/>
                    <a:pt x="0" y="1"/>
                  </a:cubicBezTo>
                  <a:cubicBezTo>
                    <a:pt x="6" y="1"/>
                    <a:pt x="14" y="0"/>
                    <a:pt x="2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 name="Freeform 6"/>
            <p:cNvSpPr>
              <a:spLocks/>
            </p:cNvSpPr>
            <p:nvPr/>
          </p:nvSpPr>
          <p:spPr bwMode="auto">
            <a:xfrm>
              <a:off x="5311775" y="3389313"/>
              <a:ext cx="44450" cy="46038"/>
            </a:xfrm>
            <a:custGeom>
              <a:avLst/>
              <a:gdLst>
                <a:gd name="T0" fmla="*/ 0 w 12"/>
                <a:gd name="T1" fmla="*/ 0 h 12"/>
                <a:gd name="T2" fmla="*/ 12 w 12"/>
                <a:gd name="T3" fmla="*/ 12 h 12"/>
                <a:gd name="T4" fmla="*/ 0 w 12"/>
                <a:gd name="T5" fmla="*/ 0 h 12"/>
              </a:gdLst>
              <a:ahLst/>
              <a:cxnLst>
                <a:cxn ang="0">
                  <a:pos x="T0" y="T1"/>
                </a:cxn>
                <a:cxn ang="0">
                  <a:pos x="T2" y="T3"/>
                </a:cxn>
                <a:cxn ang="0">
                  <a:pos x="T4" y="T5"/>
                </a:cxn>
              </a:cxnLst>
              <a:rect l="0" t="0" r="r" b="b"/>
              <a:pathLst>
                <a:path w="12" h="12">
                  <a:moveTo>
                    <a:pt x="0" y="0"/>
                  </a:moveTo>
                  <a:cubicBezTo>
                    <a:pt x="4" y="4"/>
                    <a:pt x="8" y="8"/>
                    <a:pt x="12" y="12"/>
                  </a:cubicBezTo>
                  <a:cubicBezTo>
                    <a:pt x="8" y="8"/>
                    <a:pt x="4"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 name="Oval 7"/>
            <p:cNvSpPr>
              <a:spLocks noChangeArrowheads="1"/>
            </p:cNvSpPr>
            <p:nvPr/>
          </p:nvSpPr>
          <p:spPr bwMode="auto">
            <a:xfrm>
              <a:off x="4608513" y="3027363"/>
              <a:ext cx="117475" cy="112713"/>
            </a:xfrm>
            <a:prstGeom prst="ellipse">
              <a:avLst/>
            </a:pr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 name="Freeform 8"/>
            <p:cNvSpPr>
              <a:spLocks noEditPoints="1"/>
            </p:cNvSpPr>
            <p:nvPr/>
          </p:nvSpPr>
          <p:spPr bwMode="auto">
            <a:xfrm>
              <a:off x="7437438" y="3773488"/>
              <a:ext cx="720725" cy="381000"/>
            </a:xfrm>
            <a:custGeom>
              <a:avLst/>
              <a:gdLst>
                <a:gd name="T0" fmla="*/ 78 w 192"/>
                <a:gd name="T1" fmla="*/ 24 h 101"/>
                <a:gd name="T2" fmla="*/ 80 w 192"/>
                <a:gd name="T3" fmla="*/ 24 h 101"/>
                <a:gd name="T4" fmla="*/ 86 w 192"/>
                <a:gd name="T5" fmla="*/ 32 h 101"/>
                <a:gd name="T6" fmla="*/ 65 w 192"/>
                <a:gd name="T7" fmla="*/ 74 h 101"/>
                <a:gd name="T8" fmla="*/ 65 w 192"/>
                <a:gd name="T9" fmla="*/ 74 h 101"/>
                <a:gd name="T10" fmla="*/ 54 w 192"/>
                <a:gd name="T11" fmla="*/ 75 h 101"/>
                <a:gd name="T12" fmla="*/ 52 w 192"/>
                <a:gd name="T13" fmla="*/ 77 h 101"/>
                <a:gd name="T14" fmla="*/ 14 w 192"/>
                <a:gd name="T15" fmla="*/ 43 h 101"/>
                <a:gd name="T16" fmla="*/ 15 w 192"/>
                <a:gd name="T17" fmla="*/ 39 h 101"/>
                <a:gd name="T18" fmla="*/ 96 w 192"/>
                <a:gd name="T19" fmla="*/ 0 h 101"/>
                <a:gd name="T20" fmla="*/ 78 w 192"/>
                <a:gd name="T21" fmla="*/ 19 h 101"/>
                <a:gd name="T22" fmla="*/ 15 w 192"/>
                <a:gd name="T23" fmla="*/ 37 h 101"/>
                <a:gd name="T24" fmla="*/ 15 w 192"/>
                <a:gd name="T25" fmla="*/ 37 h 101"/>
                <a:gd name="T26" fmla="*/ 10 w 192"/>
                <a:gd name="T27" fmla="*/ 33 h 101"/>
                <a:gd name="T28" fmla="*/ 13 w 192"/>
                <a:gd name="T29" fmla="*/ 9 h 101"/>
                <a:gd name="T30" fmla="*/ 8 w 192"/>
                <a:gd name="T31" fmla="*/ 33 h 101"/>
                <a:gd name="T32" fmla="*/ 2 w 192"/>
                <a:gd name="T33" fmla="*/ 42 h 101"/>
                <a:gd name="T34" fmla="*/ 11 w 192"/>
                <a:gd name="T35" fmla="*/ 45 h 101"/>
                <a:gd name="T36" fmla="*/ 12 w 192"/>
                <a:gd name="T37" fmla="*/ 45 h 101"/>
                <a:gd name="T38" fmla="*/ 49 w 192"/>
                <a:gd name="T39" fmla="*/ 79 h 101"/>
                <a:gd name="T40" fmla="*/ 48 w 192"/>
                <a:gd name="T41" fmla="*/ 93 h 101"/>
                <a:gd name="T42" fmla="*/ 66 w 192"/>
                <a:gd name="T43" fmla="*/ 99 h 101"/>
                <a:gd name="T44" fmla="*/ 69 w 192"/>
                <a:gd name="T45" fmla="*/ 76 h 101"/>
                <a:gd name="T46" fmla="*/ 91 w 192"/>
                <a:gd name="T47" fmla="*/ 34 h 101"/>
                <a:gd name="T48" fmla="*/ 91 w 192"/>
                <a:gd name="T49" fmla="*/ 34 h 101"/>
                <a:gd name="T50" fmla="*/ 104 w 192"/>
                <a:gd name="T51" fmla="*/ 33 h 101"/>
                <a:gd name="T52" fmla="*/ 109 w 192"/>
                <a:gd name="T53" fmla="*/ 30 h 101"/>
                <a:gd name="T54" fmla="*/ 178 w 192"/>
                <a:gd name="T55" fmla="*/ 78 h 101"/>
                <a:gd name="T56" fmla="*/ 178 w 192"/>
                <a:gd name="T57" fmla="*/ 83 h 101"/>
                <a:gd name="T58" fmla="*/ 187 w 192"/>
                <a:gd name="T59" fmla="*/ 87 h 101"/>
                <a:gd name="T60" fmla="*/ 184 w 192"/>
                <a:gd name="T61" fmla="*/ 74 h 101"/>
                <a:gd name="T62" fmla="*/ 179 w 192"/>
                <a:gd name="T63" fmla="*/ 76 h 101"/>
                <a:gd name="T64" fmla="*/ 179 w 192"/>
                <a:gd name="T65" fmla="*/ 76 h 101"/>
                <a:gd name="T66" fmla="*/ 112 w 192"/>
                <a:gd name="T67" fmla="*/ 26 h 101"/>
                <a:gd name="T68" fmla="*/ 96 w 192"/>
                <a:gd name="T6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01">
                  <a:moveTo>
                    <a:pt x="15" y="39"/>
                  </a:moveTo>
                  <a:cubicBezTo>
                    <a:pt x="15" y="38"/>
                    <a:pt x="68" y="24"/>
                    <a:pt x="78" y="24"/>
                  </a:cubicBezTo>
                  <a:cubicBezTo>
                    <a:pt x="79" y="24"/>
                    <a:pt x="80" y="24"/>
                    <a:pt x="80" y="24"/>
                  </a:cubicBezTo>
                  <a:cubicBezTo>
                    <a:pt x="80" y="24"/>
                    <a:pt x="80" y="24"/>
                    <a:pt x="80" y="24"/>
                  </a:cubicBezTo>
                  <a:cubicBezTo>
                    <a:pt x="80" y="25"/>
                    <a:pt x="80" y="25"/>
                    <a:pt x="80" y="25"/>
                  </a:cubicBezTo>
                  <a:cubicBezTo>
                    <a:pt x="81" y="28"/>
                    <a:pt x="84" y="30"/>
                    <a:pt x="86" y="32"/>
                  </a:cubicBezTo>
                  <a:cubicBezTo>
                    <a:pt x="86" y="31"/>
                    <a:pt x="86" y="31"/>
                    <a:pt x="86" y="31"/>
                  </a:cubicBezTo>
                  <a:cubicBezTo>
                    <a:pt x="89" y="33"/>
                    <a:pt x="68" y="74"/>
                    <a:pt x="65" y="74"/>
                  </a:cubicBezTo>
                  <a:cubicBezTo>
                    <a:pt x="65" y="74"/>
                    <a:pt x="65" y="74"/>
                    <a:pt x="65" y="74"/>
                  </a:cubicBezTo>
                  <a:cubicBezTo>
                    <a:pt x="65" y="74"/>
                    <a:pt x="65" y="74"/>
                    <a:pt x="65" y="74"/>
                  </a:cubicBezTo>
                  <a:cubicBezTo>
                    <a:pt x="63" y="74"/>
                    <a:pt x="62" y="74"/>
                    <a:pt x="60" y="74"/>
                  </a:cubicBezTo>
                  <a:cubicBezTo>
                    <a:pt x="58" y="74"/>
                    <a:pt x="56" y="74"/>
                    <a:pt x="54" y="75"/>
                  </a:cubicBezTo>
                  <a:cubicBezTo>
                    <a:pt x="53" y="76"/>
                    <a:pt x="53" y="76"/>
                    <a:pt x="52" y="77"/>
                  </a:cubicBezTo>
                  <a:cubicBezTo>
                    <a:pt x="52" y="77"/>
                    <a:pt x="52" y="77"/>
                    <a:pt x="52" y="77"/>
                  </a:cubicBezTo>
                  <a:cubicBezTo>
                    <a:pt x="52" y="77"/>
                    <a:pt x="52" y="77"/>
                    <a:pt x="52" y="77"/>
                  </a:cubicBezTo>
                  <a:cubicBezTo>
                    <a:pt x="48" y="77"/>
                    <a:pt x="13" y="44"/>
                    <a:pt x="14" y="43"/>
                  </a:cubicBezTo>
                  <a:cubicBezTo>
                    <a:pt x="14" y="43"/>
                    <a:pt x="14" y="43"/>
                    <a:pt x="14" y="43"/>
                  </a:cubicBezTo>
                  <a:cubicBezTo>
                    <a:pt x="15" y="42"/>
                    <a:pt x="15" y="40"/>
                    <a:pt x="15" y="39"/>
                  </a:cubicBezTo>
                  <a:cubicBezTo>
                    <a:pt x="15" y="39"/>
                    <a:pt x="15" y="39"/>
                    <a:pt x="15" y="39"/>
                  </a:cubicBezTo>
                  <a:moveTo>
                    <a:pt x="96" y="0"/>
                  </a:moveTo>
                  <a:cubicBezTo>
                    <a:pt x="94" y="0"/>
                    <a:pt x="91" y="1"/>
                    <a:pt x="89" y="2"/>
                  </a:cubicBezTo>
                  <a:cubicBezTo>
                    <a:pt x="81" y="5"/>
                    <a:pt x="78" y="12"/>
                    <a:pt x="78" y="19"/>
                  </a:cubicBezTo>
                  <a:cubicBezTo>
                    <a:pt x="78" y="19"/>
                    <a:pt x="78" y="19"/>
                    <a:pt x="78" y="19"/>
                  </a:cubicBezTo>
                  <a:cubicBezTo>
                    <a:pt x="79" y="23"/>
                    <a:pt x="20" y="37"/>
                    <a:pt x="15" y="37"/>
                  </a:cubicBezTo>
                  <a:cubicBezTo>
                    <a:pt x="15" y="37"/>
                    <a:pt x="15" y="37"/>
                    <a:pt x="15" y="37"/>
                  </a:cubicBezTo>
                  <a:cubicBezTo>
                    <a:pt x="15" y="37"/>
                    <a:pt x="15" y="37"/>
                    <a:pt x="15" y="37"/>
                  </a:cubicBezTo>
                  <a:cubicBezTo>
                    <a:pt x="14" y="37"/>
                    <a:pt x="14" y="37"/>
                    <a:pt x="14" y="37"/>
                  </a:cubicBezTo>
                  <a:cubicBezTo>
                    <a:pt x="14" y="35"/>
                    <a:pt x="12" y="34"/>
                    <a:pt x="10" y="33"/>
                  </a:cubicBezTo>
                  <a:cubicBezTo>
                    <a:pt x="10" y="33"/>
                    <a:pt x="10" y="33"/>
                    <a:pt x="10" y="33"/>
                  </a:cubicBezTo>
                  <a:cubicBezTo>
                    <a:pt x="10" y="33"/>
                    <a:pt x="11" y="22"/>
                    <a:pt x="13" y="9"/>
                  </a:cubicBezTo>
                  <a:cubicBezTo>
                    <a:pt x="11" y="22"/>
                    <a:pt x="9" y="33"/>
                    <a:pt x="8" y="33"/>
                  </a:cubicBezTo>
                  <a:cubicBezTo>
                    <a:pt x="8" y="33"/>
                    <a:pt x="8" y="33"/>
                    <a:pt x="8" y="33"/>
                  </a:cubicBezTo>
                  <a:cubicBezTo>
                    <a:pt x="7" y="33"/>
                    <a:pt x="6" y="33"/>
                    <a:pt x="5" y="34"/>
                  </a:cubicBezTo>
                  <a:cubicBezTo>
                    <a:pt x="2" y="35"/>
                    <a:pt x="0" y="39"/>
                    <a:pt x="2" y="42"/>
                  </a:cubicBezTo>
                  <a:cubicBezTo>
                    <a:pt x="3" y="45"/>
                    <a:pt x="6" y="46"/>
                    <a:pt x="8" y="46"/>
                  </a:cubicBezTo>
                  <a:cubicBezTo>
                    <a:pt x="9" y="46"/>
                    <a:pt x="10" y="46"/>
                    <a:pt x="11" y="45"/>
                  </a:cubicBezTo>
                  <a:cubicBezTo>
                    <a:pt x="12" y="45"/>
                    <a:pt x="12" y="45"/>
                    <a:pt x="12" y="45"/>
                  </a:cubicBezTo>
                  <a:cubicBezTo>
                    <a:pt x="12" y="45"/>
                    <a:pt x="12" y="45"/>
                    <a:pt x="12" y="45"/>
                  </a:cubicBezTo>
                  <a:cubicBezTo>
                    <a:pt x="12" y="45"/>
                    <a:pt x="12" y="45"/>
                    <a:pt x="12" y="45"/>
                  </a:cubicBezTo>
                  <a:cubicBezTo>
                    <a:pt x="14" y="45"/>
                    <a:pt x="51" y="77"/>
                    <a:pt x="49" y="79"/>
                  </a:cubicBezTo>
                  <a:cubicBezTo>
                    <a:pt x="49" y="79"/>
                    <a:pt x="49" y="79"/>
                    <a:pt x="49" y="79"/>
                  </a:cubicBezTo>
                  <a:cubicBezTo>
                    <a:pt x="46" y="83"/>
                    <a:pt x="46" y="88"/>
                    <a:pt x="48" y="93"/>
                  </a:cubicBezTo>
                  <a:cubicBezTo>
                    <a:pt x="50" y="98"/>
                    <a:pt x="55" y="101"/>
                    <a:pt x="60" y="101"/>
                  </a:cubicBezTo>
                  <a:cubicBezTo>
                    <a:pt x="62" y="101"/>
                    <a:pt x="65" y="100"/>
                    <a:pt x="66" y="99"/>
                  </a:cubicBezTo>
                  <a:cubicBezTo>
                    <a:pt x="73" y="96"/>
                    <a:pt x="76" y="88"/>
                    <a:pt x="73" y="81"/>
                  </a:cubicBezTo>
                  <a:cubicBezTo>
                    <a:pt x="72" y="79"/>
                    <a:pt x="70" y="78"/>
                    <a:pt x="69" y="76"/>
                  </a:cubicBezTo>
                  <a:cubicBezTo>
                    <a:pt x="69" y="76"/>
                    <a:pt x="69" y="76"/>
                    <a:pt x="69" y="76"/>
                  </a:cubicBezTo>
                  <a:cubicBezTo>
                    <a:pt x="66" y="75"/>
                    <a:pt x="87" y="34"/>
                    <a:pt x="91" y="34"/>
                  </a:cubicBezTo>
                  <a:cubicBezTo>
                    <a:pt x="91" y="34"/>
                    <a:pt x="91" y="34"/>
                    <a:pt x="91" y="34"/>
                  </a:cubicBezTo>
                  <a:cubicBezTo>
                    <a:pt x="91" y="34"/>
                    <a:pt x="91" y="34"/>
                    <a:pt x="91" y="34"/>
                  </a:cubicBezTo>
                  <a:cubicBezTo>
                    <a:pt x="92" y="34"/>
                    <a:pt x="94" y="35"/>
                    <a:pt x="96" y="35"/>
                  </a:cubicBezTo>
                  <a:cubicBezTo>
                    <a:pt x="99" y="35"/>
                    <a:pt x="101" y="34"/>
                    <a:pt x="104" y="33"/>
                  </a:cubicBezTo>
                  <a:cubicBezTo>
                    <a:pt x="106" y="32"/>
                    <a:pt x="107" y="31"/>
                    <a:pt x="109" y="29"/>
                  </a:cubicBezTo>
                  <a:cubicBezTo>
                    <a:pt x="109" y="30"/>
                    <a:pt x="109" y="30"/>
                    <a:pt x="109" y="30"/>
                  </a:cubicBezTo>
                  <a:cubicBezTo>
                    <a:pt x="109" y="30"/>
                    <a:pt x="109" y="29"/>
                    <a:pt x="109" y="29"/>
                  </a:cubicBezTo>
                  <a:cubicBezTo>
                    <a:pt x="115" y="29"/>
                    <a:pt x="179" y="76"/>
                    <a:pt x="178" y="78"/>
                  </a:cubicBezTo>
                  <a:cubicBezTo>
                    <a:pt x="178" y="78"/>
                    <a:pt x="178" y="78"/>
                    <a:pt x="178" y="78"/>
                  </a:cubicBezTo>
                  <a:cubicBezTo>
                    <a:pt x="177" y="79"/>
                    <a:pt x="177" y="82"/>
                    <a:pt x="178" y="83"/>
                  </a:cubicBezTo>
                  <a:cubicBezTo>
                    <a:pt x="179" y="86"/>
                    <a:pt x="182" y="87"/>
                    <a:pt x="184" y="87"/>
                  </a:cubicBezTo>
                  <a:cubicBezTo>
                    <a:pt x="185" y="87"/>
                    <a:pt x="186" y="87"/>
                    <a:pt x="187" y="87"/>
                  </a:cubicBezTo>
                  <a:cubicBezTo>
                    <a:pt x="191" y="85"/>
                    <a:pt x="192" y="81"/>
                    <a:pt x="190" y="78"/>
                  </a:cubicBezTo>
                  <a:cubicBezTo>
                    <a:pt x="189" y="75"/>
                    <a:pt x="187" y="74"/>
                    <a:pt x="184" y="74"/>
                  </a:cubicBezTo>
                  <a:cubicBezTo>
                    <a:pt x="183" y="74"/>
                    <a:pt x="182" y="74"/>
                    <a:pt x="181" y="75"/>
                  </a:cubicBezTo>
                  <a:cubicBezTo>
                    <a:pt x="181" y="75"/>
                    <a:pt x="180" y="75"/>
                    <a:pt x="179" y="76"/>
                  </a:cubicBezTo>
                  <a:cubicBezTo>
                    <a:pt x="179" y="76"/>
                    <a:pt x="179" y="76"/>
                    <a:pt x="179" y="76"/>
                  </a:cubicBezTo>
                  <a:cubicBezTo>
                    <a:pt x="179" y="76"/>
                    <a:pt x="179" y="76"/>
                    <a:pt x="179" y="76"/>
                  </a:cubicBezTo>
                  <a:cubicBezTo>
                    <a:pt x="177" y="76"/>
                    <a:pt x="110" y="29"/>
                    <a:pt x="112" y="26"/>
                  </a:cubicBezTo>
                  <a:cubicBezTo>
                    <a:pt x="112" y="26"/>
                    <a:pt x="112" y="26"/>
                    <a:pt x="112" y="26"/>
                  </a:cubicBezTo>
                  <a:cubicBezTo>
                    <a:pt x="115" y="21"/>
                    <a:pt x="115" y="15"/>
                    <a:pt x="112" y="10"/>
                  </a:cubicBezTo>
                  <a:cubicBezTo>
                    <a:pt x="109" y="4"/>
                    <a:pt x="103" y="0"/>
                    <a:pt x="96"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 name="Freeform 9"/>
            <p:cNvSpPr>
              <a:spLocks noEditPoints="1"/>
            </p:cNvSpPr>
            <p:nvPr/>
          </p:nvSpPr>
          <p:spPr bwMode="auto">
            <a:xfrm>
              <a:off x="6915150" y="2703513"/>
              <a:ext cx="2552700" cy="1103313"/>
            </a:xfrm>
            <a:custGeom>
              <a:avLst/>
              <a:gdLst>
                <a:gd name="T0" fmla="*/ 305 w 680"/>
                <a:gd name="T1" fmla="*/ 180 h 293"/>
                <a:gd name="T2" fmla="*/ 476 w 680"/>
                <a:gd name="T3" fmla="*/ 198 h 293"/>
                <a:gd name="T4" fmla="*/ 671 w 680"/>
                <a:gd name="T5" fmla="*/ 164 h 293"/>
                <a:gd name="T6" fmla="*/ 639 w 680"/>
                <a:gd name="T7" fmla="*/ 163 h 293"/>
                <a:gd name="T8" fmla="*/ 176 w 680"/>
                <a:gd name="T9" fmla="*/ 124 h 293"/>
                <a:gd name="T10" fmla="*/ 137 w 680"/>
                <a:gd name="T11" fmla="*/ 142 h 293"/>
                <a:gd name="T12" fmla="*/ 210 w 680"/>
                <a:gd name="T13" fmla="*/ 112 h 293"/>
                <a:gd name="T14" fmla="*/ 209 w 680"/>
                <a:gd name="T15" fmla="*/ 112 h 293"/>
                <a:gd name="T16" fmla="*/ 302 w 680"/>
                <a:gd name="T17" fmla="*/ 177 h 293"/>
                <a:gd name="T18" fmla="*/ 501 w 680"/>
                <a:gd name="T19" fmla="*/ 103 h 293"/>
                <a:gd name="T20" fmla="*/ 447 w 680"/>
                <a:gd name="T21" fmla="*/ 82 h 293"/>
                <a:gd name="T22" fmla="*/ 431 w 680"/>
                <a:gd name="T23" fmla="*/ 75 h 293"/>
                <a:gd name="T24" fmla="*/ 272 w 680"/>
                <a:gd name="T25" fmla="*/ 100 h 293"/>
                <a:gd name="T26" fmla="*/ 176 w 680"/>
                <a:gd name="T27" fmla="*/ 124 h 293"/>
                <a:gd name="T28" fmla="*/ 165 w 680"/>
                <a:gd name="T29" fmla="*/ 74 h 293"/>
                <a:gd name="T30" fmla="*/ 209 w 680"/>
                <a:gd name="T31" fmla="*/ 110 h 293"/>
                <a:gd name="T32" fmla="*/ 1 w 680"/>
                <a:gd name="T33" fmla="*/ 9 h 293"/>
                <a:gd name="T34" fmla="*/ 112 w 680"/>
                <a:gd name="T35" fmla="*/ 136 h 293"/>
                <a:gd name="T36" fmla="*/ 172 w 680"/>
                <a:gd name="T37" fmla="*/ 142 h 293"/>
                <a:gd name="T38" fmla="*/ 187 w 680"/>
                <a:gd name="T39" fmla="*/ 142 h 293"/>
                <a:gd name="T40" fmla="*/ 251 w 680"/>
                <a:gd name="T41" fmla="*/ 143 h 293"/>
                <a:gd name="T42" fmla="*/ 266 w 680"/>
                <a:gd name="T43" fmla="*/ 103 h 293"/>
                <a:gd name="T44" fmla="*/ 298 w 680"/>
                <a:gd name="T45" fmla="*/ 202 h 293"/>
                <a:gd name="T46" fmla="*/ 361 w 680"/>
                <a:gd name="T47" fmla="*/ 264 h 293"/>
                <a:gd name="T48" fmla="*/ 313 w 680"/>
                <a:gd name="T49" fmla="*/ 172 h 293"/>
                <a:gd name="T50" fmla="*/ 443 w 680"/>
                <a:gd name="T51" fmla="*/ 83 h 293"/>
                <a:gd name="T52" fmla="*/ 364 w 680"/>
                <a:gd name="T53" fmla="*/ 184 h 293"/>
                <a:gd name="T54" fmla="*/ 399 w 680"/>
                <a:gd name="T55" fmla="*/ 155 h 293"/>
                <a:gd name="T56" fmla="*/ 358 w 680"/>
                <a:gd name="T57" fmla="*/ 180 h 293"/>
                <a:gd name="T58" fmla="*/ 430 w 680"/>
                <a:gd name="T59" fmla="*/ 184 h 293"/>
                <a:gd name="T60" fmla="*/ 436 w 680"/>
                <a:gd name="T61" fmla="*/ 180 h 293"/>
                <a:gd name="T62" fmla="*/ 469 w 680"/>
                <a:gd name="T63" fmla="*/ 199 h 293"/>
                <a:gd name="T64" fmla="*/ 518 w 680"/>
                <a:gd name="T65" fmla="*/ 271 h 293"/>
                <a:gd name="T66" fmla="*/ 522 w 680"/>
                <a:gd name="T67" fmla="*/ 268 h 293"/>
                <a:gd name="T68" fmla="*/ 480 w 680"/>
                <a:gd name="T69" fmla="*/ 199 h 293"/>
                <a:gd name="T70" fmla="*/ 548 w 680"/>
                <a:gd name="T71" fmla="*/ 166 h 293"/>
                <a:gd name="T72" fmla="*/ 585 w 680"/>
                <a:gd name="T73" fmla="*/ 189 h 293"/>
                <a:gd name="T74" fmla="*/ 586 w 680"/>
                <a:gd name="T75" fmla="*/ 184 h 293"/>
                <a:gd name="T76" fmla="*/ 586 w 680"/>
                <a:gd name="T77" fmla="*/ 135 h 293"/>
                <a:gd name="T78" fmla="*/ 593 w 680"/>
                <a:gd name="T79" fmla="*/ 135 h 293"/>
                <a:gd name="T80" fmla="*/ 639 w 680"/>
                <a:gd name="T81" fmla="*/ 165 h 293"/>
                <a:gd name="T82" fmla="*/ 593 w 680"/>
                <a:gd name="T83" fmla="*/ 258 h 293"/>
                <a:gd name="T84" fmla="*/ 592 w 680"/>
                <a:gd name="T85" fmla="*/ 270 h 293"/>
                <a:gd name="T86" fmla="*/ 675 w 680"/>
                <a:gd name="T87" fmla="*/ 169 h 293"/>
                <a:gd name="T88" fmla="*/ 671 w 680"/>
                <a:gd name="T89" fmla="*/ 163 h 293"/>
                <a:gd name="T90" fmla="*/ 585 w 680"/>
                <a:gd name="T91" fmla="*/ 134 h 293"/>
                <a:gd name="T92" fmla="*/ 541 w 680"/>
                <a:gd name="T93" fmla="*/ 159 h 293"/>
                <a:gd name="T94" fmla="*/ 519 w 680"/>
                <a:gd name="T95" fmla="*/ 102 h 293"/>
                <a:gd name="T96" fmla="*/ 454 w 680"/>
                <a:gd name="T97" fmla="*/ 75 h 293"/>
                <a:gd name="T98" fmla="*/ 277 w 680"/>
                <a:gd name="T99" fmla="*/ 88 h 293"/>
                <a:gd name="T100" fmla="*/ 260 w 680"/>
                <a:gd name="T101" fmla="*/ 102 h 293"/>
                <a:gd name="T102" fmla="*/ 245 w 680"/>
                <a:gd name="T103" fmla="*/ 146 h 293"/>
                <a:gd name="T104" fmla="*/ 211 w 680"/>
                <a:gd name="T105" fmla="*/ 113 h 293"/>
                <a:gd name="T106" fmla="*/ 211 w 680"/>
                <a:gd name="T107" fmla="*/ 105 h 293"/>
                <a:gd name="T108" fmla="*/ 168 w 680"/>
                <a:gd name="T109" fmla="*/ 55 h 293"/>
                <a:gd name="T110" fmla="*/ 122 w 680"/>
                <a:gd name="T111" fmla="*/ 132 h 293"/>
                <a:gd name="T112" fmla="*/ 115 w 680"/>
                <a:gd name="T113" fmla="*/ 133 h 293"/>
                <a:gd name="T114" fmla="*/ 98 w 680"/>
                <a:gd name="T115" fmla="*/ 90 h 293"/>
                <a:gd name="T116" fmla="*/ 102 w 680"/>
                <a:gd name="T117" fmla="*/ 84 h 293"/>
                <a:gd name="T118" fmla="*/ 13 w 680"/>
                <a:gd name="T119" fmla="*/ 1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0" h="293">
                  <a:moveTo>
                    <a:pt x="305" y="180"/>
                  </a:moveTo>
                  <a:cubicBezTo>
                    <a:pt x="304" y="180"/>
                    <a:pt x="307" y="177"/>
                    <a:pt x="313" y="173"/>
                  </a:cubicBezTo>
                  <a:cubicBezTo>
                    <a:pt x="333" y="207"/>
                    <a:pt x="354" y="243"/>
                    <a:pt x="355" y="247"/>
                  </a:cubicBezTo>
                  <a:cubicBezTo>
                    <a:pt x="350" y="244"/>
                    <a:pt x="302" y="199"/>
                    <a:pt x="304" y="197"/>
                  </a:cubicBezTo>
                  <a:cubicBezTo>
                    <a:pt x="304" y="197"/>
                    <a:pt x="304" y="197"/>
                    <a:pt x="304" y="197"/>
                  </a:cubicBezTo>
                  <a:cubicBezTo>
                    <a:pt x="307" y="193"/>
                    <a:pt x="308" y="187"/>
                    <a:pt x="305" y="182"/>
                  </a:cubicBezTo>
                  <a:cubicBezTo>
                    <a:pt x="305" y="181"/>
                    <a:pt x="305" y="181"/>
                    <a:pt x="305" y="180"/>
                  </a:cubicBezTo>
                  <a:cubicBezTo>
                    <a:pt x="305" y="180"/>
                    <a:pt x="305" y="180"/>
                    <a:pt x="305" y="180"/>
                  </a:cubicBezTo>
                  <a:moveTo>
                    <a:pt x="473" y="198"/>
                  </a:moveTo>
                  <a:cubicBezTo>
                    <a:pt x="472" y="198"/>
                    <a:pt x="469" y="187"/>
                    <a:pt x="465" y="171"/>
                  </a:cubicBezTo>
                  <a:cubicBezTo>
                    <a:pt x="473" y="170"/>
                    <a:pt x="481" y="169"/>
                    <a:pt x="489" y="168"/>
                  </a:cubicBezTo>
                  <a:cubicBezTo>
                    <a:pt x="483" y="184"/>
                    <a:pt x="477" y="198"/>
                    <a:pt x="476" y="198"/>
                  </a:cubicBezTo>
                  <a:cubicBezTo>
                    <a:pt x="476" y="198"/>
                    <a:pt x="476" y="198"/>
                    <a:pt x="476" y="198"/>
                  </a:cubicBezTo>
                  <a:cubicBezTo>
                    <a:pt x="476" y="198"/>
                    <a:pt x="476" y="198"/>
                    <a:pt x="476" y="198"/>
                  </a:cubicBezTo>
                  <a:cubicBezTo>
                    <a:pt x="475" y="198"/>
                    <a:pt x="475" y="198"/>
                    <a:pt x="474" y="198"/>
                  </a:cubicBezTo>
                  <a:cubicBezTo>
                    <a:pt x="473" y="198"/>
                    <a:pt x="473" y="198"/>
                    <a:pt x="473" y="198"/>
                  </a:cubicBezTo>
                  <a:cubicBezTo>
                    <a:pt x="473" y="198"/>
                    <a:pt x="473" y="198"/>
                    <a:pt x="473" y="198"/>
                  </a:cubicBezTo>
                  <a:cubicBezTo>
                    <a:pt x="473" y="198"/>
                    <a:pt x="473" y="198"/>
                    <a:pt x="473" y="198"/>
                  </a:cubicBezTo>
                  <a:moveTo>
                    <a:pt x="632" y="162"/>
                  </a:moveTo>
                  <a:cubicBezTo>
                    <a:pt x="631" y="162"/>
                    <a:pt x="596" y="137"/>
                    <a:pt x="594" y="134"/>
                  </a:cubicBezTo>
                  <a:cubicBezTo>
                    <a:pt x="598" y="135"/>
                    <a:pt x="671" y="163"/>
                    <a:pt x="671" y="164"/>
                  </a:cubicBezTo>
                  <a:cubicBezTo>
                    <a:pt x="671" y="164"/>
                    <a:pt x="671" y="164"/>
                    <a:pt x="671" y="164"/>
                  </a:cubicBezTo>
                  <a:cubicBezTo>
                    <a:pt x="671" y="164"/>
                    <a:pt x="671" y="164"/>
                    <a:pt x="671" y="164"/>
                  </a:cubicBezTo>
                  <a:cubicBezTo>
                    <a:pt x="671" y="164"/>
                    <a:pt x="671" y="164"/>
                    <a:pt x="671" y="164"/>
                  </a:cubicBezTo>
                  <a:cubicBezTo>
                    <a:pt x="671" y="164"/>
                    <a:pt x="663" y="165"/>
                    <a:pt x="655" y="165"/>
                  </a:cubicBezTo>
                  <a:cubicBezTo>
                    <a:pt x="647" y="165"/>
                    <a:pt x="639" y="164"/>
                    <a:pt x="639" y="164"/>
                  </a:cubicBezTo>
                  <a:cubicBezTo>
                    <a:pt x="639" y="164"/>
                    <a:pt x="639" y="164"/>
                    <a:pt x="639" y="164"/>
                  </a:cubicBezTo>
                  <a:cubicBezTo>
                    <a:pt x="639" y="164"/>
                    <a:pt x="639" y="163"/>
                    <a:pt x="639" y="163"/>
                  </a:cubicBezTo>
                  <a:cubicBezTo>
                    <a:pt x="638" y="162"/>
                    <a:pt x="636" y="161"/>
                    <a:pt x="635" y="161"/>
                  </a:cubicBezTo>
                  <a:cubicBezTo>
                    <a:pt x="634" y="161"/>
                    <a:pt x="634" y="161"/>
                    <a:pt x="633" y="161"/>
                  </a:cubicBezTo>
                  <a:cubicBezTo>
                    <a:pt x="633" y="161"/>
                    <a:pt x="632" y="162"/>
                    <a:pt x="632" y="162"/>
                  </a:cubicBezTo>
                  <a:cubicBezTo>
                    <a:pt x="632" y="162"/>
                    <a:pt x="632" y="162"/>
                    <a:pt x="632" y="162"/>
                  </a:cubicBezTo>
                  <a:cubicBezTo>
                    <a:pt x="632" y="162"/>
                    <a:pt x="632" y="162"/>
                    <a:pt x="632" y="162"/>
                  </a:cubicBezTo>
                  <a:moveTo>
                    <a:pt x="137" y="142"/>
                  </a:moveTo>
                  <a:cubicBezTo>
                    <a:pt x="136" y="141"/>
                    <a:pt x="157" y="132"/>
                    <a:pt x="176" y="124"/>
                  </a:cubicBezTo>
                  <a:cubicBezTo>
                    <a:pt x="176" y="130"/>
                    <a:pt x="177" y="134"/>
                    <a:pt x="176" y="134"/>
                  </a:cubicBezTo>
                  <a:cubicBezTo>
                    <a:pt x="176" y="134"/>
                    <a:pt x="176" y="134"/>
                    <a:pt x="176" y="134"/>
                  </a:cubicBezTo>
                  <a:cubicBezTo>
                    <a:pt x="175" y="134"/>
                    <a:pt x="175" y="134"/>
                    <a:pt x="175" y="134"/>
                  </a:cubicBezTo>
                  <a:cubicBezTo>
                    <a:pt x="173" y="136"/>
                    <a:pt x="172" y="138"/>
                    <a:pt x="171" y="140"/>
                  </a:cubicBezTo>
                  <a:cubicBezTo>
                    <a:pt x="171" y="140"/>
                    <a:pt x="171" y="140"/>
                    <a:pt x="171" y="140"/>
                  </a:cubicBezTo>
                  <a:cubicBezTo>
                    <a:pt x="171" y="141"/>
                    <a:pt x="152" y="143"/>
                    <a:pt x="143" y="143"/>
                  </a:cubicBezTo>
                  <a:cubicBezTo>
                    <a:pt x="139" y="143"/>
                    <a:pt x="137" y="143"/>
                    <a:pt x="137" y="142"/>
                  </a:cubicBezTo>
                  <a:cubicBezTo>
                    <a:pt x="137" y="142"/>
                    <a:pt x="137" y="142"/>
                    <a:pt x="137" y="142"/>
                  </a:cubicBezTo>
                  <a:cubicBezTo>
                    <a:pt x="137" y="142"/>
                    <a:pt x="137" y="142"/>
                    <a:pt x="137" y="142"/>
                  </a:cubicBezTo>
                  <a:cubicBezTo>
                    <a:pt x="137" y="142"/>
                    <a:pt x="137" y="142"/>
                    <a:pt x="137" y="142"/>
                  </a:cubicBezTo>
                  <a:moveTo>
                    <a:pt x="209" y="112"/>
                  </a:moveTo>
                  <a:cubicBezTo>
                    <a:pt x="209" y="112"/>
                    <a:pt x="209" y="112"/>
                    <a:pt x="209" y="112"/>
                  </a:cubicBezTo>
                  <a:cubicBezTo>
                    <a:pt x="210" y="112"/>
                    <a:pt x="210" y="112"/>
                    <a:pt x="210" y="112"/>
                  </a:cubicBezTo>
                  <a:cubicBezTo>
                    <a:pt x="210" y="112"/>
                    <a:pt x="210" y="112"/>
                    <a:pt x="210" y="112"/>
                  </a:cubicBezTo>
                  <a:cubicBezTo>
                    <a:pt x="210" y="113"/>
                    <a:pt x="185" y="135"/>
                    <a:pt x="183" y="135"/>
                  </a:cubicBezTo>
                  <a:cubicBezTo>
                    <a:pt x="183" y="135"/>
                    <a:pt x="183" y="135"/>
                    <a:pt x="183" y="135"/>
                  </a:cubicBezTo>
                  <a:cubicBezTo>
                    <a:pt x="183" y="135"/>
                    <a:pt x="183" y="135"/>
                    <a:pt x="183" y="135"/>
                  </a:cubicBezTo>
                  <a:cubicBezTo>
                    <a:pt x="181" y="134"/>
                    <a:pt x="180" y="134"/>
                    <a:pt x="178" y="134"/>
                  </a:cubicBezTo>
                  <a:cubicBezTo>
                    <a:pt x="178" y="134"/>
                    <a:pt x="178" y="134"/>
                    <a:pt x="178" y="134"/>
                  </a:cubicBezTo>
                  <a:cubicBezTo>
                    <a:pt x="178" y="134"/>
                    <a:pt x="177" y="130"/>
                    <a:pt x="176" y="124"/>
                  </a:cubicBezTo>
                  <a:cubicBezTo>
                    <a:pt x="193" y="118"/>
                    <a:pt x="208" y="112"/>
                    <a:pt x="209" y="112"/>
                  </a:cubicBezTo>
                  <a:cubicBezTo>
                    <a:pt x="209" y="112"/>
                    <a:pt x="209" y="112"/>
                    <a:pt x="209" y="112"/>
                  </a:cubicBezTo>
                  <a:moveTo>
                    <a:pt x="289" y="173"/>
                  </a:moveTo>
                  <a:cubicBezTo>
                    <a:pt x="286" y="173"/>
                    <a:pt x="269" y="109"/>
                    <a:pt x="270" y="102"/>
                  </a:cubicBezTo>
                  <a:cubicBezTo>
                    <a:pt x="273" y="106"/>
                    <a:pt x="292" y="138"/>
                    <a:pt x="312" y="171"/>
                  </a:cubicBezTo>
                  <a:cubicBezTo>
                    <a:pt x="306" y="174"/>
                    <a:pt x="302" y="177"/>
                    <a:pt x="302" y="177"/>
                  </a:cubicBezTo>
                  <a:cubicBezTo>
                    <a:pt x="302" y="177"/>
                    <a:pt x="302" y="177"/>
                    <a:pt x="302" y="177"/>
                  </a:cubicBezTo>
                  <a:cubicBezTo>
                    <a:pt x="302" y="177"/>
                    <a:pt x="302" y="177"/>
                    <a:pt x="302" y="177"/>
                  </a:cubicBezTo>
                  <a:cubicBezTo>
                    <a:pt x="299" y="174"/>
                    <a:pt x="295" y="173"/>
                    <a:pt x="291" y="173"/>
                  </a:cubicBezTo>
                  <a:cubicBezTo>
                    <a:pt x="290" y="173"/>
                    <a:pt x="290" y="173"/>
                    <a:pt x="289" y="173"/>
                  </a:cubicBezTo>
                  <a:cubicBezTo>
                    <a:pt x="289" y="173"/>
                    <a:pt x="289" y="173"/>
                    <a:pt x="289" y="173"/>
                  </a:cubicBezTo>
                  <a:cubicBezTo>
                    <a:pt x="289" y="173"/>
                    <a:pt x="289" y="173"/>
                    <a:pt x="289" y="173"/>
                  </a:cubicBezTo>
                  <a:moveTo>
                    <a:pt x="452" y="78"/>
                  </a:moveTo>
                  <a:cubicBezTo>
                    <a:pt x="452" y="78"/>
                    <a:pt x="452" y="78"/>
                    <a:pt x="453" y="78"/>
                  </a:cubicBezTo>
                  <a:cubicBezTo>
                    <a:pt x="457" y="78"/>
                    <a:pt x="501" y="101"/>
                    <a:pt x="501" y="103"/>
                  </a:cubicBezTo>
                  <a:cubicBezTo>
                    <a:pt x="501" y="103"/>
                    <a:pt x="501" y="103"/>
                    <a:pt x="501" y="103"/>
                  </a:cubicBezTo>
                  <a:cubicBezTo>
                    <a:pt x="500" y="105"/>
                    <a:pt x="500" y="108"/>
                    <a:pt x="501" y="110"/>
                  </a:cubicBezTo>
                  <a:cubicBezTo>
                    <a:pt x="502" y="112"/>
                    <a:pt x="504" y="113"/>
                    <a:pt x="506" y="114"/>
                  </a:cubicBezTo>
                  <a:cubicBezTo>
                    <a:pt x="506" y="114"/>
                    <a:pt x="506" y="114"/>
                    <a:pt x="506" y="114"/>
                  </a:cubicBezTo>
                  <a:cubicBezTo>
                    <a:pt x="507" y="115"/>
                    <a:pt x="497" y="144"/>
                    <a:pt x="489" y="168"/>
                  </a:cubicBezTo>
                  <a:cubicBezTo>
                    <a:pt x="481" y="169"/>
                    <a:pt x="473" y="170"/>
                    <a:pt x="465" y="171"/>
                  </a:cubicBezTo>
                  <a:cubicBezTo>
                    <a:pt x="457" y="137"/>
                    <a:pt x="445" y="83"/>
                    <a:pt x="447" y="82"/>
                  </a:cubicBezTo>
                  <a:cubicBezTo>
                    <a:pt x="447" y="82"/>
                    <a:pt x="447" y="82"/>
                    <a:pt x="447" y="82"/>
                  </a:cubicBezTo>
                  <a:cubicBezTo>
                    <a:pt x="448" y="82"/>
                    <a:pt x="448" y="82"/>
                    <a:pt x="448" y="82"/>
                  </a:cubicBezTo>
                  <a:cubicBezTo>
                    <a:pt x="450" y="81"/>
                    <a:pt x="451" y="80"/>
                    <a:pt x="452" y="78"/>
                  </a:cubicBezTo>
                  <a:cubicBezTo>
                    <a:pt x="452" y="78"/>
                    <a:pt x="452" y="78"/>
                    <a:pt x="452" y="78"/>
                  </a:cubicBezTo>
                  <a:moveTo>
                    <a:pt x="277" y="92"/>
                  </a:moveTo>
                  <a:cubicBezTo>
                    <a:pt x="277" y="90"/>
                    <a:pt x="413" y="74"/>
                    <a:pt x="429" y="74"/>
                  </a:cubicBezTo>
                  <a:cubicBezTo>
                    <a:pt x="431" y="74"/>
                    <a:pt x="431" y="74"/>
                    <a:pt x="431" y="75"/>
                  </a:cubicBezTo>
                  <a:cubicBezTo>
                    <a:pt x="431" y="75"/>
                    <a:pt x="431" y="75"/>
                    <a:pt x="431" y="75"/>
                  </a:cubicBezTo>
                  <a:cubicBezTo>
                    <a:pt x="431" y="75"/>
                    <a:pt x="432" y="76"/>
                    <a:pt x="432" y="76"/>
                  </a:cubicBezTo>
                  <a:cubicBezTo>
                    <a:pt x="432" y="77"/>
                    <a:pt x="432" y="77"/>
                    <a:pt x="432" y="77"/>
                  </a:cubicBezTo>
                  <a:cubicBezTo>
                    <a:pt x="432" y="77"/>
                    <a:pt x="432" y="77"/>
                    <a:pt x="432" y="77"/>
                  </a:cubicBezTo>
                  <a:cubicBezTo>
                    <a:pt x="433" y="79"/>
                    <a:pt x="343" y="149"/>
                    <a:pt x="312" y="170"/>
                  </a:cubicBezTo>
                  <a:cubicBezTo>
                    <a:pt x="291" y="135"/>
                    <a:pt x="272" y="101"/>
                    <a:pt x="272" y="100"/>
                  </a:cubicBezTo>
                  <a:cubicBezTo>
                    <a:pt x="272" y="100"/>
                    <a:pt x="272" y="100"/>
                    <a:pt x="272" y="100"/>
                  </a:cubicBezTo>
                  <a:cubicBezTo>
                    <a:pt x="275" y="98"/>
                    <a:pt x="277" y="95"/>
                    <a:pt x="277" y="92"/>
                  </a:cubicBezTo>
                  <a:cubicBezTo>
                    <a:pt x="277" y="92"/>
                    <a:pt x="277" y="92"/>
                    <a:pt x="277" y="92"/>
                  </a:cubicBezTo>
                  <a:moveTo>
                    <a:pt x="165" y="74"/>
                  </a:moveTo>
                  <a:cubicBezTo>
                    <a:pt x="165" y="74"/>
                    <a:pt x="165" y="74"/>
                    <a:pt x="165" y="74"/>
                  </a:cubicBezTo>
                  <a:cubicBezTo>
                    <a:pt x="166" y="74"/>
                    <a:pt x="167" y="74"/>
                    <a:pt x="168" y="74"/>
                  </a:cubicBezTo>
                  <a:cubicBezTo>
                    <a:pt x="168" y="74"/>
                    <a:pt x="168" y="74"/>
                    <a:pt x="168" y="74"/>
                  </a:cubicBezTo>
                  <a:cubicBezTo>
                    <a:pt x="169" y="74"/>
                    <a:pt x="174" y="107"/>
                    <a:pt x="176" y="124"/>
                  </a:cubicBezTo>
                  <a:cubicBezTo>
                    <a:pt x="158" y="131"/>
                    <a:pt x="139" y="139"/>
                    <a:pt x="135" y="139"/>
                  </a:cubicBezTo>
                  <a:cubicBezTo>
                    <a:pt x="135" y="139"/>
                    <a:pt x="135" y="138"/>
                    <a:pt x="135" y="138"/>
                  </a:cubicBezTo>
                  <a:cubicBezTo>
                    <a:pt x="135" y="138"/>
                    <a:pt x="135" y="138"/>
                    <a:pt x="135" y="138"/>
                  </a:cubicBezTo>
                  <a:cubicBezTo>
                    <a:pt x="134" y="137"/>
                    <a:pt x="133" y="135"/>
                    <a:pt x="131" y="134"/>
                  </a:cubicBezTo>
                  <a:cubicBezTo>
                    <a:pt x="131" y="134"/>
                    <a:pt x="131" y="134"/>
                    <a:pt x="131" y="134"/>
                  </a:cubicBezTo>
                  <a:cubicBezTo>
                    <a:pt x="129" y="133"/>
                    <a:pt x="163" y="74"/>
                    <a:pt x="165" y="74"/>
                  </a:cubicBezTo>
                  <a:cubicBezTo>
                    <a:pt x="165" y="74"/>
                    <a:pt x="165" y="74"/>
                    <a:pt x="165" y="74"/>
                  </a:cubicBezTo>
                  <a:moveTo>
                    <a:pt x="171" y="74"/>
                  </a:moveTo>
                  <a:cubicBezTo>
                    <a:pt x="172" y="74"/>
                    <a:pt x="173" y="73"/>
                    <a:pt x="174" y="72"/>
                  </a:cubicBezTo>
                  <a:cubicBezTo>
                    <a:pt x="174" y="72"/>
                    <a:pt x="174" y="72"/>
                    <a:pt x="174" y="72"/>
                  </a:cubicBezTo>
                  <a:cubicBezTo>
                    <a:pt x="174" y="72"/>
                    <a:pt x="174" y="72"/>
                    <a:pt x="174" y="72"/>
                  </a:cubicBezTo>
                  <a:cubicBezTo>
                    <a:pt x="177" y="72"/>
                    <a:pt x="210" y="106"/>
                    <a:pt x="210" y="107"/>
                  </a:cubicBezTo>
                  <a:cubicBezTo>
                    <a:pt x="210" y="107"/>
                    <a:pt x="210" y="107"/>
                    <a:pt x="210" y="107"/>
                  </a:cubicBezTo>
                  <a:cubicBezTo>
                    <a:pt x="209" y="108"/>
                    <a:pt x="209" y="109"/>
                    <a:pt x="209" y="110"/>
                  </a:cubicBezTo>
                  <a:cubicBezTo>
                    <a:pt x="209" y="110"/>
                    <a:pt x="209" y="110"/>
                    <a:pt x="209" y="110"/>
                  </a:cubicBezTo>
                  <a:cubicBezTo>
                    <a:pt x="209" y="111"/>
                    <a:pt x="193" y="117"/>
                    <a:pt x="176" y="124"/>
                  </a:cubicBezTo>
                  <a:cubicBezTo>
                    <a:pt x="174" y="107"/>
                    <a:pt x="170" y="74"/>
                    <a:pt x="171" y="74"/>
                  </a:cubicBezTo>
                  <a:cubicBezTo>
                    <a:pt x="171" y="74"/>
                    <a:pt x="171" y="74"/>
                    <a:pt x="171" y="74"/>
                  </a:cubicBezTo>
                  <a:moveTo>
                    <a:pt x="8" y="0"/>
                  </a:moveTo>
                  <a:cubicBezTo>
                    <a:pt x="7" y="0"/>
                    <a:pt x="6" y="0"/>
                    <a:pt x="5" y="0"/>
                  </a:cubicBezTo>
                  <a:cubicBezTo>
                    <a:pt x="1" y="2"/>
                    <a:pt x="0" y="6"/>
                    <a:pt x="1" y="9"/>
                  </a:cubicBezTo>
                  <a:cubicBezTo>
                    <a:pt x="3" y="12"/>
                    <a:pt x="5" y="13"/>
                    <a:pt x="8" y="13"/>
                  </a:cubicBezTo>
                  <a:cubicBezTo>
                    <a:pt x="9" y="13"/>
                    <a:pt x="10" y="13"/>
                    <a:pt x="11" y="12"/>
                  </a:cubicBezTo>
                  <a:cubicBezTo>
                    <a:pt x="11" y="12"/>
                    <a:pt x="11" y="12"/>
                    <a:pt x="11" y="12"/>
                  </a:cubicBezTo>
                  <a:cubicBezTo>
                    <a:pt x="11" y="12"/>
                    <a:pt x="11" y="12"/>
                    <a:pt x="11" y="12"/>
                  </a:cubicBezTo>
                  <a:cubicBezTo>
                    <a:pt x="11" y="12"/>
                    <a:pt x="11" y="12"/>
                    <a:pt x="11" y="12"/>
                  </a:cubicBezTo>
                  <a:cubicBezTo>
                    <a:pt x="13" y="12"/>
                    <a:pt x="114" y="134"/>
                    <a:pt x="112" y="136"/>
                  </a:cubicBezTo>
                  <a:cubicBezTo>
                    <a:pt x="112" y="136"/>
                    <a:pt x="112" y="136"/>
                    <a:pt x="112" y="136"/>
                  </a:cubicBezTo>
                  <a:cubicBezTo>
                    <a:pt x="108" y="140"/>
                    <a:pt x="107" y="146"/>
                    <a:pt x="109" y="152"/>
                  </a:cubicBezTo>
                  <a:cubicBezTo>
                    <a:pt x="112" y="157"/>
                    <a:pt x="117" y="160"/>
                    <a:pt x="122" y="160"/>
                  </a:cubicBezTo>
                  <a:cubicBezTo>
                    <a:pt x="125" y="160"/>
                    <a:pt x="127" y="159"/>
                    <a:pt x="129" y="158"/>
                  </a:cubicBezTo>
                  <a:cubicBezTo>
                    <a:pt x="134" y="156"/>
                    <a:pt x="137" y="151"/>
                    <a:pt x="137" y="146"/>
                  </a:cubicBezTo>
                  <a:cubicBezTo>
                    <a:pt x="137" y="146"/>
                    <a:pt x="137" y="146"/>
                    <a:pt x="137" y="146"/>
                  </a:cubicBezTo>
                  <a:cubicBezTo>
                    <a:pt x="137" y="144"/>
                    <a:pt x="160" y="142"/>
                    <a:pt x="168" y="142"/>
                  </a:cubicBezTo>
                  <a:cubicBezTo>
                    <a:pt x="170" y="142"/>
                    <a:pt x="172" y="142"/>
                    <a:pt x="172" y="142"/>
                  </a:cubicBezTo>
                  <a:cubicBezTo>
                    <a:pt x="172" y="142"/>
                    <a:pt x="172" y="142"/>
                    <a:pt x="172" y="142"/>
                  </a:cubicBezTo>
                  <a:cubicBezTo>
                    <a:pt x="172" y="143"/>
                    <a:pt x="172" y="143"/>
                    <a:pt x="172" y="143"/>
                  </a:cubicBezTo>
                  <a:cubicBezTo>
                    <a:pt x="173" y="146"/>
                    <a:pt x="176" y="147"/>
                    <a:pt x="178" y="147"/>
                  </a:cubicBezTo>
                  <a:cubicBezTo>
                    <a:pt x="179" y="147"/>
                    <a:pt x="180" y="147"/>
                    <a:pt x="181" y="146"/>
                  </a:cubicBezTo>
                  <a:cubicBezTo>
                    <a:pt x="183" y="146"/>
                    <a:pt x="184" y="144"/>
                    <a:pt x="185" y="142"/>
                  </a:cubicBezTo>
                  <a:cubicBezTo>
                    <a:pt x="185" y="142"/>
                    <a:pt x="185" y="142"/>
                    <a:pt x="185" y="142"/>
                  </a:cubicBezTo>
                  <a:cubicBezTo>
                    <a:pt x="185" y="142"/>
                    <a:pt x="186" y="142"/>
                    <a:pt x="187" y="142"/>
                  </a:cubicBezTo>
                  <a:cubicBezTo>
                    <a:pt x="197" y="142"/>
                    <a:pt x="245" y="147"/>
                    <a:pt x="245" y="147"/>
                  </a:cubicBezTo>
                  <a:cubicBezTo>
                    <a:pt x="245" y="147"/>
                    <a:pt x="245" y="147"/>
                    <a:pt x="245" y="147"/>
                  </a:cubicBezTo>
                  <a:cubicBezTo>
                    <a:pt x="245" y="148"/>
                    <a:pt x="245" y="148"/>
                    <a:pt x="245" y="149"/>
                  </a:cubicBezTo>
                  <a:cubicBezTo>
                    <a:pt x="246" y="150"/>
                    <a:pt x="247" y="151"/>
                    <a:pt x="249" y="151"/>
                  </a:cubicBezTo>
                  <a:cubicBezTo>
                    <a:pt x="250" y="151"/>
                    <a:pt x="250" y="151"/>
                    <a:pt x="251" y="151"/>
                  </a:cubicBezTo>
                  <a:cubicBezTo>
                    <a:pt x="253" y="150"/>
                    <a:pt x="254" y="147"/>
                    <a:pt x="253" y="145"/>
                  </a:cubicBezTo>
                  <a:cubicBezTo>
                    <a:pt x="252" y="144"/>
                    <a:pt x="251" y="144"/>
                    <a:pt x="251" y="143"/>
                  </a:cubicBezTo>
                  <a:cubicBezTo>
                    <a:pt x="251" y="143"/>
                    <a:pt x="251" y="143"/>
                    <a:pt x="251" y="143"/>
                  </a:cubicBezTo>
                  <a:cubicBezTo>
                    <a:pt x="250" y="143"/>
                    <a:pt x="261" y="103"/>
                    <a:pt x="264" y="103"/>
                  </a:cubicBezTo>
                  <a:cubicBezTo>
                    <a:pt x="264" y="103"/>
                    <a:pt x="264" y="103"/>
                    <a:pt x="264" y="103"/>
                  </a:cubicBezTo>
                  <a:cubicBezTo>
                    <a:pt x="263" y="103"/>
                    <a:pt x="263" y="103"/>
                    <a:pt x="263" y="103"/>
                  </a:cubicBezTo>
                  <a:cubicBezTo>
                    <a:pt x="264" y="103"/>
                    <a:pt x="265" y="103"/>
                    <a:pt x="265" y="103"/>
                  </a:cubicBezTo>
                  <a:cubicBezTo>
                    <a:pt x="265" y="103"/>
                    <a:pt x="266" y="103"/>
                    <a:pt x="266" y="103"/>
                  </a:cubicBezTo>
                  <a:cubicBezTo>
                    <a:pt x="266" y="103"/>
                    <a:pt x="266" y="103"/>
                    <a:pt x="266" y="103"/>
                  </a:cubicBezTo>
                  <a:cubicBezTo>
                    <a:pt x="266" y="103"/>
                    <a:pt x="266" y="103"/>
                    <a:pt x="266" y="103"/>
                  </a:cubicBezTo>
                  <a:cubicBezTo>
                    <a:pt x="269" y="103"/>
                    <a:pt x="288" y="173"/>
                    <a:pt x="285" y="174"/>
                  </a:cubicBezTo>
                  <a:cubicBezTo>
                    <a:pt x="285" y="174"/>
                    <a:pt x="285" y="174"/>
                    <a:pt x="285" y="174"/>
                  </a:cubicBezTo>
                  <a:cubicBezTo>
                    <a:pt x="284" y="174"/>
                    <a:pt x="284" y="174"/>
                    <a:pt x="284" y="174"/>
                  </a:cubicBezTo>
                  <a:cubicBezTo>
                    <a:pt x="276" y="178"/>
                    <a:pt x="273" y="187"/>
                    <a:pt x="277" y="194"/>
                  </a:cubicBezTo>
                  <a:cubicBezTo>
                    <a:pt x="279" y="200"/>
                    <a:pt x="285" y="203"/>
                    <a:pt x="291" y="203"/>
                  </a:cubicBezTo>
                  <a:cubicBezTo>
                    <a:pt x="293" y="203"/>
                    <a:pt x="295" y="203"/>
                    <a:pt x="298" y="202"/>
                  </a:cubicBezTo>
                  <a:cubicBezTo>
                    <a:pt x="299" y="201"/>
                    <a:pt x="300" y="201"/>
                    <a:pt x="300" y="200"/>
                  </a:cubicBezTo>
                  <a:cubicBezTo>
                    <a:pt x="300" y="200"/>
                    <a:pt x="300" y="200"/>
                    <a:pt x="300" y="200"/>
                  </a:cubicBezTo>
                  <a:cubicBezTo>
                    <a:pt x="300" y="200"/>
                    <a:pt x="300" y="200"/>
                    <a:pt x="301" y="200"/>
                  </a:cubicBezTo>
                  <a:cubicBezTo>
                    <a:pt x="305" y="200"/>
                    <a:pt x="354" y="247"/>
                    <a:pt x="353" y="249"/>
                  </a:cubicBezTo>
                  <a:cubicBezTo>
                    <a:pt x="353" y="249"/>
                    <a:pt x="353" y="249"/>
                    <a:pt x="353" y="249"/>
                  </a:cubicBezTo>
                  <a:cubicBezTo>
                    <a:pt x="351" y="252"/>
                    <a:pt x="351" y="255"/>
                    <a:pt x="352" y="258"/>
                  </a:cubicBezTo>
                  <a:cubicBezTo>
                    <a:pt x="354" y="262"/>
                    <a:pt x="357" y="264"/>
                    <a:pt x="361" y="264"/>
                  </a:cubicBezTo>
                  <a:cubicBezTo>
                    <a:pt x="363" y="264"/>
                    <a:pt x="364" y="264"/>
                    <a:pt x="366" y="263"/>
                  </a:cubicBezTo>
                  <a:cubicBezTo>
                    <a:pt x="371" y="261"/>
                    <a:pt x="373" y="255"/>
                    <a:pt x="370" y="250"/>
                  </a:cubicBezTo>
                  <a:cubicBezTo>
                    <a:pt x="369" y="247"/>
                    <a:pt x="365" y="245"/>
                    <a:pt x="361" y="245"/>
                  </a:cubicBezTo>
                  <a:cubicBezTo>
                    <a:pt x="360" y="245"/>
                    <a:pt x="359" y="245"/>
                    <a:pt x="358" y="245"/>
                  </a:cubicBezTo>
                  <a:cubicBezTo>
                    <a:pt x="358" y="245"/>
                    <a:pt x="358" y="245"/>
                    <a:pt x="358" y="245"/>
                  </a:cubicBezTo>
                  <a:cubicBezTo>
                    <a:pt x="358" y="245"/>
                    <a:pt x="358" y="245"/>
                    <a:pt x="358" y="245"/>
                  </a:cubicBezTo>
                  <a:cubicBezTo>
                    <a:pt x="357" y="245"/>
                    <a:pt x="334" y="209"/>
                    <a:pt x="313" y="172"/>
                  </a:cubicBezTo>
                  <a:cubicBezTo>
                    <a:pt x="341" y="149"/>
                    <a:pt x="431" y="80"/>
                    <a:pt x="435" y="80"/>
                  </a:cubicBezTo>
                  <a:cubicBezTo>
                    <a:pt x="435" y="80"/>
                    <a:pt x="435" y="80"/>
                    <a:pt x="435" y="80"/>
                  </a:cubicBezTo>
                  <a:cubicBezTo>
                    <a:pt x="435" y="80"/>
                    <a:pt x="435" y="80"/>
                    <a:pt x="435" y="80"/>
                  </a:cubicBezTo>
                  <a:cubicBezTo>
                    <a:pt x="437" y="82"/>
                    <a:pt x="440" y="83"/>
                    <a:pt x="443" y="83"/>
                  </a:cubicBezTo>
                  <a:cubicBezTo>
                    <a:pt x="443" y="83"/>
                    <a:pt x="443" y="83"/>
                    <a:pt x="443" y="83"/>
                  </a:cubicBezTo>
                  <a:cubicBezTo>
                    <a:pt x="443" y="83"/>
                    <a:pt x="443" y="83"/>
                    <a:pt x="443" y="83"/>
                  </a:cubicBezTo>
                  <a:cubicBezTo>
                    <a:pt x="443" y="83"/>
                    <a:pt x="443" y="83"/>
                    <a:pt x="443" y="83"/>
                  </a:cubicBezTo>
                  <a:cubicBezTo>
                    <a:pt x="445" y="83"/>
                    <a:pt x="458" y="137"/>
                    <a:pt x="465" y="171"/>
                  </a:cubicBezTo>
                  <a:cubicBezTo>
                    <a:pt x="419" y="178"/>
                    <a:pt x="369" y="185"/>
                    <a:pt x="365" y="185"/>
                  </a:cubicBezTo>
                  <a:cubicBezTo>
                    <a:pt x="365" y="185"/>
                    <a:pt x="365" y="185"/>
                    <a:pt x="365" y="185"/>
                  </a:cubicBezTo>
                  <a:cubicBezTo>
                    <a:pt x="365" y="185"/>
                    <a:pt x="365" y="185"/>
                    <a:pt x="365" y="185"/>
                  </a:cubicBezTo>
                  <a:cubicBezTo>
                    <a:pt x="364" y="184"/>
                    <a:pt x="364" y="184"/>
                    <a:pt x="364" y="184"/>
                  </a:cubicBezTo>
                  <a:cubicBezTo>
                    <a:pt x="364" y="184"/>
                    <a:pt x="364" y="184"/>
                    <a:pt x="364" y="184"/>
                  </a:cubicBezTo>
                  <a:cubicBezTo>
                    <a:pt x="364" y="184"/>
                    <a:pt x="364" y="184"/>
                    <a:pt x="364" y="184"/>
                  </a:cubicBezTo>
                  <a:cubicBezTo>
                    <a:pt x="364" y="183"/>
                    <a:pt x="394" y="163"/>
                    <a:pt x="396" y="163"/>
                  </a:cubicBezTo>
                  <a:cubicBezTo>
                    <a:pt x="396" y="163"/>
                    <a:pt x="396" y="163"/>
                    <a:pt x="396" y="163"/>
                  </a:cubicBezTo>
                  <a:cubicBezTo>
                    <a:pt x="396" y="163"/>
                    <a:pt x="396" y="163"/>
                    <a:pt x="396" y="163"/>
                  </a:cubicBezTo>
                  <a:cubicBezTo>
                    <a:pt x="397" y="164"/>
                    <a:pt x="398" y="165"/>
                    <a:pt x="399" y="165"/>
                  </a:cubicBezTo>
                  <a:cubicBezTo>
                    <a:pt x="400" y="165"/>
                    <a:pt x="401" y="164"/>
                    <a:pt x="401" y="164"/>
                  </a:cubicBezTo>
                  <a:cubicBezTo>
                    <a:pt x="404" y="163"/>
                    <a:pt x="405" y="160"/>
                    <a:pt x="404" y="158"/>
                  </a:cubicBezTo>
                  <a:cubicBezTo>
                    <a:pt x="403" y="156"/>
                    <a:pt x="401" y="155"/>
                    <a:pt x="399" y="155"/>
                  </a:cubicBezTo>
                  <a:cubicBezTo>
                    <a:pt x="398" y="155"/>
                    <a:pt x="398" y="156"/>
                    <a:pt x="397" y="156"/>
                  </a:cubicBezTo>
                  <a:cubicBezTo>
                    <a:pt x="395" y="157"/>
                    <a:pt x="394" y="160"/>
                    <a:pt x="395" y="162"/>
                  </a:cubicBezTo>
                  <a:cubicBezTo>
                    <a:pt x="395" y="162"/>
                    <a:pt x="395" y="162"/>
                    <a:pt x="395" y="162"/>
                  </a:cubicBezTo>
                  <a:cubicBezTo>
                    <a:pt x="395" y="163"/>
                    <a:pt x="365" y="182"/>
                    <a:pt x="363" y="182"/>
                  </a:cubicBezTo>
                  <a:cubicBezTo>
                    <a:pt x="363" y="182"/>
                    <a:pt x="363" y="182"/>
                    <a:pt x="363" y="182"/>
                  </a:cubicBezTo>
                  <a:cubicBezTo>
                    <a:pt x="363" y="182"/>
                    <a:pt x="363" y="182"/>
                    <a:pt x="363" y="182"/>
                  </a:cubicBezTo>
                  <a:cubicBezTo>
                    <a:pt x="362" y="181"/>
                    <a:pt x="360" y="180"/>
                    <a:pt x="358" y="180"/>
                  </a:cubicBezTo>
                  <a:cubicBezTo>
                    <a:pt x="357" y="180"/>
                    <a:pt x="356" y="180"/>
                    <a:pt x="355" y="181"/>
                  </a:cubicBezTo>
                  <a:cubicBezTo>
                    <a:pt x="352" y="182"/>
                    <a:pt x="350" y="186"/>
                    <a:pt x="352" y="190"/>
                  </a:cubicBezTo>
                  <a:cubicBezTo>
                    <a:pt x="353" y="192"/>
                    <a:pt x="356" y="193"/>
                    <a:pt x="358" y="193"/>
                  </a:cubicBezTo>
                  <a:cubicBezTo>
                    <a:pt x="359" y="193"/>
                    <a:pt x="360" y="193"/>
                    <a:pt x="361" y="193"/>
                  </a:cubicBezTo>
                  <a:cubicBezTo>
                    <a:pt x="363" y="192"/>
                    <a:pt x="365" y="190"/>
                    <a:pt x="365" y="187"/>
                  </a:cubicBezTo>
                  <a:cubicBezTo>
                    <a:pt x="365" y="188"/>
                    <a:pt x="365" y="188"/>
                    <a:pt x="365" y="188"/>
                  </a:cubicBezTo>
                  <a:cubicBezTo>
                    <a:pt x="365" y="186"/>
                    <a:pt x="417" y="184"/>
                    <a:pt x="430" y="184"/>
                  </a:cubicBezTo>
                  <a:cubicBezTo>
                    <a:pt x="431" y="184"/>
                    <a:pt x="432" y="184"/>
                    <a:pt x="432" y="184"/>
                  </a:cubicBezTo>
                  <a:cubicBezTo>
                    <a:pt x="432" y="184"/>
                    <a:pt x="432" y="184"/>
                    <a:pt x="432" y="184"/>
                  </a:cubicBezTo>
                  <a:cubicBezTo>
                    <a:pt x="433" y="185"/>
                    <a:pt x="433" y="185"/>
                    <a:pt x="433" y="185"/>
                  </a:cubicBezTo>
                  <a:cubicBezTo>
                    <a:pt x="433" y="187"/>
                    <a:pt x="435" y="187"/>
                    <a:pt x="436" y="187"/>
                  </a:cubicBezTo>
                  <a:cubicBezTo>
                    <a:pt x="437" y="187"/>
                    <a:pt x="438" y="187"/>
                    <a:pt x="438" y="187"/>
                  </a:cubicBezTo>
                  <a:cubicBezTo>
                    <a:pt x="440" y="186"/>
                    <a:pt x="441" y="184"/>
                    <a:pt x="440" y="182"/>
                  </a:cubicBezTo>
                  <a:cubicBezTo>
                    <a:pt x="439" y="180"/>
                    <a:pt x="438" y="180"/>
                    <a:pt x="436" y="180"/>
                  </a:cubicBezTo>
                  <a:cubicBezTo>
                    <a:pt x="436" y="180"/>
                    <a:pt x="435" y="180"/>
                    <a:pt x="435" y="180"/>
                  </a:cubicBezTo>
                  <a:cubicBezTo>
                    <a:pt x="433" y="181"/>
                    <a:pt x="432" y="182"/>
                    <a:pt x="432" y="183"/>
                  </a:cubicBezTo>
                  <a:cubicBezTo>
                    <a:pt x="432" y="183"/>
                    <a:pt x="432" y="183"/>
                    <a:pt x="432" y="183"/>
                  </a:cubicBezTo>
                  <a:cubicBezTo>
                    <a:pt x="432" y="184"/>
                    <a:pt x="387" y="186"/>
                    <a:pt x="370" y="186"/>
                  </a:cubicBezTo>
                  <a:cubicBezTo>
                    <a:pt x="370" y="186"/>
                    <a:pt x="370" y="186"/>
                    <a:pt x="370" y="186"/>
                  </a:cubicBezTo>
                  <a:cubicBezTo>
                    <a:pt x="383" y="183"/>
                    <a:pt x="425" y="177"/>
                    <a:pt x="465" y="171"/>
                  </a:cubicBezTo>
                  <a:cubicBezTo>
                    <a:pt x="468" y="187"/>
                    <a:pt x="470" y="198"/>
                    <a:pt x="469" y="199"/>
                  </a:cubicBezTo>
                  <a:cubicBezTo>
                    <a:pt x="469" y="199"/>
                    <a:pt x="469" y="199"/>
                    <a:pt x="469" y="199"/>
                  </a:cubicBezTo>
                  <a:cubicBezTo>
                    <a:pt x="464" y="201"/>
                    <a:pt x="460" y="205"/>
                    <a:pt x="460" y="211"/>
                  </a:cubicBezTo>
                  <a:cubicBezTo>
                    <a:pt x="460" y="218"/>
                    <a:pt x="466" y="224"/>
                    <a:pt x="474" y="224"/>
                  </a:cubicBezTo>
                  <a:cubicBezTo>
                    <a:pt x="476" y="224"/>
                    <a:pt x="478" y="223"/>
                    <a:pt x="480" y="222"/>
                  </a:cubicBezTo>
                  <a:cubicBezTo>
                    <a:pt x="480" y="222"/>
                    <a:pt x="480" y="222"/>
                    <a:pt x="480" y="222"/>
                  </a:cubicBezTo>
                  <a:cubicBezTo>
                    <a:pt x="480" y="222"/>
                    <a:pt x="480" y="222"/>
                    <a:pt x="480" y="222"/>
                  </a:cubicBezTo>
                  <a:cubicBezTo>
                    <a:pt x="483" y="222"/>
                    <a:pt x="520" y="269"/>
                    <a:pt x="518" y="271"/>
                  </a:cubicBezTo>
                  <a:cubicBezTo>
                    <a:pt x="518" y="271"/>
                    <a:pt x="518" y="271"/>
                    <a:pt x="518" y="271"/>
                  </a:cubicBezTo>
                  <a:cubicBezTo>
                    <a:pt x="514" y="275"/>
                    <a:pt x="513" y="281"/>
                    <a:pt x="516" y="286"/>
                  </a:cubicBezTo>
                  <a:cubicBezTo>
                    <a:pt x="518" y="290"/>
                    <a:pt x="523" y="293"/>
                    <a:pt x="528" y="293"/>
                  </a:cubicBezTo>
                  <a:cubicBezTo>
                    <a:pt x="530" y="293"/>
                    <a:pt x="532" y="293"/>
                    <a:pt x="534" y="292"/>
                  </a:cubicBezTo>
                  <a:cubicBezTo>
                    <a:pt x="540" y="289"/>
                    <a:pt x="543" y="281"/>
                    <a:pt x="540" y="275"/>
                  </a:cubicBezTo>
                  <a:cubicBezTo>
                    <a:pt x="538" y="270"/>
                    <a:pt x="533" y="267"/>
                    <a:pt x="528" y="267"/>
                  </a:cubicBezTo>
                  <a:cubicBezTo>
                    <a:pt x="526" y="267"/>
                    <a:pt x="524" y="268"/>
                    <a:pt x="522" y="268"/>
                  </a:cubicBezTo>
                  <a:cubicBezTo>
                    <a:pt x="521" y="269"/>
                    <a:pt x="521" y="269"/>
                    <a:pt x="521" y="269"/>
                  </a:cubicBezTo>
                  <a:cubicBezTo>
                    <a:pt x="522" y="269"/>
                    <a:pt x="522" y="269"/>
                    <a:pt x="522" y="269"/>
                  </a:cubicBezTo>
                  <a:cubicBezTo>
                    <a:pt x="522" y="269"/>
                    <a:pt x="522" y="269"/>
                    <a:pt x="521" y="269"/>
                  </a:cubicBezTo>
                  <a:cubicBezTo>
                    <a:pt x="518" y="269"/>
                    <a:pt x="482" y="222"/>
                    <a:pt x="484" y="220"/>
                  </a:cubicBezTo>
                  <a:cubicBezTo>
                    <a:pt x="483" y="220"/>
                    <a:pt x="483" y="220"/>
                    <a:pt x="483" y="220"/>
                  </a:cubicBezTo>
                  <a:cubicBezTo>
                    <a:pt x="486" y="218"/>
                    <a:pt x="487" y="214"/>
                    <a:pt x="487" y="211"/>
                  </a:cubicBezTo>
                  <a:cubicBezTo>
                    <a:pt x="487" y="206"/>
                    <a:pt x="484" y="201"/>
                    <a:pt x="480" y="199"/>
                  </a:cubicBezTo>
                  <a:cubicBezTo>
                    <a:pt x="480" y="199"/>
                    <a:pt x="480" y="199"/>
                    <a:pt x="480" y="199"/>
                  </a:cubicBezTo>
                  <a:cubicBezTo>
                    <a:pt x="479" y="199"/>
                    <a:pt x="483" y="184"/>
                    <a:pt x="489" y="168"/>
                  </a:cubicBezTo>
                  <a:cubicBezTo>
                    <a:pt x="516" y="164"/>
                    <a:pt x="539" y="161"/>
                    <a:pt x="541" y="161"/>
                  </a:cubicBezTo>
                  <a:cubicBezTo>
                    <a:pt x="542" y="161"/>
                    <a:pt x="542" y="161"/>
                    <a:pt x="542" y="161"/>
                  </a:cubicBezTo>
                  <a:cubicBezTo>
                    <a:pt x="542" y="161"/>
                    <a:pt x="542" y="161"/>
                    <a:pt x="542" y="161"/>
                  </a:cubicBezTo>
                  <a:cubicBezTo>
                    <a:pt x="542" y="162"/>
                    <a:pt x="542" y="162"/>
                    <a:pt x="542" y="162"/>
                  </a:cubicBezTo>
                  <a:cubicBezTo>
                    <a:pt x="543" y="164"/>
                    <a:pt x="546" y="166"/>
                    <a:pt x="548" y="166"/>
                  </a:cubicBezTo>
                  <a:cubicBezTo>
                    <a:pt x="549" y="166"/>
                    <a:pt x="550" y="165"/>
                    <a:pt x="551" y="165"/>
                  </a:cubicBezTo>
                  <a:cubicBezTo>
                    <a:pt x="552" y="165"/>
                    <a:pt x="553" y="164"/>
                    <a:pt x="553" y="164"/>
                  </a:cubicBezTo>
                  <a:cubicBezTo>
                    <a:pt x="553" y="164"/>
                    <a:pt x="553" y="164"/>
                    <a:pt x="553" y="164"/>
                  </a:cubicBezTo>
                  <a:cubicBezTo>
                    <a:pt x="553" y="164"/>
                    <a:pt x="553" y="164"/>
                    <a:pt x="553" y="164"/>
                  </a:cubicBezTo>
                  <a:cubicBezTo>
                    <a:pt x="555" y="164"/>
                    <a:pt x="586" y="185"/>
                    <a:pt x="585" y="185"/>
                  </a:cubicBezTo>
                  <a:cubicBezTo>
                    <a:pt x="585" y="185"/>
                    <a:pt x="585" y="185"/>
                    <a:pt x="585" y="185"/>
                  </a:cubicBezTo>
                  <a:cubicBezTo>
                    <a:pt x="584" y="187"/>
                    <a:pt x="584" y="188"/>
                    <a:pt x="585" y="189"/>
                  </a:cubicBezTo>
                  <a:cubicBezTo>
                    <a:pt x="586" y="191"/>
                    <a:pt x="588" y="192"/>
                    <a:pt x="589" y="192"/>
                  </a:cubicBezTo>
                  <a:cubicBezTo>
                    <a:pt x="590" y="192"/>
                    <a:pt x="591" y="192"/>
                    <a:pt x="591" y="192"/>
                  </a:cubicBezTo>
                  <a:cubicBezTo>
                    <a:pt x="594" y="191"/>
                    <a:pt x="595" y="188"/>
                    <a:pt x="594" y="186"/>
                  </a:cubicBezTo>
                  <a:cubicBezTo>
                    <a:pt x="593" y="184"/>
                    <a:pt x="591" y="183"/>
                    <a:pt x="589" y="183"/>
                  </a:cubicBezTo>
                  <a:cubicBezTo>
                    <a:pt x="589" y="183"/>
                    <a:pt x="588" y="183"/>
                    <a:pt x="587" y="183"/>
                  </a:cubicBezTo>
                  <a:cubicBezTo>
                    <a:pt x="587" y="184"/>
                    <a:pt x="586" y="184"/>
                    <a:pt x="586" y="184"/>
                  </a:cubicBezTo>
                  <a:cubicBezTo>
                    <a:pt x="586" y="184"/>
                    <a:pt x="586" y="184"/>
                    <a:pt x="586" y="184"/>
                  </a:cubicBezTo>
                  <a:cubicBezTo>
                    <a:pt x="586" y="184"/>
                    <a:pt x="586" y="184"/>
                    <a:pt x="586" y="184"/>
                  </a:cubicBezTo>
                  <a:cubicBezTo>
                    <a:pt x="584" y="184"/>
                    <a:pt x="554" y="163"/>
                    <a:pt x="554" y="162"/>
                  </a:cubicBezTo>
                  <a:cubicBezTo>
                    <a:pt x="554" y="162"/>
                    <a:pt x="554" y="162"/>
                    <a:pt x="554" y="162"/>
                  </a:cubicBezTo>
                  <a:cubicBezTo>
                    <a:pt x="555" y="160"/>
                    <a:pt x="556" y="158"/>
                    <a:pt x="555" y="156"/>
                  </a:cubicBezTo>
                  <a:cubicBezTo>
                    <a:pt x="555" y="156"/>
                    <a:pt x="555" y="156"/>
                    <a:pt x="555" y="156"/>
                  </a:cubicBezTo>
                  <a:cubicBezTo>
                    <a:pt x="555" y="156"/>
                    <a:pt x="555" y="156"/>
                    <a:pt x="555" y="156"/>
                  </a:cubicBezTo>
                  <a:cubicBezTo>
                    <a:pt x="554" y="155"/>
                    <a:pt x="584" y="135"/>
                    <a:pt x="586" y="135"/>
                  </a:cubicBezTo>
                  <a:cubicBezTo>
                    <a:pt x="586" y="135"/>
                    <a:pt x="586" y="135"/>
                    <a:pt x="586" y="135"/>
                  </a:cubicBezTo>
                  <a:cubicBezTo>
                    <a:pt x="586" y="135"/>
                    <a:pt x="586" y="135"/>
                    <a:pt x="586" y="135"/>
                  </a:cubicBezTo>
                  <a:cubicBezTo>
                    <a:pt x="587" y="136"/>
                    <a:pt x="588" y="137"/>
                    <a:pt x="589" y="137"/>
                  </a:cubicBezTo>
                  <a:cubicBezTo>
                    <a:pt x="590" y="137"/>
                    <a:pt x="591" y="137"/>
                    <a:pt x="591" y="136"/>
                  </a:cubicBezTo>
                  <a:cubicBezTo>
                    <a:pt x="592" y="136"/>
                    <a:pt x="592" y="136"/>
                    <a:pt x="593" y="135"/>
                  </a:cubicBezTo>
                  <a:cubicBezTo>
                    <a:pt x="593" y="135"/>
                    <a:pt x="593" y="135"/>
                    <a:pt x="593" y="135"/>
                  </a:cubicBezTo>
                  <a:cubicBezTo>
                    <a:pt x="593" y="135"/>
                    <a:pt x="593" y="135"/>
                    <a:pt x="593" y="135"/>
                  </a:cubicBezTo>
                  <a:cubicBezTo>
                    <a:pt x="594" y="135"/>
                    <a:pt x="632" y="162"/>
                    <a:pt x="631" y="163"/>
                  </a:cubicBezTo>
                  <a:cubicBezTo>
                    <a:pt x="631" y="163"/>
                    <a:pt x="631" y="163"/>
                    <a:pt x="631" y="163"/>
                  </a:cubicBezTo>
                  <a:cubicBezTo>
                    <a:pt x="631" y="164"/>
                    <a:pt x="631" y="165"/>
                    <a:pt x="631" y="166"/>
                  </a:cubicBezTo>
                  <a:cubicBezTo>
                    <a:pt x="632" y="168"/>
                    <a:pt x="633" y="169"/>
                    <a:pt x="635" y="169"/>
                  </a:cubicBezTo>
                  <a:cubicBezTo>
                    <a:pt x="635" y="169"/>
                    <a:pt x="636" y="168"/>
                    <a:pt x="637" y="168"/>
                  </a:cubicBezTo>
                  <a:cubicBezTo>
                    <a:pt x="638" y="168"/>
                    <a:pt x="639" y="166"/>
                    <a:pt x="639" y="165"/>
                  </a:cubicBezTo>
                  <a:cubicBezTo>
                    <a:pt x="639" y="165"/>
                    <a:pt x="639" y="165"/>
                    <a:pt x="639" y="165"/>
                  </a:cubicBezTo>
                  <a:cubicBezTo>
                    <a:pt x="639" y="165"/>
                    <a:pt x="647" y="165"/>
                    <a:pt x="655" y="165"/>
                  </a:cubicBezTo>
                  <a:cubicBezTo>
                    <a:pt x="663" y="165"/>
                    <a:pt x="671" y="165"/>
                    <a:pt x="671" y="165"/>
                  </a:cubicBezTo>
                  <a:cubicBezTo>
                    <a:pt x="671" y="165"/>
                    <a:pt x="671" y="165"/>
                    <a:pt x="671" y="165"/>
                  </a:cubicBezTo>
                  <a:cubicBezTo>
                    <a:pt x="671" y="166"/>
                    <a:pt x="671" y="166"/>
                    <a:pt x="671" y="166"/>
                  </a:cubicBezTo>
                  <a:cubicBezTo>
                    <a:pt x="671" y="167"/>
                    <a:pt x="672" y="167"/>
                    <a:pt x="672" y="167"/>
                  </a:cubicBezTo>
                  <a:cubicBezTo>
                    <a:pt x="672" y="167"/>
                    <a:pt x="672" y="167"/>
                    <a:pt x="672" y="167"/>
                  </a:cubicBezTo>
                  <a:cubicBezTo>
                    <a:pt x="672" y="168"/>
                    <a:pt x="595" y="258"/>
                    <a:pt x="593" y="258"/>
                  </a:cubicBezTo>
                  <a:cubicBezTo>
                    <a:pt x="593" y="258"/>
                    <a:pt x="593" y="258"/>
                    <a:pt x="593" y="258"/>
                  </a:cubicBezTo>
                  <a:cubicBezTo>
                    <a:pt x="593" y="258"/>
                    <a:pt x="593" y="258"/>
                    <a:pt x="593" y="258"/>
                  </a:cubicBezTo>
                  <a:cubicBezTo>
                    <a:pt x="592" y="258"/>
                    <a:pt x="591" y="257"/>
                    <a:pt x="589" y="257"/>
                  </a:cubicBezTo>
                  <a:cubicBezTo>
                    <a:pt x="588" y="257"/>
                    <a:pt x="587" y="258"/>
                    <a:pt x="586" y="258"/>
                  </a:cubicBezTo>
                  <a:cubicBezTo>
                    <a:pt x="583" y="260"/>
                    <a:pt x="582" y="264"/>
                    <a:pt x="583" y="267"/>
                  </a:cubicBezTo>
                  <a:cubicBezTo>
                    <a:pt x="584" y="269"/>
                    <a:pt x="587" y="271"/>
                    <a:pt x="589" y="271"/>
                  </a:cubicBezTo>
                  <a:cubicBezTo>
                    <a:pt x="590" y="271"/>
                    <a:pt x="591" y="270"/>
                    <a:pt x="592" y="270"/>
                  </a:cubicBezTo>
                  <a:cubicBezTo>
                    <a:pt x="596" y="268"/>
                    <a:pt x="597" y="264"/>
                    <a:pt x="596" y="261"/>
                  </a:cubicBezTo>
                  <a:cubicBezTo>
                    <a:pt x="595" y="261"/>
                    <a:pt x="595" y="260"/>
                    <a:pt x="595" y="260"/>
                  </a:cubicBezTo>
                  <a:cubicBezTo>
                    <a:pt x="595" y="260"/>
                    <a:pt x="595" y="260"/>
                    <a:pt x="595" y="260"/>
                  </a:cubicBezTo>
                  <a:cubicBezTo>
                    <a:pt x="594" y="259"/>
                    <a:pt x="672" y="168"/>
                    <a:pt x="673" y="168"/>
                  </a:cubicBezTo>
                  <a:cubicBezTo>
                    <a:pt x="673" y="168"/>
                    <a:pt x="673" y="168"/>
                    <a:pt x="673" y="168"/>
                  </a:cubicBezTo>
                  <a:cubicBezTo>
                    <a:pt x="673" y="168"/>
                    <a:pt x="673" y="168"/>
                    <a:pt x="673" y="168"/>
                  </a:cubicBezTo>
                  <a:cubicBezTo>
                    <a:pt x="673" y="168"/>
                    <a:pt x="674" y="169"/>
                    <a:pt x="675" y="169"/>
                  </a:cubicBezTo>
                  <a:cubicBezTo>
                    <a:pt x="675" y="169"/>
                    <a:pt x="676" y="168"/>
                    <a:pt x="677" y="168"/>
                  </a:cubicBezTo>
                  <a:cubicBezTo>
                    <a:pt x="679" y="167"/>
                    <a:pt x="680" y="165"/>
                    <a:pt x="679" y="163"/>
                  </a:cubicBezTo>
                  <a:cubicBezTo>
                    <a:pt x="678" y="162"/>
                    <a:pt x="676" y="161"/>
                    <a:pt x="675" y="161"/>
                  </a:cubicBezTo>
                  <a:cubicBezTo>
                    <a:pt x="674" y="161"/>
                    <a:pt x="674" y="161"/>
                    <a:pt x="673" y="161"/>
                  </a:cubicBezTo>
                  <a:cubicBezTo>
                    <a:pt x="672" y="161"/>
                    <a:pt x="672" y="162"/>
                    <a:pt x="671" y="163"/>
                  </a:cubicBezTo>
                  <a:cubicBezTo>
                    <a:pt x="671" y="163"/>
                    <a:pt x="671" y="163"/>
                    <a:pt x="671" y="163"/>
                  </a:cubicBezTo>
                  <a:cubicBezTo>
                    <a:pt x="671" y="163"/>
                    <a:pt x="671" y="163"/>
                    <a:pt x="671" y="163"/>
                  </a:cubicBezTo>
                  <a:cubicBezTo>
                    <a:pt x="669" y="163"/>
                    <a:pt x="594" y="134"/>
                    <a:pt x="594" y="133"/>
                  </a:cubicBezTo>
                  <a:cubicBezTo>
                    <a:pt x="594" y="133"/>
                    <a:pt x="594" y="133"/>
                    <a:pt x="594" y="133"/>
                  </a:cubicBezTo>
                  <a:cubicBezTo>
                    <a:pt x="594" y="132"/>
                    <a:pt x="594" y="131"/>
                    <a:pt x="594" y="130"/>
                  </a:cubicBezTo>
                  <a:cubicBezTo>
                    <a:pt x="593" y="129"/>
                    <a:pt x="591" y="128"/>
                    <a:pt x="589" y="128"/>
                  </a:cubicBezTo>
                  <a:cubicBezTo>
                    <a:pt x="589" y="128"/>
                    <a:pt x="588" y="128"/>
                    <a:pt x="587" y="128"/>
                  </a:cubicBezTo>
                  <a:cubicBezTo>
                    <a:pt x="585" y="129"/>
                    <a:pt x="584" y="132"/>
                    <a:pt x="585" y="134"/>
                  </a:cubicBezTo>
                  <a:cubicBezTo>
                    <a:pt x="585" y="134"/>
                    <a:pt x="585" y="134"/>
                    <a:pt x="585" y="134"/>
                  </a:cubicBezTo>
                  <a:cubicBezTo>
                    <a:pt x="585" y="135"/>
                    <a:pt x="556" y="154"/>
                    <a:pt x="553" y="154"/>
                  </a:cubicBezTo>
                  <a:cubicBezTo>
                    <a:pt x="553" y="154"/>
                    <a:pt x="553" y="154"/>
                    <a:pt x="553" y="154"/>
                  </a:cubicBezTo>
                  <a:cubicBezTo>
                    <a:pt x="553" y="154"/>
                    <a:pt x="553" y="154"/>
                    <a:pt x="553" y="154"/>
                  </a:cubicBezTo>
                  <a:cubicBezTo>
                    <a:pt x="552" y="153"/>
                    <a:pt x="550" y="152"/>
                    <a:pt x="548" y="152"/>
                  </a:cubicBezTo>
                  <a:cubicBezTo>
                    <a:pt x="547" y="152"/>
                    <a:pt x="546" y="153"/>
                    <a:pt x="545" y="153"/>
                  </a:cubicBezTo>
                  <a:cubicBezTo>
                    <a:pt x="543" y="154"/>
                    <a:pt x="541" y="156"/>
                    <a:pt x="541" y="159"/>
                  </a:cubicBezTo>
                  <a:cubicBezTo>
                    <a:pt x="541" y="159"/>
                    <a:pt x="541" y="159"/>
                    <a:pt x="541" y="159"/>
                  </a:cubicBezTo>
                  <a:cubicBezTo>
                    <a:pt x="541" y="159"/>
                    <a:pt x="518" y="163"/>
                    <a:pt x="489" y="167"/>
                  </a:cubicBezTo>
                  <a:cubicBezTo>
                    <a:pt x="497" y="144"/>
                    <a:pt x="507" y="115"/>
                    <a:pt x="509" y="115"/>
                  </a:cubicBezTo>
                  <a:cubicBezTo>
                    <a:pt x="509" y="115"/>
                    <a:pt x="509" y="115"/>
                    <a:pt x="509" y="115"/>
                  </a:cubicBezTo>
                  <a:cubicBezTo>
                    <a:pt x="509" y="115"/>
                    <a:pt x="509" y="115"/>
                    <a:pt x="509" y="115"/>
                  </a:cubicBezTo>
                  <a:cubicBezTo>
                    <a:pt x="509" y="115"/>
                    <a:pt x="510" y="115"/>
                    <a:pt x="510" y="115"/>
                  </a:cubicBezTo>
                  <a:cubicBezTo>
                    <a:pt x="512" y="115"/>
                    <a:pt x="513" y="115"/>
                    <a:pt x="515" y="115"/>
                  </a:cubicBezTo>
                  <a:cubicBezTo>
                    <a:pt x="520" y="112"/>
                    <a:pt x="522" y="107"/>
                    <a:pt x="519" y="102"/>
                  </a:cubicBezTo>
                  <a:cubicBezTo>
                    <a:pt x="518" y="98"/>
                    <a:pt x="514" y="96"/>
                    <a:pt x="510" y="96"/>
                  </a:cubicBezTo>
                  <a:cubicBezTo>
                    <a:pt x="509" y="96"/>
                    <a:pt x="507" y="97"/>
                    <a:pt x="506" y="97"/>
                  </a:cubicBezTo>
                  <a:cubicBezTo>
                    <a:pt x="504" y="98"/>
                    <a:pt x="503" y="99"/>
                    <a:pt x="502" y="100"/>
                  </a:cubicBezTo>
                  <a:cubicBezTo>
                    <a:pt x="502" y="100"/>
                    <a:pt x="502" y="100"/>
                    <a:pt x="502" y="100"/>
                  </a:cubicBezTo>
                  <a:cubicBezTo>
                    <a:pt x="502" y="100"/>
                    <a:pt x="502" y="100"/>
                    <a:pt x="502" y="100"/>
                  </a:cubicBezTo>
                  <a:cubicBezTo>
                    <a:pt x="498" y="100"/>
                    <a:pt x="453" y="77"/>
                    <a:pt x="454" y="75"/>
                  </a:cubicBezTo>
                  <a:cubicBezTo>
                    <a:pt x="454" y="75"/>
                    <a:pt x="454" y="75"/>
                    <a:pt x="454" y="75"/>
                  </a:cubicBezTo>
                  <a:cubicBezTo>
                    <a:pt x="455" y="73"/>
                    <a:pt x="455" y="69"/>
                    <a:pt x="453" y="67"/>
                  </a:cubicBezTo>
                  <a:cubicBezTo>
                    <a:pt x="451" y="62"/>
                    <a:pt x="447" y="60"/>
                    <a:pt x="443" y="60"/>
                  </a:cubicBezTo>
                  <a:cubicBezTo>
                    <a:pt x="441" y="60"/>
                    <a:pt x="439" y="60"/>
                    <a:pt x="438" y="61"/>
                  </a:cubicBezTo>
                  <a:cubicBezTo>
                    <a:pt x="433" y="63"/>
                    <a:pt x="431" y="67"/>
                    <a:pt x="431" y="71"/>
                  </a:cubicBezTo>
                  <a:cubicBezTo>
                    <a:pt x="431" y="71"/>
                    <a:pt x="431" y="71"/>
                    <a:pt x="431" y="71"/>
                  </a:cubicBezTo>
                  <a:cubicBezTo>
                    <a:pt x="431" y="73"/>
                    <a:pt x="295" y="88"/>
                    <a:pt x="278" y="88"/>
                  </a:cubicBezTo>
                  <a:cubicBezTo>
                    <a:pt x="277" y="88"/>
                    <a:pt x="277" y="88"/>
                    <a:pt x="277" y="88"/>
                  </a:cubicBezTo>
                  <a:cubicBezTo>
                    <a:pt x="277" y="88"/>
                    <a:pt x="277" y="88"/>
                    <a:pt x="277" y="88"/>
                  </a:cubicBezTo>
                  <a:cubicBezTo>
                    <a:pt x="276" y="88"/>
                    <a:pt x="276" y="87"/>
                    <a:pt x="276" y="86"/>
                  </a:cubicBezTo>
                  <a:cubicBezTo>
                    <a:pt x="274" y="82"/>
                    <a:pt x="270" y="80"/>
                    <a:pt x="265" y="80"/>
                  </a:cubicBezTo>
                  <a:cubicBezTo>
                    <a:pt x="263" y="80"/>
                    <a:pt x="262" y="80"/>
                    <a:pt x="260" y="81"/>
                  </a:cubicBezTo>
                  <a:cubicBezTo>
                    <a:pt x="254" y="84"/>
                    <a:pt x="251" y="90"/>
                    <a:pt x="254" y="96"/>
                  </a:cubicBezTo>
                  <a:cubicBezTo>
                    <a:pt x="256" y="99"/>
                    <a:pt x="258" y="101"/>
                    <a:pt x="260" y="102"/>
                  </a:cubicBezTo>
                  <a:cubicBezTo>
                    <a:pt x="260" y="102"/>
                    <a:pt x="260" y="102"/>
                    <a:pt x="260" y="102"/>
                  </a:cubicBezTo>
                  <a:cubicBezTo>
                    <a:pt x="262" y="103"/>
                    <a:pt x="250" y="143"/>
                    <a:pt x="249" y="143"/>
                  </a:cubicBezTo>
                  <a:cubicBezTo>
                    <a:pt x="249" y="143"/>
                    <a:pt x="249" y="143"/>
                    <a:pt x="249" y="143"/>
                  </a:cubicBezTo>
                  <a:cubicBezTo>
                    <a:pt x="249" y="143"/>
                    <a:pt x="249" y="143"/>
                    <a:pt x="249" y="143"/>
                  </a:cubicBezTo>
                  <a:cubicBezTo>
                    <a:pt x="249" y="143"/>
                    <a:pt x="249" y="143"/>
                    <a:pt x="249" y="143"/>
                  </a:cubicBezTo>
                  <a:cubicBezTo>
                    <a:pt x="248" y="143"/>
                    <a:pt x="248" y="143"/>
                    <a:pt x="247" y="143"/>
                  </a:cubicBezTo>
                  <a:cubicBezTo>
                    <a:pt x="246" y="144"/>
                    <a:pt x="245" y="145"/>
                    <a:pt x="245" y="146"/>
                  </a:cubicBezTo>
                  <a:cubicBezTo>
                    <a:pt x="245" y="146"/>
                    <a:pt x="245" y="146"/>
                    <a:pt x="245" y="146"/>
                  </a:cubicBezTo>
                  <a:cubicBezTo>
                    <a:pt x="245" y="146"/>
                    <a:pt x="245" y="146"/>
                    <a:pt x="244" y="146"/>
                  </a:cubicBezTo>
                  <a:cubicBezTo>
                    <a:pt x="237" y="146"/>
                    <a:pt x="185" y="141"/>
                    <a:pt x="185" y="140"/>
                  </a:cubicBezTo>
                  <a:cubicBezTo>
                    <a:pt x="185" y="140"/>
                    <a:pt x="185" y="140"/>
                    <a:pt x="185" y="140"/>
                  </a:cubicBezTo>
                  <a:cubicBezTo>
                    <a:pt x="185" y="139"/>
                    <a:pt x="185" y="138"/>
                    <a:pt x="184" y="138"/>
                  </a:cubicBezTo>
                  <a:cubicBezTo>
                    <a:pt x="184" y="137"/>
                    <a:pt x="184" y="137"/>
                    <a:pt x="184" y="137"/>
                  </a:cubicBezTo>
                  <a:cubicBezTo>
                    <a:pt x="184" y="137"/>
                    <a:pt x="184" y="137"/>
                    <a:pt x="184" y="137"/>
                  </a:cubicBezTo>
                  <a:cubicBezTo>
                    <a:pt x="183" y="136"/>
                    <a:pt x="209" y="113"/>
                    <a:pt x="211" y="113"/>
                  </a:cubicBezTo>
                  <a:cubicBezTo>
                    <a:pt x="211" y="113"/>
                    <a:pt x="211" y="113"/>
                    <a:pt x="211" y="113"/>
                  </a:cubicBezTo>
                  <a:cubicBezTo>
                    <a:pt x="210" y="113"/>
                    <a:pt x="210" y="113"/>
                    <a:pt x="210" y="113"/>
                  </a:cubicBezTo>
                  <a:cubicBezTo>
                    <a:pt x="211" y="114"/>
                    <a:pt x="212" y="114"/>
                    <a:pt x="214" y="114"/>
                  </a:cubicBezTo>
                  <a:cubicBezTo>
                    <a:pt x="214" y="114"/>
                    <a:pt x="215" y="114"/>
                    <a:pt x="216" y="114"/>
                  </a:cubicBezTo>
                  <a:cubicBezTo>
                    <a:pt x="218" y="113"/>
                    <a:pt x="219" y="110"/>
                    <a:pt x="218" y="107"/>
                  </a:cubicBezTo>
                  <a:cubicBezTo>
                    <a:pt x="217" y="106"/>
                    <a:pt x="215" y="105"/>
                    <a:pt x="214" y="105"/>
                  </a:cubicBezTo>
                  <a:cubicBezTo>
                    <a:pt x="213" y="105"/>
                    <a:pt x="212" y="105"/>
                    <a:pt x="211" y="105"/>
                  </a:cubicBezTo>
                  <a:cubicBezTo>
                    <a:pt x="211" y="106"/>
                    <a:pt x="211" y="106"/>
                    <a:pt x="211" y="106"/>
                  </a:cubicBezTo>
                  <a:cubicBezTo>
                    <a:pt x="211" y="106"/>
                    <a:pt x="211" y="106"/>
                    <a:pt x="211" y="106"/>
                  </a:cubicBezTo>
                  <a:cubicBezTo>
                    <a:pt x="211" y="106"/>
                    <a:pt x="211" y="106"/>
                    <a:pt x="211" y="106"/>
                  </a:cubicBezTo>
                  <a:cubicBezTo>
                    <a:pt x="209" y="106"/>
                    <a:pt x="175" y="72"/>
                    <a:pt x="176" y="70"/>
                  </a:cubicBezTo>
                  <a:cubicBezTo>
                    <a:pt x="176" y="70"/>
                    <a:pt x="176" y="70"/>
                    <a:pt x="176" y="70"/>
                  </a:cubicBezTo>
                  <a:cubicBezTo>
                    <a:pt x="177" y="69"/>
                    <a:pt x="178" y="67"/>
                    <a:pt x="178" y="65"/>
                  </a:cubicBezTo>
                  <a:cubicBezTo>
                    <a:pt x="178" y="59"/>
                    <a:pt x="174" y="55"/>
                    <a:pt x="168" y="55"/>
                  </a:cubicBezTo>
                  <a:cubicBezTo>
                    <a:pt x="163" y="55"/>
                    <a:pt x="158" y="59"/>
                    <a:pt x="158" y="65"/>
                  </a:cubicBezTo>
                  <a:cubicBezTo>
                    <a:pt x="158" y="68"/>
                    <a:pt x="160" y="70"/>
                    <a:pt x="162" y="72"/>
                  </a:cubicBezTo>
                  <a:cubicBezTo>
                    <a:pt x="162" y="72"/>
                    <a:pt x="162" y="72"/>
                    <a:pt x="162" y="72"/>
                  </a:cubicBezTo>
                  <a:cubicBezTo>
                    <a:pt x="164" y="73"/>
                    <a:pt x="131" y="132"/>
                    <a:pt x="127" y="132"/>
                  </a:cubicBezTo>
                  <a:cubicBezTo>
                    <a:pt x="127" y="132"/>
                    <a:pt x="127" y="132"/>
                    <a:pt x="127" y="132"/>
                  </a:cubicBezTo>
                  <a:cubicBezTo>
                    <a:pt x="127" y="132"/>
                    <a:pt x="127" y="132"/>
                    <a:pt x="127" y="132"/>
                  </a:cubicBezTo>
                  <a:cubicBezTo>
                    <a:pt x="126" y="132"/>
                    <a:pt x="124" y="132"/>
                    <a:pt x="122" y="132"/>
                  </a:cubicBezTo>
                  <a:cubicBezTo>
                    <a:pt x="121" y="132"/>
                    <a:pt x="120" y="132"/>
                    <a:pt x="119" y="132"/>
                  </a:cubicBezTo>
                  <a:cubicBezTo>
                    <a:pt x="119" y="132"/>
                    <a:pt x="119" y="132"/>
                    <a:pt x="119" y="132"/>
                  </a:cubicBezTo>
                  <a:cubicBezTo>
                    <a:pt x="119" y="132"/>
                    <a:pt x="119" y="132"/>
                    <a:pt x="119" y="132"/>
                  </a:cubicBezTo>
                  <a:cubicBezTo>
                    <a:pt x="118" y="132"/>
                    <a:pt x="113" y="122"/>
                    <a:pt x="109" y="112"/>
                  </a:cubicBezTo>
                  <a:cubicBezTo>
                    <a:pt x="113" y="122"/>
                    <a:pt x="117" y="133"/>
                    <a:pt x="115" y="133"/>
                  </a:cubicBezTo>
                  <a:cubicBezTo>
                    <a:pt x="116" y="133"/>
                    <a:pt x="116" y="133"/>
                    <a:pt x="116" y="133"/>
                  </a:cubicBezTo>
                  <a:cubicBezTo>
                    <a:pt x="115" y="133"/>
                    <a:pt x="115" y="133"/>
                    <a:pt x="115" y="133"/>
                  </a:cubicBezTo>
                  <a:cubicBezTo>
                    <a:pt x="115" y="133"/>
                    <a:pt x="115" y="133"/>
                    <a:pt x="115" y="133"/>
                  </a:cubicBezTo>
                  <a:cubicBezTo>
                    <a:pt x="115" y="133"/>
                    <a:pt x="115" y="133"/>
                    <a:pt x="115" y="133"/>
                  </a:cubicBezTo>
                  <a:cubicBezTo>
                    <a:pt x="112" y="133"/>
                    <a:pt x="26" y="30"/>
                    <a:pt x="14" y="13"/>
                  </a:cubicBezTo>
                  <a:cubicBezTo>
                    <a:pt x="28" y="23"/>
                    <a:pt x="95" y="83"/>
                    <a:pt x="95" y="84"/>
                  </a:cubicBezTo>
                  <a:cubicBezTo>
                    <a:pt x="95" y="84"/>
                    <a:pt x="95" y="84"/>
                    <a:pt x="95" y="84"/>
                  </a:cubicBezTo>
                  <a:cubicBezTo>
                    <a:pt x="94" y="85"/>
                    <a:pt x="94" y="86"/>
                    <a:pt x="95" y="88"/>
                  </a:cubicBezTo>
                  <a:cubicBezTo>
                    <a:pt x="95" y="89"/>
                    <a:pt x="97" y="90"/>
                    <a:pt x="98" y="90"/>
                  </a:cubicBezTo>
                  <a:cubicBezTo>
                    <a:pt x="99" y="90"/>
                    <a:pt x="99" y="90"/>
                    <a:pt x="99" y="90"/>
                  </a:cubicBezTo>
                  <a:cubicBezTo>
                    <a:pt x="99" y="90"/>
                    <a:pt x="99" y="90"/>
                    <a:pt x="99" y="90"/>
                  </a:cubicBezTo>
                  <a:cubicBezTo>
                    <a:pt x="99" y="90"/>
                    <a:pt x="99" y="90"/>
                    <a:pt x="99" y="90"/>
                  </a:cubicBezTo>
                  <a:cubicBezTo>
                    <a:pt x="100" y="90"/>
                    <a:pt x="103" y="97"/>
                    <a:pt x="106" y="105"/>
                  </a:cubicBezTo>
                  <a:cubicBezTo>
                    <a:pt x="103" y="97"/>
                    <a:pt x="100" y="90"/>
                    <a:pt x="101" y="90"/>
                  </a:cubicBezTo>
                  <a:cubicBezTo>
                    <a:pt x="100" y="90"/>
                    <a:pt x="100" y="90"/>
                    <a:pt x="100" y="90"/>
                  </a:cubicBezTo>
                  <a:cubicBezTo>
                    <a:pt x="102" y="89"/>
                    <a:pt x="103" y="86"/>
                    <a:pt x="102" y="84"/>
                  </a:cubicBezTo>
                  <a:cubicBezTo>
                    <a:pt x="102" y="83"/>
                    <a:pt x="100" y="82"/>
                    <a:pt x="98" y="82"/>
                  </a:cubicBezTo>
                  <a:cubicBezTo>
                    <a:pt x="98" y="82"/>
                    <a:pt x="97" y="82"/>
                    <a:pt x="97" y="83"/>
                  </a:cubicBezTo>
                  <a:cubicBezTo>
                    <a:pt x="96" y="83"/>
                    <a:pt x="96" y="83"/>
                    <a:pt x="96" y="83"/>
                  </a:cubicBezTo>
                  <a:cubicBezTo>
                    <a:pt x="96" y="83"/>
                    <a:pt x="96" y="83"/>
                    <a:pt x="96" y="83"/>
                  </a:cubicBezTo>
                  <a:cubicBezTo>
                    <a:pt x="96" y="83"/>
                    <a:pt x="96" y="83"/>
                    <a:pt x="96" y="83"/>
                  </a:cubicBezTo>
                  <a:cubicBezTo>
                    <a:pt x="95" y="83"/>
                    <a:pt x="13" y="11"/>
                    <a:pt x="13" y="10"/>
                  </a:cubicBezTo>
                  <a:cubicBezTo>
                    <a:pt x="13" y="10"/>
                    <a:pt x="13" y="10"/>
                    <a:pt x="13" y="10"/>
                  </a:cubicBezTo>
                  <a:cubicBezTo>
                    <a:pt x="15" y="8"/>
                    <a:pt x="15" y="6"/>
                    <a:pt x="14" y="3"/>
                  </a:cubicBezTo>
                  <a:cubicBezTo>
                    <a:pt x="13" y="1"/>
                    <a:pt x="10" y="0"/>
                    <a:pt x="8"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 name="Freeform 10"/>
            <p:cNvSpPr>
              <a:spLocks noEditPoints="1"/>
            </p:cNvSpPr>
            <p:nvPr/>
          </p:nvSpPr>
          <p:spPr bwMode="auto">
            <a:xfrm>
              <a:off x="6415088" y="4025900"/>
              <a:ext cx="315913" cy="323850"/>
            </a:xfrm>
            <a:custGeom>
              <a:avLst/>
              <a:gdLst>
                <a:gd name="T0" fmla="*/ 14 w 84"/>
                <a:gd name="T1" fmla="*/ 43 h 86"/>
                <a:gd name="T2" fmla="*/ 45 w 84"/>
                <a:gd name="T3" fmla="*/ 13 h 86"/>
                <a:gd name="T4" fmla="*/ 45 w 84"/>
                <a:gd name="T5" fmla="*/ 13 h 86"/>
                <a:gd name="T6" fmla="*/ 45 w 84"/>
                <a:gd name="T7" fmla="*/ 13 h 86"/>
                <a:gd name="T8" fmla="*/ 49 w 84"/>
                <a:gd name="T9" fmla="*/ 14 h 86"/>
                <a:gd name="T10" fmla="*/ 52 w 84"/>
                <a:gd name="T11" fmla="*/ 14 h 86"/>
                <a:gd name="T12" fmla="*/ 52 w 84"/>
                <a:gd name="T13" fmla="*/ 14 h 86"/>
                <a:gd name="T14" fmla="*/ 52 w 84"/>
                <a:gd name="T15" fmla="*/ 14 h 86"/>
                <a:gd name="T16" fmla="*/ 76 w 84"/>
                <a:gd name="T17" fmla="*/ 49 h 86"/>
                <a:gd name="T18" fmla="*/ 76 w 84"/>
                <a:gd name="T19" fmla="*/ 49 h 86"/>
                <a:gd name="T20" fmla="*/ 74 w 84"/>
                <a:gd name="T21" fmla="*/ 53 h 86"/>
                <a:gd name="T22" fmla="*/ 74 w 84"/>
                <a:gd name="T23" fmla="*/ 55 h 86"/>
                <a:gd name="T24" fmla="*/ 74 w 84"/>
                <a:gd name="T25" fmla="*/ 55 h 86"/>
                <a:gd name="T26" fmla="*/ 42 w 84"/>
                <a:gd name="T27" fmla="*/ 80 h 86"/>
                <a:gd name="T28" fmla="*/ 42 w 84"/>
                <a:gd name="T29" fmla="*/ 80 h 86"/>
                <a:gd name="T30" fmla="*/ 42 w 84"/>
                <a:gd name="T31" fmla="*/ 80 h 86"/>
                <a:gd name="T32" fmla="*/ 39 w 84"/>
                <a:gd name="T33" fmla="*/ 79 h 86"/>
                <a:gd name="T34" fmla="*/ 37 w 84"/>
                <a:gd name="T35" fmla="*/ 79 h 86"/>
                <a:gd name="T36" fmla="*/ 37 w 84"/>
                <a:gd name="T37" fmla="*/ 79 h 86"/>
                <a:gd name="T38" fmla="*/ 37 w 84"/>
                <a:gd name="T39" fmla="*/ 79 h 86"/>
                <a:gd name="T40" fmla="*/ 37 w 84"/>
                <a:gd name="T41" fmla="*/ 79 h 86"/>
                <a:gd name="T42" fmla="*/ 14 w 84"/>
                <a:gd name="T43" fmla="*/ 52 h 86"/>
                <a:gd name="T44" fmla="*/ 14 w 84"/>
                <a:gd name="T45" fmla="*/ 52 h 86"/>
                <a:gd name="T46" fmla="*/ 15 w 84"/>
                <a:gd name="T47" fmla="*/ 48 h 86"/>
                <a:gd name="T48" fmla="*/ 14 w 84"/>
                <a:gd name="T49" fmla="*/ 43 h 86"/>
                <a:gd name="T50" fmla="*/ 14 w 84"/>
                <a:gd name="T51" fmla="*/ 43 h 86"/>
                <a:gd name="T52" fmla="*/ 49 w 84"/>
                <a:gd name="T53" fmla="*/ 0 h 86"/>
                <a:gd name="T54" fmla="*/ 46 w 84"/>
                <a:gd name="T55" fmla="*/ 0 h 86"/>
                <a:gd name="T56" fmla="*/ 42 w 84"/>
                <a:gd name="T57" fmla="*/ 10 h 86"/>
                <a:gd name="T58" fmla="*/ 43 w 84"/>
                <a:gd name="T59" fmla="*/ 11 h 86"/>
                <a:gd name="T60" fmla="*/ 43 w 84"/>
                <a:gd name="T61" fmla="*/ 11 h 86"/>
                <a:gd name="T62" fmla="*/ 12 w 84"/>
                <a:gd name="T63" fmla="*/ 42 h 86"/>
                <a:gd name="T64" fmla="*/ 12 w 84"/>
                <a:gd name="T65" fmla="*/ 42 h 86"/>
                <a:gd name="T66" fmla="*/ 12 w 84"/>
                <a:gd name="T67" fmla="*/ 42 h 86"/>
                <a:gd name="T68" fmla="*/ 8 w 84"/>
                <a:gd name="T69" fmla="*/ 40 h 86"/>
                <a:gd name="T70" fmla="*/ 0 w 84"/>
                <a:gd name="T71" fmla="*/ 48 h 86"/>
                <a:gd name="T72" fmla="*/ 8 w 84"/>
                <a:gd name="T73" fmla="*/ 55 h 86"/>
                <a:gd name="T74" fmla="*/ 12 w 84"/>
                <a:gd name="T75" fmla="*/ 54 h 86"/>
                <a:gd name="T76" fmla="*/ 12 w 84"/>
                <a:gd name="T77" fmla="*/ 54 h 86"/>
                <a:gd name="T78" fmla="*/ 12 w 84"/>
                <a:gd name="T79" fmla="*/ 54 h 86"/>
                <a:gd name="T80" fmla="*/ 36 w 84"/>
                <a:gd name="T81" fmla="*/ 80 h 86"/>
                <a:gd name="T82" fmla="*/ 36 w 84"/>
                <a:gd name="T83" fmla="*/ 80 h 86"/>
                <a:gd name="T84" fmla="*/ 35 w 84"/>
                <a:gd name="T85" fmla="*/ 84 h 86"/>
                <a:gd name="T86" fmla="*/ 39 w 84"/>
                <a:gd name="T87" fmla="*/ 86 h 86"/>
                <a:gd name="T88" fmla="*/ 41 w 84"/>
                <a:gd name="T89" fmla="*/ 86 h 86"/>
                <a:gd name="T90" fmla="*/ 43 w 84"/>
                <a:gd name="T91" fmla="*/ 81 h 86"/>
                <a:gd name="T92" fmla="*/ 42 w 84"/>
                <a:gd name="T93" fmla="*/ 81 h 86"/>
                <a:gd name="T94" fmla="*/ 42 w 84"/>
                <a:gd name="T95" fmla="*/ 81 h 86"/>
                <a:gd name="T96" fmla="*/ 75 w 84"/>
                <a:gd name="T97" fmla="*/ 56 h 86"/>
                <a:gd name="T98" fmla="*/ 75 w 84"/>
                <a:gd name="T99" fmla="*/ 56 h 86"/>
                <a:gd name="T100" fmla="*/ 75 w 84"/>
                <a:gd name="T101" fmla="*/ 56 h 86"/>
                <a:gd name="T102" fmla="*/ 79 w 84"/>
                <a:gd name="T103" fmla="*/ 58 h 86"/>
                <a:gd name="T104" fmla="*/ 84 w 84"/>
                <a:gd name="T105" fmla="*/ 53 h 86"/>
                <a:gd name="T106" fmla="*/ 79 w 84"/>
                <a:gd name="T107" fmla="*/ 48 h 86"/>
                <a:gd name="T108" fmla="*/ 77 w 84"/>
                <a:gd name="T109" fmla="*/ 48 h 86"/>
                <a:gd name="T110" fmla="*/ 77 w 84"/>
                <a:gd name="T111" fmla="*/ 48 h 86"/>
                <a:gd name="T112" fmla="*/ 54 w 84"/>
                <a:gd name="T113" fmla="*/ 13 h 86"/>
                <a:gd name="T114" fmla="*/ 54 w 84"/>
                <a:gd name="T115" fmla="*/ 13 h 86"/>
                <a:gd name="T116" fmla="*/ 56 w 84"/>
                <a:gd name="T117" fmla="*/ 4 h 86"/>
                <a:gd name="T118" fmla="*/ 49 w 84"/>
                <a:gd name="T11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6">
                  <a:moveTo>
                    <a:pt x="14" y="43"/>
                  </a:moveTo>
                  <a:cubicBezTo>
                    <a:pt x="13" y="42"/>
                    <a:pt x="43" y="13"/>
                    <a:pt x="45" y="13"/>
                  </a:cubicBezTo>
                  <a:cubicBezTo>
                    <a:pt x="45" y="13"/>
                    <a:pt x="45" y="13"/>
                    <a:pt x="45" y="13"/>
                  </a:cubicBezTo>
                  <a:cubicBezTo>
                    <a:pt x="45" y="13"/>
                    <a:pt x="45" y="13"/>
                    <a:pt x="45" y="13"/>
                  </a:cubicBezTo>
                  <a:cubicBezTo>
                    <a:pt x="46" y="14"/>
                    <a:pt x="48" y="14"/>
                    <a:pt x="49" y="14"/>
                  </a:cubicBezTo>
                  <a:cubicBezTo>
                    <a:pt x="50" y="14"/>
                    <a:pt x="51" y="14"/>
                    <a:pt x="52" y="14"/>
                  </a:cubicBezTo>
                  <a:cubicBezTo>
                    <a:pt x="52" y="14"/>
                    <a:pt x="52" y="14"/>
                    <a:pt x="52" y="14"/>
                  </a:cubicBezTo>
                  <a:cubicBezTo>
                    <a:pt x="52" y="14"/>
                    <a:pt x="52" y="14"/>
                    <a:pt x="52" y="14"/>
                  </a:cubicBezTo>
                  <a:cubicBezTo>
                    <a:pt x="54" y="14"/>
                    <a:pt x="76" y="48"/>
                    <a:pt x="76" y="49"/>
                  </a:cubicBezTo>
                  <a:cubicBezTo>
                    <a:pt x="76" y="49"/>
                    <a:pt x="76" y="49"/>
                    <a:pt x="76" y="49"/>
                  </a:cubicBezTo>
                  <a:cubicBezTo>
                    <a:pt x="75" y="50"/>
                    <a:pt x="74" y="51"/>
                    <a:pt x="74" y="53"/>
                  </a:cubicBezTo>
                  <a:cubicBezTo>
                    <a:pt x="74" y="54"/>
                    <a:pt x="74" y="54"/>
                    <a:pt x="74" y="55"/>
                  </a:cubicBezTo>
                  <a:cubicBezTo>
                    <a:pt x="74" y="55"/>
                    <a:pt x="74" y="55"/>
                    <a:pt x="74" y="55"/>
                  </a:cubicBezTo>
                  <a:cubicBezTo>
                    <a:pt x="75" y="56"/>
                    <a:pt x="43" y="80"/>
                    <a:pt x="42" y="80"/>
                  </a:cubicBezTo>
                  <a:cubicBezTo>
                    <a:pt x="42" y="80"/>
                    <a:pt x="42" y="80"/>
                    <a:pt x="42" y="80"/>
                  </a:cubicBezTo>
                  <a:cubicBezTo>
                    <a:pt x="42" y="80"/>
                    <a:pt x="42" y="80"/>
                    <a:pt x="42" y="80"/>
                  </a:cubicBezTo>
                  <a:cubicBezTo>
                    <a:pt x="41" y="79"/>
                    <a:pt x="40" y="79"/>
                    <a:pt x="39" y="79"/>
                  </a:cubicBezTo>
                  <a:cubicBezTo>
                    <a:pt x="38" y="79"/>
                    <a:pt x="38" y="79"/>
                    <a:pt x="37" y="79"/>
                  </a:cubicBezTo>
                  <a:cubicBezTo>
                    <a:pt x="37" y="79"/>
                    <a:pt x="37" y="79"/>
                    <a:pt x="37" y="79"/>
                  </a:cubicBezTo>
                  <a:cubicBezTo>
                    <a:pt x="37" y="79"/>
                    <a:pt x="37" y="79"/>
                    <a:pt x="37" y="79"/>
                  </a:cubicBezTo>
                  <a:cubicBezTo>
                    <a:pt x="37" y="79"/>
                    <a:pt x="37" y="79"/>
                    <a:pt x="37" y="79"/>
                  </a:cubicBezTo>
                  <a:cubicBezTo>
                    <a:pt x="36" y="79"/>
                    <a:pt x="13" y="54"/>
                    <a:pt x="14" y="52"/>
                  </a:cubicBezTo>
                  <a:cubicBezTo>
                    <a:pt x="14" y="52"/>
                    <a:pt x="14" y="52"/>
                    <a:pt x="14" y="52"/>
                  </a:cubicBezTo>
                  <a:cubicBezTo>
                    <a:pt x="15" y="51"/>
                    <a:pt x="15" y="49"/>
                    <a:pt x="15" y="48"/>
                  </a:cubicBezTo>
                  <a:cubicBezTo>
                    <a:pt x="15" y="46"/>
                    <a:pt x="15" y="44"/>
                    <a:pt x="14" y="43"/>
                  </a:cubicBezTo>
                  <a:cubicBezTo>
                    <a:pt x="14" y="43"/>
                    <a:pt x="14" y="43"/>
                    <a:pt x="14" y="43"/>
                  </a:cubicBezTo>
                  <a:moveTo>
                    <a:pt x="49" y="0"/>
                  </a:moveTo>
                  <a:cubicBezTo>
                    <a:pt x="48" y="0"/>
                    <a:pt x="47" y="0"/>
                    <a:pt x="46" y="0"/>
                  </a:cubicBezTo>
                  <a:cubicBezTo>
                    <a:pt x="42" y="2"/>
                    <a:pt x="41" y="7"/>
                    <a:pt x="42" y="10"/>
                  </a:cubicBezTo>
                  <a:cubicBezTo>
                    <a:pt x="43" y="11"/>
                    <a:pt x="43" y="11"/>
                    <a:pt x="43" y="11"/>
                  </a:cubicBezTo>
                  <a:cubicBezTo>
                    <a:pt x="43" y="11"/>
                    <a:pt x="43" y="11"/>
                    <a:pt x="43" y="11"/>
                  </a:cubicBezTo>
                  <a:cubicBezTo>
                    <a:pt x="44" y="13"/>
                    <a:pt x="14" y="42"/>
                    <a:pt x="12" y="42"/>
                  </a:cubicBezTo>
                  <a:cubicBezTo>
                    <a:pt x="12" y="42"/>
                    <a:pt x="12" y="42"/>
                    <a:pt x="12" y="42"/>
                  </a:cubicBezTo>
                  <a:cubicBezTo>
                    <a:pt x="12" y="42"/>
                    <a:pt x="12" y="42"/>
                    <a:pt x="12" y="42"/>
                  </a:cubicBezTo>
                  <a:cubicBezTo>
                    <a:pt x="11" y="41"/>
                    <a:pt x="9" y="40"/>
                    <a:pt x="8" y="40"/>
                  </a:cubicBezTo>
                  <a:cubicBezTo>
                    <a:pt x="4" y="40"/>
                    <a:pt x="0" y="44"/>
                    <a:pt x="0" y="48"/>
                  </a:cubicBezTo>
                  <a:cubicBezTo>
                    <a:pt x="0" y="52"/>
                    <a:pt x="4" y="55"/>
                    <a:pt x="8" y="55"/>
                  </a:cubicBezTo>
                  <a:cubicBezTo>
                    <a:pt x="9" y="55"/>
                    <a:pt x="11" y="55"/>
                    <a:pt x="12" y="54"/>
                  </a:cubicBezTo>
                  <a:cubicBezTo>
                    <a:pt x="12" y="54"/>
                    <a:pt x="12" y="54"/>
                    <a:pt x="12" y="54"/>
                  </a:cubicBezTo>
                  <a:cubicBezTo>
                    <a:pt x="12" y="54"/>
                    <a:pt x="12" y="54"/>
                    <a:pt x="12" y="54"/>
                  </a:cubicBezTo>
                  <a:cubicBezTo>
                    <a:pt x="14" y="54"/>
                    <a:pt x="36" y="79"/>
                    <a:pt x="36" y="80"/>
                  </a:cubicBezTo>
                  <a:cubicBezTo>
                    <a:pt x="36" y="80"/>
                    <a:pt x="36" y="80"/>
                    <a:pt x="36" y="80"/>
                  </a:cubicBezTo>
                  <a:cubicBezTo>
                    <a:pt x="35" y="81"/>
                    <a:pt x="35" y="83"/>
                    <a:pt x="35" y="84"/>
                  </a:cubicBezTo>
                  <a:cubicBezTo>
                    <a:pt x="36" y="85"/>
                    <a:pt x="37" y="86"/>
                    <a:pt x="39" y="86"/>
                  </a:cubicBezTo>
                  <a:cubicBezTo>
                    <a:pt x="40" y="86"/>
                    <a:pt x="40" y="86"/>
                    <a:pt x="41" y="86"/>
                  </a:cubicBezTo>
                  <a:cubicBezTo>
                    <a:pt x="43" y="85"/>
                    <a:pt x="44" y="83"/>
                    <a:pt x="43" y="81"/>
                  </a:cubicBezTo>
                  <a:cubicBezTo>
                    <a:pt x="42" y="81"/>
                    <a:pt x="42" y="81"/>
                    <a:pt x="42" y="81"/>
                  </a:cubicBezTo>
                  <a:cubicBezTo>
                    <a:pt x="42" y="81"/>
                    <a:pt x="42" y="81"/>
                    <a:pt x="42" y="81"/>
                  </a:cubicBezTo>
                  <a:cubicBezTo>
                    <a:pt x="42" y="80"/>
                    <a:pt x="74" y="56"/>
                    <a:pt x="75" y="56"/>
                  </a:cubicBezTo>
                  <a:cubicBezTo>
                    <a:pt x="75" y="56"/>
                    <a:pt x="75" y="56"/>
                    <a:pt x="75" y="56"/>
                  </a:cubicBezTo>
                  <a:cubicBezTo>
                    <a:pt x="75" y="56"/>
                    <a:pt x="75" y="56"/>
                    <a:pt x="75" y="56"/>
                  </a:cubicBezTo>
                  <a:cubicBezTo>
                    <a:pt x="76" y="57"/>
                    <a:pt x="78" y="58"/>
                    <a:pt x="79" y="58"/>
                  </a:cubicBezTo>
                  <a:cubicBezTo>
                    <a:pt x="82" y="58"/>
                    <a:pt x="84" y="55"/>
                    <a:pt x="84" y="53"/>
                  </a:cubicBezTo>
                  <a:cubicBezTo>
                    <a:pt x="84" y="50"/>
                    <a:pt x="82" y="48"/>
                    <a:pt x="79" y="48"/>
                  </a:cubicBezTo>
                  <a:cubicBezTo>
                    <a:pt x="78" y="48"/>
                    <a:pt x="78" y="48"/>
                    <a:pt x="77" y="48"/>
                  </a:cubicBezTo>
                  <a:cubicBezTo>
                    <a:pt x="77" y="48"/>
                    <a:pt x="77" y="48"/>
                    <a:pt x="77" y="48"/>
                  </a:cubicBezTo>
                  <a:cubicBezTo>
                    <a:pt x="76" y="48"/>
                    <a:pt x="53" y="14"/>
                    <a:pt x="54" y="13"/>
                  </a:cubicBezTo>
                  <a:cubicBezTo>
                    <a:pt x="54" y="13"/>
                    <a:pt x="54" y="13"/>
                    <a:pt x="54" y="13"/>
                  </a:cubicBezTo>
                  <a:cubicBezTo>
                    <a:pt x="57" y="11"/>
                    <a:pt x="58" y="7"/>
                    <a:pt x="56" y="4"/>
                  </a:cubicBezTo>
                  <a:cubicBezTo>
                    <a:pt x="55" y="1"/>
                    <a:pt x="52" y="0"/>
                    <a:pt x="49"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8" name="Freeform 11"/>
            <p:cNvSpPr>
              <a:spLocks/>
            </p:cNvSpPr>
            <p:nvPr/>
          </p:nvSpPr>
          <p:spPr bwMode="auto">
            <a:xfrm>
              <a:off x="4856163" y="2439988"/>
              <a:ext cx="87313" cy="74613"/>
            </a:xfrm>
            <a:custGeom>
              <a:avLst/>
              <a:gdLst>
                <a:gd name="T0" fmla="*/ 12 w 23"/>
                <a:gd name="T1" fmla="*/ 0 h 20"/>
                <a:gd name="T2" fmla="*/ 7 w 23"/>
                <a:gd name="T3" fmla="*/ 1 h 20"/>
                <a:gd name="T4" fmla="*/ 3 w 23"/>
                <a:gd name="T5" fmla="*/ 14 h 20"/>
                <a:gd name="T6" fmla="*/ 12 w 23"/>
                <a:gd name="T7" fmla="*/ 20 h 20"/>
                <a:gd name="T8" fmla="*/ 16 w 23"/>
                <a:gd name="T9" fmla="*/ 19 h 20"/>
                <a:gd name="T10" fmla="*/ 21 w 23"/>
                <a:gd name="T11" fmla="*/ 6 h 20"/>
                <a:gd name="T12" fmla="*/ 12 w 2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3" h="20">
                  <a:moveTo>
                    <a:pt x="12" y="0"/>
                  </a:moveTo>
                  <a:cubicBezTo>
                    <a:pt x="10" y="0"/>
                    <a:pt x="9" y="1"/>
                    <a:pt x="7" y="1"/>
                  </a:cubicBezTo>
                  <a:cubicBezTo>
                    <a:pt x="2" y="4"/>
                    <a:pt x="0" y="9"/>
                    <a:pt x="3" y="14"/>
                  </a:cubicBezTo>
                  <a:cubicBezTo>
                    <a:pt x="4" y="18"/>
                    <a:pt x="8" y="20"/>
                    <a:pt x="12" y="20"/>
                  </a:cubicBezTo>
                  <a:cubicBezTo>
                    <a:pt x="13" y="20"/>
                    <a:pt x="15" y="19"/>
                    <a:pt x="16" y="19"/>
                  </a:cubicBezTo>
                  <a:cubicBezTo>
                    <a:pt x="21" y="16"/>
                    <a:pt x="23" y="11"/>
                    <a:pt x="21" y="6"/>
                  </a:cubicBezTo>
                  <a:cubicBezTo>
                    <a:pt x="19" y="2"/>
                    <a:pt x="15" y="0"/>
                    <a:pt x="12"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9" name="Freeform 12"/>
            <p:cNvSpPr>
              <a:spLocks noEditPoints="1"/>
            </p:cNvSpPr>
            <p:nvPr/>
          </p:nvSpPr>
          <p:spPr bwMode="auto">
            <a:xfrm>
              <a:off x="3411538" y="2424113"/>
              <a:ext cx="1062038" cy="1203325"/>
            </a:xfrm>
            <a:custGeom>
              <a:avLst/>
              <a:gdLst>
                <a:gd name="T0" fmla="*/ 138 w 283"/>
                <a:gd name="T1" fmla="*/ 81 h 319"/>
                <a:gd name="T2" fmla="*/ 141 w 283"/>
                <a:gd name="T3" fmla="*/ 80 h 319"/>
                <a:gd name="T4" fmla="*/ 180 w 283"/>
                <a:gd name="T5" fmla="*/ 107 h 319"/>
                <a:gd name="T6" fmla="*/ 178 w 283"/>
                <a:gd name="T7" fmla="*/ 108 h 319"/>
                <a:gd name="T8" fmla="*/ 103 w 283"/>
                <a:gd name="T9" fmla="*/ 101 h 319"/>
                <a:gd name="T10" fmla="*/ 135 w 283"/>
                <a:gd name="T11" fmla="*/ 80 h 319"/>
                <a:gd name="T12" fmla="*/ 199 w 283"/>
                <a:gd name="T13" fmla="*/ 2 h 319"/>
                <a:gd name="T14" fmla="*/ 202 w 283"/>
                <a:gd name="T15" fmla="*/ 34 h 319"/>
                <a:gd name="T16" fmla="*/ 187 w 283"/>
                <a:gd name="T17" fmla="*/ 108 h 319"/>
                <a:gd name="T18" fmla="*/ 184 w 283"/>
                <a:gd name="T19" fmla="*/ 105 h 319"/>
                <a:gd name="T20" fmla="*/ 181 w 283"/>
                <a:gd name="T21" fmla="*/ 106 h 319"/>
                <a:gd name="T22" fmla="*/ 142 w 283"/>
                <a:gd name="T23" fmla="*/ 79 h 319"/>
                <a:gd name="T24" fmla="*/ 136 w 283"/>
                <a:gd name="T25" fmla="*/ 72 h 319"/>
                <a:gd name="T26" fmla="*/ 102 w 283"/>
                <a:gd name="T27" fmla="*/ 99 h 319"/>
                <a:gd name="T28" fmla="*/ 97 w 283"/>
                <a:gd name="T29" fmla="*/ 97 h 319"/>
                <a:gd name="T30" fmla="*/ 97 w 283"/>
                <a:gd name="T31" fmla="*/ 110 h 319"/>
                <a:gd name="T32" fmla="*/ 98 w 283"/>
                <a:gd name="T33" fmla="*/ 110 h 319"/>
                <a:gd name="T34" fmla="*/ 132 w 283"/>
                <a:gd name="T35" fmla="*/ 211 h 319"/>
                <a:gd name="T36" fmla="*/ 144 w 283"/>
                <a:gd name="T37" fmla="*/ 206 h 319"/>
                <a:gd name="T38" fmla="*/ 137 w 283"/>
                <a:gd name="T39" fmla="*/ 202 h 319"/>
                <a:gd name="T40" fmla="*/ 100 w 283"/>
                <a:gd name="T41" fmla="*/ 109 h 319"/>
                <a:gd name="T42" fmla="*/ 102 w 283"/>
                <a:gd name="T43" fmla="*/ 108 h 319"/>
                <a:gd name="T44" fmla="*/ 134 w 283"/>
                <a:gd name="T45" fmla="*/ 134 h 319"/>
                <a:gd name="T46" fmla="*/ 142 w 283"/>
                <a:gd name="T47" fmla="*/ 130 h 319"/>
                <a:gd name="T48" fmla="*/ 135 w 283"/>
                <a:gd name="T49" fmla="*/ 129 h 319"/>
                <a:gd name="T50" fmla="*/ 103 w 283"/>
                <a:gd name="T51" fmla="*/ 106 h 319"/>
                <a:gd name="T52" fmla="*/ 104 w 283"/>
                <a:gd name="T53" fmla="*/ 105 h 319"/>
                <a:gd name="T54" fmla="*/ 179 w 283"/>
                <a:gd name="T55" fmla="*/ 109 h 319"/>
                <a:gd name="T56" fmla="*/ 185 w 283"/>
                <a:gd name="T57" fmla="*/ 113 h 319"/>
                <a:gd name="T58" fmla="*/ 195 w 283"/>
                <a:gd name="T59" fmla="*/ 107 h 319"/>
                <a:gd name="T60" fmla="*/ 164 w 283"/>
                <a:gd name="T61" fmla="*/ 256 h 319"/>
                <a:gd name="T62" fmla="*/ 70 w 283"/>
                <a:gd name="T63" fmla="*/ 189 h 319"/>
                <a:gd name="T64" fmla="*/ 51 w 283"/>
                <a:gd name="T65" fmla="*/ 160 h 319"/>
                <a:gd name="T66" fmla="*/ 41 w 283"/>
                <a:gd name="T67" fmla="*/ 197 h 319"/>
                <a:gd name="T68" fmla="*/ 13 w 283"/>
                <a:gd name="T69" fmla="*/ 269 h 319"/>
                <a:gd name="T70" fmla="*/ 7 w 283"/>
                <a:gd name="T71" fmla="*/ 269 h 319"/>
                <a:gd name="T72" fmla="*/ 15 w 283"/>
                <a:gd name="T73" fmla="*/ 285 h 319"/>
                <a:gd name="T74" fmla="*/ 18 w 283"/>
                <a:gd name="T75" fmla="*/ 282 h 319"/>
                <a:gd name="T76" fmla="*/ 66 w 283"/>
                <a:gd name="T77" fmla="*/ 317 h 319"/>
                <a:gd name="T78" fmla="*/ 79 w 283"/>
                <a:gd name="T79" fmla="*/ 302 h 319"/>
                <a:gd name="T80" fmla="*/ 64 w 283"/>
                <a:gd name="T81" fmla="*/ 304 h 319"/>
                <a:gd name="T82" fmla="*/ 19 w 283"/>
                <a:gd name="T83" fmla="*/ 280 h 319"/>
                <a:gd name="T84" fmla="*/ 15 w 283"/>
                <a:gd name="T85" fmla="*/ 270 h 319"/>
                <a:gd name="T86" fmla="*/ 46 w 283"/>
                <a:gd name="T87" fmla="*/ 200 h 319"/>
                <a:gd name="T88" fmla="*/ 66 w 283"/>
                <a:gd name="T89" fmla="*/ 194 h 319"/>
                <a:gd name="T90" fmla="*/ 161 w 283"/>
                <a:gd name="T91" fmla="*/ 259 h 319"/>
                <a:gd name="T92" fmla="*/ 174 w 283"/>
                <a:gd name="T93" fmla="*/ 280 h 319"/>
                <a:gd name="T94" fmla="*/ 178 w 283"/>
                <a:gd name="T95" fmla="*/ 252 h 319"/>
                <a:gd name="T96" fmla="*/ 263 w 283"/>
                <a:gd name="T97" fmla="*/ 97 h 319"/>
                <a:gd name="T98" fmla="*/ 283 w 283"/>
                <a:gd name="T99" fmla="*/ 94 h 319"/>
                <a:gd name="T100" fmla="*/ 262 w 283"/>
                <a:gd name="T101" fmla="*/ 94 h 319"/>
                <a:gd name="T102" fmla="*/ 207 w 283"/>
                <a:gd name="T103" fmla="*/ 35 h 319"/>
                <a:gd name="T104" fmla="*/ 223 w 283"/>
                <a:gd name="T105" fmla="*/ 1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3" h="319">
                  <a:moveTo>
                    <a:pt x="135" y="80"/>
                  </a:moveTo>
                  <a:cubicBezTo>
                    <a:pt x="135" y="80"/>
                    <a:pt x="135" y="80"/>
                    <a:pt x="135" y="80"/>
                  </a:cubicBezTo>
                  <a:cubicBezTo>
                    <a:pt x="135" y="81"/>
                    <a:pt x="137" y="81"/>
                    <a:pt x="138" y="81"/>
                  </a:cubicBezTo>
                  <a:cubicBezTo>
                    <a:pt x="139" y="81"/>
                    <a:pt x="139" y="81"/>
                    <a:pt x="140" y="81"/>
                  </a:cubicBezTo>
                  <a:cubicBezTo>
                    <a:pt x="141" y="81"/>
                    <a:pt x="141" y="80"/>
                    <a:pt x="142" y="80"/>
                  </a:cubicBezTo>
                  <a:cubicBezTo>
                    <a:pt x="141" y="80"/>
                    <a:pt x="141" y="80"/>
                    <a:pt x="141" y="80"/>
                  </a:cubicBezTo>
                  <a:cubicBezTo>
                    <a:pt x="141" y="80"/>
                    <a:pt x="141" y="80"/>
                    <a:pt x="141" y="80"/>
                  </a:cubicBezTo>
                  <a:cubicBezTo>
                    <a:pt x="143" y="80"/>
                    <a:pt x="180" y="107"/>
                    <a:pt x="180" y="107"/>
                  </a:cubicBezTo>
                  <a:cubicBezTo>
                    <a:pt x="180" y="107"/>
                    <a:pt x="180" y="107"/>
                    <a:pt x="180" y="107"/>
                  </a:cubicBezTo>
                  <a:cubicBezTo>
                    <a:pt x="180" y="108"/>
                    <a:pt x="180" y="108"/>
                    <a:pt x="180" y="108"/>
                  </a:cubicBezTo>
                  <a:cubicBezTo>
                    <a:pt x="180" y="108"/>
                    <a:pt x="180" y="108"/>
                    <a:pt x="180" y="108"/>
                  </a:cubicBezTo>
                  <a:cubicBezTo>
                    <a:pt x="180" y="108"/>
                    <a:pt x="179" y="108"/>
                    <a:pt x="178" y="108"/>
                  </a:cubicBezTo>
                  <a:cubicBezTo>
                    <a:pt x="169" y="108"/>
                    <a:pt x="104" y="104"/>
                    <a:pt x="104" y="103"/>
                  </a:cubicBezTo>
                  <a:cubicBezTo>
                    <a:pt x="104" y="103"/>
                    <a:pt x="104" y="103"/>
                    <a:pt x="104" y="103"/>
                  </a:cubicBezTo>
                  <a:cubicBezTo>
                    <a:pt x="104" y="102"/>
                    <a:pt x="104" y="101"/>
                    <a:pt x="103" y="101"/>
                  </a:cubicBezTo>
                  <a:cubicBezTo>
                    <a:pt x="103" y="101"/>
                    <a:pt x="103" y="101"/>
                    <a:pt x="103" y="101"/>
                  </a:cubicBezTo>
                  <a:cubicBezTo>
                    <a:pt x="103" y="101"/>
                    <a:pt x="103" y="101"/>
                    <a:pt x="103" y="101"/>
                  </a:cubicBezTo>
                  <a:cubicBezTo>
                    <a:pt x="103" y="99"/>
                    <a:pt x="133" y="80"/>
                    <a:pt x="135" y="80"/>
                  </a:cubicBezTo>
                  <a:cubicBezTo>
                    <a:pt x="135" y="80"/>
                    <a:pt x="135" y="80"/>
                    <a:pt x="135" y="80"/>
                  </a:cubicBezTo>
                  <a:moveTo>
                    <a:pt x="207" y="0"/>
                  </a:moveTo>
                  <a:cubicBezTo>
                    <a:pt x="204" y="0"/>
                    <a:pt x="202" y="1"/>
                    <a:pt x="199" y="2"/>
                  </a:cubicBezTo>
                  <a:cubicBezTo>
                    <a:pt x="190" y="6"/>
                    <a:pt x="186" y="16"/>
                    <a:pt x="191" y="25"/>
                  </a:cubicBezTo>
                  <a:cubicBezTo>
                    <a:pt x="193" y="30"/>
                    <a:pt x="197" y="33"/>
                    <a:pt x="202" y="34"/>
                  </a:cubicBezTo>
                  <a:cubicBezTo>
                    <a:pt x="202" y="34"/>
                    <a:pt x="202" y="34"/>
                    <a:pt x="202" y="34"/>
                  </a:cubicBezTo>
                  <a:cubicBezTo>
                    <a:pt x="203" y="34"/>
                    <a:pt x="200" y="67"/>
                    <a:pt x="195" y="107"/>
                  </a:cubicBezTo>
                  <a:cubicBezTo>
                    <a:pt x="191" y="107"/>
                    <a:pt x="188" y="108"/>
                    <a:pt x="188" y="108"/>
                  </a:cubicBezTo>
                  <a:cubicBezTo>
                    <a:pt x="187" y="108"/>
                    <a:pt x="187" y="108"/>
                    <a:pt x="187" y="108"/>
                  </a:cubicBezTo>
                  <a:cubicBezTo>
                    <a:pt x="187" y="108"/>
                    <a:pt x="187" y="108"/>
                    <a:pt x="187" y="108"/>
                  </a:cubicBezTo>
                  <a:cubicBezTo>
                    <a:pt x="187" y="107"/>
                    <a:pt x="187" y="107"/>
                    <a:pt x="187" y="107"/>
                  </a:cubicBezTo>
                  <a:cubicBezTo>
                    <a:pt x="187" y="106"/>
                    <a:pt x="185" y="105"/>
                    <a:pt x="184" y="105"/>
                  </a:cubicBezTo>
                  <a:cubicBezTo>
                    <a:pt x="183" y="105"/>
                    <a:pt x="182" y="105"/>
                    <a:pt x="182" y="106"/>
                  </a:cubicBezTo>
                  <a:cubicBezTo>
                    <a:pt x="181" y="106"/>
                    <a:pt x="181" y="106"/>
                    <a:pt x="181" y="106"/>
                  </a:cubicBezTo>
                  <a:cubicBezTo>
                    <a:pt x="181" y="106"/>
                    <a:pt x="181" y="106"/>
                    <a:pt x="181" y="106"/>
                  </a:cubicBezTo>
                  <a:cubicBezTo>
                    <a:pt x="181" y="106"/>
                    <a:pt x="181" y="106"/>
                    <a:pt x="181" y="106"/>
                  </a:cubicBezTo>
                  <a:cubicBezTo>
                    <a:pt x="179" y="106"/>
                    <a:pt x="142" y="80"/>
                    <a:pt x="142" y="79"/>
                  </a:cubicBezTo>
                  <a:cubicBezTo>
                    <a:pt x="142" y="79"/>
                    <a:pt x="142" y="79"/>
                    <a:pt x="142" y="79"/>
                  </a:cubicBezTo>
                  <a:cubicBezTo>
                    <a:pt x="143" y="78"/>
                    <a:pt x="143" y="76"/>
                    <a:pt x="142" y="75"/>
                  </a:cubicBezTo>
                  <a:cubicBezTo>
                    <a:pt x="142" y="73"/>
                    <a:pt x="140" y="72"/>
                    <a:pt x="138" y="72"/>
                  </a:cubicBezTo>
                  <a:cubicBezTo>
                    <a:pt x="137" y="72"/>
                    <a:pt x="137" y="72"/>
                    <a:pt x="136" y="72"/>
                  </a:cubicBezTo>
                  <a:cubicBezTo>
                    <a:pt x="134" y="74"/>
                    <a:pt x="133" y="76"/>
                    <a:pt x="134" y="79"/>
                  </a:cubicBezTo>
                  <a:cubicBezTo>
                    <a:pt x="134" y="79"/>
                    <a:pt x="134" y="79"/>
                    <a:pt x="134" y="79"/>
                  </a:cubicBezTo>
                  <a:cubicBezTo>
                    <a:pt x="134" y="79"/>
                    <a:pt x="104" y="99"/>
                    <a:pt x="102" y="99"/>
                  </a:cubicBezTo>
                  <a:cubicBezTo>
                    <a:pt x="102" y="99"/>
                    <a:pt x="102" y="99"/>
                    <a:pt x="102" y="99"/>
                  </a:cubicBezTo>
                  <a:cubicBezTo>
                    <a:pt x="102" y="99"/>
                    <a:pt x="102" y="99"/>
                    <a:pt x="102" y="99"/>
                  </a:cubicBezTo>
                  <a:cubicBezTo>
                    <a:pt x="101" y="98"/>
                    <a:pt x="99" y="97"/>
                    <a:pt x="97" y="97"/>
                  </a:cubicBezTo>
                  <a:cubicBezTo>
                    <a:pt x="96" y="97"/>
                    <a:pt x="95" y="97"/>
                    <a:pt x="94" y="97"/>
                  </a:cubicBezTo>
                  <a:cubicBezTo>
                    <a:pt x="91" y="99"/>
                    <a:pt x="89" y="103"/>
                    <a:pt x="91" y="106"/>
                  </a:cubicBezTo>
                  <a:cubicBezTo>
                    <a:pt x="92" y="109"/>
                    <a:pt x="94" y="110"/>
                    <a:pt x="97" y="110"/>
                  </a:cubicBezTo>
                  <a:cubicBezTo>
                    <a:pt x="97" y="110"/>
                    <a:pt x="98" y="110"/>
                    <a:pt x="98" y="110"/>
                  </a:cubicBezTo>
                  <a:cubicBezTo>
                    <a:pt x="98" y="110"/>
                    <a:pt x="98" y="110"/>
                    <a:pt x="98" y="110"/>
                  </a:cubicBezTo>
                  <a:cubicBezTo>
                    <a:pt x="98" y="110"/>
                    <a:pt x="98" y="110"/>
                    <a:pt x="98" y="110"/>
                  </a:cubicBezTo>
                  <a:cubicBezTo>
                    <a:pt x="100" y="110"/>
                    <a:pt x="136" y="202"/>
                    <a:pt x="135" y="203"/>
                  </a:cubicBezTo>
                  <a:cubicBezTo>
                    <a:pt x="135" y="203"/>
                    <a:pt x="135" y="203"/>
                    <a:pt x="135" y="203"/>
                  </a:cubicBezTo>
                  <a:cubicBezTo>
                    <a:pt x="132" y="204"/>
                    <a:pt x="130" y="208"/>
                    <a:pt x="132" y="211"/>
                  </a:cubicBezTo>
                  <a:cubicBezTo>
                    <a:pt x="133" y="214"/>
                    <a:pt x="136" y="215"/>
                    <a:pt x="138" y="215"/>
                  </a:cubicBezTo>
                  <a:cubicBezTo>
                    <a:pt x="139" y="215"/>
                    <a:pt x="140" y="215"/>
                    <a:pt x="141" y="214"/>
                  </a:cubicBezTo>
                  <a:cubicBezTo>
                    <a:pt x="144" y="213"/>
                    <a:pt x="146" y="209"/>
                    <a:pt x="144" y="206"/>
                  </a:cubicBezTo>
                  <a:cubicBezTo>
                    <a:pt x="143" y="203"/>
                    <a:pt x="141" y="202"/>
                    <a:pt x="138" y="202"/>
                  </a:cubicBezTo>
                  <a:cubicBezTo>
                    <a:pt x="138" y="202"/>
                    <a:pt x="137" y="202"/>
                    <a:pt x="137" y="202"/>
                  </a:cubicBezTo>
                  <a:cubicBezTo>
                    <a:pt x="137" y="202"/>
                    <a:pt x="137" y="202"/>
                    <a:pt x="137" y="202"/>
                  </a:cubicBezTo>
                  <a:cubicBezTo>
                    <a:pt x="137" y="202"/>
                    <a:pt x="137" y="202"/>
                    <a:pt x="137" y="202"/>
                  </a:cubicBezTo>
                  <a:cubicBezTo>
                    <a:pt x="135" y="202"/>
                    <a:pt x="99" y="110"/>
                    <a:pt x="100" y="109"/>
                  </a:cubicBezTo>
                  <a:cubicBezTo>
                    <a:pt x="100" y="109"/>
                    <a:pt x="100" y="109"/>
                    <a:pt x="100" y="109"/>
                  </a:cubicBezTo>
                  <a:cubicBezTo>
                    <a:pt x="101" y="109"/>
                    <a:pt x="101" y="108"/>
                    <a:pt x="102" y="108"/>
                  </a:cubicBezTo>
                  <a:cubicBezTo>
                    <a:pt x="102" y="108"/>
                    <a:pt x="102" y="108"/>
                    <a:pt x="102" y="108"/>
                  </a:cubicBezTo>
                  <a:cubicBezTo>
                    <a:pt x="102" y="108"/>
                    <a:pt x="102" y="108"/>
                    <a:pt x="102" y="108"/>
                  </a:cubicBezTo>
                  <a:cubicBezTo>
                    <a:pt x="104" y="108"/>
                    <a:pt x="134" y="129"/>
                    <a:pt x="134" y="130"/>
                  </a:cubicBezTo>
                  <a:cubicBezTo>
                    <a:pt x="134" y="130"/>
                    <a:pt x="134" y="130"/>
                    <a:pt x="134" y="130"/>
                  </a:cubicBezTo>
                  <a:cubicBezTo>
                    <a:pt x="133" y="131"/>
                    <a:pt x="133" y="133"/>
                    <a:pt x="134" y="134"/>
                  </a:cubicBezTo>
                  <a:cubicBezTo>
                    <a:pt x="135" y="136"/>
                    <a:pt x="136" y="137"/>
                    <a:pt x="138" y="137"/>
                  </a:cubicBezTo>
                  <a:cubicBezTo>
                    <a:pt x="139" y="137"/>
                    <a:pt x="139" y="136"/>
                    <a:pt x="140" y="136"/>
                  </a:cubicBezTo>
                  <a:cubicBezTo>
                    <a:pt x="143" y="135"/>
                    <a:pt x="144" y="132"/>
                    <a:pt x="142" y="130"/>
                  </a:cubicBezTo>
                  <a:cubicBezTo>
                    <a:pt x="142" y="128"/>
                    <a:pt x="140" y="127"/>
                    <a:pt x="138" y="127"/>
                  </a:cubicBezTo>
                  <a:cubicBezTo>
                    <a:pt x="137" y="127"/>
                    <a:pt x="137" y="127"/>
                    <a:pt x="136" y="128"/>
                  </a:cubicBezTo>
                  <a:cubicBezTo>
                    <a:pt x="136" y="128"/>
                    <a:pt x="135" y="128"/>
                    <a:pt x="135" y="129"/>
                  </a:cubicBezTo>
                  <a:cubicBezTo>
                    <a:pt x="135" y="129"/>
                    <a:pt x="135" y="129"/>
                    <a:pt x="135" y="129"/>
                  </a:cubicBezTo>
                  <a:cubicBezTo>
                    <a:pt x="135" y="129"/>
                    <a:pt x="135" y="129"/>
                    <a:pt x="135" y="129"/>
                  </a:cubicBezTo>
                  <a:cubicBezTo>
                    <a:pt x="133" y="129"/>
                    <a:pt x="103" y="108"/>
                    <a:pt x="103" y="106"/>
                  </a:cubicBezTo>
                  <a:cubicBezTo>
                    <a:pt x="103" y="106"/>
                    <a:pt x="103" y="106"/>
                    <a:pt x="103" y="106"/>
                  </a:cubicBezTo>
                  <a:cubicBezTo>
                    <a:pt x="103" y="106"/>
                    <a:pt x="104" y="105"/>
                    <a:pt x="104" y="105"/>
                  </a:cubicBezTo>
                  <a:cubicBezTo>
                    <a:pt x="104" y="105"/>
                    <a:pt x="104" y="105"/>
                    <a:pt x="104" y="105"/>
                  </a:cubicBezTo>
                  <a:cubicBezTo>
                    <a:pt x="104" y="105"/>
                    <a:pt x="105" y="105"/>
                    <a:pt x="106" y="105"/>
                  </a:cubicBezTo>
                  <a:cubicBezTo>
                    <a:pt x="120" y="105"/>
                    <a:pt x="179" y="109"/>
                    <a:pt x="179" y="109"/>
                  </a:cubicBezTo>
                  <a:cubicBezTo>
                    <a:pt x="179" y="109"/>
                    <a:pt x="179" y="109"/>
                    <a:pt x="179" y="109"/>
                  </a:cubicBezTo>
                  <a:cubicBezTo>
                    <a:pt x="180" y="110"/>
                    <a:pt x="180" y="110"/>
                    <a:pt x="180" y="111"/>
                  </a:cubicBezTo>
                  <a:cubicBezTo>
                    <a:pt x="181" y="112"/>
                    <a:pt x="182" y="113"/>
                    <a:pt x="184" y="113"/>
                  </a:cubicBezTo>
                  <a:cubicBezTo>
                    <a:pt x="184" y="113"/>
                    <a:pt x="185" y="113"/>
                    <a:pt x="185" y="113"/>
                  </a:cubicBezTo>
                  <a:cubicBezTo>
                    <a:pt x="187" y="112"/>
                    <a:pt x="188" y="110"/>
                    <a:pt x="188" y="109"/>
                  </a:cubicBezTo>
                  <a:cubicBezTo>
                    <a:pt x="188" y="109"/>
                    <a:pt x="188" y="109"/>
                    <a:pt x="188" y="109"/>
                  </a:cubicBezTo>
                  <a:cubicBezTo>
                    <a:pt x="188" y="109"/>
                    <a:pt x="190" y="108"/>
                    <a:pt x="195" y="107"/>
                  </a:cubicBezTo>
                  <a:cubicBezTo>
                    <a:pt x="187" y="171"/>
                    <a:pt x="176" y="252"/>
                    <a:pt x="174" y="252"/>
                  </a:cubicBezTo>
                  <a:cubicBezTo>
                    <a:pt x="174" y="252"/>
                    <a:pt x="174" y="252"/>
                    <a:pt x="174" y="252"/>
                  </a:cubicBezTo>
                  <a:cubicBezTo>
                    <a:pt x="170" y="252"/>
                    <a:pt x="167" y="253"/>
                    <a:pt x="164" y="256"/>
                  </a:cubicBezTo>
                  <a:cubicBezTo>
                    <a:pt x="164" y="256"/>
                    <a:pt x="164" y="256"/>
                    <a:pt x="164" y="256"/>
                  </a:cubicBezTo>
                  <a:cubicBezTo>
                    <a:pt x="164" y="256"/>
                    <a:pt x="164" y="256"/>
                    <a:pt x="164" y="256"/>
                  </a:cubicBezTo>
                  <a:cubicBezTo>
                    <a:pt x="159" y="256"/>
                    <a:pt x="68" y="193"/>
                    <a:pt x="70" y="189"/>
                  </a:cubicBezTo>
                  <a:cubicBezTo>
                    <a:pt x="70" y="189"/>
                    <a:pt x="70" y="189"/>
                    <a:pt x="70" y="189"/>
                  </a:cubicBezTo>
                  <a:cubicBezTo>
                    <a:pt x="74" y="181"/>
                    <a:pt x="72" y="170"/>
                    <a:pt x="64" y="164"/>
                  </a:cubicBezTo>
                  <a:cubicBezTo>
                    <a:pt x="61" y="161"/>
                    <a:pt x="56" y="160"/>
                    <a:pt x="51" y="160"/>
                  </a:cubicBezTo>
                  <a:cubicBezTo>
                    <a:pt x="45" y="160"/>
                    <a:pt x="39" y="162"/>
                    <a:pt x="35" y="167"/>
                  </a:cubicBezTo>
                  <a:cubicBezTo>
                    <a:pt x="27" y="176"/>
                    <a:pt x="29" y="188"/>
                    <a:pt x="38" y="195"/>
                  </a:cubicBezTo>
                  <a:cubicBezTo>
                    <a:pt x="39" y="196"/>
                    <a:pt x="40" y="197"/>
                    <a:pt x="41" y="197"/>
                  </a:cubicBezTo>
                  <a:cubicBezTo>
                    <a:pt x="40" y="197"/>
                    <a:pt x="40" y="197"/>
                    <a:pt x="40" y="197"/>
                  </a:cubicBezTo>
                  <a:cubicBezTo>
                    <a:pt x="44" y="199"/>
                    <a:pt x="15" y="269"/>
                    <a:pt x="13" y="269"/>
                  </a:cubicBezTo>
                  <a:cubicBezTo>
                    <a:pt x="13" y="269"/>
                    <a:pt x="13" y="269"/>
                    <a:pt x="13" y="269"/>
                  </a:cubicBezTo>
                  <a:cubicBezTo>
                    <a:pt x="13" y="269"/>
                    <a:pt x="13" y="269"/>
                    <a:pt x="13" y="269"/>
                  </a:cubicBezTo>
                  <a:cubicBezTo>
                    <a:pt x="12" y="269"/>
                    <a:pt x="11" y="268"/>
                    <a:pt x="11" y="268"/>
                  </a:cubicBezTo>
                  <a:cubicBezTo>
                    <a:pt x="9" y="268"/>
                    <a:pt x="8" y="269"/>
                    <a:pt x="7" y="269"/>
                  </a:cubicBezTo>
                  <a:cubicBezTo>
                    <a:pt x="2" y="271"/>
                    <a:pt x="0" y="277"/>
                    <a:pt x="2" y="281"/>
                  </a:cubicBezTo>
                  <a:cubicBezTo>
                    <a:pt x="4" y="284"/>
                    <a:pt x="7" y="286"/>
                    <a:pt x="11" y="286"/>
                  </a:cubicBezTo>
                  <a:cubicBezTo>
                    <a:pt x="12" y="286"/>
                    <a:pt x="13" y="286"/>
                    <a:pt x="15" y="285"/>
                  </a:cubicBezTo>
                  <a:cubicBezTo>
                    <a:pt x="16" y="284"/>
                    <a:pt x="17" y="284"/>
                    <a:pt x="18" y="282"/>
                  </a:cubicBezTo>
                  <a:cubicBezTo>
                    <a:pt x="18" y="283"/>
                    <a:pt x="18" y="283"/>
                    <a:pt x="18" y="283"/>
                  </a:cubicBezTo>
                  <a:cubicBezTo>
                    <a:pt x="18" y="282"/>
                    <a:pt x="18" y="282"/>
                    <a:pt x="18" y="282"/>
                  </a:cubicBezTo>
                  <a:cubicBezTo>
                    <a:pt x="21" y="282"/>
                    <a:pt x="63" y="305"/>
                    <a:pt x="63" y="306"/>
                  </a:cubicBezTo>
                  <a:cubicBezTo>
                    <a:pt x="63" y="306"/>
                    <a:pt x="63" y="306"/>
                    <a:pt x="63" y="306"/>
                  </a:cubicBezTo>
                  <a:cubicBezTo>
                    <a:pt x="61" y="310"/>
                    <a:pt x="62" y="314"/>
                    <a:pt x="66" y="317"/>
                  </a:cubicBezTo>
                  <a:cubicBezTo>
                    <a:pt x="68" y="319"/>
                    <a:pt x="70" y="319"/>
                    <a:pt x="72" y="319"/>
                  </a:cubicBezTo>
                  <a:cubicBezTo>
                    <a:pt x="75" y="319"/>
                    <a:pt x="78" y="318"/>
                    <a:pt x="80" y="316"/>
                  </a:cubicBezTo>
                  <a:cubicBezTo>
                    <a:pt x="83" y="312"/>
                    <a:pt x="83" y="306"/>
                    <a:pt x="79" y="302"/>
                  </a:cubicBezTo>
                  <a:cubicBezTo>
                    <a:pt x="77" y="301"/>
                    <a:pt x="74" y="300"/>
                    <a:pt x="72" y="300"/>
                  </a:cubicBezTo>
                  <a:cubicBezTo>
                    <a:pt x="69" y="300"/>
                    <a:pt x="66" y="301"/>
                    <a:pt x="64" y="304"/>
                  </a:cubicBezTo>
                  <a:cubicBezTo>
                    <a:pt x="64" y="304"/>
                    <a:pt x="64" y="304"/>
                    <a:pt x="64" y="304"/>
                  </a:cubicBezTo>
                  <a:cubicBezTo>
                    <a:pt x="64" y="304"/>
                    <a:pt x="64" y="304"/>
                    <a:pt x="64" y="304"/>
                  </a:cubicBezTo>
                  <a:cubicBezTo>
                    <a:pt x="64" y="304"/>
                    <a:pt x="64" y="304"/>
                    <a:pt x="64" y="304"/>
                  </a:cubicBezTo>
                  <a:cubicBezTo>
                    <a:pt x="60" y="304"/>
                    <a:pt x="19" y="282"/>
                    <a:pt x="19" y="280"/>
                  </a:cubicBezTo>
                  <a:cubicBezTo>
                    <a:pt x="19" y="280"/>
                    <a:pt x="19" y="280"/>
                    <a:pt x="19" y="280"/>
                  </a:cubicBezTo>
                  <a:cubicBezTo>
                    <a:pt x="20" y="278"/>
                    <a:pt x="20" y="276"/>
                    <a:pt x="19" y="273"/>
                  </a:cubicBezTo>
                  <a:cubicBezTo>
                    <a:pt x="18" y="272"/>
                    <a:pt x="17" y="271"/>
                    <a:pt x="15" y="270"/>
                  </a:cubicBezTo>
                  <a:cubicBezTo>
                    <a:pt x="15" y="270"/>
                    <a:pt x="15" y="270"/>
                    <a:pt x="15" y="270"/>
                  </a:cubicBezTo>
                  <a:cubicBezTo>
                    <a:pt x="14" y="269"/>
                    <a:pt x="42" y="200"/>
                    <a:pt x="46" y="200"/>
                  </a:cubicBezTo>
                  <a:cubicBezTo>
                    <a:pt x="46" y="200"/>
                    <a:pt x="46" y="200"/>
                    <a:pt x="46" y="200"/>
                  </a:cubicBezTo>
                  <a:cubicBezTo>
                    <a:pt x="46" y="199"/>
                    <a:pt x="46" y="199"/>
                    <a:pt x="46" y="199"/>
                  </a:cubicBezTo>
                  <a:cubicBezTo>
                    <a:pt x="48" y="200"/>
                    <a:pt x="49" y="200"/>
                    <a:pt x="51" y="200"/>
                  </a:cubicBezTo>
                  <a:cubicBezTo>
                    <a:pt x="57" y="200"/>
                    <a:pt x="62" y="198"/>
                    <a:pt x="66" y="194"/>
                  </a:cubicBezTo>
                  <a:cubicBezTo>
                    <a:pt x="66" y="194"/>
                    <a:pt x="66" y="194"/>
                    <a:pt x="66" y="194"/>
                  </a:cubicBezTo>
                  <a:cubicBezTo>
                    <a:pt x="66" y="194"/>
                    <a:pt x="66" y="194"/>
                    <a:pt x="66" y="194"/>
                  </a:cubicBezTo>
                  <a:cubicBezTo>
                    <a:pt x="73" y="194"/>
                    <a:pt x="163" y="257"/>
                    <a:pt x="161" y="259"/>
                  </a:cubicBezTo>
                  <a:cubicBezTo>
                    <a:pt x="161" y="259"/>
                    <a:pt x="161" y="259"/>
                    <a:pt x="161" y="259"/>
                  </a:cubicBezTo>
                  <a:cubicBezTo>
                    <a:pt x="160" y="261"/>
                    <a:pt x="160" y="263"/>
                    <a:pt x="160" y="266"/>
                  </a:cubicBezTo>
                  <a:cubicBezTo>
                    <a:pt x="160" y="273"/>
                    <a:pt x="166" y="280"/>
                    <a:pt x="174" y="280"/>
                  </a:cubicBezTo>
                  <a:cubicBezTo>
                    <a:pt x="182" y="280"/>
                    <a:pt x="189" y="273"/>
                    <a:pt x="189" y="266"/>
                  </a:cubicBezTo>
                  <a:cubicBezTo>
                    <a:pt x="189" y="259"/>
                    <a:pt x="184" y="254"/>
                    <a:pt x="178" y="252"/>
                  </a:cubicBezTo>
                  <a:cubicBezTo>
                    <a:pt x="178" y="252"/>
                    <a:pt x="178" y="252"/>
                    <a:pt x="178" y="252"/>
                  </a:cubicBezTo>
                  <a:cubicBezTo>
                    <a:pt x="177" y="252"/>
                    <a:pt x="187" y="170"/>
                    <a:pt x="195" y="107"/>
                  </a:cubicBezTo>
                  <a:cubicBezTo>
                    <a:pt x="213" y="104"/>
                    <a:pt x="255" y="97"/>
                    <a:pt x="262" y="97"/>
                  </a:cubicBezTo>
                  <a:cubicBezTo>
                    <a:pt x="263" y="97"/>
                    <a:pt x="263" y="97"/>
                    <a:pt x="263" y="97"/>
                  </a:cubicBezTo>
                  <a:cubicBezTo>
                    <a:pt x="263" y="97"/>
                    <a:pt x="263" y="97"/>
                    <a:pt x="263" y="97"/>
                  </a:cubicBezTo>
                  <a:cubicBezTo>
                    <a:pt x="264" y="101"/>
                    <a:pt x="268" y="103"/>
                    <a:pt x="273" y="103"/>
                  </a:cubicBezTo>
                  <a:cubicBezTo>
                    <a:pt x="278" y="103"/>
                    <a:pt x="283" y="99"/>
                    <a:pt x="283" y="94"/>
                  </a:cubicBezTo>
                  <a:cubicBezTo>
                    <a:pt x="283" y="88"/>
                    <a:pt x="278" y="84"/>
                    <a:pt x="273" y="84"/>
                  </a:cubicBezTo>
                  <a:cubicBezTo>
                    <a:pt x="267" y="84"/>
                    <a:pt x="262" y="88"/>
                    <a:pt x="262" y="94"/>
                  </a:cubicBezTo>
                  <a:cubicBezTo>
                    <a:pt x="262" y="94"/>
                    <a:pt x="262" y="94"/>
                    <a:pt x="262" y="94"/>
                  </a:cubicBezTo>
                  <a:cubicBezTo>
                    <a:pt x="262" y="94"/>
                    <a:pt x="262" y="94"/>
                    <a:pt x="262" y="94"/>
                  </a:cubicBezTo>
                  <a:cubicBezTo>
                    <a:pt x="263" y="96"/>
                    <a:pt x="215" y="104"/>
                    <a:pt x="195" y="107"/>
                  </a:cubicBezTo>
                  <a:cubicBezTo>
                    <a:pt x="201" y="67"/>
                    <a:pt x="206" y="35"/>
                    <a:pt x="207" y="35"/>
                  </a:cubicBezTo>
                  <a:cubicBezTo>
                    <a:pt x="207" y="35"/>
                    <a:pt x="207" y="35"/>
                    <a:pt x="207" y="35"/>
                  </a:cubicBezTo>
                  <a:cubicBezTo>
                    <a:pt x="210" y="35"/>
                    <a:pt x="212" y="34"/>
                    <a:pt x="214" y="33"/>
                  </a:cubicBezTo>
                  <a:cubicBezTo>
                    <a:pt x="223" y="29"/>
                    <a:pt x="227" y="19"/>
                    <a:pt x="223" y="10"/>
                  </a:cubicBezTo>
                  <a:cubicBezTo>
                    <a:pt x="220" y="4"/>
                    <a:pt x="214" y="0"/>
                    <a:pt x="207"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0" name="Freeform 13"/>
            <p:cNvSpPr>
              <a:spLocks/>
            </p:cNvSpPr>
            <p:nvPr/>
          </p:nvSpPr>
          <p:spPr bwMode="auto">
            <a:xfrm>
              <a:off x="5762625" y="2805113"/>
              <a:ext cx="36513" cy="30163"/>
            </a:xfrm>
            <a:custGeom>
              <a:avLst/>
              <a:gdLst>
                <a:gd name="T0" fmla="*/ 0 w 10"/>
                <a:gd name="T1" fmla="*/ 0 h 8"/>
                <a:gd name="T2" fmla="*/ 10 w 10"/>
                <a:gd name="T3" fmla="*/ 8 h 8"/>
                <a:gd name="T4" fmla="*/ 0 w 10"/>
                <a:gd name="T5" fmla="*/ 0 h 8"/>
              </a:gdLst>
              <a:ahLst/>
              <a:cxnLst>
                <a:cxn ang="0">
                  <a:pos x="T0" y="T1"/>
                </a:cxn>
                <a:cxn ang="0">
                  <a:pos x="T2" y="T3"/>
                </a:cxn>
                <a:cxn ang="0">
                  <a:pos x="T4" y="T5"/>
                </a:cxn>
              </a:cxnLst>
              <a:rect l="0" t="0" r="r" b="b"/>
              <a:pathLst>
                <a:path w="10" h="8">
                  <a:moveTo>
                    <a:pt x="0" y="0"/>
                  </a:moveTo>
                  <a:cubicBezTo>
                    <a:pt x="3" y="3"/>
                    <a:pt x="6" y="6"/>
                    <a:pt x="10" y="8"/>
                  </a:cubicBezTo>
                  <a:cubicBezTo>
                    <a:pt x="6" y="6"/>
                    <a:pt x="3" y="3"/>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1" name="Freeform 14"/>
            <p:cNvSpPr>
              <a:spLocks noEditPoints="1"/>
            </p:cNvSpPr>
            <p:nvPr/>
          </p:nvSpPr>
          <p:spPr bwMode="auto">
            <a:xfrm>
              <a:off x="5799138" y="2613025"/>
              <a:ext cx="241300" cy="293688"/>
            </a:xfrm>
            <a:custGeom>
              <a:avLst/>
              <a:gdLst>
                <a:gd name="T0" fmla="*/ 28 w 64"/>
                <a:gd name="T1" fmla="*/ 13 h 78"/>
                <a:gd name="T2" fmla="*/ 31 w 64"/>
                <a:gd name="T3" fmla="*/ 12 h 78"/>
                <a:gd name="T4" fmla="*/ 31 w 64"/>
                <a:gd name="T5" fmla="*/ 12 h 78"/>
                <a:gd name="T6" fmla="*/ 31 w 64"/>
                <a:gd name="T7" fmla="*/ 12 h 78"/>
                <a:gd name="T8" fmla="*/ 48 w 64"/>
                <a:gd name="T9" fmla="*/ 38 h 78"/>
                <a:gd name="T10" fmla="*/ 48 w 64"/>
                <a:gd name="T11" fmla="*/ 38 h 78"/>
                <a:gd name="T12" fmla="*/ 46 w 64"/>
                <a:gd name="T13" fmla="*/ 49 h 78"/>
                <a:gd name="T14" fmla="*/ 46 w 64"/>
                <a:gd name="T15" fmla="*/ 49 h 78"/>
                <a:gd name="T16" fmla="*/ 46 w 64"/>
                <a:gd name="T17" fmla="*/ 49 h 78"/>
                <a:gd name="T18" fmla="*/ 20 w 64"/>
                <a:gd name="T19" fmla="*/ 70 h 78"/>
                <a:gd name="T20" fmla="*/ 20 w 64"/>
                <a:gd name="T21" fmla="*/ 70 h 78"/>
                <a:gd name="T22" fmla="*/ 20 w 64"/>
                <a:gd name="T23" fmla="*/ 70 h 78"/>
                <a:gd name="T24" fmla="*/ 18 w 64"/>
                <a:gd name="T25" fmla="*/ 69 h 78"/>
                <a:gd name="T26" fmla="*/ 18 w 64"/>
                <a:gd name="T27" fmla="*/ 69 h 78"/>
                <a:gd name="T28" fmla="*/ 28 w 64"/>
                <a:gd name="T29" fmla="*/ 13 h 78"/>
                <a:gd name="T30" fmla="*/ 28 w 64"/>
                <a:gd name="T31" fmla="*/ 13 h 78"/>
                <a:gd name="T32" fmla="*/ 28 w 64"/>
                <a:gd name="T33" fmla="*/ 13 h 78"/>
                <a:gd name="T34" fmla="*/ 28 w 64"/>
                <a:gd name="T35" fmla="*/ 0 h 78"/>
                <a:gd name="T36" fmla="*/ 25 w 64"/>
                <a:gd name="T37" fmla="*/ 0 h 78"/>
                <a:gd name="T38" fmla="*/ 22 w 64"/>
                <a:gd name="T39" fmla="*/ 9 h 78"/>
                <a:gd name="T40" fmla="*/ 26 w 64"/>
                <a:gd name="T41" fmla="*/ 13 h 78"/>
                <a:gd name="T42" fmla="*/ 26 w 64"/>
                <a:gd name="T43" fmla="*/ 13 h 78"/>
                <a:gd name="T44" fmla="*/ 17 w 64"/>
                <a:gd name="T45" fmla="*/ 69 h 78"/>
                <a:gd name="T46" fmla="*/ 17 w 64"/>
                <a:gd name="T47" fmla="*/ 69 h 78"/>
                <a:gd name="T48" fmla="*/ 17 w 64"/>
                <a:gd name="T49" fmla="*/ 69 h 78"/>
                <a:gd name="T50" fmla="*/ 15 w 64"/>
                <a:gd name="T51" fmla="*/ 69 h 78"/>
                <a:gd name="T52" fmla="*/ 13 w 64"/>
                <a:gd name="T53" fmla="*/ 70 h 78"/>
                <a:gd name="T54" fmla="*/ 14 w 64"/>
                <a:gd name="T55" fmla="*/ 70 h 78"/>
                <a:gd name="T56" fmla="*/ 14 w 64"/>
                <a:gd name="T57" fmla="*/ 70 h 78"/>
                <a:gd name="T58" fmla="*/ 0 w 64"/>
                <a:gd name="T59" fmla="*/ 59 h 78"/>
                <a:gd name="T60" fmla="*/ 12 w 64"/>
                <a:gd name="T61" fmla="*/ 71 h 78"/>
                <a:gd name="T62" fmla="*/ 12 w 64"/>
                <a:gd name="T63" fmla="*/ 71 h 78"/>
                <a:gd name="T64" fmla="*/ 12 w 64"/>
                <a:gd name="T65" fmla="*/ 75 h 78"/>
                <a:gd name="T66" fmla="*/ 17 w 64"/>
                <a:gd name="T67" fmla="*/ 78 h 78"/>
                <a:gd name="T68" fmla="*/ 19 w 64"/>
                <a:gd name="T69" fmla="*/ 78 h 78"/>
                <a:gd name="T70" fmla="*/ 21 w 64"/>
                <a:gd name="T71" fmla="*/ 72 h 78"/>
                <a:gd name="T72" fmla="*/ 21 w 64"/>
                <a:gd name="T73" fmla="*/ 71 h 78"/>
                <a:gd name="T74" fmla="*/ 21 w 64"/>
                <a:gd name="T75" fmla="*/ 71 h 78"/>
                <a:gd name="T76" fmla="*/ 48 w 64"/>
                <a:gd name="T77" fmla="*/ 51 h 78"/>
                <a:gd name="T78" fmla="*/ 48 w 64"/>
                <a:gd name="T79" fmla="*/ 51 h 78"/>
                <a:gd name="T80" fmla="*/ 48 w 64"/>
                <a:gd name="T81" fmla="*/ 51 h 78"/>
                <a:gd name="T82" fmla="*/ 54 w 64"/>
                <a:gd name="T83" fmla="*/ 54 h 78"/>
                <a:gd name="T84" fmla="*/ 58 w 64"/>
                <a:gd name="T85" fmla="*/ 53 h 78"/>
                <a:gd name="T86" fmla="*/ 62 w 64"/>
                <a:gd name="T87" fmla="*/ 41 h 78"/>
                <a:gd name="T88" fmla="*/ 54 w 64"/>
                <a:gd name="T89" fmla="*/ 36 h 78"/>
                <a:gd name="T90" fmla="*/ 50 w 64"/>
                <a:gd name="T91" fmla="*/ 37 h 78"/>
                <a:gd name="T92" fmla="*/ 50 w 64"/>
                <a:gd name="T93" fmla="*/ 37 h 78"/>
                <a:gd name="T94" fmla="*/ 50 w 64"/>
                <a:gd name="T95" fmla="*/ 37 h 78"/>
                <a:gd name="T96" fmla="*/ 33 w 64"/>
                <a:gd name="T97" fmla="*/ 11 h 78"/>
                <a:gd name="T98" fmla="*/ 33 w 64"/>
                <a:gd name="T99" fmla="*/ 11 h 78"/>
                <a:gd name="T100" fmla="*/ 34 w 64"/>
                <a:gd name="T101" fmla="*/ 4 h 78"/>
                <a:gd name="T102" fmla="*/ 28 w 64"/>
                <a:gd name="T10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78">
                  <a:moveTo>
                    <a:pt x="28" y="13"/>
                  </a:moveTo>
                  <a:cubicBezTo>
                    <a:pt x="29" y="13"/>
                    <a:pt x="30" y="13"/>
                    <a:pt x="31" y="12"/>
                  </a:cubicBezTo>
                  <a:cubicBezTo>
                    <a:pt x="31" y="12"/>
                    <a:pt x="31" y="12"/>
                    <a:pt x="31" y="12"/>
                  </a:cubicBezTo>
                  <a:cubicBezTo>
                    <a:pt x="31" y="12"/>
                    <a:pt x="31" y="12"/>
                    <a:pt x="31" y="12"/>
                  </a:cubicBezTo>
                  <a:cubicBezTo>
                    <a:pt x="32" y="12"/>
                    <a:pt x="49" y="37"/>
                    <a:pt x="48" y="38"/>
                  </a:cubicBezTo>
                  <a:cubicBezTo>
                    <a:pt x="48" y="38"/>
                    <a:pt x="48" y="38"/>
                    <a:pt x="48" y="38"/>
                  </a:cubicBezTo>
                  <a:cubicBezTo>
                    <a:pt x="45" y="41"/>
                    <a:pt x="44" y="45"/>
                    <a:pt x="46" y="49"/>
                  </a:cubicBezTo>
                  <a:cubicBezTo>
                    <a:pt x="46" y="49"/>
                    <a:pt x="46" y="49"/>
                    <a:pt x="46" y="49"/>
                  </a:cubicBezTo>
                  <a:cubicBezTo>
                    <a:pt x="46" y="49"/>
                    <a:pt x="46" y="49"/>
                    <a:pt x="46" y="49"/>
                  </a:cubicBezTo>
                  <a:cubicBezTo>
                    <a:pt x="47" y="51"/>
                    <a:pt x="21" y="70"/>
                    <a:pt x="20" y="70"/>
                  </a:cubicBezTo>
                  <a:cubicBezTo>
                    <a:pt x="20" y="70"/>
                    <a:pt x="20" y="70"/>
                    <a:pt x="20" y="70"/>
                  </a:cubicBezTo>
                  <a:cubicBezTo>
                    <a:pt x="20" y="70"/>
                    <a:pt x="20" y="70"/>
                    <a:pt x="20" y="70"/>
                  </a:cubicBezTo>
                  <a:cubicBezTo>
                    <a:pt x="19" y="70"/>
                    <a:pt x="19" y="69"/>
                    <a:pt x="18" y="69"/>
                  </a:cubicBezTo>
                  <a:cubicBezTo>
                    <a:pt x="18" y="69"/>
                    <a:pt x="18" y="69"/>
                    <a:pt x="18" y="69"/>
                  </a:cubicBezTo>
                  <a:cubicBezTo>
                    <a:pt x="17" y="69"/>
                    <a:pt x="26" y="13"/>
                    <a:pt x="28" y="13"/>
                  </a:cubicBezTo>
                  <a:cubicBezTo>
                    <a:pt x="28" y="13"/>
                    <a:pt x="28" y="13"/>
                    <a:pt x="28" y="13"/>
                  </a:cubicBezTo>
                  <a:cubicBezTo>
                    <a:pt x="28" y="13"/>
                    <a:pt x="28" y="13"/>
                    <a:pt x="28" y="13"/>
                  </a:cubicBezTo>
                  <a:moveTo>
                    <a:pt x="28" y="0"/>
                  </a:moveTo>
                  <a:cubicBezTo>
                    <a:pt x="27" y="0"/>
                    <a:pt x="26" y="0"/>
                    <a:pt x="25" y="0"/>
                  </a:cubicBezTo>
                  <a:cubicBezTo>
                    <a:pt x="21" y="2"/>
                    <a:pt x="20" y="6"/>
                    <a:pt x="22" y="9"/>
                  </a:cubicBezTo>
                  <a:cubicBezTo>
                    <a:pt x="22" y="11"/>
                    <a:pt x="24" y="12"/>
                    <a:pt x="26" y="13"/>
                  </a:cubicBezTo>
                  <a:cubicBezTo>
                    <a:pt x="26" y="13"/>
                    <a:pt x="26" y="13"/>
                    <a:pt x="26" y="13"/>
                  </a:cubicBezTo>
                  <a:cubicBezTo>
                    <a:pt x="27" y="13"/>
                    <a:pt x="18" y="69"/>
                    <a:pt x="17" y="69"/>
                  </a:cubicBezTo>
                  <a:cubicBezTo>
                    <a:pt x="17" y="69"/>
                    <a:pt x="17" y="69"/>
                    <a:pt x="17" y="69"/>
                  </a:cubicBezTo>
                  <a:cubicBezTo>
                    <a:pt x="17" y="69"/>
                    <a:pt x="17" y="69"/>
                    <a:pt x="17" y="69"/>
                  </a:cubicBezTo>
                  <a:cubicBezTo>
                    <a:pt x="16" y="69"/>
                    <a:pt x="15" y="69"/>
                    <a:pt x="15" y="69"/>
                  </a:cubicBezTo>
                  <a:cubicBezTo>
                    <a:pt x="14" y="70"/>
                    <a:pt x="14" y="70"/>
                    <a:pt x="13" y="70"/>
                  </a:cubicBezTo>
                  <a:cubicBezTo>
                    <a:pt x="14" y="70"/>
                    <a:pt x="14" y="70"/>
                    <a:pt x="14" y="70"/>
                  </a:cubicBezTo>
                  <a:cubicBezTo>
                    <a:pt x="14" y="70"/>
                    <a:pt x="14" y="70"/>
                    <a:pt x="14" y="70"/>
                  </a:cubicBezTo>
                  <a:cubicBezTo>
                    <a:pt x="13" y="70"/>
                    <a:pt x="7" y="65"/>
                    <a:pt x="0" y="59"/>
                  </a:cubicBezTo>
                  <a:cubicBezTo>
                    <a:pt x="7" y="66"/>
                    <a:pt x="13" y="71"/>
                    <a:pt x="12" y="71"/>
                  </a:cubicBezTo>
                  <a:cubicBezTo>
                    <a:pt x="12" y="71"/>
                    <a:pt x="12" y="71"/>
                    <a:pt x="12" y="71"/>
                  </a:cubicBezTo>
                  <a:cubicBezTo>
                    <a:pt x="12" y="72"/>
                    <a:pt x="12" y="74"/>
                    <a:pt x="12" y="75"/>
                  </a:cubicBezTo>
                  <a:cubicBezTo>
                    <a:pt x="13" y="77"/>
                    <a:pt x="15" y="78"/>
                    <a:pt x="17" y="78"/>
                  </a:cubicBezTo>
                  <a:cubicBezTo>
                    <a:pt x="17" y="78"/>
                    <a:pt x="18" y="78"/>
                    <a:pt x="19" y="78"/>
                  </a:cubicBezTo>
                  <a:cubicBezTo>
                    <a:pt x="21" y="77"/>
                    <a:pt x="22" y="74"/>
                    <a:pt x="21" y="72"/>
                  </a:cubicBezTo>
                  <a:cubicBezTo>
                    <a:pt x="21" y="71"/>
                    <a:pt x="21" y="71"/>
                    <a:pt x="21" y="71"/>
                  </a:cubicBezTo>
                  <a:cubicBezTo>
                    <a:pt x="21" y="71"/>
                    <a:pt x="21" y="71"/>
                    <a:pt x="21" y="71"/>
                  </a:cubicBezTo>
                  <a:cubicBezTo>
                    <a:pt x="20" y="70"/>
                    <a:pt x="45" y="51"/>
                    <a:pt x="48" y="51"/>
                  </a:cubicBezTo>
                  <a:cubicBezTo>
                    <a:pt x="48" y="51"/>
                    <a:pt x="48" y="51"/>
                    <a:pt x="48" y="51"/>
                  </a:cubicBezTo>
                  <a:cubicBezTo>
                    <a:pt x="48" y="51"/>
                    <a:pt x="48" y="51"/>
                    <a:pt x="48" y="51"/>
                  </a:cubicBezTo>
                  <a:cubicBezTo>
                    <a:pt x="49" y="53"/>
                    <a:pt x="52" y="54"/>
                    <a:pt x="54" y="54"/>
                  </a:cubicBezTo>
                  <a:cubicBezTo>
                    <a:pt x="55" y="54"/>
                    <a:pt x="57" y="53"/>
                    <a:pt x="58" y="53"/>
                  </a:cubicBezTo>
                  <a:cubicBezTo>
                    <a:pt x="63" y="51"/>
                    <a:pt x="64" y="46"/>
                    <a:pt x="62" y="41"/>
                  </a:cubicBezTo>
                  <a:cubicBezTo>
                    <a:pt x="61" y="38"/>
                    <a:pt x="57" y="36"/>
                    <a:pt x="54" y="36"/>
                  </a:cubicBezTo>
                  <a:cubicBezTo>
                    <a:pt x="53" y="36"/>
                    <a:pt x="51" y="36"/>
                    <a:pt x="50" y="37"/>
                  </a:cubicBezTo>
                  <a:cubicBezTo>
                    <a:pt x="50" y="37"/>
                    <a:pt x="50" y="37"/>
                    <a:pt x="50" y="37"/>
                  </a:cubicBezTo>
                  <a:cubicBezTo>
                    <a:pt x="50" y="37"/>
                    <a:pt x="50" y="37"/>
                    <a:pt x="50" y="37"/>
                  </a:cubicBezTo>
                  <a:cubicBezTo>
                    <a:pt x="48" y="37"/>
                    <a:pt x="32" y="12"/>
                    <a:pt x="33" y="11"/>
                  </a:cubicBezTo>
                  <a:cubicBezTo>
                    <a:pt x="33" y="11"/>
                    <a:pt x="33" y="11"/>
                    <a:pt x="33" y="11"/>
                  </a:cubicBezTo>
                  <a:cubicBezTo>
                    <a:pt x="35" y="9"/>
                    <a:pt x="35" y="6"/>
                    <a:pt x="34" y="4"/>
                  </a:cubicBezTo>
                  <a:cubicBezTo>
                    <a:pt x="33" y="1"/>
                    <a:pt x="30" y="0"/>
                    <a:pt x="28"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2" name="Freeform 15"/>
            <p:cNvSpPr>
              <a:spLocks/>
            </p:cNvSpPr>
            <p:nvPr/>
          </p:nvSpPr>
          <p:spPr bwMode="auto">
            <a:xfrm>
              <a:off x="6832600" y="3729038"/>
              <a:ext cx="30163" cy="63500"/>
            </a:xfrm>
            <a:custGeom>
              <a:avLst/>
              <a:gdLst>
                <a:gd name="T0" fmla="*/ 0 w 8"/>
                <a:gd name="T1" fmla="*/ 0 h 17"/>
                <a:gd name="T2" fmla="*/ 8 w 8"/>
                <a:gd name="T3" fmla="*/ 17 h 17"/>
                <a:gd name="T4" fmla="*/ 0 w 8"/>
                <a:gd name="T5" fmla="*/ 0 h 17"/>
              </a:gdLst>
              <a:ahLst/>
              <a:cxnLst>
                <a:cxn ang="0">
                  <a:pos x="T0" y="T1"/>
                </a:cxn>
                <a:cxn ang="0">
                  <a:pos x="T2" y="T3"/>
                </a:cxn>
                <a:cxn ang="0">
                  <a:pos x="T4" y="T5"/>
                </a:cxn>
              </a:cxnLst>
              <a:rect l="0" t="0" r="r" b="b"/>
              <a:pathLst>
                <a:path w="8" h="17">
                  <a:moveTo>
                    <a:pt x="0" y="0"/>
                  </a:moveTo>
                  <a:cubicBezTo>
                    <a:pt x="3" y="5"/>
                    <a:pt x="6" y="11"/>
                    <a:pt x="8" y="17"/>
                  </a:cubicBezTo>
                  <a:cubicBezTo>
                    <a:pt x="6" y="11"/>
                    <a:pt x="3" y="5"/>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3" name="Freeform 16"/>
            <p:cNvSpPr>
              <a:spLocks/>
            </p:cNvSpPr>
            <p:nvPr/>
          </p:nvSpPr>
          <p:spPr bwMode="auto">
            <a:xfrm>
              <a:off x="6656388" y="3328988"/>
              <a:ext cx="17463" cy="3175"/>
            </a:xfrm>
            <a:custGeom>
              <a:avLst/>
              <a:gdLst>
                <a:gd name="T0" fmla="*/ 0 w 5"/>
                <a:gd name="T1" fmla="*/ 0 h 1"/>
                <a:gd name="T2" fmla="*/ 5 w 5"/>
                <a:gd name="T3" fmla="*/ 1 h 1"/>
                <a:gd name="T4" fmla="*/ 0 w 5"/>
                <a:gd name="T5" fmla="*/ 0 h 1"/>
              </a:gdLst>
              <a:ahLst/>
              <a:cxnLst>
                <a:cxn ang="0">
                  <a:pos x="T0" y="T1"/>
                </a:cxn>
                <a:cxn ang="0">
                  <a:pos x="T2" y="T3"/>
                </a:cxn>
                <a:cxn ang="0">
                  <a:pos x="T4" y="T5"/>
                </a:cxn>
              </a:cxnLst>
              <a:rect l="0" t="0" r="r" b="b"/>
              <a:pathLst>
                <a:path w="5" h="1">
                  <a:moveTo>
                    <a:pt x="0" y="0"/>
                  </a:moveTo>
                  <a:cubicBezTo>
                    <a:pt x="2" y="0"/>
                    <a:pt x="4" y="1"/>
                    <a:pt x="5" y="1"/>
                  </a:cubicBezTo>
                  <a:cubicBezTo>
                    <a:pt x="4" y="0"/>
                    <a:pt x="2" y="0"/>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4" name="Freeform 17"/>
            <p:cNvSpPr>
              <a:spLocks/>
            </p:cNvSpPr>
            <p:nvPr/>
          </p:nvSpPr>
          <p:spPr bwMode="auto">
            <a:xfrm>
              <a:off x="6040438" y="3951288"/>
              <a:ext cx="44450" cy="19050"/>
            </a:xfrm>
            <a:custGeom>
              <a:avLst/>
              <a:gdLst>
                <a:gd name="T0" fmla="*/ 0 w 12"/>
                <a:gd name="T1" fmla="*/ 0 h 5"/>
                <a:gd name="T2" fmla="*/ 12 w 12"/>
                <a:gd name="T3" fmla="*/ 5 h 5"/>
                <a:gd name="T4" fmla="*/ 0 w 12"/>
                <a:gd name="T5" fmla="*/ 0 h 5"/>
              </a:gdLst>
              <a:ahLst/>
              <a:cxnLst>
                <a:cxn ang="0">
                  <a:pos x="T0" y="T1"/>
                </a:cxn>
                <a:cxn ang="0">
                  <a:pos x="T2" y="T3"/>
                </a:cxn>
                <a:cxn ang="0">
                  <a:pos x="T4" y="T5"/>
                </a:cxn>
              </a:cxnLst>
              <a:rect l="0" t="0" r="r" b="b"/>
              <a:pathLst>
                <a:path w="12" h="5">
                  <a:moveTo>
                    <a:pt x="0" y="0"/>
                  </a:moveTo>
                  <a:cubicBezTo>
                    <a:pt x="4" y="1"/>
                    <a:pt x="8" y="3"/>
                    <a:pt x="12" y="5"/>
                  </a:cubicBezTo>
                  <a:cubicBezTo>
                    <a:pt x="8" y="3"/>
                    <a:pt x="4"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5" name="Freeform 18"/>
            <p:cNvSpPr>
              <a:spLocks/>
            </p:cNvSpPr>
            <p:nvPr/>
          </p:nvSpPr>
          <p:spPr bwMode="auto">
            <a:xfrm>
              <a:off x="7485063" y="3729038"/>
              <a:ext cx="11113" cy="77788"/>
            </a:xfrm>
            <a:custGeom>
              <a:avLst/>
              <a:gdLst>
                <a:gd name="T0" fmla="*/ 3 w 3"/>
                <a:gd name="T1" fmla="*/ 0 h 21"/>
                <a:gd name="T2" fmla="*/ 0 w 3"/>
                <a:gd name="T3" fmla="*/ 21 h 21"/>
                <a:gd name="T4" fmla="*/ 3 w 3"/>
                <a:gd name="T5" fmla="*/ 0 h 21"/>
              </a:gdLst>
              <a:ahLst/>
              <a:cxnLst>
                <a:cxn ang="0">
                  <a:pos x="T0" y="T1"/>
                </a:cxn>
                <a:cxn ang="0">
                  <a:pos x="T2" y="T3"/>
                </a:cxn>
                <a:cxn ang="0">
                  <a:pos x="T4" y="T5"/>
                </a:cxn>
              </a:cxnLst>
              <a:rect l="0" t="0" r="r" b="b"/>
              <a:pathLst>
                <a:path w="3" h="21">
                  <a:moveTo>
                    <a:pt x="3" y="0"/>
                  </a:moveTo>
                  <a:cubicBezTo>
                    <a:pt x="2" y="7"/>
                    <a:pt x="1" y="15"/>
                    <a:pt x="0" y="21"/>
                  </a:cubicBezTo>
                  <a:cubicBezTo>
                    <a:pt x="1" y="15"/>
                    <a:pt x="2" y="7"/>
                    <a:pt x="3"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6" name="Freeform 19"/>
            <p:cNvSpPr>
              <a:spLocks noEditPoints="1"/>
            </p:cNvSpPr>
            <p:nvPr/>
          </p:nvSpPr>
          <p:spPr bwMode="auto">
            <a:xfrm>
              <a:off x="2719388" y="2635250"/>
              <a:ext cx="4916488" cy="1974850"/>
            </a:xfrm>
            <a:custGeom>
              <a:avLst/>
              <a:gdLst>
                <a:gd name="T0" fmla="*/ 893 w 1309"/>
                <a:gd name="T1" fmla="*/ 437 h 524"/>
                <a:gd name="T2" fmla="*/ 374 w 1309"/>
                <a:gd name="T3" fmla="*/ 407 h 524"/>
                <a:gd name="T4" fmla="*/ 109 w 1309"/>
                <a:gd name="T5" fmla="*/ 335 h 524"/>
                <a:gd name="T6" fmla="*/ 711 w 1309"/>
                <a:gd name="T7" fmla="*/ 231 h 524"/>
                <a:gd name="T8" fmla="*/ 511 w 1309"/>
                <a:gd name="T9" fmla="*/ 291 h 524"/>
                <a:gd name="T10" fmla="*/ 1098 w 1309"/>
                <a:gd name="T11" fmla="*/ 219 h 524"/>
                <a:gd name="T12" fmla="*/ 125 w 1309"/>
                <a:gd name="T13" fmla="*/ 212 h 524"/>
                <a:gd name="T14" fmla="*/ 774 w 1309"/>
                <a:gd name="T15" fmla="*/ 164 h 524"/>
                <a:gd name="T16" fmla="*/ 772 w 1309"/>
                <a:gd name="T17" fmla="*/ 166 h 524"/>
                <a:gd name="T18" fmla="*/ 994 w 1309"/>
                <a:gd name="T19" fmla="*/ 178 h 524"/>
                <a:gd name="T20" fmla="*/ 776 w 1309"/>
                <a:gd name="T21" fmla="*/ 159 h 524"/>
                <a:gd name="T22" fmla="*/ 776 w 1309"/>
                <a:gd name="T23" fmla="*/ 159 h 524"/>
                <a:gd name="T24" fmla="*/ 40 w 1309"/>
                <a:gd name="T25" fmla="*/ 153 h 524"/>
                <a:gd name="T26" fmla="*/ 41 w 1309"/>
                <a:gd name="T27" fmla="*/ 138 h 524"/>
                <a:gd name="T28" fmla="*/ 625 w 1309"/>
                <a:gd name="T29" fmla="*/ 165 h 524"/>
                <a:gd name="T30" fmla="*/ 523 w 1309"/>
                <a:gd name="T31" fmla="*/ 211 h 524"/>
                <a:gd name="T32" fmla="*/ 784 w 1309"/>
                <a:gd name="T33" fmla="*/ 34 h 524"/>
                <a:gd name="T34" fmla="*/ 738 w 1309"/>
                <a:gd name="T35" fmla="*/ 161 h 524"/>
                <a:gd name="T36" fmla="*/ 645 w 1309"/>
                <a:gd name="T37" fmla="*/ 268 h 524"/>
                <a:gd name="T38" fmla="*/ 686 w 1309"/>
                <a:gd name="T39" fmla="*/ 160 h 524"/>
                <a:gd name="T40" fmla="*/ 656 w 1309"/>
                <a:gd name="T41" fmla="*/ 136 h 524"/>
                <a:gd name="T42" fmla="*/ 505 w 1309"/>
                <a:gd name="T43" fmla="*/ 214 h 524"/>
                <a:gd name="T44" fmla="*/ 320 w 1309"/>
                <a:gd name="T45" fmla="*/ 318 h 524"/>
                <a:gd name="T46" fmla="*/ 85 w 1309"/>
                <a:gd name="T47" fmla="*/ 202 h 524"/>
                <a:gd name="T48" fmla="*/ 106 w 1309"/>
                <a:gd name="T49" fmla="*/ 162 h 524"/>
                <a:gd name="T50" fmla="*/ 48 w 1309"/>
                <a:gd name="T51" fmla="*/ 132 h 524"/>
                <a:gd name="T52" fmla="*/ 15 w 1309"/>
                <a:gd name="T53" fmla="*/ 168 h 524"/>
                <a:gd name="T54" fmla="*/ 55 w 1309"/>
                <a:gd name="T55" fmla="*/ 246 h 524"/>
                <a:gd name="T56" fmla="*/ 66 w 1309"/>
                <a:gd name="T57" fmla="*/ 318 h 524"/>
                <a:gd name="T58" fmla="*/ 113 w 1309"/>
                <a:gd name="T59" fmla="*/ 332 h 524"/>
                <a:gd name="T60" fmla="*/ 165 w 1309"/>
                <a:gd name="T61" fmla="*/ 300 h 524"/>
                <a:gd name="T62" fmla="*/ 375 w 1309"/>
                <a:gd name="T63" fmla="*/ 342 h 524"/>
                <a:gd name="T64" fmla="*/ 401 w 1309"/>
                <a:gd name="T65" fmla="*/ 388 h 524"/>
                <a:gd name="T66" fmla="*/ 379 w 1309"/>
                <a:gd name="T67" fmla="*/ 337 h 524"/>
                <a:gd name="T68" fmla="*/ 519 w 1309"/>
                <a:gd name="T69" fmla="*/ 309 h 524"/>
                <a:gd name="T70" fmla="*/ 641 w 1309"/>
                <a:gd name="T71" fmla="*/ 298 h 524"/>
                <a:gd name="T72" fmla="*/ 552 w 1309"/>
                <a:gd name="T73" fmla="*/ 435 h 524"/>
                <a:gd name="T74" fmla="*/ 681 w 1309"/>
                <a:gd name="T75" fmla="*/ 478 h 524"/>
                <a:gd name="T76" fmla="*/ 675 w 1309"/>
                <a:gd name="T77" fmla="*/ 489 h 524"/>
                <a:gd name="T78" fmla="*/ 758 w 1309"/>
                <a:gd name="T79" fmla="*/ 416 h 524"/>
                <a:gd name="T80" fmla="*/ 741 w 1309"/>
                <a:gd name="T81" fmla="*/ 317 h 524"/>
                <a:gd name="T82" fmla="*/ 889 w 1309"/>
                <a:gd name="T83" fmla="*/ 439 h 524"/>
                <a:gd name="T84" fmla="*/ 926 w 1309"/>
                <a:gd name="T85" fmla="*/ 363 h 524"/>
                <a:gd name="T86" fmla="*/ 871 w 1309"/>
                <a:gd name="T87" fmla="*/ 413 h 524"/>
                <a:gd name="T88" fmla="*/ 712 w 1309"/>
                <a:gd name="T89" fmla="*/ 233 h 524"/>
                <a:gd name="T90" fmla="*/ 764 w 1309"/>
                <a:gd name="T91" fmla="*/ 165 h 524"/>
                <a:gd name="T92" fmla="*/ 845 w 1309"/>
                <a:gd name="T93" fmla="*/ 209 h 524"/>
                <a:gd name="T94" fmla="*/ 912 w 1309"/>
                <a:gd name="T95" fmla="*/ 234 h 524"/>
                <a:gd name="T96" fmla="*/ 884 w 1309"/>
                <a:gd name="T97" fmla="*/ 349 h 524"/>
                <a:gd name="T98" fmla="*/ 1000 w 1309"/>
                <a:gd name="T99" fmla="*/ 192 h 524"/>
                <a:gd name="T100" fmla="*/ 1083 w 1309"/>
                <a:gd name="T101" fmla="*/ 271 h 524"/>
                <a:gd name="T102" fmla="*/ 1023 w 1309"/>
                <a:gd name="T103" fmla="*/ 286 h 524"/>
                <a:gd name="T104" fmla="*/ 1067 w 1309"/>
                <a:gd name="T105" fmla="*/ 180 h 524"/>
                <a:gd name="T106" fmla="*/ 1069 w 1309"/>
                <a:gd name="T107" fmla="*/ 194 h 524"/>
                <a:gd name="T108" fmla="*/ 1138 w 1309"/>
                <a:gd name="T109" fmla="*/ 197 h 524"/>
                <a:gd name="T110" fmla="*/ 1141 w 1309"/>
                <a:gd name="T111" fmla="*/ 192 h 524"/>
                <a:gd name="T112" fmla="*/ 1130 w 1309"/>
                <a:gd name="T113" fmla="*/ 80 h 524"/>
                <a:gd name="T114" fmla="*/ 1257 w 1309"/>
                <a:gd name="T115" fmla="*/ 243 h 524"/>
                <a:gd name="T116" fmla="*/ 1273 w 1309"/>
                <a:gd name="T117" fmla="*/ 254 h 524"/>
                <a:gd name="T118" fmla="*/ 1148 w 1309"/>
                <a:gd name="T119" fmla="*/ 135 h 524"/>
                <a:gd name="T120" fmla="*/ 1023 w 1309"/>
                <a:gd name="T121" fmla="*/ 153 h 524"/>
                <a:gd name="T122" fmla="*/ 1011 w 1309"/>
                <a:gd name="T123" fmla="*/ 101 h 524"/>
                <a:gd name="T124" fmla="*/ 848 w 1309"/>
                <a:gd name="T125" fmla="*/ 12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9" h="524">
                  <a:moveTo>
                    <a:pt x="897" y="418"/>
                  </a:moveTo>
                  <a:cubicBezTo>
                    <a:pt x="895" y="415"/>
                    <a:pt x="923" y="393"/>
                    <a:pt x="929" y="393"/>
                  </a:cubicBezTo>
                  <a:cubicBezTo>
                    <a:pt x="930" y="393"/>
                    <a:pt x="930" y="394"/>
                    <a:pt x="930" y="394"/>
                  </a:cubicBezTo>
                  <a:cubicBezTo>
                    <a:pt x="930" y="394"/>
                    <a:pt x="930" y="394"/>
                    <a:pt x="930" y="394"/>
                  </a:cubicBezTo>
                  <a:cubicBezTo>
                    <a:pt x="932" y="395"/>
                    <a:pt x="934" y="397"/>
                    <a:pt x="936" y="398"/>
                  </a:cubicBezTo>
                  <a:cubicBezTo>
                    <a:pt x="938" y="399"/>
                    <a:pt x="941" y="400"/>
                    <a:pt x="943" y="400"/>
                  </a:cubicBezTo>
                  <a:cubicBezTo>
                    <a:pt x="943" y="400"/>
                    <a:pt x="943" y="400"/>
                    <a:pt x="943" y="400"/>
                  </a:cubicBezTo>
                  <a:cubicBezTo>
                    <a:pt x="948" y="401"/>
                    <a:pt x="942" y="495"/>
                    <a:pt x="939" y="496"/>
                  </a:cubicBezTo>
                  <a:cubicBezTo>
                    <a:pt x="939" y="496"/>
                    <a:pt x="939" y="496"/>
                    <a:pt x="939" y="496"/>
                  </a:cubicBezTo>
                  <a:cubicBezTo>
                    <a:pt x="938" y="496"/>
                    <a:pt x="936" y="496"/>
                    <a:pt x="935" y="497"/>
                  </a:cubicBezTo>
                  <a:cubicBezTo>
                    <a:pt x="935" y="497"/>
                    <a:pt x="935" y="497"/>
                    <a:pt x="935" y="497"/>
                  </a:cubicBezTo>
                  <a:cubicBezTo>
                    <a:pt x="935" y="497"/>
                    <a:pt x="935" y="497"/>
                    <a:pt x="935" y="497"/>
                  </a:cubicBezTo>
                  <a:cubicBezTo>
                    <a:pt x="932" y="497"/>
                    <a:pt x="891" y="439"/>
                    <a:pt x="893" y="437"/>
                  </a:cubicBezTo>
                  <a:cubicBezTo>
                    <a:pt x="893" y="437"/>
                    <a:pt x="893" y="437"/>
                    <a:pt x="893" y="437"/>
                  </a:cubicBezTo>
                  <a:cubicBezTo>
                    <a:pt x="896" y="434"/>
                    <a:pt x="898" y="430"/>
                    <a:pt x="898" y="426"/>
                  </a:cubicBezTo>
                  <a:cubicBezTo>
                    <a:pt x="899" y="423"/>
                    <a:pt x="898" y="420"/>
                    <a:pt x="896" y="418"/>
                  </a:cubicBezTo>
                  <a:cubicBezTo>
                    <a:pt x="897" y="418"/>
                    <a:pt x="897" y="418"/>
                    <a:pt x="897" y="418"/>
                  </a:cubicBezTo>
                  <a:moveTo>
                    <a:pt x="382" y="350"/>
                  </a:moveTo>
                  <a:cubicBezTo>
                    <a:pt x="383" y="350"/>
                    <a:pt x="384" y="350"/>
                    <a:pt x="385" y="349"/>
                  </a:cubicBezTo>
                  <a:cubicBezTo>
                    <a:pt x="385" y="349"/>
                    <a:pt x="385" y="349"/>
                    <a:pt x="385" y="349"/>
                  </a:cubicBezTo>
                  <a:cubicBezTo>
                    <a:pt x="385" y="349"/>
                    <a:pt x="385" y="349"/>
                    <a:pt x="385" y="349"/>
                  </a:cubicBezTo>
                  <a:cubicBezTo>
                    <a:pt x="386" y="349"/>
                    <a:pt x="403" y="374"/>
                    <a:pt x="402" y="375"/>
                  </a:cubicBezTo>
                  <a:cubicBezTo>
                    <a:pt x="402" y="375"/>
                    <a:pt x="402" y="375"/>
                    <a:pt x="402" y="375"/>
                  </a:cubicBezTo>
                  <a:cubicBezTo>
                    <a:pt x="399" y="378"/>
                    <a:pt x="398" y="382"/>
                    <a:pt x="400" y="385"/>
                  </a:cubicBezTo>
                  <a:cubicBezTo>
                    <a:pt x="400" y="386"/>
                    <a:pt x="400" y="386"/>
                    <a:pt x="400" y="386"/>
                  </a:cubicBezTo>
                  <a:cubicBezTo>
                    <a:pt x="400" y="386"/>
                    <a:pt x="400" y="386"/>
                    <a:pt x="400" y="386"/>
                  </a:cubicBezTo>
                  <a:cubicBezTo>
                    <a:pt x="401" y="388"/>
                    <a:pt x="375" y="407"/>
                    <a:pt x="374" y="407"/>
                  </a:cubicBezTo>
                  <a:cubicBezTo>
                    <a:pt x="374" y="407"/>
                    <a:pt x="374" y="407"/>
                    <a:pt x="374" y="407"/>
                  </a:cubicBezTo>
                  <a:cubicBezTo>
                    <a:pt x="374" y="407"/>
                    <a:pt x="374" y="407"/>
                    <a:pt x="374" y="407"/>
                  </a:cubicBezTo>
                  <a:cubicBezTo>
                    <a:pt x="373" y="406"/>
                    <a:pt x="373" y="406"/>
                    <a:pt x="372" y="406"/>
                  </a:cubicBezTo>
                  <a:cubicBezTo>
                    <a:pt x="372" y="406"/>
                    <a:pt x="372" y="406"/>
                    <a:pt x="372" y="406"/>
                  </a:cubicBezTo>
                  <a:cubicBezTo>
                    <a:pt x="371" y="406"/>
                    <a:pt x="380" y="350"/>
                    <a:pt x="382" y="350"/>
                  </a:cubicBezTo>
                  <a:cubicBezTo>
                    <a:pt x="382" y="350"/>
                    <a:pt x="382" y="350"/>
                    <a:pt x="382" y="350"/>
                  </a:cubicBezTo>
                  <a:cubicBezTo>
                    <a:pt x="382" y="350"/>
                    <a:pt x="382" y="350"/>
                    <a:pt x="382" y="350"/>
                  </a:cubicBezTo>
                  <a:moveTo>
                    <a:pt x="110" y="294"/>
                  </a:moveTo>
                  <a:cubicBezTo>
                    <a:pt x="110" y="294"/>
                    <a:pt x="110" y="294"/>
                    <a:pt x="110" y="294"/>
                  </a:cubicBezTo>
                  <a:cubicBezTo>
                    <a:pt x="110" y="294"/>
                    <a:pt x="111" y="295"/>
                    <a:pt x="112" y="295"/>
                  </a:cubicBezTo>
                  <a:cubicBezTo>
                    <a:pt x="112" y="295"/>
                    <a:pt x="112" y="295"/>
                    <a:pt x="112" y="295"/>
                  </a:cubicBezTo>
                  <a:cubicBezTo>
                    <a:pt x="113" y="295"/>
                    <a:pt x="113" y="332"/>
                    <a:pt x="112" y="332"/>
                  </a:cubicBezTo>
                  <a:cubicBezTo>
                    <a:pt x="112" y="332"/>
                    <a:pt x="112" y="332"/>
                    <a:pt x="112" y="332"/>
                  </a:cubicBezTo>
                  <a:cubicBezTo>
                    <a:pt x="112" y="333"/>
                    <a:pt x="111" y="333"/>
                    <a:pt x="111" y="333"/>
                  </a:cubicBezTo>
                  <a:cubicBezTo>
                    <a:pt x="110" y="333"/>
                    <a:pt x="109" y="334"/>
                    <a:pt x="109" y="335"/>
                  </a:cubicBezTo>
                  <a:cubicBezTo>
                    <a:pt x="109" y="334"/>
                    <a:pt x="109" y="334"/>
                    <a:pt x="109" y="334"/>
                  </a:cubicBezTo>
                  <a:cubicBezTo>
                    <a:pt x="109" y="334"/>
                    <a:pt x="109" y="334"/>
                    <a:pt x="109" y="334"/>
                  </a:cubicBezTo>
                  <a:cubicBezTo>
                    <a:pt x="107" y="334"/>
                    <a:pt x="70" y="323"/>
                    <a:pt x="70" y="322"/>
                  </a:cubicBezTo>
                  <a:cubicBezTo>
                    <a:pt x="70" y="322"/>
                    <a:pt x="70" y="322"/>
                    <a:pt x="70" y="322"/>
                  </a:cubicBezTo>
                  <a:cubicBezTo>
                    <a:pt x="70" y="321"/>
                    <a:pt x="70" y="321"/>
                    <a:pt x="70" y="320"/>
                  </a:cubicBezTo>
                  <a:cubicBezTo>
                    <a:pt x="70" y="320"/>
                    <a:pt x="70" y="320"/>
                    <a:pt x="70" y="320"/>
                  </a:cubicBezTo>
                  <a:cubicBezTo>
                    <a:pt x="70" y="320"/>
                    <a:pt x="70" y="320"/>
                    <a:pt x="70" y="320"/>
                  </a:cubicBezTo>
                  <a:cubicBezTo>
                    <a:pt x="69" y="319"/>
                    <a:pt x="108" y="294"/>
                    <a:pt x="110" y="294"/>
                  </a:cubicBezTo>
                  <a:cubicBezTo>
                    <a:pt x="110" y="294"/>
                    <a:pt x="110" y="294"/>
                    <a:pt x="110" y="294"/>
                  </a:cubicBezTo>
                  <a:moveTo>
                    <a:pt x="656" y="271"/>
                  </a:moveTo>
                  <a:cubicBezTo>
                    <a:pt x="663" y="262"/>
                    <a:pt x="685" y="240"/>
                    <a:pt x="708" y="218"/>
                  </a:cubicBezTo>
                  <a:cubicBezTo>
                    <a:pt x="710" y="221"/>
                    <a:pt x="712" y="223"/>
                    <a:pt x="711" y="223"/>
                  </a:cubicBezTo>
                  <a:cubicBezTo>
                    <a:pt x="711" y="223"/>
                    <a:pt x="711" y="223"/>
                    <a:pt x="711" y="223"/>
                  </a:cubicBezTo>
                  <a:cubicBezTo>
                    <a:pt x="710" y="225"/>
                    <a:pt x="709" y="228"/>
                    <a:pt x="711" y="231"/>
                  </a:cubicBezTo>
                  <a:cubicBezTo>
                    <a:pt x="711" y="231"/>
                    <a:pt x="711" y="231"/>
                    <a:pt x="711" y="231"/>
                  </a:cubicBezTo>
                  <a:cubicBezTo>
                    <a:pt x="711" y="231"/>
                    <a:pt x="711" y="231"/>
                    <a:pt x="711" y="231"/>
                  </a:cubicBezTo>
                  <a:cubicBezTo>
                    <a:pt x="711" y="232"/>
                    <a:pt x="669" y="263"/>
                    <a:pt x="656" y="271"/>
                  </a:cubicBezTo>
                  <a:moveTo>
                    <a:pt x="516" y="214"/>
                  </a:moveTo>
                  <a:cubicBezTo>
                    <a:pt x="516" y="214"/>
                    <a:pt x="516" y="214"/>
                    <a:pt x="516" y="214"/>
                  </a:cubicBezTo>
                  <a:cubicBezTo>
                    <a:pt x="521" y="214"/>
                    <a:pt x="573" y="327"/>
                    <a:pt x="571" y="328"/>
                  </a:cubicBezTo>
                  <a:cubicBezTo>
                    <a:pt x="571" y="328"/>
                    <a:pt x="571" y="328"/>
                    <a:pt x="571" y="328"/>
                  </a:cubicBezTo>
                  <a:cubicBezTo>
                    <a:pt x="570" y="329"/>
                    <a:pt x="569" y="330"/>
                    <a:pt x="568" y="331"/>
                  </a:cubicBezTo>
                  <a:cubicBezTo>
                    <a:pt x="568" y="331"/>
                    <a:pt x="568" y="331"/>
                    <a:pt x="568" y="331"/>
                  </a:cubicBezTo>
                  <a:cubicBezTo>
                    <a:pt x="568" y="331"/>
                    <a:pt x="568" y="331"/>
                    <a:pt x="568" y="331"/>
                  </a:cubicBezTo>
                  <a:cubicBezTo>
                    <a:pt x="564" y="331"/>
                    <a:pt x="519" y="308"/>
                    <a:pt x="520" y="306"/>
                  </a:cubicBezTo>
                  <a:cubicBezTo>
                    <a:pt x="520" y="306"/>
                    <a:pt x="520" y="306"/>
                    <a:pt x="520" y="306"/>
                  </a:cubicBezTo>
                  <a:cubicBezTo>
                    <a:pt x="521" y="303"/>
                    <a:pt x="521" y="300"/>
                    <a:pt x="520" y="297"/>
                  </a:cubicBezTo>
                  <a:cubicBezTo>
                    <a:pt x="518" y="294"/>
                    <a:pt x="515" y="292"/>
                    <a:pt x="511" y="291"/>
                  </a:cubicBezTo>
                  <a:cubicBezTo>
                    <a:pt x="511" y="291"/>
                    <a:pt x="511" y="291"/>
                    <a:pt x="511" y="291"/>
                  </a:cubicBezTo>
                  <a:cubicBezTo>
                    <a:pt x="509" y="291"/>
                    <a:pt x="508" y="215"/>
                    <a:pt x="513" y="214"/>
                  </a:cubicBezTo>
                  <a:cubicBezTo>
                    <a:pt x="513" y="214"/>
                    <a:pt x="513" y="214"/>
                    <a:pt x="513" y="214"/>
                  </a:cubicBezTo>
                  <a:cubicBezTo>
                    <a:pt x="514" y="214"/>
                    <a:pt x="515" y="214"/>
                    <a:pt x="516" y="214"/>
                  </a:cubicBezTo>
                  <a:cubicBezTo>
                    <a:pt x="516" y="214"/>
                    <a:pt x="516" y="214"/>
                    <a:pt x="516" y="214"/>
                  </a:cubicBezTo>
                  <a:moveTo>
                    <a:pt x="1072" y="189"/>
                  </a:moveTo>
                  <a:cubicBezTo>
                    <a:pt x="1072" y="189"/>
                    <a:pt x="1073" y="189"/>
                    <a:pt x="1075" y="189"/>
                  </a:cubicBezTo>
                  <a:cubicBezTo>
                    <a:pt x="1088" y="189"/>
                    <a:pt x="1130" y="192"/>
                    <a:pt x="1130" y="193"/>
                  </a:cubicBezTo>
                  <a:cubicBezTo>
                    <a:pt x="1130" y="193"/>
                    <a:pt x="1130" y="193"/>
                    <a:pt x="1130" y="193"/>
                  </a:cubicBezTo>
                  <a:cubicBezTo>
                    <a:pt x="1131" y="194"/>
                    <a:pt x="1131" y="194"/>
                    <a:pt x="1131" y="195"/>
                  </a:cubicBezTo>
                  <a:cubicBezTo>
                    <a:pt x="1131" y="195"/>
                    <a:pt x="1131" y="195"/>
                    <a:pt x="1131" y="195"/>
                  </a:cubicBezTo>
                  <a:cubicBezTo>
                    <a:pt x="1132" y="196"/>
                    <a:pt x="1100" y="219"/>
                    <a:pt x="1098" y="219"/>
                  </a:cubicBezTo>
                  <a:cubicBezTo>
                    <a:pt x="1098" y="219"/>
                    <a:pt x="1098" y="219"/>
                    <a:pt x="1098" y="219"/>
                  </a:cubicBezTo>
                  <a:cubicBezTo>
                    <a:pt x="1098" y="219"/>
                    <a:pt x="1098" y="219"/>
                    <a:pt x="1098" y="219"/>
                  </a:cubicBezTo>
                  <a:cubicBezTo>
                    <a:pt x="1098" y="219"/>
                    <a:pt x="1097" y="218"/>
                    <a:pt x="1096" y="218"/>
                  </a:cubicBezTo>
                  <a:cubicBezTo>
                    <a:pt x="1095" y="218"/>
                    <a:pt x="1095" y="219"/>
                    <a:pt x="1094" y="219"/>
                  </a:cubicBezTo>
                  <a:cubicBezTo>
                    <a:pt x="1094" y="219"/>
                    <a:pt x="1094" y="219"/>
                    <a:pt x="1094" y="219"/>
                  </a:cubicBezTo>
                  <a:cubicBezTo>
                    <a:pt x="1094" y="219"/>
                    <a:pt x="1094" y="219"/>
                    <a:pt x="1094" y="219"/>
                  </a:cubicBezTo>
                  <a:cubicBezTo>
                    <a:pt x="1094" y="219"/>
                    <a:pt x="1094" y="219"/>
                    <a:pt x="1094" y="219"/>
                  </a:cubicBezTo>
                  <a:cubicBezTo>
                    <a:pt x="1093" y="219"/>
                    <a:pt x="1069" y="193"/>
                    <a:pt x="1070" y="192"/>
                  </a:cubicBezTo>
                  <a:cubicBezTo>
                    <a:pt x="1070" y="192"/>
                    <a:pt x="1070" y="192"/>
                    <a:pt x="1070" y="192"/>
                  </a:cubicBezTo>
                  <a:cubicBezTo>
                    <a:pt x="1071" y="191"/>
                    <a:pt x="1072" y="190"/>
                    <a:pt x="1072" y="189"/>
                  </a:cubicBezTo>
                  <a:cubicBezTo>
                    <a:pt x="1072" y="189"/>
                    <a:pt x="1072" y="189"/>
                    <a:pt x="1072" y="189"/>
                  </a:cubicBezTo>
                  <a:moveTo>
                    <a:pt x="76" y="193"/>
                  </a:moveTo>
                  <a:cubicBezTo>
                    <a:pt x="75" y="193"/>
                    <a:pt x="62" y="176"/>
                    <a:pt x="54" y="165"/>
                  </a:cubicBezTo>
                  <a:cubicBezTo>
                    <a:pt x="56" y="165"/>
                    <a:pt x="58" y="164"/>
                    <a:pt x="61" y="164"/>
                  </a:cubicBezTo>
                  <a:cubicBezTo>
                    <a:pt x="83" y="181"/>
                    <a:pt x="126" y="212"/>
                    <a:pt x="125" y="212"/>
                  </a:cubicBezTo>
                  <a:cubicBezTo>
                    <a:pt x="125" y="212"/>
                    <a:pt x="125" y="212"/>
                    <a:pt x="125" y="212"/>
                  </a:cubicBezTo>
                  <a:cubicBezTo>
                    <a:pt x="125" y="213"/>
                    <a:pt x="125" y="213"/>
                    <a:pt x="125" y="213"/>
                  </a:cubicBezTo>
                  <a:cubicBezTo>
                    <a:pt x="125" y="213"/>
                    <a:pt x="125" y="213"/>
                    <a:pt x="125" y="213"/>
                  </a:cubicBezTo>
                  <a:cubicBezTo>
                    <a:pt x="125" y="213"/>
                    <a:pt x="125" y="213"/>
                    <a:pt x="125" y="213"/>
                  </a:cubicBezTo>
                  <a:cubicBezTo>
                    <a:pt x="122" y="213"/>
                    <a:pt x="86" y="201"/>
                    <a:pt x="86" y="200"/>
                  </a:cubicBezTo>
                  <a:cubicBezTo>
                    <a:pt x="86" y="200"/>
                    <a:pt x="86" y="200"/>
                    <a:pt x="86" y="200"/>
                  </a:cubicBezTo>
                  <a:cubicBezTo>
                    <a:pt x="86" y="199"/>
                    <a:pt x="86" y="197"/>
                    <a:pt x="86" y="196"/>
                  </a:cubicBezTo>
                  <a:cubicBezTo>
                    <a:pt x="84" y="194"/>
                    <a:pt x="82" y="192"/>
                    <a:pt x="79" y="192"/>
                  </a:cubicBezTo>
                  <a:cubicBezTo>
                    <a:pt x="78" y="192"/>
                    <a:pt x="77" y="193"/>
                    <a:pt x="76" y="193"/>
                  </a:cubicBezTo>
                  <a:cubicBezTo>
                    <a:pt x="76" y="193"/>
                    <a:pt x="76" y="193"/>
                    <a:pt x="76" y="193"/>
                  </a:cubicBezTo>
                  <a:cubicBezTo>
                    <a:pt x="76" y="193"/>
                    <a:pt x="76" y="193"/>
                    <a:pt x="76" y="193"/>
                  </a:cubicBezTo>
                  <a:cubicBezTo>
                    <a:pt x="76" y="193"/>
                    <a:pt x="76" y="193"/>
                    <a:pt x="76" y="193"/>
                  </a:cubicBezTo>
                  <a:moveTo>
                    <a:pt x="772" y="166"/>
                  </a:moveTo>
                  <a:cubicBezTo>
                    <a:pt x="773" y="165"/>
                    <a:pt x="774" y="165"/>
                    <a:pt x="774" y="164"/>
                  </a:cubicBezTo>
                  <a:cubicBezTo>
                    <a:pt x="774" y="164"/>
                    <a:pt x="774" y="164"/>
                    <a:pt x="774" y="164"/>
                  </a:cubicBezTo>
                  <a:cubicBezTo>
                    <a:pt x="774" y="164"/>
                    <a:pt x="775" y="164"/>
                    <a:pt x="775" y="164"/>
                  </a:cubicBezTo>
                  <a:cubicBezTo>
                    <a:pt x="778" y="164"/>
                    <a:pt x="841" y="198"/>
                    <a:pt x="841" y="199"/>
                  </a:cubicBezTo>
                  <a:cubicBezTo>
                    <a:pt x="841" y="199"/>
                    <a:pt x="841" y="199"/>
                    <a:pt x="841" y="199"/>
                  </a:cubicBezTo>
                  <a:cubicBezTo>
                    <a:pt x="840" y="201"/>
                    <a:pt x="840" y="203"/>
                    <a:pt x="841" y="205"/>
                  </a:cubicBezTo>
                  <a:cubicBezTo>
                    <a:pt x="842" y="206"/>
                    <a:pt x="842" y="207"/>
                    <a:pt x="843" y="208"/>
                  </a:cubicBezTo>
                  <a:cubicBezTo>
                    <a:pt x="843" y="208"/>
                    <a:pt x="843" y="208"/>
                    <a:pt x="843" y="208"/>
                  </a:cubicBezTo>
                  <a:cubicBezTo>
                    <a:pt x="844" y="208"/>
                    <a:pt x="822" y="249"/>
                    <a:pt x="818" y="249"/>
                  </a:cubicBezTo>
                  <a:cubicBezTo>
                    <a:pt x="818" y="249"/>
                    <a:pt x="818" y="249"/>
                    <a:pt x="818" y="249"/>
                  </a:cubicBezTo>
                  <a:cubicBezTo>
                    <a:pt x="818" y="249"/>
                    <a:pt x="818" y="249"/>
                    <a:pt x="818" y="249"/>
                  </a:cubicBezTo>
                  <a:cubicBezTo>
                    <a:pt x="816" y="248"/>
                    <a:pt x="813" y="247"/>
                    <a:pt x="811" y="247"/>
                  </a:cubicBezTo>
                  <a:cubicBezTo>
                    <a:pt x="810" y="247"/>
                    <a:pt x="808" y="247"/>
                    <a:pt x="807" y="248"/>
                  </a:cubicBezTo>
                  <a:cubicBezTo>
                    <a:pt x="807" y="248"/>
                    <a:pt x="807" y="248"/>
                    <a:pt x="807" y="248"/>
                  </a:cubicBezTo>
                  <a:cubicBezTo>
                    <a:pt x="807" y="248"/>
                    <a:pt x="807" y="248"/>
                    <a:pt x="807" y="248"/>
                  </a:cubicBezTo>
                  <a:cubicBezTo>
                    <a:pt x="803" y="248"/>
                    <a:pt x="771" y="166"/>
                    <a:pt x="772" y="166"/>
                  </a:cubicBezTo>
                  <a:cubicBezTo>
                    <a:pt x="772" y="166"/>
                    <a:pt x="772" y="166"/>
                    <a:pt x="772" y="166"/>
                  </a:cubicBezTo>
                  <a:moveTo>
                    <a:pt x="54" y="165"/>
                  </a:moveTo>
                  <a:cubicBezTo>
                    <a:pt x="50" y="159"/>
                    <a:pt x="47" y="155"/>
                    <a:pt x="47" y="155"/>
                  </a:cubicBezTo>
                  <a:cubicBezTo>
                    <a:pt x="48" y="155"/>
                    <a:pt x="53" y="159"/>
                    <a:pt x="61" y="164"/>
                  </a:cubicBezTo>
                  <a:cubicBezTo>
                    <a:pt x="58" y="164"/>
                    <a:pt x="56" y="164"/>
                    <a:pt x="54" y="165"/>
                  </a:cubicBezTo>
                  <a:moveTo>
                    <a:pt x="47" y="155"/>
                  </a:moveTo>
                  <a:cubicBezTo>
                    <a:pt x="47" y="155"/>
                    <a:pt x="47" y="155"/>
                    <a:pt x="47" y="155"/>
                  </a:cubicBezTo>
                  <a:cubicBezTo>
                    <a:pt x="47" y="155"/>
                    <a:pt x="47" y="155"/>
                    <a:pt x="47" y="155"/>
                  </a:cubicBezTo>
                  <a:cubicBezTo>
                    <a:pt x="47" y="155"/>
                    <a:pt x="47" y="155"/>
                    <a:pt x="47" y="155"/>
                  </a:cubicBezTo>
                  <a:moveTo>
                    <a:pt x="872" y="144"/>
                  </a:moveTo>
                  <a:cubicBezTo>
                    <a:pt x="873" y="144"/>
                    <a:pt x="873" y="144"/>
                    <a:pt x="874" y="144"/>
                  </a:cubicBezTo>
                  <a:cubicBezTo>
                    <a:pt x="886" y="144"/>
                    <a:pt x="995" y="171"/>
                    <a:pt x="995" y="175"/>
                  </a:cubicBezTo>
                  <a:cubicBezTo>
                    <a:pt x="995" y="175"/>
                    <a:pt x="995" y="175"/>
                    <a:pt x="995" y="175"/>
                  </a:cubicBezTo>
                  <a:cubicBezTo>
                    <a:pt x="994" y="176"/>
                    <a:pt x="994" y="177"/>
                    <a:pt x="994" y="178"/>
                  </a:cubicBezTo>
                  <a:cubicBezTo>
                    <a:pt x="994" y="181"/>
                    <a:pt x="995" y="183"/>
                    <a:pt x="996" y="186"/>
                  </a:cubicBezTo>
                  <a:cubicBezTo>
                    <a:pt x="998" y="190"/>
                    <a:pt x="943" y="219"/>
                    <a:pt x="938" y="219"/>
                  </a:cubicBezTo>
                  <a:cubicBezTo>
                    <a:pt x="938" y="219"/>
                    <a:pt x="937" y="219"/>
                    <a:pt x="937" y="219"/>
                  </a:cubicBezTo>
                  <a:cubicBezTo>
                    <a:pt x="937" y="219"/>
                    <a:pt x="937" y="219"/>
                    <a:pt x="937" y="219"/>
                  </a:cubicBezTo>
                  <a:cubicBezTo>
                    <a:pt x="934" y="215"/>
                    <a:pt x="930" y="213"/>
                    <a:pt x="925" y="213"/>
                  </a:cubicBezTo>
                  <a:cubicBezTo>
                    <a:pt x="923" y="213"/>
                    <a:pt x="921" y="213"/>
                    <a:pt x="919" y="214"/>
                  </a:cubicBezTo>
                  <a:cubicBezTo>
                    <a:pt x="918" y="215"/>
                    <a:pt x="918" y="215"/>
                    <a:pt x="918" y="215"/>
                  </a:cubicBezTo>
                  <a:cubicBezTo>
                    <a:pt x="918" y="215"/>
                    <a:pt x="918" y="215"/>
                    <a:pt x="918" y="215"/>
                  </a:cubicBezTo>
                  <a:cubicBezTo>
                    <a:pt x="918" y="215"/>
                    <a:pt x="918" y="215"/>
                    <a:pt x="918" y="215"/>
                  </a:cubicBezTo>
                  <a:cubicBezTo>
                    <a:pt x="915" y="215"/>
                    <a:pt x="866" y="152"/>
                    <a:pt x="869" y="150"/>
                  </a:cubicBezTo>
                  <a:cubicBezTo>
                    <a:pt x="869" y="150"/>
                    <a:pt x="869" y="150"/>
                    <a:pt x="869" y="150"/>
                  </a:cubicBezTo>
                  <a:cubicBezTo>
                    <a:pt x="870" y="148"/>
                    <a:pt x="872" y="146"/>
                    <a:pt x="872" y="144"/>
                  </a:cubicBezTo>
                  <a:cubicBezTo>
                    <a:pt x="872" y="144"/>
                    <a:pt x="872" y="144"/>
                    <a:pt x="872" y="144"/>
                  </a:cubicBezTo>
                  <a:moveTo>
                    <a:pt x="776" y="159"/>
                  </a:moveTo>
                  <a:cubicBezTo>
                    <a:pt x="776" y="157"/>
                    <a:pt x="826" y="144"/>
                    <a:pt x="836" y="144"/>
                  </a:cubicBezTo>
                  <a:cubicBezTo>
                    <a:pt x="837" y="144"/>
                    <a:pt x="838" y="144"/>
                    <a:pt x="838" y="144"/>
                  </a:cubicBezTo>
                  <a:cubicBezTo>
                    <a:pt x="838" y="144"/>
                    <a:pt x="838" y="144"/>
                    <a:pt x="838" y="144"/>
                  </a:cubicBezTo>
                  <a:cubicBezTo>
                    <a:pt x="840" y="149"/>
                    <a:pt x="845" y="153"/>
                    <a:pt x="851" y="154"/>
                  </a:cubicBezTo>
                  <a:cubicBezTo>
                    <a:pt x="851" y="154"/>
                    <a:pt x="851" y="154"/>
                    <a:pt x="851" y="154"/>
                  </a:cubicBezTo>
                  <a:cubicBezTo>
                    <a:pt x="854" y="155"/>
                    <a:pt x="849" y="194"/>
                    <a:pt x="847" y="195"/>
                  </a:cubicBezTo>
                  <a:cubicBezTo>
                    <a:pt x="847" y="195"/>
                    <a:pt x="847" y="195"/>
                    <a:pt x="847" y="195"/>
                  </a:cubicBezTo>
                  <a:cubicBezTo>
                    <a:pt x="846" y="195"/>
                    <a:pt x="846" y="195"/>
                    <a:pt x="845" y="195"/>
                  </a:cubicBezTo>
                  <a:cubicBezTo>
                    <a:pt x="844" y="196"/>
                    <a:pt x="843" y="196"/>
                    <a:pt x="842" y="197"/>
                  </a:cubicBezTo>
                  <a:cubicBezTo>
                    <a:pt x="842" y="197"/>
                    <a:pt x="842" y="197"/>
                    <a:pt x="842" y="197"/>
                  </a:cubicBezTo>
                  <a:cubicBezTo>
                    <a:pt x="842" y="197"/>
                    <a:pt x="842" y="197"/>
                    <a:pt x="842" y="197"/>
                  </a:cubicBezTo>
                  <a:cubicBezTo>
                    <a:pt x="839" y="197"/>
                    <a:pt x="775" y="163"/>
                    <a:pt x="776" y="162"/>
                  </a:cubicBezTo>
                  <a:cubicBezTo>
                    <a:pt x="776" y="162"/>
                    <a:pt x="776" y="162"/>
                    <a:pt x="776" y="162"/>
                  </a:cubicBezTo>
                  <a:cubicBezTo>
                    <a:pt x="776" y="161"/>
                    <a:pt x="776" y="160"/>
                    <a:pt x="776" y="159"/>
                  </a:cubicBezTo>
                  <a:cubicBezTo>
                    <a:pt x="776" y="159"/>
                    <a:pt x="776" y="159"/>
                    <a:pt x="776" y="159"/>
                  </a:cubicBezTo>
                  <a:moveTo>
                    <a:pt x="48" y="137"/>
                  </a:moveTo>
                  <a:cubicBezTo>
                    <a:pt x="48" y="137"/>
                    <a:pt x="48" y="137"/>
                    <a:pt x="48" y="137"/>
                  </a:cubicBezTo>
                  <a:cubicBezTo>
                    <a:pt x="51" y="137"/>
                    <a:pt x="108" y="159"/>
                    <a:pt x="108" y="160"/>
                  </a:cubicBezTo>
                  <a:cubicBezTo>
                    <a:pt x="108" y="160"/>
                    <a:pt x="108" y="160"/>
                    <a:pt x="108" y="160"/>
                  </a:cubicBezTo>
                  <a:cubicBezTo>
                    <a:pt x="108" y="161"/>
                    <a:pt x="108" y="161"/>
                    <a:pt x="108" y="161"/>
                  </a:cubicBezTo>
                  <a:cubicBezTo>
                    <a:pt x="108" y="161"/>
                    <a:pt x="108" y="161"/>
                    <a:pt x="108" y="161"/>
                  </a:cubicBezTo>
                  <a:cubicBezTo>
                    <a:pt x="107" y="161"/>
                    <a:pt x="84" y="163"/>
                    <a:pt x="61" y="164"/>
                  </a:cubicBezTo>
                  <a:cubicBezTo>
                    <a:pt x="53" y="158"/>
                    <a:pt x="47" y="154"/>
                    <a:pt x="48" y="154"/>
                  </a:cubicBezTo>
                  <a:cubicBezTo>
                    <a:pt x="48" y="154"/>
                    <a:pt x="48" y="154"/>
                    <a:pt x="48" y="154"/>
                  </a:cubicBezTo>
                  <a:cubicBezTo>
                    <a:pt x="48" y="153"/>
                    <a:pt x="48" y="151"/>
                    <a:pt x="48" y="150"/>
                  </a:cubicBezTo>
                  <a:cubicBezTo>
                    <a:pt x="47" y="149"/>
                    <a:pt x="45" y="148"/>
                    <a:pt x="44" y="148"/>
                  </a:cubicBezTo>
                  <a:cubicBezTo>
                    <a:pt x="43" y="148"/>
                    <a:pt x="43" y="148"/>
                    <a:pt x="42" y="148"/>
                  </a:cubicBezTo>
                  <a:cubicBezTo>
                    <a:pt x="40" y="149"/>
                    <a:pt x="39" y="152"/>
                    <a:pt x="40" y="153"/>
                  </a:cubicBezTo>
                  <a:cubicBezTo>
                    <a:pt x="41" y="155"/>
                    <a:pt x="42" y="156"/>
                    <a:pt x="44" y="156"/>
                  </a:cubicBezTo>
                  <a:cubicBezTo>
                    <a:pt x="45" y="156"/>
                    <a:pt x="45" y="156"/>
                    <a:pt x="46" y="155"/>
                  </a:cubicBezTo>
                  <a:cubicBezTo>
                    <a:pt x="46" y="155"/>
                    <a:pt x="46" y="155"/>
                    <a:pt x="46" y="155"/>
                  </a:cubicBezTo>
                  <a:cubicBezTo>
                    <a:pt x="46" y="155"/>
                    <a:pt x="46" y="155"/>
                    <a:pt x="46" y="155"/>
                  </a:cubicBezTo>
                  <a:cubicBezTo>
                    <a:pt x="46" y="155"/>
                    <a:pt x="46" y="155"/>
                    <a:pt x="46" y="155"/>
                  </a:cubicBezTo>
                  <a:cubicBezTo>
                    <a:pt x="46" y="155"/>
                    <a:pt x="49" y="159"/>
                    <a:pt x="53" y="165"/>
                  </a:cubicBezTo>
                  <a:cubicBezTo>
                    <a:pt x="38" y="165"/>
                    <a:pt x="24" y="166"/>
                    <a:pt x="18" y="166"/>
                  </a:cubicBezTo>
                  <a:cubicBezTo>
                    <a:pt x="16" y="166"/>
                    <a:pt x="15" y="166"/>
                    <a:pt x="15" y="166"/>
                  </a:cubicBezTo>
                  <a:cubicBezTo>
                    <a:pt x="15" y="166"/>
                    <a:pt x="15" y="166"/>
                    <a:pt x="15" y="166"/>
                  </a:cubicBezTo>
                  <a:cubicBezTo>
                    <a:pt x="14" y="165"/>
                    <a:pt x="14" y="165"/>
                    <a:pt x="14" y="164"/>
                  </a:cubicBezTo>
                  <a:cubicBezTo>
                    <a:pt x="13" y="163"/>
                    <a:pt x="13" y="163"/>
                    <a:pt x="13" y="163"/>
                  </a:cubicBezTo>
                  <a:cubicBezTo>
                    <a:pt x="13" y="163"/>
                    <a:pt x="13" y="163"/>
                    <a:pt x="13" y="163"/>
                  </a:cubicBezTo>
                  <a:cubicBezTo>
                    <a:pt x="13" y="162"/>
                    <a:pt x="40" y="138"/>
                    <a:pt x="41" y="138"/>
                  </a:cubicBezTo>
                  <a:cubicBezTo>
                    <a:pt x="41" y="138"/>
                    <a:pt x="41" y="138"/>
                    <a:pt x="41" y="138"/>
                  </a:cubicBezTo>
                  <a:cubicBezTo>
                    <a:pt x="41" y="138"/>
                    <a:pt x="41" y="138"/>
                    <a:pt x="41" y="138"/>
                  </a:cubicBezTo>
                  <a:cubicBezTo>
                    <a:pt x="42" y="139"/>
                    <a:pt x="43" y="139"/>
                    <a:pt x="44" y="139"/>
                  </a:cubicBezTo>
                  <a:cubicBezTo>
                    <a:pt x="45" y="139"/>
                    <a:pt x="45" y="139"/>
                    <a:pt x="46" y="139"/>
                  </a:cubicBezTo>
                  <a:cubicBezTo>
                    <a:pt x="47" y="138"/>
                    <a:pt x="48" y="138"/>
                    <a:pt x="48" y="137"/>
                  </a:cubicBezTo>
                  <a:cubicBezTo>
                    <a:pt x="48" y="137"/>
                    <a:pt x="48" y="137"/>
                    <a:pt x="48" y="137"/>
                  </a:cubicBezTo>
                  <a:moveTo>
                    <a:pt x="586" y="70"/>
                  </a:moveTo>
                  <a:cubicBezTo>
                    <a:pt x="586" y="70"/>
                    <a:pt x="586" y="70"/>
                    <a:pt x="586" y="70"/>
                  </a:cubicBezTo>
                  <a:cubicBezTo>
                    <a:pt x="588" y="70"/>
                    <a:pt x="590" y="71"/>
                    <a:pt x="592" y="71"/>
                  </a:cubicBezTo>
                  <a:cubicBezTo>
                    <a:pt x="594" y="71"/>
                    <a:pt x="596" y="70"/>
                    <a:pt x="598" y="70"/>
                  </a:cubicBezTo>
                  <a:cubicBezTo>
                    <a:pt x="597" y="70"/>
                    <a:pt x="597" y="70"/>
                    <a:pt x="597" y="70"/>
                  </a:cubicBezTo>
                  <a:cubicBezTo>
                    <a:pt x="597" y="70"/>
                    <a:pt x="597" y="70"/>
                    <a:pt x="598" y="70"/>
                  </a:cubicBezTo>
                  <a:cubicBezTo>
                    <a:pt x="601" y="70"/>
                    <a:pt x="642" y="138"/>
                    <a:pt x="637" y="142"/>
                  </a:cubicBezTo>
                  <a:cubicBezTo>
                    <a:pt x="637" y="142"/>
                    <a:pt x="637" y="142"/>
                    <a:pt x="637" y="142"/>
                  </a:cubicBezTo>
                  <a:cubicBezTo>
                    <a:pt x="630" y="147"/>
                    <a:pt x="625" y="156"/>
                    <a:pt x="625" y="165"/>
                  </a:cubicBezTo>
                  <a:cubicBezTo>
                    <a:pt x="625" y="179"/>
                    <a:pt x="634" y="190"/>
                    <a:pt x="648" y="194"/>
                  </a:cubicBezTo>
                  <a:cubicBezTo>
                    <a:pt x="653" y="195"/>
                    <a:pt x="643" y="267"/>
                    <a:pt x="640" y="268"/>
                  </a:cubicBezTo>
                  <a:cubicBezTo>
                    <a:pt x="640" y="268"/>
                    <a:pt x="640" y="268"/>
                    <a:pt x="640" y="268"/>
                  </a:cubicBezTo>
                  <a:cubicBezTo>
                    <a:pt x="632" y="268"/>
                    <a:pt x="625" y="274"/>
                    <a:pt x="625" y="283"/>
                  </a:cubicBezTo>
                  <a:cubicBezTo>
                    <a:pt x="625" y="286"/>
                    <a:pt x="626" y="288"/>
                    <a:pt x="628" y="291"/>
                  </a:cubicBezTo>
                  <a:cubicBezTo>
                    <a:pt x="628" y="291"/>
                    <a:pt x="628" y="291"/>
                    <a:pt x="628" y="291"/>
                  </a:cubicBezTo>
                  <a:cubicBezTo>
                    <a:pt x="629" y="293"/>
                    <a:pt x="586" y="329"/>
                    <a:pt x="583" y="329"/>
                  </a:cubicBezTo>
                  <a:cubicBezTo>
                    <a:pt x="583" y="329"/>
                    <a:pt x="583" y="329"/>
                    <a:pt x="583" y="329"/>
                  </a:cubicBezTo>
                  <a:cubicBezTo>
                    <a:pt x="583" y="329"/>
                    <a:pt x="583" y="329"/>
                    <a:pt x="583" y="329"/>
                  </a:cubicBezTo>
                  <a:cubicBezTo>
                    <a:pt x="581" y="328"/>
                    <a:pt x="579" y="327"/>
                    <a:pt x="576" y="327"/>
                  </a:cubicBezTo>
                  <a:cubicBezTo>
                    <a:pt x="576" y="327"/>
                    <a:pt x="575" y="327"/>
                    <a:pt x="574" y="327"/>
                  </a:cubicBezTo>
                  <a:cubicBezTo>
                    <a:pt x="574" y="327"/>
                    <a:pt x="574" y="327"/>
                    <a:pt x="574" y="327"/>
                  </a:cubicBezTo>
                  <a:cubicBezTo>
                    <a:pt x="574" y="327"/>
                    <a:pt x="574" y="327"/>
                    <a:pt x="574" y="327"/>
                  </a:cubicBezTo>
                  <a:cubicBezTo>
                    <a:pt x="572" y="327"/>
                    <a:pt x="518" y="213"/>
                    <a:pt x="523" y="211"/>
                  </a:cubicBezTo>
                  <a:cubicBezTo>
                    <a:pt x="523" y="211"/>
                    <a:pt x="523" y="211"/>
                    <a:pt x="523" y="211"/>
                  </a:cubicBezTo>
                  <a:cubicBezTo>
                    <a:pt x="530" y="206"/>
                    <a:pt x="535" y="199"/>
                    <a:pt x="535" y="190"/>
                  </a:cubicBezTo>
                  <a:cubicBezTo>
                    <a:pt x="535" y="182"/>
                    <a:pt x="531" y="175"/>
                    <a:pt x="525" y="171"/>
                  </a:cubicBezTo>
                  <a:cubicBezTo>
                    <a:pt x="525" y="171"/>
                    <a:pt x="525" y="171"/>
                    <a:pt x="525" y="171"/>
                  </a:cubicBezTo>
                  <a:cubicBezTo>
                    <a:pt x="521" y="168"/>
                    <a:pt x="583" y="70"/>
                    <a:pt x="586" y="70"/>
                  </a:cubicBezTo>
                  <a:cubicBezTo>
                    <a:pt x="586" y="70"/>
                    <a:pt x="586" y="70"/>
                    <a:pt x="586" y="70"/>
                  </a:cubicBezTo>
                  <a:moveTo>
                    <a:pt x="678" y="145"/>
                  </a:moveTo>
                  <a:cubicBezTo>
                    <a:pt x="674" y="141"/>
                    <a:pt x="762" y="34"/>
                    <a:pt x="767" y="34"/>
                  </a:cubicBezTo>
                  <a:cubicBezTo>
                    <a:pt x="767" y="34"/>
                    <a:pt x="767" y="34"/>
                    <a:pt x="767" y="34"/>
                  </a:cubicBezTo>
                  <a:cubicBezTo>
                    <a:pt x="767" y="34"/>
                    <a:pt x="767" y="34"/>
                    <a:pt x="767" y="34"/>
                  </a:cubicBezTo>
                  <a:cubicBezTo>
                    <a:pt x="770" y="35"/>
                    <a:pt x="773" y="36"/>
                    <a:pt x="776" y="36"/>
                  </a:cubicBezTo>
                  <a:cubicBezTo>
                    <a:pt x="779" y="36"/>
                    <a:pt x="781" y="35"/>
                    <a:pt x="784" y="34"/>
                  </a:cubicBezTo>
                  <a:cubicBezTo>
                    <a:pt x="784" y="34"/>
                    <a:pt x="784" y="34"/>
                    <a:pt x="784" y="34"/>
                  </a:cubicBezTo>
                  <a:cubicBezTo>
                    <a:pt x="784" y="34"/>
                    <a:pt x="784" y="34"/>
                    <a:pt x="784" y="34"/>
                  </a:cubicBezTo>
                  <a:cubicBezTo>
                    <a:pt x="788" y="34"/>
                    <a:pt x="846" y="121"/>
                    <a:pt x="843" y="124"/>
                  </a:cubicBezTo>
                  <a:cubicBezTo>
                    <a:pt x="843" y="123"/>
                    <a:pt x="843" y="123"/>
                    <a:pt x="843" y="123"/>
                  </a:cubicBezTo>
                  <a:cubicBezTo>
                    <a:pt x="839" y="127"/>
                    <a:pt x="837" y="132"/>
                    <a:pt x="837" y="137"/>
                  </a:cubicBezTo>
                  <a:cubicBezTo>
                    <a:pt x="837" y="138"/>
                    <a:pt x="837" y="138"/>
                    <a:pt x="837" y="139"/>
                  </a:cubicBezTo>
                  <a:cubicBezTo>
                    <a:pt x="837" y="139"/>
                    <a:pt x="837" y="139"/>
                    <a:pt x="837" y="139"/>
                  </a:cubicBezTo>
                  <a:cubicBezTo>
                    <a:pt x="837" y="142"/>
                    <a:pt x="781" y="156"/>
                    <a:pt x="776" y="156"/>
                  </a:cubicBezTo>
                  <a:cubicBezTo>
                    <a:pt x="776" y="156"/>
                    <a:pt x="775" y="156"/>
                    <a:pt x="775" y="156"/>
                  </a:cubicBezTo>
                  <a:cubicBezTo>
                    <a:pt x="775" y="156"/>
                    <a:pt x="775" y="156"/>
                    <a:pt x="775" y="156"/>
                  </a:cubicBezTo>
                  <a:cubicBezTo>
                    <a:pt x="775" y="156"/>
                    <a:pt x="775" y="156"/>
                    <a:pt x="775" y="156"/>
                  </a:cubicBezTo>
                  <a:cubicBezTo>
                    <a:pt x="774" y="153"/>
                    <a:pt x="771" y="152"/>
                    <a:pt x="768" y="152"/>
                  </a:cubicBezTo>
                  <a:cubicBezTo>
                    <a:pt x="767" y="152"/>
                    <a:pt x="766" y="152"/>
                    <a:pt x="765" y="153"/>
                  </a:cubicBezTo>
                  <a:cubicBezTo>
                    <a:pt x="763" y="154"/>
                    <a:pt x="761" y="156"/>
                    <a:pt x="761" y="158"/>
                  </a:cubicBezTo>
                  <a:cubicBezTo>
                    <a:pt x="761" y="158"/>
                    <a:pt x="761" y="158"/>
                    <a:pt x="761" y="158"/>
                  </a:cubicBezTo>
                  <a:cubicBezTo>
                    <a:pt x="761" y="159"/>
                    <a:pt x="751" y="160"/>
                    <a:pt x="738" y="161"/>
                  </a:cubicBezTo>
                  <a:cubicBezTo>
                    <a:pt x="744" y="161"/>
                    <a:pt x="749" y="161"/>
                    <a:pt x="753" y="161"/>
                  </a:cubicBezTo>
                  <a:cubicBezTo>
                    <a:pt x="758" y="161"/>
                    <a:pt x="761" y="161"/>
                    <a:pt x="761" y="161"/>
                  </a:cubicBezTo>
                  <a:cubicBezTo>
                    <a:pt x="761" y="161"/>
                    <a:pt x="761" y="161"/>
                    <a:pt x="761" y="161"/>
                  </a:cubicBezTo>
                  <a:cubicBezTo>
                    <a:pt x="761" y="161"/>
                    <a:pt x="761" y="162"/>
                    <a:pt x="761" y="162"/>
                  </a:cubicBezTo>
                  <a:cubicBezTo>
                    <a:pt x="762" y="163"/>
                    <a:pt x="762" y="163"/>
                    <a:pt x="762" y="164"/>
                  </a:cubicBezTo>
                  <a:cubicBezTo>
                    <a:pt x="762" y="164"/>
                    <a:pt x="762" y="164"/>
                    <a:pt x="762" y="164"/>
                  </a:cubicBezTo>
                  <a:cubicBezTo>
                    <a:pt x="763" y="164"/>
                    <a:pt x="736" y="191"/>
                    <a:pt x="708" y="218"/>
                  </a:cubicBezTo>
                  <a:cubicBezTo>
                    <a:pt x="706" y="216"/>
                    <a:pt x="704" y="214"/>
                    <a:pt x="702" y="212"/>
                  </a:cubicBezTo>
                  <a:cubicBezTo>
                    <a:pt x="704" y="214"/>
                    <a:pt x="706" y="216"/>
                    <a:pt x="707" y="218"/>
                  </a:cubicBezTo>
                  <a:cubicBezTo>
                    <a:pt x="680" y="244"/>
                    <a:pt x="652" y="270"/>
                    <a:pt x="650" y="270"/>
                  </a:cubicBezTo>
                  <a:cubicBezTo>
                    <a:pt x="650" y="270"/>
                    <a:pt x="650" y="270"/>
                    <a:pt x="650" y="270"/>
                  </a:cubicBezTo>
                  <a:cubicBezTo>
                    <a:pt x="650" y="270"/>
                    <a:pt x="650" y="270"/>
                    <a:pt x="650" y="270"/>
                  </a:cubicBezTo>
                  <a:cubicBezTo>
                    <a:pt x="649" y="269"/>
                    <a:pt x="647" y="269"/>
                    <a:pt x="645" y="268"/>
                  </a:cubicBezTo>
                  <a:cubicBezTo>
                    <a:pt x="645" y="268"/>
                    <a:pt x="645" y="268"/>
                    <a:pt x="645" y="268"/>
                  </a:cubicBezTo>
                  <a:cubicBezTo>
                    <a:pt x="642" y="267"/>
                    <a:pt x="650" y="195"/>
                    <a:pt x="656" y="195"/>
                  </a:cubicBezTo>
                  <a:cubicBezTo>
                    <a:pt x="656" y="195"/>
                    <a:pt x="656" y="195"/>
                    <a:pt x="656" y="195"/>
                  </a:cubicBezTo>
                  <a:cubicBezTo>
                    <a:pt x="663" y="194"/>
                    <a:pt x="669" y="192"/>
                    <a:pt x="674" y="189"/>
                  </a:cubicBezTo>
                  <a:cubicBezTo>
                    <a:pt x="674" y="189"/>
                    <a:pt x="674" y="189"/>
                    <a:pt x="674" y="189"/>
                  </a:cubicBezTo>
                  <a:cubicBezTo>
                    <a:pt x="674" y="189"/>
                    <a:pt x="674" y="189"/>
                    <a:pt x="674" y="189"/>
                  </a:cubicBezTo>
                  <a:cubicBezTo>
                    <a:pt x="677" y="189"/>
                    <a:pt x="683" y="194"/>
                    <a:pt x="690" y="200"/>
                  </a:cubicBezTo>
                  <a:cubicBezTo>
                    <a:pt x="683" y="192"/>
                    <a:pt x="678" y="186"/>
                    <a:pt x="679" y="184"/>
                  </a:cubicBezTo>
                  <a:cubicBezTo>
                    <a:pt x="679" y="184"/>
                    <a:pt x="679" y="184"/>
                    <a:pt x="679" y="184"/>
                  </a:cubicBezTo>
                  <a:cubicBezTo>
                    <a:pt x="683" y="179"/>
                    <a:pt x="686" y="174"/>
                    <a:pt x="686" y="168"/>
                  </a:cubicBezTo>
                  <a:cubicBezTo>
                    <a:pt x="686" y="168"/>
                    <a:pt x="686" y="168"/>
                    <a:pt x="686" y="168"/>
                  </a:cubicBezTo>
                  <a:cubicBezTo>
                    <a:pt x="686" y="165"/>
                    <a:pt x="701" y="163"/>
                    <a:pt x="718" y="162"/>
                  </a:cubicBezTo>
                  <a:cubicBezTo>
                    <a:pt x="713" y="162"/>
                    <a:pt x="709" y="162"/>
                    <a:pt x="705" y="162"/>
                  </a:cubicBezTo>
                  <a:cubicBezTo>
                    <a:pt x="694" y="162"/>
                    <a:pt x="686" y="161"/>
                    <a:pt x="686" y="160"/>
                  </a:cubicBezTo>
                  <a:cubicBezTo>
                    <a:pt x="686" y="160"/>
                    <a:pt x="686" y="160"/>
                    <a:pt x="686" y="160"/>
                  </a:cubicBezTo>
                  <a:cubicBezTo>
                    <a:pt x="685" y="154"/>
                    <a:pt x="682" y="149"/>
                    <a:pt x="678" y="145"/>
                  </a:cubicBezTo>
                  <a:cubicBezTo>
                    <a:pt x="678" y="145"/>
                    <a:pt x="678" y="145"/>
                    <a:pt x="678" y="145"/>
                  </a:cubicBezTo>
                  <a:moveTo>
                    <a:pt x="789" y="31"/>
                  </a:moveTo>
                  <a:cubicBezTo>
                    <a:pt x="789" y="31"/>
                    <a:pt x="789" y="31"/>
                    <a:pt x="789" y="31"/>
                  </a:cubicBezTo>
                  <a:cubicBezTo>
                    <a:pt x="789" y="31"/>
                    <a:pt x="789" y="31"/>
                    <a:pt x="789" y="31"/>
                  </a:cubicBezTo>
                  <a:cubicBezTo>
                    <a:pt x="789" y="31"/>
                    <a:pt x="789" y="31"/>
                    <a:pt x="789" y="31"/>
                  </a:cubicBezTo>
                  <a:moveTo>
                    <a:pt x="776" y="0"/>
                  </a:moveTo>
                  <a:cubicBezTo>
                    <a:pt x="766" y="0"/>
                    <a:pt x="757" y="8"/>
                    <a:pt x="757" y="18"/>
                  </a:cubicBezTo>
                  <a:cubicBezTo>
                    <a:pt x="757" y="23"/>
                    <a:pt x="759" y="27"/>
                    <a:pt x="763" y="30"/>
                  </a:cubicBezTo>
                  <a:cubicBezTo>
                    <a:pt x="762" y="30"/>
                    <a:pt x="762" y="30"/>
                    <a:pt x="762" y="30"/>
                  </a:cubicBezTo>
                  <a:cubicBezTo>
                    <a:pt x="765" y="33"/>
                    <a:pt x="678" y="140"/>
                    <a:pt x="671" y="140"/>
                  </a:cubicBezTo>
                  <a:cubicBezTo>
                    <a:pt x="671" y="140"/>
                    <a:pt x="671" y="140"/>
                    <a:pt x="671" y="140"/>
                  </a:cubicBezTo>
                  <a:cubicBezTo>
                    <a:pt x="671" y="140"/>
                    <a:pt x="671" y="140"/>
                    <a:pt x="671" y="140"/>
                  </a:cubicBezTo>
                  <a:cubicBezTo>
                    <a:pt x="666" y="137"/>
                    <a:pt x="661" y="136"/>
                    <a:pt x="656" y="136"/>
                  </a:cubicBezTo>
                  <a:cubicBezTo>
                    <a:pt x="652" y="136"/>
                    <a:pt x="648" y="136"/>
                    <a:pt x="645" y="138"/>
                  </a:cubicBezTo>
                  <a:cubicBezTo>
                    <a:pt x="645" y="138"/>
                    <a:pt x="645" y="138"/>
                    <a:pt x="644" y="138"/>
                  </a:cubicBezTo>
                  <a:cubicBezTo>
                    <a:pt x="638" y="138"/>
                    <a:pt x="600" y="69"/>
                    <a:pt x="602" y="67"/>
                  </a:cubicBezTo>
                  <a:cubicBezTo>
                    <a:pt x="602" y="68"/>
                    <a:pt x="602" y="68"/>
                    <a:pt x="602" y="68"/>
                  </a:cubicBezTo>
                  <a:cubicBezTo>
                    <a:pt x="606" y="65"/>
                    <a:pt x="608" y="60"/>
                    <a:pt x="608" y="56"/>
                  </a:cubicBezTo>
                  <a:cubicBezTo>
                    <a:pt x="608" y="47"/>
                    <a:pt x="601" y="41"/>
                    <a:pt x="592" y="41"/>
                  </a:cubicBezTo>
                  <a:cubicBezTo>
                    <a:pt x="584" y="41"/>
                    <a:pt x="576" y="47"/>
                    <a:pt x="576" y="56"/>
                  </a:cubicBezTo>
                  <a:cubicBezTo>
                    <a:pt x="576" y="60"/>
                    <a:pt x="579" y="64"/>
                    <a:pt x="582" y="67"/>
                  </a:cubicBezTo>
                  <a:cubicBezTo>
                    <a:pt x="582" y="67"/>
                    <a:pt x="582" y="67"/>
                    <a:pt x="582" y="67"/>
                  </a:cubicBezTo>
                  <a:cubicBezTo>
                    <a:pt x="584" y="69"/>
                    <a:pt x="525" y="167"/>
                    <a:pt x="519" y="167"/>
                  </a:cubicBezTo>
                  <a:cubicBezTo>
                    <a:pt x="519" y="167"/>
                    <a:pt x="519" y="167"/>
                    <a:pt x="519" y="167"/>
                  </a:cubicBezTo>
                  <a:cubicBezTo>
                    <a:pt x="516" y="166"/>
                    <a:pt x="512" y="165"/>
                    <a:pt x="509" y="165"/>
                  </a:cubicBezTo>
                  <a:cubicBezTo>
                    <a:pt x="495" y="165"/>
                    <a:pt x="483" y="176"/>
                    <a:pt x="483" y="190"/>
                  </a:cubicBezTo>
                  <a:cubicBezTo>
                    <a:pt x="483" y="202"/>
                    <a:pt x="493" y="213"/>
                    <a:pt x="505" y="214"/>
                  </a:cubicBezTo>
                  <a:cubicBezTo>
                    <a:pt x="505" y="214"/>
                    <a:pt x="505" y="214"/>
                    <a:pt x="505" y="214"/>
                  </a:cubicBezTo>
                  <a:cubicBezTo>
                    <a:pt x="510" y="215"/>
                    <a:pt x="509" y="291"/>
                    <a:pt x="507" y="291"/>
                  </a:cubicBezTo>
                  <a:cubicBezTo>
                    <a:pt x="507" y="291"/>
                    <a:pt x="507" y="291"/>
                    <a:pt x="507" y="291"/>
                  </a:cubicBezTo>
                  <a:cubicBezTo>
                    <a:pt x="506" y="291"/>
                    <a:pt x="505" y="291"/>
                    <a:pt x="504" y="292"/>
                  </a:cubicBezTo>
                  <a:cubicBezTo>
                    <a:pt x="500" y="294"/>
                    <a:pt x="497" y="298"/>
                    <a:pt x="497" y="302"/>
                  </a:cubicBezTo>
                  <a:cubicBezTo>
                    <a:pt x="497" y="302"/>
                    <a:pt x="497" y="302"/>
                    <a:pt x="497" y="302"/>
                  </a:cubicBezTo>
                  <a:cubicBezTo>
                    <a:pt x="497" y="304"/>
                    <a:pt x="361" y="319"/>
                    <a:pt x="345" y="319"/>
                  </a:cubicBezTo>
                  <a:cubicBezTo>
                    <a:pt x="343" y="319"/>
                    <a:pt x="343" y="319"/>
                    <a:pt x="343" y="319"/>
                  </a:cubicBezTo>
                  <a:cubicBezTo>
                    <a:pt x="343" y="319"/>
                    <a:pt x="343" y="319"/>
                    <a:pt x="343" y="319"/>
                  </a:cubicBezTo>
                  <a:cubicBezTo>
                    <a:pt x="343" y="318"/>
                    <a:pt x="342" y="318"/>
                    <a:pt x="342" y="317"/>
                  </a:cubicBezTo>
                  <a:cubicBezTo>
                    <a:pt x="340" y="313"/>
                    <a:pt x="336" y="311"/>
                    <a:pt x="331" y="311"/>
                  </a:cubicBezTo>
                  <a:cubicBezTo>
                    <a:pt x="330" y="311"/>
                    <a:pt x="328" y="311"/>
                    <a:pt x="326" y="312"/>
                  </a:cubicBezTo>
                  <a:cubicBezTo>
                    <a:pt x="323" y="313"/>
                    <a:pt x="321" y="315"/>
                    <a:pt x="320" y="318"/>
                  </a:cubicBezTo>
                  <a:cubicBezTo>
                    <a:pt x="320" y="318"/>
                    <a:pt x="320" y="318"/>
                    <a:pt x="320" y="318"/>
                  </a:cubicBezTo>
                  <a:cubicBezTo>
                    <a:pt x="320" y="318"/>
                    <a:pt x="320" y="318"/>
                    <a:pt x="320" y="318"/>
                  </a:cubicBezTo>
                  <a:cubicBezTo>
                    <a:pt x="310" y="318"/>
                    <a:pt x="180" y="290"/>
                    <a:pt x="180" y="287"/>
                  </a:cubicBezTo>
                  <a:cubicBezTo>
                    <a:pt x="180" y="287"/>
                    <a:pt x="180" y="287"/>
                    <a:pt x="180" y="287"/>
                  </a:cubicBezTo>
                  <a:cubicBezTo>
                    <a:pt x="180" y="283"/>
                    <a:pt x="178" y="279"/>
                    <a:pt x="175" y="276"/>
                  </a:cubicBezTo>
                  <a:cubicBezTo>
                    <a:pt x="172" y="273"/>
                    <a:pt x="169" y="272"/>
                    <a:pt x="165" y="272"/>
                  </a:cubicBezTo>
                  <a:cubicBezTo>
                    <a:pt x="161" y="272"/>
                    <a:pt x="157" y="274"/>
                    <a:pt x="154" y="277"/>
                  </a:cubicBezTo>
                  <a:cubicBezTo>
                    <a:pt x="154" y="278"/>
                    <a:pt x="153" y="279"/>
                    <a:pt x="153" y="280"/>
                  </a:cubicBezTo>
                  <a:cubicBezTo>
                    <a:pt x="153" y="280"/>
                    <a:pt x="153" y="280"/>
                    <a:pt x="153" y="280"/>
                  </a:cubicBezTo>
                  <a:cubicBezTo>
                    <a:pt x="153" y="280"/>
                    <a:pt x="152" y="280"/>
                    <a:pt x="152" y="280"/>
                  </a:cubicBezTo>
                  <a:cubicBezTo>
                    <a:pt x="148" y="280"/>
                    <a:pt x="124" y="272"/>
                    <a:pt x="103" y="265"/>
                  </a:cubicBezTo>
                  <a:cubicBezTo>
                    <a:pt x="94" y="241"/>
                    <a:pt x="82" y="205"/>
                    <a:pt x="83" y="205"/>
                  </a:cubicBezTo>
                  <a:cubicBezTo>
                    <a:pt x="82" y="205"/>
                    <a:pt x="82" y="205"/>
                    <a:pt x="82" y="205"/>
                  </a:cubicBezTo>
                  <a:cubicBezTo>
                    <a:pt x="84" y="204"/>
                    <a:pt x="85" y="203"/>
                    <a:pt x="85" y="202"/>
                  </a:cubicBezTo>
                  <a:cubicBezTo>
                    <a:pt x="85" y="202"/>
                    <a:pt x="85" y="202"/>
                    <a:pt x="85" y="202"/>
                  </a:cubicBezTo>
                  <a:cubicBezTo>
                    <a:pt x="85" y="202"/>
                    <a:pt x="86" y="202"/>
                    <a:pt x="86" y="202"/>
                  </a:cubicBezTo>
                  <a:cubicBezTo>
                    <a:pt x="90" y="202"/>
                    <a:pt x="125" y="213"/>
                    <a:pt x="125" y="214"/>
                  </a:cubicBezTo>
                  <a:cubicBezTo>
                    <a:pt x="125" y="214"/>
                    <a:pt x="125" y="214"/>
                    <a:pt x="125" y="214"/>
                  </a:cubicBezTo>
                  <a:cubicBezTo>
                    <a:pt x="125" y="215"/>
                    <a:pt x="125" y="216"/>
                    <a:pt x="125" y="217"/>
                  </a:cubicBezTo>
                  <a:cubicBezTo>
                    <a:pt x="126" y="218"/>
                    <a:pt x="128" y="219"/>
                    <a:pt x="130" y="219"/>
                  </a:cubicBezTo>
                  <a:cubicBezTo>
                    <a:pt x="130" y="219"/>
                    <a:pt x="131" y="219"/>
                    <a:pt x="132" y="219"/>
                  </a:cubicBezTo>
                  <a:cubicBezTo>
                    <a:pt x="134" y="218"/>
                    <a:pt x="135" y="215"/>
                    <a:pt x="134" y="213"/>
                  </a:cubicBezTo>
                  <a:cubicBezTo>
                    <a:pt x="133" y="211"/>
                    <a:pt x="131" y="210"/>
                    <a:pt x="130" y="210"/>
                  </a:cubicBezTo>
                  <a:cubicBezTo>
                    <a:pt x="129" y="210"/>
                    <a:pt x="128" y="210"/>
                    <a:pt x="128" y="210"/>
                  </a:cubicBezTo>
                  <a:cubicBezTo>
                    <a:pt x="127" y="211"/>
                    <a:pt x="127" y="211"/>
                    <a:pt x="126" y="211"/>
                  </a:cubicBezTo>
                  <a:cubicBezTo>
                    <a:pt x="126" y="211"/>
                    <a:pt x="126" y="211"/>
                    <a:pt x="126" y="211"/>
                  </a:cubicBezTo>
                  <a:cubicBezTo>
                    <a:pt x="126" y="211"/>
                    <a:pt x="126" y="211"/>
                    <a:pt x="126" y="211"/>
                  </a:cubicBezTo>
                  <a:cubicBezTo>
                    <a:pt x="125" y="211"/>
                    <a:pt x="83" y="181"/>
                    <a:pt x="61" y="164"/>
                  </a:cubicBezTo>
                  <a:cubicBezTo>
                    <a:pt x="81" y="163"/>
                    <a:pt x="100" y="162"/>
                    <a:pt x="106" y="162"/>
                  </a:cubicBezTo>
                  <a:cubicBezTo>
                    <a:pt x="107" y="162"/>
                    <a:pt x="108" y="162"/>
                    <a:pt x="108" y="162"/>
                  </a:cubicBezTo>
                  <a:cubicBezTo>
                    <a:pt x="108" y="162"/>
                    <a:pt x="108" y="162"/>
                    <a:pt x="108" y="162"/>
                  </a:cubicBezTo>
                  <a:cubicBezTo>
                    <a:pt x="108" y="163"/>
                    <a:pt x="108" y="163"/>
                    <a:pt x="108" y="163"/>
                  </a:cubicBezTo>
                  <a:cubicBezTo>
                    <a:pt x="109" y="165"/>
                    <a:pt x="111" y="166"/>
                    <a:pt x="112" y="166"/>
                  </a:cubicBezTo>
                  <a:cubicBezTo>
                    <a:pt x="113" y="166"/>
                    <a:pt x="114" y="166"/>
                    <a:pt x="114" y="165"/>
                  </a:cubicBezTo>
                  <a:cubicBezTo>
                    <a:pt x="117" y="164"/>
                    <a:pt x="118" y="162"/>
                    <a:pt x="117" y="159"/>
                  </a:cubicBezTo>
                  <a:cubicBezTo>
                    <a:pt x="116" y="158"/>
                    <a:pt x="114" y="157"/>
                    <a:pt x="112" y="157"/>
                  </a:cubicBezTo>
                  <a:cubicBezTo>
                    <a:pt x="112" y="157"/>
                    <a:pt x="111" y="157"/>
                    <a:pt x="110" y="157"/>
                  </a:cubicBezTo>
                  <a:cubicBezTo>
                    <a:pt x="109" y="158"/>
                    <a:pt x="109" y="158"/>
                    <a:pt x="108" y="159"/>
                  </a:cubicBezTo>
                  <a:cubicBezTo>
                    <a:pt x="108" y="159"/>
                    <a:pt x="108" y="159"/>
                    <a:pt x="108" y="159"/>
                  </a:cubicBezTo>
                  <a:cubicBezTo>
                    <a:pt x="108" y="159"/>
                    <a:pt x="108" y="159"/>
                    <a:pt x="108" y="159"/>
                  </a:cubicBezTo>
                  <a:cubicBezTo>
                    <a:pt x="106" y="159"/>
                    <a:pt x="49" y="136"/>
                    <a:pt x="49" y="135"/>
                  </a:cubicBezTo>
                  <a:cubicBezTo>
                    <a:pt x="49" y="136"/>
                    <a:pt x="49" y="136"/>
                    <a:pt x="49" y="136"/>
                  </a:cubicBezTo>
                  <a:cubicBezTo>
                    <a:pt x="49" y="135"/>
                    <a:pt x="49" y="133"/>
                    <a:pt x="48" y="132"/>
                  </a:cubicBezTo>
                  <a:cubicBezTo>
                    <a:pt x="48" y="131"/>
                    <a:pt x="46" y="130"/>
                    <a:pt x="44" y="130"/>
                  </a:cubicBezTo>
                  <a:cubicBezTo>
                    <a:pt x="43" y="130"/>
                    <a:pt x="43" y="130"/>
                    <a:pt x="42" y="130"/>
                  </a:cubicBezTo>
                  <a:cubicBezTo>
                    <a:pt x="40" y="131"/>
                    <a:pt x="39" y="134"/>
                    <a:pt x="40" y="136"/>
                  </a:cubicBezTo>
                  <a:cubicBezTo>
                    <a:pt x="40" y="137"/>
                    <a:pt x="40" y="137"/>
                    <a:pt x="40" y="137"/>
                  </a:cubicBezTo>
                  <a:cubicBezTo>
                    <a:pt x="40" y="137"/>
                    <a:pt x="40" y="137"/>
                    <a:pt x="40" y="137"/>
                  </a:cubicBezTo>
                  <a:cubicBezTo>
                    <a:pt x="41" y="138"/>
                    <a:pt x="14" y="162"/>
                    <a:pt x="12" y="162"/>
                  </a:cubicBezTo>
                  <a:cubicBezTo>
                    <a:pt x="12" y="162"/>
                    <a:pt x="12" y="162"/>
                    <a:pt x="12" y="162"/>
                  </a:cubicBezTo>
                  <a:cubicBezTo>
                    <a:pt x="12" y="162"/>
                    <a:pt x="12" y="162"/>
                    <a:pt x="12" y="162"/>
                  </a:cubicBezTo>
                  <a:cubicBezTo>
                    <a:pt x="11" y="161"/>
                    <a:pt x="9" y="161"/>
                    <a:pt x="8" y="161"/>
                  </a:cubicBezTo>
                  <a:cubicBezTo>
                    <a:pt x="7" y="161"/>
                    <a:pt x="6" y="161"/>
                    <a:pt x="5" y="161"/>
                  </a:cubicBezTo>
                  <a:cubicBezTo>
                    <a:pt x="1" y="163"/>
                    <a:pt x="0" y="167"/>
                    <a:pt x="2" y="170"/>
                  </a:cubicBezTo>
                  <a:cubicBezTo>
                    <a:pt x="3" y="172"/>
                    <a:pt x="5" y="174"/>
                    <a:pt x="8" y="174"/>
                  </a:cubicBezTo>
                  <a:cubicBezTo>
                    <a:pt x="9" y="174"/>
                    <a:pt x="10" y="174"/>
                    <a:pt x="11" y="173"/>
                  </a:cubicBezTo>
                  <a:cubicBezTo>
                    <a:pt x="13" y="172"/>
                    <a:pt x="14" y="170"/>
                    <a:pt x="15" y="168"/>
                  </a:cubicBezTo>
                  <a:cubicBezTo>
                    <a:pt x="15" y="168"/>
                    <a:pt x="15" y="168"/>
                    <a:pt x="15" y="168"/>
                  </a:cubicBezTo>
                  <a:cubicBezTo>
                    <a:pt x="15" y="167"/>
                    <a:pt x="33" y="166"/>
                    <a:pt x="53" y="165"/>
                  </a:cubicBezTo>
                  <a:cubicBezTo>
                    <a:pt x="62" y="176"/>
                    <a:pt x="75" y="194"/>
                    <a:pt x="74" y="194"/>
                  </a:cubicBezTo>
                  <a:cubicBezTo>
                    <a:pt x="75" y="194"/>
                    <a:pt x="75" y="194"/>
                    <a:pt x="75" y="194"/>
                  </a:cubicBezTo>
                  <a:cubicBezTo>
                    <a:pt x="72" y="196"/>
                    <a:pt x="72" y="199"/>
                    <a:pt x="73" y="202"/>
                  </a:cubicBezTo>
                  <a:cubicBezTo>
                    <a:pt x="74" y="204"/>
                    <a:pt x="77" y="206"/>
                    <a:pt x="79" y="206"/>
                  </a:cubicBezTo>
                  <a:cubicBezTo>
                    <a:pt x="80" y="206"/>
                    <a:pt x="80" y="206"/>
                    <a:pt x="81" y="206"/>
                  </a:cubicBezTo>
                  <a:cubicBezTo>
                    <a:pt x="81" y="206"/>
                    <a:pt x="81" y="206"/>
                    <a:pt x="81" y="206"/>
                  </a:cubicBezTo>
                  <a:cubicBezTo>
                    <a:pt x="81" y="206"/>
                    <a:pt x="81" y="206"/>
                    <a:pt x="81" y="206"/>
                  </a:cubicBezTo>
                  <a:cubicBezTo>
                    <a:pt x="81" y="206"/>
                    <a:pt x="94" y="241"/>
                    <a:pt x="103" y="265"/>
                  </a:cubicBezTo>
                  <a:cubicBezTo>
                    <a:pt x="91" y="261"/>
                    <a:pt x="79" y="257"/>
                    <a:pt x="73" y="254"/>
                  </a:cubicBezTo>
                  <a:cubicBezTo>
                    <a:pt x="74" y="251"/>
                    <a:pt x="72" y="247"/>
                    <a:pt x="70" y="245"/>
                  </a:cubicBezTo>
                  <a:cubicBezTo>
                    <a:pt x="68" y="244"/>
                    <a:pt x="65" y="243"/>
                    <a:pt x="63" y="243"/>
                  </a:cubicBezTo>
                  <a:cubicBezTo>
                    <a:pt x="60" y="243"/>
                    <a:pt x="57" y="244"/>
                    <a:pt x="55" y="246"/>
                  </a:cubicBezTo>
                  <a:cubicBezTo>
                    <a:pt x="52" y="251"/>
                    <a:pt x="52" y="257"/>
                    <a:pt x="57" y="260"/>
                  </a:cubicBezTo>
                  <a:cubicBezTo>
                    <a:pt x="59" y="262"/>
                    <a:pt x="61" y="262"/>
                    <a:pt x="63" y="262"/>
                  </a:cubicBezTo>
                  <a:cubicBezTo>
                    <a:pt x="66" y="262"/>
                    <a:pt x="69" y="261"/>
                    <a:pt x="71" y="259"/>
                  </a:cubicBezTo>
                  <a:cubicBezTo>
                    <a:pt x="72" y="258"/>
                    <a:pt x="72" y="257"/>
                    <a:pt x="73" y="256"/>
                  </a:cubicBezTo>
                  <a:cubicBezTo>
                    <a:pt x="79" y="258"/>
                    <a:pt x="91" y="261"/>
                    <a:pt x="103" y="265"/>
                  </a:cubicBezTo>
                  <a:cubicBezTo>
                    <a:pt x="108" y="278"/>
                    <a:pt x="111" y="288"/>
                    <a:pt x="111" y="288"/>
                  </a:cubicBezTo>
                  <a:cubicBezTo>
                    <a:pt x="111" y="288"/>
                    <a:pt x="111" y="288"/>
                    <a:pt x="111" y="288"/>
                  </a:cubicBezTo>
                  <a:cubicBezTo>
                    <a:pt x="109" y="289"/>
                    <a:pt x="108" y="291"/>
                    <a:pt x="109" y="293"/>
                  </a:cubicBezTo>
                  <a:cubicBezTo>
                    <a:pt x="109" y="293"/>
                    <a:pt x="109" y="293"/>
                    <a:pt x="109" y="293"/>
                  </a:cubicBezTo>
                  <a:cubicBezTo>
                    <a:pt x="109" y="293"/>
                    <a:pt x="109" y="293"/>
                    <a:pt x="109" y="293"/>
                  </a:cubicBezTo>
                  <a:cubicBezTo>
                    <a:pt x="109" y="293"/>
                    <a:pt x="70" y="319"/>
                    <a:pt x="69" y="319"/>
                  </a:cubicBezTo>
                  <a:cubicBezTo>
                    <a:pt x="69" y="319"/>
                    <a:pt x="69" y="319"/>
                    <a:pt x="69" y="319"/>
                  </a:cubicBezTo>
                  <a:cubicBezTo>
                    <a:pt x="69" y="319"/>
                    <a:pt x="69" y="319"/>
                    <a:pt x="69" y="319"/>
                  </a:cubicBezTo>
                  <a:cubicBezTo>
                    <a:pt x="68" y="319"/>
                    <a:pt x="67" y="318"/>
                    <a:pt x="66" y="318"/>
                  </a:cubicBezTo>
                  <a:cubicBezTo>
                    <a:pt x="66" y="318"/>
                    <a:pt x="66" y="318"/>
                    <a:pt x="65" y="318"/>
                  </a:cubicBezTo>
                  <a:cubicBezTo>
                    <a:pt x="63" y="319"/>
                    <a:pt x="63" y="321"/>
                    <a:pt x="63" y="323"/>
                  </a:cubicBezTo>
                  <a:cubicBezTo>
                    <a:pt x="64" y="324"/>
                    <a:pt x="65" y="325"/>
                    <a:pt x="67" y="325"/>
                  </a:cubicBezTo>
                  <a:cubicBezTo>
                    <a:pt x="67" y="325"/>
                    <a:pt x="67" y="324"/>
                    <a:pt x="68" y="324"/>
                  </a:cubicBezTo>
                  <a:cubicBezTo>
                    <a:pt x="69" y="324"/>
                    <a:pt x="69" y="323"/>
                    <a:pt x="69" y="323"/>
                  </a:cubicBezTo>
                  <a:cubicBezTo>
                    <a:pt x="69" y="323"/>
                    <a:pt x="69" y="323"/>
                    <a:pt x="69" y="323"/>
                  </a:cubicBezTo>
                  <a:cubicBezTo>
                    <a:pt x="69" y="323"/>
                    <a:pt x="69" y="323"/>
                    <a:pt x="70" y="323"/>
                  </a:cubicBezTo>
                  <a:cubicBezTo>
                    <a:pt x="71" y="323"/>
                    <a:pt x="109" y="335"/>
                    <a:pt x="109" y="336"/>
                  </a:cubicBezTo>
                  <a:cubicBezTo>
                    <a:pt x="109" y="335"/>
                    <a:pt x="109" y="335"/>
                    <a:pt x="109" y="335"/>
                  </a:cubicBezTo>
                  <a:cubicBezTo>
                    <a:pt x="108" y="336"/>
                    <a:pt x="109" y="337"/>
                    <a:pt x="109" y="338"/>
                  </a:cubicBezTo>
                  <a:cubicBezTo>
                    <a:pt x="110" y="339"/>
                    <a:pt x="111" y="340"/>
                    <a:pt x="112" y="340"/>
                  </a:cubicBezTo>
                  <a:cubicBezTo>
                    <a:pt x="113" y="340"/>
                    <a:pt x="114" y="340"/>
                    <a:pt x="114" y="340"/>
                  </a:cubicBezTo>
                  <a:cubicBezTo>
                    <a:pt x="116" y="339"/>
                    <a:pt x="117" y="336"/>
                    <a:pt x="116" y="335"/>
                  </a:cubicBezTo>
                  <a:cubicBezTo>
                    <a:pt x="115" y="333"/>
                    <a:pt x="114" y="333"/>
                    <a:pt x="113" y="332"/>
                  </a:cubicBezTo>
                  <a:cubicBezTo>
                    <a:pt x="113" y="332"/>
                    <a:pt x="113" y="332"/>
                    <a:pt x="113" y="332"/>
                  </a:cubicBezTo>
                  <a:cubicBezTo>
                    <a:pt x="112" y="332"/>
                    <a:pt x="112" y="295"/>
                    <a:pt x="113" y="295"/>
                  </a:cubicBezTo>
                  <a:cubicBezTo>
                    <a:pt x="113" y="295"/>
                    <a:pt x="113" y="295"/>
                    <a:pt x="113" y="295"/>
                  </a:cubicBezTo>
                  <a:cubicBezTo>
                    <a:pt x="113" y="295"/>
                    <a:pt x="114" y="295"/>
                    <a:pt x="114" y="295"/>
                  </a:cubicBezTo>
                  <a:cubicBezTo>
                    <a:pt x="116" y="294"/>
                    <a:pt x="117" y="291"/>
                    <a:pt x="116" y="290"/>
                  </a:cubicBezTo>
                  <a:cubicBezTo>
                    <a:pt x="115" y="288"/>
                    <a:pt x="114" y="287"/>
                    <a:pt x="112" y="287"/>
                  </a:cubicBezTo>
                  <a:cubicBezTo>
                    <a:pt x="112" y="287"/>
                    <a:pt x="112" y="287"/>
                    <a:pt x="112" y="287"/>
                  </a:cubicBezTo>
                  <a:cubicBezTo>
                    <a:pt x="112" y="287"/>
                    <a:pt x="112" y="287"/>
                    <a:pt x="112" y="287"/>
                  </a:cubicBezTo>
                  <a:cubicBezTo>
                    <a:pt x="112" y="287"/>
                    <a:pt x="112" y="287"/>
                    <a:pt x="112" y="287"/>
                  </a:cubicBezTo>
                  <a:cubicBezTo>
                    <a:pt x="112" y="287"/>
                    <a:pt x="108" y="278"/>
                    <a:pt x="103" y="265"/>
                  </a:cubicBezTo>
                  <a:cubicBezTo>
                    <a:pt x="126" y="273"/>
                    <a:pt x="151" y="282"/>
                    <a:pt x="151" y="284"/>
                  </a:cubicBezTo>
                  <a:cubicBezTo>
                    <a:pt x="151" y="284"/>
                    <a:pt x="151" y="284"/>
                    <a:pt x="151" y="284"/>
                  </a:cubicBezTo>
                  <a:cubicBezTo>
                    <a:pt x="150" y="289"/>
                    <a:pt x="152" y="294"/>
                    <a:pt x="156" y="297"/>
                  </a:cubicBezTo>
                  <a:cubicBezTo>
                    <a:pt x="159" y="299"/>
                    <a:pt x="162" y="300"/>
                    <a:pt x="165" y="300"/>
                  </a:cubicBezTo>
                  <a:cubicBezTo>
                    <a:pt x="170" y="300"/>
                    <a:pt x="174" y="299"/>
                    <a:pt x="177" y="295"/>
                  </a:cubicBezTo>
                  <a:cubicBezTo>
                    <a:pt x="178" y="294"/>
                    <a:pt x="178" y="293"/>
                    <a:pt x="179" y="291"/>
                  </a:cubicBezTo>
                  <a:cubicBezTo>
                    <a:pt x="179" y="291"/>
                    <a:pt x="179" y="291"/>
                    <a:pt x="179" y="291"/>
                  </a:cubicBezTo>
                  <a:cubicBezTo>
                    <a:pt x="179" y="291"/>
                    <a:pt x="179" y="291"/>
                    <a:pt x="180" y="291"/>
                  </a:cubicBezTo>
                  <a:cubicBezTo>
                    <a:pt x="191" y="291"/>
                    <a:pt x="320" y="319"/>
                    <a:pt x="319" y="321"/>
                  </a:cubicBezTo>
                  <a:cubicBezTo>
                    <a:pt x="319" y="321"/>
                    <a:pt x="319" y="321"/>
                    <a:pt x="319" y="321"/>
                  </a:cubicBezTo>
                  <a:cubicBezTo>
                    <a:pt x="319" y="323"/>
                    <a:pt x="320" y="325"/>
                    <a:pt x="321" y="327"/>
                  </a:cubicBezTo>
                  <a:cubicBezTo>
                    <a:pt x="323" y="331"/>
                    <a:pt x="327" y="333"/>
                    <a:pt x="331" y="333"/>
                  </a:cubicBezTo>
                  <a:cubicBezTo>
                    <a:pt x="333" y="333"/>
                    <a:pt x="335" y="333"/>
                    <a:pt x="336" y="332"/>
                  </a:cubicBezTo>
                  <a:cubicBezTo>
                    <a:pt x="339" y="331"/>
                    <a:pt x="340" y="330"/>
                    <a:pt x="341" y="328"/>
                  </a:cubicBezTo>
                  <a:cubicBezTo>
                    <a:pt x="341" y="328"/>
                    <a:pt x="341" y="328"/>
                    <a:pt x="341" y="328"/>
                  </a:cubicBezTo>
                  <a:cubicBezTo>
                    <a:pt x="342" y="328"/>
                    <a:pt x="342" y="328"/>
                    <a:pt x="342" y="328"/>
                  </a:cubicBezTo>
                  <a:cubicBezTo>
                    <a:pt x="347" y="328"/>
                    <a:pt x="375" y="340"/>
                    <a:pt x="375" y="342"/>
                  </a:cubicBezTo>
                  <a:cubicBezTo>
                    <a:pt x="375" y="342"/>
                    <a:pt x="375" y="342"/>
                    <a:pt x="375" y="342"/>
                  </a:cubicBezTo>
                  <a:cubicBezTo>
                    <a:pt x="375" y="343"/>
                    <a:pt x="375" y="345"/>
                    <a:pt x="375" y="346"/>
                  </a:cubicBezTo>
                  <a:cubicBezTo>
                    <a:pt x="376" y="348"/>
                    <a:pt x="378" y="349"/>
                    <a:pt x="380" y="350"/>
                  </a:cubicBezTo>
                  <a:cubicBezTo>
                    <a:pt x="380" y="350"/>
                    <a:pt x="380" y="350"/>
                    <a:pt x="380" y="350"/>
                  </a:cubicBezTo>
                  <a:cubicBezTo>
                    <a:pt x="381" y="350"/>
                    <a:pt x="371" y="406"/>
                    <a:pt x="370" y="406"/>
                  </a:cubicBezTo>
                  <a:cubicBezTo>
                    <a:pt x="371" y="406"/>
                    <a:pt x="371" y="406"/>
                    <a:pt x="371" y="406"/>
                  </a:cubicBezTo>
                  <a:cubicBezTo>
                    <a:pt x="371" y="406"/>
                    <a:pt x="371" y="406"/>
                    <a:pt x="370" y="406"/>
                  </a:cubicBezTo>
                  <a:cubicBezTo>
                    <a:pt x="370" y="406"/>
                    <a:pt x="369" y="406"/>
                    <a:pt x="368" y="406"/>
                  </a:cubicBezTo>
                  <a:cubicBezTo>
                    <a:pt x="366" y="407"/>
                    <a:pt x="365" y="410"/>
                    <a:pt x="366" y="412"/>
                  </a:cubicBezTo>
                  <a:cubicBezTo>
                    <a:pt x="367" y="414"/>
                    <a:pt x="369" y="415"/>
                    <a:pt x="370" y="415"/>
                  </a:cubicBezTo>
                  <a:cubicBezTo>
                    <a:pt x="371" y="415"/>
                    <a:pt x="372" y="415"/>
                    <a:pt x="373" y="414"/>
                  </a:cubicBezTo>
                  <a:cubicBezTo>
                    <a:pt x="375" y="413"/>
                    <a:pt x="376" y="411"/>
                    <a:pt x="375" y="408"/>
                  </a:cubicBezTo>
                  <a:cubicBezTo>
                    <a:pt x="375" y="408"/>
                    <a:pt x="375" y="408"/>
                    <a:pt x="375" y="408"/>
                  </a:cubicBezTo>
                  <a:cubicBezTo>
                    <a:pt x="375" y="408"/>
                    <a:pt x="375" y="408"/>
                    <a:pt x="375" y="408"/>
                  </a:cubicBezTo>
                  <a:cubicBezTo>
                    <a:pt x="374" y="407"/>
                    <a:pt x="399" y="388"/>
                    <a:pt x="401" y="388"/>
                  </a:cubicBezTo>
                  <a:cubicBezTo>
                    <a:pt x="402" y="388"/>
                    <a:pt x="402" y="388"/>
                    <a:pt x="402" y="388"/>
                  </a:cubicBezTo>
                  <a:cubicBezTo>
                    <a:pt x="402" y="388"/>
                    <a:pt x="402" y="388"/>
                    <a:pt x="402" y="388"/>
                  </a:cubicBezTo>
                  <a:cubicBezTo>
                    <a:pt x="403" y="390"/>
                    <a:pt x="406" y="390"/>
                    <a:pt x="408" y="390"/>
                  </a:cubicBezTo>
                  <a:cubicBezTo>
                    <a:pt x="409" y="390"/>
                    <a:pt x="411" y="390"/>
                    <a:pt x="412" y="390"/>
                  </a:cubicBezTo>
                  <a:cubicBezTo>
                    <a:pt x="416" y="388"/>
                    <a:pt x="418" y="382"/>
                    <a:pt x="416" y="378"/>
                  </a:cubicBezTo>
                  <a:cubicBezTo>
                    <a:pt x="415" y="375"/>
                    <a:pt x="411" y="373"/>
                    <a:pt x="408" y="373"/>
                  </a:cubicBezTo>
                  <a:cubicBezTo>
                    <a:pt x="407" y="373"/>
                    <a:pt x="405" y="373"/>
                    <a:pt x="404" y="374"/>
                  </a:cubicBezTo>
                  <a:cubicBezTo>
                    <a:pt x="404" y="374"/>
                    <a:pt x="404" y="374"/>
                    <a:pt x="404" y="374"/>
                  </a:cubicBezTo>
                  <a:cubicBezTo>
                    <a:pt x="404" y="374"/>
                    <a:pt x="404" y="374"/>
                    <a:pt x="404" y="374"/>
                  </a:cubicBezTo>
                  <a:cubicBezTo>
                    <a:pt x="402" y="374"/>
                    <a:pt x="385" y="349"/>
                    <a:pt x="386" y="348"/>
                  </a:cubicBezTo>
                  <a:cubicBezTo>
                    <a:pt x="386" y="348"/>
                    <a:pt x="386" y="348"/>
                    <a:pt x="386" y="348"/>
                  </a:cubicBezTo>
                  <a:cubicBezTo>
                    <a:pt x="389" y="346"/>
                    <a:pt x="389" y="343"/>
                    <a:pt x="388" y="340"/>
                  </a:cubicBezTo>
                  <a:cubicBezTo>
                    <a:pt x="387" y="338"/>
                    <a:pt x="384" y="337"/>
                    <a:pt x="382" y="337"/>
                  </a:cubicBezTo>
                  <a:cubicBezTo>
                    <a:pt x="381" y="337"/>
                    <a:pt x="380" y="337"/>
                    <a:pt x="379" y="337"/>
                  </a:cubicBezTo>
                  <a:cubicBezTo>
                    <a:pt x="378" y="338"/>
                    <a:pt x="377" y="339"/>
                    <a:pt x="376" y="340"/>
                  </a:cubicBezTo>
                  <a:cubicBezTo>
                    <a:pt x="376" y="340"/>
                    <a:pt x="376" y="340"/>
                    <a:pt x="376" y="340"/>
                  </a:cubicBezTo>
                  <a:cubicBezTo>
                    <a:pt x="376" y="340"/>
                    <a:pt x="376" y="340"/>
                    <a:pt x="376" y="340"/>
                  </a:cubicBezTo>
                  <a:cubicBezTo>
                    <a:pt x="373" y="340"/>
                    <a:pt x="342" y="327"/>
                    <a:pt x="343" y="325"/>
                  </a:cubicBezTo>
                  <a:cubicBezTo>
                    <a:pt x="343" y="325"/>
                    <a:pt x="343" y="325"/>
                    <a:pt x="343" y="325"/>
                  </a:cubicBezTo>
                  <a:cubicBezTo>
                    <a:pt x="343" y="324"/>
                    <a:pt x="343" y="323"/>
                    <a:pt x="343" y="322"/>
                  </a:cubicBezTo>
                  <a:cubicBezTo>
                    <a:pt x="343" y="322"/>
                    <a:pt x="343" y="322"/>
                    <a:pt x="343" y="322"/>
                  </a:cubicBezTo>
                  <a:cubicBezTo>
                    <a:pt x="343" y="320"/>
                    <a:pt x="479" y="305"/>
                    <a:pt x="496" y="305"/>
                  </a:cubicBezTo>
                  <a:cubicBezTo>
                    <a:pt x="497" y="305"/>
                    <a:pt x="497" y="305"/>
                    <a:pt x="497" y="305"/>
                  </a:cubicBezTo>
                  <a:cubicBezTo>
                    <a:pt x="497" y="305"/>
                    <a:pt x="497" y="305"/>
                    <a:pt x="497" y="305"/>
                  </a:cubicBezTo>
                  <a:cubicBezTo>
                    <a:pt x="498" y="306"/>
                    <a:pt x="498" y="306"/>
                    <a:pt x="498" y="307"/>
                  </a:cubicBezTo>
                  <a:cubicBezTo>
                    <a:pt x="500" y="311"/>
                    <a:pt x="504" y="314"/>
                    <a:pt x="509" y="314"/>
                  </a:cubicBezTo>
                  <a:cubicBezTo>
                    <a:pt x="511" y="314"/>
                    <a:pt x="512" y="313"/>
                    <a:pt x="514" y="313"/>
                  </a:cubicBezTo>
                  <a:cubicBezTo>
                    <a:pt x="516" y="312"/>
                    <a:pt x="517" y="311"/>
                    <a:pt x="519" y="309"/>
                  </a:cubicBezTo>
                  <a:cubicBezTo>
                    <a:pt x="519" y="309"/>
                    <a:pt x="519" y="309"/>
                    <a:pt x="519" y="309"/>
                  </a:cubicBezTo>
                  <a:cubicBezTo>
                    <a:pt x="519" y="309"/>
                    <a:pt x="519" y="309"/>
                    <a:pt x="519" y="309"/>
                  </a:cubicBezTo>
                  <a:cubicBezTo>
                    <a:pt x="523" y="309"/>
                    <a:pt x="568" y="332"/>
                    <a:pt x="567" y="333"/>
                  </a:cubicBezTo>
                  <a:cubicBezTo>
                    <a:pt x="567" y="333"/>
                    <a:pt x="567" y="333"/>
                    <a:pt x="567" y="333"/>
                  </a:cubicBezTo>
                  <a:cubicBezTo>
                    <a:pt x="566" y="336"/>
                    <a:pt x="566" y="338"/>
                    <a:pt x="567" y="341"/>
                  </a:cubicBezTo>
                  <a:cubicBezTo>
                    <a:pt x="569" y="344"/>
                    <a:pt x="573" y="346"/>
                    <a:pt x="576" y="346"/>
                  </a:cubicBezTo>
                  <a:cubicBezTo>
                    <a:pt x="578" y="346"/>
                    <a:pt x="579" y="346"/>
                    <a:pt x="581" y="345"/>
                  </a:cubicBezTo>
                  <a:cubicBezTo>
                    <a:pt x="586" y="343"/>
                    <a:pt x="588" y="337"/>
                    <a:pt x="586" y="332"/>
                  </a:cubicBezTo>
                  <a:cubicBezTo>
                    <a:pt x="585" y="331"/>
                    <a:pt x="585" y="331"/>
                    <a:pt x="585" y="331"/>
                  </a:cubicBezTo>
                  <a:cubicBezTo>
                    <a:pt x="585" y="331"/>
                    <a:pt x="585" y="331"/>
                    <a:pt x="585" y="331"/>
                  </a:cubicBezTo>
                  <a:cubicBezTo>
                    <a:pt x="584" y="330"/>
                    <a:pt x="626" y="294"/>
                    <a:pt x="631" y="294"/>
                  </a:cubicBezTo>
                  <a:cubicBezTo>
                    <a:pt x="631" y="294"/>
                    <a:pt x="631" y="294"/>
                    <a:pt x="631" y="294"/>
                  </a:cubicBezTo>
                  <a:cubicBezTo>
                    <a:pt x="631" y="294"/>
                    <a:pt x="631" y="294"/>
                    <a:pt x="631" y="294"/>
                  </a:cubicBezTo>
                  <a:cubicBezTo>
                    <a:pt x="634" y="296"/>
                    <a:pt x="637" y="298"/>
                    <a:pt x="641" y="298"/>
                  </a:cubicBezTo>
                  <a:cubicBezTo>
                    <a:pt x="647" y="298"/>
                    <a:pt x="653" y="294"/>
                    <a:pt x="655" y="289"/>
                  </a:cubicBezTo>
                  <a:cubicBezTo>
                    <a:pt x="655" y="289"/>
                    <a:pt x="655" y="289"/>
                    <a:pt x="655" y="289"/>
                  </a:cubicBezTo>
                  <a:cubicBezTo>
                    <a:pt x="655" y="289"/>
                    <a:pt x="656" y="289"/>
                    <a:pt x="656" y="289"/>
                  </a:cubicBezTo>
                  <a:cubicBezTo>
                    <a:pt x="666" y="289"/>
                    <a:pt x="737" y="308"/>
                    <a:pt x="737" y="310"/>
                  </a:cubicBezTo>
                  <a:cubicBezTo>
                    <a:pt x="737" y="310"/>
                    <a:pt x="737" y="310"/>
                    <a:pt x="737" y="310"/>
                  </a:cubicBezTo>
                  <a:cubicBezTo>
                    <a:pt x="737" y="311"/>
                    <a:pt x="737" y="312"/>
                    <a:pt x="738" y="314"/>
                  </a:cubicBezTo>
                  <a:cubicBezTo>
                    <a:pt x="738" y="314"/>
                    <a:pt x="739" y="315"/>
                    <a:pt x="739" y="316"/>
                  </a:cubicBezTo>
                  <a:cubicBezTo>
                    <a:pt x="739" y="316"/>
                    <a:pt x="739" y="316"/>
                    <a:pt x="739" y="316"/>
                  </a:cubicBezTo>
                  <a:cubicBezTo>
                    <a:pt x="740" y="317"/>
                    <a:pt x="692" y="378"/>
                    <a:pt x="689" y="378"/>
                  </a:cubicBezTo>
                  <a:cubicBezTo>
                    <a:pt x="689" y="378"/>
                    <a:pt x="689" y="378"/>
                    <a:pt x="689" y="378"/>
                  </a:cubicBezTo>
                  <a:cubicBezTo>
                    <a:pt x="687" y="377"/>
                    <a:pt x="684" y="376"/>
                    <a:pt x="682" y="376"/>
                  </a:cubicBezTo>
                  <a:cubicBezTo>
                    <a:pt x="674" y="376"/>
                    <a:pt x="667" y="382"/>
                    <a:pt x="667" y="390"/>
                  </a:cubicBezTo>
                  <a:cubicBezTo>
                    <a:pt x="667" y="391"/>
                    <a:pt x="667" y="392"/>
                    <a:pt x="668" y="393"/>
                  </a:cubicBezTo>
                  <a:cubicBezTo>
                    <a:pt x="668" y="396"/>
                    <a:pt x="559" y="435"/>
                    <a:pt x="552" y="435"/>
                  </a:cubicBezTo>
                  <a:cubicBezTo>
                    <a:pt x="552" y="435"/>
                    <a:pt x="552" y="435"/>
                    <a:pt x="552" y="435"/>
                  </a:cubicBezTo>
                  <a:cubicBezTo>
                    <a:pt x="552" y="435"/>
                    <a:pt x="552" y="435"/>
                    <a:pt x="552" y="435"/>
                  </a:cubicBezTo>
                  <a:cubicBezTo>
                    <a:pt x="550" y="431"/>
                    <a:pt x="545" y="429"/>
                    <a:pt x="540" y="429"/>
                  </a:cubicBezTo>
                  <a:cubicBezTo>
                    <a:pt x="533" y="429"/>
                    <a:pt x="527" y="434"/>
                    <a:pt x="527" y="442"/>
                  </a:cubicBezTo>
                  <a:cubicBezTo>
                    <a:pt x="527" y="449"/>
                    <a:pt x="533" y="455"/>
                    <a:pt x="540" y="455"/>
                  </a:cubicBezTo>
                  <a:cubicBezTo>
                    <a:pt x="548" y="455"/>
                    <a:pt x="554" y="449"/>
                    <a:pt x="554" y="442"/>
                  </a:cubicBezTo>
                  <a:cubicBezTo>
                    <a:pt x="554" y="441"/>
                    <a:pt x="554" y="440"/>
                    <a:pt x="553" y="439"/>
                  </a:cubicBezTo>
                  <a:cubicBezTo>
                    <a:pt x="553" y="436"/>
                    <a:pt x="661" y="397"/>
                    <a:pt x="669" y="397"/>
                  </a:cubicBezTo>
                  <a:cubicBezTo>
                    <a:pt x="669" y="397"/>
                    <a:pt x="669" y="397"/>
                    <a:pt x="669" y="397"/>
                  </a:cubicBezTo>
                  <a:cubicBezTo>
                    <a:pt x="669" y="397"/>
                    <a:pt x="669" y="397"/>
                    <a:pt x="669" y="397"/>
                  </a:cubicBezTo>
                  <a:cubicBezTo>
                    <a:pt x="671" y="401"/>
                    <a:pt x="675" y="403"/>
                    <a:pt x="680" y="404"/>
                  </a:cubicBezTo>
                  <a:cubicBezTo>
                    <a:pt x="680" y="404"/>
                    <a:pt x="680" y="404"/>
                    <a:pt x="680" y="404"/>
                  </a:cubicBezTo>
                  <a:cubicBezTo>
                    <a:pt x="683" y="404"/>
                    <a:pt x="682" y="478"/>
                    <a:pt x="681" y="478"/>
                  </a:cubicBezTo>
                  <a:cubicBezTo>
                    <a:pt x="681" y="478"/>
                    <a:pt x="681" y="478"/>
                    <a:pt x="681" y="478"/>
                  </a:cubicBezTo>
                  <a:cubicBezTo>
                    <a:pt x="680" y="478"/>
                    <a:pt x="679" y="479"/>
                    <a:pt x="679" y="479"/>
                  </a:cubicBezTo>
                  <a:cubicBezTo>
                    <a:pt x="676" y="480"/>
                    <a:pt x="674" y="483"/>
                    <a:pt x="674" y="486"/>
                  </a:cubicBezTo>
                  <a:cubicBezTo>
                    <a:pt x="674" y="486"/>
                    <a:pt x="674" y="486"/>
                    <a:pt x="674" y="486"/>
                  </a:cubicBezTo>
                  <a:cubicBezTo>
                    <a:pt x="674" y="488"/>
                    <a:pt x="615" y="505"/>
                    <a:pt x="607" y="505"/>
                  </a:cubicBezTo>
                  <a:cubicBezTo>
                    <a:pt x="607" y="505"/>
                    <a:pt x="606" y="505"/>
                    <a:pt x="606" y="505"/>
                  </a:cubicBezTo>
                  <a:cubicBezTo>
                    <a:pt x="606" y="505"/>
                    <a:pt x="606" y="505"/>
                    <a:pt x="606" y="505"/>
                  </a:cubicBezTo>
                  <a:cubicBezTo>
                    <a:pt x="604" y="501"/>
                    <a:pt x="599" y="498"/>
                    <a:pt x="594" y="498"/>
                  </a:cubicBezTo>
                  <a:cubicBezTo>
                    <a:pt x="592" y="498"/>
                    <a:pt x="590" y="498"/>
                    <a:pt x="588" y="499"/>
                  </a:cubicBezTo>
                  <a:cubicBezTo>
                    <a:pt x="582" y="502"/>
                    <a:pt x="579" y="510"/>
                    <a:pt x="582" y="516"/>
                  </a:cubicBezTo>
                  <a:cubicBezTo>
                    <a:pt x="584" y="521"/>
                    <a:pt x="589" y="524"/>
                    <a:pt x="594" y="524"/>
                  </a:cubicBezTo>
                  <a:cubicBezTo>
                    <a:pt x="596" y="524"/>
                    <a:pt x="598" y="523"/>
                    <a:pt x="600" y="523"/>
                  </a:cubicBezTo>
                  <a:cubicBezTo>
                    <a:pt x="605" y="520"/>
                    <a:pt x="608" y="515"/>
                    <a:pt x="608" y="509"/>
                  </a:cubicBezTo>
                  <a:cubicBezTo>
                    <a:pt x="608" y="509"/>
                    <a:pt x="608" y="509"/>
                    <a:pt x="608" y="509"/>
                  </a:cubicBezTo>
                  <a:cubicBezTo>
                    <a:pt x="607" y="507"/>
                    <a:pt x="670" y="489"/>
                    <a:pt x="675" y="489"/>
                  </a:cubicBezTo>
                  <a:cubicBezTo>
                    <a:pt x="675" y="489"/>
                    <a:pt x="675" y="489"/>
                    <a:pt x="675" y="489"/>
                  </a:cubicBezTo>
                  <a:cubicBezTo>
                    <a:pt x="675" y="489"/>
                    <a:pt x="675" y="489"/>
                    <a:pt x="675" y="489"/>
                  </a:cubicBezTo>
                  <a:cubicBezTo>
                    <a:pt x="676" y="491"/>
                    <a:pt x="679" y="493"/>
                    <a:pt x="682" y="493"/>
                  </a:cubicBezTo>
                  <a:cubicBezTo>
                    <a:pt x="683" y="493"/>
                    <a:pt x="684" y="493"/>
                    <a:pt x="685" y="492"/>
                  </a:cubicBezTo>
                  <a:cubicBezTo>
                    <a:pt x="689" y="490"/>
                    <a:pt x="690" y="486"/>
                    <a:pt x="689" y="482"/>
                  </a:cubicBezTo>
                  <a:cubicBezTo>
                    <a:pt x="688" y="480"/>
                    <a:pt x="685" y="479"/>
                    <a:pt x="683" y="478"/>
                  </a:cubicBezTo>
                  <a:cubicBezTo>
                    <a:pt x="683" y="478"/>
                    <a:pt x="683" y="478"/>
                    <a:pt x="683" y="478"/>
                  </a:cubicBezTo>
                  <a:cubicBezTo>
                    <a:pt x="682" y="478"/>
                    <a:pt x="681" y="404"/>
                    <a:pt x="684" y="404"/>
                  </a:cubicBezTo>
                  <a:cubicBezTo>
                    <a:pt x="684" y="404"/>
                    <a:pt x="684" y="404"/>
                    <a:pt x="684" y="404"/>
                  </a:cubicBezTo>
                  <a:cubicBezTo>
                    <a:pt x="689" y="403"/>
                    <a:pt x="693" y="400"/>
                    <a:pt x="695" y="396"/>
                  </a:cubicBezTo>
                  <a:cubicBezTo>
                    <a:pt x="695" y="396"/>
                    <a:pt x="695" y="396"/>
                    <a:pt x="695" y="396"/>
                  </a:cubicBezTo>
                  <a:cubicBezTo>
                    <a:pt x="695" y="396"/>
                    <a:pt x="695" y="396"/>
                    <a:pt x="696" y="396"/>
                  </a:cubicBezTo>
                  <a:cubicBezTo>
                    <a:pt x="704" y="396"/>
                    <a:pt x="759" y="413"/>
                    <a:pt x="758" y="416"/>
                  </a:cubicBezTo>
                  <a:cubicBezTo>
                    <a:pt x="758" y="416"/>
                    <a:pt x="758" y="416"/>
                    <a:pt x="758" y="416"/>
                  </a:cubicBezTo>
                  <a:cubicBezTo>
                    <a:pt x="758" y="417"/>
                    <a:pt x="758" y="418"/>
                    <a:pt x="758" y="419"/>
                  </a:cubicBezTo>
                  <a:cubicBezTo>
                    <a:pt x="758" y="429"/>
                    <a:pt x="766" y="437"/>
                    <a:pt x="776" y="437"/>
                  </a:cubicBezTo>
                  <a:cubicBezTo>
                    <a:pt x="786" y="437"/>
                    <a:pt x="795" y="429"/>
                    <a:pt x="795" y="419"/>
                  </a:cubicBezTo>
                  <a:cubicBezTo>
                    <a:pt x="795" y="409"/>
                    <a:pt x="786" y="401"/>
                    <a:pt x="776" y="401"/>
                  </a:cubicBezTo>
                  <a:cubicBezTo>
                    <a:pt x="769" y="401"/>
                    <a:pt x="763" y="405"/>
                    <a:pt x="760" y="411"/>
                  </a:cubicBezTo>
                  <a:cubicBezTo>
                    <a:pt x="760" y="411"/>
                    <a:pt x="760" y="411"/>
                    <a:pt x="760" y="411"/>
                  </a:cubicBezTo>
                  <a:cubicBezTo>
                    <a:pt x="760" y="411"/>
                    <a:pt x="759" y="411"/>
                    <a:pt x="759" y="411"/>
                  </a:cubicBezTo>
                  <a:cubicBezTo>
                    <a:pt x="749" y="411"/>
                    <a:pt x="696" y="395"/>
                    <a:pt x="696" y="392"/>
                  </a:cubicBezTo>
                  <a:cubicBezTo>
                    <a:pt x="696" y="392"/>
                    <a:pt x="696" y="392"/>
                    <a:pt x="696" y="392"/>
                  </a:cubicBezTo>
                  <a:cubicBezTo>
                    <a:pt x="696" y="391"/>
                    <a:pt x="696" y="391"/>
                    <a:pt x="696" y="390"/>
                  </a:cubicBezTo>
                  <a:cubicBezTo>
                    <a:pt x="696" y="386"/>
                    <a:pt x="695" y="383"/>
                    <a:pt x="692" y="380"/>
                  </a:cubicBezTo>
                  <a:cubicBezTo>
                    <a:pt x="692" y="380"/>
                    <a:pt x="692" y="380"/>
                    <a:pt x="692" y="380"/>
                  </a:cubicBezTo>
                  <a:cubicBezTo>
                    <a:pt x="690" y="378"/>
                    <a:pt x="739" y="317"/>
                    <a:pt x="741" y="317"/>
                  </a:cubicBezTo>
                  <a:cubicBezTo>
                    <a:pt x="741" y="317"/>
                    <a:pt x="741" y="317"/>
                    <a:pt x="741" y="317"/>
                  </a:cubicBezTo>
                  <a:cubicBezTo>
                    <a:pt x="741" y="317"/>
                    <a:pt x="741" y="317"/>
                    <a:pt x="741" y="317"/>
                  </a:cubicBezTo>
                  <a:cubicBezTo>
                    <a:pt x="742" y="318"/>
                    <a:pt x="743" y="318"/>
                    <a:pt x="745" y="318"/>
                  </a:cubicBezTo>
                  <a:cubicBezTo>
                    <a:pt x="746" y="318"/>
                    <a:pt x="747" y="318"/>
                    <a:pt x="748" y="317"/>
                  </a:cubicBezTo>
                  <a:cubicBezTo>
                    <a:pt x="748" y="317"/>
                    <a:pt x="749" y="316"/>
                    <a:pt x="750" y="316"/>
                  </a:cubicBezTo>
                  <a:cubicBezTo>
                    <a:pt x="749" y="316"/>
                    <a:pt x="749" y="316"/>
                    <a:pt x="749" y="316"/>
                  </a:cubicBezTo>
                  <a:cubicBezTo>
                    <a:pt x="749" y="316"/>
                    <a:pt x="750" y="316"/>
                    <a:pt x="750" y="316"/>
                  </a:cubicBezTo>
                  <a:cubicBezTo>
                    <a:pt x="752" y="316"/>
                    <a:pt x="870" y="414"/>
                    <a:pt x="868" y="417"/>
                  </a:cubicBezTo>
                  <a:cubicBezTo>
                    <a:pt x="868" y="417"/>
                    <a:pt x="868" y="417"/>
                    <a:pt x="868" y="417"/>
                  </a:cubicBezTo>
                  <a:cubicBezTo>
                    <a:pt x="867" y="419"/>
                    <a:pt x="866" y="421"/>
                    <a:pt x="866" y="424"/>
                  </a:cubicBezTo>
                  <a:cubicBezTo>
                    <a:pt x="865" y="433"/>
                    <a:pt x="872" y="440"/>
                    <a:pt x="881" y="441"/>
                  </a:cubicBezTo>
                  <a:cubicBezTo>
                    <a:pt x="882" y="441"/>
                    <a:pt x="882" y="441"/>
                    <a:pt x="882" y="441"/>
                  </a:cubicBezTo>
                  <a:cubicBezTo>
                    <a:pt x="885" y="441"/>
                    <a:pt x="887" y="440"/>
                    <a:pt x="889" y="439"/>
                  </a:cubicBezTo>
                  <a:cubicBezTo>
                    <a:pt x="889" y="439"/>
                    <a:pt x="889" y="439"/>
                    <a:pt x="889" y="439"/>
                  </a:cubicBezTo>
                  <a:cubicBezTo>
                    <a:pt x="889" y="439"/>
                    <a:pt x="889" y="439"/>
                    <a:pt x="889" y="439"/>
                  </a:cubicBezTo>
                  <a:cubicBezTo>
                    <a:pt x="893" y="439"/>
                    <a:pt x="933" y="497"/>
                    <a:pt x="931" y="499"/>
                  </a:cubicBezTo>
                  <a:cubicBezTo>
                    <a:pt x="931" y="499"/>
                    <a:pt x="931" y="499"/>
                    <a:pt x="931" y="499"/>
                  </a:cubicBezTo>
                  <a:cubicBezTo>
                    <a:pt x="929" y="501"/>
                    <a:pt x="927" y="504"/>
                    <a:pt x="927" y="508"/>
                  </a:cubicBezTo>
                  <a:cubicBezTo>
                    <a:pt x="926" y="515"/>
                    <a:pt x="932" y="522"/>
                    <a:pt x="940" y="522"/>
                  </a:cubicBezTo>
                  <a:cubicBezTo>
                    <a:pt x="940" y="522"/>
                    <a:pt x="940" y="522"/>
                    <a:pt x="941" y="522"/>
                  </a:cubicBezTo>
                  <a:cubicBezTo>
                    <a:pt x="948" y="522"/>
                    <a:pt x="954" y="516"/>
                    <a:pt x="954" y="509"/>
                  </a:cubicBezTo>
                  <a:cubicBezTo>
                    <a:pt x="955" y="503"/>
                    <a:pt x="950" y="497"/>
                    <a:pt x="944" y="496"/>
                  </a:cubicBezTo>
                  <a:cubicBezTo>
                    <a:pt x="944" y="496"/>
                    <a:pt x="944" y="496"/>
                    <a:pt x="944" y="496"/>
                  </a:cubicBezTo>
                  <a:cubicBezTo>
                    <a:pt x="941" y="495"/>
                    <a:pt x="946" y="401"/>
                    <a:pt x="951" y="401"/>
                  </a:cubicBezTo>
                  <a:cubicBezTo>
                    <a:pt x="951" y="401"/>
                    <a:pt x="951" y="401"/>
                    <a:pt x="951" y="401"/>
                  </a:cubicBezTo>
                  <a:cubicBezTo>
                    <a:pt x="959" y="400"/>
                    <a:pt x="967" y="395"/>
                    <a:pt x="971" y="388"/>
                  </a:cubicBezTo>
                  <a:cubicBezTo>
                    <a:pt x="978" y="376"/>
                    <a:pt x="973" y="361"/>
                    <a:pt x="960" y="354"/>
                  </a:cubicBezTo>
                  <a:cubicBezTo>
                    <a:pt x="957" y="352"/>
                    <a:pt x="952" y="351"/>
                    <a:pt x="948" y="351"/>
                  </a:cubicBezTo>
                  <a:cubicBezTo>
                    <a:pt x="940" y="351"/>
                    <a:pt x="931" y="355"/>
                    <a:pt x="926" y="363"/>
                  </a:cubicBezTo>
                  <a:cubicBezTo>
                    <a:pt x="926" y="363"/>
                    <a:pt x="926" y="363"/>
                    <a:pt x="926" y="363"/>
                  </a:cubicBezTo>
                  <a:cubicBezTo>
                    <a:pt x="926" y="363"/>
                    <a:pt x="926" y="363"/>
                    <a:pt x="925" y="363"/>
                  </a:cubicBezTo>
                  <a:cubicBezTo>
                    <a:pt x="921" y="363"/>
                    <a:pt x="909" y="359"/>
                    <a:pt x="896" y="354"/>
                  </a:cubicBezTo>
                  <a:cubicBezTo>
                    <a:pt x="911" y="360"/>
                    <a:pt x="924" y="367"/>
                    <a:pt x="923" y="369"/>
                  </a:cubicBezTo>
                  <a:cubicBezTo>
                    <a:pt x="923" y="369"/>
                    <a:pt x="923" y="369"/>
                    <a:pt x="923" y="369"/>
                  </a:cubicBezTo>
                  <a:cubicBezTo>
                    <a:pt x="921" y="376"/>
                    <a:pt x="922" y="382"/>
                    <a:pt x="926" y="388"/>
                  </a:cubicBezTo>
                  <a:cubicBezTo>
                    <a:pt x="926" y="388"/>
                    <a:pt x="926" y="388"/>
                    <a:pt x="926" y="388"/>
                  </a:cubicBezTo>
                  <a:cubicBezTo>
                    <a:pt x="928" y="392"/>
                    <a:pt x="898" y="414"/>
                    <a:pt x="894" y="414"/>
                  </a:cubicBezTo>
                  <a:cubicBezTo>
                    <a:pt x="893" y="414"/>
                    <a:pt x="893" y="414"/>
                    <a:pt x="893" y="413"/>
                  </a:cubicBezTo>
                  <a:cubicBezTo>
                    <a:pt x="893" y="413"/>
                    <a:pt x="893" y="413"/>
                    <a:pt x="893" y="413"/>
                  </a:cubicBezTo>
                  <a:cubicBezTo>
                    <a:pt x="890" y="411"/>
                    <a:pt x="887" y="410"/>
                    <a:pt x="883" y="409"/>
                  </a:cubicBezTo>
                  <a:cubicBezTo>
                    <a:pt x="883" y="409"/>
                    <a:pt x="882" y="409"/>
                    <a:pt x="882" y="409"/>
                  </a:cubicBezTo>
                  <a:cubicBezTo>
                    <a:pt x="878" y="409"/>
                    <a:pt x="874" y="411"/>
                    <a:pt x="871" y="413"/>
                  </a:cubicBezTo>
                  <a:cubicBezTo>
                    <a:pt x="871" y="413"/>
                    <a:pt x="871" y="413"/>
                    <a:pt x="871" y="413"/>
                  </a:cubicBezTo>
                  <a:cubicBezTo>
                    <a:pt x="871" y="413"/>
                    <a:pt x="871" y="413"/>
                    <a:pt x="871" y="413"/>
                  </a:cubicBezTo>
                  <a:cubicBezTo>
                    <a:pt x="867" y="413"/>
                    <a:pt x="750" y="316"/>
                    <a:pt x="751" y="314"/>
                  </a:cubicBezTo>
                  <a:cubicBezTo>
                    <a:pt x="751" y="314"/>
                    <a:pt x="751" y="314"/>
                    <a:pt x="751" y="314"/>
                  </a:cubicBezTo>
                  <a:cubicBezTo>
                    <a:pt x="752" y="312"/>
                    <a:pt x="753" y="310"/>
                    <a:pt x="752" y="307"/>
                  </a:cubicBezTo>
                  <a:cubicBezTo>
                    <a:pt x="750" y="305"/>
                    <a:pt x="747" y="303"/>
                    <a:pt x="745" y="303"/>
                  </a:cubicBezTo>
                  <a:cubicBezTo>
                    <a:pt x="744" y="303"/>
                    <a:pt x="742" y="303"/>
                    <a:pt x="741" y="304"/>
                  </a:cubicBezTo>
                  <a:cubicBezTo>
                    <a:pt x="740" y="305"/>
                    <a:pt x="738" y="306"/>
                    <a:pt x="738" y="307"/>
                  </a:cubicBezTo>
                  <a:cubicBezTo>
                    <a:pt x="738" y="307"/>
                    <a:pt x="738" y="307"/>
                    <a:pt x="738" y="307"/>
                  </a:cubicBezTo>
                  <a:cubicBezTo>
                    <a:pt x="738" y="307"/>
                    <a:pt x="738" y="307"/>
                    <a:pt x="737" y="307"/>
                  </a:cubicBezTo>
                  <a:cubicBezTo>
                    <a:pt x="732" y="307"/>
                    <a:pt x="656" y="287"/>
                    <a:pt x="657" y="284"/>
                  </a:cubicBezTo>
                  <a:cubicBezTo>
                    <a:pt x="657" y="285"/>
                    <a:pt x="657" y="285"/>
                    <a:pt x="657" y="285"/>
                  </a:cubicBezTo>
                  <a:cubicBezTo>
                    <a:pt x="657" y="284"/>
                    <a:pt x="657" y="283"/>
                    <a:pt x="657" y="283"/>
                  </a:cubicBezTo>
                  <a:cubicBezTo>
                    <a:pt x="657" y="280"/>
                    <a:pt x="656" y="278"/>
                    <a:pt x="655" y="275"/>
                  </a:cubicBezTo>
                  <a:cubicBezTo>
                    <a:pt x="653" y="273"/>
                    <a:pt x="710" y="233"/>
                    <a:pt x="712" y="233"/>
                  </a:cubicBezTo>
                  <a:cubicBezTo>
                    <a:pt x="712" y="233"/>
                    <a:pt x="712" y="233"/>
                    <a:pt x="712" y="233"/>
                  </a:cubicBezTo>
                  <a:cubicBezTo>
                    <a:pt x="712" y="233"/>
                    <a:pt x="712" y="233"/>
                    <a:pt x="712" y="233"/>
                  </a:cubicBezTo>
                  <a:cubicBezTo>
                    <a:pt x="714" y="234"/>
                    <a:pt x="716" y="235"/>
                    <a:pt x="718" y="235"/>
                  </a:cubicBezTo>
                  <a:cubicBezTo>
                    <a:pt x="719" y="235"/>
                    <a:pt x="720" y="235"/>
                    <a:pt x="721" y="234"/>
                  </a:cubicBezTo>
                  <a:cubicBezTo>
                    <a:pt x="725" y="233"/>
                    <a:pt x="726" y="228"/>
                    <a:pt x="724" y="225"/>
                  </a:cubicBezTo>
                  <a:cubicBezTo>
                    <a:pt x="723" y="222"/>
                    <a:pt x="720" y="220"/>
                    <a:pt x="718" y="220"/>
                  </a:cubicBezTo>
                  <a:cubicBezTo>
                    <a:pt x="716" y="220"/>
                    <a:pt x="715" y="221"/>
                    <a:pt x="714" y="221"/>
                  </a:cubicBezTo>
                  <a:cubicBezTo>
                    <a:pt x="713" y="222"/>
                    <a:pt x="713" y="222"/>
                    <a:pt x="713" y="222"/>
                  </a:cubicBezTo>
                  <a:cubicBezTo>
                    <a:pt x="713" y="222"/>
                    <a:pt x="713" y="222"/>
                    <a:pt x="713" y="222"/>
                  </a:cubicBezTo>
                  <a:cubicBezTo>
                    <a:pt x="713" y="222"/>
                    <a:pt x="713" y="222"/>
                    <a:pt x="713" y="222"/>
                  </a:cubicBezTo>
                  <a:cubicBezTo>
                    <a:pt x="713" y="222"/>
                    <a:pt x="711" y="220"/>
                    <a:pt x="708" y="218"/>
                  </a:cubicBezTo>
                  <a:cubicBezTo>
                    <a:pt x="735" y="191"/>
                    <a:pt x="763" y="165"/>
                    <a:pt x="764" y="165"/>
                  </a:cubicBezTo>
                  <a:cubicBezTo>
                    <a:pt x="764" y="165"/>
                    <a:pt x="764" y="165"/>
                    <a:pt x="764" y="165"/>
                  </a:cubicBezTo>
                  <a:cubicBezTo>
                    <a:pt x="764" y="165"/>
                    <a:pt x="764" y="165"/>
                    <a:pt x="764" y="165"/>
                  </a:cubicBezTo>
                  <a:cubicBezTo>
                    <a:pt x="765" y="166"/>
                    <a:pt x="767" y="167"/>
                    <a:pt x="768" y="167"/>
                  </a:cubicBezTo>
                  <a:cubicBezTo>
                    <a:pt x="769" y="167"/>
                    <a:pt x="769" y="167"/>
                    <a:pt x="770" y="166"/>
                  </a:cubicBezTo>
                  <a:cubicBezTo>
                    <a:pt x="770" y="167"/>
                    <a:pt x="770" y="167"/>
                    <a:pt x="770" y="167"/>
                  </a:cubicBezTo>
                  <a:cubicBezTo>
                    <a:pt x="770" y="167"/>
                    <a:pt x="770" y="167"/>
                    <a:pt x="770" y="167"/>
                  </a:cubicBezTo>
                  <a:cubicBezTo>
                    <a:pt x="772" y="167"/>
                    <a:pt x="805" y="248"/>
                    <a:pt x="802" y="250"/>
                  </a:cubicBezTo>
                  <a:cubicBezTo>
                    <a:pt x="802" y="250"/>
                    <a:pt x="802" y="250"/>
                    <a:pt x="802" y="250"/>
                  </a:cubicBezTo>
                  <a:cubicBezTo>
                    <a:pt x="793" y="254"/>
                    <a:pt x="790" y="265"/>
                    <a:pt x="794" y="273"/>
                  </a:cubicBezTo>
                  <a:cubicBezTo>
                    <a:pt x="797" y="280"/>
                    <a:pt x="804" y="284"/>
                    <a:pt x="811" y="284"/>
                  </a:cubicBezTo>
                  <a:cubicBezTo>
                    <a:pt x="814" y="284"/>
                    <a:pt x="817" y="283"/>
                    <a:pt x="819" y="282"/>
                  </a:cubicBezTo>
                  <a:cubicBezTo>
                    <a:pt x="829" y="278"/>
                    <a:pt x="833" y="267"/>
                    <a:pt x="828" y="258"/>
                  </a:cubicBezTo>
                  <a:cubicBezTo>
                    <a:pt x="827" y="255"/>
                    <a:pt x="825" y="253"/>
                    <a:pt x="822" y="251"/>
                  </a:cubicBezTo>
                  <a:cubicBezTo>
                    <a:pt x="823" y="251"/>
                    <a:pt x="823" y="251"/>
                    <a:pt x="823" y="251"/>
                  </a:cubicBezTo>
                  <a:cubicBezTo>
                    <a:pt x="820" y="249"/>
                    <a:pt x="844" y="209"/>
                    <a:pt x="845" y="209"/>
                  </a:cubicBezTo>
                  <a:cubicBezTo>
                    <a:pt x="845" y="209"/>
                    <a:pt x="845" y="209"/>
                    <a:pt x="845" y="209"/>
                  </a:cubicBezTo>
                  <a:cubicBezTo>
                    <a:pt x="845" y="209"/>
                    <a:pt x="845" y="209"/>
                    <a:pt x="845" y="209"/>
                  </a:cubicBezTo>
                  <a:cubicBezTo>
                    <a:pt x="846" y="209"/>
                    <a:pt x="847" y="209"/>
                    <a:pt x="848" y="209"/>
                  </a:cubicBezTo>
                  <a:cubicBezTo>
                    <a:pt x="849" y="209"/>
                    <a:pt x="850" y="209"/>
                    <a:pt x="851" y="208"/>
                  </a:cubicBezTo>
                  <a:cubicBezTo>
                    <a:pt x="855" y="207"/>
                    <a:pt x="857" y="202"/>
                    <a:pt x="855" y="199"/>
                  </a:cubicBezTo>
                  <a:cubicBezTo>
                    <a:pt x="854" y="197"/>
                    <a:pt x="852" y="195"/>
                    <a:pt x="850" y="195"/>
                  </a:cubicBezTo>
                  <a:cubicBezTo>
                    <a:pt x="850" y="195"/>
                    <a:pt x="850" y="195"/>
                    <a:pt x="850" y="195"/>
                  </a:cubicBezTo>
                  <a:cubicBezTo>
                    <a:pt x="849" y="194"/>
                    <a:pt x="852" y="155"/>
                    <a:pt x="856" y="155"/>
                  </a:cubicBezTo>
                  <a:cubicBezTo>
                    <a:pt x="856" y="155"/>
                    <a:pt x="856" y="155"/>
                    <a:pt x="856" y="155"/>
                  </a:cubicBezTo>
                  <a:cubicBezTo>
                    <a:pt x="859" y="155"/>
                    <a:pt x="862" y="154"/>
                    <a:pt x="864" y="153"/>
                  </a:cubicBezTo>
                  <a:cubicBezTo>
                    <a:pt x="864" y="153"/>
                    <a:pt x="864" y="153"/>
                    <a:pt x="864" y="153"/>
                  </a:cubicBezTo>
                  <a:cubicBezTo>
                    <a:pt x="864" y="153"/>
                    <a:pt x="864" y="153"/>
                    <a:pt x="864" y="153"/>
                  </a:cubicBezTo>
                  <a:cubicBezTo>
                    <a:pt x="869" y="153"/>
                    <a:pt x="917" y="215"/>
                    <a:pt x="914" y="217"/>
                  </a:cubicBezTo>
                  <a:cubicBezTo>
                    <a:pt x="915" y="217"/>
                    <a:pt x="915" y="217"/>
                    <a:pt x="915" y="217"/>
                  </a:cubicBezTo>
                  <a:cubicBezTo>
                    <a:pt x="910" y="222"/>
                    <a:pt x="909" y="228"/>
                    <a:pt x="912" y="234"/>
                  </a:cubicBezTo>
                  <a:cubicBezTo>
                    <a:pt x="913" y="236"/>
                    <a:pt x="914" y="238"/>
                    <a:pt x="916" y="239"/>
                  </a:cubicBezTo>
                  <a:cubicBezTo>
                    <a:pt x="915" y="239"/>
                    <a:pt x="915" y="239"/>
                    <a:pt x="915" y="239"/>
                  </a:cubicBezTo>
                  <a:cubicBezTo>
                    <a:pt x="918" y="241"/>
                    <a:pt x="860" y="330"/>
                    <a:pt x="858" y="330"/>
                  </a:cubicBezTo>
                  <a:cubicBezTo>
                    <a:pt x="858" y="330"/>
                    <a:pt x="858" y="330"/>
                    <a:pt x="858" y="330"/>
                  </a:cubicBezTo>
                  <a:cubicBezTo>
                    <a:pt x="858" y="330"/>
                    <a:pt x="858" y="330"/>
                    <a:pt x="858" y="330"/>
                  </a:cubicBezTo>
                  <a:cubicBezTo>
                    <a:pt x="857" y="329"/>
                    <a:pt x="856" y="329"/>
                    <a:pt x="855" y="329"/>
                  </a:cubicBezTo>
                  <a:cubicBezTo>
                    <a:pt x="854" y="329"/>
                    <a:pt x="853" y="329"/>
                    <a:pt x="852" y="330"/>
                  </a:cubicBezTo>
                  <a:cubicBezTo>
                    <a:pt x="848" y="332"/>
                    <a:pt x="847" y="336"/>
                    <a:pt x="848" y="340"/>
                  </a:cubicBezTo>
                  <a:cubicBezTo>
                    <a:pt x="850" y="342"/>
                    <a:pt x="852" y="344"/>
                    <a:pt x="855" y="344"/>
                  </a:cubicBezTo>
                  <a:cubicBezTo>
                    <a:pt x="856" y="344"/>
                    <a:pt x="858" y="344"/>
                    <a:pt x="859" y="343"/>
                  </a:cubicBezTo>
                  <a:cubicBezTo>
                    <a:pt x="860" y="343"/>
                    <a:pt x="861" y="342"/>
                    <a:pt x="862" y="341"/>
                  </a:cubicBezTo>
                  <a:cubicBezTo>
                    <a:pt x="862" y="341"/>
                    <a:pt x="862" y="341"/>
                    <a:pt x="862" y="341"/>
                  </a:cubicBezTo>
                  <a:cubicBezTo>
                    <a:pt x="862" y="341"/>
                    <a:pt x="862" y="341"/>
                    <a:pt x="862" y="341"/>
                  </a:cubicBezTo>
                  <a:cubicBezTo>
                    <a:pt x="863" y="341"/>
                    <a:pt x="873" y="344"/>
                    <a:pt x="884" y="349"/>
                  </a:cubicBezTo>
                  <a:cubicBezTo>
                    <a:pt x="872" y="344"/>
                    <a:pt x="863" y="339"/>
                    <a:pt x="863" y="338"/>
                  </a:cubicBezTo>
                  <a:cubicBezTo>
                    <a:pt x="863" y="338"/>
                    <a:pt x="863" y="338"/>
                    <a:pt x="863" y="338"/>
                  </a:cubicBezTo>
                  <a:cubicBezTo>
                    <a:pt x="863" y="337"/>
                    <a:pt x="863" y="335"/>
                    <a:pt x="862" y="333"/>
                  </a:cubicBezTo>
                  <a:cubicBezTo>
                    <a:pt x="862" y="332"/>
                    <a:pt x="861" y="332"/>
                    <a:pt x="860" y="331"/>
                  </a:cubicBezTo>
                  <a:cubicBezTo>
                    <a:pt x="860" y="331"/>
                    <a:pt x="860" y="331"/>
                    <a:pt x="860" y="331"/>
                  </a:cubicBezTo>
                  <a:cubicBezTo>
                    <a:pt x="859" y="330"/>
                    <a:pt x="916" y="241"/>
                    <a:pt x="919" y="241"/>
                  </a:cubicBezTo>
                  <a:cubicBezTo>
                    <a:pt x="919" y="241"/>
                    <a:pt x="919" y="241"/>
                    <a:pt x="919" y="241"/>
                  </a:cubicBezTo>
                  <a:cubicBezTo>
                    <a:pt x="919" y="241"/>
                    <a:pt x="919" y="241"/>
                    <a:pt x="919" y="241"/>
                  </a:cubicBezTo>
                  <a:cubicBezTo>
                    <a:pt x="921" y="242"/>
                    <a:pt x="923" y="242"/>
                    <a:pt x="925" y="242"/>
                  </a:cubicBezTo>
                  <a:cubicBezTo>
                    <a:pt x="928" y="242"/>
                    <a:pt x="930" y="242"/>
                    <a:pt x="932" y="241"/>
                  </a:cubicBezTo>
                  <a:cubicBezTo>
                    <a:pt x="939" y="238"/>
                    <a:pt x="942" y="230"/>
                    <a:pt x="940" y="223"/>
                  </a:cubicBezTo>
                  <a:cubicBezTo>
                    <a:pt x="940" y="223"/>
                    <a:pt x="940" y="223"/>
                    <a:pt x="940" y="223"/>
                  </a:cubicBezTo>
                  <a:cubicBezTo>
                    <a:pt x="939" y="220"/>
                    <a:pt x="990" y="192"/>
                    <a:pt x="999" y="192"/>
                  </a:cubicBezTo>
                  <a:cubicBezTo>
                    <a:pt x="999" y="192"/>
                    <a:pt x="999" y="192"/>
                    <a:pt x="1000" y="192"/>
                  </a:cubicBezTo>
                  <a:cubicBezTo>
                    <a:pt x="1000" y="192"/>
                    <a:pt x="1000" y="192"/>
                    <a:pt x="1000" y="192"/>
                  </a:cubicBezTo>
                  <a:cubicBezTo>
                    <a:pt x="1003" y="196"/>
                    <a:pt x="1008" y="200"/>
                    <a:pt x="1013" y="201"/>
                  </a:cubicBezTo>
                  <a:cubicBezTo>
                    <a:pt x="1013" y="201"/>
                    <a:pt x="1013" y="201"/>
                    <a:pt x="1013" y="201"/>
                  </a:cubicBezTo>
                  <a:cubicBezTo>
                    <a:pt x="1018" y="202"/>
                    <a:pt x="1008" y="276"/>
                    <a:pt x="1004" y="276"/>
                  </a:cubicBezTo>
                  <a:cubicBezTo>
                    <a:pt x="1004" y="276"/>
                    <a:pt x="1004" y="276"/>
                    <a:pt x="1004" y="276"/>
                  </a:cubicBezTo>
                  <a:cubicBezTo>
                    <a:pt x="993" y="277"/>
                    <a:pt x="984" y="286"/>
                    <a:pt x="984" y="297"/>
                  </a:cubicBezTo>
                  <a:cubicBezTo>
                    <a:pt x="984" y="308"/>
                    <a:pt x="994" y="317"/>
                    <a:pt x="1005" y="317"/>
                  </a:cubicBezTo>
                  <a:cubicBezTo>
                    <a:pt x="1017" y="317"/>
                    <a:pt x="1026" y="308"/>
                    <a:pt x="1026" y="297"/>
                  </a:cubicBezTo>
                  <a:cubicBezTo>
                    <a:pt x="1026" y="295"/>
                    <a:pt x="1026" y="293"/>
                    <a:pt x="1025" y="291"/>
                  </a:cubicBezTo>
                  <a:cubicBezTo>
                    <a:pt x="1025" y="291"/>
                    <a:pt x="1025" y="291"/>
                    <a:pt x="1025" y="291"/>
                  </a:cubicBezTo>
                  <a:cubicBezTo>
                    <a:pt x="1024" y="287"/>
                    <a:pt x="1073" y="268"/>
                    <a:pt x="1076" y="268"/>
                  </a:cubicBezTo>
                  <a:cubicBezTo>
                    <a:pt x="1076" y="268"/>
                    <a:pt x="1076" y="268"/>
                    <a:pt x="1076" y="268"/>
                  </a:cubicBezTo>
                  <a:cubicBezTo>
                    <a:pt x="1076" y="268"/>
                    <a:pt x="1076" y="268"/>
                    <a:pt x="1076" y="268"/>
                  </a:cubicBezTo>
                  <a:cubicBezTo>
                    <a:pt x="1078" y="270"/>
                    <a:pt x="1080" y="271"/>
                    <a:pt x="1083" y="271"/>
                  </a:cubicBezTo>
                  <a:cubicBezTo>
                    <a:pt x="1083" y="271"/>
                    <a:pt x="1084" y="271"/>
                    <a:pt x="1085" y="271"/>
                  </a:cubicBezTo>
                  <a:cubicBezTo>
                    <a:pt x="1085" y="271"/>
                    <a:pt x="1085" y="271"/>
                    <a:pt x="1085" y="271"/>
                  </a:cubicBezTo>
                  <a:cubicBezTo>
                    <a:pt x="1085" y="271"/>
                    <a:pt x="1085" y="271"/>
                    <a:pt x="1085" y="271"/>
                  </a:cubicBezTo>
                  <a:cubicBezTo>
                    <a:pt x="1085" y="271"/>
                    <a:pt x="1090" y="279"/>
                    <a:pt x="1095" y="290"/>
                  </a:cubicBezTo>
                  <a:cubicBezTo>
                    <a:pt x="1090" y="279"/>
                    <a:pt x="1087" y="270"/>
                    <a:pt x="1087" y="270"/>
                  </a:cubicBezTo>
                  <a:cubicBezTo>
                    <a:pt x="1087" y="270"/>
                    <a:pt x="1087" y="270"/>
                    <a:pt x="1087" y="270"/>
                  </a:cubicBezTo>
                  <a:cubicBezTo>
                    <a:pt x="1090" y="268"/>
                    <a:pt x="1091" y="264"/>
                    <a:pt x="1090" y="261"/>
                  </a:cubicBezTo>
                  <a:cubicBezTo>
                    <a:pt x="1088" y="258"/>
                    <a:pt x="1086" y="257"/>
                    <a:pt x="1083" y="257"/>
                  </a:cubicBezTo>
                  <a:cubicBezTo>
                    <a:pt x="1082" y="257"/>
                    <a:pt x="1080" y="257"/>
                    <a:pt x="1079" y="257"/>
                  </a:cubicBezTo>
                  <a:cubicBezTo>
                    <a:pt x="1076" y="259"/>
                    <a:pt x="1074" y="262"/>
                    <a:pt x="1075" y="266"/>
                  </a:cubicBezTo>
                  <a:cubicBezTo>
                    <a:pt x="1075" y="266"/>
                    <a:pt x="1075" y="266"/>
                    <a:pt x="1075" y="266"/>
                  </a:cubicBezTo>
                  <a:cubicBezTo>
                    <a:pt x="1076" y="267"/>
                    <a:pt x="1032" y="286"/>
                    <a:pt x="1024" y="286"/>
                  </a:cubicBezTo>
                  <a:cubicBezTo>
                    <a:pt x="1024" y="286"/>
                    <a:pt x="1023" y="286"/>
                    <a:pt x="1023" y="286"/>
                  </a:cubicBezTo>
                  <a:cubicBezTo>
                    <a:pt x="1023" y="286"/>
                    <a:pt x="1023" y="286"/>
                    <a:pt x="1023" y="286"/>
                  </a:cubicBezTo>
                  <a:cubicBezTo>
                    <a:pt x="1020" y="282"/>
                    <a:pt x="1016" y="279"/>
                    <a:pt x="1011" y="277"/>
                  </a:cubicBezTo>
                  <a:cubicBezTo>
                    <a:pt x="1011" y="277"/>
                    <a:pt x="1011" y="277"/>
                    <a:pt x="1011" y="277"/>
                  </a:cubicBezTo>
                  <a:cubicBezTo>
                    <a:pt x="1007" y="276"/>
                    <a:pt x="1016" y="202"/>
                    <a:pt x="1021" y="202"/>
                  </a:cubicBezTo>
                  <a:cubicBezTo>
                    <a:pt x="1021" y="202"/>
                    <a:pt x="1021" y="202"/>
                    <a:pt x="1021" y="202"/>
                  </a:cubicBezTo>
                  <a:cubicBezTo>
                    <a:pt x="1031" y="201"/>
                    <a:pt x="1040" y="195"/>
                    <a:pt x="1044" y="186"/>
                  </a:cubicBezTo>
                  <a:cubicBezTo>
                    <a:pt x="1044" y="184"/>
                    <a:pt x="1046" y="184"/>
                    <a:pt x="1048" y="184"/>
                  </a:cubicBezTo>
                  <a:cubicBezTo>
                    <a:pt x="1048" y="184"/>
                    <a:pt x="1048" y="184"/>
                    <a:pt x="1048" y="184"/>
                  </a:cubicBezTo>
                  <a:cubicBezTo>
                    <a:pt x="1046" y="183"/>
                    <a:pt x="1045" y="182"/>
                    <a:pt x="1045" y="180"/>
                  </a:cubicBezTo>
                  <a:cubicBezTo>
                    <a:pt x="1045" y="180"/>
                    <a:pt x="1045" y="180"/>
                    <a:pt x="1045" y="180"/>
                  </a:cubicBezTo>
                  <a:cubicBezTo>
                    <a:pt x="1045" y="179"/>
                    <a:pt x="1045" y="178"/>
                    <a:pt x="1045" y="178"/>
                  </a:cubicBezTo>
                  <a:cubicBezTo>
                    <a:pt x="1045" y="172"/>
                    <a:pt x="1043" y="167"/>
                    <a:pt x="1040" y="163"/>
                  </a:cubicBezTo>
                  <a:cubicBezTo>
                    <a:pt x="1040" y="163"/>
                    <a:pt x="1040" y="163"/>
                    <a:pt x="1040" y="163"/>
                  </a:cubicBezTo>
                  <a:cubicBezTo>
                    <a:pt x="1037" y="159"/>
                    <a:pt x="1115" y="80"/>
                    <a:pt x="1121" y="78"/>
                  </a:cubicBezTo>
                  <a:cubicBezTo>
                    <a:pt x="1120" y="84"/>
                    <a:pt x="1068" y="180"/>
                    <a:pt x="1067" y="180"/>
                  </a:cubicBezTo>
                  <a:cubicBezTo>
                    <a:pt x="1067" y="180"/>
                    <a:pt x="1067" y="180"/>
                    <a:pt x="1067" y="180"/>
                  </a:cubicBezTo>
                  <a:cubicBezTo>
                    <a:pt x="1067" y="180"/>
                    <a:pt x="1067" y="180"/>
                    <a:pt x="1067" y="180"/>
                  </a:cubicBezTo>
                  <a:cubicBezTo>
                    <a:pt x="1066" y="180"/>
                    <a:pt x="1065" y="180"/>
                    <a:pt x="1064" y="180"/>
                  </a:cubicBezTo>
                  <a:cubicBezTo>
                    <a:pt x="1061" y="180"/>
                    <a:pt x="1059" y="182"/>
                    <a:pt x="1058" y="184"/>
                  </a:cubicBezTo>
                  <a:cubicBezTo>
                    <a:pt x="1058" y="184"/>
                    <a:pt x="1058" y="184"/>
                    <a:pt x="1058" y="184"/>
                  </a:cubicBezTo>
                  <a:cubicBezTo>
                    <a:pt x="1057" y="185"/>
                    <a:pt x="1056" y="185"/>
                    <a:pt x="1055" y="185"/>
                  </a:cubicBezTo>
                  <a:cubicBezTo>
                    <a:pt x="1054" y="185"/>
                    <a:pt x="1054" y="185"/>
                    <a:pt x="1053" y="185"/>
                  </a:cubicBezTo>
                  <a:cubicBezTo>
                    <a:pt x="1055" y="186"/>
                    <a:pt x="1057" y="187"/>
                    <a:pt x="1057" y="187"/>
                  </a:cubicBezTo>
                  <a:cubicBezTo>
                    <a:pt x="1057" y="187"/>
                    <a:pt x="1057" y="187"/>
                    <a:pt x="1057" y="187"/>
                  </a:cubicBezTo>
                  <a:cubicBezTo>
                    <a:pt x="1057" y="187"/>
                    <a:pt x="1057" y="187"/>
                    <a:pt x="1057" y="187"/>
                  </a:cubicBezTo>
                  <a:cubicBezTo>
                    <a:pt x="1057" y="191"/>
                    <a:pt x="1060" y="195"/>
                    <a:pt x="1064" y="195"/>
                  </a:cubicBezTo>
                  <a:cubicBezTo>
                    <a:pt x="1066" y="195"/>
                    <a:pt x="1067" y="194"/>
                    <a:pt x="1069" y="194"/>
                  </a:cubicBezTo>
                  <a:cubicBezTo>
                    <a:pt x="1069" y="194"/>
                    <a:pt x="1069" y="194"/>
                    <a:pt x="1069" y="194"/>
                  </a:cubicBezTo>
                  <a:cubicBezTo>
                    <a:pt x="1069" y="194"/>
                    <a:pt x="1069" y="194"/>
                    <a:pt x="1069" y="194"/>
                  </a:cubicBezTo>
                  <a:cubicBezTo>
                    <a:pt x="1070" y="194"/>
                    <a:pt x="1093" y="219"/>
                    <a:pt x="1093" y="220"/>
                  </a:cubicBezTo>
                  <a:cubicBezTo>
                    <a:pt x="1093" y="220"/>
                    <a:pt x="1093" y="220"/>
                    <a:pt x="1093" y="220"/>
                  </a:cubicBezTo>
                  <a:cubicBezTo>
                    <a:pt x="1092" y="221"/>
                    <a:pt x="1091" y="222"/>
                    <a:pt x="1092" y="224"/>
                  </a:cubicBezTo>
                  <a:cubicBezTo>
                    <a:pt x="1093" y="225"/>
                    <a:pt x="1094" y="226"/>
                    <a:pt x="1096" y="226"/>
                  </a:cubicBezTo>
                  <a:cubicBezTo>
                    <a:pt x="1096" y="226"/>
                    <a:pt x="1097" y="226"/>
                    <a:pt x="1097" y="226"/>
                  </a:cubicBezTo>
                  <a:cubicBezTo>
                    <a:pt x="1099" y="225"/>
                    <a:pt x="1100" y="222"/>
                    <a:pt x="1099" y="221"/>
                  </a:cubicBezTo>
                  <a:cubicBezTo>
                    <a:pt x="1099" y="220"/>
                    <a:pt x="1099" y="220"/>
                    <a:pt x="1099" y="220"/>
                  </a:cubicBezTo>
                  <a:cubicBezTo>
                    <a:pt x="1099" y="220"/>
                    <a:pt x="1099" y="220"/>
                    <a:pt x="1099" y="220"/>
                  </a:cubicBezTo>
                  <a:cubicBezTo>
                    <a:pt x="1099" y="220"/>
                    <a:pt x="1130" y="196"/>
                    <a:pt x="1132" y="196"/>
                  </a:cubicBezTo>
                  <a:cubicBezTo>
                    <a:pt x="1132" y="196"/>
                    <a:pt x="1132" y="196"/>
                    <a:pt x="1132" y="196"/>
                  </a:cubicBezTo>
                  <a:cubicBezTo>
                    <a:pt x="1132" y="196"/>
                    <a:pt x="1132" y="196"/>
                    <a:pt x="1132" y="196"/>
                  </a:cubicBezTo>
                  <a:cubicBezTo>
                    <a:pt x="1133" y="197"/>
                    <a:pt x="1134" y="197"/>
                    <a:pt x="1136" y="197"/>
                  </a:cubicBezTo>
                  <a:cubicBezTo>
                    <a:pt x="1136" y="197"/>
                    <a:pt x="1137" y="197"/>
                    <a:pt x="1138" y="197"/>
                  </a:cubicBezTo>
                  <a:cubicBezTo>
                    <a:pt x="1138" y="197"/>
                    <a:pt x="1138" y="197"/>
                    <a:pt x="1138" y="197"/>
                  </a:cubicBezTo>
                  <a:cubicBezTo>
                    <a:pt x="1138" y="197"/>
                    <a:pt x="1138" y="197"/>
                    <a:pt x="1138" y="197"/>
                  </a:cubicBezTo>
                  <a:cubicBezTo>
                    <a:pt x="1139" y="197"/>
                    <a:pt x="1171" y="245"/>
                    <a:pt x="1169" y="247"/>
                  </a:cubicBezTo>
                  <a:cubicBezTo>
                    <a:pt x="1169" y="247"/>
                    <a:pt x="1169" y="247"/>
                    <a:pt x="1169" y="247"/>
                  </a:cubicBezTo>
                  <a:cubicBezTo>
                    <a:pt x="1164" y="251"/>
                    <a:pt x="1162" y="258"/>
                    <a:pt x="1165" y="264"/>
                  </a:cubicBezTo>
                  <a:cubicBezTo>
                    <a:pt x="1168" y="269"/>
                    <a:pt x="1173" y="272"/>
                    <a:pt x="1179" y="272"/>
                  </a:cubicBezTo>
                  <a:cubicBezTo>
                    <a:pt x="1181" y="272"/>
                    <a:pt x="1183" y="272"/>
                    <a:pt x="1185" y="271"/>
                  </a:cubicBezTo>
                  <a:cubicBezTo>
                    <a:pt x="1193" y="268"/>
                    <a:pt x="1196" y="259"/>
                    <a:pt x="1192" y="252"/>
                  </a:cubicBezTo>
                  <a:cubicBezTo>
                    <a:pt x="1190" y="246"/>
                    <a:pt x="1184" y="243"/>
                    <a:pt x="1179" y="243"/>
                  </a:cubicBezTo>
                  <a:cubicBezTo>
                    <a:pt x="1177" y="243"/>
                    <a:pt x="1175" y="244"/>
                    <a:pt x="1173" y="245"/>
                  </a:cubicBezTo>
                  <a:cubicBezTo>
                    <a:pt x="1173" y="245"/>
                    <a:pt x="1173" y="245"/>
                    <a:pt x="1173" y="245"/>
                  </a:cubicBezTo>
                  <a:cubicBezTo>
                    <a:pt x="1173" y="245"/>
                    <a:pt x="1173" y="245"/>
                    <a:pt x="1173" y="245"/>
                  </a:cubicBezTo>
                  <a:cubicBezTo>
                    <a:pt x="1169" y="245"/>
                    <a:pt x="1138" y="197"/>
                    <a:pt x="1139" y="196"/>
                  </a:cubicBezTo>
                  <a:cubicBezTo>
                    <a:pt x="1139" y="196"/>
                    <a:pt x="1139" y="196"/>
                    <a:pt x="1139" y="196"/>
                  </a:cubicBezTo>
                  <a:cubicBezTo>
                    <a:pt x="1140" y="195"/>
                    <a:pt x="1141" y="194"/>
                    <a:pt x="1141" y="192"/>
                  </a:cubicBezTo>
                  <a:cubicBezTo>
                    <a:pt x="1141" y="190"/>
                    <a:pt x="1139" y="187"/>
                    <a:pt x="1136" y="187"/>
                  </a:cubicBezTo>
                  <a:cubicBezTo>
                    <a:pt x="1133" y="187"/>
                    <a:pt x="1131" y="189"/>
                    <a:pt x="1131" y="191"/>
                  </a:cubicBezTo>
                  <a:cubicBezTo>
                    <a:pt x="1131" y="191"/>
                    <a:pt x="1131" y="191"/>
                    <a:pt x="1131" y="191"/>
                  </a:cubicBezTo>
                  <a:cubicBezTo>
                    <a:pt x="1131" y="191"/>
                    <a:pt x="1130" y="191"/>
                    <a:pt x="1129" y="191"/>
                  </a:cubicBezTo>
                  <a:cubicBezTo>
                    <a:pt x="1119" y="191"/>
                    <a:pt x="1072" y="188"/>
                    <a:pt x="1072" y="187"/>
                  </a:cubicBezTo>
                  <a:cubicBezTo>
                    <a:pt x="1072" y="187"/>
                    <a:pt x="1072" y="187"/>
                    <a:pt x="1072" y="187"/>
                  </a:cubicBezTo>
                  <a:cubicBezTo>
                    <a:pt x="1072" y="185"/>
                    <a:pt x="1071" y="183"/>
                    <a:pt x="1069" y="181"/>
                  </a:cubicBezTo>
                  <a:cubicBezTo>
                    <a:pt x="1069" y="182"/>
                    <a:pt x="1069" y="182"/>
                    <a:pt x="1069" y="182"/>
                  </a:cubicBezTo>
                  <a:cubicBezTo>
                    <a:pt x="1068" y="181"/>
                    <a:pt x="1122" y="80"/>
                    <a:pt x="1125" y="80"/>
                  </a:cubicBezTo>
                  <a:cubicBezTo>
                    <a:pt x="1125" y="80"/>
                    <a:pt x="1125" y="80"/>
                    <a:pt x="1125" y="80"/>
                  </a:cubicBezTo>
                  <a:cubicBezTo>
                    <a:pt x="1125" y="80"/>
                    <a:pt x="1125" y="80"/>
                    <a:pt x="1125" y="80"/>
                  </a:cubicBezTo>
                  <a:cubicBezTo>
                    <a:pt x="1126" y="80"/>
                    <a:pt x="1127" y="80"/>
                    <a:pt x="1129" y="80"/>
                  </a:cubicBezTo>
                  <a:cubicBezTo>
                    <a:pt x="1129" y="80"/>
                    <a:pt x="1130" y="80"/>
                    <a:pt x="1130" y="80"/>
                  </a:cubicBezTo>
                  <a:cubicBezTo>
                    <a:pt x="1130" y="80"/>
                    <a:pt x="1130" y="80"/>
                    <a:pt x="1130" y="80"/>
                  </a:cubicBezTo>
                  <a:cubicBezTo>
                    <a:pt x="1130" y="80"/>
                    <a:pt x="1130" y="80"/>
                    <a:pt x="1130" y="80"/>
                  </a:cubicBezTo>
                  <a:cubicBezTo>
                    <a:pt x="1133" y="80"/>
                    <a:pt x="1146" y="135"/>
                    <a:pt x="1143" y="136"/>
                  </a:cubicBezTo>
                  <a:cubicBezTo>
                    <a:pt x="1143" y="136"/>
                    <a:pt x="1143" y="136"/>
                    <a:pt x="1143" y="136"/>
                  </a:cubicBezTo>
                  <a:cubicBezTo>
                    <a:pt x="1143" y="136"/>
                    <a:pt x="1142" y="136"/>
                    <a:pt x="1142" y="137"/>
                  </a:cubicBezTo>
                  <a:cubicBezTo>
                    <a:pt x="1133" y="141"/>
                    <a:pt x="1129" y="151"/>
                    <a:pt x="1133" y="160"/>
                  </a:cubicBezTo>
                  <a:cubicBezTo>
                    <a:pt x="1136" y="167"/>
                    <a:pt x="1143" y="171"/>
                    <a:pt x="1150" y="171"/>
                  </a:cubicBezTo>
                  <a:cubicBezTo>
                    <a:pt x="1153" y="171"/>
                    <a:pt x="1155" y="170"/>
                    <a:pt x="1158" y="169"/>
                  </a:cubicBezTo>
                  <a:cubicBezTo>
                    <a:pt x="1161" y="168"/>
                    <a:pt x="1163" y="166"/>
                    <a:pt x="1164" y="164"/>
                  </a:cubicBezTo>
                  <a:cubicBezTo>
                    <a:pt x="1164" y="164"/>
                    <a:pt x="1164" y="164"/>
                    <a:pt x="1164" y="164"/>
                  </a:cubicBezTo>
                  <a:cubicBezTo>
                    <a:pt x="1164" y="164"/>
                    <a:pt x="1165" y="164"/>
                    <a:pt x="1165" y="164"/>
                  </a:cubicBezTo>
                  <a:cubicBezTo>
                    <a:pt x="1171" y="164"/>
                    <a:pt x="1256" y="212"/>
                    <a:pt x="1254" y="217"/>
                  </a:cubicBezTo>
                  <a:cubicBezTo>
                    <a:pt x="1253" y="220"/>
                    <a:pt x="1252" y="224"/>
                    <a:pt x="1252" y="228"/>
                  </a:cubicBezTo>
                  <a:cubicBezTo>
                    <a:pt x="1252" y="233"/>
                    <a:pt x="1254" y="238"/>
                    <a:pt x="1257" y="243"/>
                  </a:cubicBezTo>
                  <a:cubicBezTo>
                    <a:pt x="1257" y="243"/>
                    <a:pt x="1257" y="243"/>
                    <a:pt x="1257" y="243"/>
                  </a:cubicBezTo>
                  <a:cubicBezTo>
                    <a:pt x="1259" y="247"/>
                    <a:pt x="1178" y="318"/>
                    <a:pt x="1154" y="334"/>
                  </a:cubicBezTo>
                  <a:cubicBezTo>
                    <a:pt x="1151" y="326"/>
                    <a:pt x="1143" y="320"/>
                    <a:pt x="1134" y="320"/>
                  </a:cubicBezTo>
                  <a:cubicBezTo>
                    <a:pt x="1126" y="320"/>
                    <a:pt x="1120" y="324"/>
                    <a:pt x="1116" y="329"/>
                  </a:cubicBezTo>
                  <a:cubicBezTo>
                    <a:pt x="1113" y="324"/>
                    <a:pt x="1108" y="316"/>
                    <a:pt x="1103" y="307"/>
                  </a:cubicBezTo>
                  <a:cubicBezTo>
                    <a:pt x="1109" y="319"/>
                    <a:pt x="1113" y="329"/>
                    <a:pt x="1113" y="334"/>
                  </a:cubicBezTo>
                  <a:cubicBezTo>
                    <a:pt x="1112" y="336"/>
                    <a:pt x="1112" y="339"/>
                    <a:pt x="1112" y="341"/>
                  </a:cubicBezTo>
                  <a:cubicBezTo>
                    <a:pt x="1112" y="353"/>
                    <a:pt x="1122" y="363"/>
                    <a:pt x="1134" y="363"/>
                  </a:cubicBezTo>
                  <a:cubicBezTo>
                    <a:pt x="1146" y="363"/>
                    <a:pt x="1156" y="353"/>
                    <a:pt x="1156" y="341"/>
                  </a:cubicBezTo>
                  <a:cubicBezTo>
                    <a:pt x="1156" y="341"/>
                    <a:pt x="1156" y="341"/>
                    <a:pt x="1156" y="341"/>
                  </a:cubicBezTo>
                  <a:cubicBezTo>
                    <a:pt x="1169" y="323"/>
                    <a:pt x="1255" y="249"/>
                    <a:pt x="1262" y="249"/>
                  </a:cubicBezTo>
                  <a:cubicBezTo>
                    <a:pt x="1262" y="249"/>
                    <a:pt x="1263" y="249"/>
                    <a:pt x="1263" y="249"/>
                  </a:cubicBezTo>
                  <a:cubicBezTo>
                    <a:pt x="1263" y="249"/>
                    <a:pt x="1263" y="249"/>
                    <a:pt x="1263" y="249"/>
                  </a:cubicBezTo>
                  <a:cubicBezTo>
                    <a:pt x="1266" y="251"/>
                    <a:pt x="1269" y="253"/>
                    <a:pt x="1273" y="254"/>
                  </a:cubicBezTo>
                  <a:cubicBezTo>
                    <a:pt x="1273" y="254"/>
                    <a:pt x="1273" y="254"/>
                    <a:pt x="1273" y="254"/>
                  </a:cubicBezTo>
                  <a:cubicBezTo>
                    <a:pt x="1275" y="255"/>
                    <a:pt x="1274" y="272"/>
                    <a:pt x="1272" y="290"/>
                  </a:cubicBezTo>
                  <a:cubicBezTo>
                    <a:pt x="1275" y="272"/>
                    <a:pt x="1278" y="255"/>
                    <a:pt x="1281" y="255"/>
                  </a:cubicBezTo>
                  <a:cubicBezTo>
                    <a:pt x="1281" y="255"/>
                    <a:pt x="1281" y="255"/>
                    <a:pt x="1281" y="255"/>
                  </a:cubicBezTo>
                  <a:cubicBezTo>
                    <a:pt x="1297" y="255"/>
                    <a:pt x="1309" y="243"/>
                    <a:pt x="1309" y="228"/>
                  </a:cubicBezTo>
                  <a:cubicBezTo>
                    <a:pt x="1309" y="212"/>
                    <a:pt x="1297" y="200"/>
                    <a:pt x="1281" y="200"/>
                  </a:cubicBezTo>
                  <a:cubicBezTo>
                    <a:pt x="1272" y="200"/>
                    <a:pt x="1264" y="204"/>
                    <a:pt x="1258" y="210"/>
                  </a:cubicBezTo>
                  <a:cubicBezTo>
                    <a:pt x="1258" y="210"/>
                    <a:pt x="1258" y="210"/>
                    <a:pt x="1258" y="210"/>
                  </a:cubicBezTo>
                  <a:cubicBezTo>
                    <a:pt x="1248" y="210"/>
                    <a:pt x="1166" y="163"/>
                    <a:pt x="1167" y="159"/>
                  </a:cubicBezTo>
                  <a:cubicBezTo>
                    <a:pt x="1167" y="159"/>
                    <a:pt x="1167" y="159"/>
                    <a:pt x="1167" y="159"/>
                  </a:cubicBezTo>
                  <a:cubicBezTo>
                    <a:pt x="1169" y="155"/>
                    <a:pt x="1169" y="150"/>
                    <a:pt x="1167" y="145"/>
                  </a:cubicBezTo>
                  <a:cubicBezTo>
                    <a:pt x="1164" y="139"/>
                    <a:pt x="1157" y="135"/>
                    <a:pt x="1150" y="135"/>
                  </a:cubicBezTo>
                  <a:cubicBezTo>
                    <a:pt x="1149" y="135"/>
                    <a:pt x="1149" y="135"/>
                    <a:pt x="1148" y="135"/>
                  </a:cubicBezTo>
                  <a:cubicBezTo>
                    <a:pt x="1149" y="135"/>
                    <a:pt x="1149" y="135"/>
                    <a:pt x="1149" y="135"/>
                  </a:cubicBezTo>
                  <a:cubicBezTo>
                    <a:pt x="1149" y="135"/>
                    <a:pt x="1149" y="135"/>
                    <a:pt x="1148" y="135"/>
                  </a:cubicBezTo>
                  <a:cubicBezTo>
                    <a:pt x="1145" y="135"/>
                    <a:pt x="1132" y="80"/>
                    <a:pt x="1134" y="79"/>
                  </a:cubicBezTo>
                  <a:cubicBezTo>
                    <a:pt x="1134" y="79"/>
                    <a:pt x="1134" y="79"/>
                    <a:pt x="1134" y="79"/>
                  </a:cubicBezTo>
                  <a:cubicBezTo>
                    <a:pt x="1135" y="79"/>
                    <a:pt x="1135" y="79"/>
                    <a:pt x="1135" y="79"/>
                  </a:cubicBezTo>
                  <a:cubicBezTo>
                    <a:pt x="1141" y="76"/>
                    <a:pt x="1144" y="68"/>
                    <a:pt x="1141" y="62"/>
                  </a:cubicBezTo>
                  <a:cubicBezTo>
                    <a:pt x="1139" y="57"/>
                    <a:pt x="1134" y="54"/>
                    <a:pt x="1129" y="54"/>
                  </a:cubicBezTo>
                  <a:cubicBezTo>
                    <a:pt x="1127" y="54"/>
                    <a:pt x="1125" y="55"/>
                    <a:pt x="1123" y="56"/>
                  </a:cubicBezTo>
                  <a:cubicBezTo>
                    <a:pt x="1116" y="59"/>
                    <a:pt x="1113" y="66"/>
                    <a:pt x="1117" y="73"/>
                  </a:cubicBezTo>
                  <a:cubicBezTo>
                    <a:pt x="1117" y="74"/>
                    <a:pt x="1118" y="74"/>
                    <a:pt x="1118" y="75"/>
                  </a:cubicBezTo>
                  <a:cubicBezTo>
                    <a:pt x="1118" y="75"/>
                    <a:pt x="1118" y="75"/>
                    <a:pt x="1118" y="75"/>
                  </a:cubicBezTo>
                  <a:cubicBezTo>
                    <a:pt x="1120" y="77"/>
                    <a:pt x="1041" y="158"/>
                    <a:pt x="1035" y="158"/>
                  </a:cubicBezTo>
                  <a:cubicBezTo>
                    <a:pt x="1034" y="158"/>
                    <a:pt x="1034" y="158"/>
                    <a:pt x="1034" y="158"/>
                  </a:cubicBezTo>
                  <a:cubicBezTo>
                    <a:pt x="1034" y="158"/>
                    <a:pt x="1034" y="158"/>
                    <a:pt x="1034" y="158"/>
                  </a:cubicBezTo>
                  <a:cubicBezTo>
                    <a:pt x="1031" y="155"/>
                    <a:pt x="1027" y="154"/>
                    <a:pt x="1023" y="153"/>
                  </a:cubicBezTo>
                  <a:cubicBezTo>
                    <a:pt x="1023" y="153"/>
                    <a:pt x="1023" y="153"/>
                    <a:pt x="1023" y="153"/>
                  </a:cubicBezTo>
                  <a:cubicBezTo>
                    <a:pt x="1018" y="153"/>
                    <a:pt x="1019" y="84"/>
                    <a:pt x="1022" y="84"/>
                  </a:cubicBezTo>
                  <a:cubicBezTo>
                    <a:pt x="1022" y="84"/>
                    <a:pt x="1022" y="84"/>
                    <a:pt x="1022" y="84"/>
                  </a:cubicBezTo>
                  <a:cubicBezTo>
                    <a:pt x="1028" y="83"/>
                    <a:pt x="1033" y="77"/>
                    <a:pt x="1033" y="71"/>
                  </a:cubicBezTo>
                  <a:cubicBezTo>
                    <a:pt x="1033" y="64"/>
                    <a:pt x="1027" y="58"/>
                    <a:pt x="1020" y="58"/>
                  </a:cubicBezTo>
                  <a:cubicBezTo>
                    <a:pt x="1015" y="58"/>
                    <a:pt x="1011" y="60"/>
                    <a:pt x="1009" y="63"/>
                  </a:cubicBezTo>
                  <a:cubicBezTo>
                    <a:pt x="1009" y="63"/>
                    <a:pt x="1009" y="63"/>
                    <a:pt x="1009" y="63"/>
                  </a:cubicBezTo>
                  <a:cubicBezTo>
                    <a:pt x="1009" y="63"/>
                    <a:pt x="1009" y="63"/>
                    <a:pt x="1008" y="63"/>
                  </a:cubicBezTo>
                  <a:cubicBezTo>
                    <a:pt x="1006" y="63"/>
                    <a:pt x="1000" y="60"/>
                    <a:pt x="994" y="57"/>
                  </a:cubicBezTo>
                  <a:cubicBezTo>
                    <a:pt x="1001" y="61"/>
                    <a:pt x="1008" y="65"/>
                    <a:pt x="1007" y="66"/>
                  </a:cubicBezTo>
                  <a:cubicBezTo>
                    <a:pt x="1007" y="66"/>
                    <a:pt x="1007" y="66"/>
                    <a:pt x="1007" y="66"/>
                  </a:cubicBezTo>
                  <a:cubicBezTo>
                    <a:pt x="1007" y="68"/>
                    <a:pt x="1006" y="69"/>
                    <a:pt x="1006" y="71"/>
                  </a:cubicBezTo>
                  <a:cubicBezTo>
                    <a:pt x="1006" y="76"/>
                    <a:pt x="1010" y="81"/>
                    <a:pt x="1014" y="83"/>
                  </a:cubicBezTo>
                  <a:cubicBezTo>
                    <a:pt x="1014" y="83"/>
                    <a:pt x="1014" y="83"/>
                    <a:pt x="1014" y="83"/>
                  </a:cubicBezTo>
                  <a:cubicBezTo>
                    <a:pt x="1016" y="83"/>
                    <a:pt x="1013" y="92"/>
                    <a:pt x="1011" y="101"/>
                  </a:cubicBezTo>
                  <a:cubicBezTo>
                    <a:pt x="1013" y="93"/>
                    <a:pt x="1016" y="85"/>
                    <a:pt x="1018" y="84"/>
                  </a:cubicBezTo>
                  <a:cubicBezTo>
                    <a:pt x="1020" y="87"/>
                    <a:pt x="1021" y="153"/>
                    <a:pt x="1016" y="153"/>
                  </a:cubicBezTo>
                  <a:cubicBezTo>
                    <a:pt x="1016" y="153"/>
                    <a:pt x="1016" y="153"/>
                    <a:pt x="1016" y="153"/>
                  </a:cubicBezTo>
                  <a:cubicBezTo>
                    <a:pt x="1016" y="153"/>
                    <a:pt x="1016" y="153"/>
                    <a:pt x="1016" y="153"/>
                  </a:cubicBezTo>
                  <a:cubicBezTo>
                    <a:pt x="1016" y="153"/>
                    <a:pt x="1016" y="153"/>
                    <a:pt x="1016" y="153"/>
                  </a:cubicBezTo>
                  <a:cubicBezTo>
                    <a:pt x="1014" y="153"/>
                    <a:pt x="1012" y="151"/>
                    <a:pt x="1011" y="147"/>
                  </a:cubicBezTo>
                  <a:cubicBezTo>
                    <a:pt x="1012" y="151"/>
                    <a:pt x="1012" y="154"/>
                    <a:pt x="1010" y="155"/>
                  </a:cubicBezTo>
                  <a:cubicBezTo>
                    <a:pt x="1004" y="157"/>
                    <a:pt x="999" y="162"/>
                    <a:pt x="996" y="168"/>
                  </a:cubicBezTo>
                  <a:cubicBezTo>
                    <a:pt x="996" y="168"/>
                    <a:pt x="996" y="168"/>
                    <a:pt x="994" y="168"/>
                  </a:cubicBezTo>
                  <a:cubicBezTo>
                    <a:pt x="978" y="168"/>
                    <a:pt x="874" y="142"/>
                    <a:pt x="874" y="139"/>
                  </a:cubicBezTo>
                  <a:cubicBezTo>
                    <a:pt x="874" y="139"/>
                    <a:pt x="874" y="139"/>
                    <a:pt x="874" y="139"/>
                  </a:cubicBezTo>
                  <a:cubicBezTo>
                    <a:pt x="874" y="138"/>
                    <a:pt x="874" y="138"/>
                    <a:pt x="874" y="137"/>
                  </a:cubicBezTo>
                  <a:cubicBezTo>
                    <a:pt x="874" y="127"/>
                    <a:pt x="866" y="119"/>
                    <a:pt x="855" y="119"/>
                  </a:cubicBezTo>
                  <a:cubicBezTo>
                    <a:pt x="853" y="119"/>
                    <a:pt x="850" y="120"/>
                    <a:pt x="848" y="121"/>
                  </a:cubicBezTo>
                  <a:cubicBezTo>
                    <a:pt x="848" y="120"/>
                    <a:pt x="848" y="120"/>
                    <a:pt x="848" y="120"/>
                  </a:cubicBezTo>
                  <a:cubicBezTo>
                    <a:pt x="848" y="121"/>
                    <a:pt x="848" y="121"/>
                    <a:pt x="848" y="121"/>
                  </a:cubicBezTo>
                  <a:cubicBezTo>
                    <a:pt x="843" y="121"/>
                    <a:pt x="786" y="34"/>
                    <a:pt x="789" y="31"/>
                  </a:cubicBezTo>
                  <a:cubicBezTo>
                    <a:pt x="789" y="31"/>
                    <a:pt x="789" y="31"/>
                    <a:pt x="789" y="31"/>
                  </a:cubicBezTo>
                  <a:cubicBezTo>
                    <a:pt x="791" y="31"/>
                    <a:pt x="800" y="38"/>
                    <a:pt x="810" y="45"/>
                  </a:cubicBezTo>
                  <a:cubicBezTo>
                    <a:pt x="800" y="37"/>
                    <a:pt x="791" y="29"/>
                    <a:pt x="792" y="28"/>
                  </a:cubicBezTo>
                  <a:cubicBezTo>
                    <a:pt x="792" y="28"/>
                    <a:pt x="792" y="28"/>
                    <a:pt x="792" y="28"/>
                  </a:cubicBezTo>
                  <a:cubicBezTo>
                    <a:pt x="794" y="25"/>
                    <a:pt x="795" y="22"/>
                    <a:pt x="795" y="18"/>
                  </a:cubicBezTo>
                  <a:cubicBezTo>
                    <a:pt x="795" y="8"/>
                    <a:pt x="787" y="0"/>
                    <a:pt x="776"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7" name="Freeform 20"/>
            <p:cNvSpPr>
              <a:spLocks/>
            </p:cNvSpPr>
            <p:nvPr/>
          </p:nvSpPr>
          <p:spPr bwMode="auto">
            <a:xfrm>
              <a:off x="6035675" y="2900363"/>
              <a:ext cx="52388" cy="41275"/>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cubicBezTo>
                    <a:pt x="9" y="4"/>
                    <a:pt x="4" y="8"/>
                    <a:pt x="0" y="11"/>
                  </a:cubicBezTo>
                  <a:cubicBezTo>
                    <a:pt x="4" y="8"/>
                    <a:pt x="10" y="4"/>
                    <a:pt x="14"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8" name="Freeform 21"/>
            <p:cNvSpPr>
              <a:spLocks noEditPoints="1"/>
            </p:cNvSpPr>
            <p:nvPr/>
          </p:nvSpPr>
          <p:spPr bwMode="auto">
            <a:xfrm>
              <a:off x="5457825" y="2247900"/>
              <a:ext cx="1231900" cy="652463"/>
            </a:xfrm>
            <a:custGeom>
              <a:avLst/>
              <a:gdLst>
                <a:gd name="T0" fmla="*/ 294 w 328"/>
                <a:gd name="T1" fmla="*/ 53 h 173"/>
                <a:gd name="T2" fmla="*/ 290 w 328"/>
                <a:gd name="T3" fmla="*/ 68 h 173"/>
                <a:gd name="T4" fmla="*/ 237 w 328"/>
                <a:gd name="T5" fmla="*/ 89 h 173"/>
                <a:gd name="T6" fmla="*/ 255 w 328"/>
                <a:gd name="T7" fmla="*/ 21 h 173"/>
                <a:gd name="T8" fmla="*/ 257 w 328"/>
                <a:gd name="T9" fmla="*/ 22 h 173"/>
                <a:gd name="T10" fmla="*/ 257 w 328"/>
                <a:gd name="T11" fmla="*/ 0 h 173"/>
                <a:gd name="T12" fmla="*/ 252 w 328"/>
                <a:gd name="T13" fmla="*/ 20 h 173"/>
                <a:gd name="T14" fmla="*/ 230 w 328"/>
                <a:gd name="T15" fmla="*/ 84 h 173"/>
                <a:gd name="T16" fmla="*/ 225 w 328"/>
                <a:gd name="T17" fmla="*/ 84 h 173"/>
                <a:gd name="T18" fmla="*/ 213 w 328"/>
                <a:gd name="T19" fmla="*/ 59 h 173"/>
                <a:gd name="T20" fmla="*/ 199 w 328"/>
                <a:gd name="T21" fmla="*/ 34 h 173"/>
                <a:gd name="T22" fmla="*/ 185 w 328"/>
                <a:gd name="T23" fmla="*/ 44 h 173"/>
                <a:gd name="T24" fmla="*/ 104 w 328"/>
                <a:gd name="T25" fmla="*/ 22 h 173"/>
                <a:gd name="T26" fmla="*/ 88 w 328"/>
                <a:gd name="T27" fmla="*/ 38 h 173"/>
                <a:gd name="T28" fmla="*/ 16 w 328"/>
                <a:gd name="T29" fmla="*/ 52 h 173"/>
                <a:gd name="T30" fmla="*/ 6 w 328"/>
                <a:gd name="T31" fmla="*/ 48 h 173"/>
                <a:gd name="T32" fmla="*/ 12 w 328"/>
                <a:gd name="T33" fmla="*/ 61 h 173"/>
                <a:gd name="T34" fmla="*/ 86 w 328"/>
                <a:gd name="T35" fmla="*/ 42 h 173"/>
                <a:gd name="T36" fmla="*/ 104 w 328"/>
                <a:gd name="T37" fmla="*/ 54 h 173"/>
                <a:gd name="T38" fmla="*/ 128 w 328"/>
                <a:gd name="T39" fmla="*/ 41 h 173"/>
                <a:gd name="T40" fmla="*/ 192 w 328"/>
                <a:gd name="T41" fmla="*/ 53 h 173"/>
                <a:gd name="T42" fmla="*/ 210 w 328"/>
                <a:gd name="T43" fmla="*/ 60 h 173"/>
                <a:gd name="T44" fmla="*/ 222 w 328"/>
                <a:gd name="T45" fmla="*/ 86 h 173"/>
                <a:gd name="T46" fmla="*/ 222 w 328"/>
                <a:gd name="T47" fmla="*/ 101 h 173"/>
                <a:gd name="T48" fmla="*/ 205 w 328"/>
                <a:gd name="T49" fmla="*/ 130 h 173"/>
                <a:gd name="T50" fmla="*/ 178 w 328"/>
                <a:gd name="T51" fmla="*/ 162 h 173"/>
                <a:gd name="T52" fmla="*/ 181 w 328"/>
                <a:gd name="T53" fmla="*/ 166 h 173"/>
                <a:gd name="T54" fmla="*/ 198 w 328"/>
                <a:gd name="T55" fmla="*/ 172 h 173"/>
                <a:gd name="T56" fmla="*/ 226 w 328"/>
                <a:gd name="T57" fmla="*/ 150 h 173"/>
                <a:gd name="T58" fmla="*/ 211 w 328"/>
                <a:gd name="T59" fmla="*/ 132 h 173"/>
                <a:gd name="T60" fmla="*/ 225 w 328"/>
                <a:gd name="T61" fmla="*/ 103 h 173"/>
                <a:gd name="T62" fmla="*/ 230 w 328"/>
                <a:gd name="T63" fmla="*/ 103 h 173"/>
                <a:gd name="T64" fmla="*/ 244 w 328"/>
                <a:gd name="T65" fmla="*/ 146 h 173"/>
                <a:gd name="T66" fmla="*/ 242 w 328"/>
                <a:gd name="T67" fmla="*/ 149 h 173"/>
                <a:gd name="T68" fmla="*/ 242 w 328"/>
                <a:gd name="T69" fmla="*/ 151 h 173"/>
                <a:gd name="T70" fmla="*/ 248 w 328"/>
                <a:gd name="T71" fmla="*/ 154 h 173"/>
                <a:gd name="T72" fmla="*/ 250 w 328"/>
                <a:gd name="T73" fmla="*/ 153 h 173"/>
                <a:gd name="T74" fmla="*/ 251 w 328"/>
                <a:gd name="T75" fmla="*/ 152 h 173"/>
                <a:gd name="T76" fmla="*/ 246 w 328"/>
                <a:gd name="T77" fmla="*/ 146 h 173"/>
                <a:gd name="T78" fmla="*/ 232 w 328"/>
                <a:gd name="T79" fmla="*/ 102 h 173"/>
                <a:gd name="T80" fmla="*/ 238 w 328"/>
                <a:gd name="T81" fmla="*/ 92 h 173"/>
                <a:gd name="T82" fmla="*/ 292 w 328"/>
                <a:gd name="T83" fmla="*/ 72 h 173"/>
                <a:gd name="T84" fmla="*/ 324 w 328"/>
                <a:gd name="T85" fmla="*/ 57 h 173"/>
                <a:gd name="T86" fmla="*/ 297 w 328"/>
                <a:gd name="T87" fmla="*/ 50 h 173"/>
                <a:gd name="T88" fmla="*/ 266 w 328"/>
                <a:gd name="T89" fmla="*/ 17 h 173"/>
                <a:gd name="T90" fmla="*/ 257 w 328"/>
                <a:gd name="T9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173">
                  <a:moveTo>
                    <a:pt x="263" y="20"/>
                  </a:moveTo>
                  <a:cubicBezTo>
                    <a:pt x="263" y="20"/>
                    <a:pt x="263" y="20"/>
                    <a:pt x="263" y="20"/>
                  </a:cubicBezTo>
                  <a:cubicBezTo>
                    <a:pt x="266" y="20"/>
                    <a:pt x="296" y="51"/>
                    <a:pt x="294" y="53"/>
                  </a:cubicBezTo>
                  <a:cubicBezTo>
                    <a:pt x="294" y="53"/>
                    <a:pt x="294" y="53"/>
                    <a:pt x="294" y="53"/>
                  </a:cubicBezTo>
                  <a:cubicBezTo>
                    <a:pt x="290" y="57"/>
                    <a:pt x="289" y="63"/>
                    <a:pt x="290" y="68"/>
                  </a:cubicBezTo>
                  <a:cubicBezTo>
                    <a:pt x="290" y="68"/>
                    <a:pt x="290" y="68"/>
                    <a:pt x="290" y="68"/>
                  </a:cubicBezTo>
                  <a:cubicBezTo>
                    <a:pt x="291" y="71"/>
                    <a:pt x="242" y="89"/>
                    <a:pt x="237" y="89"/>
                  </a:cubicBezTo>
                  <a:cubicBezTo>
                    <a:pt x="237" y="89"/>
                    <a:pt x="237" y="89"/>
                    <a:pt x="237" y="89"/>
                  </a:cubicBezTo>
                  <a:cubicBezTo>
                    <a:pt x="237" y="89"/>
                    <a:pt x="237" y="89"/>
                    <a:pt x="237" y="89"/>
                  </a:cubicBezTo>
                  <a:cubicBezTo>
                    <a:pt x="236" y="87"/>
                    <a:pt x="234" y="86"/>
                    <a:pt x="233" y="85"/>
                  </a:cubicBezTo>
                  <a:cubicBezTo>
                    <a:pt x="233" y="85"/>
                    <a:pt x="233" y="85"/>
                    <a:pt x="233" y="85"/>
                  </a:cubicBezTo>
                  <a:cubicBezTo>
                    <a:pt x="231" y="84"/>
                    <a:pt x="253" y="21"/>
                    <a:pt x="255" y="21"/>
                  </a:cubicBezTo>
                  <a:cubicBezTo>
                    <a:pt x="255" y="21"/>
                    <a:pt x="255" y="21"/>
                    <a:pt x="255" y="21"/>
                  </a:cubicBezTo>
                  <a:cubicBezTo>
                    <a:pt x="255" y="21"/>
                    <a:pt x="255" y="21"/>
                    <a:pt x="255" y="21"/>
                  </a:cubicBezTo>
                  <a:cubicBezTo>
                    <a:pt x="256" y="21"/>
                    <a:pt x="256" y="22"/>
                    <a:pt x="257" y="22"/>
                  </a:cubicBezTo>
                  <a:cubicBezTo>
                    <a:pt x="259" y="22"/>
                    <a:pt x="261" y="21"/>
                    <a:pt x="263" y="20"/>
                  </a:cubicBezTo>
                  <a:cubicBezTo>
                    <a:pt x="263" y="20"/>
                    <a:pt x="263" y="20"/>
                    <a:pt x="263" y="20"/>
                  </a:cubicBezTo>
                  <a:moveTo>
                    <a:pt x="257" y="0"/>
                  </a:moveTo>
                  <a:cubicBezTo>
                    <a:pt x="251" y="0"/>
                    <a:pt x="246" y="5"/>
                    <a:pt x="246" y="11"/>
                  </a:cubicBezTo>
                  <a:cubicBezTo>
                    <a:pt x="246" y="15"/>
                    <a:pt x="248" y="19"/>
                    <a:pt x="252" y="20"/>
                  </a:cubicBezTo>
                  <a:cubicBezTo>
                    <a:pt x="252" y="20"/>
                    <a:pt x="252" y="20"/>
                    <a:pt x="252" y="20"/>
                  </a:cubicBezTo>
                  <a:cubicBezTo>
                    <a:pt x="254" y="21"/>
                    <a:pt x="232" y="84"/>
                    <a:pt x="230" y="84"/>
                  </a:cubicBezTo>
                  <a:cubicBezTo>
                    <a:pt x="230" y="84"/>
                    <a:pt x="230" y="84"/>
                    <a:pt x="230" y="84"/>
                  </a:cubicBezTo>
                  <a:cubicBezTo>
                    <a:pt x="230" y="84"/>
                    <a:pt x="230" y="84"/>
                    <a:pt x="230" y="84"/>
                  </a:cubicBezTo>
                  <a:cubicBezTo>
                    <a:pt x="229" y="84"/>
                    <a:pt x="229" y="84"/>
                    <a:pt x="228" y="84"/>
                  </a:cubicBezTo>
                  <a:cubicBezTo>
                    <a:pt x="227" y="84"/>
                    <a:pt x="226" y="84"/>
                    <a:pt x="225" y="85"/>
                  </a:cubicBezTo>
                  <a:cubicBezTo>
                    <a:pt x="225" y="84"/>
                    <a:pt x="225" y="84"/>
                    <a:pt x="225" y="84"/>
                  </a:cubicBezTo>
                  <a:cubicBezTo>
                    <a:pt x="225" y="85"/>
                    <a:pt x="225" y="85"/>
                    <a:pt x="225" y="85"/>
                  </a:cubicBezTo>
                  <a:cubicBezTo>
                    <a:pt x="223" y="85"/>
                    <a:pt x="211" y="60"/>
                    <a:pt x="214" y="59"/>
                  </a:cubicBezTo>
                  <a:cubicBezTo>
                    <a:pt x="213" y="59"/>
                    <a:pt x="213" y="59"/>
                    <a:pt x="213" y="59"/>
                  </a:cubicBezTo>
                  <a:cubicBezTo>
                    <a:pt x="220" y="55"/>
                    <a:pt x="222" y="47"/>
                    <a:pt x="219" y="41"/>
                  </a:cubicBezTo>
                  <a:cubicBezTo>
                    <a:pt x="216" y="36"/>
                    <a:pt x="211" y="33"/>
                    <a:pt x="205" y="33"/>
                  </a:cubicBezTo>
                  <a:cubicBezTo>
                    <a:pt x="203" y="33"/>
                    <a:pt x="201" y="33"/>
                    <a:pt x="199" y="34"/>
                  </a:cubicBezTo>
                  <a:cubicBezTo>
                    <a:pt x="195" y="36"/>
                    <a:pt x="192" y="39"/>
                    <a:pt x="191" y="43"/>
                  </a:cubicBezTo>
                  <a:cubicBezTo>
                    <a:pt x="191" y="43"/>
                    <a:pt x="191" y="43"/>
                    <a:pt x="191" y="43"/>
                  </a:cubicBezTo>
                  <a:cubicBezTo>
                    <a:pt x="191" y="44"/>
                    <a:pt x="189" y="44"/>
                    <a:pt x="185" y="44"/>
                  </a:cubicBezTo>
                  <a:cubicBezTo>
                    <a:pt x="168" y="44"/>
                    <a:pt x="121" y="39"/>
                    <a:pt x="121" y="37"/>
                  </a:cubicBezTo>
                  <a:cubicBezTo>
                    <a:pt x="121" y="37"/>
                    <a:pt x="121" y="37"/>
                    <a:pt x="121" y="37"/>
                  </a:cubicBezTo>
                  <a:cubicBezTo>
                    <a:pt x="121" y="28"/>
                    <a:pt x="114" y="22"/>
                    <a:pt x="104" y="22"/>
                  </a:cubicBezTo>
                  <a:cubicBezTo>
                    <a:pt x="95" y="22"/>
                    <a:pt x="88" y="29"/>
                    <a:pt x="88" y="38"/>
                  </a:cubicBezTo>
                  <a:cubicBezTo>
                    <a:pt x="88" y="38"/>
                    <a:pt x="88" y="38"/>
                    <a:pt x="88" y="38"/>
                  </a:cubicBezTo>
                  <a:cubicBezTo>
                    <a:pt x="88" y="38"/>
                    <a:pt x="88" y="38"/>
                    <a:pt x="88" y="38"/>
                  </a:cubicBezTo>
                  <a:cubicBezTo>
                    <a:pt x="88" y="41"/>
                    <a:pt x="24" y="52"/>
                    <a:pt x="17" y="52"/>
                  </a:cubicBezTo>
                  <a:cubicBezTo>
                    <a:pt x="16" y="52"/>
                    <a:pt x="16" y="52"/>
                    <a:pt x="16" y="52"/>
                  </a:cubicBezTo>
                  <a:cubicBezTo>
                    <a:pt x="16" y="52"/>
                    <a:pt x="16" y="52"/>
                    <a:pt x="16" y="52"/>
                  </a:cubicBezTo>
                  <a:cubicBezTo>
                    <a:pt x="16" y="51"/>
                    <a:pt x="16" y="51"/>
                    <a:pt x="16" y="51"/>
                  </a:cubicBezTo>
                  <a:cubicBezTo>
                    <a:pt x="14" y="48"/>
                    <a:pt x="12" y="47"/>
                    <a:pt x="9" y="47"/>
                  </a:cubicBezTo>
                  <a:cubicBezTo>
                    <a:pt x="8" y="47"/>
                    <a:pt x="7" y="47"/>
                    <a:pt x="6" y="48"/>
                  </a:cubicBezTo>
                  <a:cubicBezTo>
                    <a:pt x="2" y="49"/>
                    <a:pt x="0" y="54"/>
                    <a:pt x="2" y="57"/>
                  </a:cubicBezTo>
                  <a:cubicBezTo>
                    <a:pt x="3" y="60"/>
                    <a:pt x="6" y="61"/>
                    <a:pt x="9" y="61"/>
                  </a:cubicBezTo>
                  <a:cubicBezTo>
                    <a:pt x="10" y="61"/>
                    <a:pt x="11" y="61"/>
                    <a:pt x="12" y="61"/>
                  </a:cubicBezTo>
                  <a:cubicBezTo>
                    <a:pt x="15" y="60"/>
                    <a:pt x="17" y="57"/>
                    <a:pt x="16" y="54"/>
                  </a:cubicBezTo>
                  <a:cubicBezTo>
                    <a:pt x="16" y="54"/>
                    <a:pt x="16" y="54"/>
                    <a:pt x="16" y="54"/>
                  </a:cubicBezTo>
                  <a:cubicBezTo>
                    <a:pt x="16" y="53"/>
                    <a:pt x="73" y="42"/>
                    <a:pt x="86" y="42"/>
                  </a:cubicBezTo>
                  <a:cubicBezTo>
                    <a:pt x="87" y="42"/>
                    <a:pt x="88" y="43"/>
                    <a:pt x="89" y="43"/>
                  </a:cubicBezTo>
                  <a:cubicBezTo>
                    <a:pt x="88" y="43"/>
                    <a:pt x="88" y="43"/>
                    <a:pt x="88" y="43"/>
                  </a:cubicBezTo>
                  <a:cubicBezTo>
                    <a:pt x="91" y="49"/>
                    <a:pt x="97" y="54"/>
                    <a:pt x="104" y="54"/>
                  </a:cubicBezTo>
                  <a:cubicBezTo>
                    <a:pt x="112" y="54"/>
                    <a:pt x="119" y="49"/>
                    <a:pt x="121" y="42"/>
                  </a:cubicBezTo>
                  <a:cubicBezTo>
                    <a:pt x="121" y="42"/>
                    <a:pt x="121" y="42"/>
                    <a:pt x="121" y="42"/>
                  </a:cubicBezTo>
                  <a:cubicBezTo>
                    <a:pt x="121" y="41"/>
                    <a:pt x="124" y="41"/>
                    <a:pt x="128" y="41"/>
                  </a:cubicBezTo>
                  <a:cubicBezTo>
                    <a:pt x="145" y="41"/>
                    <a:pt x="191" y="46"/>
                    <a:pt x="191" y="48"/>
                  </a:cubicBezTo>
                  <a:cubicBezTo>
                    <a:pt x="191" y="48"/>
                    <a:pt x="191" y="48"/>
                    <a:pt x="191" y="48"/>
                  </a:cubicBezTo>
                  <a:cubicBezTo>
                    <a:pt x="191" y="49"/>
                    <a:pt x="191" y="51"/>
                    <a:pt x="192" y="53"/>
                  </a:cubicBezTo>
                  <a:cubicBezTo>
                    <a:pt x="195" y="58"/>
                    <a:pt x="200" y="61"/>
                    <a:pt x="205" y="61"/>
                  </a:cubicBezTo>
                  <a:cubicBezTo>
                    <a:pt x="207" y="61"/>
                    <a:pt x="208" y="61"/>
                    <a:pt x="210" y="60"/>
                  </a:cubicBezTo>
                  <a:cubicBezTo>
                    <a:pt x="210" y="60"/>
                    <a:pt x="210" y="60"/>
                    <a:pt x="210" y="60"/>
                  </a:cubicBezTo>
                  <a:cubicBezTo>
                    <a:pt x="210" y="60"/>
                    <a:pt x="210" y="60"/>
                    <a:pt x="210" y="60"/>
                  </a:cubicBezTo>
                  <a:cubicBezTo>
                    <a:pt x="213" y="60"/>
                    <a:pt x="224" y="85"/>
                    <a:pt x="222" y="86"/>
                  </a:cubicBezTo>
                  <a:cubicBezTo>
                    <a:pt x="222" y="86"/>
                    <a:pt x="222" y="86"/>
                    <a:pt x="222" y="86"/>
                  </a:cubicBezTo>
                  <a:cubicBezTo>
                    <a:pt x="218" y="88"/>
                    <a:pt x="217" y="94"/>
                    <a:pt x="219" y="98"/>
                  </a:cubicBezTo>
                  <a:cubicBezTo>
                    <a:pt x="220" y="99"/>
                    <a:pt x="221" y="101"/>
                    <a:pt x="222" y="101"/>
                  </a:cubicBezTo>
                  <a:cubicBezTo>
                    <a:pt x="222" y="101"/>
                    <a:pt x="222" y="101"/>
                    <a:pt x="222" y="101"/>
                  </a:cubicBezTo>
                  <a:cubicBezTo>
                    <a:pt x="223" y="103"/>
                    <a:pt x="210" y="130"/>
                    <a:pt x="206" y="130"/>
                  </a:cubicBezTo>
                  <a:cubicBezTo>
                    <a:pt x="206" y="130"/>
                    <a:pt x="205" y="130"/>
                    <a:pt x="205" y="130"/>
                  </a:cubicBezTo>
                  <a:cubicBezTo>
                    <a:pt x="205" y="130"/>
                    <a:pt x="205" y="130"/>
                    <a:pt x="205" y="130"/>
                  </a:cubicBezTo>
                  <a:cubicBezTo>
                    <a:pt x="203" y="129"/>
                    <a:pt x="201" y="128"/>
                    <a:pt x="198" y="128"/>
                  </a:cubicBezTo>
                  <a:cubicBezTo>
                    <a:pt x="185" y="128"/>
                    <a:pt x="175" y="138"/>
                    <a:pt x="175" y="150"/>
                  </a:cubicBezTo>
                  <a:cubicBezTo>
                    <a:pt x="175" y="155"/>
                    <a:pt x="176" y="159"/>
                    <a:pt x="178" y="162"/>
                  </a:cubicBezTo>
                  <a:cubicBezTo>
                    <a:pt x="178" y="162"/>
                    <a:pt x="178" y="162"/>
                    <a:pt x="178" y="162"/>
                  </a:cubicBezTo>
                  <a:cubicBezTo>
                    <a:pt x="179" y="163"/>
                    <a:pt x="174" y="168"/>
                    <a:pt x="168" y="173"/>
                  </a:cubicBezTo>
                  <a:cubicBezTo>
                    <a:pt x="174" y="169"/>
                    <a:pt x="179" y="166"/>
                    <a:pt x="181" y="166"/>
                  </a:cubicBezTo>
                  <a:cubicBezTo>
                    <a:pt x="182" y="166"/>
                    <a:pt x="182" y="166"/>
                    <a:pt x="182" y="166"/>
                  </a:cubicBezTo>
                  <a:cubicBezTo>
                    <a:pt x="182" y="166"/>
                    <a:pt x="182" y="166"/>
                    <a:pt x="182" y="166"/>
                  </a:cubicBezTo>
                  <a:cubicBezTo>
                    <a:pt x="186" y="170"/>
                    <a:pt x="192" y="172"/>
                    <a:pt x="198" y="172"/>
                  </a:cubicBezTo>
                  <a:cubicBezTo>
                    <a:pt x="210" y="172"/>
                    <a:pt x="219" y="164"/>
                    <a:pt x="221" y="153"/>
                  </a:cubicBezTo>
                  <a:cubicBezTo>
                    <a:pt x="221" y="153"/>
                    <a:pt x="221" y="153"/>
                    <a:pt x="221" y="153"/>
                  </a:cubicBezTo>
                  <a:cubicBezTo>
                    <a:pt x="221" y="151"/>
                    <a:pt x="223" y="151"/>
                    <a:pt x="226" y="150"/>
                  </a:cubicBezTo>
                  <a:cubicBezTo>
                    <a:pt x="223" y="150"/>
                    <a:pt x="221" y="149"/>
                    <a:pt x="221" y="148"/>
                  </a:cubicBezTo>
                  <a:cubicBezTo>
                    <a:pt x="221" y="148"/>
                    <a:pt x="221" y="148"/>
                    <a:pt x="221" y="148"/>
                  </a:cubicBezTo>
                  <a:cubicBezTo>
                    <a:pt x="220" y="141"/>
                    <a:pt x="216" y="136"/>
                    <a:pt x="211" y="132"/>
                  </a:cubicBezTo>
                  <a:cubicBezTo>
                    <a:pt x="211" y="132"/>
                    <a:pt x="211" y="132"/>
                    <a:pt x="211" y="132"/>
                  </a:cubicBezTo>
                  <a:cubicBezTo>
                    <a:pt x="207" y="130"/>
                    <a:pt x="223" y="103"/>
                    <a:pt x="225" y="103"/>
                  </a:cubicBezTo>
                  <a:cubicBezTo>
                    <a:pt x="225" y="103"/>
                    <a:pt x="225" y="103"/>
                    <a:pt x="225" y="103"/>
                  </a:cubicBezTo>
                  <a:cubicBezTo>
                    <a:pt x="225" y="103"/>
                    <a:pt x="225" y="103"/>
                    <a:pt x="225" y="103"/>
                  </a:cubicBezTo>
                  <a:cubicBezTo>
                    <a:pt x="226" y="103"/>
                    <a:pt x="227" y="103"/>
                    <a:pt x="228" y="103"/>
                  </a:cubicBezTo>
                  <a:cubicBezTo>
                    <a:pt x="229" y="103"/>
                    <a:pt x="229" y="103"/>
                    <a:pt x="230" y="103"/>
                  </a:cubicBezTo>
                  <a:cubicBezTo>
                    <a:pt x="230" y="103"/>
                    <a:pt x="230" y="103"/>
                    <a:pt x="230" y="103"/>
                  </a:cubicBezTo>
                  <a:cubicBezTo>
                    <a:pt x="230" y="103"/>
                    <a:pt x="230" y="103"/>
                    <a:pt x="230" y="103"/>
                  </a:cubicBezTo>
                  <a:cubicBezTo>
                    <a:pt x="232" y="103"/>
                    <a:pt x="245" y="146"/>
                    <a:pt x="244" y="146"/>
                  </a:cubicBezTo>
                  <a:cubicBezTo>
                    <a:pt x="244" y="146"/>
                    <a:pt x="244" y="146"/>
                    <a:pt x="244" y="146"/>
                  </a:cubicBezTo>
                  <a:cubicBezTo>
                    <a:pt x="243" y="147"/>
                    <a:pt x="242" y="148"/>
                    <a:pt x="242" y="150"/>
                  </a:cubicBezTo>
                  <a:cubicBezTo>
                    <a:pt x="242" y="149"/>
                    <a:pt x="242" y="149"/>
                    <a:pt x="242" y="149"/>
                  </a:cubicBezTo>
                  <a:cubicBezTo>
                    <a:pt x="242" y="150"/>
                    <a:pt x="240" y="150"/>
                    <a:pt x="237" y="150"/>
                  </a:cubicBezTo>
                  <a:cubicBezTo>
                    <a:pt x="240" y="151"/>
                    <a:pt x="242" y="151"/>
                    <a:pt x="242" y="151"/>
                  </a:cubicBezTo>
                  <a:cubicBezTo>
                    <a:pt x="242" y="151"/>
                    <a:pt x="242" y="151"/>
                    <a:pt x="242" y="151"/>
                  </a:cubicBezTo>
                  <a:cubicBezTo>
                    <a:pt x="242" y="151"/>
                    <a:pt x="242" y="152"/>
                    <a:pt x="242" y="152"/>
                  </a:cubicBezTo>
                  <a:cubicBezTo>
                    <a:pt x="243" y="154"/>
                    <a:pt x="245" y="155"/>
                    <a:pt x="246" y="155"/>
                  </a:cubicBezTo>
                  <a:cubicBezTo>
                    <a:pt x="247" y="155"/>
                    <a:pt x="248" y="155"/>
                    <a:pt x="248" y="154"/>
                  </a:cubicBezTo>
                  <a:cubicBezTo>
                    <a:pt x="249" y="154"/>
                    <a:pt x="250" y="154"/>
                    <a:pt x="250" y="153"/>
                  </a:cubicBezTo>
                  <a:cubicBezTo>
                    <a:pt x="250" y="153"/>
                    <a:pt x="250" y="153"/>
                    <a:pt x="250" y="153"/>
                  </a:cubicBezTo>
                  <a:cubicBezTo>
                    <a:pt x="250" y="153"/>
                    <a:pt x="250" y="153"/>
                    <a:pt x="250" y="153"/>
                  </a:cubicBezTo>
                  <a:cubicBezTo>
                    <a:pt x="251" y="153"/>
                    <a:pt x="256" y="155"/>
                    <a:pt x="262" y="158"/>
                  </a:cubicBezTo>
                  <a:cubicBezTo>
                    <a:pt x="256" y="155"/>
                    <a:pt x="251" y="152"/>
                    <a:pt x="251" y="152"/>
                  </a:cubicBezTo>
                  <a:cubicBezTo>
                    <a:pt x="251" y="152"/>
                    <a:pt x="251" y="152"/>
                    <a:pt x="251" y="152"/>
                  </a:cubicBezTo>
                  <a:cubicBezTo>
                    <a:pt x="251" y="151"/>
                    <a:pt x="251" y="150"/>
                    <a:pt x="251" y="148"/>
                  </a:cubicBezTo>
                  <a:cubicBezTo>
                    <a:pt x="250" y="147"/>
                    <a:pt x="248" y="146"/>
                    <a:pt x="246" y="146"/>
                  </a:cubicBezTo>
                  <a:cubicBezTo>
                    <a:pt x="246" y="146"/>
                    <a:pt x="246" y="146"/>
                    <a:pt x="246" y="146"/>
                  </a:cubicBezTo>
                  <a:cubicBezTo>
                    <a:pt x="246" y="146"/>
                    <a:pt x="246" y="146"/>
                    <a:pt x="246" y="146"/>
                  </a:cubicBezTo>
                  <a:cubicBezTo>
                    <a:pt x="246" y="146"/>
                    <a:pt x="246" y="146"/>
                    <a:pt x="246" y="146"/>
                  </a:cubicBezTo>
                  <a:cubicBezTo>
                    <a:pt x="245" y="146"/>
                    <a:pt x="231" y="103"/>
                    <a:pt x="232" y="102"/>
                  </a:cubicBezTo>
                  <a:cubicBezTo>
                    <a:pt x="232" y="102"/>
                    <a:pt x="232" y="102"/>
                    <a:pt x="232" y="102"/>
                  </a:cubicBezTo>
                  <a:cubicBezTo>
                    <a:pt x="237" y="101"/>
                    <a:pt x="239" y="96"/>
                    <a:pt x="238" y="92"/>
                  </a:cubicBezTo>
                  <a:cubicBezTo>
                    <a:pt x="238" y="92"/>
                    <a:pt x="238" y="92"/>
                    <a:pt x="238" y="92"/>
                  </a:cubicBezTo>
                  <a:cubicBezTo>
                    <a:pt x="237" y="90"/>
                    <a:pt x="283" y="72"/>
                    <a:pt x="291" y="72"/>
                  </a:cubicBezTo>
                  <a:cubicBezTo>
                    <a:pt x="292" y="72"/>
                    <a:pt x="292" y="72"/>
                    <a:pt x="292" y="73"/>
                  </a:cubicBezTo>
                  <a:cubicBezTo>
                    <a:pt x="292" y="72"/>
                    <a:pt x="292" y="72"/>
                    <a:pt x="292" y="72"/>
                  </a:cubicBezTo>
                  <a:cubicBezTo>
                    <a:pt x="295" y="78"/>
                    <a:pt x="301" y="81"/>
                    <a:pt x="308" y="81"/>
                  </a:cubicBezTo>
                  <a:cubicBezTo>
                    <a:pt x="310" y="81"/>
                    <a:pt x="313" y="81"/>
                    <a:pt x="315" y="80"/>
                  </a:cubicBezTo>
                  <a:cubicBezTo>
                    <a:pt x="324" y="76"/>
                    <a:pt x="328" y="65"/>
                    <a:pt x="324" y="57"/>
                  </a:cubicBezTo>
                  <a:cubicBezTo>
                    <a:pt x="321" y="51"/>
                    <a:pt x="314" y="47"/>
                    <a:pt x="308" y="47"/>
                  </a:cubicBezTo>
                  <a:cubicBezTo>
                    <a:pt x="305" y="47"/>
                    <a:pt x="302" y="47"/>
                    <a:pt x="300" y="49"/>
                  </a:cubicBezTo>
                  <a:cubicBezTo>
                    <a:pt x="299" y="49"/>
                    <a:pt x="298" y="49"/>
                    <a:pt x="297" y="50"/>
                  </a:cubicBezTo>
                  <a:cubicBezTo>
                    <a:pt x="298" y="50"/>
                    <a:pt x="298" y="50"/>
                    <a:pt x="298" y="50"/>
                  </a:cubicBezTo>
                  <a:cubicBezTo>
                    <a:pt x="298" y="50"/>
                    <a:pt x="297" y="50"/>
                    <a:pt x="297" y="50"/>
                  </a:cubicBezTo>
                  <a:cubicBezTo>
                    <a:pt x="293" y="50"/>
                    <a:pt x="264" y="19"/>
                    <a:pt x="266" y="17"/>
                  </a:cubicBezTo>
                  <a:cubicBezTo>
                    <a:pt x="266" y="17"/>
                    <a:pt x="266" y="17"/>
                    <a:pt x="266" y="17"/>
                  </a:cubicBezTo>
                  <a:cubicBezTo>
                    <a:pt x="267" y="16"/>
                    <a:pt x="268" y="13"/>
                    <a:pt x="268" y="11"/>
                  </a:cubicBezTo>
                  <a:cubicBezTo>
                    <a:pt x="268" y="5"/>
                    <a:pt x="263" y="0"/>
                    <a:pt x="257"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9" name="Freeform 22"/>
            <p:cNvSpPr>
              <a:spLocks/>
            </p:cNvSpPr>
            <p:nvPr/>
          </p:nvSpPr>
          <p:spPr bwMode="auto">
            <a:xfrm>
              <a:off x="7312025" y="3098800"/>
              <a:ext cx="12700" cy="26988"/>
            </a:xfrm>
            <a:custGeom>
              <a:avLst/>
              <a:gdLst>
                <a:gd name="T0" fmla="*/ 0 w 3"/>
                <a:gd name="T1" fmla="*/ 0 h 7"/>
                <a:gd name="T2" fmla="*/ 3 w 3"/>
                <a:gd name="T3" fmla="*/ 7 h 7"/>
                <a:gd name="T4" fmla="*/ 0 w 3"/>
                <a:gd name="T5" fmla="*/ 0 h 7"/>
              </a:gdLst>
              <a:ahLst/>
              <a:cxnLst>
                <a:cxn ang="0">
                  <a:pos x="T0" y="T1"/>
                </a:cxn>
                <a:cxn ang="0">
                  <a:pos x="T2" y="T3"/>
                </a:cxn>
                <a:cxn ang="0">
                  <a:pos x="T4" y="T5"/>
                </a:cxn>
              </a:cxnLst>
              <a:rect l="0" t="0" r="r" b="b"/>
              <a:pathLst>
                <a:path w="3" h="7">
                  <a:moveTo>
                    <a:pt x="0" y="0"/>
                  </a:moveTo>
                  <a:cubicBezTo>
                    <a:pt x="1" y="2"/>
                    <a:pt x="2" y="4"/>
                    <a:pt x="3" y="7"/>
                  </a:cubicBezTo>
                  <a:cubicBezTo>
                    <a:pt x="2" y="4"/>
                    <a:pt x="1" y="2"/>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0" name="Freeform 23"/>
            <p:cNvSpPr>
              <a:spLocks/>
            </p:cNvSpPr>
            <p:nvPr/>
          </p:nvSpPr>
          <p:spPr bwMode="auto">
            <a:xfrm>
              <a:off x="6307138" y="2813050"/>
              <a:ext cx="41275" cy="3175"/>
            </a:xfrm>
            <a:custGeom>
              <a:avLst/>
              <a:gdLst>
                <a:gd name="T0" fmla="*/ 5 w 11"/>
                <a:gd name="T1" fmla="*/ 0 h 1"/>
                <a:gd name="T2" fmla="*/ 0 w 11"/>
                <a:gd name="T3" fmla="*/ 0 h 1"/>
                <a:gd name="T4" fmla="*/ 5 w 11"/>
                <a:gd name="T5" fmla="*/ 1 h 1"/>
                <a:gd name="T6" fmla="*/ 11 w 11"/>
                <a:gd name="T7" fmla="*/ 0 h 1"/>
                <a:gd name="T8" fmla="*/ 5 w 11"/>
                <a:gd name="T9" fmla="*/ 0 h 1"/>
              </a:gdLst>
              <a:ahLst/>
              <a:cxnLst>
                <a:cxn ang="0">
                  <a:pos x="T0" y="T1"/>
                </a:cxn>
                <a:cxn ang="0">
                  <a:pos x="T2" y="T3"/>
                </a:cxn>
                <a:cxn ang="0">
                  <a:pos x="T4" y="T5"/>
                </a:cxn>
                <a:cxn ang="0">
                  <a:pos x="T6" y="T7"/>
                </a:cxn>
                <a:cxn ang="0">
                  <a:pos x="T8" y="T9"/>
                </a:cxn>
              </a:cxnLst>
              <a:rect l="0" t="0" r="r" b="b"/>
              <a:pathLst>
                <a:path w="11" h="1">
                  <a:moveTo>
                    <a:pt x="5" y="0"/>
                  </a:moveTo>
                  <a:cubicBezTo>
                    <a:pt x="4" y="0"/>
                    <a:pt x="2" y="0"/>
                    <a:pt x="0" y="0"/>
                  </a:cubicBezTo>
                  <a:cubicBezTo>
                    <a:pt x="2" y="1"/>
                    <a:pt x="4" y="1"/>
                    <a:pt x="5" y="1"/>
                  </a:cubicBezTo>
                  <a:cubicBezTo>
                    <a:pt x="7" y="1"/>
                    <a:pt x="9" y="0"/>
                    <a:pt x="11" y="0"/>
                  </a:cubicBezTo>
                  <a:cubicBezTo>
                    <a:pt x="9" y="0"/>
                    <a:pt x="7" y="0"/>
                    <a:pt x="5"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1" name="Freeform 24"/>
            <p:cNvSpPr>
              <a:spLocks/>
            </p:cNvSpPr>
            <p:nvPr/>
          </p:nvSpPr>
          <p:spPr bwMode="auto">
            <a:xfrm>
              <a:off x="6442075" y="2843213"/>
              <a:ext cx="11113" cy="7938"/>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2"/>
                    <a:pt x="1"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2" name="Freeform 25"/>
            <p:cNvSpPr>
              <a:spLocks/>
            </p:cNvSpPr>
            <p:nvPr/>
          </p:nvSpPr>
          <p:spPr bwMode="auto">
            <a:xfrm>
              <a:off x="6502400" y="3136900"/>
              <a:ext cx="14288" cy="52388"/>
            </a:xfrm>
            <a:custGeom>
              <a:avLst/>
              <a:gdLst>
                <a:gd name="T0" fmla="*/ 0 w 4"/>
                <a:gd name="T1" fmla="*/ 0 h 14"/>
                <a:gd name="T2" fmla="*/ 4 w 4"/>
                <a:gd name="T3" fmla="*/ 14 h 14"/>
                <a:gd name="T4" fmla="*/ 0 w 4"/>
                <a:gd name="T5" fmla="*/ 0 h 14"/>
              </a:gdLst>
              <a:ahLst/>
              <a:cxnLst>
                <a:cxn ang="0">
                  <a:pos x="T0" y="T1"/>
                </a:cxn>
                <a:cxn ang="0">
                  <a:pos x="T2" y="T3"/>
                </a:cxn>
                <a:cxn ang="0">
                  <a:pos x="T4" y="T5"/>
                </a:cxn>
              </a:cxnLst>
              <a:rect l="0" t="0" r="r" b="b"/>
              <a:pathLst>
                <a:path w="4" h="14">
                  <a:moveTo>
                    <a:pt x="0" y="0"/>
                  </a:moveTo>
                  <a:cubicBezTo>
                    <a:pt x="1" y="4"/>
                    <a:pt x="2" y="9"/>
                    <a:pt x="4" y="14"/>
                  </a:cubicBezTo>
                  <a:cubicBezTo>
                    <a:pt x="3" y="9"/>
                    <a:pt x="1"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3" name="Freeform 26"/>
            <p:cNvSpPr>
              <a:spLocks noEditPoints="1"/>
            </p:cNvSpPr>
            <p:nvPr/>
          </p:nvSpPr>
          <p:spPr bwMode="auto">
            <a:xfrm>
              <a:off x="5980113" y="2941638"/>
              <a:ext cx="528638" cy="195263"/>
            </a:xfrm>
            <a:custGeom>
              <a:avLst/>
              <a:gdLst>
                <a:gd name="T0" fmla="*/ 95 w 141"/>
                <a:gd name="T1" fmla="*/ 22 h 52"/>
                <a:gd name="T2" fmla="*/ 101 w 141"/>
                <a:gd name="T3" fmla="*/ 23 h 52"/>
                <a:gd name="T4" fmla="*/ 103 w 141"/>
                <a:gd name="T5" fmla="*/ 22 h 52"/>
                <a:gd name="T6" fmla="*/ 133 w 141"/>
                <a:gd name="T7" fmla="*/ 41 h 52"/>
                <a:gd name="T8" fmla="*/ 132 w 141"/>
                <a:gd name="T9" fmla="*/ 42 h 52"/>
                <a:gd name="T10" fmla="*/ 70 w 141"/>
                <a:gd name="T11" fmla="*/ 45 h 52"/>
                <a:gd name="T12" fmla="*/ 65 w 141"/>
                <a:gd name="T13" fmla="*/ 45 h 52"/>
                <a:gd name="T14" fmla="*/ 64 w 141"/>
                <a:gd name="T15" fmla="*/ 43 h 52"/>
                <a:gd name="T16" fmla="*/ 95 w 141"/>
                <a:gd name="T17" fmla="*/ 22 h 52"/>
                <a:gd name="T18" fmla="*/ 15 w 141"/>
                <a:gd name="T19" fmla="*/ 0 h 52"/>
                <a:gd name="T20" fmla="*/ 7 w 141"/>
                <a:gd name="T21" fmla="*/ 6 h 52"/>
                <a:gd name="T22" fmla="*/ 4 w 141"/>
                <a:gd name="T23" fmla="*/ 5 h 52"/>
                <a:gd name="T24" fmla="*/ 1 w 141"/>
                <a:gd name="T25" fmla="*/ 10 h 52"/>
                <a:gd name="T26" fmla="*/ 6 w 141"/>
                <a:gd name="T27" fmla="*/ 12 h 52"/>
                <a:gd name="T28" fmla="*/ 7 w 141"/>
                <a:gd name="T29" fmla="*/ 11 h 52"/>
                <a:gd name="T30" fmla="*/ 52 w 141"/>
                <a:gd name="T31" fmla="*/ 43 h 52"/>
                <a:gd name="T32" fmla="*/ 52 w 141"/>
                <a:gd name="T33" fmla="*/ 49 h 52"/>
                <a:gd name="T34" fmla="*/ 61 w 141"/>
                <a:gd name="T35" fmla="*/ 52 h 52"/>
                <a:gd name="T36" fmla="*/ 65 w 141"/>
                <a:gd name="T37" fmla="*/ 47 h 52"/>
                <a:gd name="T38" fmla="*/ 132 w 141"/>
                <a:gd name="T39" fmla="*/ 43 h 52"/>
                <a:gd name="T40" fmla="*/ 133 w 141"/>
                <a:gd name="T41" fmla="*/ 44 h 52"/>
                <a:gd name="T42" fmla="*/ 137 w 141"/>
                <a:gd name="T43" fmla="*/ 46 h 52"/>
                <a:gd name="T44" fmla="*/ 137 w 141"/>
                <a:gd name="T45" fmla="*/ 46 h 52"/>
                <a:gd name="T46" fmla="*/ 138 w 141"/>
                <a:gd name="T47" fmla="*/ 46 h 52"/>
                <a:gd name="T48" fmla="*/ 140 w 141"/>
                <a:gd name="T49" fmla="*/ 41 h 52"/>
                <a:gd name="T50" fmla="*/ 138 w 141"/>
                <a:gd name="T51" fmla="*/ 39 h 52"/>
                <a:gd name="T52" fmla="*/ 137 w 141"/>
                <a:gd name="T53" fmla="*/ 39 h 52"/>
                <a:gd name="T54" fmla="*/ 137 w 141"/>
                <a:gd name="T55" fmla="*/ 39 h 52"/>
                <a:gd name="T56" fmla="*/ 135 w 141"/>
                <a:gd name="T57" fmla="*/ 39 h 52"/>
                <a:gd name="T58" fmla="*/ 133 w 141"/>
                <a:gd name="T59" fmla="*/ 40 h 52"/>
                <a:gd name="T60" fmla="*/ 103 w 141"/>
                <a:gd name="T61" fmla="*/ 21 h 52"/>
                <a:gd name="T62" fmla="*/ 103 w 141"/>
                <a:gd name="T63" fmla="*/ 17 h 52"/>
                <a:gd name="T64" fmla="*/ 97 w 141"/>
                <a:gd name="T65" fmla="*/ 15 h 52"/>
                <a:gd name="T66" fmla="*/ 95 w 141"/>
                <a:gd name="T67" fmla="*/ 21 h 52"/>
                <a:gd name="T68" fmla="*/ 63 w 141"/>
                <a:gd name="T69" fmla="*/ 41 h 52"/>
                <a:gd name="T70" fmla="*/ 58 w 141"/>
                <a:gd name="T71" fmla="*/ 39 h 52"/>
                <a:gd name="T72" fmla="*/ 53 w 141"/>
                <a:gd name="T73" fmla="*/ 41 h 52"/>
                <a:gd name="T74" fmla="*/ 53 w 141"/>
                <a:gd name="T75" fmla="*/ 41 h 52"/>
                <a:gd name="T76" fmla="*/ 8 w 141"/>
                <a:gd name="T77" fmla="*/ 10 h 52"/>
                <a:gd name="T78" fmla="*/ 8 w 141"/>
                <a:gd name="T79" fmla="*/ 7 h 52"/>
                <a:gd name="T80" fmla="*/ 15 w 141"/>
                <a:gd name="T8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52">
                  <a:moveTo>
                    <a:pt x="96" y="22"/>
                  </a:moveTo>
                  <a:cubicBezTo>
                    <a:pt x="95" y="22"/>
                    <a:pt x="95" y="22"/>
                    <a:pt x="95" y="22"/>
                  </a:cubicBezTo>
                  <a:cubicBezTo>
                    <a:pt x="96" y="23"/>
                    <a:pt x="98" y="24"/>
                    <a:pt x="99" y="24"/>
                  </a:cubicBezTo>
                  <a:cubicBezTo>
                    <a:pt x="100" y="24"/>
                    <a:pt x="100" y="23"/>
                    <a:pt x="101" y="23"/>
                  </a:cubicBezTo>
                  <a:cubicBezTo>
                    <a:pt x="102" y="23"/>
                    <a:pt x="102" y="23"/>
                    <a:pt x="103" y="22"/>
                  </a:cubicBezTo>
                  <a:cubicBezTo>
                    <a:pt x="103" y="22"/>
                    <a:pt x="103" y="22"/>
                    <a:pt x="103" y="22"/>
                  </a:cubicBezTo>
                  <a:cubicBezTo>
                    <a:pt x="103" y="22"/>
                    <a:pt x="103" y="22"/>
                    <a:pt x="103" y="22"/>
                  </a:cubicBezTo>
                  <a:cubicBezTo>
                    <a:pt x="104" y="22"/>
                    <a:pt x="133" y="40"/>
                    <a:pt x="133" y="41"/>
                  </a:cubicBezTo>
                  <a:cubicBezTo>
                    <a:pt x="133" y="41"/>
                    <a:pt x="133" y="41"/>
                    <a:pt x="133" y="41"/>
                  </a:cubicBezTo>
                  <a:cubicBezTo>
                    <a:pt x="132" y="41"/>
                    <a:pt x="132" y="42"/>
                    <a:pt x="132" y="42"/>
                  </a:cubicBezTo>
                  <a:cubicBezTo>
                    <a:pt x="132" y="42"/>
                    <a:pt x="132" y="42"/>
                    <a:pt x="132" y="42"/>
                  </a:cubicBezTo>
                  <a:cubicBezTo>
                    <a:pt x="132" y="43"/>
                    <a:pt x="86" y="45"/>
                    <a:pt x="70" y="45"/>
                  </a:cubicBezTo>
                  <a:cubicBezTo>
                    <a:pt x="67" y="45"/>
                    <a:pt x="65" y="45"/>
                    <a:pt x="65" y="45"/>
                  </a:cubicBezTo>
                  <a:cubicBezTo>
                    <a:pt x="65" y="45"/>
                    <a:pt x="65" y="45"/>
                    <a:pt x="65" y="45"/>
                  </a:cubicBezTo>
                  <a:cubicBezTo>
                    <a:pt x="65" y="44"/>
                    <a:pt x="64" y="43"/>
                    <a:pt x="64" y="43"/>
                  </a:cubicBezTo>
                  <a:cubicBezTo>
                    <a:pt x="64" y="43"/>
                    <a:pt x="64" y="43"/>
                    <a:pt x="64" y="43"/>
                  </a:cubicBezTo>
                  <a:cubicBezTo>
                    <a:pt x="64" y="43"/>
                    <a:pt x="64" y="43"/>
                    <a:pt x="64" y="43"/>
                  </a:cubicBezTo>
                  <a:cubicBezTo>
                    <a:pt x="64" y="42"/>
                    <a:pt x="94" y="22"/>
                    <a:pt x="95" y="22"/>
                  </a:cubicBezTo>
                  <a:cubicBezTo>
                    <a:pt x="96" y="22"/>
                    <a:pt x="96" y="22"/>
                    <a:pt x="96" y="22"/>
                  </a:cubicBezTo>
                  <a:moveTo>
                    <a:pt x="15" y="0"/>
                  </a:moveTo>
                  <a:cubicBezTo>
                    <a:pt x="11" y="3"/>
                    <a:pt x="8" y="6"/>
                    <a:pt x="7" y="6"/>
                  </a:cubicBezTo>
                  <a:cubicBezTo>
                    <a:pt x="7" y="6"/>
                    <a:pt x="7" y="6"/>
                    <a:pt x="7" y="6"/>
                  </a:cubicBezTo>
                  <a:cubicBezTo>
                    <a:pt x="7" y="6"/>
                    <a:pt x="7" y="6"/>
                    <a:pt x="7" y="6"/>
                  </a:cubicBezTo>
                  <a:cubicBezTo>
                    <a:pt x="6" y="5"/>
                    <a:pt x="5" y="5"/>
                    <a:pt x="4" y="5"/>
                  </a:cubicBezTo>
                  <a:cubicBezTo>
                    <a:pt x="4" y="5"/>
                    <a:pt x="3" y="5"/>
                    <a:pt x="3" y="5"/>
                  </a:cubicBezTo>
                  <a:cubicBezTo>
                    <a:pt x="1" y="6"/>
                    <a:pt x="0" y="8"/>
                    <a:pt x="1" y="10"/>
                  </a:cubicBezTo>
                  <a:cubicBezTo>
                    <a:pt x="1" y="12"/>
                    <a:pt x="3" y="12"/>
                    <a:pt x="4" y="12"/>
                  </a:cubicBezTo>
                  <a:cubicBezTo>
                    <a:pt x="5" y="12"/>
                    <a:pt x="6" y="12"/>
                    <a:pt x="6" y="12"/>
                  </a:cubicBezTo>
                  <a:cubicBezTo>
                    <a:pt x="7" y="12"/>
                    <a:pt x="7" y="12"/>
                    <a:pt x="7" y="11"/>
                  </a:cubicBezTo>
                  <a:cubicBezTo>
                    <a:pt x="7" y="11"/>
                    <a:pt x="7" y="11"/>
                    <a:pt x="7" y="11"/>
                  </a:cubicBezTo>
                  <a:cubicBezTo>
                    <a:pt x="7" y="11"/>
                    <a:pt x="7" y="11"/>
                    <a:pt x="7" y="11"/>
                  </a:cubicBezTo>
                  <a:cubicBezTo>
                    <a:pt x="9" y="11"/>
                    <a:pt x="52" y="42"/>
                    <a:pt x="52" y="43"/>
                  </a:cubicBezTo>
                  <a:cubicBezTo>
                    <a:pt x="52" y="43"/>
                    <a:pt x="52" y="43"/>
                    <a:pt x="52" y="43"/>
                  </a:cubicBezTo>
                  <a:cubicBezTo>
                    <a:pt x="51" y="44"/>
                    <a:pt x="51" y="47"/>
                    <a:pt x="52" y="49"/>
                  </a:cubicBezTo>
                  <a:cubicBezTo>
                    <a:pt x="53" y="51"/>
                    <a:pt x="55" y="52"/>
                    <a:pt x="58" y="52"/>
                  </a:cubicBezTo>
                  <a:cubicBezTo>
                    <a:pt x="59" y="52"/>
                    <a:pt x="60" y="52"/>
                    <a:pt x="61" y="52"/>
                  </a:cubicBezTo>
                  <a:cubicBezTo>
                    <a:pt x="63" y="51"/>
                    <a:pt x="65" y="49"/>
                    <a:pt x="65" y="46"/>
                  </a:cubicBezTo>
                  <a:cubicBezTo>
                    <a:pt x="65" y="47"/>
                    <a:pt x="65" y="47"/>
                    <a:pt x="65" y="47"/>
                  </a:cubicBezTo>
                  <a:cubicBezTo>
                    <a:pt x="65" y="45"/>
                    <a:pt x="117" y="43"/>
                    <a:pt x="129" y="43"/>
                  </a:cubicBezTo>
                  <a:cubicBezTo>
                    <a:pt x="131" y="43"/>
                    <a:pt x="132" y="43"/>
                    <a:pt x="132" y="43"/>
                  </a:cubicBezTo>
                  <a:cubicBezTo>
                    <a:pt x="132" y="43"/>
                    <a:pt x="132" y="43"/>
                    <a:pt x="132" y="43"/>
                  </a:cubicBezTo>
                  <a:cubicBezTo>
                    <a:pt x="133" y="44"/>
                    <a:pt x="133" y="44"/>
                    <a:pt x="133" y="44"/>
                  </a:cubicBezTo>
                  <a:cubicBezTo>
                    <a:pt x="133" y="46"/>
                    <a:pt x="135" y="46"/>
                    <a:pt x="136" y="46"/>
                  </a:cubicBezTo>
                  <a:cubicBezTo>
                    <a:pt x="136" y="46"/>
                    <a:pt x="137" y="46"/>
                    <a:pt x="137" y="46"/>
                  </a:cubicBezTo>
                  <a:cubicBezTo>
                    <a:pt x="137" y="46"/>
                    <a:pt x="137" y="46"/>
                    <a:pt x="137" y="46"/>
                  </a:cubicBezTo>
                  <a:cubicBezTo>
                    <a:pt x="137" y="46"/>
                    <a:pt x="137" y="46"/>
                    <a:pt x="137" y="46"/>
                  </a:cubicBezTo>
                  <a:cubicBezTo>
                    <a:pt x="137" y="46"/>
                    <a:pt x="138" y="49"/>
                    <a:pt x="139" y="52"/>
                  </a:cubicBezTo>
                  <a:cubicBezTo>
                    <a:pt x="138" y="48"/>
                    <a:pt x="138" y="46"/>
                    <a:pt x="138" y="46"/>
                  </a:cubicBezTo>
                  <a:cubicBezTo>
                    <a:pt x="138" y="46"/>
                    <a:pt x="138" y="46"/>
                    <a:pt x="138" y="46"/>
                  </a:cubicBezTo>
                  <a:cubicBezTo>
                    <a:pt x="140" y="45"/>
                    <a:pt x="141" y="43"/>
                    <a:pt x="140" y="41"/>
                  </a:cubicBezTo>
                  <a:cubicBezTo>
                    <a:pt x="140" y="40"/>
                    <a:pt x="139" y="39"/>
                    <a:pt x="138" y="39"/>
                  </a:cubicBezTo>
                  <a:cubicBezTo>
                    <a:pt x="138" y="39"/>
                    <a:pt x="138" y="39"/>
                    <a:pt x="138" y="39"/>
                  </a:cubicBezTo>
                  <a:cubicBezTo>
                    <a:pt x="138" y="39"/>
                    <a:pt x="139" y="33"/>
                    <a:pt x="141" y="25"/>
                  </a:cubicBezTo>
                  <a:cubicBezTo>
                    <a:pt x="139" y="33"/>
                    <a:pt x="137" y="39"/>
                    <a:pt x="137" y="39"/>
                  </a:cubicBezTo>
                  <a:cubicBezTo>
                    <a:pt x="137" y="39"/>
                    <a:pt x="137" y="39"/>
                    <a:pt x="137" y="39"/>
                  </a:cubicBezTo>
                  <a:cubicBezTo>
                    <a:pt x="137" y="39"/>
                    <a:pt x="137" y="39"/>
                    <a:pt x="137" y="39"/>
                  </a:cubicBezTo>
                  <a:cubicBezTo>
                    <a:pt x="137" y="39"/>
                    <a:pt x="136" y="39"/>
                    <a:pt x="136" y="39"/>
                  </a:cubicBezTo>
                  <a:cubicBezTo>
                    <a:pt x="136" y="39"/>
                    <a:pt x="135" y="39"/>
                    <a:pt x="135" y="39"/>
                  </a:cubicBezTo>
                  <a:cubicBezTo>
                    <a:pt x="134" y="39"/>
                    <a:pt x="134" y="40"/>
                    <a:pt x="133" y="40"/>
                  </a:cubicBezTo>
                  <a:cubicBezTo>
                    <a:pt x="133" y="40"/>
                    <a:pt x="133" y="40"/>
                    <a:pt x="133" y="40"/>
                  </a:cubicBezTo>
                  <a:cubicBezTo>
                    <a:pt x="133" y="40"/>
                    <a:pt x="133" y="40"/>
                    <a:pt x="133" y="40"/>
                  </a:cubicBezTo>
                  <a:cubicBezTo>
                    <a:pt x="132" y="40"/>
                    <a:pt x="103" y="22"/>
                    <a:pt x="103" y="21"/>
                  </a:cubicBezTo>
                  <a:cubicBezTo>
                    <a:pt x="103" y="21"/>
                    <a:pt x="103" y="21"/>
                    <a:pt x="103" y="21"/>
                  </a:cubicBezTo>
                  <a:cubicBezTo>
                    <a:pt x="104" y="20"/>
                    <a:pt x="104" y="18"/>
                    <a:pt x="103" y="17"/>
                  </a:cubicBezTo>
                  <a:cubicBezTo>
                    <a:pt x="103" y="15"/>
                    <a:pt x="101" y="14"/>
                    <a:pt x="99" y="14"/>
                  </a:cubicBezTo>
                  <a:cubicBezTo>
                    <a:pt x="98" y="14"/>
                    <a:pt x="98" y="15"/>
                    <a:pt x="97" y="15"/>
                  </a:cubicBezTo>
                  <a:cubicBezTo>
                    <a:pt x="95" y="16"/>
                    <a:pt x="94" y="19"/>
                    <a:pt x="95" y="21"/>
                  </a:cubicBezTo>
                  <a:cubicBezTo>
                    <a:pt x="95" y="21"/>
                    <a:pt x="95" y="21"/>
                    <a:pt x="95" y="21"/>
                  </a:cubicBezTo>
                  <a:cubicBezTo>
                    <a:pt x="95" y="22"/>
                    <a:pt x="65" y="41"/>
                    <a:pt x="63" y="41"/>
                  </a:cubicBezTo>
                  <a:cubicBezTo>
                    <a:pt x="63" y="41"/>
                    <a:pt x="63" y="41"/>
                    <a:pt x="63" y="41"/>
                  </a:cubicBezTo>
                  <a:cubicBezTo>
                    <a:pt x="63" y="41"/>
                    <a:pt x="63" y="41"/>
                    <a:pt x="63" y="41"/>
                  </a:cubicBezTo>
                  <a:cubicBezTo>
                    <a:pt x="62" y="40"/>
                    <a:pt x="60" y="39"/>
                    <a:pt x="58" y="39"/>
                  </a:cubicBezTo>
                  <a:cubicBezTo>
                    <a:pt x="57" y="39"/>
                    <a:pt x="56" y="39"/>
                    <a:pt x="55" y="40"/>
                  </a:cubicBezTo>
                  <a:cubicBezTo>
                    <a:pt x="54" y="40"/>
                    <a:pt x="54" y="41"/>
                    <a:pt x="53" y="41"/>
                  </a:cubicBezTo>
                  <a:cubicBezTo>
                    <a:pt x="53" y="41"/>
                    <a:pt x="53" y="41"/>
                    <a:pt x="53" y="41"/>
                  </a:cubicBezTo>
                  <a:cubicBezTo>
                    <a:pt x="53" y="41"/>
                    <a:pt x="53" y="41"/>
                    <a:pt x="53" y="41"/>
                  </a:cubicBezTo>
                  <a:cubicBezTo>
                    <a:pt x="51" y="41"/>
                    <a:pt x="8" y="11"/>
                    <a:pt x="8" y="10"/>
                  </a:cubicBezTo>
                  <a:cubicBezTo>
                    <a:pt x="8" y="10"/>
                    <a:pt x="8" y="10"/>
                    <a:pt x="8" y="10"/>
                  </a:cubicBezTo>
                  <a:cubicBezTo>
                    <a:pt x="9" y="9"/>
                    <a:pt x="9" y="8"/>
                    <a:pt x="8" y="7"/>
                  </a:cubicBezTo>
                  <a:cubicBezTo>
                    <a:pt x="8" y="7"/>
                    <a:pt x="8" y="7"/>
                    <a:pt x="8" y="7"/>
                  </a:cubicBezTo>
                  <a:cubicBezTo>
                    <a:pt x="8" y="7"/>
                    <a:pt x="8" y="7"/>
                    <a:pt x="8" y="7"/>
                  </a:cubicBezTo>
                  <a:cubicBezTo>
                    <a:pt x="8" y="6"/>
                    <a:pt x="11" y="4"/>
                    <a:pt x="15"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4" name="Freeform 27"/>
            <p:cNvSpPr>
              <a:spLocks/>
            </p:cNvSpPr>
            <p:nvPr/>
          </p:nvSpPr>
          <p:spPr bwMode="auto">
            <a:xfrm>
              <a:off x="6508750" y="3016250"/>
              <a:ext cx="7938" cy="19050"/>
            </a:xfrm>
            <a:custGeom>
              <a:avLst/>
              <a:gdLst>
                <a:gd name="T0" fmla="*/ 2 w 2"/>
                <a:gd name="T1" fmla="*/ 0 h 5"/>
                <a:gd name="T2" fmla="*/ 0 w 2"/>
                <a:gd name="T3" fmla="*/ 5 h 5"/>
                <a:gd name="T4" fmla="*/ 2 w 2"/>
                <a:gd name="T5" fmla="*/ 0 h 5"/>
              </a:gdLst>
              <a:ahLst/>
              <a:cxnLst>
                <a:cxn ang="0">
                  <a:pos x="T0" y="T1"/>
                </a:cxn>
                <a:cxn ang="0">
                  <a:pos x="T2" y="T3"/>
                </a:cxn>
                <a:cxn ang="0">
                  <a:pos x="T4" y="T5"/>
                </a:cxn>
              </a:cxnLst>
              <a:rect l="0" t="0" r="r" b="b"/>
              <a:pathLst>
                <a:path w="2" h="5">
                  <a:moveTo>
                    <a:pt x="2" y="0"/>
                  </a:moveTo>
                  <a:cubicBezTo>
                    <a:pt x="1" y="2"/>
                    <a:pt x="1" y="4"/>
                    <a:pt x="0" y="5"/>
                  </a:cubicBezTo>
                  <a:cubicBezTo>
                    <a:pt x="1" y="4"/>
                    <a:pt x="1" y="2"/>
                    <a:pt x="2"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grpSp>
    </p:spTree>
    <p:extLst>
      <p:ext uri="{BB962C8B-B14F-4D97-AF65-F5344CB8AC3E}">
        <p14:creationId xmlns:p14="http://schemas.microsoft.com/office/powerpoint/2010/main" val="386288169"/>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Picture Placeholder 3"/>
          <p:cNvSpPr>
            <a:spLocks noGrp="1"/>
          </p:cNvSpPr>
          <p:nvPr>
            <p:ph type="pic" sz="quarter" idx="10"/>
          </p:nvPr>
        </p:nvSpPr>
        <p:spPr>
          <a:xfrm>
            <a:off x="13" y="0"/>
            <a:ext cx="9143999" cy="5143500"/>
          </a:xfrm>
        </p:spPr>
        <p:txBody>
          <a:bodyPr anchor="ctr" anchorCtr="0"/>
          <a:lstStyle>
            <a:lvl1pPr algn="ctr">
              <a:defRPr/>
            </a:lvl1pPr>
          </a:lstStyle>
          <a:p>
            <a:endParaRPr lang="en-US" dirty="0"/>
          </a:p>
        </p:txBody>
      </p:sp>
    </p:spTree>
    <p:extLst>
      <p:ext uri="{BB962C8B-B14F-4D97-AF65-F5344CB8AC3E}">
        <p14:creationId xmlns:p14="http://schemas.microsoft.com/office/powerpoint/2010/main" val="1717958821"/>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Welcome 1">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21" name="Group 20"/>
          <p:cNvGrpSpPr/>
          <p:nvPr userDrawn="1"/>
        </p:nvGrpSpPr>
        <p:grpSpPr>
          <a:xfrm>
            <a:off x="1743277" y="-30028"/>
            <a:ext cx="1783064" cy="5340714"/>
            <a:chOff x="6743391" y="-40037"/>
            <a:chExt cx="2377418" cy="7120952"/>
          </a:xfrm>
        </p:grpSpPr>
        <p:sp>
          <p:nvSpPr>
            <p:cNvPr id="22" name="Freeform 21"/>
            <p:cNvSpPr/>
            <p:nvPr/>
          </p:nvSpPr>
          <p:spPr>
            <a:xfrm rot="1200000">
              <a:off x="8197210" y="5091063"/>
              <a:ext cx="365760" cy="1765207"/>
            </a:xfrm>
            <a:custGeom>
              <a:avLst/>
              <a:gdLst>
                <a:gd name="connsiteX0" fmla="*/ 365760 w 365760"/>
                <a:gd name="connsiteY0" fmla="*/ 0 h 1765207"/>
                <a:gd name="connsiteX1" fmla="*/ 365760 w 365760"/>
                <a:gd name="connsiteY1" fmla="*/ 1632082 h 1765207"/>
                <a:gd name="connsiteX2" fmla="*/ 0 w 365760"/>
                <a:gd name="connsiteY2" fmla="*/ 1765207 h 1765207"/>
                <a:gd name="connsiteX3" fmla="*/ 0 w 365760"/>
                <a:gd name="connsiteY3" fmla="*/ 133126 h 1765207"/>
              </a:gdLst>
              <a:ahLst/>
              <a:cxnLst>
                <a:cxn ang="0">
                  <a:pos x="connsiteX0" y="connsiteY0"/>
                </a:cxn>
                <a:cxn ang="0">
                  <a:pos x="connsiteX1" y="connsiteY1"/>
                </a:cxn>
                <a:cxn ang="0">
                  <a:pos x="connsiteX2" y="connsiteY2"/>
                </a:cxn>
                <a:cxn ang="0">
                  <a:pos x="connsiteX3" y="connsiteY3"/>
                </a:cxn>
              </a:cxnLst>
              <a:rect l="l" t="t" r="r" b="b"/>
              <a:pathLst>
                <a:path w="365760" h="1765207">
                  <a:moveTo>
                    <a:pt x="365760" y="0"/>
                  </a:moveTo>
                  <a:lnTo>
                    <a:pt x="365760" y="1632082"/>
                  </a:lnTo>
                  <a:lnTo>
                    <a:pt x="0" y="1765207"/>
                  </a:lnTo>
                  <a:lnTo>
                    <a:pt x="0" y="133126"/>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23" name="Freeform 22"/>
            <p:cNvSpPr/>
            <p:nvPr/>
          </p:nvSpPr>
          <p:spPr>
            <a:xfrm rot="1200000">
              <a:off x="6743391" y="972631"/>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24" name="Freeform 23"/>
            <p:cNvSpPr/>
            <p:nvPr/>
          </p:nvSpPr>
          <p:spPr>
            <a:xfrm rot="1200000">
              <a:off x="7094507" y="2161338"/>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25" name="Freeform 24"/>
            <p:cNvSpPr/>
            <p:nvPr/>
          </p:nvSpPr>
          <p:spPr>
            <a:xfrm rot="1200000">
              <a:off x="8755049" y="-40037"/>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grpSp>
      <p:sp>
        <p:nvSpPr>
          <p:cNvPr id="20" name="Picture Placeholder 19"/>
          <p:cNvSpPr>
            <a:spLocks noGrp="1"/>
          </p:cNvSpPr>
          <p:nvPr userDrawn="1">
            <p:ph type="pic" sz="quarter" idx="10"/>
          </p:nvPr>
        </p:nvSpPr>
        <p:spPr>
          <a:xfrm>
            <a:off x="1211619" y="128156"/>
            <a:ext cx="3475076" cy="4824859"/>
          </a:xfrm>
          <a:custGeom>
            <a:avLst/>
            <a:gdLst>
              <a:gd name="connsiteX0" fmla="*/ 3375866 w 4633435"/>
              <a:gd name="connsiteY0" fmla="*/ 1948335 h 6433145"/>
              <a:gd name="connsiteX1" fmla="*/ 1743529 w 4633435"/>
              <a:gd name="connsiteY1" fmla="*/ 6433145 h 6433145"/>
              <a:gd name="connsiteX2" fmla="*/ 1354296 w 4633435"/>
              <a:gd name="connsiteY2" fmla="*/ 6433145 h 6433145"/>
              <a:gd name="connsiteX3" fmla="*/ 2986632 w 4633435"/>
              <a:gd name="connsiteY3" fmla="*/ 1948336 h 6433145"/>
              <a:gd name="connsiteX4" fmla="*/ 1927309 w 4633435"/>
              <a:gd name="connsiteY4" fmla="*/ 1085245 h 6433145"/>
              <a:gd name="connsiteX5" fmla="*/ 389233 w 4633435"/>
              <a:gd name="connsiteY5" fmla="*/ 5311073 h 6433145"/>
              <a:gd name="connsiteX6" fmla="*/ 0 w 4633435"/>
              <a:gd name="connsiteY6" fmla="*/ 5311073 h 6433145"/>
              <a:gd name="connsiteX7" fmla="*/ 1538076 w 4633435"/>
              <a:gd name="connsiteY7" fmla="*/ 1085245 h 6433145"/>
              <a:gd name="connsiteX8" fmla="*/ 4144614 w 4633435"/>
              <a:gd name="connsiteY8" fmla="*/ 1054143 h 6433145"/>
              <a:gd name="connsiteX9" fmla="*/ 2240188 w 4633435"/>
              <a:gd name="connsiteY9" fmla="*/ 6286513 h 6433145"/>
              <a:gd name="connsiteX10" fmla="*/ 1850955 w 4633435"/>
              <a:gd name="connsiteY10" fmla="*/ 6286512 h 6433145"/>
              <a:gd name="connsiteX11" fmla="*/ 3755381 w 4633435"/>
              <a:gd name="connsiteY11" fmla="*/ 1054144 h 6433145"/>
              <a:gd name="connsiteX12" fmla="*/ 4633435 w 4633435"/>
              <a:gd name="connsiteY12" fmla="*/ 929046 h 6433145"/>
              <a:gd name="connsiteX13" fmla="*/ 2931731 w 4633435"/>
              <a:gd name="connsiteY13" fmla="*/ 5604439 h 6433145"/>
              <a:gd name="connsiteX14" fmla="*/ 2542497 w 4633435"/>
              <a:gd name="connsiteY14" fmla="*/ 5604441 h 6433145"/>
              <a:gd name="connsiteX15" fmla="*/ 4244201 w 4633435"/>
              <a:gd name="connsiteY15" fmla="*/ 929046 h 6433145"/>
              <a:gd name="connsiteX16" fmla="*/ 2556829 w 4633435"/>
              <a:gd name="connsiteY16" fmla="*/ 693359 h 6433145"/>
              <a:gd name="connsiteX17" fmla="*/ 2946062 w 4633435"/>
              <a:gd name="connsiteY17" fmla="*/ 693360 h 6433145"/>
              <a:gd name="connsiteX18" fmla="*/ 1105166 w 4633435"/>
              <a:gd name="connsiteY18" fmla="*/ 5751182 h 6433145"/>
              <a:gd name="connsiteX19" fmla="*/ 715932 w 4633435"/>
              <a:gd name="connsiteY19" fmla="*/ 5751182 h 6433145"/>
              <a:gd name="connsiteX20" fmla="*/ 3117220 w 4633435"/>
              <a:gd name="connsiteY20" fmla="*/ 371622 h 6433145"/>
              <a:gd name="connsiteX21" fmla="*/ 3506455 w 4633435"/>
              <a:gd name="connsiteY21" fmla="*/ 371623 h 6433145"/>
              <a:gd name="connsiteX22" fmla="*/ 1733179 w 4633435"/>
              <a:gd name="connsiteY22" fmla="*/ 5243655 h 6433145"/>
              <a:gd name="connsiteX23" fmla="*/ 1343944 w 4633435"/>
              <a:gd name="connsiteY23" fmla="*/ 5243655 h 6433145"/>
              <a:gd name="connsiteX24" fmla="*/ 2755136 w 4633435"/>
              <a:gd name="connsiteY24" fmla="*/ 0 h 6433145"/>
              <a:gd name="connsiteX25" fmla="*/ 525012 w 4633435"/>
              <a:gd name="connsiteY25" fmla="*/ 6127216 h 6433145"/>
              <a:gd name="connsiteX26" fmla="*/ 135778 w 4633435"/>
              <a:gd name="connsiteY26" fmla="*/ 6127217 h 6433145"/>
              <a:gd name="connsiteX27" fmla="*/ 2365902 w 4633435"/>
              <a:gd name="connsiteY27" fmla="*/ 1 h 643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33435" h="6433145">
                <a:moveTo>
                  <a:pt x="3375866" y="1948335"/>
                </a:moveTo>
                <a:lnTo>
                  <a:pt x="1743529" y="6433145"/>
                </a:lnTo>
                <a:lnTo>
                  <a:pt x="1354296" y="6433145"/>
                </a:lnTo>
                <a:lnTo>
                  <a:pt x="2986632" y="1948336"/>
                </a:lnTo>
                <a:close/>
                <a:moveTo>
                  <a:pt x="1927309" y="1085245"/>
                </a:moveTo>
                <a:lnTo>
                  <a:pt x="389233" y="5311073"/>
                </a:lnTo>
                <a:lnTo>
                  <a:pt x="0" y="5311073"/>
                </a:lnTo>
                <a:lnTo>
                  <a:pt x="1538076" y="1085245"/>
                </a:lnTo>
                <a:close/>
                <a:moveTo>
                  <a:pt x="4144614" y="1054143"/>
                </a:moveTo>
                <a:lnTo>
                  <a:pt x="2240188" y="6286513"/>
                </a:lnTo>
                <a:lnTo>
                  <a:pt x="1850955" y="6286512"/>
                </a:lnTo>
                <a:lnTo>
                  <a:pt x="3755381" y="1054144"/>
                </a:lnTo>
                <a:close/>
                <a:moveTo>
                  <a:pt x="4633435" y="929046"/>
                </a:moveTo>
                <a:lnTo>
                  <a:pt x="2931731" y="5604439"/>
                </a:lnTo>
                <a:lnTo>
                  <a:pt x="2542497" y="5604441"/>
                </a:lnTo>
                <a:lnTo>
                  <a:pt x="4244201" y="929046"/>
                </a:lnTo>
                <a:close/>
                <a:moveTo>
                  <a:pt x="2556829" y="693359"/>
                </a:moveTo>
                <a:lnTo>
                  <a:pt x="2946062" y="693360"/>
                </a:lnTo>
                <a:lnTo>
                  <a:pt x="1105166" y="5751182"/>
                </a:lnTo>
                <a:lnTo>
                  <a:pt x="715932" y="5751182"/>
                </a:lnTo>
                <a:close/>
                <a:moveTo>
                  <a:pt x="3117220" y="371622"/>
                </a:moveTo>
                <a:lnTo>
                  <a:pt x="3506455" y="371623"/>
                </a:lnTo>
                <a:lnTo>
                  <a:pt x="1733179" y="5243655"/>
                </a:lnTo>
                <a:lnTo>
                  <a:pt x="1343944" y="5243655"/>
                </a:lnTo>
                <a:close/>
                <a:moveTo>
                  <a:pt x="2755136" y="0"/>
                </a:moveTo>
                <a:lnTo>
                  <a:pt x="525012" y="6127216"/>
                </a:lnTo>
                <a:lnTo>
                  <a:pt x="135778" y="6127217"/>
                </a:lnTo>
                <a:lnTo>
                  <a:pt x="2365902" y="1"/>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68978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outHorizontal)">
                                      <p:cBhvr>
                                        <p:cTn id="7" dur="1000"/>
                                        <p:tgtEl>
                                          <p:spTgt spid="20"/>
                                        </p:tgtEl>
                                      </p:cBhvr>
                                    </p:animEffect>
                                  </p:childTnLst>
                                </p:cTn>
                              </p:par>
                              <p:par>
                                <p:cTn id="8" presetID="16" presetClass="entr" presetSubtype="42"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arn(outHorizontal)">
                                      <p:cBhvr>
                                        <p:cTn id="1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Welcome 2">
    <p:spTree>
      <p:nvGrpSpPr>
        <p:cNvPr id="1" name=""/>
        <p:cNvGrpSpPr/>
        <p:nvPr/>
      </p:nvGrpSpPr>
      <p:grpSpPr>
        <a:xfrm>
          <a:off x="0" y="0"/>
          <a:ext cx="0" cy="0"/>
          <a:chOff x="0" y="0"/>
          <a:chExt cx="0" cy="0"/>
        </a:xfrm>
      </p:grpSpPr>
      <p:grpSp>
        <p:nvGrpSpPr>
          <p:cNvPr id="20" name="Group 19"/>
          <p:cNvGrpSpPr/>
          <p:nvPr userDrawn="1"/>
        </p:nvGrpSpPr>
        <p:grpSpPr>
          <a:xfrm>
            <a:off x="3978561" y="817700"/>
            <a:ext cx="4243417" cy="4253221"/>
            <a:chOff x="5218085" y="1090261"/>
            <a:chExt cx="5657889" cy="5670961"/>
          </a:xfrm>
        </p:grpSpPr>
        <p:sp>
          <p:nvSpPr>
            <p:cNvPr id="21" name="Freeform 20"/>
            <p:cNvSpPr/>
            <p:nvPr userDrawn="1"/>
          </p:nvSpPr>
          <p:spPr>
            <a:xfrm rot="18083416">
              <a:off x="8573387" y="5411583"/>
              <a:ext cx="706273" cy="616313"/>
            </a:xfrm>
            <a:custGeom>
              <a:avLst/>
              <a:gdLst>
                <a:gd name="connsiteX0" fmla="*/ 331008 w 706273"/>
                <a:gd name="connsiteY0" fmla="*/ 0 h 616313"/>
                <a:gd name="connsiteX1" fmla="*/ 706273 w 706273"/>
                <a:gd name="connsiteY1" fmla="*/ 615018 h 616313"/>
                <a:gd name="connsiteX2" fmla="*/ 375896 w 706273"/>
                <a:gd name="connsiteY2" fmla="*/ 616313 h 616313"/>
                <a:gd name="connsiteX3" fmla="*/ 0 w 706273"/>
                <a:gd name="connsiteY3" fmla="*/ 262 h 616313"/>
              </a:gdLst>
              <a:ahLst/>
              <a:cxnLst>
                <a:cxn ang="0">
                  <a:pos x="connsiteX0" y="connsiteY0"/>
                </a:cxn>
                <a:cxn ang="0">
                  <a:pos x="connsiteX1" y="connsiteY1"/>
                </a:cxn>
                <a:cxn ang="0">
                  <a:pos x="connsiteX2" y="connsiteY2"/>
                </a:cxn>
                <a:cxn ang="0">
                  <a:pos x="connsiteX3" y="connsiteY3"/>
                </a:cxn>
              </a:cxnLst>
              <a:rect l="l" t="t" r="r" b="b"/>
              <a:pathLst>
                <a:path w="706273" h="616313">
                  <a:moveTo>
                    <a:pt x="331008" y="0"/>
                  </a:moveTo>
                  <a:lnTo>
                    <a:pt x="706273" y="615018"/>
                  </a:lnTo>
                  <a:lnTo>
                    <a:pt x="375896" y="616313"/>
                  </a:lnTo>
                  <a:lnTo>
                    <a:pt x="0" y="262"/>
                  </a:lnTo>
                  <a:close/>
                </a:path>
              </a:pathLst>
            </a:cu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wrap="square" lIns="45714" tIns="22857" rIns="45714" bIns="22857" rtlCol="0" anchor="ctr">
              <a:noAutofit/>
            </a:bodyPr>
            <a:lstStyle/>
            <a:p>
              <a:pPr algn="ctr" defTabSz="685631" fontAlgn="auto">
                <a:spcBef>
                  <a:spcPts val="0"/>
                </a:spcBef>
                <a:spcAft>
                  <a:spcPts val="0"/>
                </a:spcAft>
              </a:pPr>
              <a:endParaRPr lang="en-US" sz="700" dirty="0">
                <a:solidFill>
                  <a:prstClr val="white"/>
                </a:solidFill>
              </a:endParaRPr>
            </a:p>
          </p:txBody>
        </p:sp>
        <p:sp>
          <p:nvSpPr>
            <p:cNvPr id="22" name="Freeform 21"/>
            <p:cNvSpPr/>
            <p:nvPr/>
          </p:nvSpPr>
          <p:spPr>
            <a:xfrm rot="18083416">
              <a:off x="9624257" y="1016647"/>
              <a:ext cx="1178104" cy="1325331"/>
            </a:xfrm>
            <a:custGeom>
              <a:avLst/>
              <a:gdLst>
                <a:gd name="connsiteX0" fmla="*/ 369428 w 1178104"/>
                <a:gd name="connsiteY0" fmla="*/ 0 h 1325331"/>
                <a:gd name="connsiteX1" fmla="*/ 1178104 w 1178104"/>
                <a:gd name="connsiteY1" fmla="*/ 1325331 h 1325331"/>
                <a:gd name="connsiteX2" fmla="*/ 808383 w 1178104"/>
                <a:gd name="connsiteY2" fmla="*/ 1325143 h 1325331"/>
                <a:gd name="connsiteX3" fmla="*/ 0 w 1178104"/>
                <a:gd name="connsiteY3" fmla="*/ 294 h 1325331"/>
              </a:gdLst>
              <a:ahLst/>
              <a:cxnLst>
                <a:cxn ang="0">
                  <a:pos x="connsiteX0" y="connsiteY0"/>
                </a:cxn>
                <a:cxn ang="0">
                  <a:pos x="connsiteX1" y="connsiteY1"/>
                </a:cxn>
                <a:cxn ang="0">
                  <a:pos x="connsiteX2" y="connsiteY2"/>
                </a:cxn>
                <a:cxn ang="0">
                  <a:pos x="connsiteX3" y="connsiteY3"/>
                </a:cxn>
              </a:cxnLst>
              <a:rect l="l" t="t" r="r" b="b"/>
              <a:pathLst>
                <a:path w="1178104" h="1325331">
                  <a:moveTo>
                    <a:pt x="369428" y="0"/>
                  </a:moveTo>
                  <a:lnTo>
                    <a:pt x="1178104" y="1325331"/>
                  </a:lnTo>
                  <a:lnTo>
                    <a:pt x="808383" y="1325143"/>
                  </a:lnTo>
                  <a:lnTo>
                    <a:pt x="0" y="294"/>
                  </a:lnTo>
                  <a:close/>
                </a:path>
              </a:pathLst>
            </a:cu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wrap="square" lIns="45714" tIns="22857" rIns="45714" bIns="22857" rtlCol="0" anchor="ctr">
              <a:noAutofit/>
            </a:bodyPr>
            <a:lstStyle/>
            <a:p>
              <a:pPr algn="ctr" defTabSz="685631" fontAlgn="auto">
                <a:spcBef>
                  <a:spcPts val="0"/>
                </a:spcBef>
                <a:spcAft>
                  <a:spcPts val="0"/>
                </a:spcAft>
              </a:pPr>
              <a:endParaRPr lang="en-US" sz="700" dirty="0">
                <a:solidFill>
                  <a:prstClr val="white"/>
                </a:solidFill>
              </a:endParaRPr>
            </a:p>
          </p:txBody>
        </p:sp>
        <p:sp>
          <p:nvSpPr>
            <p:cNvPr id="23" name="Freeform 22"/>
            <p:cNvSpPr/>
            <p:nvPr/>
          </p:nvSpPr>
          <p:spPr>
            <a:xfrm rot="18083416">
              <a:off x="5291699" y="5509504"/>
              <a:ext cx="1178104" cy="1325331"/>
            </a:xfrm>
            <a:custGeom>
              <a:avLst/>
              <a:gdLst>
                <a:gd name="connsiteX0" fmla="*/ 369428 w 1178104"/>
                <a:gd name="connsiteY0" fmla="*/ 0 h 1325331"/>
                <a:gd name="connsiteX1" fmla="*/ 1178104 w 1178104"/>
                <a:gd name="connsiteY1" fmla="*/ 1325331 h 1325331"/>
                <a:gd name="connsiteX2" fmla="*/ 808383 w 1178104"/>
                <a:gd name="connsiteY2" fmla="*/ 1325143 h 1325331"/>
                <a:gd name="connsiteX3" fmla="*/ 0 w 1178104"/>
                <a:gd name="connsiteY3" fmla="*/ 294 h 1325331"/>
              </a:gdLst>
              <a:ahLst/>
              <a:cxnLst>
                <a:cxn ang="0">
                  <a:pos x="connsiteX0" y="connsiteY0"/>
                </a:cxn>
                <a:cxn ang="0">
                  <a:pos x="connsiteX1" y="connsiteY1"/>
                </a:cxn>
                <a:cxn ang="0">
                  <a:pos x="connsiteX2" y="connsiteY2"/>
                </a:cxn>
                <a:cxn ang="0">
                  <a:pos x="connsiteX3" y="connsiteY3"/>
                </a:cxn>
              </a:cxnLst>
              <a:rect l="l" t="t" r="r" b="b"/>
              <a:pathLst>
                <a:path w="1178104" h="1325331">
                  <a:moveTo>
                    <a:pt x="369428" y="0"/>
                  </a:moveTo>
                  <a:lnTo>
                    <a:pt x="1178104" y="1325331"/>
                  </a:lnTo>
                  <a:lnTo>
                    <a:pt x="808383" y="1325143"/>
                  </a:lnTo>
                  <a:lnTo>
                    <a:pt x="0" y="294"/>
                  </a:lnTo>
                  <a:close/>
                </a:path>
              </a:pathLst>
            </a:cu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wrap="square" lIns="45714" tIns="22857" rIns="45714" bIns="22857" rtlCol="0" anchor="ctr">
              <a:noAutofit/>
            </a:bodyPr>
            <a:lstStyle/>
            <a:p>
              <a:pPr algn="ctr" defTabSz="685631" fontAlgn="auto">
                <a:spcBef>
                  <a:spcPts val="0"/>
                </a:spcBef>
                <a:spcAft>
                  <a:spcPts val="0"/>
                </a:spcAft>
              </a:pPr>
              <a:endParaRPr lang="en-US" sz="700" dirty="0">
                <a:solidFill>
                  <a:prstClr val="white"/>
                </a:solidFill>
              </a:endParaRPr>
            </a:p>
          </p:txBody>
        </p:sp>
      </p:grpSp>
      <p:sp>
        <p:nvSpPr>
          <p:cNvPr id="19" name="Picture Placeholder 18"/>
          <p:cNvSpPr>
            <a:spLocks noGrp="1"/>
          </p:cNvSpPr>
          <p:nvPr>
            <p:ph type="pic" sz="quarter" idx="10"/>
          </p:nvPr>
        </p:nvSpPr>
        <p:spPr>
          <a:xfrm>
            <a:off x="3954790" y="-1"/>
            <a:ext cx="5139848" cy="5143501"/>
          </a:xfrm>
          <a:custGeom>
            <a:avLst/>
            <a:gdLst>
              <a:gd name="connsiteX0" fmla="*/ 4151846 w 6853131"/>
              <a:gd name="connsiteY0" fmla="*/ 1836495 h 6858001"/>
              <a:gd name="connsiteX1" fmla="*/ 5704411 w 6853131"/>
              <a:gd name="connsiteY1" fmla="*/ 1836496 h 6858001"/>
              <a:gd name="connsiteX2" fmla="*/ 2636946 w 6853131"/>
              <a:gd name="connsiteY2" fmla="*/ 6858001 h 6858001"/>
              <a:gd name="connsiteX3" fmla="*/ 1093350 w 6853131"/>
              <a:gd name="connsiteY3" fmla="*/ 6858001 h 6858001"/>
              <a:gd name="connsiteX4" fmla="*/ 6853131 w 6853131"/>
              <a:gd name="connsiteY4" fmla="*/ 1157615 h 6858001"/>
              <a:gd name="connsiteX5" fmla="*/ 6853131 w 6853131"/>
              <a:gd name="connsiteY5" fmla="*/ 1169040 h 6858001"/>
              <a:gd name="connsiteX6" fmla="*/ 4103744 w 6853131"/>
              <a:gd name="connsiteY6" fmla="*/ 5714975 h 6858001"/>
              <a:gd name="connsiteX7" fmla="*/ 3382069 w 6853131"/>
              <a:gd name="connsiteY7" fmla="*/ 5714976 h 6858001"/>
              <a:gd name="connsiteX8" fmla="*/ 6157864 w 6853131"/>
              <a:gd name="connsiteY8" fmla="*/ 1157616 h 6858001"/>
              <a:gd name="connsiteX9" fmla="*/ 3676316 w 6853131"/>
              <a:gd name="connsiteY9" fmla="*/ 0 h 6858001"/>
              <a:gd name="connsiteX10" fmla="*/ 4454121 w 6853131"/>
              <a:gd name="connsiteY10" fmla="*/ 0 h 6858001"/>
              <a:gd name="connsiteX11" fmla="*/ 5231927 w 6853131"/>
              <a:gd name="connsiteY11" fmla="*/ 0 h 6858001"/>
              <a:gd name="connsiteX12" fmla="*/ 1544830 w 6853131"/>
              <a:gd name="connsiteY12" fmla="*/ 6035855 h 6858001"/>
              <a:gd name="connsiteX13" fmla="*/ 0 w 6853131"/>
              <a:gd name="connsiteY13" fmla="*/ 6035855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53131" h="6858001">
                <a:moveTo>
                  <a:pt x="4151846" y="1836495"/>
                </a:moveTo>
                <a:lnTo>
                  <a:pt x="5704411" y="1836496"/>
                </a:lnTo>
                <a:lnTo>
                  <a:pt x="2636946" y="6858001"/>
                </a:lnTo>
                <a:lnTo>
                  <a:pt x="1093350" y="6858001"/>
                </a:lnTo>
                <a:close/>
                <a:moveTo>
                  <a:pt x="6853131" y="1157615"/>
                </a:moveTo>
                <a:lnTo>
                  <a:pt x="6853131" y="1169040"/>
                </a:lnTo>
                <a:lnTo>
                  <a:pt x="4103744" y="5714975"/>
                </a:lnTo>
                <a:lnTo>
                  <a:pt x="3382069" y="5714976"/>
                </a:lnTo>
                <a:lnTo>
                  <a:pt x="6157864" y="1157616"/>
                </a:lnTo>
                <a:close/>
                <a:moveTo>
                  <a:pt x="3676316" y="0"/>
                </a:moveTo>
                <a:lnTo>
                  <a:pt x="4454121" y="0"/>
                </a:lnTo>
                <a:lnTo>
                  <a:pt x="5231927" y="0"/>
                </a:lnTo>
                <a:lnTo>
                  <a:pt x="1544830" y="6035855"/>
                </a:lnTo>
                <a:lnTo>
                  <a:pt x="0" y="60358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68446564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resenter 1">
    <p:bg>
      <p:bgPr>
        <a:solidFill>
          <a:schemeClr val="accent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13" y="0"/>
            <a:ext cx="9143999" cy="5143500"/>
          </a:xfrm>
          <a:custGeom>
            <a:avLst/>
            <a:gdLst>
              <a:gd name="connsiteX0" fmla="*/ 5897641 w 12191999"/>
              <a:gd name="connsiteY0" fmla="*/ 0 h 6858000"/>
              <a:gd name="connsiteX1" fmla="*/ 12191999 w 12191999"/>
              <a:gd name="connsiteY1" fmla="*/ 0 h 6858000"/>
              <a:gd name="connsiteX2" fmla="*/ 12191999 w 12191999"/>
              <a:gd name="connsiteY2" fmla="*/ 6858000 h 6858000"/>
              <a:gd name="connsiteX3" fmla="*/ 1066855 w 12191999"/>
              <a:gd name="connsiteY3" fmla="*/ 6858000 h 6858000"/>
              <a:gd name="connsiteX4" fmla="*/ 0 w 12191999"/>
              <a:gd name="connsiteY4" fmla="*/ 0 h 6858000"/>
              <a:gd name="connsiteX5" fmla="*/ 4927478 w 12191999"/>
              <a:gd name="connsiteY5" fmla="*/ 0 h 6858000"/>
              <a:gd name="connsiteX6" fmla="*/ 1066855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5897641" y="0"/>
                </a:moveTo>
                <a:lnTo>
                  <a:pt x="12191999" y="0"/>
                </a:lnTo>
                <a:lnTo>
                  <a:pt x="12191999" y="6858000"/>
                </a:lnTo>
                <a:lnTo>
                  <a:pt x="1066855" y="6858000"/>
                </a:lnTo>
                <a:close/>
                <a:moveTo>
                  <a:pt x="0" y="0"/>
                </a:moveTo>
                <a:lnTo>
                  <a:pt x="4927478" y="0"/>
                </a:lnTo>
                <a:lnTo>
                  <a:pt x="1066855" y="6858000"/>
                </a:lnTo>
                <a:lnTo>
                  <a:pt x="0" y="6858000"/>
                </a:lnTo>
                <a:close/>
              </a:path>
            </a:pathLst>
          </a:custGeom>
          <a:solidFill>
            <a:schemeClr val="tx2">
              <a:lumMod val="85000"/>
              <a:alpha val="67000"/>
            </a:schemeClr>
          </a:solidFill>
        </p:spPr>
        <p:txBody>
          <a:bodyPr wrap="square" anchor="ctr" anchorCtr="0">
            <a:noAutofit/>
          </a:bodyPr>
          <a:lstStyle>
            <a:lvl1pPr algn="ctr">
              <a:defRPr/>
            </a:lvl1pPr>
          </a:lstStyle>
          <a:p>
            <a:endParaRPr lang="en-US" dirty="0"/>
          </a:p>
        </p:txBody>
      </p:sp>
      <p:sp>
        <p:nvSpPr>
          <p:cNvPr id="5" name="Picture Placeholder 4"/>
          <p:cNvSpPr>
            <a:spLocks noGrp="1"/>
          </p:cNvSpPr>
          <p:nvPr>
            <p:ph type="pic" sz="quarter" idx="11"/>
          </p:nvPr>
        </p:nvSpPr>
        <p:spPr>
          <a:xfrm>
            <a:off x="1417334" y="1611640"/>
            <a:ext cx="1920240" cy="1920230"/>
          </a:xfrm>
          <a:custGeom>
            <a:avLst/>
            <a:gdLst>
              <a:gd name="connsiteX0" fmla="*/ 1279883 w 2560320"/>
              <a:gd name="connsiteY0" fmla="*/ 0 h 2560306"/>
              <a:gd name="connsiteX1" fmla="*/ 1280437 w 2560320"/>
              <a:gd name="connsiteY1" fmla="*/ 0 h 2560306"/>
              <a:gd name="connsiteX2" fmla="*/ 1411049 w 2560320"/>
              <a:gd name="connsiteY2" fmla="*/ 6595 h 2560306"/>
              <a:gd name="connsiteX3" fmla="*/ 2560320 w 2560320"/>
              <a:gd name="connsiteY3" fmla="*/ 1280146 h 2560306"/>
              <a:gd name="connsiteX4" fmla="*/ 1280160 w 2560320"/>
              <a:gd name="connsiteY4" fmla="*/ 2560306 h 2560306"/>
              <a:gd name="connsiteX5" fmla="*/ 0 w 2560320"/>
              <a:gd name="connsiteY5" fmla="*/ 1280146 h 2560306"/>
              <a:gd name="connsiteX6" fmla="*/ 1149271 w 2560320"/>
              <a:gd name="connsiteY6" fmla="*/ 6595 h 256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0320" h="2560306">
                <a:moveTo>
                  <a:pt x="1279883" y="0"/>
                </a:moveTo>
                <a:lnTo>
                  <a:pt x="1280437" y="0"/>
                </a:lnTo>
                <a:lnTo>
                  <a:pt x="1411049" y="6595"/>
                </a:lnTo>
                <a:cubicBezTo>
                  <a:pt x="2056578" y="72152"/>
                  <a:pt x="2560320" y="617321"/>
                  <a:pt x="2560320" y="1280146"/>
                </a:cubicBezTo>
                <a:cubicBezTo>
                  <a:pt x="2560320" y="1987159"/>
                  <a:pt x="1987173" y="2560306"/>
                  <a:pt x="1280160" y="2560306"/>
                </a:cubicBezTo>
                <a:cubicBezTo>
                  <a:pt x="573147" y="2560306"/>
                  <a:pt x="0" y="1987159"/>
                  <a:pt x="0" y="1280146"/>
                </a:cubicBezTo>
                <a:cubicBezTo>
                  <a:pt x="0" y="617321"/>
                  <a:pt x="503743" y="72152"/>
                  <a:pt x="1149271" y="6595"/>
                </a:cubicBezTo>
                <a:close/>
              </a:path>
            </a:pathLst>
          </a:custGeom>
          <a:solidFill>
            <a:schemeClr val="accent1"/>
          </a:solidFill>
          <a:ln w="76200">
            <a:solidFill>
              <a:schemeClr val="accent1"/>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76853784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path" presetSubtype="0" accel="58500" fill="hold" grpId="0" nodeType="withEffect" p14:presetBounceEnd="58500">
                                      <p:stCondLst>
                                        <p:cond delay="0"/>
                                      </p:stCondLst>
                                      <p:childTnLst>
                                        <p:animMotion origin="layout" path="M 0.26015 -0.70671 L 4.16667E-6 0 " pathEditMode="relative" rAng="0" ptsTypes="AA" p14:bounceEnd="58500">
                                          <p:cBhvr>
                                            <p:cTn id="6" dur="2000" fill="hold"/>
                                            <p:tgtEl>
                                              <p:spTgt spid="5"/>
                                            </p:tgtEl>
                                            <p:attrNameLst>
                                              <p:attrName>ppt_x</p:attrName>
                                              <p:attrName>ppt_y</p:attrName>
                                            </p:attrNameLst>
                                          </p:cBhvr>
                                          <p:rCtr x="-13008" y="353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path" presetSubtype="0" accel="58500" fill="hold" grpId="0" nodeType="withEffect">
                                      <p:stCondLst>
                                        <p:cond delay="0"/>
                                      </p:stCondLst>
                                      <p:childTnLst>
                                        <p:animMotion origin="layout" path="M 0.26015 -0.70671 L 4.16667E-6 0 " pathEditMode="relative" rAng="0" ptsTypes="AA">
                                          <p:cBhvr>
                                            <p:cTn id="6" dur="2000" fill="hold"/>
                                            <p:tgtEl>
                                              <p:spTgt spid="5"/>
                                            </p:tgtEl>
                                            <p:attrNameLst>
                                              <p:attrName>ppt_x</p:attrName>
                                              <p:attrName>ppt_y</p:attrName>
                                            </p:attrNameLst>
                                          </p:cBhvr>
                                          <p:rCtr x="-13008" y="353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mc:Fallback>
  </mc:AlternateConten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Presenter 2">
    <p:bg>
      <p:bgPr>
        <a:solidFill>
          <a:schemeClr val="accent4">
            <a:alpha val="67000"/>
          </a:schemeClr>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3" y="0"/>
            <a:ext cx="9143999" cy="5143500"/>
          </a:xfrm>
          <a:custGeom>
            <a:avLst/>
            <a:gdLst>
              <a:gd name="connsiteX0" fmla="*/ 6878051 w 12191999"/>
              <a:gd name="connsiteY0" fmla="*/ 0 h 6858000"/>
              <a:gd name="connsiteX1" fmla="*/ 12191999 w 12191999"/>
              <a:gd name="connsiteY1" fmla="*/ 0 h 6858000"/>
              <a:gd name="connsiteX2" fmla="*/ 12191999 w 12191999"/>
              <a:gd name="connsiteY2" fmla="*/ 6858000 h 6858000"/>
              <a:gd name="connsiteX3" fmla="*/ 10747715 w 12191999"/>
              <a:gd name="connsiteY3" fmla="*/ 6858000 h 6858000"/>
              <a:gd name="connsiteX4" fmla="*/ 0 w 12191999"/>
              <a:gd name="connsiteY4" fmla="*/ 0 h 6858000"/>
              <a:gd name="connsiteX5" fmla="*/ 5913122 w 12191999"/>
              <a:gd name="connsiteY5" fmla="*/ 0 h 6858000"/>
              <a:gd name="connsiteX6" fmla="*/ 10747715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6878051" y="0"/>
                </a:moveTo>
                <a:lnTo>
                  <a:pt x="12191999" y="0"/>
                </a:lnTo>
                <a:lnTo>
                  <a:pt x="12191999" y="6858000"/>
                </a:lnTo>
                <a:lnTo>
                  <a:pt x="10747715" y="6858000"/>
                </a:lnTo>
                <a:close/>
                <a:moveTo>
                  <a:pt x="0" y="0"/>
                </a:moveTo>
                <a:lnTo>
                  <a:pt x="5913122" y="0"/>
                </a:lnTo>
                <a:lnTo>
                  <a:pt x="10747715" y="6858000"/>
                </a:lnTo>
                <a:lnTo>
                  <a:pt x="0" y="6858000"/>
                </a:lnTo>
                <a:close/>
              </a:path>
            </a:pathLst>
          </a:custGeom>
          <a:solidFill>
            <a:schemeClr val="tx2">
              <a:lumMod val="85000"/>
              <a:alpha val="67000"/>
            </a:schemeClr>
          </a:solidFill>
        </p:spPr>
        <p:txBody>
          <a:bodyPr wrap="square" anchor="ctr" anchorCtr="0">
            <a:noAutofit/>
          </a:bodyPr>
          <a:lstStyle>
            <a:lvl1pPr algn="ctr">
              <a:defRPr/>
            </a:lvl1pPr>
          </a:lstStyle>
          <a:p>
            <a:endParaRPr lang="en-US" dirty="0"/>
          </a:p>
        </p:txBody>
      </p:sp>
      <p:sp>
        <p:nvSpPr>
          <p:cNvPr id="10" name="Picture Placeholder 9"/>
          <p:cNvSpPr>
            <a:spLocks noGrp="1"/>
          </p:cNvSpPr>
          <p:nvPr>
            <p:ph type="pic" sz="quarter" idx="11"/>
          </p:nvPr>
        </p:nvSpPr>
        <p:spPr>
          <a:xfrm>
            <a:off x="5463509" y="1611640"/>
            <a:ext cx="1920240" cy="1920230"/>
          </a:xfrm>
          <a:custGeom>
            <a:avLst/>
            <a:gdLst>
              <a:gd name="connsiteX0" fmla="*/ 1279883 w 2560320"/>
              <a:gd name="connsiteY0" fmla="*/ 0 h 2560306"/>
              <a:gd name="connsiteX1" fmla="*/ 1280437 w 2560320"/>
              <a:gd name="connsiteY1" fmla="*/ 0 h 2560306"/>
              <a:gd name="connsiteX2" fmla="*/ 1411049 w 2560320"/>
              <a:gd name="connsiteY2" fmla="*/ 6595 h 2560306"/>
              <a:gd name="connsiteX3" fmla="*/ 2560320 w 2560320"/>
              <a:gd name="connsiteY3" fmla="*/ 1280146 h 2560306"/>
              <a:gd name="connsiteX4" fmla="*/ 1280160 w 2560320"/>
              <a:gd name="connsiteY4" fmla="*/ 2560306 h 2560306"/>
              <a:gd name="connsiteX5" fmla="*/ 0 w 2560320"/>
              <a:gd name="connsiteY5" fmla="*/ 1280146 h 2560306"/>
              <a:gd name="connsiteX6" fmla="*/ 1149271 w 2560320"/>
              <a:gd name="connsiteY6" fmla="*/ 6595 h 256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0320" h="2560306">
                <a:moveTo>
                  <a:pt x="1279883" y="0"/>
                </a:moveTo>
                <a:lnTo>
                  <a:pt x="1280437" y="0"/>
                </a:lnTo>
                <a:lnTo>
                  <a:pt x="1411049" y="6595"/>
                </a:lnTo>
                <a:cubicBezTo>
                  <a:pt x="2056578" y="72152"/>
                  <a:pt x="2560320" y="617321"/>
                  <a:pt x="2560320" y="1280146"/>
                </a:cubicBezTo>
                <a:cubicBezTo>
                  <a:pt x="2560320" y="1987159"/>
                  <a:pt x="1987173" y="2560306"/>
                  <a:pt x="1280160" y="2560306"/>
                </a:cubicBezTo>
                <a:cubicBezTo>
                  <a:pt x="573147" y="2560306"/>
                  <a:pt x="0" y="1987159"/>
                  <a:pt x="0" y="1280146"/>
                </a:cubicBezTo>
                <a:cubicBezTo>
                  <a:pt x="0" y="617321"/>
                  <a:pt x="503743" y="72152"/>
                  <a:pt x="1149271" y="6595"/>
                </a:cubicBezTo>
                <a:close/>
              </a:path>
            </a:pathLst>
          </a:custGeom>
          <a:solidFill>
            <a:schemeClr val="accent4"/>
          </a:solidFill>
          <a:ln w="76200">
            <a:solidFill>
              <a:schemeClr val="accent4"/>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52859241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66857" fill="hold" grpId="0" nodeType="withEffect" p14:presetBounceEnd="67000">
                                      <p:stCondLst>
                                        <p:cond delay="0"/>
                                      </p:stCondLst>
                                      <p:childTnLst>
                                        <p:animMotion origin="layout" path="M -0.25494 -0.71991 L -3.95833E-6 0.00023 " pathEditMode="relative" rAng="0" ptsTypes="AA" p14:bounceEnd="67000">
                                          <p:cBhvr>
                                            <p:cTn id="6" dur="1750" fill="hold"/>
                                            <p:tgtEl>
                                              <p:spTgt spid="10"/>
                                            </p:tgtEl>
                                            <p:attrNameLst>
                                              <p:attrName>ppt_x</p:attrName>
                                              <p:attrName>ppt_y</p:attrName>
                                            </p:attrNameLst>
                                          </p:cBhvr>
                                          <p:rCtr x="12747" y="359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66857" fill="hold" grpId="0" nodeType="withEffect">
                                      <p:stCondLst>
                                        <p:cond delay="0"/>
                                      </p:stCondLst>
                                      <p:childTnLst>
                                        <p:animMotion origin="layout" path="M -0.25494 -0.71991 L -3.95833E-6 0.00023 " pathEditMode="relative" rAng="0" ptsTypes="AA">
                                          <p:cBhvr>
                                            <p:cTn id="6" dur="1750" fill="hold"/>
                                            <p:tgtEl>
                                              <p:spTgt spid="10"/>
                                            </p:tgtEl>
                                            <p:attrNameLst>
                                              <p:attrName>ppt_x</p:attrName>
                                              <p:attrName>ppt_y</p:attrName>
                                            </p:attrNameLst>
                                          </p:cBhvr>
                                          <p:rCtr x="12747" y="359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Main Offic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Picture Placeholder 3"/>
          <p:cNvSpPr>
            <a:spLocks noGrp="1"/>
          </p:cNvSpPr>
          <p:nvPr>
            <p:ph type="pic" sz="quarter" idx="10"/>
          </p:nvPr>
        </p:nvSpPr>
        <p:spPr>
          <a:xfrm>
            <a:off x="0" y="-1"/>
            <a:ext cx="9144000" cy="428625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3789511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2250" fill="hold"/>
                                        <p:tgtEl>
                                          <p:spTgt spid="2"/>
                                        </p:tgtEl>
                                        <p:attrNameLst>
                                          <p:attrName>ppt_w</p:attrName>
                                        </p:attrNameLst>
                                      </p:cBhvr>
                                      <p:tavLst>
                                        <p:tav tm="0">
                                          <p:val>
                                            <p:strVal val="#ppt_w+.3"/>
                                          </p:val>
                                        </p:tav>
                                        <p:tav tm="100000">
                                          <p:val>
                                            <p:strVal val="#ppt_w"/>
                                          </p:val>
                                        </p:tav>
                                      </p:tavLst>
                                    </p:anim>
                                    <p:anim calcmode="lin" valueType="num">
                                      <p:cBhvr>
                                        <p:cTn id="8" dur="2250" fill="hold"/>
                                        <p:tgtEl>
                                          <p:spTgt spid="2"/>
                                        </p:tgtEl>
                                        <p:attrNameLst>
                                          <p:attrName>ppt_h</p:attrName>
                                        </p:attrNameLst>
                                      </p:cBhvr>
                                      <p:tavLst>
                                        <p:tav tm="0">
                                          <p:val>
                                            <p:strVal val="#ppt_h"/>
                                          </p:val>
                                        </p:tav>
                                        <p:tav tm="100000">
                                          <p:val>
                                            <p:strVal val="#ppt_h"/>
                                          </p:val>
                                        </p:tav>
                                      </p:tavLst>
                                    </p:anim>
                                    <p:animEffect transition="in" filter="fade">
                                      <p:cBhvr>
                                        <p:cTn id="9" dur="2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p:cNvSpPr>
            <a:spLocks noGrp="1"/>
          </p:cNvSpPr>
          <p:nvPr>
            <p:ph type="title"/>
          </p:nvPr>
        </p:nvSpPr>
        <p:spPr>
          <a:xfrm>
            <a:off x="1461284" y="200077"/>
            <a:ext cx="7297063" cy="461665"/>
          </a:xfrm>
        </p:spPr>
        <p:txBody>
          <a:bodyPr tIns="0" rIns="0" bIns="0"/>
          <a:lstStyle>
            <a:lvl1pPr>
              <a:defRPr>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1461244" y="1050131"/>
            <a:ext cx="7297064" cy="270000"/>
          </a:xfrm>
          <a:noFill/>
          <a:ln w="9525">
            <a:noFill/>
            <a:miter lim="800000"/>
            <a:headEnd/>
            <a:tailEnd/>
          </a:ln>
        </p:spPr>
        <p:txBody>
          <a:bodyPr rIns="0" bIns="0">
            <a:normAutofit/>
          </a:bodyPr>
          <a:lstStyle>
            <a:lvl1pPr marL="0" indent="0">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0" name="Content Placeholder 2"/>
          <p:cNvSpPr>
            <a:spLocks noGrp="1"/>
          </p:cNvSpPr>
          <p:nvPr>
            <p:ph idx="10"/>
          </p:nvPr>
        </p:nvSpPr>
        <p:spPr>
          <a:xfrm>
            <a:off x="1461244" y="1496405"/>
            <a:ext cx="7297064" cy="270000"/>
          </a:xfrm>
        </p:spPr>
        <p:txBody>
          <a:bodyPr rIns="0" bIns="0">
            <a:normAutofit/>
          </a:bodyPr>
          <a:lstStyle>
            <a:lvl1pPr>
              <a:spcBef>
                <a:spcPts val="0"/>
              </a:spcBef>
              <a:spcAft>
                <a:spcPts val="300"/>
              </a:spcAft>
              <a:buNone/>
              <a:defRPr sz="2000"/>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1" name="Content Placeholder 2"/>
          <p:cNvSpPr>
            <a:spLocks noGrp="1"/>
          </p:cNvSpPr>
          <p:nvPr>
            <p:ph idx="11"/>
          </p:nvPr>
        </p:nvSpPr>
        <p:spPr>
          <a:xfrm>
            <a:off x="1461244" y="1942678"/>
            <a:ext cx="7297064" cy="270000"/>
          </a:xfrm>
          <a:noFill/>
          <a:ln w="9525">
            <a:noFill/>
            <a:miter lim="800000"/>
            <a:headEnd/>
            <a:tailEnd/>
          </a:ln>
        </p:spPr>
        <p:txBody>
          <a:bodyPr rIns="0" bIns="0">
            <a:normAutofit/>
          </a:bodyPr>
          <a:lstStyle>
            <a:lvl1pPr>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2" name="Content Placeholder 2"/>
          <p:cNvSpPr>
            <a:spLocks noGrp="1"/>
          </p:cNvSpPr>
          <p:nvPr>
            <p:ph idx="12"/>
          </p:nvPr>
        </p:nvSpPr>
        <p:spPr>
          <a:xfrm>
            <a:off x="1461244" y="2388951"/>
            <a:ext cx="7297064" cy="270000"/>
          </a:xfrm>
          <a:noFill/>
          <a:ln w="9525">
            <a:noFill/>
            <a:miter lim="800000"/>
            <a:headEnd/>
            <a:tailEnd/>
          </a:ln>
        </p:spPr>
        <p:txBody>
          <a:bodyPr rIns="0" bIns="0">
            <a:normAutofit/>
          </a:bodyPr>
          <a:lstStyle>
            <a:lvl1pPr>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4" name="Text Placeholder 13"/>
          <p:cNvSpPr>
            <a:spLocks noGrp="1"/>
          </p:cNvSpPr>
          <p:nvPr>
            <p:ph type="body" sz="quarter" idx="14"/>
          </p:nvPr>
        </p:nvSpPr>
        <p:spPr>
          <a:xfrm>
            <a:off x="358714" y="1000125"/>
            <a:ext cx="914241" cy="270000"/>
          </a:xfrm>
          <a:noFill/>
          <a:ln w="9525">
            <a:noFill/>
            <a:miter lim="800000"/>
            <a:headEnd/>
            <a:tailEnd/>
          </a:ln>
        </p:spPr>
        <p:txBody>
          <a:bodyPr/>
          <a:lstStyle>
            <a:lvl1pPr>
              <a:buNone/>
              <a:defRPr lang="en-GB" sz="3600" dirty="0" smtClean="0">
                <a:solidFill>
                  <a:schemeClr val="tx2"/>
                </a:solidFill>
                <a:latin typeface="+mj-lt"/>
                <a:ea typeface="+mn-ea"/>
                <a:cs typeface="+mn-cs"/>
              </a:defRPr>
            </a:lvl1pPr>
          </a:lstStyle>
          <a:p>
            <a:pPr lvl="0"/>
            <a:endParaRPr lang="en-US" dirty="0"/>
          </a:p>
        </p:txBody>
      </p:sp>
      <p:sp>
        <p:nvSpPr>
          <p:cNvPr id="15" name="Content Placeholder 2"/>
          <p:cNvSpPr>
            <a:spLocks noGrp="1"/>
          </p:cNvSpPr>
          <p:nvPr>
            <p:ph idx="15"/>
          </p:nvPr>
        </p:nvSpPr>
        <p:spPr>
          <a:xfrm>
            <a:off x="1461244" y="2835224"/>
            <a:ext cx="7297064" cy="270000"/>
          </a:xfrm>
          <a:noFill/>
          <a:ln w="9525">
            <a:noFill/>
            <a:miter lim="800000"/>
            <a:headEnd/>
            <a:tailEnd/>
          </a:ln>
        </p:spPr>
        <p:txBody>
          <a:bodyPr rIns="0" bIns="0">
            <a:normAutofit/>
          </a:bodyPr>
          <a:lstStyle>
            <a:lvl1pPr marL="0" indent="0">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6" name="Content Placeholder 2"/>
          <p:cNvSpPr>
            <a:spLocks noGrp="1"/>
          </p:cNvSpPr>
          <p:nvPr>
            <p:ph idx="16"/>
          </p:nvPr>
        </p:nvSpPr>
        <p:spPr>
          <a:xfrm>
            <a:off x="1461244" y="3281498"/>
            <a:ext cx="7297064" cy="270000"/>
          </a:xfrm>
        </p:spPr>
        <p:txBody>
          <a:bodyPr rIns="0" bIns="0">
            <a:normAutofit/>
          </a:bodyPr>
          <a:lstStyle>
            <a:lvl1pPr>
              <a:spcBef>
                <a:spcPts val="0"/>
              </a:spcBef>
              <a:spcAft>
                <a:spcPts val="300"/>
              </a:spcAft>
              <a:buNone/>
              <a:defRPr sz="2000"/>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7" name="Content Placeholder 2"/>
          <p:cNvSpPr>
            <a:spLocks noGrp="1"/>
          </p:cNvSpPr>
          <p:nvPr>
            <p:ph idx="17"/>
          </p:nvPr>
        </p:nvSpPr>
        <p:spPr>
          <a:xfrm>
            <a:off x="1461244" y="3727771"/>
            <a:ext cx="7297064" cy="270000"/>
          </a:xfrm>
          <a:noFill/>
          <a:ln w="9525">
            <a:noFill/>
            <a:miter lim="800000"/>
            <a:headEnd/>
            <a:tailEnd/>
          </a:ln>
        </p:spPr>
        <p:txBody>
          <a:bodyPr rIns="0" bIns="0">
            <a:normAutofit/>
          </a:bodyPr>
          <a:lstStyle>
            <a:lvl1pPr>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8" name="Content Placeholder 2"/>
          <p:cNvSpPr>
            <a:spLocks noGrp="1"/>
          </p:cNvSpPr>
          <p:nvPr>
            <p:ph idx="18"/>
          </p:nvPr>
        </p:nvSpPr>
        <p:spPr>
          <a:xfrm>
            <a:off x="1461244" y="4174042"/>
            <a:ext cx="7297064" cy="270000"/>
          </a:xfrm>
          <a:noFill/>
          <a:ln w="9525">
            <a:noFill/>
            <a:miter lim="800000"/>
            <a:headEnd/>
            <a:tailEnd/>
          </a:ln>
        </p:spPr>
        <p:txBody>
          <a:bodyPr rIns="0" bIns="0">
            <a:normAutofit/>
          </a:bodyPr>
          <a:lstStyle>
            <a:lvl1pPr>
              <a:spcBef>
                <a:spcPts val="0"/>
              </a:spcBef>
              <a:spcAft>
                <a:spcPts val="300"/>
              </a:spcAft>
              <a:buNone/>
              <a:defRPr lang="en-US" sz="2000" dirty="0" smtClean="0">
                <a:solidFill>
                  <a:schemeClr val="tx1"/>
                </a:solidFill>
                <a:latin typeface="+mn-lt"/>
                <a:ea typeface="+mn-ea"/>
                <a:cs typeface="+mn-cs"/>
              </a:defRPr>
            </a:lvl1pPr>
            <a:lvl2pPr>
              <a:buNone/>
              <a:defRPr sz="2400"/>
            </a:lvl2pPr>
            <a:lvl3pPr>
              <a:buNone/>
              <a:defRPr sz="2400"/>
            </a:lvl3pPr>
            <a:lvl4pPr>
              <a:buNone/>
              <a:defRPr sz="2400"/>
            </a:lvl4pPr>
            <a:lvl5pPr>
              <a:buNone/>
              <a:defRPr sz="2400"/>
            </a:lvl5pPr>
          </a:lstStyle>
          <a:p>
            <a:pPr lvl="0"/>
            <a:r>
              <a:rPr lang="en-US" dirty="0"/>
              <a:t>Click to edit Master text styles</a:t>
            </a:r>
          </a:p>
        </p:txBody>
      </p:sp>
      <p:sp>
        <p:nvSpPr>
          <p:cNvPr id="19" name="Text Placeholder 13"/>
          <p:cNvSpPr>
            <a:spLocks noGrp="1"/>
          </p:cNvSpPr>
          <p:nvPr>
            <p:ph type="body" sz="quarter" idx="19"/>
          </p:nvPr>
        </p:nvSpPr>
        <p:spPr>
          <a:xfrm>
            <a:off x="358714" y="1446398"/>
            <a:ext cx="914241" cy="270000"/>
          </a:xfrm>
          <a:noFill/>
          <a:ln w="9525">
            <a:noFill/>
            <a:miter lim="800000"/>
            <a:headEnd/>
            <a:tailEnd/>
          </a:ln>
        </p:spPr>
        <p:txBody>
          <a:bodyPr/>
          <a:lstStyle>
            <a:lvl1pPr>
              <a:buNone/>
              <a:defRPr lang="en-GB" sz="3600" dirty="0" smtClean="0">
                <a:solidFill>
                  <a:schemeClr val="tx2"/>
                </a:solidFill>
                <a:latin typeface="+mj-lt"/>
                <a:ea typeface="+mn-ea"/>
                <a:cs typeface="+mn-cs"/>
              </a:defRPr>
            </a:lvl1pPr>
          </a:lstStyle>
          <a:p>
            <a:pPr lvl="0"/>
            <a:endParaRPr lang="en-US" dirty="0"/>
          </a:p>
        </p:txBody>
      </p:sp>
      <p:sp>
        <p:nvSpPr>
          <p:cNvPr id="20" name="Text Placeholder 13"/>
          <p:cNvSpPr>
            <a:spLocks noGrp="1"/>
          </p:cNvSpPr>
          <p:nvPr>
            <p:ph type="body" sz="quarter" idx="20"/>
          </p:nvPr>
        </p:nvSpPr>
        <p:spPr>
          <a:xfrm>
            <a:off x="358714" y="1892670"/>
            <a:ext cx="914241" cy="270000"/>
          </a:xfrm>
          <a:noFill/>
          <a:ln w="9525">
            <a:noFill/>
            <a:miter lim="800000"/>
            <a:headEnd/>
            <a:tailEnd/>
          </a:ln>
        </p:spPr>
        <p:txBody>
          <a:bodyPr/>
          <a:lstStyle>
            <a:lvl1pPr>
              <a:buNone/>
              <a:defRPr lang="en-GB" sz="3600" dirty="0" smtClean="0">
                <a:solidFill>
                  <a:schemeClr val="tx2"/>
                </a:solidFill>
                <a:latin typeface="+mj-lt"/>
                <a:ea typeface="+mn-ea"/>
                <a:cs typeface="+mn-cs"/>
              </a:defRPr>
            </a:lvl1pPr>
          </a:lstStyle>
          <a:p>
            <a:pPr lvl="0"/>
            <a:r>
              <a:rPr lang="en-US" dirty="0"/>
              <a:t>Click to edit Master text styles</a:t>
            </a:r>
          </a:p>
        </p:txBody>
      </p:sp>
      <p:sp>
        <p:nvSpPr>
          <p:cNvPr id="21" name="Text Placeholder 13"/>
          <p:cNvSpPr>
            <a:spLocks noGrp="1"/>
          </p:cNvSpPr>
          <p:nvPr>
            <p:ph type="body" sz="quarter" idx="21"/>
          </p:nvPr>
        </p:nvSpPr>
        <p:spPr>
          <a:xfrm>
            <a:off x="358714" y="2338943"/>
            <a:ext cx="914241" cy="270000"/>
          </a:xfrm>
          <a:noFill/>
          <a:ln w="9525">
            <a:noFill/>
            <a:miter lim="800000"/>
            <a:headEnd/>
            <a:tailEnd/>
          </a:ln>
        </p:spPr>
        <p:txBody>
          <a:bodyPr/>
          <a:lstStyle>
            <a:lvl1pPr>
              <a:buNone/>
              <a:defRPr lang="en-GB" sz="3600" dirty="0" smtClean="0">
                <a:solidFill>
                  <a:schemeClr val="tx2"/>
                </a:solidFill>
                <a:latin typeface="+mj-lt"/>
                <a:ea typeface="+mn-ea"/>
                <a:cs typeface="+mn-cs"/>
              </a:defRPr>
            </a:lvl1pPr>
          </a:lstStyle>
          <a:p>
            <a:pPr lvl="0"/>
            <a:r>
              <a:rPr lang="en-US" dirty="0"/>
              <a:t>Click to edit Master text styles</a:t>
            </a:r>
          </a:p>
        </p:txBody>
      </p:sp>
      <p:sp>
        <p:nvSpPr>
          <p:cNvPr id="22" name="Text Placeholder 13"/>
          <p:cNvSpPr>
            <a:spLocks noGrp="1"/>
          </p:cNvSpPr>
          <p:nvPr>
            <p:ph type="body" sz="quarter" idx="22"/>
          </p:nvPr>
        </p:nvSpPr>
        <p:spPr>
          <a:xfrm>
            <a:off x="358714" y="2785215"/>
            <a:ext cx="914241" cy="270000"/>
          </a:xfrm>
          <a:noFill/>
          <a:ln w="9525">
            <a:noFill/>
            <a:miter lim="800000"/>
            <a:headEnd/>
            <a:tailEnd/>
          </a:ln>
        </p:spPr>
        <p:txBody>
          <a:bodyPr/>
          <a:lstStyle>
            <a:lvl1pPr>
              <a:buNone/>
              <a:defRPr lang="en-GB" sz="3600" dirty="0" smtClean="0">
                <a:solidFill>
                  <a:schemeClr val="tx2"/>
                </a:solidFill>
                <a:latin typeface="+mj-lt"/>
                <a:ea typeface="+mn-ea"/>
                <a:cs typeface="+mn-cs"/>
              </a:defRPr>
            </a:lvl1pPr>
          </a:lstStyle>
          <a:p>
            <a:pPr lvl="0"/>
            <a:r>
              <a:rPr lang="en-US" dirty="0"/>
              <a:t>Click to edit Master text styles</a:t>
            </a:r>
          </a:p>
        </p:txBody>
      </p:sp>
      <p:sp>
        <p:nvSpPr>
          <p:cNvPr id="23" name="Text Placeholder 13"/>
          <p:cNvSpPr>
            <a:spLocks noGrp="1"/>
          </p:cNvSpPr>
          <p:nvPr>
            <p:ph type="body" sz="quarter" idx="23"/>
          </p:nvPr>
        </p:nvSpPr>
        <p:spPr>
          <a:xfrm>
            <a:off x="358714" y="3231488"/>
            <a:ext cx="914241" cy="270000"/>
          </a:xfrm>
          <a:noFill/>
          <a:ln w="9525">
            <a:noFill/>
            <a:miter lim="800000"/>
            <a:headEnd/>
            <a:tailEnd/>
          </a:ln>
        </p:spPr>
        <p:txBody>
          <a:bodyPr/>
          <a:lstStyle>
            <a:lvl1pPr>
              <a:buNone/>
              <a:defRPr lang="en-GB" sz="3600" dirty="0" smtClean="0">
                <a:solidFill>
                  <a:schemeClr val="tx2"/>
                </a:solidFill>
                <a:latin typeface="+mj-lt"/>
                <a:ea typeface="+mn-ea"/>
                <a:cs typeface="+mn-cs"/>
              </a:defRPr>
            </a:lvl1pPr>
          </a:lstStyle>
          <a:p>
            <a:pPr lvl="0"/>
            <a:r>
              <a:rPr lang="en-US" dirty="0"/>
              <a:t>Click to edit Master text styles</a:t>
            </a:r>
          </a:p>
        </p:txBody>
      </p:sp>
      <p:sp>
        <p:nvSpPr>
          <p:cNvPr id="24" name="Text Placeholder 13"/>
          <p:cNvSpPr>
            <a:spLocks noGrp="1"/>
          </p:cNvSpPr>
          <p:nvPr>
            <p:ph type="body" sz="quarter" idx="24"/>
          </p:nvPr>
        </p:nvSpPr>
        <p:spPr>
          <a:xfrm>
            <a:off x="358714" y="3677760"/>
            <a:ext cx="914241" cy="270000"/>
          </a:xfrm>
          <a:noFill/>
          <a:ln w="9525">
            <a:noFill/>
            <a:miter lim="800000"/>
            <a:headEnd/>
            <a:tailEnd/>
          </a:ln>
        </p:spPr>
        <p:txBody>
          <a:bodyPr/>
          <a:lstStyle>
            <a:lvl1pPr>
              <a:buNone/>
              <a:defRPr lang="en-GB" sz="3600" dirty="0" smtClean="0">
                <a:solidFill>
                  <a:schemeClr val="tx2"/>
                </a:solidFill>
                <a:latin typeface="+mj-lt"/>
                <a:ea typeface="+mn-ea"/>
                <a:cs typeface="+mn-cs"/>
              </a:defRPr>
            </a:lvl1pPr>
          </a:lstStyle>
          <a:p>
            <a:pPr lvl="0"/>
            <a:r>
              <a:rPr lang="en-US" dirty="0"/>
              <a:t>Click to edit Master text styles</a:t>
            </a:r>
          </a:p>
        </p:txBody>
      </p:sp>
      <p:sp>
        <p:nvSpPr>
          <p:cNvPr id="25" name="Text Placeholder 13"/>
          <p:cNvSpPr>
            <a:spLocks noGrp="1"/>
          </p:cNvSpPr>
          <p:nvPr>
            <p:ph type="body" sz="quarter" idx="25"/>
          </p:nvPr>
        </p:nvSpPr>
        <p:spPr>
          <a:xfrm>
            <a:off x="358714" y="4124034"/>
            <a:ext cx="914241" cy="270000"/>
          </a:xfrm>
          <a:noFill/>
          <a:ln w="9525">
            <a:noFill/>
            <a:miter lim="800000"/>
            <a:headEnd/>
            <a:tailEnd/>
          </a:ln>
        </p:spPr>
        <p:txBody>
          <a:bodyPr/>
          <a:lstStyle>
            <a:lvl1pPr>
              <a:buNone/>
              <a:defRPr lang="en-GB" sz="3600" dirty="0" smtClean="0">
                <a:solidFill>
                  <a:schemeClr val="tx2"/>
                </a:solidFill>
                <a:latin typeface="+mj-lt"/>
                <a:ea typeface="+mn-ea"/>
                <a:cs typeface="+mn-cs"/>
              </a:defRPr>
            </a:lvl1pPr>
          </a:lstStyle>
          <a:p>
            <a:pPr lvl="0"/>
            <a:r>
              <a:rPr lang="en-US" dirty="0"/>
              <a:t>Click to edit Master text styles</a:t>
            </a:r>
          </a:p>
        </p:txBody>
      </p:sp>
      <p:sp>
        <p:nvSpPr>
          <p:cNvPr id="26" name="Slide Number Placeholder 25"/>
          <p:cNvSpPr>
            <a:spLocks noGrp="1"/>
          </p:cNvSpPr>
          <p:nvPr>
            <p:ph type="sldNum" sz="quarter" idx="26"/>
          </p:nvPr>
        </p:nvSpPr>
        <p:spPr/>
        <p:txBody>
          <a:bodyPr/>
          <a:lstStyle>
            <a:lvl1pPr algn="l" eaLnBrk="1" hangingPunct="1">
              <a:defRPr>
                <a:ea typeface="ＭＳ Ｐゴシック" pitchFamily="34" charset="-128"/>
              </a:defRPr>
            </a:lvl1pPr>
          </a:lstStyle>
          <a:p>
            <a:pPr>
              <a:defRPr/>
            </a:pPr>
            <a:fld id="{EE138AA5-2A18-445F-82BD-09A8EF7AC7D4}" type="slidenum">
              <a:rPr lang="es-ES"/>
              <a:pPr>
                <a:defRPr/>
              </a:pPr>
              <a:t>‹#›</a:t>
            </a:fld>
            <a:endParaRPr lang="es-ES"/>
          </a:p>
        </p:txBody>
      </p:sp>
      <p:sp>
        <p:nvSpPr>
          <p:cNvPr id="27" name="Footer Placeholder 26"/>
          <p:cNvSpPr>
            <a:spLocks noGrp="1"/>
          </p:cNvSpPr>
          <p:nvPr>
            <p:ph type="ftr" sz="quarter" idx="27"/>
          </p:nvPr>
        </p:nvSpPr>
        <p:spPr/>
        <p:txBody>
          <a:bodyPr/>
          <a:lstStyle>
            <a:lvl1pPr>
              <a:defRPr/>
            </a:lvl1pPr>
          </a:lstStyle>
          <a:p>
            <a:pPr>
              <a:defRPr/>
            </a:pPr>
            <a:endParaRPr/>
          </a:p>
        </p:txBody>
      </p:sp>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About Company">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2" y="-1"/>
            <a:ext cx="9132461" cy="4286250"/>
          </a:xfrm>
          <a:custGeom>
            <a:avLst/>
            <a:gdLst>
              <a:gd name="connsiteX0" fmla="*/ 4450050 w 12176614"/>
              <a:gd name="connsiteY0" fmla="*/ 1 h 5715000"/>
              <a:gd name="connsiteX1" fmla="*/ 12176614 w 12176614"/>
              <a:gd name="connsiteY1" fmla="*/ 1 h 5715000"/>
              <a:gd name="connsiteX2" fmla="*/ 12176614 w 12176614"/>
              <a:gd name="connsiteY2" fmla="*/ 5715000 h 5715000"/>
              <a:gd name="connsiteX3" fmla="*/ 4450050 w 12176614"/>
              <a:gd name="connsiteY3" fmla="*/ 5715000 h 5715000"/>
              <a:gd name="connsiteX4" fmla="*/ 0 w 12176614"/>
              <a:gd name="connsiteY4" fmla="*/ 0 h 5715000"/>
              <a:gd name="connsiteX5" fmla="*/ 4389120 w 12176614"/>
              <a:gd name="connsiteY5" fmla="*/ 0 h 5715000"/>
              <a:gd name="connsiteX6" fmla="*/ 4389120 w 12176614"/>
              <a:gd name="connsiteY6" fmla="*/ 5714999 h 5715000"/>
              <a:gd name="connsiteX7" fmla="*/ 0 w 12176614"/>
              <a:gd name="connsiteY7" fmla="*/ 5714999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76614" h="5715000">
                <a:moveTo>
                  <a:pt x="4450050" y="1"/>
                </a:moveTo>
                <a:lnTo>
                  <a:pt x="12176614" y="1"/>
                </a:lnTo>
                <a:lnTo>
                  <a:pt x="12176614" y="5715000"/>
                </a:lnTo>
                <a:lnTo>
                  <a:pt x="4450050" y="5715000"/>
                </a:lnTo>
                <a:close/>
                <a:moveTo>
                  <a:pt x="0" y="0"/>
                </a:moveTo>
                <a:lnTo>
                  <a:pt x="4389120" y="0"/>
                </a:lnTo>
                <a:lnTo>
                  <a:pt x="4389120" y="5714999"/>
                </a:lnTo>
                <a:lnTo>
                  <a:pt x="0" y="5714999"/>
                </a:lnTo>
                <a:close/>
              </a:path>
            </a:pathLst>
          </a:custGeom>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079416701"/>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Mission">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3" y="8"/>
            <a:ext cx="6035039" cy="5143491"/>
          </a:xfrm>
          <a:custGeom>
            <a:avLst/>
            <a:gdLst>
              <a:gd name="connsiteX0" fmla="*/ 7076556 w 8046719"/>
              <a:gd name="connsiteY0" fmla="*/ 0 h 6857988"/>
              <a:gd name="connsiteX1" fmla="*/ 8046719 w 8046719"/>
              <a:gd name="connsiteY1" fmla="*/ 0 h 6857988"/>
              <a:gd name="connsiteX2" fmla="*/ 3249731 w 8046719"/>
              <a:gd name="connsiteY2" fmla="*/ 6857988 h 6857988"/>
              <a:gd name="connsiteX3" fmla="*/ 3242943 w 8046719"/>
              <a:gd name="connsiteY3" fmla="*/ 6857988 h 6857988"/>
              <a:gd name="connsiteX4" fmla="*/ 0 w 8046719"/>
              <a:gd name="connsiteY4" fmla="*/ 0 h 6857988"/>
              <a:gd name="connsiteX5" fmla="*/ 7076556 w 8046719"/>
              <a:gd name="connsiteY5" fmla="*/ 0 h 6857988"/>
              <a:gd name="connsiteX6" fmla="*/ 3169616 w 8046719"/>
              <a:gd name="connsiteY6" fmla="*/ 6594602 h 6857988"/>
              <a:gd name="connsiteX7" fmla="*/ 0 w 8046719"/>
              <a:gd name="connsiteY7" fmla="*/ 4639256 h 685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46719" h="6857988">
                <a:moveTo>
                  <a:pt x="7076556" y="0"/>
                </a:moveTo>
                <a:lnTo>
                  <a:pt x="8046719" y="0"/>
                </a:lnTo>
                <a:lnTo>
                  <a:pt x="3249731" y="6857988"/>
                </a:lnTo>
                <a:lnTo>
                  <a:pt x="3242943" y="6857988"/>
                </a:lnTo>
                <a:close/>
                <a:moveTo>
                  <a:pt x="0" y="0"/>
                </a:moveTo>
                <a:lnTo>
                  <a:pt x="7076556" y="0"/>
                </a:lnTo>
                <a:lnTo>
                  <a:pt x="3169616" y="6594602"/>
                </a:lnTo>
                <a:lnTo>
                  <a:pt x="0" y="4639256"/>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419151961"/>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Vision">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944083" y="13"/>
            <a:ext cx="6199919" cy="5143499"/>
          </a:xfrm>
          <a:custGeom>
            <a:avLst/>
            <a:gdLst>
              <a:gd name="connsiteX0" fmla="*/ 964929 w 8266558"/>
              <a:gd name="connsiteY0" fmla="*/ 0 h 6857999"/>
              <a:gd name="connsiteX1" fmla="*/ 8266558 w 8266558"/>
              <a:gd name="connsiteY1" fmla="*/ 0 h 6857999"/>
              <a:gd name="connsiteX2" fmla="*/ 8266558 w 8266558"/>
              <a:gd name="connsiteY2" fmla="*/ 4516266 h 6857999"/>
              <a:gd name="connsiteX3" fmla="*/ 4869410 w 8266558"/>
              <a:gd name="connsiteY3" fmla="*/ 6605288 h 6857999"/>
              <a:gd name="connsiteX4" fmla="*/ 0 w 8266558"/>
              <a:gd name="connsiteY4" fmla="*/ 0 h 6857999"/>
              <a:gd name="connsiteX5" fmla="*/ 964929 w 8266558"/>
              <a:gd name="connsiteY5" fmla="*/ 0 h 6857999"/>
              <a:gd name="connsiteX6" fmla="*/ 4808965 w 8266558"/>
              <a:gd name="connsiteY6" fmla="*/ 6857999 h 6857999"/>
              <a:gd name="connsiteX7" fmla="*/ 4802575 w 8266558"/>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66558" h="6857999">
                <a:moveTo>
                  <a:pt x="964929" y="0"/>
                </a:moveTo>
                <a:lnTo>
                  <a:pt x="8266558" y="0"/>
                </a:lnTo>
                <a:lnTo>
                  <a:pt x="8266558" y="4516266"/>
                </a:lnTo>
                <a:lnTo>
                  <a:pt x="4869410" y="6605288"/>
                </a:lnTo>
                <a:close/>
                <a:moveTo>
                  <a:pt x="0" y="0"/>
                </a:moveTo>
                <a:lnTo>
                  <a:pt x="964929" y="0"/>
                </a:lnTo>
                <a:lnTo>
                  <a:pt x="4808965" y="6857999"/>
                </a:lnTo>
                <a:lnTo>
                  <a:pt x="4802575" y="6857999"/>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689468855"/>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Corporate History">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3" y="13"/>
            <a:ext cx="7383749" cy="5143499"/>
          </a:xfrm>
          <a:custGeom>
            <a:avLst/>
            <a:gdLst>
              <a:gd name="connsiteX0" fmla="*/ 0 w 9844999"/>
              <a:gd name="connsiteY0" fmla="*/ 0 h 6857999"/>
              <a:gd name="connsiteX1" fmla="*/ 9844999 w 9844999"/>
              <a:gd name="connsiteY1" fmla="*/ 0 h 6857999"/>
              <a:gd name="connsiteX2" fmla="*/ 5920715 w 9844999"/>
              <a:gd name="connsiteY2" fmla="*/ 6857999 h 6857999"/>
              <a:gd name="connsiteX3" fmla="*/ 0 w 9844999"/>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9844999" h="6857999">
                <a:moveTo>
                  <a:pt x="0" y="0"/>
                </a:moveTo>
                <a:lnTo>
                  <a:pt x="9844999" y="0"/>
                </a:lnTo>
                <a:lnTo>
                  <a:pt x="5920715" y="6857999"/>
                </a:lnTo>
                <a:lnTo>
                  <a:pt x="0" y="6857999"/>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352306924"/>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Our Journey A">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2446022" y="514373"/>
            <a:ext cx="1234440" cy="960120"/>
          </a:xfrm>
          <a:solidFill>
            <a:schemeClr val="tx2">
              <a:lumMod val="85000"/>
            </a:schemeClr>
          </a:solidFill>
          <a:ln>
            <a:noFill/>
          </a:ln>
        </p:spPr>
        <p:txBody>
          <a:bodyPr anchor="ctr" anchorCtr="0"/>
          <a:lstStyle>
            <a:lvl1pPr algn="ctr">
              <a:defRPr/>
            </a:lvl1pPr>
          </a:lstStyle>
          <a:p>
            <a:endParaRPr lang="en-US" dirty="0"/>
          </a:p>
        </p:txBody>
      </p:sp>
      <p:sp>
        <p:nvSpPr>
          <p:cNvPr id="7" name="Picture Placeholder 3"/>
          <p:cNvSpPr>
            <a:spLocks noGrp="1"/>
          </p:cNvSpPr>
          <p:nvPr>
            <p:ph type="pic" sz="quarter" idx="11"/>
          </p:nvPr>
        </p:nvSpPr>
        <p:spPr>
          <a:xfrm>
            <a:off x="5052041" y="3669008"/>
            <a:ext cx="1234440" cy="9601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3116507823"/>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Our Journey B">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1623092" y="514373"/>
            <a:ext cx="1234440" cy="960120"/>
          </a:xfrm>
          <a:solidFill>
            <a:schemeClr val="tx2">
              <a:lumMod val="85000"/>
            </a:schemeClr>
          </a:solidFill>
          <a:ln>
            <a:noFill/>
          </a:ln>
        </p:spPr>
        <p:txBody>
          <a:bodyPr anchor="ctr" anchorCtr="0"/>
          <a:lstStyle>
            <a:lvl1pPr algn="ctr">
              <a:defRPr/>
            </a:lvl1pPr>
          </a:lstStyle>
          <a:p>
            <a:endParaRPr lang="en-US" dirty="0"/>
          </a:p>
        </p:txBody>
      </p:sp>
      <p:sp>
        <p:nvSpPr>
          <p:cNvPr id="7" name="Picture Placeholder 3"/>
          <p:cNvSpPr>
            <a:spLocks noGrp="1"/>
          </p:cNvSpPr>
          <p:nvPr>
            <p:ph type="pic" sz="quarter" idx="11"/>
          </p:nvPr>
        </p:nvSpPr>
        <p:spPr>
          <a:xfrm>
            <a:off x="5052041" y="3669008"/>
            <a:ext cx="1234440" cy="9601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1757189585"/>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Our Journey C">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1623092" y="514373"/>
            <a:ext cx="1234440" cy="9601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173496607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Who We Ar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1" name="Picture Placeholder 3"/>
          <p:cNvSpPr>
            <a:spLocks noGrp="1"/>
          </p:cNvSpPr>
          <p:nvPr>
            <p:ph type="pic" sz="quarter" idx="10"/>
          </p:nvPr>
        </p:nvSpPr>
        <p:spPr>
          <a:xfrm>
            <a:off x="0" y="1268744"/>
            <a:ext cx="9144000" cy="2057400"/>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4252794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outHorizontal)">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What We Do">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14" name="Picture Placeholder 13"/>
          <p:cNvSpPr>
            <a:spLocks noGrp="1"/>
          </p:cNvSpPr>
          <p:nvPr>
            <p:ph type="pic" sz="quarter" idx="10"/>
          </p:nvPr>
        </p:nvSpPr>
        <p:spPr>
          <a:xfrm>
            <a:off x="594124" y="1268744"/>
            <a:ext cx="7955756" cy="2057400"/>
          </a:xfrm>
          <a:custGeom>
            <a:avLst/>
            <a:gdLst>
              <a:gd name="connsiteX0" fmla="*/ 11369033 w 12191993"/>
              <a:gd name="connsiteY0" fmla="*/ 1920642 h 2743200"/>
              <a:gd name="connsiteX1" fmla="*/ 12191993 w 12191993"/>
              <a:gd name="connsiteY1" fmla="*/ 1920642 h 2743200"/>
              <a:gd name="connsiteX2" fmla="*/ 12191993 w 12191993"/>
              <a:gd name="connsiteY2" fmla="*/ 2743200 h 2743200"/>
              <a:gd name="connsiteX3" fmla="*/ 11369033 w 12191993"/>
              <a:gd name="connsiteY3" fmla="*/ 2743200 h 2743200"/>
              <a:gd name="connsiteX4" fmla="*/ 10413993 w 12191993"/>
              <a:gd name="connsiteY4" fmla="*/ 1920606 h 2743200"/>
              <a:gd name="connsiteX5" fmla="*/ 11328393 w 12191993"/>
              <a:gd name="connsiteY5" fmla="*/ 1920606 h 2743200"/>
              <a:gd name="connsiteX6" fmla="*/ 11328393 w 12191993"/>
              <a:gd name="connsiteY6" fmla="*/ 2743200 h 2743200"/>
              <a:gd name="connsiteX7" fmla="*/ 10413993 w 12191993"/>
              <a:gd name="connsiteY7" fmla="*/ 2743200 h 2743200"/>
              <a:gd name="connsiteX8" fmla="*/ 9458953 w 12191993"/>
              <a:gd name="connsiteY8" fmla="*/ 1920570 h 2743200"/>
              <a:gd name="connsiteX9" fmla="*/ 10373353 w 12191993"/>
              <a:gd name="connsiteY9" fmla="*/ 1920570 h 2743200"/>
              <a:gd name="connsiteX10" fmla="*/ 10373353 w 12191993"/>
              <a:gd name="connsiteY10" fmla="*/ 2743200 h 2743200"/>
              <a:gd name="connsiteX11" fmla="*/ 9458953 w 12191993"/>
              <a:gd name="connsiteY11" fmla="*/ 2743200 h 2743200"/>
              <a:gd name="connsiteX12" fmla="*/ 8503913 w 12191993"/>
              <a:gd name="connsiteY12" fmla="*/ 1920534 h 2743200"/>
              <a:gd name="connsiteX13" fmla="*/ 9418313 w 12191993"/>
              <a:gd name="connsiteY13" fmla="*/ 1920534 h 2743200"/>
              <a:gd name="connsiteX14" fmla="*/ 9418313 w 12191993"/>
              <a:gd name="connsiteY14" fmla="*/ 2743200 h 2743200"/>
              <a:gd name="connsiteX15" fmla="*/ 8503913 w 12191993"/>
              <a:gd name="connsiteY15" fmla="*/ 2743200 h 2743200"/>
              <a:gd name="connsiteX16" fmla="*/ 7548873 w 12191993"/>
              <a:gd name="connsiteY16" fmla="*/ 1920498 h 2743200"/>
              <a:gd name="connsiteX17" fmla="*/ 8463273 w 12191993"/>
              <a:gd name="connsiteY17" fmla="*/ 1920498 h 2743200"/>
              <a:gd name="connsiteX18" fmla="*/ 8463273 w 12191993"/>
              <a:gd name="connsiteY18" fmla="*/ 2743200 h 2743200"/>
              <a:gd name="connsiteX19" fmla="*/ 7548873 w 12191993"/>
              <a:gd name="connsiteY19" fmla="*/ 2743200 h 2743200"/>
              <a:gd name="connsiteX20" fmla="*/ 6593833 w 12191993"/>
              <a:gd name="connsiteY20" fmla="*/ 1920462 h 2743200"/>
              <a:gd name="connsiteX21" fmla="*/ 7508233 w 12191993"/>
              <a:gd name="connsiteY21" fmla="*/ 1920462 h 2743200"/>
              <a:gd name="connsiteX22" fmla="*/ 7508233 w 12191993"/>
              <a:gd name="connsiteY22" fmla="*/ 2743200 h 2743200"/>
              <a:gd name="connsiteX23" fmla="*/ 6593833 w 12191993"/>
              <a:gd name="connsiteY23" fmla="*/ 2743200 h 2743200"/>
              <a:gd name="connsiteX24" fmla="*/ 5638794 w 12191993"/>
              <a:gd name="connsiteY24" fmla="*/ 1920426 h 2743200"/>
              <a:gd name="connsiteX25" fmla="*/ 6553193 w 12191993"/>
              <a:gd name="connsiteY25" fmla="*/ 1920426 h 2743200"/>
              <a:gd name="connsiteX26" fmla="*/ 6553193 w 12191993"/>
              <a:gd name="connsiteY26" fmla="*/ 2743200 h 2743200"/>
              <a:gd name="connsiteX27" fmla="*/ 5638794 w 12191993"/>
              <a:gd name="connsiteY27" fmla="*/ 2743200 h 2743200"/>
              <a:gd name="connsiteX28" fmla="*/ 4683756 w 12191993"/>
              <a:gd name="connsiteY28" fmla="*/ 1920390 h 2743200"/>
              <a:gd name="connsiteX29" fmla="*/ 5598154 w 12191993"/>
              <a:gd name="connsiteY29" fmla="*/ 1920390 h 2743200"/>
              <a:gd name="connsiteX30" fmla="*/ 5598154 w 12191993"/>
              <a:gd name="connsiteY30" fmla="*/ 2743200 h 2743200"/>
              <a:gd name="connsiteX31" fmla="*/ 4683756 w 12191993"/>
              <a:gd name="connsiteY31" fmla="*/ 2743200 h 2743200"/>
              <a:gd name="connsiteX32" fmla="*/ 3728717 w 12191993"/>
              <a:gd name="connsiteY32" fmla="*/ 1920354 h 2743200"/>
              <a:gd name="connsiteX33" fmla="*/ 4643115 w 12191993"/>
              <a:gd name="connsiteY33" fmla="*/ 1920354 h 2743200"/>
              <a:gd name="connsiteX34" fmla="*/ 4643115 w 12191993"/>
              <a:gd name="connsiteY34" fmla="*/ 2743200 h 2743200"/>
              <a:gd name="connsiteX35" fmla="*/ 3728717 w 12191993"/>
              <a:gd name="connsiteY35" fmla="*/ 2743200 h 2743200"/>
              <a:gd name="connsiteX36" fmla="*/ 2773678 w 12191993"/>
              <a:gd name="connsiteY36" fmla="*/ 1920318 h 2743200"/>
              <a:gd name="connsiteX37" fmla="*/ 3688077 w 12191993"/>
              <a:gd name="connsiteY37" fmla="*/ 1920318 h 2743200"/>
              <a:gd name="connsiteX38" fmla="*/ 3688077 w 12191993"/>
              <a:gd name="connsiteY38" fmla="*/ 2743200 h 2743200"/>
              <a:gd name="connsiteX39" fmla="*/ 2773678 w 12191993"/>
              <a:gd name="connsiteY39" fmla="*/ 2743200 h 2743200"/>
              <a:gd name="connsiteX40" fmla="*/ 1818638 w 12191993"/>
              <a:gd name="connsiteY40" fmla="*/ 1920282 h 2743200"/>
              <a:gd name="connsiteX41" fmla="*/ 2733039 w 12191993"/>
              <a:gd name="connsiteY41" fmla="*/ 1920282 h 2743200"/>
              <a:gd name="connsiteX42" fmla="*/ 2733039 w 12191993"/>
              <a:gd name="connsiteY42" fmla="*/ 2743200 h 2743200"/>
              <a:gd name="connsiteX43" fmla="*/ 1818638 w 12191993"/>
              <a:gd name="connsiteY43" fmla="*/ 2743200 h 2743200"/>
              <a:gd name="connsiteX44" fmla="*/ 863599 w 12191993"/>
              <a:gd name="connsiteY44" fmla="*/ 1920246 h 2743200"/>
              <a:gd name="connsiteX45" fmla="*/ 1777998 w 12191993"/>
              <a:gd name="connsiteY45" fmla="*/ 1920246 h 2743200"/>
              <a:gd name="connsiteX46" fmla="*/ 1777998 w 12191993"/>
              <a:gd name="connsiteY46" fmla="*/ 2743200 h 2743200"/>
              <a:gd name="connsiteX47" fmla="*/ 863599 w 12191993"/>
              <a:gd name="connsiteY47" fmla="*/ 2743200 h 2743200"/>
              <a:gd name="connsiteX48" fmla="*/ 0 w 12191993"/>
              <a:gd name="connsiteY48" fmla="*/ 1920210 h 2743200"/>
              <a:gd name="connsiteX49" fmla="*/ 822959 w 12191993"/>
              <a:gd name="connsiteY49" fmla="*/ 1920210 h 2743200"/>
              <a:gd name="connsiteX50" fmla="*/ 822959 w 12191993"/>
              <a:gd name="connsiteY50" fmla="*/ 2743200 h 2743200"/>
              <a:gd name="connsiteX51" fmla="*/ 0 w 12191993"/>
              <a:gd name="connsiteY51" fmla="*/ 2743200 h 2743200"/>
              <a:gd name="connsiteX52" fmla="*/ 11369033 w 12191993"/>
              <a:gd name="connsiteY52" fmla="*/ 960519 h 2743200"/>
              <a:gd name="connsiteX53" fmla="*/ 12191993 w 12191993"/>
              <a:gd name="connsiteY53" fmla="*/ 960519 h 2743200"/>
              <a:gd name="connsiteX54" fmla="*/ 12191993 w 12191993"/>
              <a:gd name="connsiteY54" fmla="*/ 1874919 h 2743200"/>
              <a:gd name="connsiteX55" fmla="*/ 11369033 w 12191993"/>
              <a:gd name="connsiteY55" fmla="*/ 1874919 h 2743200"/>
              <a:gd name="connsiteX56" fmla="*/ 10413993 w 12191993"/>
              <a:gd name="connsiteY56" fmla="*/ 960483 h 2743200"/>
              <a:gd name="connsiteX57" fmla="*/ 11328393 w 12191993"/>
              <a:gd name="connsiteY57" fmla="*/ 960483 h 2743200"/>
              <a:gd name="connsiteX58" fmla="*/ 11328393 w 12191993"/>
              <a:gd name="connsiteY58" fmla="*/ 1874883 h 2743200"/>
              <a:gd name="connsiteX59" fmla="*/ 10413993 w 12191993"/>
              <a:gd name="connsiteY59" fmla="*/ 1874883 h 2743200"/>
              <a:gd name="connsiteX60" fmla="*/ 9458953 w 12191993"/>
              <a:gd name="connsiteY60" fmla="*/ 960447 h 2743200"/>
              <a:gd name="connsiteX61" fmla="*/ 10373353 w 12191993"/>
              <a:gd name="connsiteY61" fmla="*/ 960447 h 2743200"/>
              <a:gd name="connsiteX62" fmla="*/ 10373353 w 12191993"/>
              <a:gd name="connsiteY62" fmla="*/ 1874847 h 2743200"/>
              <a:gd name="connsiteX63" fmla="*/ 9458953 w 12191993"/>
              <a:gd name="connsiteY63" fmla="*/ 1874847 h 2743200"/>
              <a:gd name="connsiteX64" fmla="*/ 8503913 w 12191993"/>
              <a:gd name="connsiteY64" fmla="*/ 960411 h 2743200"/>
              <a:gd name="connsiteX65" fmla="*/ 9418313 w 12191993"/>
              <a:gd name="connsiteY65" fmla="*/ 960411 h 2743200"/>
              <a:gd name="connsiteX66" fmla="*/ 9418313 w 12191993"/>
              <a:gd name="connsiteY66" fmla="*/ 1874811 h 2743200"/>
              <a:gd name="connsiteX67" fmla="*/ 8503913 w 12191993"/>
              <a:gd name="connsiteY67" fmla="*/ 1874811 h 2743200"/>
              <a:gd name="connsiteX68" fmla="*/ 7548873 w 12191993"/>
              <a:gd name="connsiteY68" fmla="*/ 960375 h 2743200"/>
              <a:gd name="connsiteX69" fmla="*/ 8463273 w 12191993"/>
              <a:gd name="connsiteY69" fmla="*/ 960375 h 2743200"/>
              <a:gd name="connsiteX70" fmla="*/ 8463273 w 12191993"/>
              <a:gd name="connsiteY70" fmla="*/ 1874775 h 2743200"/>
              <a:gd name="connsiteX71" fmla="*/ 7548873 w 12191993"/>
              <a:gd name="connsiteY71" fmla="*/ 1874775 h 2743200"/>
              <a:gd name="connsiteX72" fmla="*/ 6593833 w 12191993"/>
              <a:gd name="connsiteY72" fmla="*/ 960339 h 2743200"/>
              <a:gd name="connsiteX73" fmla="*/ 7508233 w 12191993"/>
              <a:gd name="connsiteY73" fmla="*/ 960339 h 2743200"/>
              <a:gd name="connsiteX74" fmla="*/ 7508233 w 12191993"/>
              <a:gd name="connsiteY74" fmla="*/ 1874739 h 2743200"/>
              <a:gd name="connsiteX75" fmla="*/ 6593833 w 12191993"/>
              <a:gd name="connsiteY75" fmla="*/ 1874739 h 2743200"/>
              <a:gd name="connsiteX76" fmla="*/ 5638794 w 12191993"/>
              <a:gd name="connsiteY76" fmla="*/ 960303 h 2743200"/>
              <a:gd name="connsiteX77" fmla="*/ 6553193 w 12191993"/>
              <a:gd name="connsiteY77" fmla="*/ 960303 h 2743200"/>
              <a:gd name="connsiteX78" fmla="*/ 6553193 w 12191993"/>
              <a:gd name="connsiteY78" fmla="*/ 1874703 h 2743200"/>
              <a:gd name="connsiteX79" fmla="*/ 5638794 w 12191993"/>
              <a:gd name="connsiteY79" fmla="*/ 1874703 h 2743200"/>
              <a:gd name="connsiteX80" fmla="*/ 4683756 w 12191993"/>
              <a:gd name="connsiteY80" fmla="*/ 960267 h 2743200"/>
              <a:gd name="connsiteX81" fmla="*/ 5598154 w 12191993"/>
              <a:gd name="connsiteY81" fmla="*/ 960267 h 2743200"/>
              <a:gd name="connsiteX82" fmla="*/ 5598154 w 12191993"/>
              <a:gd name="connsiteY82" fmla="*/ 1874667 h 2743200"/>
              <a:gd name="connsiteX83" fmla="*/ 4683756 w 12191993"/>
              <a:gd name="connsiteY83" fmla="*/ 1874667 h 2743200"/>
              <a:gd name="connsiteX84" fmla="*/ 3728717 w 12191993"/>
              <a:gd name="connsiteY84" fmla="*/ 960231 h 2743200"/>
              <a:gd name="connsiteX85" fmla="*/ 4643115 w 12191993"/>
              <a:gd name="connsiteY85" fmla="*/ 960231 h 2743200"/>
              <a:gd name="connsiteX86" fmla="*/ 4643115 w 12191993"/>
              <a:gd name="connsiteY86" fmla="*/ 1874631 h 2743200"/>
              <a:gd name="connsiteX87" fmla="*/ 3728717 w 12191993"/>
              <a:gd name="connsiteY87" fmla="*/ 1874631 h 2743200"/>
              <a:gd name="connsiteX88" fmla="*/ 2773678 w 12191993"/>
              <a:gd name="connsiteY88" fmla="*/ 960195 h 2743200"/>
              <a:gd name="connsiteX89" fmla="*/ 3688077 w 12191993"/>
              <a:gd name="connsiteY89" fmla="*/ 960195 h 2743200"/>
              <a:gd name="connsiteX90" fmla="*/ 3688077 w 12191993"/>
              <a:gd name="connsiteY90" fmla="*/ 1874595 h 2743200"/>
              <a:gd name="connsiteX91" fmla="*/ 2773678 w 12191993"/>
              <a:gd name="connsiteY91" fmla="*/ 1874595 h 2743200"/>
              <a:gd name="connsiteX92" fmla="*/ 1818638 w 12191993"/>
              <a:gd name="connsiteY92" fmla="*/ 960159 h 2743200"/>
              <a:gd name="connsiteX93" fmla="*/ 2733039 w 12191993"/>
              <a:gd name="connsiteY93" fmla="*/ 960159 h 2743200"/>
              <a:gd name="connsiteX94" fmla="*/ 2733039 w 12191993"/>
              <a:gd name="connsiteY94" fmla="*/ 1874559 h 2743200"/>
              <a:gd name="connsiteX95" fmla="*/ 1818638 w 12191993"/>
              <a:gd name="connsiteY95" fmla="*/ 1874559 h 2743200"/>
              <a:gd name="connsiteX96" fmla="*/ 863599 w 12191993"/>
              <a:gd name="connsiteY96" fmla="*/ 960123 h 2743200"/>
              <a:gd name="connsiteX97" fmla="*/ 1777998 w 12191993"/>
              <a:gd name="connsiteY97" fmla="*/ 960123 h 2743200"/>
              <a:gd name="connsiteX98" fmla="*/ 1777998 w 12191993"/>
              <a:gd name="connsiteY98" fmla="*/ 1874523 h 2743200"/>
              <a:gd name="connsiteX99" fmla="*/ 863599 w 12191993"/>
              <a:gd name="connsiteY99" fmla="*/ 1874523 h 2743200"/>
              <a:gd name="connsiteX100" fmla="*/ 0 w 12191993"/>
              <a:gd name="connsiteY100" fmla="*/ 960087 h 2743200"/>
              <a:gd name="connsiteX101" fmla="*/ 822959 w 12191993"/>
              <a:gd name="connsiteY101" fmla="*/ 960087 h 2743200"/>
              <a:gd name="connsiteX102" fmla="*/ 822959 w 12191993"/>
              <a:gd name="connsiteY102" fmla="*/ 1874487 h 2743200"/>
              <a:gd name="connsiteX103" fmla="*/ 0 w 12191993"/>
              <a:gd name="connsiteY103" fmla="*/ 1874487 h 2743200"/>
              <a:gd name="connsiteX104" fmla="*/ 11369033 w 12191993"/>
              <a:gd name="connsiteY104" fmla="*/ 396 h 2743200"/>
              <a:gd name="connsiteX105" fmla="*/ 12191993 w 12191993"/>
              <a:gd name="connsiteY105" fmla="*/ 396 h 2743200"/>
              <a:gd name="connsiteX106" fmla="*/ 12191993 w 12191993"/>
              <a:gd name="connsiteY106" fmla="*/ 914796 h 2743200"/>
              <a:gd name="connsiteX107" fmla="*/ 11369033 w 12191993"/>
              <a:gd name="connsiteY107" fmla="*/ 914796 h 2743200"/>
              <a:gd name="connsiteX108" fmla="*/ 10413993 w 12191993"/>
              <a:gd name="connsiteY108" fmla="*/ 360 h 2743200"/>
              <a:gd name="connsiteX109" fmla="*/ 11328393 w 12191993"/>
              <a:gd name="connsiteY109" fmla="*/ 360 h 2743200"/>
              <a:gd name="connsiteX110" fmla="*/ 11328393 w 12191993"/>
              <a:gd name="connsiteY110" fmla="*/ 914760 h 2743200"/>
              <a:gd name="connsiteX111" fmla="*/ 10413993 w 12191993"/>
              <a:gd name="connsiteY111" fmla="*/ 914760 h 2743200"/>
              <a:gd name="connsiteX112" fmla="*/ 9458953 w 12191993"/>
              <a:gd name="connsiteY112" fmla="*/ 324 h 2743200"/>
              <a:gd name="connsiteX113" fmla="*/ 10373353 w 12191993"/>
              <a:gd name="connsiteY113" fmla="*/ 324 h 2743200"/>
              <a:gd name="connsiteX114" fmla="*/ 10373353 w 12191993"/>
              <a:gd name="connsiteY114" fmla="*/ 914724 h 2743200"/>
              <a:gd name="connsiteX115" fmla="*/ 9458953 w 12191993"/>
              <a:gd name="connsiteY115" fmla="*/ 914724 h 2743200"/>
              <a:gd name="connsiteX116" fmla="*/ 8503913 w 12191993"/>
              <a:gd name="connsiteY116" fmla="*/ 288 h 2743200"/>
              <a:gd name="connsiteX117" fmla="*/ 9418313 w 12191993"/>
              <a:gd name="connsiteY117" fmla="*/ 288 h 2743200"/>
              <a:gd name="connsiteX118" fmla="*/ 9418313 w 12191993"/>
              <a:gd name="connsiteY118" fmla="*/ 914688 h 2743200"/>
              <a:gd name="connsiteX119" fmla="*/ 8503913 w 12191993"/>
              <a:gd name="connsiteY119" fmla="*/ 914688 h 2743200"/>
              <a:gd name="connsiteX120" fmla="*/ 7548873 w 12191993"/>
              <a:gd name="connsiteY120" fmla="*/ 252 h 2743200"/>
              <a:gd name="connsiteX121" fmla="*/ 8463273 w 12191993"/>
              <a:gd name="connsiteY121" fmla="*/ 252 h 2743200"/>
              <a:gd name="connsiteX122" fmla="*/ 8463273 w 12191993"/>
              <a:gd name="connsiteY122" fmla="*/ 914652 h 2743200"/>
              <a:gd name="connsiteX123" fmla="*/ 7548873 w 12191993"/>
              <a:gd name="connsiteY123" fmla="*/ 914652 h 2743200"/>
              <a:gd name="connsiteX124" fmla="*/ 6593833 w 12191993"/>
              <a:gd name="connsiteY124" fmla="*/ 216 h 2743200"/>
              <a:gd name="connsiteX125" fmla="*/ 7508233 w 12191993"/>
              <a:gd name="connsiteY125" fmla="*/ 216 h 2743200"/>
              <a:gd name="connsiteX126" fmla="*/ 7508233 w 12191993"/>
              <a:gd name="connsiteY126" fmla="*/ 914616 h 2743200"/>
              <a:gd name="connsiteX127" fmla="*/ 6593833 w 12191993"/>
              <a:gd name="connsiteY127" fmla="*/ 914616 h 2743200"/>
              <a:gd name="connsiteX128" fmla="*/ 5638794 w 12191993"/>
              <a:gd name="connsiteY128" fmla="*/ 180 h 2743200"/>
              <a:gd name="connsiteX129" fmla="*/ 6553193 w 12191993"/>
              <a:gd name="connsiteY129" fmla="*/ 180 h 2743200"/>
              <a:gd name="connsiteX130" fmla="*/ 6553193 w 12191993"/>
              <a:gd name="connsiteY130" fmla="*/ 914580 h 2743200"/>
              <a:gd name="connsiteX131" fmla="*/ 5638794 w 12191993"/>
              <a:gd name="connsiteY131" fmla="*/ 914580 h 2743200"/>
              <a:gd name="connsiteX132" fmla="*/ 4683756 w 12191993"/>
              <a:gd name="connsiteY132" fmla="*/ 144 h 2743200"/>
              <a:gd name="connsiteX133" fmla="*/ 5598154 w 12191993"/>
              <a:gd name="connsiteY133" fmla="*/ 144 h 2743200"/>
              <a:gd name="connsiteX134" fmla="*/ 5598154 w 12191993"/>
              <a:gd name="connsiteY134" fmla="*/ 914544 h 2743200"/>
              <a:gd name="connsiteX135" fmla="*/ 4683756 w 12191993"/>
              <a:gd name="connsiteY135" fmla="*/ 914544 h 2743200"/>
              <a:gd name="connsiteX136" fmla="*/ 3728717 w 12191993"/>
              <a:gd name="connsiteY136" fmla="*/ 108 h 2743200"/>
              <a:gd name="connsiteX137" fmla="*/ 4643115 w 12191993"/>
              <a:gd name="connsiteY137" fmla="*/ 108 h 2743200"/>
              <a:gd name="connsiteX138" fmla="*/ 4643115 w 12191993"/>
              <a:gd name="connsiteY138" fmla="*/ 914508 h 2743200"/>
              <a:gd name="connsiteX139" fmla="*/ 3728717 w 12191993"/>
              <a:gd name="connsiteY139" fmla="*/ 914508 h 2743200"/>
              <a:gd name="connsiteX140" fmla="*/ 2773679 w 12191993"/>
              <a:gd name="connsiteY140" fmla="*/ 72 h 2743200"/>
              <a:gd name="connsiteX141" fmla="*/ 3688077 w 12191993"/>
              <a:gd name="connsiteY141" fmla="*/ 72 h 2743200"/>
              <a:gd name="connsiteX142" fmla="*/ 3688077 w 12191993"/>
              <a:gd name="connsiteY142" fmla="*/ 914472 h 2743200"/>
              <a:gd name="connsiteX143" fmla="*/ 2773679 w 12191993"/>
              <a:gd name="connsiteY143" fmla="*/ 914472 h 2743200"/>
              <a:gd name="connsiteX144" fmla="*/ 1818638 w 12191993"/>
              <a:gd name="connsiteY144" fmla="*/ 36 h 2743200"/>
              <a:gd name="connsiteX145" fmla="*/ 2733039 w 12191993"/>
              <a:gd name="connsiteY145" fmla="*/ 36 h 2743200"/>
              <a:gd name="connsiteX146" fmla="*/ 2733039 w 12191993"/>
              <a:gd name="connsiteY146" fmla="*/ 914436 h 2743200"/>
              <a:gd name="connsiteX147" fmla="*/ 1818638 w 12191993"/>
              <a:gd name="connsiteY147" fmla="*/ 914436 h 2743200"/>
              <a:gd name="connsiteX148" fmla="*/ 863599 w 12191993"/>
              <a:gd name="connsiteY148" fmla="*/ 0 h 2743200"/>
              <a:gd name="connsiteX149" fmla="*/ 1777998 w 12191993"/>
              <a:gd name="connsiteY149" fmla="*/ 0 h 2743200"/>
              <a:gd name="connsiteX150" fmla="*/ 1777998 w 12191993"/>
              <a:gd name="connsiteY150" fmla="*/ 914400 h 2743200"/>
              <a:gd name="connsiteX151" fmla="*/ 863599 w 12191993"/>
              <a:gd name="connsiteY151" fmla="*/ 914400 h 2743200"/>
              <a:gd name="connsiteX152" fmla="*/ 0 w 12191993"/>
              <a:gd name="connsiteY152" fmla="*/ 0 h 2743200"/>
              <a:gd name="connsiteX153" fmla="*/ 822959 w 12191993"/>
              <a:gd name="connsiteY153" fmla="*/ 0 h 2743200"/>
              <a:gd name="connsiteX154" fmla="*/ 822959 w 12191993"/>
              <a:gd name="connsiteY154" fmla="*/ 914364 h 2743200"/>
              <a:gd name="connsiteX155" fmla="*/ 0 w 12191993"/>
              <a:gd name="connsiteY155" fmla="*/ 914364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2191993" h="2743200">
                <a:moveTo>
                  <a:pt x="11369033" y="1920642"/>
                </a:moveTo>
                <a:lnTo>
                  <a:pt x="12191993" y="1920642"/>
                </a:lnTo>
                <a:lnTo>
                  <a:pt x="12191993" y="2743200"/>
                </a:lnTo>
                <a:lnTo>
                  <a:pt x="11369033" y="2743200"/>
                </a:lnTo>
                <a:close/>
                <a:moveTo>
                  <a:pt x="10413993" y="1920606"/>
                </a:moveTo>
                <a:lnTo>
                  <a:pt x="11328393" y="1920606"/>
                </a:lnTo>
                <a:lnTo>
                  <a:pt x="11328393" y="2743200"/>
                </a:lnTo>
                <a:lnTo>
                  <a:pt x="10413993" y="2743200"/>
                </a:lnTo>
                <a:close/>
                <a:moveTo>
                  <a:pt x="9458953" y="1920570"/>
                </a:moveTo>
                <a:lnTo>
                  <a:pt x="10373353" y="1920570"/>
                </a:lnTo>
                <a:lnTo>
                  <a:pt x="10373353" y="2743200"/>
                </a:lnTo>
                <a:lnTo>
                  <a:pt x="9458953" y="2743200"/>
                </a:lnTo>
                <a:close/>
                <a:moveTo>
                  <a:pt x="8503913" y="1920534"/>
                </a:moveTo>
                <a:lnTo>
                  <a:pt x="9418313" y="1920534"/>
                </a:lnTo>
                <a:lnTo>
                  <a:pt x="9418313" y="2743200"/>
                </a:lnTo>
                <a:lnTo>
                  <a:pt x="8503913" y="2743200"/>
                </a:lnTo>
                <a:close/>
                <a:moveTo>
                  <a:pt x="7548873" y="1920498"/>
                </a:moveTo>
                <a:lnTo>
                  <a:pt x="8463273" y="1920498"/>
                </a:lnTo>
                <a:lnTo>
                  <a:pt x="8463273" y="2743200"/>
                </a:lnTo>
                <a:lnTo>
                  <a:pt x="7548873" y="2743200"/>
                </a:lnTo>
                <a:close/>
                <a:moveTo>
                  <a:pt x="6593833" y="1920462"/>
                </a:moveTo>
                <a:lnTo>
                  <a:pt x="7508233" y="1920462"/>
                </a:lnTo>
                <a:lnTo>
                  <a:pt x="7508233" y="2743200"/>
                </a:lnTo>
                <a:lnTo>
                  <a:pt x="6593833" y="2743200"/>
                </a:lnTo>
                <a:close/>
                <a:moveTo>
                  <a:pt x="5638794" y="1920426"/>
                </a:moveTo>
                <a:lnTo>
                  <a:pt x="6553193" y="1920426"/>
                </a:lnTo>
                <a:lnTo>
                  <a:pt x="6553193" y="2743200"/>
                </a:lnTo>
                <a:lnTo>
                  <a:pt x="5638794" y="2743200"/>
                </a:lnTo>
                <a:close/>
                <a:moveTo>
                  <a:pt x="4683756" y="1920390"/>
                </a:moveTo>
                <a:lnTo>
                  <a:pt x="5598154" y="1920390"/>
                </a:lnTo>
                <a:lnTo>
                  <a:pt x="5598154" y="2743200"/>
                </a:lnTo>
                <a:lnTo>
                  <a:pt x="4683756" y="2743200"/>
                </a:lnTo>
                <a:close/>
                <a:moveTo>
                  <a:pt x="3728717" y="1920354"/>
                </a:moveTo>
                <a:lnTo>
                  <a:pt x="4643115" y="1920354"/>
                </a:lnTo>
                <a:lnTo>
                  <a:pt x="4643115" y="2743200"/>
                </a:lnTo>
                <a:lnTo>
                  <a:pt x="3728717" y="2743200"/>
                </a:lnTo>
                <a:close/>
                <a:moveTo>
                  <a:pt x="2773678" y="1920318"/>
                </a:moveTo>
                <a:lnTo>
                  <a:pt x="3688077" y="1920318"/>
                </a:lnTo>
                <a:lnTo>
                  <a:pt x="3688077" y="2743200"/>
                </a:lnTo>
                <a:lnTo>
                  <a:pt x="2773678" y="2743200"/>
                </a:lnTo>
                <a:close/>
                <a:moveTo>
                  <a:pt x="1818638" y="1920282"/>
                </a:moveTo>
                <a:lnTo>
                  <a:pt x="2733039" y="1920282"/>
                </a:lnTo>
                <a:lnTo>
                  <a:pt x="2733039" y="2743200"/>
                </a:lnTo>
                <a:lnTo>
                  <a:pt x="1818638" y="2743200"/>
                </a:lnTo>
                <a:close/>
                <a:moveTo>
                  <a:pt x="863599" y="1920246"/>
                </a:moveTo>
                <a:lnTo>
                  <a:pt x="1777998" y="1920246"/>
                </a:lnTo>
                <a:lnTo>
                  <a:pt x="1777998" y="2743200"/>
                </a:lnTo>
                <a:lnTo>
                  <a:pt x="863599" y="2743200"/>
                </a:lnTo>
                <a:close/>
                <a:moveTo>
                  <a:pt x="0" y="1920210"/>
                </a:moveTo>
                <a:lnTo>
                  <a:pt x="822959" y="1920210"/>
                </a:lnTo>
                <a:lnTo>
                  <a:pt x="822959" y="2743200"/>
                </a:lnTo>
                <a:lnTo>
                  <a:pt x="0" y="2743200"/>
                </a:lnTo>
                <a:close/>
                <a:moveTo>
                  <a:pt x="11369033" y="960519"/>
                </a:moveTo>
                <a:lnTo>
                  <a:pt x="12191993" y="960519"/>
                </a:lnTo>
                <a:lnTo>
                  <a:pt x="12191993" y="1874919"/>
                </a:lnTo>
                <a:lnTo>
                  <a:pt x="11369033" y="1874919"/>
                </a:lnTo>
                <a:close/>
                <a:moveTo>
                  <a:pt x="10413993" y="960483"/>
                </a:moveTo>
                <a:lnTo>
                  <a:pt x="11328393" y="960483"/>
                </a:lnTo>
                <a:lnTo>
                  <a:pt x="11328393" y="1874883"/>
                </a:lnTo>
                <a:lnTo>
                  <a:pt x="10413993" y="1874883"/>
                </a:lnTo>
                <a:close/>
                <a:moveTo>
                  <a:pt x="9458953" y="960447"/>
                </a:moveTo>
                <a:lnTo>
                  <a:pt x="10373353" y="960447"/>
                </a:lnTo>
                <a:lnTo>
                  <a:pt x="10373353" y="1874847"/>
                </a:lnTo>
                <a:lnTo>
                  <a:pt x="9458953" y="1874847"/>
                </a:lnTo>
                <a:close/>
                <a:moveTo>
                  <a:pt x="8503913" y="960411"/>
                </a:moveTo>
                <a:lnTo>
                  <a:pt x="9418313" y="960411"/>
                </a:lnTo>
                <a:lnTo>
                  <a:pt x="9418313" y="1874811"/>
                </a:lnTo>
                <a:lnTo>
                  <a:pt x="8503913" y="1874811"/>
                </a:lnTo>
                <a:close/>
                <a:moveTo>
                  <a:pt x="7548873" y="960375"/>
                </a:moveTo>
                <a:lnTo>
                  <a:pt x="8463273" y="960375"/>
                </a:lnTo>
                <a:lnTo>
                  <a:pt x="8463273" y="1874775"/>
                </a:lnTo>
                <a:lnTo>
                  <a:pt x="7548873" y="1874775"/>
                </a:lnTo>
                <a:close/>
                <a:moveTo>
                  <a:pt x="6593833" y="960339"/>
                </a:moveTo>
                <a:lnTo>
                  <a:pt x="7508233" y="960339"/>
                </a:lnTo>
                <a:lnTo>
                  <a:pt x="7508233" y="1874739"/>
                </a:lnTo>
                <a:lnTo>
                  <a:pt x="6593833" y="1874739"/>
                </a:lnTo>
                <a:close/>
                <a:moveTo>
                  <a:pt x="5638794" y="960303"/>
                </a:moveTo>
                <a:lnTo>
                  <a:pt x="6553193" y="960303"/>
                </a:lnTo>
                <a:lnTo>
                  <a:pt x="6553193" y="1874703"/>
                </a:lnTo>
                <a:lnTo>
                  <a:pt x="5638794" y="1874703"/>
                </a:lnTo>
                <a:close/>
                <a:moveTo>
                  <a:pt x="4683756" y="960267"/>
                </a:moveTo>
                <a:lnTo>
                  <a:pt x="5598154" y="960267"/>
                </a:lnTo>
                <a:lnTo>
                  <a:pt x="5598154" y="1874667"/>
                </a:lnTo>
                <a:lnTo>
                  <a:pt x="4683756" y="1874667"/>
                </a:lnTo>
                <a:close/>
                <a:moveTo>
                  <a:pt x="3728717" y="960231"/>
                </a:moveTo>
                <a:lnTo>
                  <a:pt x="4643115" y="960231"/>
                </a:lnTo>
                <a:lnTo>
                  <a:pt x="4643115" y="1874631"/>
                </a:lnTo>
                <a:lnTo>
                  <a:pt x="3728717" y="1874631"/>
                </a:lnTo>
                <a:close/>
                <a:moveTo>
                  <a:pt x="2773678" y="960195"/>
                </a:moveTo>
                <a:lnTo>
                  <a:pt x="3688077" y="960195"/>
                </a:lnTo>
                <a:lnTo>
                  <a:pt x="3688077" y="1874595"/>
                </a:lnTo>
                <a:lnTo>
                  <a:pt x="2773678" y="1874595"/>
                </a:lnTo>
                <a:close/>
                <a:moveTo>
                  <a:pt x="1818638" y="960159"/>
                </a:moveTo>
                <a:lnTo>
                  <a:pt x="2733039" y="960159"/>
                </a:lnTo>
                <a:lnTo>
                  <a:pt x="2733039" y="1874559"/>
                </a:lnTo>
                <a:lnTo>
                  <a:pt x="1818638" y="1874559"/>
                </a:lnTo>
                <a:close/>
                <a:moveTo>
                  <a:pt x="863599" y="960123"/>
                </a:moveTo>
                <a:lnTo>
                  <a:pt x="1777998" y="960123"/>
                </a:lnTo>
                <a:lnTo>
                  <a:pt x="1777998" y="1874523"/>
                </a:lnTo>
                <a:lnTo>
                  <a:pt x="863599" y="1874523"/>
                </a:lnTo>
                <a:close/>
                <a:moveTo>
                  <a:pt x="0" y="960087"/>
                </a:moveTo>
                <a:lnTo>
                  <a:pt x="822959" y="960087"/>
                </a:lnTo>
                <a:lnTo>
                  <a:pt x="822959" y="1874487"/>
                </a:lnTo>
                <a:lnTo>
                  <a:pt x="0" y="1874487"/>
                </a:lnTo>
                <a:close/>
                <a:moveTo>
                  <a:pt x="11369033" y="396"/>
                </a:moveTo>
                <a:lnTo>
                  <a:pt x="12191993" y="396"/>
                </a:lnTo>
                <a:lnTo>
                  <a:pt x="12191993" y="914796"/>
                </a:lnTo>
                <a:lnTo>
                  <a:pt x="11369033" y="914796"/>
                </a:lnTo>
                <a:close/>
                <a:moveTo>
                  <a:pt x="10413993" y="360"/>
                </a:moveTo>
                <a:lnTo>
                  <a:pt x="11328393" y="360"/>
                </a:lnTo>
                <a:lnTo>
                  <a:pt x="11328393" y="914760"/>
                </a:lnTo>
                <a:lnTo>
                  <a:pt x="10413993" y="914760"/>
                </a:lnTo>
                <a:close/>
                <a:moveTo>
                  <a:pt x="9458953" y="324"/>
                </a:moveTo>
                <a:lnTo>
                  <a:pt x="10373353" y="324"/>
                </a:lnTo>
                <a:lnTo>
                  <a:pt x="10373353" y="914724"/>
                </a:lnTo>
                <a:lnTo>
                  <a:pt x="9458953" y="914724"/>
                </a:lnTo>
                <a:close/>
                <a:moveTo>
                  <a:pt x="8503913" y="288"/>
                </a:moveTo>
                <a:lnTo>
                  <a:pt x="9418313" y="288"/>
                </a:lnTo>
                <a:lnTo>
                  <a:pt x="9418313" y="914688"/>
                </a:lnTo>
                <a:lnTo>
                  <a:pt x="8503913" y="914688"/>
                </a:lnTo>
                <a:close/>
                <a:moveTo>
                  <a:pt x="7548873" y="252"/>
                </a:moveTo>
                <a:lnTo>
                  <a:pt x="8463273" y="252"/>
                </a:lnTo>
                <a:lnTo>
                  <a:pt x="8463273" y="914652"/>
                </a:lnTo>
                <a:lnTo>
                  <a:pt x="7548873" y="914652"/>
                </a:lnTo>
                <a:close/>
                <a:moveTo>
                  <a:pt x="6593833" y="216"/>
                </a:moveTo>
                <a:lnTo>
                  <a:pt x="7508233" y="216"/>
                </a:lnTo>
                <a:lnTo>
                  <a:pt x="7508233" y="914616"/>
                </a:lnTo>
                <a:lnTo>
                  <a:pt x="6593833" y="914616"/>
                </a:lnTo>
                <a:close/>
                <a:moveTo>
                  <a:pt x="5638794" y="180"/>
                </a:moveTo>
                <a:lnTo>
                  <a:pt x="6553193" y="180"/>
                </a:lnTo>
                <a:lnTo>
                  <a:pt x="6553193" y="914580"/>
                </a:lnTo>
                <a:lnTo>
                  <a:pt x="5638794" y="914580"/>
                </a:lnTo>
                <a:close/>
                <a:moveTo>
                  <a:pt x="4683756" y="144"/>
                </a:moveTo>
                <a:lnTo>
                  <a:pt x="5598154" y="144"/>
                </a:lnTo>
                <a:lnTo>
                  <a:pt x="5598154" y="914544"/>
                </a:lnTo>
                <a:lnTo>
                  <a:pt x="4683756" y="914544"/>
                </a:lnTo>
                <a:close/>
                <a:moveTo>
                  <a:pt x="3728717" y="108"/>
                </a:moveTo>
                <a:lnTo>
                  <a:pt x="4643115" y="108"/>
                </a:lnTo>
                <a:lnTo>
                  <a:pt x="4643115" y="914508"/>
                </a:lnTo>
                <a:lnTo>
                  <a:pt x="3728717" y="914508"/>
                </a:lnTo>
                <a:close/>
                <a:moveTo>
                  <a:pt x="2773679" y="72"/>
                </a:moveTo>
                <a:lnTo>
                  <a:pt x="3688077" y="72"/>
                </a:lnTo>
                <a:lnTo>
                  <a:pt x="3688077" y="914472"/>
                </a:lnTo>
                <a:lnTo>
                  <a:pt x="2773679" y="914472"/>
                </a:lnTo>
                <a:close/>
                <a:moveTo>
                  <a:pt x="1818638" y="36"/>
                </a:moveTo>
                <a:lnTo>
                  <a:pt x="2733039" y="36"/>
                </a:lnTo>
                <a:lnTo>
                  <a:pt x="2733039" y="914436"/>
                </a:lnTo>
                <a:lnTo>
                  <a:pt x="1818638" y="914436"/>
                </a:lnTo>
                <a:close/>
                <a:moveTo>
                  <a:pt x="863599" y="0"/>
                </a:moveTo>
                <a:lnTo>
                  <a:pt x="1777998" y="0"/>
                </a:lnTo>
                <a:lnTo>
                  <a:pt x="1777998" y="914400"/>
                </a:lnTo>
                <a:lnTo>
                  <a:pt x="863599" y="914400"/>
                </a:lnTo>
                <a:close/>
                <a:moveTo>
                  <a:pt x="0" y="0"/>
                </a:moveTo>
                <a:lnTo>
                  <a:pt x="822959" y="0"/>
                </a:lnTo>
                <a:lnTo>
                  <a:pt x="822959" y="914364"/>
                </a:lnTo>
                <a:lnTo>
                  <a:pt x="0" y="914364"/>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36146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checkerboard(across)">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Why U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1" name="Picture Placeholder 3"/>
          <p:cNvSpPr>
            <a:spLocks noGrp="1"/>
          </p:cNvSpPr>
          <p:nvPr>
            <p:ph type="pic" sz="quarter" idx="10"/>
          </p:nvPr>
        </p:nvSpPr>
        <p:spPr>
          <a:xfrm>
            <a:off x="0" y="0"/>
            <a:ext cx="4114800" cy="5143500"/>
          </a:xfrm>
          <a:noFill/>
        </p:spPr>
        <p:txBody>
          <a:bodyPr anchor="ctr" anchorCtr="0"/>
          <a:lstStyle>
            <a:lvl1pPr algn="ctr">
              <a:defRPr/>
            </a:lvl1pPr>
          </a:lstStyle>
          <a:p>
            <a:endParaRPr lang="en-US" dirty="0"/>
          </a:p>
        </p:txBody>
      </p:sp>
    </p:spTree>
    <p:extLst>
      <p:ext uri="{BB962C8B-B14F-4D97-AF65-F5344CB8AC3E}">
        <p14:creationId xmlns:p14="http://schemas.microsoft.com/office/powerpoint/2010/main" val="15368013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01_Gradient">
    <p:bg>
      <p:bgPr>
        <a:gradFill rotWithShape="0">
          <a:gsLst>
            <a:gs pos="0">
              <a:srgbClr val="003341"/>
            </a:gs>
            <a:gs pos="85001">
              <a:srgbClr val="007EA2"/>
            </a:gs>
            <a:gs pos="100000">
              <a:srgbClr val="007EA2"/>
            </a:gs>
          </a:gsLst>
          <a:lin ang="4200000"/>
        </a:gradFill>
        <a:effectLst/>
      </p:bgPr>
    </p:bg>
    <p:spTree>
      <p:nvGrpSpPr>
        <p:cNvPr id="1" name=""/>
        <p:cNvGrpSpPr/>
        <p:nvPr/>
      </p:nvGrpSpPr>
      <p:grpSpPr>
        <a:xfrm>
          <a:off x="0" y="0"/>
          <a:ext cx="0" cy="0"/>
          <a:chOff x="0" y="0"/>
          <a:chExt cx="0" cy="0"/>
        </a:xfrm>
      </p:grpSpPr>
      <p:pic>
        <p:nvPicPr>
          <p:cNvPr id="4" name="Picture 8" descr="H:\000 Clients\lambie nairn\Telefonica_Vive\Telefonica_blue.png"/>
          <p:cNvPicPr>
            <a:picLocks noChangeAspect="1" noChangeArrowheads="1"/>
          </p:cNvPicPr>
          <p:nvPr userDrawn="1"/>
        </p:nvPicPr>
        <p:blipFill>
          <a:blip r:embed="rId2">
            <a:lum bright="100000" contrast="-100000"/>
          </a:blip>
          <a:srcRect/>
          <a:stretch>
            <a:fillRect/>
          </a:stretch>
        </p:blipFill>
        <p:spPr bwMode="auto">
          <a:xfrm>
            <a:off x="7280355" y="4606536"/>
            <a:ext cx="1444625" cy="301228"/>
          </a:xfrm>
          <a:prstGeom prst="rect">
            <a:avLst/>
          </a:prstGeom>
          <a:noFill/>
          <a:ln w="9525">
            <a:noFill/>
            <a:miter lim="800000"/>
            <a:headEnd/>
            <a:tailEnd/>
          </a:ln>
        </p:spPr>
      </p:pic>
      <p:sp>
        <p:nvSpPr>
          <p:cNvPr id="2" name="Title 1"/>
          <p:cNvSpPr>
            <a:spLocks noGrp="1"/>
          </p:cNvSpPr>
          <p:nvPr>
            <p:ph type="ctrTitle"/>
          </p:nvPr>
        </p:nvSpPr>
        <p:spPr>
          <a:xfrm>
            <a:off x="358713" y="1257358"/>
            <a:ext cx="8366260" cy="827485"/>
          </a:xfrm>
        </p:spPr>
        <p:txBody>
          <a:bodyPr tIns="0" rIns="0" bIns="0">
            <a:noAutofit/>
          </a:bodyPr>
          <a:lstStyle>
            <a:lvl1pPr algn="l">
              <a:lnSpc>
                <a:spcPct val="90000"/>
              </a:lnSpc>
              <a:defRPr sz="3600">
                <a:solidFill>
                  <a:schemeClr val="bg1"/>
                </a:solidFill>
              </a:defRPr>
            </a:lvl1pPr>
          </a:lstStyle>
          <a:p>
            <a:r>
              <a:rPr lang="en-US" dirty="0"/>
              <a:t>Click to edit Master title style</a:t>
            </a:r>
            <a:endParaRPr lang="en-GB" dirty="0"/>
          </a:p>
        </p:txBody>
      </p:sp>
      <p:sp>
        <p:nvSpPr>
          <p:cNvPr id="7" name="Text Placeholder 6"/>
          <p:cNvSpPr>
            <a:spLocks noGrp="1"/>
          </p:cNvSpPr>
          <p:nvPr>
            <p:ph type="body" sz="quarter" idx="10"/>
          </p:nvPr>
        </p:nvSpPr>
        <p:spPr>
          <a:xfrm>
            <a:off x="349215" y="-78806"/>
            <a:ext cx="1945937" cy="1171800"/>
          </a:xfrm>
        </p:spPr>
        <p:txBody>
          <a:bodyPr/>
          <a:lstStyle>
            <a:lvl1pPr marL="0" indent="0">
              <a:buNone/>
              <a:defRPr sz="12500">
                <a:solidFill>
                  <a:schemeClr val="tx2"/>
                </a:solidFill>
                <a:latin typeface="+mj-lt"/>
              </a:defRPr>
            </a:lvl1pPr>
          </a:lstStyle>
          <a:p>
            <a:pPr lvl="0"/>
            <a:r>
              <a:rPr lang="en-US"/>
              <a:t>Click to edit Master text styles</a:t>
            </a:r>
          </a:p>
        </p:txBody>
      </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mpany Structur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30" name="Picture Placeholder 3"/>
          <p:cNvSpPr>
            <a:spLocks noGrp="1"/>
          </p:cNvSpPr>
          <p:nvPr>
            <p:ph type="pic" sz="quarter" idx="11"/>
          </p:nvPr>
        </p:nvSpPr>
        <p:spPr>
          <a:xfrm>
            <a:off x="3749049" y="1954531"/>
            <a:ext cx="548640" cy="548640"/>
          </a:xfrm>
          <a:solidFill>
            <a:schemeClr val="tx2">
              <a:lumMod val="85000"/>
            </a:schemeClr>
          </a:solidFill>
        </p:spPr>
        <p:txBody>
          <a:bodyPr anchor="ctr" anchorCtr="0"/>
          <a:lstStyle>
            <a:lvl1pPr algn="ctr">
              <a:defRPr/>
            </a:lvl1pPr>
          </a:lstStyle>
          <a:p>
            <a:endParaRPr lang="en-US" dirty="0"/>
          </a:p>
        </p:txBody>
      </p:sp>
      <p:sp>
        <p:nvSpPr>
          <p:cNvPr id="31" name="Picture Placeholder 3"/>
          <p:cNvSpPr>
            <a:spLocks noGrp="1"/>
          </p:cNvSpPr>
          <p:nvPr>
            <p:ph type="pic" sz="quarter" idx="12"/>
          </p:nvPr>
        </p:nvSpPr>
        <p:spPr>
          <a:xfrm>
            <a:off x="1211617" y="3051799"/>
            <a:ext cx="548640" cy="548640"/>
          </a:xfrm>
          <a:solidFill>
            <a:schemeClr val="tx2">
              <a:lumMod val="85000"/>
            </a:schemeClr>
          </a:solidFill>
        </p:spPr>
        <p:txBody>
          <a:bodyPr anchor="ctr" anchorCtr="0"/>
          <a:lstStyle>
            <a:lvl1pPr algn="ctr">
              <a:defRPr/>
            </a:lvl1pPr>
          </a:lstStyle>
          <a:p>
            <a:endParaRPr lang="en-US" dirty="0"/>
          </a:p>
        </p:txBody>
      </p:sp>
      <p:sp>
        <p:nvSpPr>
          <p:cNvPr id="32" name="Picture Placeholder 3"/>
          <p:cNvSpPr>
            <a:spLocks noGrp="1"/>
          </p:cNvSpPr>
          <p:nvPr>
            <p:ph type="pic" sz="quarter" idx="13"/>
          </p:nvPr>
        </p:nvSpPr>
        <p:spPr>
          <a:xfrm>
            <a:off x="3749043" y="3051799"/>
            <a:ext cx="548640" cy="548640"/>
          </a:xfrm>
          <a:solidFill>
            <a:schemeClr val="tx2">
              <a:lumMod val="85000"/>
            </a:schemeClr>
          </a:solidFill>
        </p:spPr>
        <p:txBody>
          <a:bodyPr anchor="ctr" anchorCtr="0"/>
          <a:lstStyle>
            <a:lvl1pPr algn="ctr">
              <a:defRPr/>
            </a:lvl1pPr>
          </a:lstStyle>
          <a:p>
            <a:endParaRPr lang="en-US" dirty="0"/>
          </a:p>
        </p:txBody>
      </p:sp>
      <p:sp>
        <p:nvSpPr>
          <p:cNvPr id="33" name="Picture Placeholder 3"/>
          <p:cNvSpPr>
            <a:spLocks noGrp="1"/>
          </p:cNvSpPr>
          <p:nvPr>
            <p:ph type="pic" sz="quarter" idx="14"/>
          </p:nvPr>
        </p:nvSpPr>
        <p:spPr>
          <a:xfrm>
            <a:off x="6286469" y="3051799"/>
            <a:ext cx="548640" cy="548640"/>
          </a:xfrm>
          <a:solidFill>
            <a:schemeClr val="tx2">
              <a:lumMod val="85000"/>
            </a:schemeClr>
          </a:solidFill>
        </p:spPr>
        <p:txBody>
          <a:bodyPr anchor="ctr" anchorCtr="0"/>
          <a:lstStyle>
            <a:lvl1pPr algn="ctr">
              <a:defRPr/>
            </a:lvl1pPr>
          </a:lstStyle>
          <a:p>
            <a:endParaRPr lang="en-US" dirty="0"/>
          </a:p>
        </p:txBody>
      </p:sp>
      <p:sp>
        <p:nvSpPr>
          <p:cNvPr id="34" name="Picture Placeholder 3"/>
          <p:cNvSpPr>
            <a:spLocks noGrp="1"/>
          </p:cNvSpPr>
          <p:nvPr>
            <p:ph type="pic" sz="quarter" idx="15"/>
          </p:nvPr>
        </p:nvSpPr>
        <p:spPr>
          <a:xfrm>
            <a:off x="731556" y="4149073"/>
            <a:ext cx="548640" cy="548640"/>
          </a:xfrm>
          <a:solidFill>
            <a:schemeClr val="tx2">
              <a:lumMod val="85000"/>
            </a:schemeClr>
          </a:solidFill>
        </p:spPr>
        <p:txBody>
          <a:bodyPr anchor="ctr" anchorCtr="0"/>
          <a:lstStyle>
            <a:lvl1pPr algn="ctr">
              <a:defRPr/>
            </a:lvl1pPr>
          </a:lstStyle>
          <a:p>
            <a:endParaRPr lang="en-US" dirty="0"/>
          </a:p>
        </p:txBody>
      </p:sp>
      <p:sp>
        <p:nvSpPr>
          <p:cNvPr id="35" name="Picture Placeholder 3"/>
          <p:cNvSpPr>
            <a:spLocks noGrp="1"/>
          </p:cNvSpPr>
          <p:nvPr>
            <p:ph type="pic" sz="quarter" idx="16"/>
          </p:nvPr>
        </p:nvSpPr>
        <p:spPr>
          <a:xfrm>
            <a:off x="2742482" y="4149073"/>
            <a:ext cx="548640" cy="548640"/>
          </a:xfrm>
          <a:solidFill>
            <a:schemeClr val="tx2">
              <a:lumMod val="85000"/>
            </a:schemeClr>
          </a:solidFill>
        </p:spPr>
        <p:txBody>
          <a:bodyPr anchor="ctr" anchorCtr="0"/>
          <a:lstStyle>
            <a:lvl1pPr algn="ctr">
              <a:defRPr/>
            </a:lvl1pPr>
          </a:lstStyle>
          <a:p>
            <a:endParaRPr lang="en-US" dirty="0"/>
          </a:p>
        </p:txBody>
      </p:sp>
      <p:sp>
        <p:nvSpPr>
          <p:cNvPr id="36" name="Picture Placeholder 3"/>
          <p:cNvSpPr>
            <a:spLocks noGrp="1"/>
          </p:cNvSpPr>
          <p:nvPr>
            <p:ph type="pic" sz="quarter" idx="17"/>
          </p:nvPr>
        </p:nvSpPr>
        <p:spPr>
          <a:xfrm>
            <a:off x="4755610" y="4149073"/>
            <a:ext cx="548640" cy="548640"/>
          </a:xfrm>
          <a:solidFill>
            <a:schemeClr val="tx2">
              <a:lumMod val="85000"/>
            </a:schemeClr>
          </a:solidFill>
        </p:spPr>
        <p:txBody>
          <a:bodyPr anchor="ctr" anchorCtr="0"/>
          <a:lstStyle>
            <a:lvl1pPr algn="ctr">
              <a:defRPr/>
            </a:lvl1pPr>
          </a:lstStyle>
          <a:p>
            <a:endParaRPr lang="en-US" dirty="0"/>
          </a:p>
        </p:txBody>
      </p:sp>
      <p:sp>
        <p:nvSpPr>
          <p:cNvPr id="37" name="Picture Placeholder 3"/>
          <p:cNvSpPr>
            <a:spLocks noGrp="1"/>
          </p:cNvSpPr>
          <p:nvPr>
            <p:ph type="pic" sz="quarter" idx="18"/>
          </p:nvPr>
        </p:nvSpPr>
        <p:spPr>
          <a:xfrm>
            <a:off x="6766530" y="4149073"/>
            <a:ext cx="548640" cy="548640"/>
          </a:xfrm>
          <a:solidFill>
            <a:schemeClr val="tx2">
              <a:lumMod val="85000"/>
            </a:schemeClr>
          </a:solidFill>
        </p:spPr>
        <p:txBody>
          <a:bodyPr anchor="ctr" anchorCtr="0"/>
          <a:lstStyle>
            <a:lvl1pPr algn="ctr">
              <a:defRPr/>
            </a:lvl1pPr>
          </a:lstStyle>
          <a:p>
            <a:endParaRPr lang="en-US" dirty="0"/>
          </a:p>
        </p:txBody>
      </p:sp>
      <p:sp>
        <p:nvSpPr>
          <p:cNvPr id="29" name="Picture Placeholder 3"/>
          <p:cNvSpPr>
            <a:spLocks noGrp="1"/>
          </p:cNvSpPr>
          <p:nvPr>
            <p:ph type="pic" sz="quarter" idx="10"/>
          </p:nvPr>
        </p:nvSpPr>
        <p:spPr>
          <a:xfrm>
            <a:off x="3749043" y="1069249"/>
            <a:ext cx="548640" cy="548640"/>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54954266"/>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lient List">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20" name="Rectangle 19"/>
          <p:cNvSpPr/>
          <p:nvPr userDrawn="1"/>
        </p:nvSpPr>
        <p:spPr>
          <a:xfrm>
            <a:off x="731538" y="1363815"/>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1" name="Rectangle 20"/>
          <p:cNvSpPr/>
          <p:nvPr userDrawn="1"/>
        </p:nvSpPr>
        <p:spPr>
          <a:xfrm>
            <a:off x="731538" y="2392511"/>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2" name="Rectangle 21"/>
          <p:cNvSpPr/>
          <p:nvPr userDrawn="1"/>
        </p:nvSpPr>
        <p:spPr>
          <a:xfrm>
            <a:off x="3406141" y="1363815"/>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3" name="Rectangle 22"/>
          <p:cNvSpPr/>
          <p:nvPr userDrawn="1"/>
        </p:nvSpPr>
        <p:spPr>
          <a:xfrm>
            <a:off x="3406141" y="2392511"/>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4" name="Rectangle 23"/>
          <p:cNvSpPr/>
          <p:nvPr userDrawn="1"/>
        </p:nvSpPr>
        <p:spPr>
          <a:xfrm>
            <a:off x="6080744" y="1363815"/>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5" name="Rectangle 24"/>
          <p:cNvSpPr/>
          <p:nvPr userDrawn="1"/>
        </p:nvSpPr>
        <p:spPr>
          <a:xfrm>
            <a:off x="6080744" y="2392511"/>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6" name="Picture Placeholder 3"/>
          <p:cNvSpPr>
            <a:spLocks noGrp="1"/>
          </p:cNvSpPr>
          <p:nvPr>
            <p:ph type="pic" sz="quarter" idx="10"/>
          </p:nvPr>
        </p:nvSpPr>
        <p:spPr>
          <a:xfrm>
            <a:off x="800141" y="1432395"/>
            <a:ext cx="2194536" cy="548640"/>
          </a:xfrm>
          <a:solidFill>
            <a:schemeClr val="tx2">
              <a:lumMod val="95000"/>
            </a:schemeClr>
          </a:solidFill>
        </p:spPr>
        <p:txBody>
          <a:bodyPr anchor="ctr" anchorCtr="0"/>
          <a:lstStyle>
            <a:lvl1pPr algn="ctr">
              <a:defRPr/>
            </a:lvl1pPr>
          </a:lstStyle>
          <a:p>
            <a:endParaRPr lang="en-US" dirty="0"/>
          </a:p>
        </p:txBody>
      </p:sp>
      <p:sp>
        <p:nvSpPr>
          <p:cNvPr id="27" name="Picture Placeholder 3"/>
          <p:cNvSpPr>
            <a:spLocks noGrp="1"/>
          </p:cNvSpPr>
          <p:nvPr>
            <p:ph type="pic" sz="quarter" idx="11"/>
          </p:nvPr>
        </p:nvSpPr>
        <p:spPr>
          <a:xfrm>
            <a:off x="3474732" y="1432395"/>
            <a:ext cx="2194536" cy="548640"/>
          </a:xfrm>
          <a:solidFill>
            <a:schemeClr val="tx2">
              <a:lumMod val="95000"/>
            </a:schemeClr>
          </a:solidFill>
        </p:spPr>
        <p:txBody>
          <a:bodyPr anchor="ctr" anchorCtr="0"/>
          <a:lstStyle>
            <a:lvl1pPr algn="ctr">
              <a:defRPr/>
            </a:lvl1pPr>
          </a:lstStyle>
          <a:p>
            <a:endParaRPr lang="en-US" dirty="0"/>
          </a:p>
        </p:txBody>
      </p:sp>
      <p:sp>
        <p:nvSpPr>
          <p:cNvPr id="28" name="Picture Placeholder 3"/>
          <p:cNvSpPr>
            <a:spLocks noGrp="1"/>
          </p:cNvSpPr>
          <p:nvPr>
            <p:ph type="pic" sz="quarter" idx="12"/>
          </p:nvPr>
        </p:nvSpPr>
        <p:spPr>
          <a:xfrm>
            <a:off x="6149323" y="1432395"/>
            <a:ext cx="2194536" cy="548640"/>
          </a:xfrm>
          <a:solidFill>
            <a:schemeClr val="tx2">
              <a:lumMod val="95000"/>
            </a:schemeClr>
          </a:solidFill>
        </p:spPr>
        <p:txBody>
          <a:bodyPr anchor="ctr" anchorCtr="0"/>
          <a:lstStyle>
            <a:lvl1pPr algn="ctr">
              <a:defRPr/>
            </a:lvl1pPr>
          </a:lstStyle>
          <a:p>
            <a:endParaRPr lang="en-US" dirty="0"/>
          </a:p>
        </p:txBody>
      </p:sp>
      <p:sp>
        <p:nvSpPr>
          <p:cNvPr id="29" name="Picture Placeholder 3"/>
          <p:cNvSpPr>
            <a:spLocks noGrp="1"/>
          </p:cNvSpPr>
          <p:nvPr>
            <p:ph type="pic" sz="quarter" idx="13"/>
          </p:nvPr>
        </p:nvSpPr>
        <p:spPr>
          <a:xfrm>
            <a:off x="800141" y="2461091"/>
            <a:ext cx="2194536" cy="548640"/>
          </a:xfrm>
          <a:solidFill>
            <a:schemeClr val="tx2">
              <a:lumMod val="95000"/>
            </a:schemeClr>
          </a:solidFill>
        </p:spPr>
        <p:txBody>
          <a:bodyPr anchor="ctr" anchorCtr="0"/>
          <a:lstStyle>
            <a:lvl1pPr algn="ctr">
              <a:defRPr/>
            </a:lvl1pPr>
          </a:lstStyle>
          <a:p>
            <a:endParaRPr lang="en-US" dirty="0"/>
          </a:p>
        </p:txBody>
      </p:sp>
      <p:sp>
        <p:nvSpPr>
          <p:cNvPr id="30" name="Picture Placeholder 3"/>
          <p:cNvSpPr>
            <a:spLocks noGrp="1"/>
          </p:cNvSpPr>
          <p:nvPr>
            <p:ph type="pic" sz="quarter" idx="14"/>
          </p:nvPr>
        </p:nvSpPr>
        <p:spPr>
          <a:xfrm>
            <a:off x="3474732" y="2461091"/>
            <a:ext cx="2194536" cy="548640"/>
          </a:xfrm>
          <a:solidFill>
            <a:schemeClr val="tx2">
              <a:lumMod val="95000"/>
            </a:schemeClr>
          </a:solidFill>
        </p:spPr>
        <p:txBody>
          <a:bodyPr anchor="ctr" anchorCtr="0"/>
          <a:lstStyle>
            <a:lvl1pPr algn="ctr">
              <a:defRPr/>
            </a:lvl1pPr>
          </a:lstStyle>
          <a:p>
            <a:endParaRPr lang="en-US" dirty="0"/>
          </a:p>
        </p:txBody>
      </p:sp>
      <p:sp>
        <p:nvSpPr>
          <p:cNvPr id="31" name="Picture Placeholder 3"/>
          <p:cNvSpPr>
            <a:spLocks noGrp="1"/>
          </p:cNvSpPr>
          <p:nvPr>
            <p:ph type="pic" sz="quarter" idx="15"/>
          </p:nvPr>
        </p:nvSpPr>
        <p:spPr>
          <a:xfrm>
            <a:off x="6149323" y="2461091"/>
            <a:ext cx="2194536" cy="548640"/>
          </a:xfrm>
          <a:solidFill>
            <a:schemeClr val="tx2">
              <a:lumMod val="9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2329639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anim calcmode="lin" valueType="num">
                                      <p:cBhvr>
                                        <p:cTn id="10" dur="500" fill="hold"/>
                                        <p:tgtEl>
                                          <p:spTgt spid="20"/>
                                        </p:tgtEl>
                                        <p:attrNameLst>
                                          <p:attrName>ppt_x</p:attrName>
                                        </p:attrNameLst>
                                      </p:cBhvr>
                                      <p:tavLst>
                                        <p:tav tm="0">
                                          <p:val>
                                            <p:fltVal val="0.5"/>
                                          </p:val>
                                        </p:tav>
                                        <p:tav tm="100000">
                                          <p:val>
                                            <p:strVal val="#ppt_x"/>
                                          </p:val>
                                        </p:tav>
                                      </p:tavLst>
                                    </p:anim>
                                    <p:anim calcmode="lin" valueType="num">
                                      <p:cBhvr>
                                        <p:cTn id="11" dur="500" fill="hold"/>
                                        <p:tgtEl>
                                          <p:spTgt spid="20"/>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26"/>
                                        </p:tgtEl>
                                        <p:attrNameLst>
                                          <p:attrName>style.visibility</p:attrName>
                                        </p:attrNameLst>
                                      </p:cBhvr>
                                      <p:to>
                                        <p:strVal val="visible"/>
                                      </p:to>
                                    </p:set>
                                    <p:anim calcmode="lin" valueType="num">
                                      <p:cBhvr>
                                        <p:cTn id="14" dur="500" fill="hold"/>
                                        <p:tgtEl>
                                          <p:spTgt spid="26"/>
                                        </p:tgtEl>
                                        <p:attrNameLst>
                                          <p:attrName>ppt_w</p:attrName>
                                        </p:attrNameLst>
                                      </p:cBhvr>
                                      <p:tavLst>
                                        <p:tav tm="0">
                                          <p:val>
                                            <p:fltVal val="0"/>
                                          </p:val>
                                        </p:tav>
                                        <p:tav tm="100000">
                                          <p:val>
                                            <p:strVal val="#ppt_w"/>
                                          </p:val>
                                        </p:tav>
                                      </p:tavLst>
                                    </p:anim>
                                    <p:anim calcmode="lin" valueType="num">
                                      <p:cBhvr>
                                        <p:cTn id="15" dur="500" fill="hold"/>
                                        <p:tgtEl>
                                          <p:spTgt spid="26"/>
                                        </p:tgtEl>
                                        <p:attrNameLst>
                                          <p:attrName>ppt_h</p:attrName>
                                        </p:attrNameLst>
                                      </p:cBhvr>
                                      <p:tavLst>
                                        <p:tav tm="0">
                                          <p:val>
                                            <p:fltVal val="0"/>
                                          </p:val>
                                        </p:tav>
                                        <p:tav tm="100000">
                                          <p:val>
                                            <p:strVal val="#ppt_h"/>
                                          </p:val>
                                        </p:tav>
                                      </p:tavLst>
                                    </p:anim>
                                    <p:animEffect transition="in" filter="fade">
                                      <p:cBhvr>
                                        <p:cTn id="16" dur="500"/>
                                        <p:tgtEl>
                                          <p:spTgt spid="26"/>
                                        </p:tgtEl>
                                      </p:cBhvr>
                                    </p:animEffect>
                                    <p:anim calcmode="lin" valueType="num">
                                      <p:cBhvr>
                                        <p:cTn id="17" dur="500" fill="hold"/>
                                        <p:tgtEl>
                                          <p:spTgt spid="26"/>
                                        </p:tgtEl>
                                        <p:attrNameLst>
                                          <p:attrName>ppt_x</p:attrName>
                                        </p:attrNameLst>
                                      </p:cBhvr>
                                      <p:tavLst>
                                        <p:tav tm="0">
                                          <p:val>
                                            <p:fltVal val="0.5"/>
                                          </p:val>
                                        </p:tav>
                                        <p:tav tm="100000">
                                          <p:val>
                                            <p:strVal val="#ppt_x"/>
                                          </p:val>
                                        </p:tav>
                                      </p:tavLst>
                                    </p:anim>
                                    <p:anim calcmode="lin" valueType="num">
                                      <p:cBhvr>
                                        <p:cTn id="18" dur="500" fill="hold"/>
                                        <p:tgtEl>
                                          <p:spTgt spid="26"/>
                                        </p:tgtEl>
                                        <p:attrNameLst>
                                          <p:attrName>ppt_y</p:attrName>
                                        </p:attrNameLst>
                                      </p:cBhvr>
                                      <p:tavLst>
                                        <p:tav tm="0">
                                          <p:val>
                                            <p:fltVal val="0.5"/>
                                          </p:val>
                                        </p:tav>
                                        <p:tav tm="100000">
                                          <p:val>
                                            <p:strVal val="#ppt_y"/>
                                          </p:val>
                                        </p:tav>
                                      </p:tavLst>
                                    </p:anim>
                                  </p:childTnLst>
                                </p:cTn>
                              </p:par>
                            </p:childTnLst>
                          </p:cTn>
                        </p:par>
                        <p:par>
                          <p:cTn id="19" fill="hold">
                            <p:stCondLst>
                              <p:cond delay="500"/>
                            </p:stCondLst>
                            <p:childTnLst>
                              <p:par>
                                <p:cTn id="20" presetID="53" presetClass="entr" presetSubtype="52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p:cTn id="22" dur="500" fill="hold"/>
                                        <p:tgtEl>
                                          <p:spTgt spid="22"/>
                                        </p:tgtEl>
                                        <p:attrNameLst>
                                          <p:attrName>ppt_w</p:attrName>
                                        </p:attrNameLst>
                                      </p:cBhvr>
                                      <p:tavLst>
                                        <p:tav tm="0">
                                          <p:val>
                                            <p:fltVal val="0"/>
                                          </p:val>
                                        </p:tav>
                                        <p:tav tm="100000">
                                          <p:val>
                                            <p:strVal val="#ppt_w"/>
                                          </p:val>
                                        </p:tav>
                                      </p:tavLst>
                                    </p:anim>
                                    <p:anim calcmode="lin" valueType="num">
                                      <p:cBhvr>
                                        <p:cTn id="23" dur="500" fill="hold"/>
                                        <p:tgtEl>
                                          <p:spTgt spid="22"/>
                                        </p:tgtEl>
                                        <p:attrNameLst>
                                          <p:attrName>ppt_h</p:attrName>
                                        </p:attrNameLst>
                                      </p:cBhvr>
                                      <p:tavLst>
                                        <p:tav tm="0">
                                          <p:val>
                                            <p:fltVal val="0"/>
                                          </p:val>
                                        </p:tav>
                                        <p:tav tm="100000">
                                          <p:val>
                                            <p:strVal val="#ppt_h"/>
                                          </p:val>
                                        </p:tav>
                                      </p:tavLst>
                                    </p:anim>
                                    <p:animEffect transition="in" filter="fade">
                                      <p:cBhvr>
                                        <p:cTn id="24" dur="500"/>
                                        <p:tgtEl>
                                          <p:spTgt spid="22"/>
                                        </p:tgtEl>
                                      </p:cBhvr>
                                    </p:animEffect>
                                    <p:anim calcmode="lin" valueType="num">
                                      <p:cBhvr>
                                        <p:cTn id="25" dur="500" fill="hold"/>
                                        <p:tgtEl>
                                          <p:spTgt spid="22"/>
                                        </p:tgtEl>
                                        <p:attrNameLst>
                                          <p:attrName>ppt_x</p:attrName>
                                        </p:attrNameLst>
                                      </p:cBhvr>
                                      <p:tavLst>
                                        <p:tav tm="0">
                                          <p:val>
                                            <p:fltVal val="0.5"/>
                                          </p:val>
                                        </p:tav>
                                        <p:tav tm="100000">
                                          <p:val>
                                            <p:strVal val="#ppt_x"/>
                                          </p:val>
                                        </p:tav>
                                      </p:tavLst>
                                    </p:anim>
                                    <p:anim calcmode="lin" valueType="num">
                                      <p:cBhvr>
                                        <p:cTn id="26" dur="500" fill="hold"/>
                                        <p:tgtEl>
                                          <p:spTgt spid="22"/>
                                        </p:tgtEl>
                                        <p:attrNameLst>
                                          <p:attrName>ppt_y</p:attrName>
                                        </p:attrNameLst>
                                      </p:cBhvr>
                                      <p:tavLst>
                                        <p:tav tm="0">
                                          <p:val>
                                            <p:fltVal val="0.5"/>
                                          </p:val>
                                        </p:tav>
                                        <p:tav tm="100000">
                                          <p:val>
                                            <p:strVal val="#ppt_y"/>
                                          </p:val>
                                        </p:tav>
                                      </p:tavLst>
                                    </p:anim>
                                  </p:childTnLst>
                                </p:cTn>
                              </p:par>
                              <p:par>
                                <p:cTn id="27" presetID="53" presetClass="entr" presetSubtype="528"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anim calcmode="lin" valueType="num">
                                      <p:cBhvr>
                                        <p:cTn id="29" dur="500" fill="hold"/>
                                        <p:tgtEl>
                                          <p:spTgt spid="27"/>
                                        </p:tgtEl>
                                        <p:attrNameLst>
                                          <p:attrName>ppt_w</p:attrName>
                                        </p:attrNameLst>
                                      </p:cBhvr>
                                      <p:tavLst>
                                        <p:tav tm="0">
                                          <p:val>
                                            <p:fltVal val="0"/>
                                          </p:val>
                                        </p:tav>
                                        <p:tav tm="100000">
                                          <p:val>
                                            <p:strVal val="#ppt_w"/>
                                          </p:val>
                                        </p:tav>
                                      </p:tavLst>
                                    </p:anim>
                                    <p:anim calcmode="lin" valueType="num">
                                      <p:cBhvr>
                                        <p:cTn id="30" dur="500" fill="hold"/>
                                        <p:tgtEl>
                                          <p:spTgt spid="27"/>
                                        </p:tgtEl>
                                        <p:attrNameLst>
                                          <p:attrName>ppt_h</p:attrName>
                                        </p:attrNameLst>
                                      </p:cBhvr>
                                      <p:tavLst>
                                        <p:tav tm="0">
                                          <p:val>
                                            <p:fltVal val="0"/>
                                          </p:val>
                                        </p:tav>
                                        <p:tav tm="100000">
                                          <p:val>
                                            <p:strVal val="#ppt_h"/>
                                          </p:val>
                                        </p:tav>
                                      </p:tavLst>
                                    </p:anim>
                                    <p:animEffect transition="in" filter="fade">
                                      <p:cBhvr>
                                        <p:cTn id="31" dur="500"/>
                                        <p:tgtEl>
                                          <p:spTgt spid="27"/>
                                        </p:tgtEl>
                                      </p:cBhvr>
                                    </p:animEffect>
                                    <p:anim calcmode="lin" valueType="num">
                                      <p:cBhvr>
                                        <p:cTn id="32" dur="500" fill="hold"/>
                                        <p:tgtEl>
                                          <p:spTgt spid="27"/>
                                        </p:tgtEl>
                                        <p:attrNameLst>
                                          <p:attrName>ppt_x</p:attrName>
                                        </p:attrNameLst>
                                      </p:cBhvr>
                                      <p:tavLst>
                                        <p:tav tm="0">
                                          <p:val>
                                            <p:fltVal val="0.5"/>
                                          </p:val>
                                        </p:tav>
                                        <p:tav tm="100000">
                                          <p:val>
                                            <p:strVal val="#ppt_x"/>
                                          </p:val>
                                        </p:tav>
                                      </p:tavLst>
                                    </p:anim>
                                    <p:anim calcmode="lin" valueType="num">
                                      <p:cBhvr>
                                        <p:cTn id="33" dur="500" fill="hold"/>
                                        <p:tgtEl>
                                          <p:spTgt spid="27"/>
                                        </p:tgtEl>
                                        <p:attrNameLst>
                                          <p:attrName>ppt_y</p:attrName>
                                        </p:attrNameLst>
                                      </p:cBhvr>
                                      <p:tavLst>
                                        <p:tav tm="0">
                                          <p:val>
                                            <p:fltVal val="0.5"/>
                                          </p:val>
                                        </p:tav>
                                        <p:tav tm="100000">
                                          <p:val>
                                            <p:strVal val="#ppt_y"/>
                                          </p:val>
                                        </p:tav>
                                      </p:tavLst>
                                    </p:anim>
                                  </p:childTnLst>
                                </p:cTn>
                              </p:par>
                            </p:childTnLst>
                          </p:cTn>
                        </p:par>
                        <p:par>
                          <p:cTn id="34" fill="hold">
                            <p:stCondLst>
                              <p:cond delay="1000"/>
                            </p:stCondLst>
                            <p:childTnLst>
                              <p:par>
                                <p:cTn id="35" presetID="53" presetClass="entr" presetSubtype="528" fill="hold" grpId="0" nodeType="after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p:cTn id="37" dur="500" fill="hold"/>
                                        <p:tgtEl>
                                          <p:spTgt spid="24"/>
                                        </p:tgtEl>
                                        <p:attrNameLst>
                                          <p:attrName>ppt_w</p:attrName>
                                        </p:attrNameLst>
                                      </p:cBhvr>
                                      <p:tavLst>
                                        <p:tav tm="0">
                                          <p:val>
                                            <p:fltVal val="0"/>
                                          </p:val>
                                        </p:tav>
                                        <p:tav tm="100000">
                                          <p:val>
                                            <p:strVal val="#ppt_w"/>
                                          </p:val>
                                        </p:tav>
                                      </p:tavLst>
                                    </p:anim>
                                    <p:anim calcmode="lin" valueType="num">
                                      <p:cBhvr>
                                        <p:cTn id="38" dur="500" fill="hold"/>
                                        <p:tgtEl>
                                          <p:spTgt spid="24"/>
                                        </p:tgtEl>
                                        <p:attrNameLst>
                                          <p:attrName>ppt_h</p:attrName>
                                        </p:attrNameLst>
                                      </p:cBhvr>
                                      <p:tavLst>
                                        <p:tav tm="0">
                                          <p:val>
                                            <p:fltVal val="0"/>
                                          </p:val>
                                        </p:tav>
                                        <p:tav tm="100000">
                                          <p:val>
                                            <p:strVal val="#ppt_h"/>
                                          </p:val>
                                        </p:tav>
                                      </p:tavLst>
                                    </p:anim>
                                    <p:animEffect transition="in" filter="fade">
                                      <p:cBhvr>
                                        <p:cTn id="39" dur="500"/>
                                        <p:tgtEl>
                                          <p:spTgt spid="24"/>
                                        </p:tgtEl>
                                      </p:cBhvr>
                                    </p:animEffect>
                                    <p:anim calcmode="lin" valueType="num">
                                      <p:cBhvr>
                                        <p:cTn id="40" dur="500" fill="hold"/>
                                        <p:tgtEl>
                                          <p:spTgt spid="24"/>
                                        </p:tgtEl>
                                        <p:attrNameLst>
                                          <p:attrName>ppt_x</p:attrName>
                                        </p:attrNameLst>
                                      </p:cBhvr>
                                      <p:tavLst>
                                        <p:tav tm="0">
                                          <p:val>
                                            <p:fltVal val="0.5"/>
                                          </p:val>
                                        </p:tav>
                                        <p:tav tm="100000">
                                          <p:val>
                                            <p:strVal val="#ppt_x"/>
                                          </p:val>
                                        </p:tav>
                                      </p:tavLst>
                                    </p:anim>
                                    <p:anim calcmode="lin" valueType="num">
                                      <p:cBhvr>
                                        <p:cTn id="41" dur="500" fill="hold"/>
                                        <p:tgtEl>
                                          <p:spTgt spid="24"/>
                                        </p:tgtEl>
                                        <p:attrNameLst>
                                          <p:attrName>ppt_y</p:attrName>
                                        </p:attrNameLst>
                                      </p:cBhvr>
                                      <p:tavLst>
                                        <p:tav tm="0">
                                          <p:val>
                                            <p:fltVal val="0.5"/>
                                          </p:val>
                                        </p:tav>
                                        <p:tav tm="100000">
                                          <p:val>
                                            <p:strVal val="#ppt_y"/>
                                          </p:val>
                                        </p:tav>
                                      </p:tavLst>
                                    </p:anim>
                                  </p:childTnLst>
                                </p:cTn>
                              </p:par>
                              <p:par>
                                <p:cTn id="42" presetID="53" presetClass="entr" presetSubtype="528"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 calcmode="lin" valueType="num">
                                      <p:cBhvr>
                                        <p:cTn id="44" dur="500" fill="hold"/>
                                        <p:tgtEl>
                                          <p:spTgt spid="28"/>
                                        </p:tgtEl>
                                        <p:attrNameLst>
                                          <p:attrName>ppt_w</p:attrName>
                                        </p:attrNameLst>
                                      </p:cBhvr>
                                      <p:tavLst>
                                        <p:tav tm="0">
                                          <p:val>
                                            <p:fltVal val="0"/>
                                          </p:val>
                                        </p:tav>
                                        <p:tav tm="100000">
                                          <p:val>
                                            <p:strVal val="#ppt_w"/>
                                          </p:val>
                                        </p:tav>
                                      </p:tavLst>
                                    </p:anim>
                                    <p:anim calcmode="lin" valueType="num">
                                      <p:cBhvr>
                                        <p:cTn id="45" dur="500" fill="hold"/>
                                        <p:tgtEl>
                                          <p:spTgt spid="28"/>
                                        </p:tgtEl>
                                        <p:attrNameLst>
                                          <p:attrName>ppt_h</p:attrName>
                                        </p:attrNameLst>
                                      </p:cBhvr>
                                      <p:tavLst>
                                        <p:tav tm="0">
                                          <p:val>
                                            <p:fltVal val="0"/>
                                          </p:val>
                                        </p:tav>
                                        <p:tav tm="100000">
                                          <p:val>
                                            <p:strVal val="#ppt_h"/>
                                          </p:val>
                                        </p:tav>
                                      </p:tavLst>
                                    </p:anim>
                                    <p:animEffect transition="in" filter="fade">
                                      <p:cBhvr>
                                        <p:cTn id="46" dur="500"/>
                                        <p:tgtEl>
                                          <p:spTgt spid="28"/>
                                        </p:tgtEl>
                                      </p:cBhvr>
                                    </p:animEffect>
                                    <p:anim calcmode="lin" valueType="num">
                                      <p:cBhvr>
                                        <p:cTn id="47" dur="500" fill="hold"/>
                                        <p:tgtEl>
                                          <p:spTgt spid="28"/>
                                        </p:tgtEl>
                                        <p:attrNameLst>
                                          <p:attrName>ppt_x</p:attrName>
                                        </p:attrNameLst>
                                      </p:cBhvr>
                                      <p:tavLst>
                                        <p:tav tm="0">
                                          <p:val>
                                            <p:fltVal val="0.5"/>
                                          </p:val>
                                        </p:tav>
                                        <p:tav tm="100000">
                                          <p:val>
                                            <p:strVal val="#ppt_x"/>
                                          </p:val>
                                        </p:tav>
                                      </p:tavLst>
                                    </p:anim>
                                    <p:anim calcmode="lin" valueType="num">
                                      <p:cBhvr>
                                        <p:cTn id="48" dur="500" fill="hold"/>
                                        <p:tgtEl>
                                          <p:spTgt spid="28"/>
                                        </p:tgtEl>
                                        <p:attrNameLst>
                                          <p:attrName>ppt_y</p:attrName>
                                        </p:attrNameLst>
                                      </p:cBhvr>
                                      <p:tavLst>
                                        <p:tav tm="0">
                                          <p:val>
                                            <p:fltVal val="0.5"/>
                                          </p:val>
                                        </p:tav>
                                        <p:tav tm="100000">
                                          <p:val>
                                            <p:strVal val="#ppt_y"/>
                                          </p:val>
                                        </p:tav>
                                      </p:tavLst>
                                    </p:anim>
                                  </p:childTnLst>
                                </p:cTn>
                              </p:par>
                            </p:childTnLst>
                          </p:cTn>
                        </p:par>
                        <p:par>
                          <p:cTn id="49" fill="hold">
                            <p:stCondLst>
                              <p:cond delay="1500"/>
                            </p:stCondLst>
                            <p:childTnLst>
                              <p:par>
                                <p:cTn id="50" presetID="53" presetClass="entr" presetSubtype="528" fill="hold" grpId="0" nodeType="after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500" fill="hold"/>
                                        <p:tgtEl>
                                          <p:spTgt spid="21"/>
                                        </p:tgtEl>
                                        <p:attrNameLst>
                                          <p:attrName>ppt_w</p:attrName>
                                        </p:attrNameLst>
                                      </p:cBhvr>
                                      <p:tavLst>
                                        <p:tav tm="0">
                                          <p:val>
                                            <p:fltVal val="0"/>
                                          </p:val>
                                        </p:tav>
                                        <p:tav tm="100000">
                                          <p:val>
                                            <p:strVal val="#ppt_w"/>
                                          </p:val>
                                        </p:tav>
                                      </p:tavLst>
                                    </p:anim>
                                    <p:anim calcmode="lin" valueType="num">
                                      <p:cBhvr>
                                        <p:cTn id="53" dur="500" fill="hold"/>
                                        <p:tgtEl>
                                          <p:spTgt spid="21"/>
                                        </p:tgtEl>
                                        <p:attrNameLst>
                                          <p:attrName>ppt_h</p:attrName>
                                        </p:attrNameLst>
                                      </p:cBhvr>
                                      <p:tavLst>
                                        <p:tav tm="0">
                                          <p:val>
                                            <p:fltVal val="0"/>
                                          </p:val>
                                        </p:tav>
                                        <p:tav tm="100000">
                                          <p:val>
                                            <p:strVal val="#ppt_h"/>
                                          </p:val>
                                        </p:tav>
                                      </p:tavLst>
                                    </p:anim>
                                    <p:animEffect transition="in" filter="fade">
                                      <p:cBhvr>
                                        <p:cTn id="54" dur="500"/>
                                        <p:tgtEl>
                                          <p:spTgt spid="21"/>
                                        </p:tgtEl>
                                      </p:cBhvr>
                                    </p:animEffect>
                                    <p:anim calcmode="lin" valueType="num">
                                      <p:cBhvr>
                                        <p:cTn id="55" dur="500" fill="hold"/>
                                        <p:tgtEl>
                                          <p:spTgt spid="21"/>
                                        </p:tgtEl>
                                        <p:attrNameLst>
                                          <p:attrName>ppt_x</p:attrName>
                                        </p:attrNameLst>
                                      </p:cBhvr>
                                      <p:tavLst>
                                        <p:tav tm="0">
                                          <p:val>
                                            <p:fltVal val="0.5"/>
                                          </p:val>
                                        </p:tav>
                                        <p:tav tm="100000">
                                          <p:val>
                                            <p:strVal val="#ppt_x"/>
                                          </p:val>
                                        </p:tav>
                                      </p:tavLst>
                                    </p:anim>
                                    <p:anim calcmode="lin" valueType="num">
                                      <p:cBhvr>
                                        <p:cTn id="56" dur="500" fill="hold"/>
                                        <p:tgtEl>
                                          <p:spTgt spid="21"/>
                                        </p:tgtEl>
                                        <p:attrNameLst>
                                          <p:attrName>ppt_y</p:attrName>
                                        </p:attrNameLst>
                                      </p:cBhvr>
                                      <p:tavLst>
                                        <p:tav tm="0">
                                          <p:val>
                                            <p:fltVal val="0.5"/>
                                          </p:val>
                                        </p:tav>
                                        <p:tav tm="100000">
                                          <p:val>
                                            <p:strVal val="#ppt_y"/>
                                          </p:val>
                                        </p:tav>
                                      </p:tavLst>
                                    </p:anim>
                                  </p:childTnLst>
                                </p:cTn>
                              </p:par>
                              <p:par>
                                <p:cTn id="57" presetID="53" presetClass="entr" presetSubtype="528" fill="hold" grpId="0" nodeType="withEffect">
                                  <p:stCondLst>
                                    <p:cond delay="0"/>
                                  </p:stCondLst>
                                  <p:childTnLst>
                                    <p:set>
                                      <p:cBhvr>
                                        <p:cTn id="58" dur="1" fill="hold">
                                          <p:stCondLst>
                                            <p:cond delay="0"/>
                                          </p:stCondLst>
                                        </p:cTn>
                                        <p:tgtEl>
                                          <p:spTgt spid="29"/>
                                        </p:tgtEl>
                                        <p:attrNameLst>
                                          <p:attrName>style.visibility</p:attrName>
                                        </p:attrNameLst>
                                      </p:cBhvr>
                                      <p:to>
                                        <p:strVal val="visible"/>
                                      </p:to>
                                    </p:set>
                                    <p:anim calcmode="lin" valueType="num">
                                      <p:cBhvr>
                                        <p:cTn id="59" dur="500" fill="hold"/>
                                        <p:tgtEl>
                                          <p:spTgt spid="29"/>
                                        </p:tgtEl>
                                        <p:attrNameLst>
                                          <p:attrName>ppt_w</p:attrName>
                                        </p:attrNameLst>
                                      </p:cBhvr>
                                      <p:tavLst>
                                        <p:tav tm="0">
                                          <p:val>
                                            <p:fltVal val="0"/>
                                          </p:val>
                                        </p:tav>
                                        <p:tav tm="100000">
                                          <p:val>
                                            <p:strVal val="#ppt_w"/>
                                          </p:val>
                                        </p:tav>
                                      </p:tavLst>
                                    </p:anim>
                                    <p:anim calcmode="lin" valueType="num">
                                      <p:cBhvr>
                                        <p:cTn id="60" dur="500" fill="hold"/>
                                        <p:tgtEl>
                                          <p:spTgt spid="29"/>
                                        </p:tgtEl>
                                        <p:attrNameLst>
                                          <p:attrName>ppt_h</p:attrName>
                                        </p:attrNameLst>
                                      </p:cBhvr>
                                      <p:tavLst>
                                        <p:tav tm="0">
                                          <p:val>
                                            <p:fltVal val="0"/>
                                          </p:val>
                                        </p:tav>
                                        <p:tav tm="100000">
                                          <p:val>
                                            <p:strVal val="#ppt_h"/>
                                          </p:val>
                                        </p:tav>
                                      </p:tavLst>
                                    </p:anim>
                                    <p:animEffect transition="in" filter="fade">
                                      <p:cBhvr>
                                        <p:cTn id="61" dur="500"/>
                                        <p:tgtEl>
                                          <p:spTgt spid="29"/>
                                        </p:tgtEl>
                                      </p:cBhvr>
                                    </p:animEffect>
                                    <p:anim calcmode="lin" valueType="num">
                                      <p:cBhvr>
                                        <p:cTn id="62" dur="500" fill="hold"/>
                                        <p:tgtEl>
                                          <p:spTgt spid="29"/>
                                        </p:tgtEl>
                                        <p:attrNameLst>
                                          <p:attrName>ppt_x</p:attrName>
                                        </p:attrNameLst>
                                      </p:cBhvr>
                                      <p:tavLst>
                                        <p:tav tm="0">
                                          <p:val>
                                            <p:fltVal val="0.5"/>
                                          </p:val>
                                        </p:tav>
                                        <p:tav tm="100000">
                                          <p:val>
                                            <p:strVal val="#ppt_x"/>
                                          </p:val>
                                        </p:tav>
                                      </p:tavLst>
                                    </p:anim>
                                    <p:anim calcmode="lin" valueType="num">
                                      <p:cBhvr>
                                        <p:cTn id="63" dur="500" fill="hold"/>
                                        <p:tgtEl>
                                          <p:spTgt spid="29"/>
                                        </p:tgtEl>
                                        <p:attrNameLst>
                                          <p:attrName>ppt_y</p:attrName>
                                        </p:attrNameLst>
                                      </p:cBhvr>
                                      <p:tavLst>
                                        <p:tav tm="0">
                                          <p:val>
                                            <p:fltVal val="0.5"/>
                                          </p:val>
                                        </p:tav>
                                        <p:tav tm="100000">
                                          <p:val>
                                            <p:strVal val="#ppt_y"/>
                                          </p:val>
                                        </p:tav>
                                      </p:tavLst>
                                    </p:anim>
                                  </p:childTnLst>
                                </p:cTn>
                              </p:par>
                            </p:childTnLst>
                          </p:cTn>
                        </p:par>
                        <p:par>
                          <p:cTn id="64" fill="hold">
                            <p:stCondLst>
                              <p:cond delay="2000"/>
                            </p:stCondLst>
                            <p:childTnLst>
                              <p:par>
                                <p:cTn id="65" presetID="53" presetClass="entr" presetSubtype="528" fill="hold" grpId="0" nodeType="afterEffect">
                                  <p:stCondLst>
                                    <p:cond delay="0"/>
                                  </p:stCondLst>
                                  <p:childTnLst>
                                    <p:set>
                                      <p:cBhvr>
                                        <p:cTn id="66" dur="1" fill="hold">
                                          <p:stCondLst>
                                            <p:cond delay="0"/>
                                          </p:stCondLst>
                                        </p:cTn>
                                        <p:tgtEl>
                                          <p:spTgt spid="23"/>
                                        </p:tgtEl>
                                        <p:attrNameLst>
                                          <p:attrName>style.visibility</p:attrName>
                                        </p:attrNameLst>
                                      </p:cBhvr>
                                      <p:to>
                                        <p:strVal val="visible"/>
                                      </p:to>
                                    </p:set>
                                    <p:anim calcmode="lin" valueType="num">
                                      <p:cBhvr>
                                        <p:cTn id="67" dur="500" fill="hold"/>
                                        <p:tgtEl>
                                          <p:spTgt spid="23"/>
                                        </p:tgtEl>
                                        <p:attrNameLst>
                                          <p:attrName>ppt_w</p:attrName>
                                        </p:attrNameLst>
                                      </p:cBhvr>
                                      <p:tavLst>
                                        <p:tav tm="0">
                                          <p:val>
                                            <p:fltVal val="0"/>
                                          </p:val>
                                        </p:tav>
                                        <p:tav tm="100000">
                                          <p:val>
                                            <p:strVal val="#ppt_w"/>
                                          </p:val>
                                        </p:tav>
                                      </p:tavLst>
                                    </p:anim>
                                    <p:anim calcmode="lin" valueType="num">
                                      <p:cBhvr>
                                        <p:cTn id="68" dur="500" fill="hold"/>
                                        <p:tgtEl>
                                          <p:spTgt spid="23"/>
                                        </p:tgtEl>
                                        <p:attrNameLst>
                                          <p:attrName>ppt_h</p:attrName>
                                        </p:attrNameLst>
                                      </p:cBhvr>
                                      <p:tavLst>
                                        <p:tav tm="0">
                                          <p:val>
                                            <p:fltVal val="0"/>
                                          </p:val>
                                        </p:tav>
                                        <p:tav tm="100000">
                                          <p:val>
                                            <p:strVal val="#ppt_h"/>
                                          </p:val>
                                        </p:tav>
                                      </p:tavLst>
                                    </p:anim>
                                    <p:animEffect transition="in" filter="fade">
                                      <p:cBhvr>
                                        <p:cTn id="69" dur="500"/>
                                        <p:tgtEl>
                                          <p:spTgt spid="23"/>
                                        </p:tgtEl>
                                      </p:cBhvr>
                                    </p:animEffect>
                                    <p:anim calcmode="lin" valueType="num">
                                      <p:cBhvr>
                                        <p:cTn id="70" dur="500" fill="hold"/>
                                        <p:tgtEl>
                                          <p:spTgt spid="23"/>
                                        </p:tgtEl>
                                        <p:attrNameLst>
                                          <p:attrName>ppt_x</p:attrName>
                                        </p:attrNameLst>
                                      </p:cBhvr>
                                      <p:tavLst>
                                        <p:tav tm="0">
                                          <p:val>
                                            <p:fltVal val="0.5"/>
                                          </p:val>
                                        </p:tav>
                                        <p:tav tm="100000">
                                          <p:val>
                                            <p:strVal val="#ppt_x"/>
                                          </p:val>
                                        </p:tav>
                                      </p:tavLst>
                                    </p:anim>
                                    <p:anim calcmode="lin" valueType="num">
                                      <p:cBhvr>
                                        <p:cTn id="71" dur="500" fill="hold"/>
                                        <p:tgtEl>
                                          <p:spTgt spid="23"/>
                                        </p:tgtEl>
                                        <p:attrNameLst>
                                          <p:attrName>ppt_y</p:attrName>
                                        </p:attrNameLst>
                                      </p:cBhvr>
                                      <p:tavLst>
                                        <p:tav tm="0">
                                          <p:val>
                                            <p:fltVal val="0.5"/>
                                          </p:val>
                                        </p:tav>
                                        <p:tav tm="100000">
                                          <p:val>
                                            <p:strVal val="#ppt_y"/>
                                          </p:val>
                                        </p:tav>
                                      </p:tavLst>
                                    </p:anim>
                                  </p:childTnLst>
                                </p:cTn>
                              </p:par>
                              <p:par>
                                <p:cTn id="72" presetID="53" presetClass="entr" presetSubtype="528" fill="hold" grpId="0" nodeType="withEffect">
                                  <p:stCondLst>
                                    <p:cond delay="0"/>
                                  </p:stCondLst>
                                  <p:childTnLst>
                                    <p:set>
                                      <p:cBhvr>
                                        <p:cTn id="73" dur="1" fill="hold">
                                          <p:stCondLst>
                                            <p:cond delay="0"/>
                                          </p:stCondLst>
                                        </p:cTn>
                                        <p:tgtEl>
                                          <p:spTgt spid="30"/>
                                        </p:tgtEl>
                                        <p:attrNameLst>
                                          <p:attrName>style.visibility</p:attrName>
                                        </p:attrNameLst>
                                      </p:cBhvr>
                                      <p:to>
                                        <p:strVal val="visible"/>
                                      </p:to>
                                    </p:set>
                                    <p:anim calcmode="lin" valueType="num">
                                      <p:cBhvr>
                                        <p:cTn id="74" dur="500" fill="hold"/>
                                        <p:tgtEl>
                                          <p:spTgt spid="30"/>
                                        </p:tgtEl>
                                        <p:attrNameLst>
                                          <p:attrName>ppt_w</p:attrName>
                                        </p:attrNameLst>
                                      </p:cBhvr>
                                      <p:tavLst>
                                        <p:tav tm="0">
                                          <p:val>
                                            <p:fltVal val="0"/>
                                          </p:val>
                                        </p:tav>
                                        <p:tav tm="100000">
                                          <p:val>
                                            <p:strVal val="#ppt_w"/>
                                          </p:val>
                                        </p:tav>
                                      </p:tavLst>
                                    </p:anim>
                                    <p:anim calcmode="lin" valueType="num">
                                      <p:cBhvr>
                                        <p:cTn id="75" dur="500" fill="hold"/>
                                        <p:tgtEl>
                                          <p:spTgt spid="30"/>
                                        </p:tgtEl>
                                        <p:attrNameLst>
                                          <p:attrName>ppt_h</p:attrName>
                                        </p:attrNameLst>
                                      </p:cBhvr>
                                      <p:tavLst>
                                        <p:tav tm="0">
                                          <p:val>
                                            <p:fltVal val="0"/>
                                          </p:val>
                                        </p:tav>
                                        <p:tav tm="100000">
                                          <p:val>
                                            <p:strVal val="#ppt_h"/>
                                          </p:val>
                                        </p:tav>
                                      </p:tavLst>
                                    </p:anim>
                                    <p:animEffect transition="in" filter="fade">
                                      <p:cBhvr>
                                        <p:cTn id="76" dur="500"/>
                                        <p:tgtEl>
                                          <p:spTgt spid="30"/>
                                        </p:tgtEl>
                                      </p:cBhvr>
                                    </p:animEffect>
                                    <p:anim calcmode="lin" valueType="num">
                                      <p:cBhvr>
                                        <p:cTn id="77" dur="500" fill="hold"/>
                                        <p:tgtEl>
                                          <p:spTgt spid="30"/>
                                        </p:tgtEl>
                                        <p:attrNameLst>
                                          <p:attrName>ppt_x</p:attrName>
                                        </p:attrNameLst>
                                      </p:cBhvr>
                                      <p:tavLst>
                                        <p:tav tm="0">
                                          <p:val>
                                            <p:fltVal val="0.5"/>
                                          </p:val>
                                        </p:tav>
                                        <p:tav tm="100000">
                                          <p:val>
                                            <p:strVal val="#ppt_x"/>
                                          </p:val>
                                        </p:tav>
                                      </p:tavLst>
                                    </p:anim>
                                    <p:anim calcmode="lin" valueType="num">
                                      <p:cBhvr>
                                        <p:cTn id="78" dur="500" fill="hold"/>
                                        <p:tgtEl>
                                          <p:spTgt spid="30"/>
                                        </p:tgtEl>
                                        <p:attrNameLst>
                                          <p:attrName>ppt_y</p:attrName>
                                        </p:attrNameLst>
                                      </p:cBhvr>
                                      <p:tavLst>
                                        <p:tav tm="0">
                                          <p:val>
                                            <p:fltVal val="0.5"/>
                                          </p:val>
                                        </p:tav>
                                        <p:tav tm="100000">
                                          <p:val>
                                            <p:strVal val="#ppt_y"/>
                                          </p:val>
                                        </p:tav>
                                      </p:tavLst>
                                    </p:anim>
                                  </p:childTnLst>
                                </p:cTn>
                              </p:par>
                            </p:childTnLst>
                          </p:cTn>
                        </p:par>
                        <p:par>
                          <p:cTn id="79" fill="hold">
                            <p:stCondLst>
                              <p:cond delay="2500"/>
                            </p:stCondLst>
                            <p:childTnLst>
                              <p:par>
                                <p:cTn id="80" presetID="53" presetClass="entr" presetSubtype="528" fill="hold" grpId="0" nodeType="afterEffect">
                                  <p:stCondLst>
                                    <p:cond delay="0"/>
                                  </p:stCondLst>
                                  <p:childTnLst>
                                    <p:set>
                                      <p:cBhvr>
                                        <p:cTn id="81" dur="1" fill="hold">
                                          <p:stCondLst>
                                            <p:cond delay="0"/>
                                          </p:stCondLst>
                                        </p:cTn>
                                        <p:tgtEl>
                                          <p:spTgt spid="25"/>
                                        </p:tgtEl>
                                        <p:attrNameLst>
                                          <p:attrName>style.visibility</p:attrName>
                                        </p:attrNameLst>
                                      </p:cBhvr>
                                      <p:to>
                                        <p:strVal val="visible"/>
                                      </p:to>
                                    </p:set>
                                    <p:anim calcmode="lin" valueType="num">
                                      <p:cBhvr>
                                        <p:cTn id="82" dur="500" fill="hold"/>
                                        <p:tgtEl>
                                          <p:spTgt spid="25"/>
                                        </p:tgtEl>
                                        <p:attrNameLst>
                                          <p:attrName>ppt_w</p:attrName>
                                        </p:attrNameLst>
                                      </p:cBhvr>
                                      <p:tavLst>
                                        <p:tav tm="0">
                                          <p:val>
                                            <p:fltVal val="0"/>
                                          </p:val>
                                        </p:tav>
                                        <p:tav tm="100000">
                                          <p:val>
                                            <p:strVal val="#ppt_w"/>
                                          </p:val>
                                        </p:tav>
                                      </p:tavLst>
                                    </p:anim>
                                    <p:anim calcmode="lin" valueType="num">
                                      <p:cBhvr>
                                        <p:cTn id="83" dur="500" fill="hold"/>
                                        <p:tgtEl>
                                          <p:spTgt spid="25"/>
                                        </p:tgtEl>
                                        <p:attrNameLst>
                                          <p:attrName>ppt_h</p:attrName>
                                        </p:attrNameLst>
                                      </p:cBhvr>
                                      <p:tavLst>
                                        <p:tav tm="0">
                                          <p:val>
                                            <p:fltVal val="0"/>
                                          </p:val>
                                        </p:tav>
                                        <p:tav tm="100000">
                                          <p:val>
                                            <p:strVal val="#ppt_h"/>
                                          </p:val>
                                        </p:tav>
                                      </p:tavLst>
                                    </p:anim>
                                    <p:animEffect transition="in" filter="fade">
                                      <p:cBhvr>
                                        <p:cTn id="84" dur="500"/>
                                        <p:tgtEl>
                                          <p:spTgt spid="25"/>
                                        </p:tgtEl>
                                      </p:cBhvr>
                                    </p:animEffect>
                                    <p:anim calcmode="lin" valueType="num">
                                      <p:cBhvr>
                                        <p:cTn id="85" dur="500" fill="hold"/>
                                        <p:tgtEl>
                                          <p:spTgt spid="25"/>
                                        </p:tgtEl>
                                        <p:attrNameLst>
                                          <p:attrName>ppt_x</p:attrName>
                                        </p:attrNameLst>
                                      </p:cBhvr>
                                      <p:tavLst>
                                        <p:tav tm="0">
                                          <p:val>
                                            <p:fltVal val="0.5"/>
                                          </p:val>
                                        </p:tav>
                                        <p:tav tm="100000">
                                          <p:val>
                                            <p:strVal val="#ppt_x"/>
                                          </p:val>
                                        </p:tav>
                                      </p:tavLst>
                                    </p:anim>
                                    <p:anim calcmode="lin" valueType="num">
                                      <p:cBhvr>
                                        <p:cTn id="86" dur="500" fill="hold"/>
                                        <p:tgtEl>
                                          <p:spTgt spid="25"/>
                                        </p:tgtEl>
                                        <p:attrNameLst>
                                          <p:attrName>ppt_y</p:attrName>
                                        </p:attrNameLst>
                                      </p:cBhvr>
                                      <p:tavLst>
                                        <p:tav tm="0">
                                          <p:val>
                                            <p:fltVal val="0.5"/>
                                          </p:val>
                                        </p:tav>
                                        <p:tav tm="100000">
                                          <p:val>
                                            <p:strVal val="#ppt_y"/>
                                          </p:val>
                                        </p:tav>
                                      </p:tavLst>
                                    </p:anim>
                                  </p:childTnLst>
                                </p:cTn>
                              </p:par>
                              <p:par>
                                <p:cTn id="87" presetID="53" presetClass="entr" presetSubtype="528" fill="hold" grpId="0" nodeType="withEffect">
                                  <p:stCondLst>
                                    <p:cond delay="0"/>
                                  </p:stCondLst>
                                  <p:childTnLst>
                                    <p:set>
                                      <p:cBhvr>
                                        <p:cTn id="88" dur="1" fill="hold">
                                          <p:stCondLst>
                                            <p:cond delay="0"/>
                                          </p:stCondLst>
                                        </p:cTn>
                                        <p:tgtEl>
                                          <p:spTgt spid="31"/>
                                        </p:tgtEl>
                                        <p:attrNameLst>
                                          <p:attrName>style.visibility</p:attrName>
                                        </p:attrNameLst>
                                      </p:cBhvr>
                                      <p:to>
                                        <p:strVal val="visible"/>
                                      </p:to>
                                    </p:set>
                                    <p:anim calcmode="lin" valueType="num">
                                      <p:cBhvr>
                                        <p:cTn id="89" dur="500" fill="hold"/>
                                        <p:tgtEl>
                                          <p:spTgt spid="31"/>
                                        </p:tgtEl>
                                        <p:attrNameLst>
                                          <p:attrName>ppt_w</p:attrName>
                                        </p:attrNameLst>
                                      </p:cBhvr>
                                      <p:tavLst>
                                        <p:tav tm="0">
                                          <p:val>
                                            <p:fltVal val="0"/>
                                          </p:val>
                                        </p:tav>
                                        <p:tav tm="100000">
                                          <p:val>
                                            <p:strVal val="#ppt_w"/>
                                          </p:val>
                                        </p:tav>
                                      </p:tavLst>
                                    </p:anim>
                                    <p:anim calcmode="lin" valueType="num">
                                      <p:cBhvr>
                                        <p:cTn id="90" dur="500" fill="hold"/>
                                        <p:tgtEl>
                                          <p:spTgt spid="31"/>
                                        </p:tgtEl>
                                        <p:attrNameLst>
                                          <p:attrName>ppt_h</p:attrName>
                                        </p:attrNameLst>
                                      </p:cBhvr>
                                      <p:tavLst>
                                        <p:tav tm="0">
                                          <p:val>
                                            <p:fltVal val="0"/>
                                          </p:val>
                                        </p:tav>
                                        <p:tav tm="100000">
                                          <p:val>
                                            <p:strVal val="#ppt_h"/>
                                          </p:val>
                                        </p:tav>
                                      </p:tavLst>
                                    </p:anim>
                                    <p:animEffect transition="in" filter="fade">
                                      <p:cBhvr>
                                        <p:cTn id="91" dur="500"/>
                                        <p:tgtEl>
                                          <p:spTgt spid="31"/>
                                        </p:tgtEl>
                                      </p:cBhvr>
                                    </p:animEffect>
                                    <p:anim calcmode="lin" valueType="num">
                                      <p:cBhvr>
                                        <p:cTn id="92" dur="500" fill="hold"/>
                                        <p:tgtEl>
                                          <p:spTgt spid="31"/>
                                        </p:tgtEl>
                                        <p:attrNameLst>
                                          <p:attrName>ppt_x</p:attrName>
                                        </p:attrNameLst>
                                      </p:cBhvr>
                                      <p:tavLst>
                                        <p:tav tm="0">
                                          <p:val>
                                            <p:fltVal val="0.5"/>
                                          </p:val>
                                        </p:tav>
                                        <p:tav tm="100000">
                                          <p:val>
                                            <p:strVal val="#ppt_x"/>
                                          </p:val>
                                        </p:tav>
                                      </p:tavLst>
                                    </p:anim>
                                    <p:anim calcmode="lin" valueType="num">
                                      <p:cBhvr>
                                        <p:cTn id="93" dur="500" fill="hold"/>
                                        <p:tgtEl>
                                          <p:spTgt spid="31"/>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estimonial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6" name="Picture Placeholder 15"/>
          <p:cNvSpPr>
            <a:spLocks noGrp="1"/>
          </p:cNvSpPr>
          <p:nvPr>
            <p:ph type="pic" sz="quarter" idx="11"/>
          </p:nvPr>
        </p:nvSpPr>
        <p:spPr>
          <a:xfrm>
            <a:off x="3337565" y="147448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38100">
            <a:solidFill>
              <a:schemeClr val="tx2">
                <a:lumMod val="90000"/>
                <a:lumOff val="10000"/>
              </a:schemeClr>
            </a:solidFill>
          </a:ln>
        </p:spPr>
        <p:txBody>
          <a:bodyPr wrap="square" anchor="ctr" anchorCtr="0">
            <a:noAutofit/>
          </a:bodyPr>
          <a:lstStyle>
            <a:lvl1pPr algn="ctr">
              <a:defRPr/>
            </a:lvl1pPr>
          </a:lstStyle>
          <a:p>
            <a:endParaRPr lang="en-US" dirty="0"/>
          </a:p>
        </p:txBody>
      </p:sp>
      <p:sp>
        <p:nvSpPr>
          <p:cNvPr id="17" name="Picture Placeholder 16"/>
          <p:cNvSpPr>
            <a:spLocks noGrp="1"/>
          </p:cNvSpPr>
          <p:nvPr>
            <p:ph type="pic" sz="quarter" idx="12"/>
          </p:nvPr>
        </p:nvSpPr>
        <p:spPr>
          <a:xfrm>
            <a:off x="6080726" y="147448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38100">
            <a:solidFill>
              <a:schemeClr val="tx2">
                <a:lumMod val="90000"/>
                <a:lumOff val="10000"/>
              </a:schemeClr>
            </a:solidFill>
          </a:ln>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15" name="Picture Placeholder 14"/>
          <p:cNvSpPr>
            <a:spLocks noGrp="1"/>
          </p:cNvSpPr>
          <p:nvPr>
            <p:ph type="pic" sz="quarter" idx="10"/>
          </p:nvPr>
        </p:nvSpPr>
        <p:spPr>
          <a:xfrm>
            <a:off x="594403" y="147448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38100">
            <a:solidFill>
              <a:schemeClr val="tx2">
                <a:lumMod val="90000"/>
                <a:lumOff val="10000"/>
              </a:schemeClr>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217671824"/>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estimonial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1" name="Picture Placeholder 3"/>
          <p:cNvSpPr>
            <a:spLocks noGrp="1"/>
          </p:cNvSpPr>
          <p:nvPr>
            <p:ph type="pic" sz="quarter" idx="10"/>
          </p:nvPr>
        </p:nvSpPr>
        <p:spPr>
          <a:xfrm>
            <a:off x="5029200" y="0"/>
            <a:ext cx="4114800" cy="514350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1428666051"/>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President Profil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1" name="Rectangle 10"/>
          <p:cNvSpPr/>
          <p:nvPr userDrawn="1"/>
        </p:nvSpPr>
        <p:spPr>
          <a:xfrm>
            <a:off x="-2" y="0"/>
            <a:ext cx="4114800" cy="51435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12" name="Picture Placeholder 3"/>
          <p:cNvSpPr>
            <a:spLocks noGrp="1"/>
          </p:cNvSpPr>
          <p:nvPr>
            <p:ph type="pic" sz="quarter" idx="10"/>
          </p:nvPr>
        </p:nvSpPr>
        <p:spPr>
          <a:xfrm>
            <a:off x="-1" y="0"/>
            <a:ext cx="3977640" cy="5143500"/>
          </a:xfrm>
          <a:solidFill>
            <a:schemeClr val="tx2">
              <a:lumMod val="9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2961549577"/>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Management Team">
    <p:bg>
      <p:bgPr>
        <a:solidFill>
          <a:schemeClr val="tx2">
            <a:lumMod val="90000"/>
            <a:lumOff val="10000"/>
          </a:schemeClr>
        </a:solidFill>
        <a:effectLst/>
      </p:bgPr>
    </p:bg>
    <p:spTree>
      <p:nvGrpSpPr>
        <p:cNvPr id="1" name=""/>
        <p:cNvGrpSpPr/>
        <p:nvPr/>
      </p:nvGrpSpPr>
      <p:grpSpPr>
        <a:xfrm>
          <a:off x="0" y="0"/>
          <a:ext cx="0" cy="0"/>
          <a:chOff x="0" y="0"/>
          <a:chExt cx="0" cy="0"/>
        </a:xfrm>
      </p:grpSpPr>
      <p:cxnSp>
        <p:nvCxnSpPr>
          <p:cNvPr id="12" name="Straight Connector 11"/>
          <p:cNvCxnSpPr/>
          <p:nvPr userDrawn="1"/>
        </p:nvCxnSpPr>
        <p:spPr>
          <a:xfrm>
            <a:off x="662965" y="2914664"/>
            <a:ext cx="164592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720342" y="2914646"/>
            <a:ext cx="164592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777720" y="2914629"/>
            <a:ext cx="164592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6835097" y="2914612"/>
            <a:ext cx="1645920" cy="0"/>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20" name="Picture Placeholder 3"/>
          <p:cNvSpPr>
            <a:spLocks noGrp="1"/>
          </p:cNvSpPr>
          <p:nvPr>
            <p:ph type="pic" sz="quarter" idx="10"/>
          </p:nvPr>
        </p:nvSpPr>
        <p:spPr>
          <a:xfrm>
            <a:off x="662984" y="1268750"/>
            <a:ext cx="1645920" cy="1645920"/>
          </a:xfrm>
          <a:solidFill>
            <a:schemeClr val="tx2">
              <a:lumMod val="95000"/>
            </a:schemeClr>
          </a:solidFill>
        </p:spPr>
        <p:txBody>
          <a:bodyPr anchor="ctr" anchorCtr="0"/>
          <a:lstStyle>
            <a:lvl1pPr algn="ctr">
              <a:defRPr/>
            </a:lvl1pPr>
          </a:lstStyle>
          <a:p>
            <a:endParaRPr lang="en-US" dirty="0"/>
          </a:p>
        </p:txBody>
      </p:sp>
      <p:sp>
        <p:nvSpPr>
          <p:cNvPr id="25" name="Picture Placeholder 3"/>
          <p:cNvSpPr>
            <a:spLocks noGrp="1"/>
          </p:cNvSpPr>
          <p:nvPr>
            <p:ph type="pic" sz="quarter" idx="11"/>
          </p:nvPr>
        </p:nvSpPr>
        <p:spPr>
          <a:xfrm>
            <a:off x="2720341" y="1268743"/>
            <a:ext cx="1645920" cy="1645920"/>
          </a:xfrm>
          <a:solidFill>
            <a:schemeClr val="tx2">
              <a:lumMod val="95000"/>
            </a:schemeClr>
          </a:solidFill>
        </p:spPr>
        <p:txBody>
          <a:bodyPr anchor="ctr" anchorCtr="0"/>
          <a:lstStyle>
            <a:lvl1pPr algn="ctr">
              <a:defRPr/>
            </a:lvl1pPr>
          </a:lstStyle>
          <a:p>
            <a:endParaRPr lang="en-US" dirty="0"/>
          </a:p>
        </p:txBody>
      </p:sp>
      <p:sp>
        <p:nvSpPr>
          <p:cNvPr id="30" name="Picture Placeholder 3"/>
          <p:cNvSpPr>
            <a:spLocks noGrp="1"/>
          </p:cNvSpPr>
          <p:nvPr>
            <p:ph type="pic" sz="quarter" idx="12"/>
          </p:nvPr>
        </p:nvSpPr>
        <p:spPr>
          <a:xfrm>
            <a:off x="4777697" y="1268764"/>
            <a:ext cx="1645920" cy="1645920"/>
          </a:xfrm>
          <a:solidFill>
            <a:schemeClr val="tx2">
              <a:lumMod val="95000"/>
            </a:schemeClr>
          </a:solidFill>
        </p:spPr>
        <p:txBody>
          <a:bodyPr anchor="ctr" anchorCtr="0"/>
          <a:lstStyle>
            <a:lvl1pPr algn="ctr">
              <a:defRPr/>
            </a:lvl1pPr>
          </a:lstStyle>
          <a:p>
            <a:endParaRPr lang="en-US" dirty="0"/>
          </a:p>
        </p:txBody>
      </p:sp>
      <p:sp>
        <p:nvSpPr>
          <p:cNvPr id="31" name="Picture Placeholder 3"/>
          <p:cNvSpPr>
            <a:spLocks noGrp="1"/>
          </p:cNvSpPr>
          <p:nvPr>
            <p:ph type="pic" sz="quarter" idx="13"/>
          </p:nvPr>
        </p:nvSpPr>
        <p:spPr>
          <a:xfrm>
            <a:off x="6835054" y="1268748"/>
            <a:ext cx="1645920" cy="1645920"/>
          </a:xfrm>
          <a:solidFill>
            <a:schemeClr val="tx2">
              <a:lumMod val="9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1360847952"/>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Financial Team">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4754849" y="1268744"/>
            <a:ext cx="1645938" cy="1645920"/>
            <a:chOff x="975392" y="1691659"/>
            <a:chExt cx="2194584" cy="2194560"/>
          </a:xfrm>
          <a:solidFill>
            <a:schemeClr val="accent4"/>
          </a:solidFill>
        </p:grpSpPr>
        <p:sp>
          <p:nvSpPr>
            <p:cNvPr id="13" name="Pie 12"/>
            <p:cNvSpPr>
              <a:spLocks noChangeAspect="1"/>
            </p:cNvSpPr>
            <p:nvPr/>
          </p:nvSpPr>
          <p:spPr>
            <a:xfrm>
              <a:off x="975416" y="1691659"/>
              <a:ext cx="2194560" cy="2194560"/>
            </a:xfrm>
            <a:prstGeom prst="pie">
              <a:avLst>
                <a:gd name="adj1" fmla="val 6743112"/>
                <a:gd name="adj2" fmla="val 16311251"/>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sp>
          <p:nvSpPr>
            <p:cNvPr id="14" name="Pie 13"/>
            <p:cNvSpPr>
              <a:spLocks noChangeAspect="1"/>
            </p:cNvSpPr>
            <p:nvPr/>
          </p:nvSpPr>
          <p:spPr>
            <a:xfrm>
              <a:off x="975392" y="1691659"/>
              <a:ext cx="2194560" cy="2194560"/>
            </a:xfrm>
            <a:prstGeom prst="pie">
              <a:avLst>
                <a:gd name="adj1" fmla="val 17737651"/>
                <a:gd name="adj2" fmla="val 20552500"/>
              </a:avLst>
            </a:prstGeom>
            <a:grp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grpSp>
      <p:grpSp>
        <p:nvGrpSpPr>
          <p:cNvPr id="15" name="Group 14"/>
          <p:cNvGrpSpPr/>
          <p:nvPr userDrawn="1"/>
        </p:nvGrpSpPr>
        <p:grpSpPr>
          <a:xfrm>
            <a:off x="6766500" y="1268726"/>
            <a:ext cx="1645938" cy="1645920"/>
            <a:chOff x="975392" y="1691659"/>
            <a:chExt cx="2194584" cy="2194560"/>
          </a:xfrm>
          <a:solidFill>
            <a:schemeClr val="accent4">
              <a:lumMod val="60000"/>
              <a:lumOff val="40000"/>
            </a:schemeClr>
          </a:solidFill>
        </p:grpSpPr>
        <p:sp>
          <p:nvSpPr>
            <p:cNvPr id="16" name="Pie 15"/>
            <p:cNvSpPr>
              <a:spLocks noChangeAspect="1"/>
            </p:cNvSpPr>
            <p:nvPr/>
          </p:nvSpPr>
          <p:spPr>
            <a:xfrm>
              <a:off x="975416" y="1691659"/>
              <a:ext cx="2194560" cy="2194560"/>
            </a:xfrm>
            <a:prstGeom prst="pie">
              <a:avLst>
                <a:gd name="adj1" fmla="val 3132410"/>
                <a:gd name="adj2" fmla="val 9405979"/>
              </a:avLst>
            </a:prstGeom>
            <a:grp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sp>
          <p:nvSpPr>
            <p:cNvPr id="17" name="Pie 16"/>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grpSp>
      <p:grpSp>
        <p:nvGrpSpPr>
          <p:cNvPr id="18" name="Group 17"/>
          <p:cNvGrpSpPr/>
          <p:nvPr userDrawn="1"/>
        </p:nvGrpSpPr>
        <p:grpSpPr>
          <a:xfrm>
            <a:off x="2743196" y="1268744"/>
            <a:ext cx="1645938" cy="1645920"/>
            <a:chOff x="975392" y="1691659"/>
            <a:chExt cx="2194584" cy="2194560"/>
          </a:xfrm>
          <a:solidFill>
            <a:schemeClr val="accent3"/>
          </a:solidFill>
        </p:grpSpPr>
        <p:sp>
          <p:nvSpPr>
            <p:cNvPr id="19" name="Pie 18"/>
            <p:cNvSpPr>
              <a:spLocks noChangeAspect="1"/>
            </p:cNvSpPr>
            <p:nvPr/>
          </p:nvSpPr>
          <p:spPr>
            <a:xfrm>
              <a:off x="975416" y="1691659"/>
              <a:ext cx="2194560" cy="2194560"/>
            </a:xfrm>
            <a:prstGeom prst="pie">
              <a:avLst>
                <a:gd name="adj1" fmla="val 21552992"/>
                <a:gd name="adj2" fmla="val 9405979"/>
              </a:avLst>
            </a:prstGeom>
            <a:solidFill>
              <a:schemeClr val="accent3"/>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sp>
          <p:nvSpPr>
            <p:cNvPr id="20" name="Pie 19"/>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grpSp>
      <p:grpSp>
        <p:nvGrpSpPr>
          <p:cNvPr id="21" name="Group 20"/>
          <p:cNvGrpSpPr/>
          <p:nvPr userDrawn="1"/>
        </p:nvGrpSpPr>
        <p:grpSpPr>
          <a:xfrm>
            <a:off x="731544" y="1268744"/>
            <a:ext cx="1645938" cy="1645920"/>
            <a:chOff x="975392" y="1691659"/>
            <a:chExt cx="2194584" cy="2194560"/>
          </a:xfrm>
          <a:solidFill>
            <a:schemeClr val="accent1"/>
          </a:solidFill>
        </p:grpSpPr>
        <p:sp>
          <p:nvSpPr>
            <p:cNvPr id="22" name="Pie 21"/>
            <p:cNvSpPr>
              <a:spLocks noChangeAspect="1"/>
            </p:cNvSpPr>
            <p:nvPr/>
          </p:nvSpPr>
          <p:spPr>
            <a:xfrm>
              <a:off x="975416" y="1691659"/>
              <a:ext cx="2194560" cy="2194560"/>
            </a:xfrm>
            <a:prstGeom prst="pie">
              <a:avLst>
                <a:gd name="adj1" fmla="val 6743112"/>
                <a:gd name="adj2" fmla="val 9405979"/>
              </a:avLst>
            </a:prstGeom>
            <a:grp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sp>
          <p:nvSpPr>
            <p:cNvPr id="23" name="Pie 22"/>
            <p:cNvSpPr>
              <a:spLocks noChangeAspect="1"/>
            </p:cNvSpPr>
            <p:nvPr/>
          </p:nvSpPr>
          <p:spPr>
            <a:xfrm>
              <a:off x="975392" y="1691659"/>
              <a:ext cx="2194560" cy="2194560"/>
            </a:xfrm>
            <a:prstGeom prst="pie">
              <a:avLst>
                <a:gd name="adj1" fmla="val 11372206"/>
                <a:gd name="adj2" fmla="val 5574735"/>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grpSp>
      <p:sp>
        <p:nvSpPr>
          <p:cNvPr id="26" name="Picture Placeholder 25"/>
          <p:cNvSpPr>
            <a:spLocks noGrp="1" noChangeAspect="1"/>
          </p:cNvSpPr>
          <p:nvPr>
            <p:ph type="pic" sz="quarter" idx="10"/>
          </p:nvPr>
        </p:nvSpPr>
        <p:spPr>
          <a:xfrm>
            <a:off x="800125"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7" name="Picture Placeholder 26"/>
          <p:cNvSpPr>
            <a:spLocks noGrp="1" noChangeAspect="1"/>
          </p:cNvSpPr>
          <p:nvPr>
            <p:ph type="pic" sz="quarter" idx="11"/>
          </p:nvPr>
        </p:nvSpPr>
        <p:spPr>
          <a:xfrm>
            <a:off x="2811783"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8" name="Picture Placeholder 27"/>
          <p:cNvSpPr>
            <a:spLocks noGrp="1" noChangeAspect="1"/>
          </p:cNvSpPr>
          <p:nvPr>
            <p:ph type="pic" sz="quarter" idx="12"/>
          </p:nvPr>
        </p:nvSpPr>
        <p:spPr>
          <a:xfrm>
            <a:off x="4823441"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9" name="Picture Placeholder 28"/>
          <p:cNvSpPr>
            <a:spLocks noGrp="1" noChangeAspect="1"/>
          </p:cNvSpPr>
          <p:nvPr>
            <p:ph type="pic" sz="quarter" idx="13"/>
          </p:nvPr>
        </p:nvSpPr>
        <p:spPr>
          <a:xfrm>
            <a:off x="6835099"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2533279131"/>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Design Team">
    <p:bg>
      <p:bgPr>
        <a:solidFill>
          <a:schemeClr val="tx2">
            <a:lumMod val="90000"/>
            <a:lumOff val="10000"/>
          </a:schemeClr>
        </a:solidFill>
        <a:effectLst/>
      </p:bgPr>
    </p:bg>
    <p:spTree>
      <p:nvGrpSpPr>
        <p:cNvPr id="1" name=""/>
        <p:cNvGrpSpPr/>
        <p:nvPr/>
      </p:nvGrpSpPr>
      <p:grpSpPr>
        <a:xfrm>
          <a:off x="0" y="0"/>
          <a:ext cx="0" cy="0"/>
          <a:chOff x="0" y="0"/>
          <a:chExt cx="0" cy="0"/>
        </a:xfrm>
      </p:grpSpPr>
      <p:cxnSp>
        <p:nvCxnSpPr>
          <p:cNvPr id="18" name="Straight Connector 17"/>
          <p:cNvCxnSpPr/>
          <p:nvPr userDrawn="1"/>
        </p:nvCxnSpPr>
        <p:spPr>
          <a:xfrm>
            <a:off x="4982926" y="1268744"/>
            <a:ext cx="281" cy="1440165"/>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983208" y="3120383"/>
            <a:ext cx="281" cy="1440165"/>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731294" y="1268744"/>
            <a:ext cx="281" cy="1440165"/>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20" name="Picture Placeholder 3"/>
          <p:cNvSpPr>
            <a:spLocks noGrp="1"/>
          </p:cNvSpPr>
          <p:nvPr>
            <p:ph type="pic" sz="quarter" idx="13"/>
          </p:nvPr>
        </p:nvSpPr>
        <p:spPr>
          <a:xfrm>
            <a:off x="731562" y="1268744"/>
            <a:ext cx="1371600" cy="1440180"/>
          </a:xfrm>
          <a:solidFill>
            <a:schemeClr val="tx2">
              <a:lumMod val="95000"/>
            </a:schemeClr>
          </a:solidFill>
        </p:spPr>
        <p:txBody>
          <a:bodyPr anchor="ctr" anchorCtr="0"/>
          <a:lstStyle>
            <a:lvl1pPr algn="ctr">
              <a:defRPr/>
            </a:lvl1pPr>
          </a:lstStyle>
          <a:p>
            <a:endParaRPr lang="en-US" dirty="0"/>
          </a:p>
        </p:txBody>
      </p:sp>
      <p:sp>
        <p:nvSpPr>
          <p:cNvPr id="27" name="Picture Placeholder 3"/>
          <p:cNvSpPr>
            <a:spLocks noGrp="1"/>
          </p:cNvSpPr>
          <p:nvPr>
            <p:ph type="pic" sz="quarter" idx="14"/>
          </p:nvPr>
        </p:nvSpPr>
        <p:spPr>
          <a:xfrm>
            <a:off x="731562" y="3120353"/>
            <a:ext cx="1371600" cy="1440180"/>
          </a:xfrm>
          <a:solidFill>
            <a:schemeClr val="tx2">
              <a:lumMod val="95000"/>
            </a:schemeClr>
          </a:solidFill>
        </p:spPr>
        <p:txBody>
          <a:bodyPr anchor="ctr" anchorCtr="0"/>
          <a:lstStyle>
            <a:lvl1pPr algn="ctr">
              <a:defRPr/>
            </a:lvl1pPr>
          </a:lstStyle>
          <a:p>
            <a:endParaRPr lang="en-US" dirty="0"/>
          </a:p>
        </p:txBody>
      </p:sp>
      <p:sp>
        <p:nvSpPr>
          <p:cNvPr id="28" name="Picture Placeholder 3"/>
          <p:cNvSpPr>
            <a:spLocks noGrp="1"/>
          </p:cNvSpPr>
          <p:nvPr>
            <p:ph type="pic" sz="quarter" idx="15"/>
          </p:nvPr>
        </p:nvSpPr>
        <p:spPr>
          <a:xfrm>
            <a:off x="4983476" y="1268759"/>
            <a:ext cx="1371600" cy="1440180"/>
          </a:xfrm>
          <a:solidFill>
            <a:schemeClr val="tx2">
              <a:lumMod val="95000"/>
            </a:schemeClr>
          </a:solidFill>
        </p:spPr>
        <p:txBody>
          <a:bodyPr anchor="ctr" anchorCtr="0"/>
          <a:lstStyle>
            <a:lvl1pPr algn="ctr">
              <a:defRPr/>
            </a:lvl1pPr>
          </a:lstStyle>
          <a:p>
            <a:endParaRPr lang="en-US" dirty="0"/>
          </a:p>
        </p:txBody>
      </p:sp>
      <p:sp>
        <p:nvSpPr>
          <p:cNvPr id="29" name="Picture Placeholder 3"/>
          <p:cNvSpPr>
            <a:spLocks noGrp="1"/>
          </p:cNvSpPr>
          <p:nvPr>
            <p:ph type="pic" sz="quarter" idx="16"/>
          </p:nvPr>
        </p:nvSpPr>
        <p:spPr>
          <a:xfrm>
            <a:off x="4983476" y="3120368"/>
            <a:ext cx="1371600" cy="1440180"/>
          </a:xfrm>
          <a:solidFill>
            <a:schemeClr val="tx2">
              <a:lumMod val="95000"/>
            </a:schemeClr>
          </a:solidFill>
        </p:spPr>
        <p:txBody>
          <a:bodyPr anchor="ctr" anchorCtr="0"/>
          <a:lstStyle>
            <a:lvl1pPr algn="ctr">
              <a:defRPr/>
            </a:lvl1pPr>
          </a:lstStyle>
          <a:p>
            <a:endParaRPr lang="en-US" dirty="0"/>
          </a:p>
        </p:txBody>
      </p:sp>
      <p:cxnSp>
        <p:nvCxnSpPr>
          <p:cNvPr id="17" name="Straight Connector 16"/>
          <p:cNvCxnSpPr/>
          <p:nvPr userDrawn="1"/>
        </p:nvCxnSpPr>
        <p:spPr>
          <a:xfrm>
            <a:off x="731562" y="3120383"/>
            <a:ext cx="281" cy="1440165"/>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7789747"/>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Support Team">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12" name="Group 11"/>
          <p:cNvGrpSpPr>
            <a:grpSpLocks noChangeAspect="1"/>
          </p:cNvGrpSpPr>
          <p:nvPr userDrawn="1"/>
        </p:nvGrpSpPr>
        <p:grpSpPr>
          <a:xfrm>
            <a:off x="4777751" y="1200165"/>
            <a:ext cx="1577357" cy="1577340"/>
            <a:chOff x="975392" y="1691659"/>
            <a:chExt cx="2194584" cy="2194560"/>
          </a:xfrm>
          <a:solidFill>
            <a:schemeClr val="accent3"/>
          </a:solidFill>
        </p:grpSpPr>
        <p:sp>
          <p:nvSpPr>
            <p:cNvPr id="13" name="Pie 12"/>
            <p:cNvSpPr>
              <a:spLocks noChangeAspect="1"/>
            </p:cNvSpPr>
            <p:nvPr/>
          </p:nvSpPr>
          <p:spPr>
            <a:xfrm>
              <a:off x="975416" y="1691659"/>
              <a:ext cx="2194560" cy="2194560"/>
            </a:xfrm>
            <a:prstGeom prst="pie">
              <a:avLst>
                <a:gd name="adj1" fmla="val 21552992"/>
                <a:gd name="adj2" fmla="val 9405979"/>
              </a:avLst>
            </a:prstGeom>
            <a:solidFill>
              <a:schemeClr val="accent3"/>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sp>
          <p:nvSpPr>
            <p:cNvPr id="14" name="Pie 13"/>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grpSp>
      <p:grpSp>
        <p:nvGrpSpPr>
          <p:cNvPr id="15" name="Group 14"/>
          <p:cNvGrpSpPr>
            <a:grpSpLocks noChangeAspect="1"/>
          </p:cNvGrpSpPr>
          <p:nvPr userDrawn="1"/>
        </p:nvGrpSpPr>
        <p:grpSpPr>
          <a:xfrm>
            <a:off x="4777751" y="3120402"/>
            <a:ext cx="1577357" cy="1577340"/>
            <a:chOff x="975392" y="1691659"/>
            <a:chExt cx="2194584" cy="2194560"/>
          </a:xfrm>
          <a:solidFill>
            <a:schemeClr val="accent3"/>
          </a:solidFill>
        </p:grpSpPr>
        <p:sp>
          <p:nvSpPr>
            <p:cNvPr id="16" name="Pie 15"/>
            <p:cNvSpPr>
              <a:spLocks noChangeAspect="1"/>
            </p:cNvSpPr>
            <p:nvPr/>
          </p:nvSpPr>
          <p:spPr>
            <a:xfrm>
              <a:off x="975416" y="1691659"/>
              <a:ext cx="2194560" cy="2194560"/>
            </a:xfrm>
            <a:prstGeom prst="pie">
              <a:avLst>
                <a:gd name="adj1" fmla="val 21552992"/>
                <a:gd name="adj2" fmla="val 9405979"/>
              </a:avLst>
            </a:prstGeom>
            <a:solidFill>
              <a:schemeClr val="accent4">
                <a:lumMod val="60000"/>
                <a:lumOff val="40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sp>
          <p:nvSpPr>
            <p:cNvPr id="17" name="Pie 16"/>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grpSp>
      <p:grpSp>
        <p:nvGrpSpPr>
          <p:cNvPr id="18" name="Group 17"/>
          <p:cNvGrpSpPr>
            <a:grpSpLocks noChangeAspect="1"/>
          </p:cNvGrpSpPr>
          <p:nvPr userDrawn="1"/>
        </p:nvGrpSpPr>
        <p:grpSpPr>
          <a:xfrm>
            <a:off x="662996" y="1200183"/>
            <a:ext cx="1577357" cy="1577340"/>
            <a:chOff x="975392" y="1691659"/>
            <a:chExt cx="2194584" cy="2194560"/>
          </a:xfrm>
          <a:solidFill>
            <a:schemeClr val="accent3"/>
          </a:solidFill>
        </p:grpSpPr>
        <p:sp>
          <p:nvSpPr>
            <p:cNvPr id="19" name="Pie 18"/>
            <p:cNvSpPr>
              <a:spLocks noChangeAspect="1"/>
            </p:cNvSpPr>
            <p:nvPr/>
          </p:nvSpPr>
          <p:spPr>
            <a:xfrm>
              <a:off x="975416" y="1691659"/>
              <a:ext cx="2194560" cy="2194560"/>
            </a:xfrm>
            <a:prstGeom prst="pie">
              <a:avLst>
                <a:gd name="adj1" fmla="val 21552992"/>
                <a:gd name="adj2" fmla="val 9405979"/>
              </a:avLst>
            </a:prstGeom>
            <a:solidFill>
              <a:schemeClr val="accent1"/>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sp>
          <p:nvSpPr>
            <p:cNvPr id="20" name="Pie 19"/>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grpSp>
      <p:grpSp>
        <p:nvGrpSpPr>
          <p:cNvPr id="21" name="Group 20"/>
          <p:cNvGrpSpPr>
            <a:grpSpLocks noChangeAspect="1"/>
          </p:cNvGrpSpPr>
          <p:nvPr userDrawn="1"/>
        </p:nvGrpSpPr>
        <p:grpSpPr>
          <a:xfrm>
            <a:off x="662996" y="3120420"/>
            <a:ext cx="1577357" cy="1577340"/>
            <a:chOff x="975392" y="1691659"/>
            <a:chExt cx="2194584" cy="2194560"/>
          </a:xfrm>
          <a:solidFill>
            <a:schemeClr val="accent3"/>
          </a:solidFill>
        </p:grpSpPr>
        <p:sp>
          <p:nvSpPr>
            <p:cNvPr id="22" name="Pie 21"/>
            <p:cNvSpPr>
              <a:spLocks noChangeAspect="1"/>
            </p:cNvSpPr>
            <p:nvPr/>
          </p:nvSpPr>
          <p:spPr>
            <a:xfrm>
              <a:off x="975416" y="1691659"/>
              <a:ext cx="2194560" cy="2194560"/>
            </a:xfrm>
            <a:prstGeom prst="pie">
              <a:avLst>
                <a:gd name="adj1" fmla="val 21552992"/>
                <a:gd name="adj2" fmla="val 9405979"/>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sp>
          <p:nvSpPr>
            <p:cNvPr id="23" name="Pie 22"/>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IN" sz="2000" dirty="0">
                <a:solidFill>
                  <a:prstClr val="black"/>
                </a:solidFill>
              </a:endParaRPr>
            </a:p>
          </p:txBody>
        </p:sp>
      </p:grpSp>
      <p:sp>
        <p:nvSpPr>
          <p:cNvPr id="26" name="Picture Placeholder 25"/>
          <p:cNvSpPr>
            <a:spLocks noGrp="1" noChangeAspect="1"/>
          </p:cNvSpPr>
          <p:nvPr>
            <p:ph type="pic" sz="quarter" idx="10"/>
          </p:nvPr>
        </p:nvSpPr>
        <p:spPr>
          <a:xfrm>
            <a:off x="809361" y="126874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5" name="Picture Placeholder 24"/>
          <p:cNvSpPr>
            <a:spLocks noGrp="1" noChangeAspect="1"/>
          </p:cNvSpPr>
          <p:nvPr>
            <p:ph type="pic" sz="quarter" idx="11"/>
          </p:nvPr>
        </p:nvSpPr>
        <p:spPr>
          <a:xfrm>
            <a:off x="4914881" y="126874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30" name="Picture Placeholder 29"/>
          <p:cNvSpPr>
            <a:spLocks noGrp="1" noChangeAspect="1"/>
          </p:cNvSpPr>
          <p:nvPr>
            <p:ph type="pic" sz="quarter" idx="12"/>
          </p:nvPr>
        </p:nvSpPr>
        <p:spPr>
          <a:xfrm>
            <a:off x="809361" y="318895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31" name="Picture Placeholder 30"/>
          <p:cNvSpPr>
            <a:spLocks noGrp="1" noChangeAspect="1"/>
          </p:cNvSpPr>
          <p:nvPr>
            <p:ph type="pic" sz="quarter" idx="13"/>
          </p:nvPr>
        </p:nvSpPr>
        <p:spPr>
          <a:xfrm>
            <a:off x="4914881" y="318895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1612527306"/>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Individual Team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13" name="Picture Placeholder 25"/>
          <p:cNvSpPr>
            <a:spLocks noGrp="1" noChangeAspect="1"/>
          </p:cNvSpPr>
          <p:nvPr>
            <p:ph type="pic" sz="quarter" idx="11"/>
          </p:nvPr>
        </p:nvSpPr>
        <p:spPr>
          <a:xfrm>
            <a:off x="731562" y="1337324"/>
            <a:ext cx="2468880" cy="246888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032262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Rectangle 4"/>
          <p:cNvSpPr>
            <a:spLocks noGrp="1" noChangeArrowheads="1"/>
          </p:cNvSpPr>
          <p:nvPr>
            <p:ph type="sldNum" sz="quarter" idx="10"/>
          </p:nvPr>
        </p:nvSpPr>
        <p:spPr/>
        <p:txBody>
          <a:bodyPr/>
          <a:lstStyle>
            <a:lvl1pPr algn="l" eaLnBrk="1" hangingPunct="1">
              <a:defRPr>
                <a:ea typeface="ＭＳ Ｐゴシック" pitchFamily="34" charset="-128"/>
              </a:defRPr>
            </a:lvl1pPr>
          </a:lstStyle>
          <a:p>
            <a:pPr>
              <a:defRPr/>
            </a:pPr>
            <a:fld id="{C422228C-75F8-45CA-8CCB-225975231981}" type="slidenum">
              <a:rPr lang="es-ES"/>
              <a:pPr>
                <a:defRPr/>
              </a:pPr>
              <a:t>‹#›</a:t>
            </a:fld>
            <a:endParaRPr lang="es-ES"/>
          </a:p>
        </p:txBody>
      </p:sp>
      <p:sp>
        <p:nvSpPr>
          <p:cNvPr id="5" name="Footer Placeholder 4"/>
          <p:cNvSpPr>
            <a:spLocks noGrp="1"/>
          </p:cNvSpPr>
          <p:nvPr>
            <p:ph type="ftr" sz="quarter" idx="11"/>
          </p:nvPr>
        </p:nvSpPr>
        <p:spPr/>
        <p:txBody>
          <a:bodyPr/>
          <a:lstStyle>
            <a:lvl1pPr>
              <a:defRPr/>
            </a:lvl1pPr>
          </a:lstStyle>
          <a:p>
            <a:pPr>
              <a:defRPr/>
            </a:pPr>
            <a:endParaRPr/>
          </a:p>
        </p:txBody>
      </p:sp>
    </p:spTree>
  </p:cSld>
  <p:clrMapOvr>
    <a:masterClrMapping/>
  </p:clrMapOvr>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Individual Team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14" name="Picture Placeholder 13"/>
          <p:cNvSpPr>
            <a:spLocks noGrp="1"/>
          </p:cNvSpPr>
          <p:nvPr>
            <p:ph type="pic" sz="quarter" idx="10"/>
          </p:nvPr>
        </p:nvSpPr>
        <p:spPr>
          <a:xfrm>
            <a:off x="684416" y="1337324"/>
            <a:ext cx="3544726" cy="3154680"/>
          </a:xfrm>
          <a:custGeom>
            <a:avLst/>
            <a:gdLst>
              <a:gd name="connsiteX0" fmla="*/ 3078836 w 4572000"/>
              <a:gd name="connsiteY0" fmla="*/ 2651731 h 3931877"/>
              <a:gd name="connsiteX1" fmla="*/ 4572000 w 4572000"/>
              <a:gd name="connsiteY1" fmla="*/ 2651731 h 3931877"/>
              <a:gd name="connsiteX2" fmla="*/ 4572000 w 4572000"/>
              <a:gd name="connsiteY2" fmla="*/ 3931877 h 3931877"/>
              <a:gd name="connsiteX3" fmla="*/ 3078836 w 4572000"/>
              <a:gd name="connsiteY3" fmla="*/ 3931877 h 3931877"/>
              <a:gd name="connsiteX4" fmla="*/ 1540184 w 4572000"/>
              <a:gd name="connsiteY4" fmla="*/ 2651731 h 3931877"/>
              <a:gd name="connsiteX5" fmla="*/ 3033348 w 4572000"/>
              <a:gd name="connsiteY5" fmla="*/ 2651731 h 3931877"/>
              <a:gd name="connsiteX6" fmla="*/ 3033348 w 4572000"/>
              <a:gd name="connsiteY6" fmla="*/ 3931877 h 3931877"/>
              <a:gd name="connsiteX7" fmla="*/ 1540184 w 4572000"/>
              <a:gd name="connsiteY7" fmla="*/ 3931877 h 3931877"/>
              <a:gd name="connsiteX8" fmla="*/ 1532 w 4572000"/>
              <a:gd name="connsiteY8" fmla="*/ 2651731 h 3931877"/>
              <a:gd name="connsiteX9" fmla="*/ 1494696 w 4572000"/>
              <a:gd name="connsiteY9" fmla="*/ 2651731 h 3931877"/>
              <a:gd name="connsiteX10" fmla="*/ 1494696 w 4572000"/>
              <a:gd name="connsiteY10" fmla="*/ 3931877 h 3931877"/>
              <a:gd name="connsiteX11" fmla="*/ 1532 w 4572000"/>
              <a:gd name="connsiteY11" fmla="*/ 3931877 h 3931877"/>
              <a:gd name="connsiteX12" fmla="*/ 3078836 w 4572000"/>
              <a:gd name="connsiteY12" fmla="*/ 1325865 h 3931877"/>
              <a:gd name="connsiteX13" fmla="*/ 4572000 w 4572000"/>
              <a:gd name="connsiteY13" fmla="*/ 1325865 h 3931877"/>
              <a:gd name="connsiteX14" fmla="*/ 4572000 w 4572000"/>
              <a:gd name="connsiteY14" fmla="*/ 2606011 h 3931877"/>
              <a:gd name="connsiteX15" fmla="*/ 3078836 w 4572000"/>
              <a:gd name="connsiteY15" fmla="*/ 2606011 h 3931877"/>
              <a:gd name="connsiteX16" fmla="*/ 1539801 w 4572000"/>
              <a:gd name="connsiteY16" fmla="*/ 1325865 h 3931877"/>
              <a:gd name="connsiteX17" fmla="*/ 3032965 w 4572000"/>
              <a:gd name="connsiteY17" fmla="*/ 1325865 h 3931877"/>
              <a:gd name="connsiteX18" fmla="*/ 3032965 w 4572000"/>
              <a:gd name="connsiteY18" fmla="*/ 2606011 h 3931877"/>
              <a:gd name="connsiteX19" fmla="*/ 1539801 w 4572000"/>
              <a:gd name="connsiteY19" fmla="*/ 2606011 h 3931877"/>
              <a:gd name="connsiteX20" fmla="*/ 766 w 4572000"/>
              <a:gd name="connsiteY20" fmla="*/ 1325865 h 3931877"/>
              <a:gd name="connsiteX21" fmla="*/ 1493930 w 4572000"/>
              <a:gd name="connsiteY21" fmla="*/ 1325865 h 3931877"/>
              <a:gd name="connsiteX22" fmla="*/ 1493930 w 4572000"/>
              <a:gd name="connsiteY22" fmla="*/ 2606011 h 3931877"/>
              <a:gd name="connsiteX23" fmla="*/ 766 w 4572000"/>
              <a:gd name="connsiteY23" fmla="*/ 2606011 h 3931877"/>
              <a:gd name="connsiteX24" fmla="*/ 3078836 w 4572000"/>
              <a:gd name="connsiteY24" fmla="*/ 0 h 3931877"/>
              <a:gd name="connsiteX25" fmla="*/ 4572000 w 4572000"/>
              <a:gd name="connsiteY25" fmla="*/ 0 h 3931877"/>
              <a:gd name="connsiteX26" fmla="*/ 4572000 w 4572000"/>
              <a:gd name="connsiteY26" fmla="*/ 1280146 h 3931877"/>
              <a:gd name="connsiteX27" fmla="*/ 3078836 w 4572000"/>
              <a:gd name="connsiteY27" fmla="*/ 1280146 h 3931877"/>
              <a:gd name="connsiteX28" fmla="*/ 1539418 w 4572000"/>
              <a:gd name="connsiteY28" fmla="*/ 0 h 3931877"/>
              <a:gd name="connsiteX29" fmla="*/ 3032582 w 4572000"/>
              <a:gd name="connsiteY29" fmla="*/ 0 h 3931877"/>
              <a:gd name="connsiteX30" fmla="*/ 3032582 w 4572000"/>
              <a:gd name="connsiteY30" fmla="*/ 1280146 h 3931877"/>
              <a:gd name="connsiteX31" fmla="*/ 1539418 w 4572000"/>
              <a:gd name="connsiteY31" fmla="*/ 1280146 h 3931877"/>
              <a:gd name="connsiteX32" fmla="*/ 0 w 4572000"/>
              <a:gd name="connsiteY32" fmla="*/ 0 h 3931877"/>
              <a:gd name="connsiteX33" fmla="*/ 1493164 w 4572000"/>
              <a:gd name="connsiteY33" fmla="*/ 0 h 3931877"/>
              <a:gd name="connsiteX34" fmla="*/ 1493164 w 4572000"/>
              <a:gd name="connsiteY34" fmla="*/ 1280146 h 3931877"/>
              <a:gd name="connsiteX35" fmla="*/ 0 w 4572000"/>
              <a:gd name="connsiteY35" fmla="*/ 1280146 h 39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72000" h="3931877">
                <a:moveTo>
                  <a:pt x="3078836" y="2651731"/>
                </a:moveTo>
                <a:lnTo>
                  <a:pt x="4572000" y="2651731"/>
                </a:lnTo>
                <a:lnTo>
                  <a:pt x="4572000" y="3931877"/>
                </a:lnTo>
                <a:lnTo>
                  <a:pt x="3078836" y="3931877"/>
                </a:lnTo>
                <a:close/>
                <a:moveTo>
                  <a:pt x="1540184" y="2651731"/>
                </a:moveTo>
                <a:lnTo>
                  <a:pt x="3033348" y="2651731"/>
                </a:lnTo>
                <a:lnTo>
                  <a:pt x="3033348" y="3931877"/>
                </a:lnTo>
                <a:lnTo>
                  <a:pt x="1540184" y="3931877"/>
                </a:lnTo>
                <a:close/>
                <a:moveTo>
                  <a:pt x="1532" y="2651731"/>
                </a:moveTo>
                <a:lnTo>
                  <a:pt x="1494696" y="2651731"/>
                </a:lnTo>
                <a:lnTo>
                  <a:pt x="1494696" y="3931877"/>
                </a:lnTo>
                <a:lnTo>
                  <a:pt x="1532" y="3931877"/>
                </a:lnTo>
                <a:close/>
                <a:moveTo>
                  <a:pt x="3078836" y="1325865"/>
                </a:moveTo>
                <a:lnTo>
                  <a:pt x="4572000" y="1325865"/>
                </a:lnTo>
                <a:lnTo>
                  <a:pt x="4572000" y="2606011"/>
                </a:lnTo>
                <a:lnTo>
                  <a:pt x="3078836" y="2606011"/>
                </a:lnTo>
                <a:close/>
                <a:moveTo>
                  <a:pt x="1539801" y="1325865"/>
                </a:moveTo>
                <a:lnTo>
                  <a:pt x="3032965" y="1325865"/>
                </a:lnTo>
                <a:lnTo>
                  <a:pt x="3032965" y="2606011"/>
                </a:lnTo>
                <a:lnTo>
                  <a:pt x="1539801" y="2606011"/>
                </a:lnTo>
                <a:close/>
                <a:moveTo>
                  <a:pt x="766" y="1325865"/>
                </a:moveTo>
                <a:lnTo>
                  <a:pt x="1493930" y="1325865"/>
                </a:lnTo>
                <a:lnTo>
                  <a:pt x="1493930" y="2606011"/>
                </a:lnTo>
                <a:lnTo>
                  <a:pt x="766" y="2606011"/>
                </a:lnTo>
                <a:close/>
                <a:moveTo>
                  <a:pt x="3078836" y="0"/>
                </a:moveTo>
                <a:lnTo>
                  <a:pt x="4572000" y="0"/>
                </a:lnTo>
                <a:lnTo>
                  <a:pt x="4572000" y="1280146"/>
                </a:lnTo>
                <a:lnTo>
                  <a:pt x="3078836" y="1280146"/>
                </a:lnTo>
                <a:close/>
                <a:moveTo>
                  <a:pt x="1539418" y="0"/>
                </a:moveTo>
                <a:lnTo>
                  <a:pt x="3032582" y="0"/>
                </a:lnTo>
                <a:lnTo>
                  <a:pt x="3032582" y="1280146"/>
                </a:lnTo>
                <a:lnTo>
                  <a:pt x="1539418" y="1280146"/>
                </a:lnTo>
                <a:close/>
                <a:moveTo>
                  <a:pt x="0" y="0"/>
                </a:moveTo>
                <a:lnTo>
                  <a:pt x="1493164" y="0"/>
                </a:lnTo>
                <a:lnTo>
                  <a:pt x="1493164" y="1280146"/>
                </a:lnTo>
                <a:lnTo>
                  <a:pt x="0" y="1280146"/>
                </a:lnTo>
                <a:close/>
              </a:path>
            </a:pathLst>
          </a:custGeom>
          <a:solidFill>
            <a:schemeClr val="tx2">
              <a:lumMod val="9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572124028"/>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Partnership">
    <p:spTree>
      <p:nvGrpSpPr>
        <p:cNvPr id="1" name=""/>
        <p:cNvGrpSpPr/>
        <p:nvPr/>
      </p:nvGrpSpPr>
      <p:grpSpPr>
        <a:xfrm>
          <a:off x="0" y="0"/>
          <a:ext cx="0" cy="0"/>
          <a:chOff x="0" y="0"/>
          <a:chExt cx="0" cy="0"/>
        </a:xfrm>
      </p:grpSpPr>
      <p:grpSp>
        <p:nvGrpSpPr>
          <p:cNvPr id="21" name="Group 20"/>
          <p:cNvGrpSpPr/>
          <p:nvPr userDrawn="1"/>
        </p:nvGrpSpPr>
        <p:grpSpPr>
          <a:xfrm>
            <a:off x="5331862" y="-30028"/>
            <a:ext cx="1783064" cy="5340714"/>
            <a:chOff x="6743391" y="-40037"/>
            <a:chExt cx="2377418" cy="7120952"/>
          </a:xfrm>
          <a:solidFill>
            <a:schemeClr val="tx2">
              <a:lumMod val="75000"/>
              <a:lumOff val="25000"/>
            </a:schemeClr>
          </a:solidFill>
        </p:grpSpPr>
        <p:sp>
          <p:nvSpPr>
            <p:cNvPr id="22" name="Freeform 21"/>
            <p:cNvSpPr/>
            <p:nvPr/>
          </p:nvSpPr>
          <p:spPr>
            <a:xfrm rot="1200000">
              <a:off x="8197210" y="5091063"/>
              <a:ext cx="365760" cy="1765207"/>
            </a:xfrm>
            <a:custGeom>
              <a:avLst/>
              <a:gdLst>
                <a:gd name="connsiteX0" fmla="*/ 365760 w 365760"/>
                <a:gd name="connsiteY0" fmla="*/ 0 h 1765207"/>
                <a:gd name="connsiteX1" fmla="*/ 365760 w 365760"/>
                <a:gd name="connsiteY1" fmla="*/ 1632082 h 1765207"/>
                <a:gd name="connsiteX2" fmla="*/ 0 w 365760"/>
                <a:gd name="connsiteY2" fmla="*/ 1765207 h 1765207"/>
                <a:gd name="connsiteX3" fmla="*/ 0 w 365760"/>
                <a:gd name="connsiteY3" fmla="*/ 133126 h 1765207"/>
              </a:gdLst>
              <a:ahLst/>
              <a:cxnLst>
                <a:cxn ang="0">
                  <a:pos x="connsiteX0" y="connsiteY0"/>
                </a:cxn>
                <a:cxn ang="0">
                  <a:pos x="connsiteX1" y="connsiteY1"/>
                </a:cxn>
                <a:cxn ang="0">
                  <a:pos x="connsiteX2" y="connsiteY2"/>
                </a:cxn>
                <a:cxn ang="0">
                  <a:pos x="connsiteX3" y="connsiteY3"/>
                </a:cxn>
              </a:cxnLst>
              <a:rect l="l" t="t" r="r" b="b"/>
              <a:pathLst>
                <a:path w="365760" h="1765207">
                  <a:moveTo>
                    <a:pt x="365760" y="0"/>
                  </a:moveTo>
                  <a:lnTo>
                    <a:pt x="365760" y="1632082"/>
                  </a:lnTo>
                  <a:lnTo>
                    <a:pt x="0" y="176520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23" name="Freeform 22"/>
            <p:cNvSpPr/>
            <p:nvPr/>
          </p:nvSpPr>
          <p:spPr>
            <a:xfrm rot="1200000">
              <a:off x="6743391" y="972631"/>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24" name="Freeform 23"/>
            <p:cNvSpPr/>
            <p:nvPr/>
          </p:nvSpPr>
          <p:spPr>
            <a:xfrm rot="1200000">
              <a:off x="7094507" y="2161338"/>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25" name="Freeform 24"/>
            <p:cNvSpPr/>
            <p:nvPr/>
          </p:nvSpPr>
          <p:spPr>
            <a:xfrm rot="1200000">
              <a:off x="8755049" y="-40037"/>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grpSp>
      <p:sp>
        <p:nvSpPr>
          <p:cNvPr id="20" name="Picture Placeholder 19"/>
          <p:cNvSpPr>
            <a:spLocks noGrp="1"/>
          </p:cNvSpPr>
          <p:nvPr userDrawn="1">
            <p:ph type="pic" sz="quarter" idx="10"/>
          </p:nvPr>
        </p:nvSpPr>
        <p:spPr>
          <a:xfrm>
            <a:off x="4800205" y="128156"/>
            <a:ext cx="3475076" cy="4824859"/>
          </a:xfrm>
          <a:custGeom>
            <a:avLst/>
            <a:gdLst>
              <a:gd name="connsiteX0" fmla="*/ 3375866 w 4633435"/>
              <a:gd name="connsiteY0" fmla="*/ 1948335 h 6433145"/>
              <a:gd name="connsiteX1" fmla="*/ 1743529 w 4633435"/>
              <a:gd name="connsiteY1" fmla="*/ 6433145 h 6433145"/>
              <a:gd name="connsiteX2" fmla="*/ 1354296 w 4633435"/>
              <a:gd name="connsiteY2" fmla="*/ 6433145 h 6433145"/>
              <a:gd name="connsiteX3" fmla="*/ 2986632 w 4633435"/>
              <a:gd name="connsiteY3" fmla="*/ 1948336 h 6433145"/>
              <a:gd name="connsiteX4" fmla="*/ 1927309 w 4633435"/>
              <a:gd name="connsiteY4" fmla="*/ 1085245 h 6433145"/>
              <a:gd name="connsiteX5" fmla="*/ 389233 w 4633435"/>
              <a:gd name="connsiteY5" fmla="*/ 5311073 h 6433145"/>
              <a:gd name="connsiteX6" fmla="*/ 0 w 4633435"/>
              <a:gd name="connsiteY6" fmla="*/ 5311073 h 6433145"/>
              <a:gd name="connsiteX7" fmla="*/ 1538076 w 4633435"/>
              <a:gd name="connsiteY7" fmla="*/ 1085245 h 6433145"/>
              <a:gd name="connsiteX8" fmla="*/ 4144614 w 4633435"/>
              <a:gd name="connsiteY8" fmla="*/ 1054143 h 6433145"/>
              <a:gd name="connsiteX9" fmla="*/ 2240188 w 4633435"/>
              <a:gd name="connsiteY9" fmla="*/ 6286513 h 6433145"/>
              <a:gd name="connsiteX10" fmla="*/ 1850955 w 4633435"/>
              <a:gd name="connsiteY10" fmla="*/ 6286512 h 6433145"/>
              <a:gd name="connsiteX11" fmla="*/ 3755381 w 4633435"/>
              <a:gd name="connsiteY11" fmla="*/ 1054144 h 6433145"/>
              <a:gd name="connsiteX12" fmla="*/ 4633435 w 4633435"/>
              <a:gd name="connsiteY12" fmla="*/ 929046 h 6433145"/>
              <a:gd name="connsiteX13" fmla="*/ 2931731 w 4633435"/>
              <a:gd name="connsiteY13" fmla="*/ 5604439 h 6433145"/>
              <a:gd name="connsiteX14" fmla="*/ 2542497 w 4633435"/>
              <a:gd name="connsiteY14" fmla="*/ 5604441 h 6433145"/>
              <a:gd name="connsiteX15" fmla="*/ 4244201 w 4633435"/>
              <a:gd name="connsiteY15" fmla="*/ 929046 h 6433145"/>
              <a:gd name="connsiteX16" fmla="*/ 2556829 w 4633435"/>
              <a:gd name="connsiteY16" fmla="*/ 693359 h 6433145"/>
              <a:gd name="connsiteX17" fmla="*/ 2946062 w 4633435"/>
              <a:gd name="connsiteY17" fmla="*/ 693360 h 6433145"/>
              <a:gd name="connsiteX18" fmla="*/ 1105166 w 4633435"/>
              <a:gd name="connsiteY18" fmla="*/ 5751182 h 6433145"/>
              <a:gd name="connsiteX19" fmla="*/ 715932 w 4633435"/>
              <a:gd name="connsiteY19" fmla="*/ 5751182 h 6433145"/>
              <a:gd name="connsiteX20" fmla="*/ 3117220 w 4633435"/>
              <a:gd name="connsiteY20" fmla="*/ 371622 h 6433145"/>
              <a:gd name="connsiteX21" fmla="*/ 3506455 w 4633435"/>
              <a:gd name="connsiteY21" fmla="*/ 371623 h 6433145"/>
              <a:gd name="connsiteX22" fmla="*/ 1733179 w 4633435"/>
              <a:gd name="connsiteY22" fmla="*/ 5243655 h 6433145"/>
              <a:gd name="connsiteX23" fmla="*/ 1343944 w 4633435"/>
              <a:gd name="connsiteY23" fmla="*/ 5243655 h 6433145"/>
              <a:gd name="connsiteX24" fmla="*/ 2755136 w 4633435"/>
              <a:gd name="connsiteY24" fmla="*/ 0 h 6433145"/>
              <a:gd name="connsiteX25" fmla="*/ 525012 w 4633435"/>
              <a:gd name="connsiteY25" fmla="*/ 6127216 h 6433145"/>
              <a:gd name="connsiteX26" fmla="*/ 135778 w 4633435"/>
              <a:gd name="connsiteY26" fmla="*/ 6127217 h 6433145"/>
              <a:gd name="connsiteX27" fmla="*/ 2365902 w 4633435"/>
              <a:gd name="connsiteY27" fmla="*/ 1 h 643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33435" h="6433145">
                <a:moveTo>
                  <a:pt x="3375866" y="1948335"/>
                </a:moveTo>
                <a:lnTo>
                  <a:pt x="1743529" y="6433145"/>
                </a:lnTo>
                <a:lnTo>
                  <a:pt x="1354296" y="6433145"/>
                </a:lnTo>
                <a:lnTo>
                  <a:pt x="2986632" y="1948336"/>
                </a:lnTo>
                <a:close/>
                <a:moveTo>
                  <a:pt x="1927309" y="1085245"/>
                </a:moveTo>
                <a:lnTo>
                  <a:pt x="389233" y="5311073"/>
                </a:lnTo>
                <a:lnTo>
                  <a:pt x="0" y="5311073"/>
                </a:lnTo>
                <a:lnTo>
                  <a:pt x="1538076" y="1085245"/>
                </a:lnTo>
                <a:close/>
                <a:moveTo>
                  <a:pt x="4144614" y="1054143"/>
                </a:moveTo>
                <a:lnTo>
                  <a:pt x="2240188" y="6286513"/>
                </a:lnTo>
                <a:lnTo>
                  <a:pt x="1850955" y="6286512"/>
                </a:lnTo>
                <a:lnTo>
                  <a:pt x="3755381" y="1054144"/>
                </a:lnTo>
                <a:close/>
                <a:moveTo>
                  <a:pt x="4633435" y="929046"/>
                </a:moveTo>
                <a:lnTo>
                  <a:pt x="2931731" y="5604439"/>
                </a:lnTo>
                <a:lnTo>
                  <a:pt x="2542497" y="5604441"/>
                </a:lnTo>
                <a:lnTo>
                  <a:pt x="4244201" y="929046"/>
                </a:lnTo>
                <a:close/>
                <a:moveTo>
                  <a:pt x="2556829" y="693359"/>
                </a:moveTo>
                <a:lnTo>
                  <a:pt x="2946062" y="693360"/>
                </a:lnTo>
                <a:lnTo>
                  <a:pt x="1105166" y="5751182"/>
                </a:lnTo>
                <a:lnTo>
                  <a:pt x="715932" y="5751182"/>
                </a:lnTo>
                <a:close/>
                <a:moveTo>
                  <a:pt x="3117220" y="371622"/>
                </a:moveTo>
                <a:lnTo>
                  <a:pt x="3506455" y="371623"/>
                </a:lnTo>
                <a:lnTo>
                  <a:pt x="1733179" y="5243655"/>
                </a:lnTo>
                <a:lnTo>
                  <a:pt x="1343944" y="5243655"/>
                </a:lnTo>
                <a:close/>
                <a:moveTo>
                  <a:pt x="2755136" y="0"/>
                </a:moveTo>
                <a:lnTo>
                  <a:pt x="525012" y="6127216"/>
                </a:lnTo>
                <a:lnTo>
                  <a:pt x="135778" y="6127217"/>
                </a:lnTo>
                <a:lnTo>
                  <a:pt x="2365902" y="1"/>
                </a:ln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934304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outHorizontal)">
                                      <p:cBhvr>
                                        <p:cTn id="7" dur="1000"/>
                                        <p:tgtEl>
                                          <p:spTgt spid="21"/>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barn(outHorizontal)">
                                      <p:cBhvr>
                                        <p:cTn id="10"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Products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21" name="Picture Placeholder 16"/>
          <p:cNvSpPr>
            <a:spLocks noGrp="1"/>
          </p:cNvSpPr>
          <p:nvPr>
            <p:ph type="pic" sz="quarter" idx="17"/>
          </p:nvPr>
        </p:nvSpPr>
        <p:spPr>
          <a:xfrm>
            <a:off x="594404" y="1337324"/>
            <a:ext cx="2468880" cy="1645920"/>
          </a:xfrm>
          <a:solidFill>
            <a:schemeClr val="tx2">
              <a:lumMod val="85000"/>
            </a:schemeClr>
          </a:solidFill>
          <a:ln>
            <a:noFill/>
          </a:ln>
        </p:spPr>
        <p:txBody>
          <a:bodyPr anchor="ctr" anchorCtr="0"/>
          <a:lstStyle>
            <a:lvl1pPr algn="ctr">
              <a:defRPr/>
            </a:lvl1pPr>
          </a:lstStyle>
          <a:p>
            <a:endParaRPr lang="en-US" dirty="0"/>
          </a:p>
        </p:txBody>
      </p:sp>
      <p:sp>
        <p:nvSpPr>
          <p:cNvPr id="22" name="Picture Placeholder 16"/>
          <p:cNvSpPr>
            <a:spLocks noGrp="1"/>
          </p:cNvSpPr>
          <p:nvPr>
            <p:ph type="pic" sz="quarter" idx="18"/>
          </p:nvPr>
        </p:nvSpPr>
        <p:spPr>
          <a:xfrm>
            <a:off x="3337547" y="1337324"/>
            <a:ext cx="2468880" cy="1645920"/>
          </a:xfrm>
          <a:solidFill>
            <a:schemeClr val="tx2">
              <a:lumMod val="85000"/>
            </a:schemeClr>
          </a:solidFill>
          <a:ln>
            <a:noFill/>
          </a:ln>
        </p:spPr>
        <p:txBody>
          <a:bodyPr anchor="ctr" anchorCtr="0"/>
          <a:lstStyle>
            <a:lvl1pPr algn="ctr">
              <a:defRPr/>
            </a:lvl1pPr>
          </a:lstStyle>
          <a:p>
            <a:endParaRPr lang="en-US" dirty="0"/>
          </a:p>
        </p:txBody>
      </p:sp>
      <p:sp>
        <p:nvSpPr>
          <p:cNvPr id="23" name="Picture Placeholder 16"/>
          <p:cNvSpPr>
            <a:spLocks noGrp="1"/>
          </p:cNvSpPr>
          <p:nvPr>
            <p:ph type="pic" sz="quarter" idx="19"/>
          </p:nvPr>
        </p:nvSpPr>
        <p:spPr>
          <a:xfrm>
            <a:off x="6080717" y="1337324"/>
            <a:ext cx="2468880" cy="16459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619809965"/>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Products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11" name="Picture Placeholder 16"/>
          <p:cNvSpPr>
            <a:spLocks noGrp="1"/>
          </p:cNvSpPr>
          <p:nvPr>
            <p:ph type="pic" sz="quarter" idx="15"/>
          </p:nvPr>
        </p:nvSpPr>
        <p:spPr>
          <a:xfrm>
            <a:off x="594404" y="1268744"/>
            <a:ext cx="1920240" cy="1508760"/>
          </a:xfrm>
          <a:solidFill>
            <a:schemeClr val="tx2">
              <a:lumMod val="85000"/>
            </a:schemeClr>
          </a:solidFill>
          <a:ln>
            <a:noFill/>
          </a:ln>
        </p:spPr>
        <p:txBody>
          <a:bodyPr anchor="ctr" anchorCtr="0"/>
          <a:lstStyle>
            <a:lvl1pPr algn="ctr">
              <a:defRPr/>
            </a:lvl1pPr>
          </a:lstStyle>
          <a:p>
            <a:endParaRPr lang="en-US" dirty="0"/>
          </a:p>
        </p:txBody>
      </p:sp>
      <p:sp>
        <p:nvSpPr>
          <p:cNvPr id="12" name="Picture Placeholder 16"/>
          <p:cNvSpPr>
            <a:spLocks noGrp="1"/>
          </p:cNvSpPr>
          <p:nvPr>
            <p:ph type="pic" sz="quarter" idx="16"/>
          </p:nvPr>
        </p:nvSpPr>
        <p:spPr>
          <a:xfrm>
            <a:off x="4709117" y="1268744"/>
            <a:ext cx="1920240" cy="1508760"/>
          </a:xfrm>
          <a:solidFill>
            <a:schemeClr val="tx2">
              <a:lumMod val="85000"/>
            </a:schemeClr>
          </a:solidFill>
          <a:ln>
            <a:noFill/>
          </a:ln>
        </p:spPr>
        <p:txBody>
          <a:bodyPr anchor="ctr" anchorCtr="0"/>
          <a:lstStyle>
            <a:lvl1pPr algn="ctr">
              <a:defRPr/>
            </a:lvl1pPr>
          </a:lstStyle>
          <a:p>
            <a:endParaRPr lang="en-US" dirty="0"/>
          </a:p>
        </p:txBody>
      </p:sp>
      <p:sp>
        <p:nvSpPr>
          <p:cNvPr id="13" name="Picture Placeholder 16"/>
          <p:cNvSpPr>
            <a:spLocks noGrp="1"/>
          </p:cNvSpPr>
          <p:nvPr>
            <p:ph type="pic" sz="quarter" idx="17"/>
          </p:nvPr>
        </p:nvSpPr>
        <p:spPr>
          <a:xfrm>
            <a:off x="594425" y="3051805"/>
            <a:ext cx="1920240" cy="1508760"/>
          </a:xfrm>
          <a:solidFill>
            <a:schemeClr val="tx2">
              <a:lumMod val="85000"/>
            </a:schemeClr>
          </a:solidFill>
          <a:ln>
            <a:noFill/>
          </a:ln>
        </p:spPr>
        <p:txBody>
          <a:bodyPr anchor="ctr" anchorCtr="0"/>
          <a:lstStyle>
            <a:lvl1pPr algn="ctr">
              <a:defRPr/>
            </a:lvl1pPr>
          </a:lstStyle>
          <a:p>
            <a:endParaRPr lang="en-US" dirty="0"/>
          </a:p>
        </p:txBody>
      </p:sp>
      <p:sp>
        <p:nvSpPr>
          <p:cNvPr id="14" name="Picture Placeholder 16"/>
          <p:cNvSpPr>
            <a:spLocks noGrp="1"/>
          </p:cNvSpPr>
          <p:nvPr>
            <p:ph type="pic" sz="quarter" idx="18"/>
          </p:nvPr>
        </p:nvSpPr>
        <p:spPr>
          <a:xfrm>
            <a:off x="4709138" y="3051805"/>
            <a:ext cx="1920240" cy="150876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1743266393"/>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Detailed Product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15" name="Picture Placeholder 16"/>
          <p:cNvSpPr>
            <a:spLocks noGrp="1"/>
          </p:cNvSpPr>
          <p:nvPr>
            <p:ph type="pic" sz="quarter" idx="15"/>
          </p:nvPr>
        </p:nvSpPr>
        <p:spPr>
          <a:xfrm>
            <a:off x="662963" y="1337288"/>
            <a:ext cx="4389093" cy="3223260"/>
          </a:xfrm>
          <a:solidFill>
            <a:schemeClr val="tx2">
              <a:lumMod val="85000"/>
            </a:schemeClr>
          </a:solidFill>
          <a:ln>
            <a:noFill/>
          </a:ln>
          <a:effectLst/>
        </p:spPr>
        <p:txBody>
          <a:bodyPr anchor="ctr" anchorCtr="0"/>
          <a:lstStyle>
            <a:lvl1pPr algn="ctr">
              <a:defRPr/>
            </a:lvl1pPr>
          </a:lstStyle>
          <a:p>
            <a:endParaRPr lang="en-US" dirty="0"/>
          </a:p>
        </p:txBody>
      </p:sp>
    </p:spTree>
    <p:extLst>
      <p:ext uri="{BB962C8B-B14F-4D97-AF65-F5344CB8AC3E}">
        <p14:creationId xmlns:p14="http://schemas.microsoft.com/office/powerpoint/2010/main" val="2591922885"/>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Services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14" name="Rectangle 13"/>
          <p:cNvSpPr/>
          <p:nvPr userDrawn="1"/>
        </p:nvSpPr>
        <p:spPr>
          <a:xfrm>
            <a:off x="2185438" y="1268980"/>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15" name="Rectangle 14"/>
          <p:cNvSpPr/>
          <p:nvPr userDrawn="1"/>
        </p:nvSpPr>
        <p:spPr>
          <a:xfrm>
            <a:off x="5367506" y="1268980"/>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16" name="Rectangle 15"/>
          <p:cNvSpPr/>
          <p:nvPr userDrawn="1"/>
        </p:nvSpPr>
        <p:spPr>
          <a:xfrm>
            <a:off x="594404" y="2915020"/>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9" name="Rectangle 28"/>
          <p:cNvSpPr/>
          <p:nvPr userDrawn="1"/>
        </p:nvSpPr>
        <p:spPr>
          <a:xfrm>
            <a:off x="3776472" y="2915020"/>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30" name="Rectangle 29"/>
          <p:cNvSpPr/>
          <p:nvPr userDrawn="1"/>
        </p:nvSpPr>
        <p:spPr>
          <a:xfrm>
            <a:off x="6958541" y="2915020"/>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32" name="Picture Placeholder 3"/>
          <p:cNvSpPr>
            <a:spLocks noGrp="1"/>
          </p:cNvSpPr>
          <p:nvPr>
            <p:ph type="pic" sz="quarter" idx="14"/>
          </p:nvPr>
        </p:nvSpPr>
        <p:spPr>
          <a:xfrm>
            <a:off x="2185438" y="1268744"/>
            <a:ext cx="1591056" cy="1645920"/>
          </a:xfrm>
          <a:solidFill>
            <a:schemeClr val="tx2">
              <a:lumMod val="85000"/>
            </a:schemeClr>
          </a:solidFill>
        </p:spPr>
        <p:txBody>
          <a:bodyPr anchor="ctr" anchorCtr="0"/>
          <a:lstStyle>
            <a:lvl1pPr algn="ctr">
              <a:defRPr/>
            </a:lvl1pPr>
          </a:lstStyle>
          <a:p>
            <a:endParaRPr lang="en-US" dirty="0"/>
          </a:p>
        </p:txBody>
      </p:sp>
      <p:sp>
        <p:nvSpPr>
          <p:cNvPr id="34" name="Picture Placeholder 3"/>
          <p:cNvSpPr>
            <a:spLocks noGrp="1"/>
          </p:cNvSpPr>
          <p:nvPr>
            <p:ph type="pic" sz="quarter" idx="16"/>
          </p:nvPr>
        </p:nvSpPr>
        <p:spPr>
          <a:xfrm>
            <a:off x="5367506" y="1268780"/>
            <a:ext cx="1591056" cy="1645920"/>
          </a:xfrm>
          <a:solidFill>
            <a:schemeClr val="tx2">
              <a:lumMod val="85000"/>
            </a:schemeClr>
          </a:solidFill>
        </p:spPr>
        <p:txBody>
          <a:bodyPr anchor="ctr" anchorCtr="0"/>
          <a:lstStyle>
            <a:lvl1pPr algn="ctr">
              <a:defRPr/>
            </a:lvl1pPr>
          </a:lstStyle>
          <a:p>
            <a:endParaRPr lang="en-US" dirty="0"/>
          </a:p>
        </p:txBody>
      </p:sp>
      <p:sp>
        <p:nvSpPr>
          <p:cNvPr id="36" name="Picture Placeholder 3"/>
          <p:cNvSpPr>
            <a:spLocks noGrp="1"/>
          </p:cNvSpPr>
          <p:nvPr>
            <p:ph type="pic" sz="quarter" idx="18"/>
          </p:nvPr>
        </p:nvSpPr>
        <p:spPr>
          <a:xfrm>
            <a:off x="594404" y="2914646"/>
            <a:ext cx="1591056" cy="1645920"/>
          </a:xfrm>
          <a:solidFill>
            <a:schemeClr val="tx2">
              <a:lumMod val="85000"/>
            </a:schemeClr>
          </a:solidFill>
        </p:spPr>
        <p:txBody>
          <a:bodyPr anchor="ctr" anchorCtr="0"/>
          <a:lstStyle>
            <a:lvl1pPr algn="ctr">
              <a:defRPr/>
            </a:lvl1pPr>
          </a:lstStyle>
          <a:p>
            <a:endParaRPr lang="en-US" dirty="0"/>
          </a:p>
        </p:txBody>
      </p:sp>
      <p:sp>
        <p:nvSpPr>
          <p:cNvPr id="38" name="Picture Placeholder 3"/>
          <p:cNvSpPr>
            <a:spLocks noGrp="1"/>
          </p:cNvSpPr>
          <p:nvPr>
            <p:ph type="pic" sz="quarter" idx="20"/>
          </p:nvPr>
        </p:nvSpPr>
        <p:spPr>
          <a:xfrm>
            <a:off x="3776472" y="2914682"/>
            <a:ext cx="1591056" cy="1645920"/>
          </a:xfrm>
          <a:solidFill>
            <a:schemeClr val="tx2">
              <a:lumMod val="85000"/>
            </a:schemeClr>
          </a:solidFill>
        </p:spPr>
        <p:txBody>
          <a:bodyPr anchor="ctr" anchorCtr="0"/>
          <a:lstStyle>
            <a:lvl1pPr algn="ctr">
              <a:defRPr/>
            </a:lvl1pPr>
          </a:lstStyle>
          <a:p>
            <a:endParaRPr lang="en-US" dirty="0"/>
          </a:p>
        </p:txBody>
      </p:sp>
      <p:sp>
        <p:nvSpPr>
          <p:cNvPr id="40" name="Picture Placeholder 3"/>
          <p:cNvSpPr>
            <a:spLocks noGrp="1"/>
          </p:cNvSpPr>
          <p:nvPr>
            <p:ph type="pic" sz="quarter" idx="22"/>
          </p:nvPr>
        </p:nvSpPr>
        <p:spPr>
          <a:xfrm>
            <a:off x="6958541" y="2914718"/>
            <a:ext cx="1591056" cy="164592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1201868938"/>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Services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32" name="Picture Placeholder 3"/>
          <p:cNvSpPr>
            <a:spLocks noGrp="1"/>
          </p:cNvSpPr>
          <p:nvPr>
            <p:ph type="pic" sz="quarter" idx="14"/>
          </p:nvPr>
        </p:nvSpPr>
        <p:spPr>
          <a:xfrm>
            <a:off x="594384" y="1268744"/>
            <a:ext cx="1783080" cy="1645920"/>
          </a:xfrm>
          <a:solidFill>
            <a:schemeClr val="tx2">
              <a:lumMod val="85000"/>
            </a:schemeClr>
          </a:solidFill>
          <a:ln>
            <a:solidFill>
              <a:schemeClr val="tx2">
                <a:lumMod val="90000"/>
                <a:lumOff val="10000"/>
              </a:schemeClr>
            </a:solidFill>
          </a:ln>
        </p:spPr>
        <p:txBody>
          <a:bodyPr anchor="ctr" anchorCtr="0"/>
          <a:lstStyle>
            <a:lvl1pPr algn="ctr">
              <a:defRPr/>
            </a:lvl1pPr>
          </a:lstStyle>
          <a:p>
            <a:endParaRPr lang="en-US" dirty="0"/>
          </a:p>
        </p:txBody>
      </p:sp>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23" name="Picture Placeholder 3"/>
          <p:cNvSpPr>
            <a:spLocks noGrp="1"/>
          </p:cNvSpPr>
          <p:nvPr>
            <p:ph type="pic" sz="quarter" idx="15"/>
          </p:nvPr>
        </p:nvSpPr>
        <p:spPr>
          <a:xfrm>
            <a:off x="2377464" y="1268744"/>
            <a:ext cx="1783080" cy="1645920"/>
          </a:xfrm>
          <a:solidFill>
            <a:schemeClr val="tx2">
              <a:lumMod val="85000"/>
            </a:schemeClr>
          </a:solidFill>
          <a:ln>
            <a:solidFill>
              <a:schemeClr val="tx2">
                <a:lumMod val="90000"/>
                <a:lumOff val="10000"/>
              </a:schemeClr>
            </a:solidFill>
          </a:ln>
        </p:spPr>
        <p:txBody>
          <a:bodyPr anchor="ctr" anchorCtr="0"/>
          <a:lstStyle>
            <a:lvl1pPr algn="ctr">
              <a:defRPr/>
            </a:lvl1pPr>
          </a:lstStyle>
          <a:p>
            <a:endParaRPr lang="en-US" dirty="0"/>
          </a:p>
        </p:txBody>
      </p:sp>
      <p:sp>
        <p:nvSpPr>
          <p:cNvPr id="24" name="Picture Placeholder 3"/>
          <p:cNvSpPr>
            <a:spLocks noGrp="1"/>
          </p:cNvSpPr>
          <p:nvPr>
            <p:ph type="pic" sz="quarter" idx="16"/>
          </p:nvPr>
        </p:nvSpPr>
        <p:spPr>
          <a:xfrm>
            <a:off x="594404" y="2914646"/>
            <a:ext cx="3566160" cy="1645920"/>
          </a:xfrm>
          <a:solidFill>
            <a:schemeClr val="tx2">
              <a:lumMod val="85000"/>
            </a:schemeClr>
          </a:solidFill>
          <a:ln>
            <a:solidFill>
              <a:schemeClr val="tx2">
                <a:lumMod val="90000"/>
                <a:lumOff val="10000"/>
              </a:schemeClr>
            </a:solid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2563240679"/>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Services Detail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4" name="Picture Placeholder 3"/>
          <p:cNvSpPr>
            <a:spLocks noGrp="1"/>
          </p:cNvSpPr>
          <p:nvPr>
            <p:ph type="pic" sz="quarter" idx="16"/>
          </p:nvPr>
        </p:nvSpPr>
        <p:spPr>
          <a:xfrm>
            <a:off x="594403" y="1268744"/>
            <a:ext cx="1988840" cy="3291840"/>
          </a:xfrm>
          <a:solidFill>
            <a:schemeClr val="tx2">
              <a:lumMod val="85000"/>
            </a:schemeClr>
          </a:solidFill>
          <a:ln>
            <a:noFill/>
          </a:ln>
        </p:spPr>
        <p:txBody>
          <a:bodyPr anchor="ctr" anchorCtr="0"/>
          <a:lstStyle>
            <a:lvl1pPr algn="ctr">
              <a:defRPr/>
            </a:lvl1pPr>
          </a:lstStyle>
          <a:p>
            <a:endParaRPr lang="en-US" dirty="0"/>
          </a:p>
        </p:txBody>
      </p:sp>
      <p:sp>
        <p:nvSpPr>
          <p:cNvPr id="13" name="Picture Placeholder 3"/>
          <p:cNvSpPr>
            <a:spLocks noGrp="1"/>
          </p:cNvSpPr>
          <p:nvPr>
            <p:ph type="pic" sz="quarter" idx="15"/>
          </p:nvPr>
        </p:nvSpPr>
        <p:spPr>
          <a:xfrm>
            <a:off x="4571959" y="1268744"/>
            <a:ext cx="1988840" cy="3291840"/>
          </a:xfrm>
          <a:solidFill>
            <a:schemeClr val="tx2">
              <a:lumMod val="85000"/>
            </a:schemeClr>
          </a:solidFill>
          <a:ln>
            <a:noFill/>
          </a:ln>
        </p:spPr>
        <p:txBody>
          <a:bodyPr anchor="ctr" anchorCtr="0"/>
          <a:lstStyle>
            <a:lvl1pPr algn="ctr">
              <a:defRPr/>
            </a:lvl1pPr>
          </a:lstStyle>
          <a:p>
            <a:endParaRPr lang="en-US" dirty="0"/>
          </a:p>
        </p:txBody>
      </p:sp>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2466066974"/>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SWOT Analysis">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383409" y="2846066"/>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20" name="Rectangle 19"/>
          <p:cNvSpPr/>
          <p:nvPr userDrawn="1"/>
        </p:nvSpPr>
        <p:spPr>
          <a:xfrm>
            <a:off x="0" y="3188963"/>
            <a:ext cx="9144000" cy="1954536"/>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Tree>
    <p:extLst>
      <p:ext uri="{BB962C8B-B14F-4D97-AF65-F5344CB8AC3E}">
        <p14:creationId xmlns:p14="http://schemas.microsoft.com/office/powerpoint/2010/main" val="3408766858"/>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Portfolio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3200428" y="1131584"/>
            <a:ext cx="2743171" cy="2057400"/>
          </a:xfrm>
          <a:solidFill>
            <a:schemeClr val="tx2">
              <a:lumMod val="85000"/>
            </a:schemeClr>
          </a:solidFill>
          <a:ln w="6350">
            <a:noFill/>
          </a:ln>
        </p:spPr>
        <p:txBody>
          <a:bodyPr anchor="ctr" anchorCtr="0"/>
          <a:lstStyle>
            <a:lvl1pPr algn="ctr">
              <a:defRPr/>
            </a:lvl1pPr>
          </a:lstStyle>
          <a:p>
            <a:endParaRPr lang="en-US" dirty="0"/>
          </a:p>
        </p:txBody>
      </p:sp>
      <p:sp>
        <p:nvSpPr>
          <p:cNvPr id="21" name="Picture Placeholder 3"/>
          <p:cNvSpPr>
            <a:spLocks noGrp="1"/>
          </p:cNvSpPr>
          <p:nvPr>
            <p:ph type="pic" sz="quarter" idx="11"/>
          </p:nvPr>
        </p:nvSpPr>
        <p:spPr>
          <a:xfrm>
            <a:off x="594133" y="2914406"/>
            <a:ext cx="2606293" cy="1783080"/>
          </a:xfrm>
          <a:solidFill>
            <a:schemeClr val="tx2">
              <a:lumMod val="85000"/>
            </a:schemeClr>
          </a:solidFill>
          <a:ln w="6350">
            <a:noFill/>
          </a:ln>
        </p:spPr>
        <p:txBody>
          <a:bodyPr anchor="ctr" anchorCtr="0"/>
          <a:lstStyle>
            <a:lvl1pPr algn="ctr">
              <a:defRPr/>
            </a:lvl1pPr>
          </a:lstStyle>
          <a:p>
            <a:endParaRPr lang="en-US" dirty="0"/>
          </a:p>
        </p:txBody>
      </p:sp>
      <p:sp>
        <p:nvSpPr>
          <p:cNvPr id="22" name="Picture Placeholder 3"/>
          <p:cNvSpPr>
            <a:spLocks noGrp="1"/>
          </p:cNvSpPr>
          <p:nvPr>
            <p:ph type="pic" sz="quarter" idx="12"/>
          </p:nvPr>
        </p:nvSpPr>
        <p:spPr>
          <a:xfrm>
            <a:off x="5943585" y="2914406"/>
            <a:ext cx="2606296" cy="1782819"/>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42949183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349191" y="1032212"/>
            <a:ext cx="4122022" cy="3459956"/>
          </a:xfrm>
        </p:spPr>
        <p:txBody>
          <a:bodyPr/>
          <a:lstStyle>
            <a:lvl1pPr algn="l">
              <a:defRPr sz="2400"/>
            </a:lvl1pPr>
            <a:lvl2pPr algn="l">
              <a:defRPr sz="2000"/>
            </a:lvl2pPr>
            <a:lvl3pPr algn="l">
              <a:defRPr sz="1800"/>
            </a:lvl3pPr>
            <a:lvl4pPr algn="l">
              <a:defRPr sz="1800"/>
            </a:lvl4pPr>
            <a:lvl5pPr algn="l">
              <a:defRPr sz="18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a:xfrm>
            <a:off x="4623669" y="1032212"/>
            <a:ext cx="4123609" cy="3459956"/>
          </a:xfrm>
        </p:spPr>
        <p:txBody>
          <a:bodyPr/>
          <a:lstStyle>
            <a:lvl1pPr algn="l">
              <a:defRPr sz="2400"/>
            </a:lvl1pPr>
            <a:lvl2pPr algn="l">
              <a:defRPr sz="2000"/>
            </a:lvl2pPr>
            <a:lvl3pPr algn="l">
              <a:defRPr sz="1800"/>
            </a:lvl3pPr>
            <a:lvl4pPr algn="l">
              <a:defRPr sz="1800"/>
            </a:lvl4pPr>
            <a:lvl5pPr algn="l">
              <a:defRPr sz="18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Rectangle 4"/>
          <p:cNvSpPr>
            <a:spLocks noGrp="1" noChangeArrowheads="1"/>
          </p:cNvSpPr>
          <p:nvPr>
            <p:ph type="sldNum" sz="quarter" idx="10"/>
          </p:nvPr>
        </p:nvSpPr>
        <p:spPr/>
        <p:txBody>
          <a:bodyPr/>
          <a:lstStyle>
            <a:lvl1pPr algn="l" eaLnBrk="1" hangingPunct="1">
              <a:defRPr>
                <a:ea typeface="ＭＳ Ｐゴシック" pitchFamily="34" charset="-128"/>
              </a:defRPr>
            </a:lvl1pPr>
          </a:lstStyle>
          <a:p>
            <a:pPr>
              <a:defRPr/>
            </a:pPr>
            <a:fld id="{A7F43AEC-8F79-4C13-AD75-114169709D23}" type="slidenum">
              <a:rPr lang="es-ES"/>
              <a:pPr>
                <a:defRPr/>
              </a:pPr>
              <a:t>‹#›</a:t>
            </a:fld>
            <a:endParaRPr lang="es-ES"/>
          </a:p>
        </p:txBody>
      </p:sp>
      <p:sp>
        <p:nvSpPr>
          <p:cNvPr id="6" name="Footer Placeholder 5"/>
          <p:cNvSpPr>
            <a:spLocks noGrp="1"/>
          </p:cNvSpPr>
          <p:nvPr>
            <p:ph type="ftr" sz="quarter" idx="11"/>
          </p:nvPr>
        </p:nvSpPr>
        <p:spPr/>
        <p:txBody>
          <a:bodyPr/>
          <a:lstStyle>
            <a:lvl1pPr>
              <a:defRPr/>
            </a:lvl1pPr>
          </a:lstStyle>
          <a:p>
            <a:pPr>
              <a:defRPr/>
            </a:pPr>
            <a:endParaRPr/>
          </a:p>
        </p:txBody>
      </p:sp>
    </p:spTree>
  </p:cSld>
  <p:clrMapOvr>
    <a:masterClrMapping/>
  </p:clrMapOvr>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Portfolio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32" name="Picture Placeholder 31"/>
          <p:cNvSpPr>
            <a:spLocks noGrp="1"/>
          </p:cNvSpPr>
          <p:nvPr>
            <p:ph type="pic" sz="quarter" idx="10"/>
          </p:nvPr>
        </p:nvSpPr>
        <p:spPr>
          <a:xfrm>
            <a:off x="594405" y="1131588"/>
            <a:ext cx="1988776" cy="1782820"/>
          </a:xfrm>
          <a:custGeom>
            <a:avLst/>
            <a:gdLst>
              <a:gd name="connsiteX0" fmla="*/ 1371571 w 2651701"/>
              <a:gd name="connsiteY0" fmla="*/ 321 h 2377093"/>
              <a:gd name="connsiteX1" fmla="*/ 2651701 w 2651701"/>
              <a:gd name="connsiteY1" fmla="*/ 321 h 2377093"/>
              <a:gd name="connsiteX2" fmla="*/ 2651701 w 2651701"/>
              <a:gd name="connsiteY2" fmla="*/ 2377093 h 2377093"/>
              <a:gd name="connsiteX3" fmla="*/ 1371571 w 2651701"/>
              <a:gd name="connsiteY3" fmla="*/ 2377093 h 2377093"/>
              <a:gd name="connsiteX4" fmla="*/ 0 w 2651701"/>
              <a:gd name="connsiteY4" fmla="*/ 0 h 2377093"/>
              <a:gd name="connsiteX5" fmla="*/ 1280160 w 2651701"/>
              <a:gd name="connsiteY5" fmla="*/ 0 h 2377093"/>
              <a:gd name="connsiteX6" fmla="*/ 1280160 w 2651701"/>
              <a:gd name="connsiteY6" fmla="*/ 2377093 h 2377093"/>
              <a:gd name="connsiteX7" fmla="*/ 0 w 2651701"/>
              <a:gd name="connsiteY7" fmla="*/ 2377093 h 237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1701" h="2377093">
                <a:moveTo>
                  <a:pt x="1371571" y="321"/>
                </a:moveTo>
                <a:lnTo>
                  <a:pt x="2651701" y="321"/>
                </a:lnTo>
                <a:lnTo>
                  <a:pt x="2651701" y="2377093"/>
                </a:lnTo>
                <a:lnTo>
                  <a:pt x="1371571" y="2377093"/>
                </a:lnTo>
                <a:close/>
                <a:moveTo>
                  <a:pt x="0" y="0"/>
                </a:moveTo>
                <a:lnTo>
                  <a:pt x="1280160" y="0"/>
                </a:lnTo>
                <a:lnTo>
                  <a:pt x="1280160" y="2377093"/>
                </a:lnTo>
                <a:lnTo>
                  <a:pt x="0" y="2377093"/>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58" name="Picture Placeholder 57"/>
          <p:cNvSpPr>
            <a:spLocks noGrp="1"/>
          </p:cNvSpPr>
          <p:nvPr>
            <p:ph type="pic" sz="quarter" idx="11"/>
          </p:nvPr>
        </p:nvSpPr>
        <p:spPr>
          <a:xfrm>
            <a:off x="594404" y="2914647"/>
            <a:ext cx="4046175" cy="1714490"/>
          </a:xfrm>
          <a:custGeom>
            <a:avLst/>
            <a:gdLst>
              <a:gd name="connsiteX0" fmla="*/ 2743168 w 5394900"/>
              <a:gd name="connsiteY0" fmla="*/ 1188707 h 2285987"/>
              <a:gd name="connsiteX1" fmla="*/ 4114754 w 5394900"/>
              <a:gd name="connsiteY1" fmla="*/ 1188707 h 2285987"/>
              <a:gd name="connsiteX2" fmla="*/ 4297631 w 5394900"/>
              <a:gd name="connsiteY2" fmla="*/ 1188707 h 2285987"/>
              <a:gd name="connsiteX3" fmla="*/ 5394900 w 5394900"/>
              <a:gd name="connsiteY3" fmla="*/ 1188707 h 2285987"/>
              <a:gd name="connsiteX4" fmla="*/ 5394900 w 5394900"/>
              <a:gd name="connsiteY4" fmla="*/ 2285987 h 2285987"/>
              <a:gd name="connsiteX5" fmla="*/ 4297631 w 5394900"/>
              <a:gd name="connsiteY5" fmla="*/ 2285987 h 2285987"/>
              <a:gd name="connsiteX6" fmla="*/ 4114754 w 5394900"/>
              <a:gd name="connsiteY6" fmla="*/ 2285987 h 2285987"/>
              <a:gd name="connsiteX7" fmla="*/ 2743168 w 5394900"/>
              <a:gd name="connsiteY7" fmla="*/ 2285987 h 2285987"/>
              <a:gd name="connsiteX8" fmla="*/ 1371585 w 5394900"/>
              <a:gd name="connsiteY8" fmla="*/ 1188707 h 2285987"/>
              <a:gd name="connsiteX9" fmla="*/ 2651731 w 5394900"/>
              <a:gd name="connsiteY9" fmla="*/ 1188707 h 2285987"/>
              <a:gd name="connsiteX10" fmla="*/ 2651731 w 5394900"/>
              <a:gd name="connsiteY10" fmla="*/ 2285987 h 2285987"/>
              <a:gd name="connsiteX11" fmla="*/ 1371585 w 5394900"/>
              <a:gd name="connsiteY11" fmla="*/ 2285987 h 2285987"/>
              <a:gd name="connsiteX12" fmla="*/ 0 w 5394900"/>
              <a:gd name="connsiteY12" fmla="*/ 1188707 h 2285987"/>
              <a:gd name="connsiteX13" fmla="*/ 1280146 w 5394900"/>
              <a:gd name="connsiteY13" fmla="*/ 1188707 h 2285987"/>
              <a:gd name="connsiteX14" fmla="*/ 1280146 w 5394900"/>
              <a:gd name="connsiteY14" fmla="*/ 2285987 h 2285987"/>
              <a:gd name="connsiteX15" fmla="*/ 0 w 5394900"/>
              <a:gd name="connsiteY15" fmla="*/ 2285987 h 2285987"/>
              <a:gd name="connsiteX16" fmla="*/ 1371585 w 5394900"/>
              <a:gd name="connsiteY16" fmla="*/ 0 h 2285987"/>
              <a:gd name="connsiteX17" fmla="*/ 5394900 w 5394900"/>
              <a:gd name="connsiteY17" fmla="*/ 0 h 2285987"/>
              <a:gd name="connsiteX18" fmla="*/ 5394900 w 5394900"/>
              <a:gd name="connsiteY18" fmla="*/ 1097280 h 2285987"/>
              <a:gd name="connsiteX19" fmla="*/ 1371585 w 5394900"/>
              <a:gd name="connsiteY19" fmla="*/ 1097280 h 2285987"/>
              <a:gd name="connsiteX20" fmla="*/ 0 w 5394900"/>
              <a:gd name="connsiteY20" fmla="*/ 0 h 2285987"/>
              <a:gd name="connsiteX21" fmla="*/ 1280146 w 5394900"/>
              <a:gd name="connsiteY21" fmla="*/ 0 h 2285987"/>
              <a:gd name="connsiteX22" fmla="*/ 1280146 w 5394900"/>
              <a:gd name="connsiteY22" fmla="*/ 1097280 h 2285987"/>
              <a:gd name="connsiteX23" fmla="*/ 0 w 5394900"/>
              <a:gd name="connsiteY23" fmla="*/ 1097280 h 22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94900" h="2285987">
                <a:moveTo>
                  <a:pt x="2743168" y="1188707"/>
                </a:moveTo>
                <a:lnTo>
                  <a:pt x="4114754" y="1188707"/>
                </a:lnTo>
                <a:lnTo>
                  <a:pt x="4297631" y="1188707"/>
                </a:lnTo>
                <a:lnTo>
                  <a:pt x="5394900" y="1188707"/>
                </a:lnTo>
                <a:lnTo>
                  <a:pt x="5394900" y="2285987"/>
                </a:lnTo>
                <a:lnTo>
                  <a:pt x="4297631" y="2285987"/>
                </a:lnTo>
                <a:lnTo>
                  <a:pt x="4114754" y="2285987"/>
                </a:lnTo>
                <a:lnTo>
                  <a:pt x="2743168" y="2285987"/>
                </a:lnTo>
                <a:close/>
                <a:moveTo>
                  <a:pt x="1371585" y="1188707"/>
                </a:moveTo>
                <a:lnTo>
                  <a:pt x="2651731" y="1188707"/>
                </a:lnTo>
                <a:lnTo>
                  <a:pt x="2651731" y="2285987"/>
                </a:lnTo>
                <a:lnTo>
                  <a:pt x="1371585" y="2285987"/>
                </a:lnTo>
                <a:close/>
                <a:moveTo>
                  <a:pt x="0" y="1188707"/>
                </a:moveTo>
                <a:lnTo>
                  <a:pt x="1280146" y="1188707"/>
                </a:lnTo>
                <a:lnTo>
                  <a:pt x="1280146" y="2285987"/>
                </a:lnTo>
                <a:lnTo>
                  <a:pt x="0" y="2285987"/>
                </a:lnTo>
                <a:close/>
                <a:moveTo>
                  <a:pt x="1371585" y="0"/>
                </a:moveTo>
                <a:lnTo>
                  <a:pt x="5394900" y="0"/>
                </a:lnTo>
                <a:lnTo>
                  <a:pt x="5394900" y="1097280"/>
                </a:lnTo>
                <a:lnTo>
                  <a:pt x="1371585" y="1097280"/>
                </a:lnTo>
                <a:close/>
                <a:moveTo>
                  <a:pt x="0" y="0"/>
                </a:moveTo>
                <a:lnTo>
                  <a:pt x="1280146" y="0"/>
                </a:lnTo>
                <a:lnTo>
                  <a:pt x="1280146" y="1097280"/>
                </a:lnTo>
                <a:lnTo>
                  <a:pt x="0" y="109728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59" name="Picture Placeholder 58"/>
          <p:cNvSpPr>
            <a:spLocks noGrp="1"/>
          </p:cNvSpPr>
          <p:nvPr>
            <p:ph type="pic" sz="quarter" idx="12"/>
          </p:nvPr>
        </p:nvSpPr>
        <p:spPr>
          <a:xfrm>
            <a:off x="4640592" y="1131600"/>
            <a:ext cx="3909299" cy="3497551"/>
          </a:xfrm>
          <a:custGeom>
            <a:avLst/>
            <a:gdLst>
              <a:gd name="connsiteX0" fmla="*/ 1371583 w 5212398"/>
              <a:gd name="connsiteY0" fmla="*/ 3566121 h 4663401"/>
              <a:gd name="connsiteX1" fmla="*/ 2743168 w 5212398"/>
              <a:gd name="connsiteY1" fmla="*/ 3566121 h 4663401"/>
              <a:gd name="connsiteX2" fmla="*/ 3291802 w 5212398"/>
              <a:gd name="connsiteY2" fmla="*/ 3566121 h 4663401"/>
              <a:gd name="connsiteX3" fmla="*/ 5212397 w 5212398"/>
              <a:gd name="connsiteY3" fmla="*/ 3566121 h 4663401"/>
              <a:gd name="connsiteX4" fmla="*/ 5212397 w 5212398"/>
              <a:gd name="connsiteY4" fmla="*/ 4663401 h 4663401"/>
              <a:gd name="connsiteX5" fmla="*/ 3291802 w 5212398"/>
              <a:gd name="connsiteY5" fmla="*/ 4663401 h 4663401"/>
              <a:gd name="connsiteX6" fmla="*/ 2743168 w 5212398"/>
              <a:gd name="connsiteY6" fmla="*/ 4663401 h 4663401"/>
              <a:gd name="connsiteX7" fmla="*/ 1371583 w 5212398"/>
              <a:gd name="connsiteY7" fmla="*/ 4663401 h 4663401"/>
              <a:gd name="connsiteX8" fmla="*/ 0 w 5212398"/>
              <a:gd name="connsiteY8" fmla="*/ 3566121 h 4663401"/>
              <a:gd name="connsiteX9" fmla="*/ 1280146 w 5212398"/>
              <a:gd name="connsiteY9" fmla="*/ 3566121 h 4663401"/>
              <a:gd name="connsiteX10" fmla="*/ 1280146 w 5212398"/>
              <a:gd name="connsiteY10" fmla="*/ 4663401 h 4663401"/>
              <a:gd name="connsiteX11" fmla="*/ 0 w 5212398"/>
              <a:gd name="connsiteY11" fmla="*/ 4663401 h 4663401"/>
              <a:gd name="connsiteX12" fmla="*/ 1371556 w 5212398"/>
              <a:gd name="connsiteY12" fmla="*/ 0 h 4663401"/>
              <a:gd name="connsiteX13" fmla="*/ 5212398 w 5212398"/>
              <a:gd name="connsiteY13" fmla="*/ 0 h 4663401"/>
              <a:gd name="connsiteX14" fmla="*/ 5212398 w 5212398"/>
              <a:gd name="connsiteY14" fmla="*/ 3474694 h 4663401"/>
              <a:gd name="connsiteX15" fmla="*/ 1371556 w 5212398"/>
              <a:gd name="connsiteY15" fmla="*/ 3474694 h 4663401"/>
              <a:gd name="connsiteX16" fmla="*/ 0 w 5212398"/>
              <a:gd name="connsiteY16" fmla="*/ 0 h 4663401"/>
              <a:gd name="connsiteX17" fmla="*/ 1280146 w 5212398"/>
              <a:gd name="connsiteY17" fmla="*/ 0 h 4663401"/>
              <a:gd name="connsiteX18" fmla="*/ 1280146 w 5212398"/>
              <a:gd name="connsiteY18" fmla="*/ 3474694 h 4663401"/>
              <a:gd name="connsiteX19" fmla="*/ 0 w 5212398"/>
              <a:gd name="connsiteY19" fmla="*/ 3474694 h 466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12398" h="4663401">
                <a:moveTo>
                  <a:pt x="1371583" y="3566121"/>
                </a:moveTo>
                <a:lnTo>
                  <a:pt x="2743168" y="3566121"/>
                </a:lnTo>
                <a:lnTo>
                  <a:pt x="3291802" y="3566121"/>
                </a:lnTo>
                <a:lnTo>
                  <a:pt x="5212397" y="3566121"/>
                </a:lnTo>
                <a:lnTo>
                  <a:pt x="5212397" y="4663401"/>
                </a:lnTo>
                <a:lnTo>
                  <a:pt x="3291802" y="4663401"/>
                </a:lnTo>
                <a:lnTo>
                  <a:pt x="2743168" y="4663401"/>
                </a:lnTo>
                <a:lnTo>
                  <a:pt x="1371583" y="4663401"/>
                </a:lnTo>
                <a:close/>
                <a:moveTo>
                  <a:pt x="0" y="3566121"/>
                </a:moveTo>
                <a:lnTo>
                  <a:pt x="1280146" y="3566121"/>
                </a:lnTo>
                <a:lnTo>
                  <a:pt x="1280146" y="4663401"/>
                </a:lnTo>
                <a:lnTo>
                  <a:pt x="0" y="4663401"/>
                </a:lnTo>
                <a:close/>
                <a:moveTo>
                  <a:pt x="1371556" y="0"/>
                </a:moveTo>
                <a:lnTo>
                  <a:pt x="5212398" y="0"/>
                </a:lnTo>
                <a:lnTo>
                  <a:pt x="5212398" y="3474694"/>
                </a:lnTo>
                <a:lnTo>
                  <a:pt x="1371556" y="3474694"/>
                </a:lnTo>
                <a:close/>
                <a:moveTo>
                  <a:pt x="0" y="0"/>
                </a:moveTo>
                <a:lnTo>
                  <a:pt x="1280146" y="0"/>
                </a:lnTo>
                <a:lnTo>
                  <a:pt x="1280146" y="3474694"/>
                </a:lnTo>
                <a:lnTo>
                  <a:pt x="0" y="3474694"/>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000213477"/>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Portfolio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22" name="Picture Placeholder 21"/>
          <p:cNvSpPr>
            <a:spLocks noGrp="1"/>
          </p:cNvSpPr>
          <p:nvPr>
            <p:ph type="pic" sz="quarter" idx="10"/>
          </p:nvPr>
        </p:nvSpPr>
        <p:spPr>
          <a:xfrm>
            <a:off x="594418" y="1131571"/>
            <a:ext cx="7955279" cy="3497556"/>
          </a:xfrm>
          <a:custGeom>
            <a:avLst/>
            <a:gdLst>
              <a:gd name="connsiteX0" fmla="*/ 5349126 w 10607039"/>
              <a:gd name="connsiteY0" fmla="*/ 2926048 h 4663408"/>
              <a:gd name="connsiteX1" fmla="*/ 10606926 w 10607039"/>
              <a:gd name="connsiteY1" fmla="*/ 2926048 h 4663408"/>
              <a:gd name="connsiteX2" fmla="*/ 10606926 w 10607039"/>
              <a:gd name="connsiteY2" fmla="*/ 4663408 h 4663408"/>
              <a:gd name="connsiteX3" fmla="*/ 5349126 w 10607039"/>
              <a:gd name="connsiteY3" fmla="*/ 4663408 h 4663408"/>
              <a:gd name="connsiteX4" fmla="*/ 0 w 10607039"/>
              <a:gd name="connsiteY4" fmla="*/ 2926048 h 4663408"/>
              <a:gd name="connsiteX5" fmla="*/ 5257800 w 10607039"/>
              <a:gd name="connsiteY5" fmla="*/ 2926048 h 4663408"/>
              <a:gd name="connsiteX6" fmla="*/ 5257800 w 10607039"/>
              <a:gd name="connsiteY6" fmla="*/ 4663408 h 4663408"/>
              <a:gd name="connsiteX7" fmla="*/ 0 w 10607039"/>
              <a:gd name="connsiteY7" fmla="*/ 4663408 h 4663408"/>
              <a:gd name="connsiteX8" fmla="*/ 0 w 10607039"/>
              <a:gd name="connsiteY8" fmla="*/ 1920229 h 4663408"/>
              <a:gd name="connsiteX9" fmla="*/ 10607039 w 10607039"/>
              <a:gd name="connsiteY9" fmla="*/ 1920229 h 4663408"/>
              <a:gd name="connsiteX10" fmla="*/ 10607039 w 10607039"/>
              <a:gd name="connsiteY10" fmla="*/ 2834629 h 4663408"/>
              <a:gd name="connsiteX11" fmla="*/ 0 w 10607039"/>
              <a:gd name="connsiteY11" fmla="*/ 2834629 h 4663408"/>
              <a:gd name="connsiteX12" fmla="*/ 0 w 10607039"/>
              <a:gd name="connsiteY12" fmla="*/ 20 h 4663408"/>
              <a:gd name="connsiteX13" fmla="*/ 5257799 w 10607039"/>
              <a:gd name="connsiteY13" fmla="*/ 20 h 4663408"/>
              <a:gd name="connsiteX14" fmla="*/ 5257799 w 10607039"/>
              <a:gd name="connsiteY14" fmla="*/ 1828820 h 4663408"/>
              <a:gd name="connsiteX15" fmla="*/ 0 w 10607039"/>
              <a:gd name="connsiteY15" fmla="*/ 1828820 h 4663408"/>
              <a:gd name="connsiteX16" fmla="*/ 5349124 w 10607039"/>
              <a:gd name="connsiteY16" fmla="*/ 0 h 4663408"/>
              <a:gd name="connsiteX17" fmla="*/ 10606924 w 10607039"/>
              <a:gd name="connsiteY17" fmla="*/ 0 h 4663408"/>
              <a:gd name="connsiteX18" fmla="*/ 10606924 w 10607039"/>
              <a:gd name="connsiteY18" fmla="*/ 1828800 h 4663408"/>
              <a:gd name="connsiteX19" fmla="*/ 5349124 w 10607039"/>
              <a:gd name="connsiteY19" fmla="*/ 1828800 h 466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607039" h="4663408">
                <a:moveTo>
                  <a:pt x="5349126" y="2926048"/>
                </a:moveTo>
                <a:lnTo>
                  <a:pt x="10606926" y="2926048"/>
                </a:lnTo>
                <a:lnTo>
                  <a:pt x="10606926" y="4663408"/>
                </a:lnTo>
                <a:lnTo>
                  <a:pt x="5349126" y="4663408"/>
                </a:lnTo>
                <a:close/>
                <a:moveTo>
                  <a:pt x="0" y="2926048"/>
                </a:moveTo>
                <a:lnTo>
                  <a:pt x="5257800" y="2926048"/>
                </a:lnTo>
                <a:lnTo>
                  <a:pt x="5257800" y="4663408"/>
                </a:lnTo>
                <a:lnTo>
                  <a:pt x="0" y="4663408"/>
                </a:lnTo>
                <a:close/>
                <a:moveTo>
                  <a:pt x="0" y="1920229"/>
                </a:moveTo>
                <a:lnTo>
                  <a:pt x="10607039" y="1920229"/>
                </a:lnTo>
                <a:lnTo>
                  <a:pt x="10607039" y="2834629"/>
                </a:lnTo>
                <a:lnTo>
                  <a:pt x="0" y="2834629"/>
                </a:lnTo>
                <a:close/>
                <a:moveTo>
                  <a:pt x="0" y="20"/>
                </a:moveTo>
                <a:lnTo>
                  <a:pt x="5257799" y="20"/>
                </a:lnTo>
                <a:lnTo>
                  <a:pt x="5257799" y="1828820"/>
                </a:lnTo>
                <a:lnTo>
                  <a:pt x="0" y="1828820"/>
                </a:lnTo>
                <a:close/>
                <a:moveTo>
                  <a:pt x="5349124" y="0"/>
                </a:moveTo>
                <a:lnTo>
                  <a:pt x="10606924" y="0"/>
                </a:lnTo>
                <a:lnTo>
                  <a:pt x="10606924" y="1828800"/>
                </a:lnTo>
                <a:lnTo>
                  <a:pt x="5349124" y="182880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85300596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Portfolio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22" name="Picture Placeholder 21"/>
          <p:cNvSpPr>
            <a:spLocks noGrp="1"/>
          </p:cNvSpPr>
          <p:nvPr>
            <p:ph type="pic" sz="quarter" idx="10"/>
          </p:nvPr>
        </p:nvSpPr>
        <p:spPr>
          <a:xfrm>
            <a:off x="594404" y="1131597"/>
            <a:ext cx="7955280" cy="3497543"/>
          </a:xfrm>
          <a:custGeom>
            <a:avLst/>
            <a:gdLst>
              <a:gd name="connsiteX0" fmla="*/ 2468763 w 10607040"/>
              <a:gd name="connsiteY0" fmla="*/ 3280301 h 4663390"/>
              <a:gd name="connsiteX1" fmla="*/ 10607040 w 10607040"/>
              <a:gd name="connsiteY1" fmla="*/ 3280301 h 4663390"/>
              <a:gd name="connsiteX2" fmla="*/ 10607040 w 10607040"/>
              <a:gd name="connsiteY2" fmla="*/ 4663390 h 4663390"/>
              <a:gd name="connsiteX3" fmla="*/ 2468763 w 10607040"/>
              <a:gd name="connsiteY3" fmla="*/ 4663390 h 4663390"/>
              <a:gd name="connsiteX4" fmla="*/ 0 w 10607040"/>
              <a:gd name="connsiteY4" fmla="*/ 1565939 h 4663390"/>
              <a:gd name="connsiteX5" fmla="*/ 2377440 w 10607040"/>
              <a:gd name="connsiteY5" fmla="*/ 1565939 h 4663390"/>
              <a:gd name="connsiteX6" fmla="*/ 2377440 w 10607040"/>
              <a:gd name="connsiteY6" fmla="*/ 4663390 h 4663390"/>
              <a:gd name="connsiteX7" fmla="*/ 0 w 10607040"/>
              <a:gd name="connsiteY7" fmla="*/ 4663390 h 4663390"/>
              <a:gd name="connsiteX8" fmla="*/ 2468853 w 10607040"/>
              <a:gd name="connsiteY8" fmla="*/ 1554464 h 4663390"/>
              <a:gd name="connsiteX9" fmla="*/ 8046631 w 10607040"/>
              <a:gd name="connsiteY9" fmla="*/ 1554464 h 4663390"/>
              <a:gd name="connsiteX10" fmla="*/ 8046631 w 10607040"/>
              <a:gd name="connsiteY10" fmla="*/ 3188892 h 4663390"/>
              <a:gd name="connsiteX11" fmla="*/ 2468853 w 10607040"/>
              <a:gd name="connsiteY11" fmla="*/ 3188892 h 4663390"/>
              <a:gd name="connsiteX12" fmla="*/ 8138069 w 10607040"/>
              <a:gd name="connsiteY12" fmla="*/ 0 h 4663390"/>
              <a:gd name="connsiteX13" fmla="*/ 10607040 w 10607040"/>
              <a:gd name="connsiteY13" fmla="*/ 0 h 4663390"/>
              <a:gd name="connsiteX14" fmla="*/ 10607040 w 10607040"/>
              <a:gd name="connsiteY14" fmla="*/ 3188892 h 4663390"/>
              <a:gd name="connsiteX15" fmla="*/ 8138069 w 10607040"/>
              <a:gd name="connsiteY15" fmla="*/ 3188892 h 4663390"/>
              <a:gd name="connsiteX16" fmla="*/ 0 w 10607040"/>
              <a:gd name="connsiteY16" fmla="*/ 0 h 4663390"/>
              <a:gd name="connsiteX17" fmla="*/ 8046719 w 10607040"/>
              <a:gd name="connsiteY17" fmla="*/ 0 h 4663390"/>
              <a:gd name="connsiteX18" fmla="*/ 8046719 w 10607040"/>
              <a:gd name="connsiteY18" fmla="*/ 1463040 h 4663390"/>
              <a:gd name="connsiteX19" fmla="*/ 0 w 10607040"/>
              <a:gd name="connsiteY19" fmla="*/ 1463040 h 46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607040" h="4663390">
                <a:moveTo>
                  <a:pt x="2468763" y="3280301"/>
                </a:moveTo>
                <a:lnTo>
                  <a:pt x="10607040" y="3280301"/>
                </a:lnTo>
                <a:lnTo>
                  <a:pt x="10607040" y="4663390"/>
                </a:lnTo>
                <a:lnTo>
                  <a:pt x="2468763" y="4663390"/>
                </a:lnTo>
                <a:close/>
                <a:moveTo>
                  <a:pt x="0" y="1565939"/>
                </a:moveTo>
                <a:lnTo>
                  <a:pt x="2377440" y="1565939"/>
                </a:lnTo>
                <a:lnTo>
                  <a:pt x="2377440" y="4663390"/>
                </a:lnTo>
                <a:lnTo>
                  <a:pt x="0" y="4663390"/>
                </a:lnTo>
                <a:close/>
                <a:moveTo>
                  <a:pt x="2468853" y="1554464"/>
                </a:moveTo>
                <a:lnTo>
                  <a:pt x="8046631" y="1554464"/>
                </a:lnTo>
                <a:lnTo>
                  <a:pt x="8046631" y="3188892"/>
                </a:lnTo>
                <a:lnTo>
                  <a:pt x="2468853" y="3188892"/>
                </a:lnTo>
                <a:close/>
                <a:moveTo>
                  <a:pt x="8138069" y="0"/>
                </a:moveTo>
                <a:lnTo>
                  <a:pt x="10607040" y="0"/>
                </a:lnTo>
                <a:lnTo>
                  <a:pt x="10607040" y="3188892"/>
                </a:lnTo>
                <a:lnTo>
                  <a:pt x="8138069" y="3188892"/>
                </a:lnTo>
                <a:close/>
                <a:moveTo>
                  <a:pt x="0" y="0"/>
                </a:moveTo>
                <a:lnTo>
                  <a:pt x="8046719" y="0"/>
                </a:lnTo>
                <a:lnTo>
                  <a:pt x="8046719" y="1463040"/>
                </a:lnTo>
                <a:lnTo>
                  <a:pt x="0" y="14630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668896862"/>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Portfolio 5">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32" name="Picture Placeholder 31"/>
          <p:cNvSpPr>
            <a:spLocks noGrp="1"/>
          </p:cNvSpPr>
          <p:nvPr>
            <p:ph type="pic" sz="quarter" idx="10"/>
          </p:nvPr>
        </p:nvSpPr>
        <p:spPr>
          <a:xfrm>
            <a:off x="594404" y="1131597"/>
            <a:ext cx="7955193" cy="3497543"/>
          </a:xfrm>
          <a:custGeom>
            <a:avLst/>
            <a:gdLst>
              <a:gd name="connsiteX0" fmla="*/ 6949324 w 10606924"/>
              <a:gd name="connsiteY0" fmla="*/ 3200366 h 4663390"/>
              <a:gd name="connsiteX1" fmla="*/ 10606924 w 10606924"/>
              <a:gd name="connsiteY1" fmla="*/ 3200366 h 4663390"/>
              <a:gd name="connsiteX2" fmla="*/ 10606924 w 10606924"/>
              <a:gd name="connsiteY2" fmla="*/ 4663390 h 4663390"/>
              <a:gd name="connsiteX3" fmla="*/ 6949324 w 10606924"/>
              <a:gd name="connsiteY3" fmla="*/ 4663390 h 4663390"/>
              <a:gd name="connsiteX4" fmla="*/ 5212023 w 10606924"/>
              <a:gd name="connsiteY4" fmla="*/ 3200366 h 4663390"/>
              <a:gd name="connsiteX5" fmla="*/ 6857925 w 10606924"/>
              <a:gd name="connsiteY5" fmla="*/ 3200366 h 4663390"/>
              <a:gd name="connsiteX6" fmla="*/ 6857925 w 10606924"/>
              <a:gd name="connsiteY6" fmla="*/ 4663390 h 4663390"/>
              <a:gd name="connsiteX7" fmla="*/ 5212023 w 10606924"/>
              <a:gd name="connsiteY7" fmla="*/ 4663390 h 4663390"/>
              <a:gd name="connsiteX8" fmla="*/ 0 w 10606924"/>
              <a:gd name="connsiteY8" fmla="*/ 3200366 h 4663390"/>
              <a:gd name="connsiteX9" fmla="*/ 5120640 w 10606924"/>
              <a:gd name="connsiteY9" fmla="*/ 3200366 h 4663390"/>
              <a:gd name="connsiteX10" fmla="*/ 5120640 w 10606924"/>
              <a:gd name="connsiteY10" fmla="*/ 4663390 h 4663390"/>
              <a:gd name="connsiteX11" fmla="*/ 0 w 10606924"/>
              <a:gd name="connsiteY11" fmla="*/ 4663390 h 4663390"/>
              <a:gd name="connsiteX12" fmla="*/ 1 w 10606924"/>
              <a:gd name="connsiteY12" fmla="*/ 1554447 h 4663390"/>
              <a:gd name="connsiteX13" fmla="*/ 6858000 w 10606924"/>
              <a:gd name="connsiteY13" fmla="*/ 1554447 h 4663390"/>
              <a:gd name="connsiteX14" fmla="*/ 6858000 w 10606924"/>
              <a:gd name="connsiteY14" fmla="*/ 3108927 h 4663390"/>
              <a:gd name="connsiteX15" fmla="*/ 1 w 10606924"/>
              <a:gd name="connsiteY15" fmla="*/ 3108927 h 4663390"/>
              <a:gd name="connsiteX16" fmla="*/ 6949324 w 10606924"/>
              <a:gd name="connsiteY16" fmla="*/ 1554446 h 4663390"/>
              <a:gd name="connsiteX17" fmla="*/ 10606924 w 10606924"/>
              <a:gd name="connsiteY17" fmla="*/ 1554446 h 4663390"/>
              <a:gd name="connsiteX18" fmla="*/ 10606924 w 10606924"/>
              <a:gd name="connsiteY18" fmla="*/ 3108926 h 4663390"/>
              <a:gd name="connsiteX19" fmla="*/ 6949324 w 10606924"/>
              <a:gd name="connsiteY19" fmla="*/ 3108926 h 4663390"/>
              <a:gd name="connsiteX20" fmla="*/ 6949324 w 10606924"/>
              <a:gd name="connsiteY20" fmla="*/ 1 h 4663390"/>
              <a:gd name="connsiteX21" fmla="*/ 10606924 w 10606924"/>
              <a:gd name="connsiteY21" fmla="*/ 1 h 4663390"/>
              <a:gd name="connsiteX22" fmla="*/ 10606924 w 10606924"/>
              <a:gd name="connsiteY22" fmla="*/ 1463041 h 4663390"/>
              <a:gd name="connsiteX23" fmla="*/ 6949324 w 10606924"/>
              <a:gd name="connsiteY23" fmla="*/ 1463041 h 4663390"/>
              <a:gd name="connsiteX24" fmla="*/ 1737286 w 10606924"/>
              <a:gd name="connsiteY24" fmla="*/ 0 h 4663390"/>
              <a:gd name="connsiteX25" fmla="*/ 6857925 w 10606924"/>
              <a:gd name="connsiteY25" fmla="*/ 0 h 4663390"/>
              <a:gd name="connsiteX26" fmla="*/ 6857925 w 10606924"/>
              <a:gd name="connsiteY26" fmla="*/ 1463040 h 4663390"/>
              <a:gd name="connsiteX27" fmla="*/ 1737286 w 10606924"/>
              <a:gd name="connsiteY27" fmla="*/ 1463040 h 4663390"/>
              <a:gd name="connsiteX28" fmla="*/ 2 w 10606924"/>
              <a:gd name="connsiteY28" fmla="*/ 0 h 4663390"/>
              <a:gd name="connsiteX29" fmla="*/ 1645904 w 10606924"/>
              <a:gd name="connsiteY29" fmla="*/ 0 h 4663390"/>
              <a:gd name="connsiteX30" fmla="*/ 1645904 w 10606924"/>
              <a:gd name="connsiteY30" fmla="*/ 1463040 h 4663390"/>
              <a:gd name="connsiteX31" fmla="*/ 2 w 10606924"/>
              <a:gd name="connsiteY31" fmla="*/ 1463040 h 46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606924" h="4663390">
                <a:moveTo>
                  <a:pt x="6949324" y="3200366"/>
                </a:moveTo>
                <a:lnTo>
                  <a:pt x="10606924" y="3200366"/>
                </a:lnTo>
                <a:lnTo>
                  <a:pt x="10606924" y="4663390"/>
                </a:lnTo>
                <a:lnTo>
                  <a:pt x="6949324" y="4663390"/>
                </a:lnTo>
                <a:close/>
                <a:moveTo>
                  <a:pt x="5212023" y="3200366"/>
                </a:moveTo>
                <a:lnTo>
                  <a:pt x="6857925" y="3200366"/>
                </a:lnTo>
                <a:lnTo>
                  <a:pt x="6857925" y="4663390"/>
                </a:lnTo>
                <a:lnTo>
                  <a:pt x="5212023" y="4663390"/>
                </a:lnTo>
                <a:close/>
                <a:moveTo>
                  <a:pt x="0" y="3200366"/>
                </a:moveTo>
                <a:lnTo>
                  <a:pt x="5120640" y="3200366"/>
                </a:lnTo>
                <a:lnTo>
                  <a:pt x="5120640" y="4663390"/>
                </a:lnTo>
                <a:lnTo>
                  <a:pt x="0" y="4663390"/>
                </a:lnTo>
                <a:close/>
                <a:moveTo>
                  <a:pt x="1" y="1554447"/>
                </a:moveTo>
                <a:lnTo>
                  <a:pt x="6858000" y="1554447"/>
                </a:lnTo>
                <a:lnTo>
                  <a:pt x="6858000" y="3108927"/>
                </a:lnTo>
                <a:lnTo>
                  <a:pt x="1" y="3108927"/>
                </a:lnTo>
                <a:close/>
                <a:moveTo>
                  <a:pt x="6949324" y="1554446"/>
                </a:moveTo>
                <a:lnTo>
                  <a:pt x="10606924" y="1554446"/>
                </a:lnTo>
                <a:lnTo>
                  <a:pt x="10606924" y="3108926"/>
                </a:lnTo>
                <a:lnTo>
                  <a:pt x="6949324" y="3108926"/>
                </a:lnTo>
                <a:close/>
                <a:moveTo>
                  <a:pt x="6949324" y="1"/>
                </a:moveTo>
                <a:lnTo>
                  <a:pt x="10606924" y="1"/>
                </a:lnTo>
                <a:lnTo>
                  <a:pt x="10606924" y="1463041"/>
                </a:lnTo>
                <a:lnTo>
                  <a:pt x="6949324" y="1463041"/>
                </a:lnTo>
                <a:close/>
                <a:moveTo>
                  <a:pt x="1737286" y="0"/>
                </a:moveTo>
                <a:lnTo>
                  <a:pt x="6857925" y="0"/>
                </a:lnTo>
                <a:lnTo>
                  <a:pt x="6857925" y="1463040"/>
                </a:lnTo>
                <a:lnTo>
                  <a:pt x="1737286" y="1463040"/>
                </a:lnTo>
                <a:close/>
                <a:moveTo>
                  <a:pt x="2" y="0"/>
                </a:moveTo>
                <a:lnTo>
                  <a:pt x="1645904" y="0"/>
                </a:lnTo>
                <a:lnTo>
                  <a:pt x="1645904" y="1463040"/>
                </a:lnTo>
                <a:lnTo>
                  <a:pt x="2" y="14630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007890140"/>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Portfolio 6">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22" name="Picture Placeholder 21"/>
          <p:cNvSpPr>
            <a:spLocks noGrp="1"/>
          </p:cNvSpPr>
          <p:nvPr>
            <p:ph type="pic" sz="quarter" idx="10"/>
          </p:nvPr>
        </p:nvSpPr>
        <p:spPr>
          <a:xfrm>
            <a:off x="594409" y="1131587"/>
            <a:ext cx="7955234" cy="3497541"/>
          </a:xfrm>
          <a:custGeom>
            <a:avLst/>
            <a:gdLst>
              <a:gd name="connsiteX0" fmla="*/ 0 w 10606979"/>
              <a:gd name="connsiteY0" fmla="*/ 2651739 h 4663388"/>
              <a:gd name="connsiteX1" fmla="*/ 2560291 w 10606979"/>
              <a:gd name="connsiteY1" fmla="*/ 2651739 h 4663388"/>
              <a:gd name="connsiteX2" fmla="*/ 2560291 w 10606979"/>
              <a:gd name="connsiteY2" fmla="*/ 4663388 h 4663388"/>
              <a:gd name="connsiteX3" fmla="*/ 0 w 10606979"/>
              <a:gd name="connsiteY3" fmla="*/ 4663388 h 4663388"/>
              <a:gd name="connsiteX4" fmla="*/ 5303459 w 10606979"/>
              <a:gd name="connsiteY4" fmla="*/ 2651731 h 4663388"/>
              <a:gd name="connsiteX5" fmla="*/ 10606979 w 10606979"/>
              <a:gd name="connsiteY5" fmla="*/ 2651731 h 4663388"/>
              <a:gd name="connsiteX6" fmla="*/ 10606979 w 10606979"/>
              <a:gd name="connsiteY6" fmla="*/ 4663388 h 4663388"/>
              <a:gd name="connsiteX7" fmla="*/ 5303459 w 10606979"/>
              <a:gd name="connsiteY7" fmla="*/ 4663388 h 4663388"/>
              <a:gd name="connsiteX8" fmla="*/ 2651702 w 10606979"/>
              <a:gd name="connsiteY8" fmla="*/ 2651730 h 4663388"/>
              <a:gd name="connsiteX9" fmla="*/ 5212020 w 10606979"/>
              <a:gd name="connsiteY9" fmla="*/ 2651730 h 4663388"/>
              <a:gd name="connsiteX10" fmla="*/ 5212020 w 10606979"/>
              <a:gd name="connsiteY10" fmla="*/ 4663388 h 4663388"/>
              <a:gd name="connsiteX11" fmla="*/ 2651701 w 10606979"/>
              <a:gd name="connsiteY11" fmla="*/ 4663388 h 4663388"/>
              <a:gd name="connsiteX12" fmla="*/ 5303459 w 10606979"/>
              <a:gd name="connsiteY12" fmla="*/ 1371571 h 4663388"/>
              <a:gd name="connsiteX13" fmla="*/ 10606979 w 10606979"/>
              <a:gd name="connsiteY13" fmla="*/ 1371571 h 4663388"/>
              <a:gd name="connsiteX14" fmla="*/ 10606979 w 10606979"/>
              <a:gd name="connsiteY14" fmla="*/ 2560291 h 4663388"/>
              <a:gd name="connsiteX15" fmla="*/ 5303459 w 10606979"/>
              <a:gd name="connsiteY15" fmla="*/ 2560291 h 4663388"/>
              <a:gd name="connsiteX16" fmla="*/ 4561 w 10606979"/>
              <a:gd name="connsiteY16" fmla="*/ 6 h 4663388"/>
              <a:gd name="connsiteX17" fmla="*/ 2560292 w 10606979"/>
              <a:gd name="connsiteY17" fmla="*/ 6 h 4663388"/>
              <a:gd name="connsiteX18" fmla="*/ 2560292 w 10606979"/>
              <a:gd name="connsiteY18" fmla="*/ 2560326 h 4663388"/>
              <a:gd name="connsiteX19" fmla="*/ 4561 w 10606979"/>
              <a:gd name="connsiteY19" fmla="*/ 2560326 h 4663388"/>
              <a:gd name="connsiteX20" fmla="*/ 2651702 w 10606979"/>
              <a:gd name="connsiteY20" fmla="*/ 2 h 4663388"/>
              <a:gd name="connsiteX21" fmla="*/ 5212020 w 10606979"/>
              <a:gd name="connsiteY21" fmla="*/ 2 h 4663388"/>
              <a:gd name="connsiteX22" fmla="*/ 5212020 w 10606979"/>
              <a:gd name="connsiteY22" fmla="*/ 2560326 h 4663388"/>
              <a:gd name="connsiteX23" fmla="*/ 2651702 w 10606979"/>
              <a:gd name="connsiteY23" fmla="*/ 2560326 h 4663388"/>
              <a:gd name="connsiteX24" fmla="*/ 7955162 w 10606979"/>
              <a:gd name="connsiteY24" fmla="*/ 1 h 4663388"/>
              <a:gd name="connsiteX25" fmla="*/ 10606922 w 10606979"/>
              <a:gd name="connsiteY25" fmla="*/ 1 h 4663388"/>
              <a:gd name="connsiteX26" fmla="*/ 10606922 w 10606979"/>
              <a:gd name="connsiteY26" fmla="*/ 1280161 h 4663388"/>
              <a:gd name="connsiteX27" fmla="*/ 7955162 w 10606979"/>
              <a:gd name="connsiteY27" fmla="*/ 1280161 h 4663388"/>
              <a:gd name="connsiteX28" fmla="*/ 5303432 w 10606979"/>
              <a:gd name="connsiteY28" fmla="*/ 0 h 4663388"/>
              <a:gd name="connsiteX29" fmla="*/ 7863752 w 10606979"/>
              <a:gd name="connsiteY29" fmla="*/ 0 h 4663388"/>
              <a:gd name="connsiteX30" fmla="*/ 7863752 w 10606979"/>
              <a:gd name="connsiteY30" fmla="*/ 1280160 h 4663388"/>
              <a:gd name="connsiteX31" fmla="*/ 5303432 w 10606979"/>
              <a:gd name="connsiteY31" fmla="*/ 1280160 h 466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606979" h="4663388">
                <a:moveTo>
                  <a:pt x="0" y="2651739"/>
                </a:moveTo>
                <a:lnTo>
                  <a:pt x="2560291" y="2651739"/>
                </a:lnTo>
                <a:lnTo>
                  <a:pt x="2560291" y="4663388"/>
                </a:lnTo>
                <a:lnTo>
                  <a:pt x="0" y="4663388"/>
                </a:lnTo>
                <a:close/>
                <a:moveTo>
                  <a:pt x="5303459" y="2651731"/>
                </a:moveTo>
                <a:lnTo>
                  <a:pt x="10606979" y="2651731"/>
                </a:lnTo>
                <a:lnTo>
                  <a:pt x="10606979" y="4663388"/>
                </a:lnTo>
                <a:lnTo>
                  <a:pt x="5303459" y="4663388"/>
                </a:lnTo>
                <a:close/>
                <a:moveTo>
                  <a:pt x="2651702" y="2651730"/>
                </a:moveTo>
                <a:lnTo>
                  <a:pt x="5212020" y="2651730"/>
                </a:lnTo>
                <a:lnTo>
                  <a:pt x="5212020" y="4663388"/>
                </a:lnTo>
                <a:lnTo>
                  <a:pt x="2651701" y="4663388"/>
                </a:lnTo>
                <a:close/>
                <a:moveTo>
                  <a:pt x="5303459" y="1371571"/>
                </a:moveTo>
                <a:lnTo>
                  <a:pt x="10606979" y="1371571"/>
                </a:lnTo>
                <a:lnTo>
                  <a:pt x="10606979" y="2560291"/>
                </a:lnTo>
                <a:lnTo>
                  <a:pt x="5303459" y="2560291"/>
                </a:lnTo>
                <a:close/>
                <a:moveTo>
                  <a:pt x="4561" y="6"/>
                </a:moveTo>
                <a:lnTo>
                  <a:pt x="2560292" y="6"/>
                </a:lnTo>
                <a:lnTo>
                  <a:pt x="2560292" y="2560326"/>
                </a:lnTo>
                <a:lnTo>
                  <a:pt x="4561" y="2560326"/>
                </a:lnTo>
                <a:close/>
                <a:moveTo>
                  <a:pt x="2651702" y="2"/>
                </a:moveTo>
                <a:lnTo>
                  <a:pt x="5212020" y="2"/>
                </a:lnTo>
                <a:lnTo>
                  <a:pt x="5212020" y="2560326"/>
                </a:lnTo>
                <a:lnTo>
                  <a:pt x="2651702" y="2560326"/>
                </a:lnTo>
                <a:close/>
                <a:moveTo>
                  <a:pt x="7955162" y="1"/>
                </a:moveTo>
                <a:lnTo>
                  <a:pt x="10606922" y="1"/>
                </a:lnTo>
                <a:lnTo>
                  <a:pt x="10606922" y="1280161"/>
                </a:lnTo>
                <a:lnTo>
                  <a:pt x="7955162" y="1280161"/>
                </a:lnTo>
                <a:close/>
                <a:moveTo>
                  <a:pt x="5303432" y="0"/>
                </a:moveTo>
                <a:lnTo>
                  <a:pt x="7863752" y="0"/>
                </a:lnTo>
                <a:lnTo>
                  <a:pt x="7863752" y="1280160"/>
                </a:lnTo>
                <a:lnTo>
                  <a:pt x="5303432" y="128016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47798661"/>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Portfolio 7">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594404" y="1131547"/>
            <a:ext cx="7955280" cy="3497580"/>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2922693853"/>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Portfolio 8">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23" name="Picture Placeholder 22"/>
          <p:cNvSpPr>
            <a:spLocks noGrp="1"/>
          </p:cNvSpPr>
          <p:nvPr>
            <p:ph type="pic" sz="quarter" idx="10"/>
          </p:nvPr>
        </p:nvSpPr>
        <p:spPr>
          <a:xfrm>
            <a:off x="594404" y="1131588"/>
            <a:ext cx="7955280" cy="3497542"/>
          </a:xfrm>
          <a:custGeom>
            <a:avLst/>
            <a:gdLst>
              <a:gd name="connsiteX0" fmla="*/ 0 w 10607040"/>
              <a:gd name="connsiteY0" fmla="*/ 0 h 4663389"/>
              <a:gd name="connsiteX1" fmla="*/ 10607040 w 10607040"/>
              <a:gd name="connsiteY1" fmla="*/ 0 h 4663389"/>
              <a:gd name="connsiteX2" fmla="*/ 10607040 w 10607040"/>
              <a:gd name="connsiteY2" fmla="*/ 2468852 h 4663389"/>
              <a:gd name="connsiteX3" fmla="*/ 10606958 w 10607040"/>
              <a:gd name="connsiteY3" fmla="*/ 2468852 h 4663389"/>
              <a:gd name="connsiteX4" fmla="*/ 10606958 w 10607040"/>
              <a:gd name="connsiteY4" fmla="*/ 2468829 h 4663389"/>
              <a:gd name="connsiteX5" fmla="*/ 7497998 w 10607040"/>
              <a:gd name="connsiteY5" fmla="*/ 2468829 h 4663389"/>
              <a:gd name="connsiteX6" fmla="*/ 7497998 w 10607040"/>
              <a:gd name="connsiteY6" fmla="*/ 4663389 h 4663389"/>
              <a:gd name="connsiteX7" fmla="*/ 0 w 10607040"/>
              <a:gd name="connsiteY7" fmla="*/ 4663389 h 4663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07040" h="4663389">
                <a:moveTo>
                  <a:pt x="0" y="0"/>
                </a:moveTo>
                <a:lnTo>
                  <a:pt x="10607040" y="0"/>
                </a:lnTo>
                <a:lnTo>
                  <a:pt x="10607040" y="2468852"/>
                </a:lnTo>
                <a:lnTo>
                  <a:pt x="10606958" y="2468852"/>
                </a:lnTo>
                <a:lnTo>
                  <a:pt x="10606958" y="2468829"/>
                </a:lnTo>
                <a:lnTo>
                  <a:pt x="7497998" y="2468829"/>
                </a:lnTo>
                <a:lnTo>
                  <a:pt x="7497998" y="4663389"/>
                </a:lnTo>
                <a:lnTo>
                  <a:pt x="0" y="4663389"/>
                </a:lnTo>
                <a:close/>
              </a:path>
            </a:pathLst>
          </a:custGeom>
          <a:solidFill>
            <a:schemeClr val="tx2">
              <a:lumMod val="85000"/>
            </a:schemeClr>
          </a:solidFill>
          <a:ln w="19050">
            <a:solidFill>
              <a:schemeClr val="tx2">
                <a:lumMod val="75000"/>
              </a:schemeClr>
            </a:solidFill>
          </a:ln>
        </p:spPr>
        <p:txBody>
          <a:bodyPr wrap="square" anchor="ctr" anchorCtr="0">
            <a:noAutofit/>
          </a:bodyPr>
          <a:lstStyle>
            <a:lvl1pPr algn="ctr">
              <a:defRPr/>
            </a:lvl1pPr>
          </a:lstStyle>
          <a:p>
            <a:endParaRPr lang="en-US" dirty="0"/>
          </a:p>
        </p:txBody>
      </p:sp>
      <p:sp>
        <p:nvSpPr>
          <p:cNvPr id="26" name="Picture Placeholder 25"/>
          <p:cNvSpPr>
            <a:spLocks noGrp="1"/>
          </p:cNvSpPr>
          <p:nvPr>
            <p:ph type="pic" sz="quarter" idx="12"/>
          </p:nvPr>
        </p:nvSpPr>
        <p:spPr>
          <a:xfrm>
            <a:off x="6286480" y="3051793"/>
            <a:ext cx="2263217" cy="1577336"/>
          </a:xfrm>
          <a:custGeom>
            <a:avLst/>
            <a:gdLst>
              <a:gd name="connsiteX0" fmla="*/ 0 w 3017623"/>
              <a:gd name="connsiteY0" fmla="*/ 0 h 2103114"/>
              <a:gd name="connsiteX1" fmla="*/ 3017623 w 3017623"/>
              <a:gd name="connsiteY1" fmla="*/ 0 h 2103114"/>
              <a:gd name="connsiteX2" fmla="*/ 3017623 w 3017623"/>
              <a:gd name="connsiteY2" fmla="*/ 2103114 h 2103114"/>
              <a:gd name="connsiteX3" fmla="*/ 0 w 3017623"/>
              <a:gd name="connsiteY3" fmla="*/ 2103114 h 2103114"/>
            </a:gdLst>
            <a:ahLst/>
            <a:cxnLst>
              <a:cxn ang="0">
                <a:pos x="connsiteX0" y="connsiteY0"/>
              </a:cxn>
              <a:cxn ang="0">
                <a:pos x="connsiteX1" y="connsiteY1"/>
              </a:cxn>
              <a:cxn ang="0">
                <a:pos x="connsiteX2" y="connsiteY2"/>
              </a:cxn>
              <a:cxn ang="0">
                <a:pos x="connsiteX3" y="connsiteY3"/>
              </a:cxn>
            </a:cxnLst>
            <a:rect l="l" t="t" r="r" b="b"/>
            <a:pathLst>
              <a:path w="3017623" h="2103114">
                <a:moveTo>
                  <a:pt x="0" y="0"/>
                </a:moveTo>
                <a:lnTo>
                  <a:pt x="3017623" y="0"/>
                </a:lnTo>
                <a:lnTo>
                  <a:pt x="3017623" y="2103114"/>
                </a:lnTo>
                <a:lnTo>
                  <a:pt x="0" y="2103114"/>
                </a:lnTo>
                <a:close/>
              </a:path>
            </a:pathLst>
          </a:custGeom>
          <a:solidFill>
            <a:schemeClr val="tx2">
              <a:lumMod val="85000"/>
            </a:schemeClr>
          </a:solidFill>
          <a:ln w="19050">
            <a:solidFill>
              <a:schemeClr val="tx2">
                <a:lumMod val="75000"/>
              </a:schemeClr>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315497573"/>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Portfolio 9">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195" name="Picture Placeholder 194"/>
          <p:cNvSpPr>
            <a:spLocks noGrp="1"/>
          </p:cNvSpPr>
          <p:nvPr>
            <p:ph type="pic" sz="quarter" idx="10"/>
          </p:nvPr>
        </p:nvSpPr>
        <p:spPr>
          <a:xfrm>
            <a:off x="594404" y="1131597"/>
            <a:ext cx="7955280" cy="3497543"/>
          </a:xfrm>
          <a:custGeom>
            <a:avLst/>
            <a:gdLst>
              <a:gd name="connsiteX0" fmla="*/ 10060944 w 10607040"/>
              <a:gd name="connsiteY0" fmla="*/ 4114757 h 4663390"/>
              <a:gd name="connsiteX1" fmla="*/ 10607040 w 10607040"/>
              <a:gd name="connsiteY1" fmla="*/ 4114757 h 4663390"/>
              <a:gd name="connsiteX2" fmla="*/ 10607040 w 10607040"/>
              <a:gd name="connsiteY2" fmla="*/ 4663390 h 4663390"/>
              <a:gd name="connsiteX3" fmla="*/ 10060944 w 10607040"/>
              <a:gd name="connsiteY3" fmla="*/ 4663390 h 4663390"/>
              <a:gd name="connsiteX4" fmla="*/ 9469256 w 10607040"/>
              <a:gd name="connsiteY4" fmla="*/ 4114756 h 4663390"/>
              <a:gd name="connsiteX5" fmla="*/ 10017896 w 10607040"/>
              <a:gd name="connsiteY5" fmla="*/ 4114756 h 4663390"/>
              <a:gd name="connsiteX6" fmla="*/ 10017896 w 10607040"/>
              <a:gd name="connsiteY6" fmla="*/ 4663390 h 4663390"/>
              <a:gd name="connsiteX7" fmla="*/ 9469256 w 10607040"/>
              <a:gd name="connsiteY7" fmla="*/ 4663390 h 4663390"/>
              <a:gd name="connsiteX8" fmla="*/ 8877570 w 10607040"/>
              <a:gd name="connsiteY8" fmla="*/ 4114756 h 4663390"/>
              <a:gd name="connsiteX9" fmla="*/ 9426210 w 10607040"/>
              <a:gd name="connsiteY9" fmla="*/ 4114756 h 4663390"/>
              <a:gd name="connsiteX10" fmla="*/ 9426210 w 10607040"/>
              <a:gd name="connsiteY10" fmla="*/ 4663390 h 4663390"/>
              <a:gd name="connsiteX11" fmla="*/ 8877570 w 10607040"/>
              <a:gd name="connsiteY11" fmla="*/ 4663390 h 4663390"/>
              <a:gd name="connsiteX12" fmla="*/ 8285884 w 10607040"/>
              <a:gd name="connsiteY12" fmla="*/ 4114756 h 4663390"/>
              <a:gd name="connsiteX13" fmla="*/ 8834524 w 10607040"/>
              <a:gd name="connsiteY13" fmla="*/ 4114756 h 4663390"/>
              <a:gd name="connsiteX14" fmla="*/ 8834524 w 10607040"/>
              <a:gd name="connsiteY14" fmla="*/ 4663390 h 4663390"/>
              <a:gd name="connsiteX15" fmla="*/ 8285884 w 10607040"/>
              <a:gd name="connsiteY15" fmla="*/ 4663390 h 4663390"/>
              <a:gd name="connsiteX16" fmla="*/ 7694198 w 10607040"/>
              <a:gd name="connsiteY16" fmla="*/ 4114756 h 4663390"/>
              <a:gd name="connsiteX17" fmla="*/ 8242838 w 10607040"/>
              <a:gd name="connsiteY17" fmla="*/ 4114756 h 4663390"/>
              <a:gd name="connsiteX18" fmla="*/ 8242838 w 10607040"/>
              <a:gd name="connsiteY18" fmla="*/ 4663390 h 4663390"/>
              <a:gd name="connsiteX19" fmla="*/ 7694198 w 10607040"/>
              <a:gd name="connsiteY19" fmla="*/ 4663390 h 4663390"/>
              <a:gd name="connsiteX20" fmla="*/ 7102512 w 10607040"/>
              <a:gd name="connsiteY20" fmla="*/ 4114756 h 4663390"/>
              <a:gd name="connsiteX21" fmla="*/ 7651152 w 10607040"/>
              <a:gd name="connsiteY21" fmla="*/ 4114756 h 4663390"/>
              <a:gd name="connsiteX22" fmla="*/ 7651152 w 10607040"/>
              <a:gd name="connsiteY22" fmla="*/ 4663390 h 4663390"/>
              <a:gd name="connsiteX23" fmla="*/ 7102512 w 10607040"/>
              <a:gd name="connsiteY23" fmla="*/ 4663390 h 4663390"/>
              <a:gd name="connsiteX24" fmla="*/ 6510826 w 10607040"/>
              <a:gd name="connsiteY24" fmla="*/ 4114756 h 4663390"/>
              <a:gd name="connsiteX25" fmla="*/ 7059466 w 10607040"/>
              <a:gd name="connsiteY25" fmla="*/ 4114756 h 4663390"/>
              <a:gd name="connsiteX26" fmla="*/ 7059466 w 10607040"/>
              <a:gd name="connsiteY26" fmla="*/ 4663390 h 4663390"/>
              <a:gd name="connsiteX27" fmla="*/ 6510826 w 10607040"/>
              <a:gd name="connsiteY27" fmla="*/ 4663390 h 4663390"/>
              <a:gd name="connsiteX28" fmla="*/ 5919140 w 10607040"/>
              <a:gd name="connsiteY28" fmla="*/ 4114756 h 4663390"/>
              <a:gd name="connsiteX29" fmla="*/ 6467780 w 10607040"/>
              <a:gd name="connsiteY29" fmla="*/ 4114756 h 4663390"/>
              <a:gd name="connsiteX30" fmla="*/ 6467780 w 10607040"/>
              <a:gd name="connsiteY30" fmla="*/ 4663390 h 4663390"/>
              <a:gd name="connsiteX31" fmla="*/ 5919140 w 10607040"/>
              <a:gd name="connsiteY31" fmla="*/ 4663390 h 4663390"/>
              <a:gd name="connsiteX32" fmla="*/ 5327454 w 10607040"/>
              <a:gd name="connsiteY32" fmla="*/ 4114756 h 4663390"/>
              <a:gd name="connsiteX33" fmla="*/ 5876094 w 10607040"/>
              <a:gd name="connsiteY33" fmla="*/ 4114756 h 4663390"/>
              <a:gd name="connsiteX34" fmla="*/ 5876094 w 10607040"/>
              <a:gd name="connsiteY34" fmla="*/ 4663390 h 4663390"/>
              <a:gd name="connsiteX35" fmla="*/ 5327454 w 10607040"/>
              <a:gd name="connsiteY35" fmla="*/ 4663390 h 4663390"/>
              <a:gd name="connsiteX36" fmla="*/ 4735768 w 10607040"/>
              <a:gd name="connsiteY36" fmla="*/ 4114756 h 4663390"/>
              <a:gd name="connsiteX37" fmla="*/ 5284408 w 10607040"/>
              <a:gd name="connsiteY37" fmla="*/ 4114756 h 4663390"/>
              <a:gd name="connsiteX38" fmla="*/ 5284408 w 10607040"/>
              <a:gd name="connsiteY38" fmla="*/ 4663390 h 4663390"/>
              <a:gd name="connsiteX39" fmla="*/ 4735768 w 10607040"/>
              <a:gd name="connsiteY39" fmla="*/ 4663390 h 4663390"/>
              <a:gd name="connsiteX40" fmla="*/ 4144082 w 10607040"/>
              <a:gd name="connsiteY40" fmla="*/ 4114756 h 4663390"/>
              <a:gd name="connsiteX41" fmla="*/ 4692722 w 10607040"/>
              <a:gd name="connsiteY41" fmla="*/ 4114756 h 4663390"/>
              <a:gd name="connsiteX42" fmla="*/ 4692722 w 10607040"/>
              <a:gd name="connsiteY42" fmla="*/ 4663390 h 4663390"/>
              <a:gd name="connsiteX43" fmla="*/ 4144082 w 10607040"/>
              <a:gd name="connsiteY43" fmla="*/ 4663390 h 4663390"/>
              <a:gd name="connsiteX44" fmla="*/ 3552396 w 10607040"/>
              <a:gd name="connsiteY44" fmla="*/ 4114756 h 4663390"/>
              <a:gd name="connsiteX45" fmla="*/ 4101036 w 10607040"/>
              <a:gd name="connsiteY45" fmla="*/ 4114756 h 4663390"/>
              <a:gd name="connsiteX46" fmla="*/ 4101036 w 10607040"/>
              <a:gd name="connsiteY46" fmla="*/ 4663390 h 4663390"/>
              <a:gd name="connsiteX47" fmla="*/ 3552396 w 10607040"/>
              <a:gd name="connsiteY47" fmla="*/ 4663390 h 4663390"/>
              <a:gd name="connsiteX48" fmla="*/ 2960712 w 10607040"/>
              <a:gd name="connsiteY48" fmla="*/ 4114756 h 4663390"/>
              <a:gd name="connsiteX49" fmla="*/ 3509350 w 10607040"/>
              <a:gd name="connsiteY49" fmla="*/ 4114756 h 4663390"/>
              <a:gd name="connsiteX50" fmla="*/ 3509350 w 10607040"/>
              <a:gd name="connsiteY50" fmla="*/ 4663390 h 4663390"/>
              <a:gd name="connsiteX51" fmla="*/ 2960712 w 10607040"/>
              <a:gd name="connsiteY51" fmla="*/ 4663390 h 4663390"/>
              <a:gd name="connsiteX52" fmla="*/ 2369026 w 10607040"/>
              <a:gd name="connsiteY52" fmla="*/ 4114756 h 4663390"/>
              <a:gd name="connsiteX53" fmla="*/ 2917666 w 10607040"/>
              <a:gd name="connsiteY53" fmla="*/ 4114756 h 4663390"/>
              <a:gd name="connsiteX54" fmla="*/ 2917666 w 10607040"/>
              <a:gd name="connsiteY54" fmla="*/ 4663390 h 4663390"/>
              <a:gd name="connsiteX55" fmla="*/ 2369026 w 10607040"/>
              <a:gd name="connsiteY55" fmla="*/ 4663390 h 4663390"/>
              <a:gd name="connsiteX56" fmla="*/ 1777340 w 10607040"/>
              <a:gd name="connsiteY56" fmla="*/ 4114756 h 4663390"/>
              <a:gd name="connsiteX57" fmla="*/ 2325980 w 10607040"/>
              <a:gd name="connsiteY57" fmla="*/ 4114756 h 4663390"/>
              <a:gd name="connsiteX58" fmla="*/ 2325980 w 10607040"/>
              <a:gd name="connsiteY58" fmla="*/ 4663390 h 4663390"/>
              <a:gd name="connsiteX59" fmla="*/ 1777340 w 10607040"/>
              <a:gd name="connsiteY59" fmla="*/ 4663390 h 4663390"/>
              <a:gd name="connsiteX60" fmla="*/ 1185654 w 10607040"/>
              <a:gd name="connsiteY60" fmla="*/ 4114756 h 4663390"/>
              <a:gd name="connsiteX61" fmla="*/ 1734294 w 10607040"/>
              <a:gd name="connsiteY61" fmla="*/ 4114756 h 4663390"/>
              <a:gd name="connsiteX62" fmla="*/ 1734294 w 10607040"/>
              <a:gd name="connsiteY62" fmla="*/ 4663390 h 4663390"/>
              <a:gd name="connsiteX63" fmla="*/ 1185654 w 10607040"/>
              <a:gd name="connsiteY63" fmla="*/ 4663390 h 4663390"/>
              <a:gd name="connsiteX64" fmla="*/ 593968 w 10607040"/>
              <a:gd name="connsiteY64" fmla="*/ 4114756 h 4663390"/>
              <a:gd name="connsiteX65" fmla="*/ 1142608 w 10607040"/>
              <a:gd name="connsiteY65" fmla="*/ 4114756 h 4663390"/>
              <a:gd name="connsiteX66" fmla="*/ 1142608 w 10607040"/>
              <a:gd name="connsiteY66" fmla="*/ 4663390 h 4663390"/>
              <a:gd name="connsiteX67" fmla="*/ 593968 w 10607040"/>
              <a:gd name="connsiteY67" fmla="*/ 4663390 h 4663390"/>
              <a:gd name="connsiteX68" fmla="*/ 2283 w 10607040"/>
              <a:gd name="connsiteY68" fmla="*/ 4114756 h 4663390"/>
              <a:gd name="connsiteX69" fmla="*/ 550922 w 10607040"/>
              <a:gd name="connsiteY69" fmla="*/ 4114756 h 4663390"/>
              <a:gd name="connsiteX70" fmla="*/ 550922 w 10607040"/>
              <a:gd name="connsiteY70" fmla="*/ 4663390 h 4663390"/>
              <a:gd name="connsiteX71" fmla="*/ 2283 w 10607040"/>
              <a:gd name="connsiteY71" fmla="*/ 4663390 h 4663390"/>
              <a:gd name="connsiteX72" fmla="*/ 10060564 w 10607040"/>
              <a:gd name="connsiteY72" fmla="*/ 3526933 h 4663390"/>
              <a:gd name="connsiteX73" fmla="*/ 10607040 w 10607040"/>
              <a:gd name="connsiteY73" fmla="*/ 3526933 h 4663390"/>
              <a:gd name="connsiteX74" fmla="*/ 10607040 w 10607040"/>
              <a:gd name="connsiteY74" fmla="*/ 4075573 h 4663390"/>
              <a:gd name="connsiteX75" fmla="*/ 10060564 w 10607040"/>
              <a:gd name="connsiteY75" fmla="*/ 4075573 h 4663390"/>
              <a:gd name="connsiteX76" fmla="*/ 9468876 w 10607040"/>
              <a:gd name="connsiteY76" fmla="*/ 3526932 h 4663390"/>
              <a:gd name="connsiteX77" fmla="*/ 10017516 w 10607040"/>
              <a:gd name="connsiteY77" fmla="*/ 3526932 h 4663390"/>
              <a:gd name="connsiteX78" fmla="*/ 10017516 w 10607040"/>
              <a:gd name="connsiteY78" fmla="*/ 4075572 h 4663390"/>
              <a:gd name="connsiteX79" fmla="*/ 9468876 w 10607040"/>
              <a:gd name="connsiteY79" fmla="*/ 4075572 h 4663390"/>
              <a:gd name="connsiteX80" fmla="*/ 8877190 w 10607040"/>
              <a:gd name="connsiteY80" fmla="*/ 3526932 h 4663390"/>
              <a:gd name="connsiteX81" fmla="*/ 9425830 w 10607040"/>
              <a:gd name="connsiteY81" fmla="*/ 3526932 h 4663390"/>
              <a:gd name="connsiteX82" fmla="*/ 9425830 w 10607040"/>
              <a:gd name="connsiteY82" fmla="*/ 4075572 h 4663390"/>
              <a:gd name="connsiteX83" fmla="*/ 8877190 w 10607040"/>
              <a:gd name="connsiteY83" fmla="*/ 4075572 h 4663390"/>
              <a:gd name="connsiteX84" fmla="*/ 8285504 w 10607040"/>
              <a:gd name="connsiteY84" fmla="*/ 3526932 h 4663390"/>
              <a:gd name="connsiteX85" fmla="*/ 8834144 w 10607040"/>
              <a:gd name="connsiteY85" fmla="*/ 3526932 h 4663390"/>
              <a:gd name="connsiteX86" fmla="*/ 8834144 w 10607040"/>
              <a:gd name="connsiteY86" fmla="*/ 4075572 h 4663390"/>
              <a:gd name="connsiteX87" fmla="*/ 8285504 w 10607040"/>
              <a:gd name="connsiteY87" fmla="*/ 4075572 h 4663390"/>
              <a:gd name="connsiteX88" fmla="*/ 7693818 w 10607040"/>
              <a:gd name="connsiteY88" fmla="*/ 3526932 h 4663390"/>
              <a:gd name="connsiteX89" fmla="*/ 8242458 w 10607040"/>
              <a:gd name="connsiteY89" fmla="*/ 3526932 h 4663390"/>
              <a:gd name="connsiteX90" fmla="*/ 8242458 w 10607040"/>
              <a:gd name="connsiteY90" fmla="*/ 4075572 h 4663390"/>
              <a:gd name="connsiteX91" fmla="*/ 7693818 w 10607040"/>
              <a:gd name="connsiteY91" fmla="*/ 4075572 h 4663390"/>
              <a:gd name="connsiteX92" fmla="*/ 7102132 w 10607040"/>
              <a:gd name="connsiteY92" fmla="*/ 3526932 h 4663390"/>
              <a:gd name="connsiteX93" fmla="*/ 7650772 w 10607040"/>
              <a:gd name="connsiteY93" fmla="*/ 3526932 h 4663390"/>
              <a:gd name="connsiteX94" fmla="*/ 7650772 w 10607040"/>
              <a:gd name="connsiteY94" fmla="*/ 4075572 h 4663390"/>
              <a:gd name="connsiteX95" fmla="*/ 7102132 w 10607040"/>
              <a:gd name="connsiteY95" fmla="*/ 4075572 h 4663390"/>
              <a:gd name="connsiteX96" fmla="*/ 6510446 w 10607040"/>
              <a:gd name="connsiteY96" fmla="*/ 3526932 h 4663390"/>
              <a:gd name="connsiteX97" fmla="*/ 7059086 w 10607040"/>
              <a:gd name="connsiteY97" fmla="*/ 3526932 h 4663390"/>
              <a:gd name="connsiteX98" fmla="*/ 7059086 w 10607040"/>
              <a:gd name="connsiteY98" fmla="*/ 4075572 h 4663390"/>
              <a:gd name="connsiteX99" fmla="*/ 6510446 w 10607040"/>
              <a:gd name="connsiteY99" fmla="*/ 4075572 h 4663390"/>
              <a:gd name="connsiteX100" fmla="*/ 5918760 w 10607040"/>
              <a:gd name="connsiteY100" fmla="*/ 3526932 h 4663390"/>
              <a:gd name="connsiteX101" fmla="*/ 6467400 w 10607040"/>
              <a:gd name="connsiteY101" fmla="*/ 3526932 h 4663390"/>
              <a:gd name="connsiteX102" fmla="*/ 6467400 w 10607040"/>
              <a:gd name="connsiteY102" fmla="*/ 4075572 h 4663390"/>
              <a:gd name="connsiteX103" fmla="*/ 5918760 w 10607040"/>
              <a:gd name="connsiteY103" fmla="*/ 4075572 h 4663390"/>
              <a:gd name="connsiteX104" fmla="*/ 5327074 w 10607040"/>
              <a:gd name="connsiteY104" fmla="*/ 3526932 h 4663390"/>
              <a:gd name="connsiteX105" fmla="*/ 5875714 w 10607040"/>
              <a:gd name="connsiteY105" fmla="*/ 3526932 h 4663390"/>
              <a:gd name="connsiteX106" fmla="*/ 5875714 w 10607040"/>
              <a:gd name="connsiteY106" fmla="*/ 4075572 h 4663390"/>
              <a:gd name="connsiteX107" fmla="*/ 5327074 w 10607040"/>
              <a:gd name="connsiteY107" fmla="*/ 4075572 h 4663390"/>
              <a:gd name="connsiteX108" fmla="*/ 4735388 w 10607040"/>
              <a:gd name="connsiteY108" fmla="*/ 3526932 h 4663390"/>
              <a:gd name="connsiteX109" fmla="*/ 5284028 w 10607040"/>
              <a:gd name="connsiteY109" fmla="*/ 3526932 h 4663390"/>
              <a:gd name="connsiteX110" fmla="*/ 5284028 w 10607040"/>
              <a:gd name="connsiteY110" fmla="*/ 4075572 h 4663390"/>
              <a:gd name="connsiteX111" fmla="*/ 4735388 w 10607040"/>
              <a:gd name="connsiteY111" fmla="*/ 4075572 h 4663390"/>
              <a:gd name="connsiteX112" fmla="*/ 4143702 w 10607040"/>
              <a:gd name="connsiteY112" fmla="*/ 3526932 h 4663390"/>
              <a:gd name="connsiteX113" fmla="*/ 4692342 w 10607040"/>
              <a:gd name="connsiteY113" fmla="*/ 3526932 h 4663390"/>
              <a:gd name="connsiteX114" fmla="*/ 4692342 w 10607040"/>
              <a:gd name="connsiteY114" fmla="*/ 4075572 h 4663390"/>
              <a:gd name="connsiteX115" fmla="*/ 4143702 w 10607040"/>
              <a:gd name="connsiteY115" fmla="*/ 4075572 h 4663390"/>
              <a:gd name="connsiteX116" fmla="*/ 3552016 w 10607040"/>
              <a:gd name="connsiteY116" fmla="*/ 3526932 h 4663390"/>
              <a:gd name="connsiteX117" fmla="*/ 4100656 w 10607040"/>
              <a:gd name="connsiteY117" fmla="*/ 3526932 h 4663390"/>
              <a:gd name="connsiteX118" fmla="*/ 4100656 w 10607040"/>
              <a:gd name="connsiteY118" fmla="*/ 4075572 h 4663390"/>
              <a:gd name="connsiteX119" fmla="*/ 3552016 w 10607040"/>
              <a:gd name="connsiteY119" fmla="*/ 4075572 h 4663390"/>
              <a:gd name="connsiteX120" fmla="*/ 2960336 w 10607040"/>
              <a:gd name="connsiteY120" fmla="*/ 3526932 h 4663390"/>
              <a:gd name="connsiteX121" fmla="*/ 3508970 w 10607040"/>
              <a:gd name="connsiteY121" fmla="*/ 3526932 h 4663390"/>
              <a:gd name="connsiteX122" fmla="*/ 3508970 w 10607040"/>
              <a:gd name="connsiteY122" fmla="*/ 4075572 h 4663390"/>
              <a:gd name="connsiteX123" fmla="*/ 2960336 w 10607040"/>
              <a:gd name="connsiteY123" fmla="*/ 4075572 h 4663390"/>
              <a:gd name="connsiteX124" fmla="*/ 2368649 w 10607040"/>
              <a:gd name="connsiteY124" fmla="*/ 3526932 h 4663390"/>
              <a:gd name="connsiteX125" fmla="*/ 2917290 w 10607040"/>
              <a:gd name="connsiteY125" fmla="*/ 3526932 h 4663390"/>
              <a:gd name="connsiteX126" fmla="*/ 2917290 w 10607040"/>
              <a:gd name="connsiteY126" fmla="*/ 4075572 h 4663390"/>
              <a:gd name="connsiteX127" fmla="*/ 2368649 w 10607040"/>
              <a:gd name="connsiteY127" fmla="*/ 4075572 h 4663390"/>
              <a:gd name="connsiteX128" fmla="*/ 1776962 w 10607040"/>
              <a:gd name="connsiteY128" fmla="*/ 3526932 h 4663390"/>
              <a:gd name="connsiteX129" fmla="*/ 2325603 w 10607040"/>
              <a:gd name="connsiteY129" fmla="*/ 3526932 h 4663390"/>
              <a:gd name="connsiteX130" fmla="*/ 2325603 w 10607040"/>
              <a:gd name="connsiteY130" fmla="*/ 4075572 h 4663390"/>
              <a:gd name="connsiteX131" fmla="*/ 1776962 w 10607040"/>
              <a:gd name="connsiteY131" fmla="*/ 4075572 h 4663390"/>
              <a:gd name="connsiteX132" fmla="*/ 1185277 w 10607040"/>
              <a:gd name="connsiteY132" fmla="*/ 3526932 h 4663390"/>
              <a:gd name="connsiteX133" fmla="*/ 1733917 w 10607040"/>
              <a:gd name="connsiteY133" fmla="*/ 3526932 h 4663390"/>
              <a:gd name="connsiteX134" fmla="*/ 1733917 w 10607040"/>
              <a:gd name="connsiteY134" fmla="*/ 4075572 h 4663390"/>
              <a:gd name="connsiteX135" fmla="*/ 1185277 w 10607040"/>
              <a:gd name="connsiteY135" fmla="*/ 4075572 h 4663390"/>
              <a:gd name="connsiteX136" fmla="*/ 593591 w 10607040"/>
              <a:gd name="connsiteY136" fmla="*/ 3526932 h 4663390"/>
              <a:gd name="connsiteX137" fmla="*/ 1142231 w 10607040"/>
              <a:gd name="connsiteY137" fmla="*/ 3526932 h 4663390"/>
              <a:gd name="connsiteX138" fmla="*/ 1142231 w 10607040"/>
              <a:gd name="connsiteY138" fmla="*/ 4075572 h 4663390"/>
              <a:gd name="connsiteX139" fmla="*/ 593591 w 10607040"/>
              <a:gd name="connsiteY139" fmla="*/ 4075572 h 4663390"/>
              <a:gd name="connsiteX140" fmla="*/ 1905 w 10607040"/>
              <a:gd name="connsiteY140" fmla="*/ 3526932 h 4663390"/>
              <a:gd name="connsiteX141" fmla="*/ 550545 w 10607040"/>
              <a:gd name="connsiteY141" fmla="*/ 3526932 h 4663390"/>
              <a:gd name="connsiteX142" fmla="*/ 550545 w 10607040"/>
              <a:gd name="connsiteY142" fmla="*/ 4075572 h 4663390"/>
              <a:gd name="connsiteX143" fmla="*/ 1905 w 10607040"/>
              <a:gd name="connsiteY143" fmla="*/ 4075572 h 4663390"/>
              <a:gd name="connsiteX144" fmla="*/ 10060184 w 10607040"/>
              <a:gd name="connsiteY144" fmla="*/ 2939111 h 4663390"/>
              <a:gd name="connsiteX145" fmla="*/ 10607040 w 10607040"/>
              <a:gd name="connsiteY145" fmla="*/ 2939111 h 4663390"/>
              <a:gd name="connsiteX146" fmla="*/ 10607040 w 10607040"/>
              <a:gd name="connsiteY146" fmla="*/ 3487751 h 4663390"/>
              <a:gd name="connsiteX147" fmla="*/ 10060184 w 10607040"/>
              <a:gd name="connsiteY147" fmla="*/ 3487751 h 4663390"/>
              <a:gd name="connsiteX148" fmla="*/ 9468496 w 10607040"/>
              <a:gd name="connsiteY148" fmla="*/ 2939110 h 4663390"/>
              <a:gd name="connsiteX149" fmla="*/ 10017136 w 10607040"/>
              <a:gd name="connsiteY149" fmla="*/ 2939110 h 4663390"/>
              <a:gd name="connsiteX150" fmla="*/ 10017136 w 10607040"/>
              <a:gd name="connsiteY150" fmla="*/ 3487750 h 4663390"/>
              <a:gd name="connsiteX151" fmla="*/ 9468496 w 10607040"/>
              <a:gd name="connsiteY151" fmla="*/ 3487750 h 4663390"/>
              <a:gd name="connsiteX152" fmla="*/ 8876810 w 10607040"/>
              <a:gd name="connsiteY152" fmla="*/ 2939110 h 4663390"/>
              <a:gd name="connsiteX153" fmla="*/ 9425450 w 10607040"/>
              <a:gd name="connsiteY153" fmla="*/ 2939110 h 4663390"/>
              <a:gd name="connsiteX154" fmla="*/ 9425450 w 10607040"/>
              <a:gd name="connsiteY154" fmla="*/ 3487750 h 4663390"/>
              <a:gd name="connsiteX155" fmla="*/ 8876810 w 10607040"/>
              <a:gd name="connsiteY155" fmla="*/ 3487750 h 4663390"/>
              <a:gd name="connsiteX156" fmla="*/ 8285124 w 10607040"/>
              <a:gd name="connsiteY156" fmla="*/ 2939110 h 4663390"/>
              <a:gd name="connsiteX157" fmla="*/ 8833764 w 10607040"/>
              <a:gd name="connsiteY157" fmla="*/ 2939110 h 4663390"/>
              <a:gd name="connsiteX158" fmla="*/ 8833764 w 10607040"/>
              <a:gd name="connsiteY158" fmla="*/ 3487750 h 4663390"/>
              <a:gd name="connsiteX159" fmla="*/ 8285124 w 10607040"/>
              <a:gd name="connsiteY159" fmla="*/ 3487750 h 4663390"/>
              <a:gd name="connsiteX160" fmla="*/ 7693438 w 10607040"/>
              <a:gd name="connsiteY160" fmla="*/ 2939110 h 4663390"/>
              <a:gd name="connsiteX161" fmla="*/ 8242078 w 10607040"/>
              <a:gd name="connsiteY161" fmla="*/ 2939110 h 4663390"/>
              <a:gd name="connsiteX162" fmla="*/ 8242078 w 10607040"/>
              <a:gd name="connsiteY162" fmla="*/ 3487750 h 4663390"/>
              <a:gd name="connsiteX163" fmla="*/ 7693438 w 10607040"/>
              <a:gd name="connsiteY163" fmla="*/ 3487750 h 4663390"/>
              <a:gd name="connsiteX164" fmla="*/ 7101752 w 10607040"/>
              <a:gd name="connsiteY164" fmla="*/ 2939110 h 4663390"/>
              <a:gd name="connsiteX165" fmla="*/ 7650392 w 10607040"/>
              <a:gd name="connsiteY165" fmla="*/ 2939110 h 4663390"/>
              <a:gd name="connsiteX166" fmla="*/ 7650392 w 10607040"/>
              <a:gd name="connsiteY166" fmla="*/ 3487750 h 4663390"/>
              <a:gd name="connsiteX167" fmla="*/ 7101752 w 10607040"/>
              <a:gd name="connsiteY167" fmla="*/ 3487750 h 4663390"/>
              <a:gd name="connsiteX168" fmla="*/ 6510066 w 10607040"/>
              <a:gd name="connsiteY168" fmla="*/ 2939110 h 4663390"/>
              <a:gd name="connsiteX169" fmla="*/ 7058706 w 10607040"/>
              <a:gd name="connsiteY169" fmla="*/ 2939110 h 4663390"/>
              <a:gd name="connsiteX170" fmla="*/ 7058706 w 10607040"/>
              <a:gd name="connsiteY170" fmla="*/ 3487750 h 4663390"/>
              <a:gd name="connsiteX171" fmla="*/ 6510066 w 10607040"/>
              <a:gd name="connsiteY171" fmla="*/ 3487750 h 4663390"/>
              <a:gd name="connsiteX172" fmla="*/ 5918380 w 10607040"/>
              <a:gd name="connsiteY172" fmla="*/ 2939110 h 4663390"/>
              <a:gd name="connsiteX173" fmla="*/ 6467020 w 10607040"/>
              <a:gd name="connsiteY173" fmla="*/ 2939110 h 4663390"/>
              <a:gd name="connsiteX174" fmla="*/ 6467020 w 10607040"/>
              <a:gd name="connsiteY174" fmla="*/ 3487750 h 4663390"/>
              <a:gd name="connsiteX175" fmla="*/ 5918380 w 10607040"/>
              <a:gd name="connsiteY175" fmla="*/ 3487750 h 4663390"/>
              <a:gd name="connsiteX176" fmla="*/ 5326694 w 10607040"/>
              <a:gd name="connsiteY176" fmla="*/ 2939110 h 4663390"/>
              <a:gd name="connsiteX177" fmla="*/ 5875334 w 10607040"/>
              <a:gd name="connsiteY177" fmla="*/ 2939110 h 4663390"/>
              <a:gd name="connsiteX178" fmla="*/ 5875334 w 10607040"/>
              <a:gd name="connsiteY178" fmla="*/ 3487750 h 4663390"/>
              <a:gd name="connsiteX179" fmla="*/ 5326694 w 10607040"/>
              <a:gd name="connsiteY179" fmla="*/ 3487750 h 4663390"/>
              <a:gd name="connsiteX180" fmla="*/ 4735008 w 10607040"/>
              <a:gd name="connsiteY180" fmla="*/ 2939110 h 4663390"/>
              <a:gd name="connsiteX181" fmla="*/ 5283648 w 10607040"/>
              <a:gd name="connsiteY181" fmla="*/ 2939110 h 4663390"/>
              <a:gd name="connsiteX182" fmla="*/ 5283648 w 10607040"/>
              <a:gd name="connsiteY182" fmla="*/ 3487750 h 4663390"/>
              <a:gd name="connsiteX183" fmla="*/ 4735008 w 10607040"/>
              <a:gd name="connsiteY183" fmla="*/ 3487750 h 4663390"/>
              <a:gd name="connsiteX184" fmla="*/ 4143322 w 10607040"/>
              <a:gd name="connsiteY184" fmla="*/ 2939110 h 4663390"/>
              <a:gd name="connsiteX185" fmla="*/ 4691962 w 10607040"/>
              <a:gd name="connsiteY185" fmla="*/ 2939110 h 4663390"/>
              <a:gd name="connsiteX186" fmla="*/ 4691962 w 10607040"/>
              <a:gd name="connsiteY186" fmla="*/ 3487750 h 4663390"/>
              <a:gd name="connsiteX187" fmla="*/ 4143322 w 10607040"/>
              <a:gd name="connsiteY187" fmla="*/ 3487750 h 4663390"/>
              <a:gd name="connsiteX188" fmla="*/ 3551636 w 10607040"/>
              <a:gd name="connsiteY188" fmla="*/ 2939110 h 4663390"/>
              <a:gd name="connsiteX189" fmla="*/ 4100276 w 10607040"/>
              <a:gd name="connsiteY189" fmla="*/ 2939110 h 4663390"/>
              <a:gd name="connsiteX190" fmla="*/ 4100276 w 10607040"/>
              <a:gd name="connsiteY190" fmla="*/ 3487750 h 4663390"/>
              <a:gd name="connsiteX191" fmla="*/ 3551636 w 10607040"/>
              <a:gd name="connsiteY191" fmla="*/ 3487750 h 4663390"/>
              <a:gd name="connsiteX192" fmla="*/ 2959959 w 10607040"/>
              <a:gd name="connsiteY192" fmla="*/ 2939110 h 4663390"/>
              <a:gd name="connsiteX193" fmla="*/ 3508590 w 10607040"/>
              <a:gd name="connsiteY193" fmla="*/ 2939110 h 4663390"/>
              <a:gd name="connsiteX194" fmla="*/ 3508590 w 10607040"/>
              <a:gd name="connsiteY194" fmla="*/ 3487750 h 4663390"/>
              <a:gd name="connsiteX195" fmla="*/ 2959959 w 10607040"/>
              <a:gd name="connsiteY195" fmla="*/ 3487750 h 4663390"/>
              <a:gd name="connsiteX196" fmla="*/ 2368272 w 10607040"/>
              <a:gd name="connsiteY196" fmla="*/ 2939110 h 4663390"/>
              <a:gd name="connsiteX197" fmla="*/ 2916913 w 10607040"/>
              <a:gd name="connsiteY197" fmla="*/ 2939110 h 4663390"/>
              <a:gd name="connsiteX198" fmla="*/ 2916913 w 10607040"/>
              <a:gd name="connsiteY198" fmla="*/ 3487750 h 4663390"/>
              <a:gd name="connsiteX199" fmla="*/ 2368272 w 10607040"/>
              <a:gd name="connsiteY199" fmla="*/ 3487750 h 4663390"/>
              <a:gd name="connsiteX200" fmla="*/ 1776585 w 10607040"/>
              <a:gd name="connsiteY200" fmla="*/ 2939110 h 4663390"/>
              <a:gd name="connsiteX201" fmla="*/ 2325226 w 10607040"/>
              <a:gd name="connsiteY201" fmla="*/ 2939110 h 4663390"/>
              <a:gd name="connsiteX202" fmla="*/ 2325226 w 10607040"/>
              <a:gd name="connsiteY202" fmla="*/ 3487750 h 4663390"/>
              <a:gd name="connsiteX203" fmla="*/ 1776585 w 10607040"/>
              <a:gd name="connsiteY203" fmla="*/ 3487750 h 4663390"/>
              <a:gd name="connsiteX204" fmla="*/ 1184899 w 10607040"/>
              <a:gd name="connsiteY204" fmla="*/ 2939110 h 4663390"/>
              <a:gd name="connsiteX205" fmla="*/ 1733539 w 10607040"/>
              <a:gd name="connsiteY205" fmla="*/ 2939110 h 4663390"/>
              <a:gd name="connsiteX206" fmla="*/ 1733539 w 10607040"/>
              <a:gd name="connsiteY206" fmla="*/ 3487750 h 4663390"/>
              <a:gd name="connsiteX207" fmla="*/ 1184899 w 10607040"/>
              <a:gd name="connsiteY207" fmla="*/ 3487750 h 4663390"/>
              <a:gd name="connsiteX208" fmla="*/ 593213 w 10607040"/>
              <a:gd name="connsiteY208" fmla="*/ 2939110 h 4663390"/>
              <a:gd name="connsiteX209" fmla="*/ 1141853 w 10607040"/>
              <a:gd name="connsiteY209" fmla="*/ 2939110 h 4663390"/>
              <a:gd name="connsiteX210" fmla="*/ 1141853 w 10607040"/>
              <a:gd name="connsiteY210" fmla="*/ 3487750 h 4663390"/>
              <a:gd name="connsiteX211" fmla="*/ 593213 w 10607040"/>
              <a:gd name="connsiteY211" fmla="*/ 3487750 h 4663390"/>
              <a:gd name="connsiteX212" fmla="*/ 1528 w 10607040"/>
              <a:gd name="connsiteY212" fmla="*/ 2939110 h 4663390"/>
              <a:gd name="connsiteX213" fmla="*/ 550168 w 10607040"/>
              <a:gd name="connsiteY213" fmla="*/ 2939110 h 4663390"/>
              <a:gd name="connsiteX214" fmla="*/ 550168 w 10607040"/>
              <a:gd name="connsiteY214" fmla="*/ 3487750 h 4663390"/>
              <a:gd name="connsiteX215" fmla="*/ 1528 w 10607040"/>
              <a:gd name="connsiteY215" fmla="*/ 3487750 h 4663390"/>
              <a:gd name="connsiteX216" fmla="*/ 10059804 w 10607040"/>
              <a:gd name="connsiteY216" fmla="*/ 2351289 h 4663390"/>
              <a:gd name="connsiteX217" fmla="*/ 10607040 w 10607040"/>
              <a:gd name="connsiteY217" fmla="*/ 2351289 h 4663390"/>
              <a:gd name="connsiteX218" fmla="*/ 10607040 w 10607040"/>
              <a:gd name="connsiteY218" fmla="*/ 2899929 h 4663390"/>
              <a:gd name="connsiteX219" fmla="*/ 10059804 w 10607040"/>
              <a:gd name="connsiteY219" fmla="*/ 2899929 h 4663390"/>
              <a:gd name="connsiteX220" fmla="*/ 9468116 w 10607040"/>
              <a:gd name="connsiteY220" fmla="*/ 2351288 h 4663390"/>
              <a:gd name="connsiteX221" fmla="*/ 10016756 w 10607040"/>
              <a:gd name="connsiteY221" fmla="*/ 2351288 h 4663390"/>
              <a:gd name="connsiteX222" fmla="*/ 10016756 w 10607040"/>
              <a:gd name="connsiteY222" fmla="*/ 2899928 h 4663390"/>
              <a:gd name="connsiteX223" fmla="*/ 9468116 w 10607040"/>
              <a:gd name="connsiteY223" fmla="*/ 2899928 h 4663390"/>
              <a:gd name="connsiteX224" fmla="*/ 8876430 w 10607040"/>
              <a:gd name="connsiteY224" fmla="*/ 2351288 h 4663390"/>
              <a:gd name="connsiteX225" fmla="*/ 9425070 w 10607040"/>
              <a:gd name="connsiteY225" fmla="*/ 2351288 h 4663390"/>
              <a:gd name="connsiteX226" fmla="*/ 9425070 w 10607040"/>
              <a:gd name="connsiteY226" fmla="*/ 2899928 h 4663390"/>
              <a:gd name="connsiteX227" fmla="*/ 8876430 w 10607040"/>
              <a:gd name="connsiteY227" fmla="*/ 2899928 h 4663390"/>
              <a:gd name="connsiteX228" fmla="*/ 8284744 w 10607040"/>
              <a:gd name="connsiteY228" fmla="*/ 2351288 h 4663390"/>
              <a:gd name="connsiteX229" fmla="*/ 8833384 w 10607040"/>
              <a:gd name="connsiteY229" fmla="*/ 2351288 h 4663390"/>
              <a:gd name="connsiteX230" fmla="*/ 8833384 w 10607040"/>
              <a:gd name="connsiteY230" fmla="*/ 2899928 h 4663390"/>
              <a:gd name="connsiteX231" fmla="*/ 8284744 w 10607040"/>
              <a:gd name="connsiteY231" fmla="*/ 2899928 h 4663390"/>
              <a:gd name="connsiteX232" fmla="*/ 7693058 w 10607040"/>
              <a:gd name="connsiteY232" fmla="*/ 2351288 h 4663390"/>
              <a:gd name="connsiteX233" fmla="*/ 8241698 w 10607040"/>
              <a:gd name="connsiteY233" fmla="*/ 2351288 h 4663390"/>
              <a:gd name="connsiteX234" fmla="*/ 8241698 w 10607040"/>
              <a:gd name="connsiteY234" fmla="*/ 2899928 h 4663390"/>
              <a:gd name="connsiteX235" fmla="*/ 7693058 w 10607040"/>
              <a:gd name="connsiteY235" fmla="*/ 2899928 h 4663390"/>
              <a:gd name="connsiteX236" fmla="*/ 7101372 w 10607040"/>
              <a:gd name="connsiteY236" fmla="*/ 2351288 h 4663390"/>
              <a:gd name="connsiteX237" fmla="*/ 7650012 w 10607040"/>
              <a:gd name="connsiteY237" fmla="*/ 2351288 h 4663390"/>
              <a:gd name="connsiteX238" fmla="*/ 7650012 w 10607040"/>
              <a:gd name="connsiteY238" fmla="*/ 2899928 h 4663390"/>
              <a:gd name="connsiteX239" fmla="*/ 7101372 w 10607040"/>
              <a:gd name="connsiteY239" fmla="*/ 2899928 h 4663390"/>
              <a:gd name="connsiteX240" fmla="*/ 6509686 w 10607040"/>
              <a:gd name="connsiteY240" fmla="*/ 2351288 h 4663390"/>
              <a:gd name="connsiteX241" fmla="*/ 7058326 w 10607040"/>
              <a:gd name="connsiteY241" fmla="*/ 2351288 h 4663390"/>
              <a:gd name="connsiteX242" fmla="*/ 7058326 w 10607040"/>
              <a:gd name="connsiteY242" fmla="*/ 2899928 h 4663390"/>
              <a:gd name="connsiteX243" fmla="*/ 6509686 w 10607040"/>
              <a:gd name="connsiteY243" fmla="*/ 2899928 h 4663390"/>
              <a:gd name="connsiteX244" fmla="*/ 5918000 w 10607040"/>
              <a:gd name="connsiteY244" fmla="*/ 2351288 h 4663390"/>
              <a:gd name="connsiteX245" fmla="*/ 6466640 w 10607040"/>
              <a:gd name="connsiteY245" fmla="*/ 2351288 h 4663390"/>
              <a:gd name="connsiteX246" fmla="*/ 6466640 w 10607040"/>
              <a:gd name="connsiteY246" fmla="*/ 2899928 h 4663390"/>
              <a:gd name="connsiteX247" fmla="*/ 5918000 w 10607040"/>
              <a:gd name="connsiteY247" fmla="*/ 2899928 h 4663390"/>
              <a:gd name="connsiteX248" fmla="*/ 5326314 w 10607040"/>
              <a:gd name="connsiteY248" fmla="*/ 2351288 h 4663390"/>
              <a:gd name="connsiteX249" fmla="*/ 5874954 w 10607040"/>
              <a:gd name="connsiteY249" fmla="*/ 2351288 h 4663390"/>
              <a:gd name="connsiteX250" fmla="*/ 5874954 w 10607040"/>
              <a:gd name="connsiteY250" fmla="*/ 2899928 h 4663390"/>
              <a:gd name="connsiteX251" fmla="*/ 5326314 w 10607040"/>
              <a:gd name="connsiteY251" fmla="*/ 2899928 h 4663390"/>
              <a:gd name="connsiteX252" fmla="*/ 4734628 w 10607040"/>
              <a:gd name="connsiteY252" fmla="*/ 2351288 h 4663390"/>
              <a:gd name="connsiteX253" fmla="*/ 5283268 w 10607040"/>
              <a:gd name="connsiteY253" fmla="*/ 2351288 h 4663390"/>
              <a:gd name="connsiteX254" fmla="*/ 5283268 w 10607040"/>
              <a:gd name="connsiteY254" fmla="*/ 2899928 h 4663390"/>
              <a:gd name="connsiteX255" fmla="*/ 4734628 w 10607040"/>
              <a:gd name="connsiteY255" fmla="*/ 2899928 h 4663390"/>
              <a:gd name="connsiteX256" fmla="*/ 4142942 w 10607040"/>
              <a:gd name="connsiteY256" fmla="*/ 2351288 h 4663390"/>
              <a:gd name="connsiteX257" fmla="*/ 4691582 w 10607040"/>
              <a:gd name="connsiteY257" fmla="*/ 2351288 h 4663390"/>
              <a:gd name="connsiteX258" fmla="*/ 4691582 w 10607040"/>
              <a:gd name="connsiteY258" fmla="*/ 2899928 h 4663390"/>
              <a:gd name="connsiteX259" fmla="*/ 4142942 w 10607040"/>
              <a:gd name="connsiteY259" fmla="*/ 2899928 h 4663390"/>
              <a:gd name="connsiteX260" fmla="*/ 3551256 w 10607040"/>
              <a:gd name="connsiteY260" fmla="*/ 2351288 h 4663390"/>
              <a:gd name="connsiteX261" fmla="*/ 4099896 w 10607040"/>
              <a:gd name="connsiteY261" fmla="*/ 2351288 h 4663390"/>
              <a:gd name="connsiteX262" fmla="*/ 4099896 w 10607040"/>
              <a:gd name="connsiteY262" fmla="*/ 2899928 h 4663390"/>
              <a:gd name="connsiteX263" fmla="*/ 3551256 w 10607040"/>
              <a:gd name="connsiteY263" fmla="*/ 2899928 h 4663390"/>
              <a:gd name="connsiteX264" fmla="*/ 2959583 w 10607040"/>
              <a:gd name="connsiteY264" fmla="*/ 2351288 h 4663390"/>
              <a:gd name="connsiteX265" fmla="*/ 3508210 w 10607040"/>
              <a:gd name="connsiteY265" fmla="*/ 2351288 h 4663390"/>
              <a:gd name="connsiteX266" fmla="*/ 3508210 w 10607040"/>
              <a:gd name="connsiteY266" fmla="*/ 2899928 h 4663390"/>
              <a:gd name="connsiteX267" fmla="*/ 2959583 w 10607040"/>
              <a:gd name="connsiteY267" fmla="*/ 2899928 h 4663390"/>
              <a:gd name="connsiteX268" fmla="*/ 2367895 w 10607040"/>
              <a:gd name="connsiteY268" fmla="*/ 2351288 h 4663390"/>
              <a:gd name="connsiteX269" fmla="*/ 2916537 w 10607040"/>
              <a:gd name="connsiteY269" fmla="*/ 2351288 h 4663390"/>
              <a:gd name="connsiteX270" fmla="*/ 2916537 w 10607040"/>
              <a:gd name="connsiteY270" fmla="*/ 2899928 h 4663390"/>
              <a:gd name="connsiteX271" fmla="*/ 2367895 w 10607040"/>
              <a:gd name="connsiteY271" fmla="*/ 2899928 h 4663390"/>
              <a:gd name="connsiteX272" fmla="*/ 1776207 w 10607040"/>
              <a:gd name="connsiteY272" fmla="*/ 2351288 h 4663390"/>
              <a:gd name="connsiteX273" fmla="*/ 2324849 w 10607040"/>
              <a:gd name="connsiteY273" fmla="*/ 2351288 h 4663390"/>
              <a:gd name="connsiteX274" fmla="*/ 2324849 w 10607040"/>
              <a:gd name="connsiteY274" fmla="*/ 2899928 h 4663390"/>
              <a:gd name="connsiteX275" fmla="*/ 1776207 w 10607040"/>
              <a:gd name="connsiteY275" fmla="*/ 2899928 h 4663390"/>
              <a:gd name="connsiteX276" fmla="*/ 1184522 w 10607040"/>
              <a:gd name="connsiteY276" fmla="*/ 2351288 h 4663390"/>
              <a:gd name="connsiteX277" fmla="*/ 1733161 w 10607040"/>
              <a:gd name="connsiteY277" fmla="*/ 2351288 h 4663390"/>
              <a:gd name="connsiteX278" fmla="*/ 1733161 w 10607040"/>
              <a:gd name="connsiteY278" fmla="*/ 2899928 h 4663390"/>
              <a:gd name="connsiteX279" fmla="*/ 1184522 w 10607040"/>
              <a:gd name="connsiteY279" fmla="*/ 2899928 h 4663390"/>
              <a:gd name="connsiteX280" fmla="*/ 592836 w 10607040"/>
              <a:gd name="connsiteY280" fmla="*/ 2351288 h 4663390"/>
              <a:gd name="connsiteX281" fmla="*/ 1141476 w 10607040"/>
              <a:gd name="connsiteY281" fmla="*/ 2351288 h 4663390"/>
              <a:gd name="connsiteX282" fmla="*/ 1141476 w 10607040"/>
              <a:gd name="connsiteY282" fmla="*/ 2899928 h 4663390"/>
              <a:gd name="connsiteX283" fmla="*/ 592836 w 10607040"/>
              <a:gd name="connsiteY283" fmla="*/ 2899928 h 4663390"/>
              <a:gd name="connsiteX284" fmla="*/ 1150 w 10607040"/>
              <a:gd name="connsiteY284" fmla="*/ 2351288 h 4663390"/>
              <a:gd name="connsiteX285" fmla="*/ 549790 w 10607040"/>
              <a:gd name="connsiteY285" fmla="*/ 2351288 h 4663390"/>
              <a:gd name="connsiteX286" fmla="*/ 549790 w 10607040"/>
              <a:gd name="connsiteY286" fmla="*/ 2899928 h 4663390"/>
              <a:gd name="connsiteX287" fmla="*/ 1150 w 10607040"/>
              <a:gd name="connsiteY287" fmla="*/ 2899928 h 4663390"/>
              <a:gd name="connsiteX288" fmla="*/ 10059424 w 10607040"/>
              <a:gd name="connsiteY288" fmla="*/ 1763467 h 4663390"/>
              <a:gd name="connsiteX289" fmla="*/ 10607040 w 10607040"/>
              <a:gd name="connsiteY289" fmla="*/ 1763467 h 4663390"/>
              <a:gd name="connsiteX290" fmla="*/ 10607040 w 10607040"/>
              <a:gd name="connsiteY290" fmla="*/ 2312107 h 4663390"/>
              <a:gd name="connsiteX291" fmla="*/ 10059424 w 10607040"/>
              <a:gd name="connsiteY291" fmla="*/ 2312107 h 4663390"/>
              <a:gd name="connsiteX292" fmla="*/ 9467736 w 10607040"/>
              <a:gd name="connsiteY292" fmla="*/ 1763466 h 4663390"/>
              <a:gd name="connsiteX293" fmla="*/ 10016376 w 10607040"/>
              <a:gd name="connsiteY293" fmla="*/ 1763466 h 4663390"/>
              <a:gd name="connsiteX294" fmla="*/ 10016376 w 10607040"/>
              <a:gd name="connsiteY294" fmla="*/ 2312106 h 4663390"/>
              <a:gd name="connsiteX295" fmla="*/ 9467736 w 10607040"/>
              <a:gd name="connsiteY295" fmla="*/ 2312106 h 4663390"/>
              <a:gd name="connsiteX296" fmla="*/ 8876050 w 10607040"/>
              <a:gd name="connsiteY296" fmla="*/ 1763466 h 4663390"/>
              <a:gd name="connsiteX297" fmla="*/ 9424690 w 10607040"/>
              <a:gd name="connsiteY297" fmla="*/ 1763466 h 4663390"/>
              <a:gd name="connsiteX298" fmla="*/ 9424690 w 10607040"/>
              <a:gd name="connsiteY298" fmla="*/ 2312106 h 4663390"/>
              <a:gd name="connsiteX299" fmla="*/ 8876050 w 10607040"/>
              <a:gd name="connsiteY299" fmla="*/ 2312106 h 4663390"/>
              <a:gd name="connsiteX300" fmla="*/ 8284364 w 10607040"/>
              <a:gd name="connsiteY300" fmla="*/ 1763466 h 4663390"/>
              <a:gd name="connsiteX301" fmla="*/ 8833004 w 10607040"/>
              <a:gd name="connsiteY301" fmla="*/ 1763466 h 4663390"/>
              <a:gd name="connsiteX302" fmla="*/ 8833004 w 10607040"/>
              <a:gd name="connsiteY302" fmla="*/ 2312106 h 4663390"/>
              <a:gd name="connsiteX303" fmla="*/ 8284364 w 10607040"/>
              <a:gd name="connsiteY303" fmla="*/ 2312106 h 4663390"/>
              <a:gd name="connsiteX304" fmla="*/ 7692678 w 10607040"/>
              <a:gd name="connsiteY304" fmla="*/ 1763466 h 4663390"/>
              <a:gd name="connsiteX305" fmla="*/ 8241318 w 10607040"/>
              <a:gd name="connsiteY305" fmla="*/ 1763466 h 4663390"/>
              <a:gd name="connsiteX306" fmla="*/ 8241318 w 10607040"/>
              <a:gd name="connsiteY306" fmla="*/ 2312106 h 4663390"/>
              <a:gd name="connsiteX307" fmla="*/ 7692678 w 10607040"/>
              <a:gd name="connsiteY307" fmla="*/ 2312106 h 4663390"/>
              <a:gd name="connsiteX308" fmla="*/ 7100992 w 10607040"/>
              <a:gd name="connsiteY308" fmla="*/ 1763466 h 4663390"/>
              <a:gd name="connsiteX309" fmla="*/ 7649632 w 10607040"/>
              <a:gd name="connsiteY309" fmla="*/ 1763466 h 4663390"/>
              <a:gd name="connsiteX310" fmla="*/ 7649632 w 10607040"/>
              <a:gd name="connsiteY310" fmla="*/ 2312106 h 4663390"/>
              <a:gd name="connsiteX311" fmla="*/ 7100992 w 10607040"/>
              <a:gd name="connsiteY311" fmla="*/ 2312106 h 4663390"/>
              <a:gd name="connsiteX312" fmla="*/ 6509306 w 10607040"/>
              <a:gd name="connsiteY312" fmla="*/ 1763466 h 4663390"/>
              <a:gd name="connsiteX313" fmla="*/ 7057946 w 10607040"/>
              <a:gd name="connsiteY313" fmla="*/ 1763466 h 4663390"/>
              <a:gd name="connsiteX314" fmla="*/ 7057946 w 10607040"/>
              <a:gd name="connsiteY314" fmla="*/ 2312106 h 4663390"/>
              <a:gd name="connsiteX315" fmla="*/ 6509306 w 10607040"/>
              <a:gd name="connsiteY315" fmla="*/ 2312106 h 4663390"/>
              <a:gd name="connsiteX316" fmla="*/ 5917620 w 10607040"/>
              <a:gd name="connsiteY316" fmla="*/ 1763466 h 4663390"/>
              <a:gd name="connsiteX317" fmla="*/ 6466260 w 10607040"/>
              <a:gd name="connsiteY317" fmla="*/ 1763466 h 4663390"/>
              <a:gd name="connsiteX318" fmla="*/ 6466260 w 10607040"/>
              <a:gd name="connsiteY318" fmla="*/ 2312106 h 4663390"/>
              <a:gd name="connsiteX319" fmla="*/ 5917620 w 10607040"/>
              <a:gd name="connsiteY319" fmla="*/ 2312106 h 4663390"/>
              <a:gd name="connsiteX320" fmla="*/ 5325934 w 10607040"/>
              <a:gd name="connsiteY320" fmla="*/ 1763466 h 4663390"/>
              <a:gd name="connsiteX321" fmla="*/ 5874574 w 10607040"/>
              <a:gd name="connsiteY321" fmla="*/ 1763466 h 4663390"/>
              <a:gd name="connsiteX322" fmla="*/ 5874574 w 10607040"/>
              <a:gd name="connsiteY322" fmla="*/ 2312106 h 4663390"/>
              <a:gd name="connsiteX323" fmla="*/ 5325934 w 10607040"/>
              <a:gd name="connsiteY323" fmla="*/ 2312106 h 4663390"/>
              <a:gd name="connsiteX324" fmla="*/ 4734248 w 10607040"/>
              <a:gd name="connsiteY324" fmla="*/ 1763466 h 4663390"/>
              <a:gd name="connsiteX325" fmla="*/ 5282888 w 10607040"/>
              <a:gd name="connsiteY325" fmla="*/ 1763466 h 4663390"/>
              <a:gd name="connsiteX326" fmla="*/ 5282888 w 10607040"/>
              <a:gd name="connsiteY326" fmla="*/ 2312106 h 4663390"/>
              <a:gd name="connsiteX327" fmla="*/ 4734248 w 10607040"/>
              <a:gd name="connsiteY327" fmla="*/ 2312106 h 4663390"/>
              <a:gd name="connsiteX328" fmla="*/ 4142562 w 10607040"/>
              <a:gd name="connsiteY328" fmla="*/ 1763466 h 4663390"/>
              <a:gd name="connsiteX329" fmla="*/ 4691202 w 10607040"/>
              <a:gd name="connsiteY329" fmla="*/ 1763466 h 4663390"/>
              <a:gd name="connsiteX330" fmla="*/ 4691202 w 10607040"/>
              <a:gd name="connsiteY330" fmla="*/ 2312106 h 4663390"/>
              <a:gd name="connsiteX331" fmla="*/ 4142562 w 10607040"/>
              <a:gd name="connsiteY331" fmla="*/ 2312106 h 4663390"/>
              <a:gd name="connsiteX332" fmla="*/ 3550876 w 10607040"/>
              <a:gd name="connsiteY332" fmla="*/ 1763466 h 4663390"/>
              <a:gd name="connsiteX333" fmla="*/ 4099516 w 10607040"/>
              <a:gd name="connsiteY333" fmla="*/ 1763466 h 4663390"/>
              <a:gd name="connsiteX334" fmla="*/ 4099516 w 10607040"/>
              <a:gd name="connsiteY334" fmla="*/ 2312106 h 4663390"/>
              <a:gd name="connsiteX335" fmla="*/ 3550876 w 10607040"/>
              <a:gd name="connsiteY335" fmla="*/ 2312106 h 4663390"/>
              <a:gd name="connsiteX336" fmla="*/ 2959206 w 10607040"/>
              <a:gd name="connsiteY336" fmla="*/ 1763466 h 4663390"/>
              <a:gd name="connsiteX337" fmla="*/ 3507830 w 10607040"/>
              <a:gd name="connsiteY337" fmla="*/ 1763466 h 4663390"/>
              <a:gd name="connsiteX338" fmla="*/ 3507830 w 10607040"/>
              <a:gd name="connsiteY338" fmla="*/ 2312106 h 4663390"/>
              <a:gd name="connsiteX339" fmla="*/ 2959206 w 10607040"/>
              <a:gd name="connsiteY339" fmla="*/ 2312106 h 4663390"/>
              <a:gd name="connsiteX340" fmla="*/ 2367518 w 10607040"/>
              <a:gd name="connsiteY340" fmla="*/ 1763466 h 4663390"/>
              <a:gd name="connsiteX341" fmla="*/ 2916160 w 10607040"/>
              <a:gd name="connsiteY341" fmla="*/ 1763466 h 4663390"/>
              <a:gd name="connsiteX342" fmla="*/ 2916160 w 10607040"/>
              <a:gd name="connsiteY342" fmla="*/ 2312106 h 4663390"/>
              <a:gd name="connsiteX343" fmla="*/ 2367518 w 10607040"/>
              <a:gd name="connsiteY343" fmla="*/ 2312106 h 4663390"/>
              <a:gd name="connsiteX344" fmla="*/ 1775829 w 10607040"/>
              <a:gd name="connsiteY344" fmla="*/ 1763466 h 4663390"/>
              <a:gd name="connsiteX345" fmla="*/ 2324472 w 10607040"/>
              <a:gd name="connsiteY345" fmla="*/ 1763466 h 4663390"/>
              <a:gd name="connsiteX346" fmla="*/ 2324472 w 10607040"/>
              <a:gd name="connsiteY346" fmla="*/ 2312106 h 4663390"/>
              <a:gd name="connsiteX347" fmla="*/ 1775829 w 10607040"/>
              <a:gd name="connsiteY347" fmla="*/ 2312106 h 4663390"/>
              <a:gd name="connsiteX348" fmla="*/ 1184144 w 10607040"/>
              <a:gd name="connsiteY348" fmla="*/ 1763466 h 4663390"/>
              <a:gd name="connsiteX349" fmla="*/ 1732783 w 10607040"/>
              <a:gd name="connsiteY349" fmla="*/ 1763466 h 4663390"/>
              <a:gd name="connsiteX350" fmla="*/ 1732783 w 10607040"/>
              <a:gd name="connsiteY350" fmla="*/ 2312106 h 4663390"/>
              <a:gd name="connsiteX351" fmla="*/ 1184144 w 10607040"/>
              <a:gd name="connsiteY351" fmla="*/ 2312106 h 4663390"/>
              <a:gd name="connsiteX352" fmla="*/ 592459 w 10607040"/>
              <a:gd name="connsiteY352" fmla="*/ 1763466 h 4663390"/>
              <a:gd name="connsiteX353" fmla="*/ 1141098 w 10607040"/>
              <a:gd name="connsiteY353" fmla="*/ 1763466 h 4663390"/>
              <a:gd name="connsiteX354" fmla="*/ 1141098 w 10607040"/>
              <a:gd name="connsiteY354" fmla="*/ 2312106 h 4663390"/>
              <a:gd name="connsiteX355" fmla="*/ 592459 w 10607040"/>
              <a:gd name="connsiteY355" fmla="*/ 2312106 h 4663390"/>
              <a:gd name="connsiteX356" fmla="*/ 773 w 10607040"/>
              <a:gd name="connsiteY356" fmla="*/ 1763466 h 4663390"/>
              <a:gd name="connsiteX357" fmla="*/ 549413 w 10607040"/>
              <a:gd name="connsiteY357" fmla="*/ 1763466 h 4663390"/>
              <a:gd name="connsiteX358" fmla="*/ 549413 w 10607040"/>
              <a:gd name="connsiteY358" fmla="*/ 2312106 h 4663390"/>
              <a:gd name="connsiteX359" fmla="*/ 773 w 10607040"/>
              <a:gd name="connsiteY359" fmla="*/ 2312106 h 4663390"/>
              <a:gd name="connsiteX360" fmla="*/ 10059044 w 10607040"/>
              <a:gd name="connsiteY360" fmla="*/ 1175645 h 4663390"/>
              <a:gd name="connsiteX361" fmla="*/ 10607040 w 10607040"/>
              <a:gd name="connsiteY361" fmla="*/ 1175645 h 4663390"/>
              <a:gd name="connsiteX362" fmla="*/ 10607040 w 10607040"/>
              <a:gd name="connsiteY362" fmla="*/ 1724285 h 4663390"/>
              <a:gd name="connsiteX363" fmla="*/ 10059044 w 10607040"/>
              <a:gd name="connsiteY363" fmla="*/ 1724285 h 4663390"/>
              <a:gd name="connsiteX364" fmla="*/ 9467356 w 10607040"/>
              <a:gd name="connsiteY364" fmla="*/ 1175644 h 4663390"/>
              <a:gd name="connsiteX365" fmla="*/ 10015996 w 10607040"/>
              <a:gd name="connsiteY365" fmla="*/ 1175644 h 4663390"/>
              <a:gd name="connsiteX366" fmla="*/ 10015996 w 10607040"/>
              <a:gd name="connsiteY366" fmla="*/ 1724284 h 4663390"/>
              <a:gd name="connsiteX367" fmla="*/ 9467356 w 10607040"/>
              <a:gd name="connsiteY367" fmla="*/ 1724284 h 4663390"/>
              <a:gd name="connsiteX368" fmla="*/ 8875670 w 10607040"/>
              <a:gd name="connsiteY368" fmla="*/ 1175644 h 4663390"/>
              <a:gd name="connsiteX369" fmla="*/ 9424310 w 10607040"/>
              <a:gd name="connsiteY369" fmla="*/ 1175644 h 4663390"/>
              <a:gd name="connsiteX370" fmla="*/ 9424310 w 10607040"/>
              <a:gd name="connsiteY370" fmla="*/ 1724284 h 4663390"/>
              <a:gd name="connsiteX371" fmla="*/ 8875670 w 10607040"/>
              <a:gd name="connsiteY371" fmla="*/ 1724284 h 4663390"/>
              <a:gd name="connsiteX372" fmla="*/ 8283984 w 10607040"/>
              <a:gd name="connsiteY372" fmla="*/ 1175644 h 4663390"/>
              <a:gd name="connsiteX373" fmla="*/ 8832624 w 10607040"/>
              <a:gd name="connsiteY373" fmla="*/ 1175644 h 4663390"/>
              <a:gd name="connsiteX374" fmla="*/ 8832624 w 10607040"/>
              <a:gd name="connsiteY374" fmla="*/ 1724284 h 4663390"/>
              <a:gd name="connsiteX375" fmla="*/ 8283984 w 10607040"/>
              <a:gd name="connsiteY375" fmla="*/ 1724284 h 4663390"/>
              <a:gd name="connsiteX376" fmla="*/ 7692298 w 10607040"/>
              <a:gd name="connsiteY376" fmla="*/ 1175644 h 4663390"/>
              <a:gd name="connsiteX377" fmla="*/ 8240938 w 10607040"/>
              <a:gd name="connsiteY377" fmla="*/ 1175644 h 4663390"/>
              <a:gd name="connsiteX378" fmla="*/ 8240938 w 10607040"/>
              <a:gd name="connsiteY378" fmla="*/ 1724284 h 4663390"/>
              <a:gd name="connsiteX379" fmla="*/ 7692298 w 10607040"/>
              <a:gd name="connsiteY379" fmla="*/ 1724284 h 4663390"/>
              <a:gd name="connsiteX380" fmla="*/ 7100612 w 10607040"/>
              <a:gd name="connsiteY380" fmla="*/ 1175644 h 4663390"/>
              <a:gd name="connsiteX381" fmla="*/ 7649252 w 10607040"/>
              <a:gd name="connsiteY381" fmla="*/ 1175644 h 4663390"/>
              <a:gd name="connsiteX382" fmla="*/ 7649252 w 10607040"/>
              <a:gd name="connsiteY382" fmla="*/ 1724284 h 4663390"/>
              <a:gd name="connsiteX383" fmla="*/ 7100612 w 10607040"/>
              <a:gd name="connsiteY383" fmla="*/ 1724284 h 4663390"/>
              <a:gd name="connsiteX384" fmla="*/ 6508926 w 10607040"/>
              <a:gd name="connsiteY384" fmla="*/ 1175644 h 4663390"/>
              <a:gd name="connsiteX385" fmla="*/ 7057566 w 10607040"/>
              <a:gd name="connsiteY385" fmla="*/ 1175644 h 4663390"/>
              <a:gd name="connsiteX386" fmla="*/ 7057566 w 10607040"/>
              <a:gd name="connsiteY386" fmla="*/ 1724284 h 4663390"/>
              <a:gd name="connsiteX387" fmla="*/ 6508926 w 10607040"/>
              <a:gd name="connsiteY387" fmla="*/ 1724284 h 4663390"/>
              <a:gd name="connsiteX388" fmla="*/ 5917240 w 10607040"/>
              <a:gd name="connsiteY388" fmla="*/ 1175644 h 4663390"/>
              <a:gd name="connsiteX389" fmla="*/ 6465880 w 10607040"/>
              <a:gd name="connsiteY389" fmla="*/ 1175644 h 4663390"/>
              <a:gd name="connsiteX390" fmla="*/ 6465880 w 10607040"/>
              <a:gd name="connsiteY390" fmla="*/ 1724284 h 4663390"/>
              <a:gd name="connsiteX391" fmla="*/ 5917240 w 10607040"/>
              <a:gd name="connsiteY391" fmla="*/ 1724284 h 4663390"/>
              <a:gd name="connsiteX392" fmla="*/ 5325554 w 10607040"/>
              <a:gd name="connsiteY392" fmla="*/ 1175644 h 4663390"/>
              <a:gd name="connsiteX393" fmla="*/ 5874194 w 10607040"/>
              <a:gd name="connsiteY393" fmla="*/ 1175644 h 4663390"/>
              <a:gd name="connsiteX394" fmla="*/ 5874194 w 10607040"/>
              <a:gd name="connsiteY394" fmla="*/ 1724284 h 4663390"/>
              <a:gd name="connsiteX395" fmla="*/ 5325554 w 10607040"/>
              <a:gd name="connsiteY395" fmla="*/ 1724284 h 4663390"/>
              <a:gd name="connsiteX396" fmla="*/ 4733868 w 10607040"/>
              <a:gd name="connsiteY396" fmla="*/ 1175644 h 4663390"/>
              <a:gd name="connsiteX397" fmla="*/ 5282508 w 10607040"/>
              <a:gd name="connsiteY397" fmla="*/ 1175644 h 4663390"/>
              <a:gd name="connsiteX398" fmla="*/ 5282508 w 10607040"/>
              <a:gd name="connsiteY398" fmla="*/ 1724284 h 4663390"/>
              <a:gd name="connsiteX399" fmla="*/ 4733868 w 10607040"/>
              <a:gd name="connsiteY399" fmla="*/ 1724284 h 4663390"/>
              <a:gd name="connsiteX400" fmla="*/ 4142182 w 10607040"/>
              <a:gd name="connsiteY400" fmla="*/ 1175644 h 4663390"/>
              <a:gd name="connsiteX401" fmla="*/ 4690822 w 10607040"/>
              <a:gd name="connsiteY401" fmla="*/ 1175644 h 4663390"/>
              <a:gd name="connsiteX402" fmla="*/ 4690822 w 10607040"/>
              <a:gd name="connsiteY402" fmla="*/ 1724284 h 4663390"/>
              <a:gd name="connsiteX403" fmla="*/ 4142182 w 10607040"/>
              <a:gd name="connsiteY403" fmla="*/ 1724284 h 4663390"/>
              <a:gd name="connsiteX404" fmla="*/ 3550496 w 10607040"/>
              <a:gd name="connsiteY404" fmla="*/ 1175644 h 4663390"/>
              <a:gd name="connsiteX405" fmla="*/ 4099136 w 10607040"/>
              <a:gd name="connsiteY405" fmla="*/ 1175644 h 4663390"/>
              <a:gd name="connsiteX406" fmla="*/ 4099136 w 10607040"/>
              <a:gd name="connsiteY406" fmla="*/ 1724284 h 4663390"/>
              <a:gd name="connsiteX407" fmla="*/ 3550496 w 10607040"/>
              <a:gd name="connsiteY407" fmla="*/ 1724284 h 4663390"/>
              <a:gd name="connsiteX408" fmla="*/ 2958830 w 10607040"/>
              <a:gd name="connsiteY408" fmla="*/ 1175644 h 4663390"/>
              <a:gd name="connsiteX409" fmla="*/ 3507450 w 10607040"/>
              <a:gd name="connsiteY409" fmla="*/ 1175644 h 4663390"/>
              <a:gd name="connsiteX410" fmla="*/ 3507450 w 10607040"/>
              <a:gd name="connsiteY410" fmla="*/ 1724284 h 4663390"/>
              <a:gd name="connsiteX411" fmla="*/ 2958830 w 10607040"/>
              <a:gd name="connsiteY411" fmla="*/ 1724284 h 4663390"/>
              <a:gd name="connsiteX412" fmla="*/ 2367141 w 10607040"/>
              <a:gd name="connsiteY412" fmla="*/ 1175644 h 4663390"/>
              <a:gd name="connsiteX413" fmla="*/ 2915784 w 10607040"/>
              <a:gd name="connsiteY413" fmla="*/ 1175644 h 4663390"/>
              <a:gd name="connsiteX414" fmla="*/ 2915784 w 10607040"/>
              <a:gd name="connsiteY414" fmla="*/ 1724284 h 4663390"/>
              <a:gd name="connsiteX415" fmla="*/ 2367141 w 10607040"/>
              <a:gd name="connsiteY415" fmla="*/ 1724284 h 4663390"/>
              <a:gd name="connsiteX416" fmla="*/ 1775452 w 10607040"/>
              <a:gd name="connsiteY416" fmla="*/ 1175644 h 4663390"/>
              <a:gd name="connsiteX417" fmla="*/ 2324095 w 10607040"/>
              <a:gd name="connsiteY417" fmla="*/ 1175644 h 4663390"/>
              <a:gd name="connsiteX418" fmla="*/ 2324095 w 10607040"/>
              <a:gd name="connsiteY418" fmla="*/ 1724284 h 4663390"/>
              <a:gd name="connsiteX419" fmla="*/ 1775452 w 10607040"/>
              <a:gd name="connsiteY419" fmla="*/ 1724284 h 4663390"/>
              <a:gd name="connsiteX420" fmla="*/ 1183767 w 10607040"/>
              <a:gd name="connsiteY420" fmla="*/ 1175644 h 4663390"/>
              <a:gd name="connsiteX421" fmla="*/ 1732406 w 10607040"/>
              <a:gd name="connsiteY421" fmla="*/ 1175644 h 4663390"/>
              <a:gd name="connsiteX422" fmla="*/ 1732406 w 10607040"/>
              <a:gd name="connsiteY422" fmla="*/ 1724284 h 4663390"/>
              <a:gd name="connsiteX423" fmla="*/ 1183767 w 10607040"/>
              <a:gd name="connsiteY423" fmla="*/ 1724284 h 4663390"/>
              <a:gd name="connsiteX424" fmla="*/ 592081 w 10607040"/>
              <a:gd name="connsiteY424" fmla="*/ 1175644 h 4663390"/>
              <a:gd name="connsiteX425" fmla="*/ 1140721 w 10607040"/>
              <a:gd name="connsiteY425" fmla="*/ 1175644 h 4663390"/>
              <a:gd name="connsiteX426" fmla="*/ 1140721 w 10607040"/>
              <a:gd name="connsiteY426" fmla="*/ 1724284 h 4663390"/>
              <a:gd name="connsiteX427" fmla="*/ 592081 w 10607040"/>
              <a:gd name="connsiteY427" fmla="*/ 1724284 h 4663390"/>
              <a:gd name="connsiteX428" fmla="*/ 396 w 10607040"/>
              <a:gd name="connsiteY428" fmla="*/ 1175644 h 4663390"/>
              <a:gd name="connsiteX429" fmla="*/ 549036 w 10607040"/>
              <a:gd name="connsiteY429" fmla="*/ 1175644 h 4663390"/>
              <a:gd name="connsiteX430" fmla="*/ 549036 w 10607040"/>
              <a:gd name="connsiteY430" fmla="*/ 1724284 h 4663390"/>
              <a:gd name="connsiteX431" fmla="*/ 396 w 10607040"/>
              <a:gd name="connsiteY431" fmla="*/ 1724284 h 4663390"/>
              <a:gd name="connsiteX432" fmla="*/ 10058664 w 10607040"/>
              <a:gd name="connsiteY432" fmla="*/ 587823 h 4663390"/>
              <a:gd name="connsiteX433" fmla="*/ 10607040 w 10607040"/>
              <a:gd name="connsiteY433" fmla="*/ 587823 h 4663390"/>
              <a:gd name="connsiteX434" fmla="*/ 10607040 w 10607040"/>
              <a:gd name="connsiteY434" fmla="*/ 1136463 h 4663390"/>
              <a:gd name="connsiteX435" fmla="*/ 10058664 w 10607040"/>
              <a:gd name="connsiteY435" fmla="*/ 1136463 h 4663390"/>
              <a:gd name="connsiteX436" fmla="*/ 9466976 w 10607040"/>
              <a:gd name="connsiteY436" fmla="*/ 587822 h 4663390"/>
              <a:gd name="connsiteX437" fmla="*/ 10015616 w 10607040"/>
              <a:gd name="connsiteY437" fmla="*/ 587822 h 4663390"/>
              <a:gd name="connsiteX438" fmla="*/ 10015616 w 10607040"/>
              <a:gd name="connsiteY438" fmla="*/ 1136462 h 4663390"/>
              <a:gd name="connsiteX439" fmla="*/ 9466976 w 10607040"/>
              <a:gd name="connsiteY439" fmla="*/ 1136462 h 4663390"/>
              <a:gd name="connsiteX440" fmla="*/ 8875290 w 10607040"/>
              <a:gd name="connsiteY440" fmla="*/ 587822 h 4663390"/>
              <a:gd name="connsiteX441" fmla="*/ 9423930 w 10607040"/>
              <a:gd name="connsiteY441" fmla="*/ 587822 h 4663390"/>
              <a:gd name="connsiteX442" fmla="*/ 9423930 w 10607040"/>
              <a:gd name="connsiteY442" fmla="*/ 1136462 h 4663390"/>
              <a:gd name="connsiteX443" fmla="*/ 8875290 w 10607040"/>
              <a:gd name="connsiteY443" fmla="*/ 1136462 h 4663390"/>
              <a:gd name="connsiteX444" fmla="*/ 8283604 w 10607040"/>
              <a:gd name="connsiteY444" fmla="*/ 587822 h 4663390"/>
              <a:gd name="connsiteX445" fmla="*/ 8832244 w 10607040"/>
              <a:gd name="connsiteY445" fmla="*/ 587822 h 4663390"/>
              <a:gd name="connsiteX446" fmla="*/ 8832244 w 10607040"/>
              <a:gd name="connsiteY446" fmla="*/ 1136462 h 4663390"/>
              <a:gd name="connsiteX447" fmla="*/ 8283604 w 10607040"/>
              <a:gd name="connsiteY447" fmla="*/ 1136462 h 4663390"/>
              <a:gd name="connsiteX448" fmla="*/ 7691918 w 10607040"/>
              <a:gd name="connsiteY448" fmla="*/ 587822 h 4663390"/>
              <a:gd name="connsiteX449" fmla="*/ 8240558 w 10607040"/>
              <a:gd name="connsiteY449" fmla="*/ 587822 h 4663390"/>
              <a:gd name="connsiteX450" fmla="*/ 8240558 w 10607040"/>
              <a:gd name="connsiteY450" fmla="*/ 1136462 h 4663390"/>
              <a:gd name="connsiteX451" fmla="*/ 7691918 w 10607040"/>
              <a:gd name="connsiteY451" fmla="*/ 1136462 h 4663390"/>
              <a:gd name="connsiteX452" fmla="*/ 7100232 w 10607040"/>
              <a:gd name="connsiteY452" fmla="*/ 587822 h 4663390"/>
              <a:gd name="connsiteX453" fmla="*/ 7648872 w 10607040"/>
              <a:gd name="connsiteY453" fmla="*/ 587822 h 4663390"/>
              <a:gd name="connsiteX454" fmla="*/ 7648872 w 10607040"/>
              <a:gd name="connsiteY454" fmla="*/ 1136462 h 4663390"/>
              <a:gd name="connsiteX455" fmla="*/ 7100232 w 10607040"/>
              <a:gd name="connsiteY455" fmla="*/ 1136462 h 4663390"/>
              <a:gd name="connsiteX456" fmla="*/ 6508546 w 10607040"/>
              <a:gd name="connsiteY456" fmla="*/ 587822 h 4663390"/>
              <a:gd name="connsiteX457" fmla="*/ 7057186 w 10607040"/>
              <a:gd name="connsiteY457" fmla="*/ 587822 h 4663390"/>
              <a:gd name="connsiteX458" fmla="*/ 7057186 w 10607040"/>
              <a:gd name="connsiteY458" fmla="*/ 1136462 h 4663390"/>
              <a:gd name="connsiteX459" fmla="*/ 6508546 w 10607040"/>
              <a:gd name="connsiteY459" fmla="*/ 1136462 h 4663390"/>
              <a:gd name="connsiteX460" fmla="*/ 5916860 w 10607040"/>
              <a:gd name="connsiteY460" fmla="*/ 587822 h 4663390"/>
              <a:gd name="connsiteX461" fmla="*/ 6465500 w 10607040"/>
              <a:gd name="connsiteY461" fmla="*/ 587822 h 4663390"/>
              <a:gd name="connsiteX462" fmla="*/ 6465500 w 10607040"/>
              <a:gd name="connsiteY462" fmla="*/ 1136462 h 4663390"/>
              <a:gd name="connsiteX463" fmla="*/ 5916860 w 10607040"/>
              <a:gd name="connsiteY463" fmla="*/ 1136462 h 4663390"/>
              <a:gd name="connsiteX464" fmla="*/ 5325174 w 10607040"/>
              <a:gd name="connsiteY464" fmla="*/ 587822 h 4663390"/>
              <a:gd name="connsiteX465" fmla="*/ 5873814 w 10607040"/>
              <a:gd name="connsiteY465" fmla="*/ 587822 h 4663390"/>
              <a:gd name="connsiteX466" fmla="*/ 5873814 w 10607040"/>
              <a:gd name="connsiteY466" fmla="*/ 1136462 h 4663390"/>
              <a:gd name="connsiteX467" fmla="*/ 5325174 w 10607040"/>
              <a:gd name="connsiteY467" fmla="*/ 1136462 h 4663390"/>
              <a:gd name="connsiteX468" fmla="*/ 4733488 w 10607040"/>
              <a:gd name="connsiteY468" fmla="*/ 587822 h 4663390"/>
              <a:gd name="connsiteX469" fmla="*/ 5282128 w 10607040"/>
              <a:gd name="connsiteY469" fmla="*/ 587822 h 4663390"/>
              <a:gd name="connsiteX470" fmla="*/ 5282128 w 10607040"/>
              <a:gd name="connsiteY470" fmla="*/ 1136462 h 4663390"/>
              <a:gd name="connsiteX471" fmla="*/ 4733488 w 10607040"/>
              <a:gd name="connsiteY471" fmla="*/ 1136462 h 4663390"/>
              <a:gd name="connsiteX472" fmla="*/ 4141802 w 10607040"/>
              <a:gd name="connsiteY472" fmla="*/ 587822 h 4663390"/>
              <a:gd name="connsiteX473" fmla="*/ 4690442 w 10607040"/>
              <a:gd name="connsiteY473" fmla="*/ 587822 h 4663390"/>
              <a:gd name="connsiteX474" fmla="*/ 4690442 w 10607040"/>
              <a:gd name="connsiteY474" fmla="*/ 1136462 h 4663390"/>
              <a:gd name="connsiteX475" fmla="*/ 4141802 w 10607040"/>
              <a:gd name="connsiteY475" fmla="*/ 1136462 h 4663390"/>
              <a:gd name="connsiteX476" fmla="*/ 3550116 w 10607040"/>
              <a:gd name="connsiteY476" fmla="*/ 587822 h 4663390"/>
              <a:gd name="connsiteX477" fmla="*/ 4098756 w 10607040"/>
              <a:gd name="connsiteY477" fmla="*/ 587822 h 4663390"/>
              <a:gd name="connsiteX478" fmla="*/ 4098756 w 10607040"/>
              <a:gd name="connsiteY478" fmla="*/ 1136462 h 4663390"/>
              <a:gd name="connsiteX479" fmla="*/ 3550116 w 10607040"/>
              <a:gd name="connsiteY479" fmla="*/ 1136462 h 4663390"/>
              <a:gd name="connsiteX480" fmla="*/ 2958453 w 10607040"/>
              <a:gd name="connsiteY480" fmla="*/ 587822 h 4663390"/>
              <a:gd name="connsiteX481" fmla="*/ 3507070 w 10607040"/>
              <a:gd name="connsiteY481" fmla="*/ 587822 h 4663390"/>
              <a:gd name="connsiteX482" fmla="*/ 3507070 w 10607040"/>
              <a:gd name="connsiteY482" fmla="*/ 1136462 h 4663390"/>
              <a:gd name="connsiteX483" fmla="*/ 2958453 w 10607040"/>
              <a:gd name="connsiteY483" fmla="*/ 1136462 h 4663390"/>
              <a:gd name="connsiteX484" fmla="*/ 2366764 w 10607040"/>
              <a:gd name="connsiteY484" fmla="*/ 587822 h 4663390"/>
              <a:gd name="connsiteX485" fmla="*/ 2915408 w 10607040"/>
              <a:gd name="connsiteY485" fmla="*/ 587822 h 4663390"/>
              <a:gd name="connsiteX486" fmla="*/ 2915408 w 10607040"/>
              <a:gd name="connsiteY486" fmla="*/ 1136462 h 4663390"/>
              <a:gd name="connsiteX487" fmla="*/ 2366764 w 10607040"/>
              <a:gd name="connsiteY487" fmla="*/ 1136462 h 4663390"/>
              <a:gd name="connsiteX488" fmla="*/ 1775075 w 10607040"/>
              <a:gd name="connsiteY488" fmla="*/ 587822 h 4663390"/>
              <a:gd name="connsiteX489" fmla="*/ 2323718 w 10607040"/>
              <a:gd name="connsiteY489" fmla="*/ 587822 h 4663390"/>
              <a:gd name="connsiteX490" fmla="*/ 2323718 w 10607040"/>
              <a:gd name="connsiteY490" fmla="*/ 1136462 h 4663390"/>
              <a:gd name="connsiteX491" fmla="*/ 1775075 w 10607040"/>
              <a:gd name="connsiteY491" fmla="*/ 1136462 h 4663390"/>
              <a:gd name="connsiteX492" fmla="*/ 1183389 w 10607040"/>
              <a:gd name="connsiteY492" fmla="*/ 587822 h 4663390"/>
              <a:gd name="connsiteX493" fmla="*/ 1732028 w 10607040"/>
              <a:gd name="connsiteY493" fmla="*/ 587822 h 4663390"/>
              <a:gd name="connsiteX494" fmla="*/ 1732028 w 10607040"/>
              <a:gd name="connsiteY494" fmla="*/ 1136462 h 4663390"/>
              <a:gd name="connsiteX495" fmla="*/ 1183389 w 10607040"/>
              <a:gd name="connsiteY495" fmla="*/ 1136462 h 4663390"/>
              <a:gd name="connsiteX496" fmla="*/ 591704 w 10607040"/>
              <a:gd name="connsiteY496" fmla="*/ 587822 h 4663390"/>
              <a:gd name="connsiteX497" fmla="*/ 1140344 w 10607040"/>
              <a:gd name="connsiteY497" fmla="*/ 587822 h 4663390"/>
              <a:gd name="connsiteX498" fmla="*/ 1140344 w 10607040"/>
              <a:gd name="connsiteY498" fmla="*/ 1136462 h 4663390"/>
              <a:gd name="connsiteX499" fmla="*/ 591704 w 10607040"/>
              <a:gd name="connsiteY499" fmla="*/ 1136462 h 4663390"/>
              <a:gd name="connsiteX500" fmla="*/ 18 w 10607040"/>
              <a:gd name="connsiteY500" fmla="*/ 587822 h 4663390"/>
              <a:gd name="connsiteX501" fmla="*/ 548658 w 10607040"/>
              <a:gd name="connsiteY501" fmla="*/ 587822 h 4663390"/>
              <a:gd name="connsiteX502" fmla="*/ 548658 w 10607040"/>
              <a:gd name="connsiteY502" fmla="*/ 1136462 h 4663390"/>
              <a:gd name="connsiteX503" fmla="*/ 18 w 10607040"/>
              <a:gd name="connsiteY503" fmla="*/ 1136462 h 4663390"/>
              <a:gd name="connsiteX504" fmla="*/ 10058284 w 10607040"/>
              <a:gd name="connsiteY504" fmla="*/ 1 h 4663390"/>
              <a:gd name="connsiteX505" fmla="*/ 10606924 w 10607040"/>
              <a:gd name="connsiteY505" fmla="*/ 1 h 4663390"/>
              <a:gd name="connsiteX506" fmla="*/ 10606924 w 10607040"/>
              <a:gd name="connsiteY506" fmla="*/ 548641 h 4663390"/>
              <a:gd name="connsiteX507" fmla="*/ 10058284 w 10607040"/>
              <a:gd name="connsiteY507" fmla="*/ 548641 h 4663390"/>
              <a:gd name="connsiteX508" fmla="*/ 9466596 w 10607040"/>
              <a:gd name="connsiteY508" fmla="*/ 0 h 4663390"/>
              <a:gd name="connsiteX509" fmla="*/ 10015236 w 10607040"/>
              <a:gd name="connsiteY509" fmla="*/ 0 h 4663390"/>
              <a:gd name="connsiteX510" fmla="*/ 10015236 w 10607040"/>
              <a:gd name="connsiteY510" fmla="*/ 548640 h 4663390"/>
              <a:gd name="connsiteX511" fmla="*/ 9466596 w 10607040"/>
              <a:gd name="connsiteY511" fmla="*/ 548640 h 4663390"/>
              <a:gd name="connsiteX512" fmla="*/ 8874910 w 10607040"/>
              <a:gd name="connsiteY512" fmla="*/ 0 h 4663390"/>
              <a:gd name="connsiteX513" fmla="*/ 9423550 w 10607040"/>
              <a:gd name="connsiteY513" fmla="*/ 0 h 4663390"/>
              <a:gd name="connsiteX514" fmla="*/ 9423550 w 10607040"/>
              <a:gd name="connsiteY514" fmla="*/ 548640 h 4663390"/>
              <a:gd name="connsiteX515" fmla="*/ 8874910 w 10607040"/>
              <a:gd name="connsiteY515" fmla="*/ 548640 h 4663390"/>
              <a:gd name="connsiteX516" fmla="*/ 8283224 w 10607040"/>
              <a:gd name="connsiteY516" fmla="*/ 0 h 4663390"/>
              <a:gd name="connsiteX517" fmla="*/ 8831864 w 10607040"/>
              <a:gd name="connsiteY517" fmla="*/ 0 h 4663390"/>
              <a:gd name="connsiteX518" fmla="*/ 8831864 w 10607040"/>
              <a:gd name="connsiteY518" fmla="*/ 548640 h 4663390"/>
              <a:gd name="connsiteX519" fmla="*/ 8283224 w 10607040"/>
              <a:gd name="connsiteY519" fmla="*/ 548640 h 4663390"/>
              <a:gd name="connsiteX520" fmla="*/ 7691538 w 10607040"/>
              <a:gd name="connsiteY520" fmla="*/ 0 h 4663390"/>
              <a:gd name="connsiteX521" fmla="*/ 8240178 w 10607040"/>
              <a:gd name="connsiteY521" fmla="*/ 0 h 4663390"/>
              <a:gd name="connsiteX522" fmla="*/ 8240178 w 10607040"/>
              <a:gd name="connsiteY522" fmla="*/ 548640 h 4663390"/>
              <a:gd name="connsiteX523" fmla="*/ 7691538 w 10607040"/>
              <a:gd name="connsiteY523" fmla="*/ 548640 h 4663390"/>
              <a:gd name="connsiteX524" fmla="*/ 7099852 w 10607040"/>
              <a:gd name="connsiteY524" fmla="*/ 0 h 4663390"/>
              <a:gd name="connsiteX525" fmla="*/ 7648492 w 10607040"/>
              <a:gd name="connsiteY525" fmla="*/ 0 h 4663390"/>
              <a:gd name="connsiteX526" fmla="*/ 7648492 w 10607040"/>
              <a:gd name="connsiteY526" fmla="*/ 548640 h 4663390"/>
              <a:gd name="connsiteX527" fmla="*/ 7099852 w 10607040"/>
              <a:gd name="connsiteY527" fmla="*/ 548640 h 4663390"/>
              <a:gd name="connsiteX528" fmla="*/ 6508166 w 10607040"/>
              <a:gd name="connsiteY528" fmla="*/ 0 h 4663390"/>
              <a:gd name="connsiteX529" fmla="*/ 7056806 w 10607040"/>
              <a:gd name="connsiteY529" fmla="*/ 0 h 4663390"/>
              <a:gd name="connsiteX530" fmla="*/ 7056806 w 10607040"/>
              <a:gd name="connsiteY530" fmla="*/ 548640 h 4663390"/>
              <a:gd name="connsiteX531" fmla="*/ 6508166 w 10607040"/>
              <a:gd name="connsiteY531" fmla="*/ 548640 h 4663390"/>
              <a:gd name="connsiteX532" fmla="*/ 5916480 w 10607040"/>
              <a:gd name="connsiteY532" fmla="*/ 0 h 4663390"/>
              <a:gd name="connsiteX533" fmla="*/ 6465120 w 10607040"/>
              <a:gd name="connsiteY533" fmla="*/ 0 h 4663390"/>
              <a:gd name="connsiteX534" fmla="*/ 6465120 w 10607040"/>
              <a:gd name="connsiteY534" fmla="*/ 548640 h 4663390"/>
              <a:gd name="connsiteX535" fmla="*/ 5916480 w 10607040"/>
              <a:gd name="connsiteY535" fmla="*/ 548640 h 4663390"/>
              <a:gd name="connsiteX536" fmla="*/ 5324794 w 10607040"/>
              <a:gd name="connsiteY536" fmla="*/ 0 h 4663390"/>
              <a:gd name="connsiteX537" fmla="*/ 5873434 w 10607040"/>
              <a:gd name="connsiteY537" fmla="*/ 0 h 4663390"/>
              <a:gd name="connsiteX538" fmla="*/ 5873434 w 10607040"/>
              <a:gd name="connsiteY538" fmla="*/ 548640 h 4663390"/>
              <a:gd name="connsiteX539" fmla="*/ 5324794 w 10607040"/>
              <a:gd name="connsiteY539" fmla="*/ 548640 h 4663390"/>
              <a:gd name="connsiteX540" fmla="*/ 4733108 w 10607040"/>
              <a:gd name="connsiteY540" fmla="*/ 0 h 4663390"/>
              <a:gd name="connsiteX541" fmla="*/ 5281748 w 10607040"/>
              <a:gd name="connsiteY541" fmla="*/ 0 h 4663390"/>
              <a:gd name="connsiteX542" fmla="*/ 5281748 w 10607040"/>
              <a:gd name="connsiteY542" fmla="*/ 548640 h 4663390"/>
              <a:gd name="connsiteX543" fmla="*/ 4733108 w 10607040"/>
              <a:gd name="connsiteY543" fmla="*/ 548640 h 4663390"/>
              <a:gd name="connsiteX544" fmla="*/ 4141422 w 10607040"/>
              <a:gd name="connsiteY544" fmla="*/ 0 h 4663390"/>
              <a:gd name="connsiteX545" fmla="*/ 4690062 w 10607040"/>
              <a:gd name="connsiteY545" fmla="*/ 0 h 4663390"/>
              <a:gd name="connsiteX546" fmla="*/ 4690062 w 10607040"/>
              <a:gd name="connsiteY546" fmla="*/ 548640 h 4663390"/>
              <a:gd name="connsiteX547" fmla="*/ 4141422 w 10607040"/>
              <a:gd name="connsiteY547" fmla="*/ 548640 h 4663390"/>
              <a:gd name="connsiteX548" fmla="*/ 3549736 w 10607040"/>
              <a:gd name="connsiteY548" fmla="*/ 0 h 4663390"/>
              <a:gd name="connsiteX549" fmla="*/ 4098376 w 10607040"/>
              <a:gd name="connsiteY549" fmla="*/ 0 h 4663390"/>
              <a:gd name="connsiteX550" fmla="*/ 4098376 w 10607040"/>
              <a:gd name="connsiteY550" fmla="*/ 548640 h 4663390"/>
              <a:gd name="connsiteX551" fmla="*/ 3549736 w 10607040"/>
              <a:gd name="connsiteY551" fmla="*/ 548640 h 4663390"/>
              <a:gd name="connsiteX552" fmla="*/ 2958077 w 10607040"/>
              <a:gd name="connsiteY552" fmla="*/ 0 h 4663390"/>
              <a:gd name="connsiteX553" fmla="*/ 3506690 w 10607040"/>
              <a:gd name="connsiteY553" fmla="*/ 0 h 4663390"/>
              <a:gd name="connsiteX554" fmla="*/ 3506690 w 10607040"/>
              <a:gd name="connsiteY554" fmla="*/ 548640 h 4663390"/>
              <a:gd name="connsiteX555" fmla="*/ 2958077 w 10607040"/>
              <a:gd name="connsiteY555" fmla="*/ 548640 h 4663390"/>
              <a:gd name="connsiteX556" fmla="*/ 2366387 w 10607040"/>
              <a:gd name="connsiteY556" fmla="*/ 0 h 4663390"/>
              <a:gd name="connsiteX557" fmla="*/ 2915031 w 10607040"/>
              <a:gd name="connsiteY557" fmla="*/ 0 h 4663390"/>
              <a:gd name="connsiteX558" fmla="*/ 2915031 w 10607040"/>
              <a:gd name="connsiteY558" fmla="*/ 548640 h 4663390"/>
              <a:gd name="connsiteX559" fmla="*/ 2366387 w 10607040"/>
              <a:gd name="connsiteY559" fmla="*/ 548640 h 4663390"/>
              <a:gd name="connsiteX560" fmla="*/ 1774697 w 10607040"/>
              <a:gd name="connsiteY560" fmla="*/ 0 h 4663390"/>
              <a:gd name="connsiteX561" fmla="*/ 2323341 w 10607040"/>
              <a:gd name="connsiteY561" fmla="*/ 0 h 4663390"/>
              <a:gd name="connsiteX562" fmla="*/ 2323341 w 10607040"/>
              <a:gd name="connsiteY562" fmla="*/ 548640 h 4663390"/>
              <a:gd name="connsiteX563" fmla="*/ 1774697 w 10607040"/>
              <a:gd name="connsiteY563" fmla="*/ 548640 h 4663390"/>
              <a:gd name="connsiteX564" fmla="*/ 1183012 w 10607040"/>
              <a:gd name="connsiteY564" fmla="*/ 0 h 4663390"/>
              <a:gd name="connsiteX565" fmla="*/ 1731651 w 10607040"/>
              <a:gd name="connsiteY565" fmla="*/ 0 h 4663390"/>
              <a:gd name="connsiteX566" fmla="*/ 1731651 w 10607040"/>
              <a:gd name="connsiteY566" fmla="*/ 548640 h 4663390"/>
              <a:gd name="connsiteX567" fmla="*/ 1183012 w 10607040"/>
              <a:gd name="connsiteY567" fmla="*/ 548640 h 4663390"/>
              <a:gd name="connsiteX568" fmla="*/ 591326 w 10607040"/>
              <a:gd name="connsiteY568" fmla="*/ 0 h 4663390"/>
              <a:gd name="connsiteX569" fmla="*/ 1139966 w 10607040"/>
              <a:gd name="connsiteY569" fmla="*/ 0 h 4663390"/>
              <a:gd name="connsiteX570" fmla="*/ 1139966 w 10607040"/>
              <a:gd name="connsiteY570" fmla="*/ 548640 h 4663390"/>
              <a:gd name="connsiteX571" fmla="*/ 591326 w 10607040"/>
              <a:gd name="connsiteY571" fmla="*/ 548640 h 4663390"/>
              <a:gd name="connsiteX572" fmla="*/ 0 w 10607040"/>
              <a:gd name="connsiteY572" fmla="*/ 0 h 4663390"/>
              <a:gd name="connsiteX573" fmla="*/ 548280 w 10607040"/>
              <a:gd name="connsiteY573" fmla="*/ 0 h 4663390"/>
              <a:gd name="connsiteX574" fmla="*/ 548280 w 10607040"/>
              <a:gd name="connsiteY574" fmla="*/ 548640 h 4663390"/>
              <a:gd name="connsiteX575" fmla="*/ 0 w 10607040"/>
              <a:gd name="connsiteY575" fmla="*/ 548640 h 46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Lst>
            <a:rect l="l" t="t" r="r" b="b"/>
            <a:pathLst>
              <a:path w="10607040" h="4663390">
                <a:moveTo>
                  <a:pt x="10060944" y="4114757"/>
                </a:moveTo>
                <a:lnTo>
                  <a:pt x="10607040" y="4114757"/>
                </a:lnTo>
                <a:lnTo>
                  <a:pt x="10607040" y="4663390"/>
                </a:lnTo>
                <a:lnTo>
                  <a:pt x="10060944" y="4663390"/>
                </a:lnTo>
                <a:close/>
                <a:moveTo>
                  <a:pt x="9469256" y="4114756"/>
                </a:moveTo>
                <a:lnTo>
                  <a:pt x="10017896" y="4114756"/>
                </a:lnTo>
                <a:lnTo>
                  <a:pt x="10017896" y="4663390"/>
                </a:lnTo>
                <a:lnTo>
                  <a:pt x="9469256" y="4663390"/>
                </a:lnTo>
                <a:close/>
                <a:moveTo>
                  <a:pt x="8877570" y="4114756"/>
                </a:moveTo>
                <a:lnTo>
                  <a:pt x="9426210" y="4114756"/>
                </a:lnTo>
                <a:lnTo>
                  <a:pt x="9426210" y="4663390"/>
                </a:lnTo>
                <a:lnTo>
                  <a:pt x="8877570" y="4663390"/>
                </a:lnTo>
                <a:close/>
                <a:moveTo>
                  <a:pt x="8285884" y="4114756"/>
                </a:moveTo>
                <a:lnTo>
                  <a:pt x="8834524" y="4114756"/>
                </a:lnTo>
                <a:lnTo>
                  <a:pt x="8834524" y="4663390"/>
                </a:lnTo>
                <a:lnTo>
                  <a:pt x="8285884" y="4663390"/>
                </a:lnTo>
                <a:close/>
                <a:moveTo>
                  <a:pt x="7694198" y="4114756"/>
                </a:moveTo>
                <a:lnTo>
                  <a:pt x="8242838" y="4114756"/>
                </a:lnTo>
                <a:lnTo>
                  <a:pt x="8242838" y="4663390"/>
                </a:lnTo>
                <a:lnTo>
                  <a:pt x="7694198" y="4663390"/>
                </a:lnTo>
                <a:close/>
                <a:moveTo>
                  <a:pt x="7102512" y="4114756"/>
                </a:moveTo>
                <a:lnTo>
                  <a:pt x="7651152" y="4114756"/>
                </a:lnTo>
                <a:lnTo>
                  <a:pt x="7651152" y="4663390"/>
                </a:lnTo>
                <a:lnTo>
                  <a:pt x="7102512" y="4663390"/>
                </a:lnTo>
                <a:close/>
                <a:moveTo>
                  <a:pt x="6510826" y="4114756"/>
                </a:moveTo>
                <a:lnTo>
                  <a:pt x="7059466" y="4114756"/>
                </a:lnTo>
                <a:lnTo>
                  <a:pt x="7059466" y="4663390"/>
                </a:lnTo>
                <a:lnTo>
                  <a:pt x="6510826" y="4663390"/>
                </a:lnTo>
                <a:close/>
                <a:moveTo>
                  <a:pt x="5919140" y="4114756"/>
                </a:moveTo>
                <a:lnTo>
                  <a:pt x="6467780" y="4114756"/>
                </a:lnTo>
                <a:lnTo>
                  <a:pt x="6467780" y="4663390"/>
                </a:lnTo>
                <a:lnTo>
                  <a:pt x="5919140" y="4663390"/>
                </a:lnTo>
                <a:close/>
                <a:moveTo>
                  <a:pt x="5327454" y="4114756"/>
                </a:moveTo>
                <a:lnTo>
                  <a:pt x="5876094" y="4114756"/>
                </a:lnTo>
                <a:lnTo>
                  <a:pt x="5876094" y="4663390"/>
                </a:lnTo>
                <a:lnTo>
                  <a:pt x="5327454" y="4663390"/>
                </a:lnTo>
                <a:close/>
                <a:moveTo>
                  <a:pt x="4735768" y="4114756"/>
                </a:moveTo>
                <a:lnTo>
                  <a:pt x="5284408" y="4114756"/>
                </a:lnTo>
                <a:lnTo>
                  <a:pt x="5284408" y="4663390"/>
                </a:lnTo>
                <a:lnTo>
                  <a:pt x="4735768" y="4663390"/>
                </a:lnTo>
                <a:close/>
                <a:moveTo>
                  <a:pt x="4144082" y="4114756"/>
                </a:moveTo>
                <a:lnTo>
                  <a:pt x="4692722" y="4114756"/>
                </a:lnTo>
                <a:lnTo>
                  <a:pt x="4692722" y="4663390"/>
                </a:lnTo>
                <a:lnTo>
                  <a:pt x="4144082" y="4663390"/>
                </a:lnTo>
                <a:close/>
                <a:moveTo>
                  <a:pt x="3552396" y="4114756"/>
                </a:moveTo>
                <a:lnTo>
                  <a:pt x="4101036" y="4114756"/>
                </a:lnTo>
                <a:lnTo>
                  <a:pt x="4101036" y="4663390"/>
                </a:lnTo>
                <a:lnTo>
                  <a:pt x="3552396" y="4663390"/>
                </a:lnTo>
                <a:close/>
                <a:moveTo>
                  <a:pt x="2960712" y="4114756"/>
                </a:moveTo>
                <a:lnTo>
                  <a:pt x="3509350" y="4114756"/>
                </a:lnTo>
                <a:lnTo>
                  <a:pt x="3509350" y="4663390"/>
                </a:lnTo>
                <a:lnTo>
                  <a:pt x="2960712" y="4663390"/>
                </a:lnTo>
                <a:close/>
                <a:moveTo>
                  <a:pt x="2369026" y="4114756"/>
                </a:moveTo>
                <a:lnTo>
                  <a:pt x="2917666" y="4114756"/>
                </a:lnTo>
                <a:lnTo>
                  <a:pt x="2917666" y="4663390"/>
                </a:lnTo>
                <a:lnTo>
                  <a:pt x="2369026" y="4663390"/>
                </a:lnTo>
                <a:close/>
                <a:moveTo>
                  <a:pt x="1777340" y="4114756"/>
                </a:moveTo>
                <a:lnTo>
                  <a:pt x="2325980" y="4114756"/>
                </a:lnTo>
                <a:lnTo>
                  <a:pt x="2325980" y="4663390"/>
                </a:lnTo>
                <a:lnTo>
                  <a:pt x="1777340" y="4663390"/>
                </a:lnTo>
                <a:close/>
                <a:moveTo>
                  <a:pt x="1185654" y="4114756"/>
                </a:moveTo>
                <a:lnTo>
                  <a:pt x="1734294" y="4114756"/>
                </a:lnTo>
                <a:lnTo>
                  <a:pt x="1734294" y="4663390"/>
                </a:lnTo>
                <a:lnTo>
                  <a:pt x="1185654" y="4663390"/>
                </a:lnTo>
                <a:close/>
                <a:moveTo>
                  <a:pt x="593968" y="4114756"/>
                </a:moveTo>
                <a:lnTo>
                  <a:pt x="1142608" y="4114756"/>
                </a:lnTo>
                <a:lnTo>
                  <a:pt x="1142608" y="4663390"/>
                </a:lnTo>
                <a:lnTo>
                  <a:pt x="593968" y="4663390"/>
                </a:lnTo>
                <a:close/>
                <a:moveTo>
                  <a:pt x="2283" y="4114756"/>
                </a:moveTo>
                <a:lnTo>
                  <a:pt x="550922" y="4114756"/>
                </a:lnTo>
                <a:lnTo>
                  <a:pt x="550922" y="4663390"/>
                </a:lnTo>
                <a:lnTo>
                  <a:pt x="2283" y="4663390"/>
                </a:lnTo>
                <a:close/>
                <a:moveTo>
                  <a:pt x="10060564" y="3526933"/>
                </a:moveTo>
                <a:lnTo>
                  <a:pt x="10607040" y="3526933"/>
                </a:lnTo>
                <a:lnTo>
                  <a:pt x="10607040" y="4075573"/>
                </a:lnTo>
                <a:lnTo>
                  <a:pt x="10060564" y="4075573"/>
                </a:lnTo>
                <a:close/>
                <a:moveTo>
                  <a:pt x="9468876" y="3526932"/>
                </a:moveTo>
                <a:lnTo>
                  <a:pt x="10017516" y="3526932"/>
                </a:lnTo>
                <a:lnTo>
                  <a:pt x="10017516" y="4075572"/>
                </a:lnTo>
                <a:lnTo>
                  <a:pt x="9468876" y="4075572"/>
                </a:lnTo>
                <a:close/>
                <a:moveTo>
                  <a:pt x="8877190" y="3526932"/>
                </a:moveTo>
                <a:lnTo>
                  <a:pt x="9425830" y="3526932"/>
                </a:lnTo>
                <a:lnTo>
                  <a:pt x="9425830" y="4075572"/>
                </a:lnTo>
                <a:lnTo>
                  <a:pt x="8877190" y="4075572"/>
                </a:lnTo>
                <a:close/>
                <a:moveTo>
                  <a:pt x="8285504" y="3526932"/>
                </a:moveTo>
                <a:lnTo>
                  <a:pt x="8834144" y="3526932"/>
                </a:lnTo>
                <a:lnTo>
                  <a:pt x="8834144" y="4075572"/>
                </a:lnTo>
                <a:lnTo>
                  <a:pt x="8285504" y="4075572"/>
                </a:lnTo>
                <a:close/>
                <a:moveTo>
                  <a:pt x="7693818" y="3526932"/>
                </a:moveTo>
                <a:lnTo>
                  <a:pt x="8242458" y="3526932"/>
                </a:lnTo>
                <a:lnTo>
                  <a:pt x="8242458" y="4075572"/>
                </a:lnTo>
                <a:lnTo>
                  <a:pt x="7693818" y="4075572"/>
                </a:lnTo>
                <a:close/>
                <a:moveTo>
                  <a:pt x="7102132" y="3526932"/>
                </a:moveTo>
                <a:lnTo>
                  <a:pt x="7650772" y="3526932"/>
                </a:lnTo>
                <a:lnTo>
                  <a:pt x="7650772" y="4075572"/>
                </a:lnTo>
                <a:lnTo>
                  <a:pt x="7102132" y="4075572"/>
                </a:lnTo>
                <a:close/>
                <a:moveTo>
                  <a:pt x="6510446" y="3526932"/>
                </a:moveTo>
                <a:lnTo>
                  <a:pt x="7059086" y="3526932"/>
                </a:lnTo>
                <a:lnTo>
                  <a:pt x="7059086" y="4075572"/>
                </a:lnTo>
                <a:lnTo>
                  <a:pt x="6510446" y="4075572"/>
                </a:lnTo>
                <a:close/>
                <a:moveTo>
                  <a:pt x="5918760" y="3526932"/>
                </a:moveTo>
                <a:lnTo>
                  <a:pt x="6467400" y="3526932"/>
                </a:lnTo>
                <a:lnTo>
                  <a:pt x="6467400" y="4075572"/>
                </a:lnTo>
                <a:lnTo>
                  <a:pt x="5918760" y="4075572"/>
                </a:lnTo>
                <a:close/>
                <a:moveTo>
                  <a:pt x="5327074" y="3526932"/>
                </a:moveTo>
                <a:lnTo>
                  <a:pt x="5875714" y="3526932"/>
                </a:lnTo>
                <a:lnTo>
                  <a:pt x="5875714" y="4075572"/>
                </a:lnTo>
                <a:lnTo>
                  <a:pt x="5327074" y="4075572"/>
                </a:lnTo>
                <a:close/>
                <a:moveTo>
                  <a:pt x="4735388" y="3526932"/>
                </a:moveTo>
                <a:lnTo>
                  <a:pt x="5284028" y="3526932"/>
                </a:lnTo>
                <a:lnTo>
                  <a:pt x="5284028" y="4075572"/>
                </a:lnTo>
                <a:lnTo>
                  <a:pt x="4735388" y="4075572"/>
                </a:lnTo>
                <a:close/>
                <a:moveTo>
                  <a:pt x="4143702" y="3526932"/>
                </a:moveTo>
                <a:lnTo>
                  <a:pt x="4692342" y="3526932"/>
                </a:lnTo>
                <a:lnTo>
                  <a:pt x="4692342" y="4075572"/>
                </a:lnTo>
                <a:lnTo>
                  <a:pt x="4143702" y="4075572"/>
                </a:lnTo>
                <a:close/>
                <a:moveTo>
                  <a:pt x="3552016" y="3526932"/>
                </a:moveTo>
                <a:lnTo>
                  <a:pt x="4100656" y="3526932"/>
                </a:lnTo>
                <a:lnTo>
                  <a:pt x="4100656" y="4075572"/>
                </a:lnTo>
                <a:lnTo>
                  <a:pt x="3552016" y="4075572"/>
                </a:lnTo>
                <a:close/>
                <a:moveTo>
                  <a:pt x="2960336" y="3526932"/>
                </a:moveTo>
                <a:lnTo>
                  <a:pt x="3508970" y="3526932"/>
                </a:lnTo>
                <a:lnTo>
                  <a:pt x="3508970" y="4075572"/>
                </a:lnTo>
                <a:lnTo>
                  <a:pt x="2960336" y="4075572"/>
                </a:lnTo>
                <a:close/>
                <a:moveTo>
                  <a:pt x="2368649" y="3526932"/>
                </a:moveTo>
                <a:lnTo>
                  <a:pt x="2917290" y="3526932"/>
                </a:lnTo>
                <a:lnTo>
                  <a:pt x="2917290" y="4075572"/>
                </a:lnTo>
                <a:lnTo>
                  <a:pt x="2368649" y="4075572"/>
                </a:lnTo>
                <a:close/>
                <a:moveTo>
                  <a:pt x="1776962" y="3526932"/>
                </a:moveTo>
                <a:lnTo>
                  <a:pt x="2325603" y="3526932"/>
                </a:lnTo>
                <a:lnTo>
                  <a:pt x="2325603" y="4075572"/>
                </a:lnTo>
                <a:lnTo>
                  <a:pt x="1776962" y="4075572"/>
                </a:lnTo>
                <a:close/>
                <a:moveTo>
                  <a:pt x="1185277" y="3526932"/>
                </a:moveTo>
                <a:lnTo>
                  <a:pt x="1733917" y="3526932"/>
                </a:lnTo>
                <a:lnTo>
                  <a:pt x="1733917" y="4075572"/>
                </a:lnTo>
                <a:lnTo>
                  <a:pt x="1185277" y="4075572"/>
                </a:lnTo>
                <a:close/>
                <a:moveTo>
                  <a:pt x="593591" y="3526932"/>
                </a:moveTo>
                <a:lnTo>
                  <a:pt x="1142231" y="3526932"/>
                </a:lnTo>
                <a:lnTo>
                  <a:pt x="1142231" y="4075572"/>
                </a:lnTo>
                <a:lnTo>
                  <a:pt x="593591" y="4075572"/>
                </a:lnTo>
                <a:close/>
                <a:moveTo>
                  <a:pt x="1905" y="3526932"/>
                </a:moveTo>
                <a:lnTo>
                  <a:pt x="550545" y="3526932"/>
                </a:lnTo>
                <a:lnTo>
                  <a:pt x="550545" y="4075572"/>
                </a:lnTo>
                <a:lnTo>
                  <a:pt x="1905" y="4075572"/>
                </a:lnTo>
                <a:close/>
                <a:moveTo>
                  <a:pt x="10060184" y="2939111"/>
                </a:moveTo>
                <a:lnTo>
                  <a:pt x="10607040" y="2939111"/>
                </a:lnTo>
                <a:lnTo>
                  <a:pt x="10607040" y="3487751"/>
                </a:lnTo>
                <a:lnTo>
                  <a:pt x="10060184" y="3487751"/>
                </a:lnTo>
                <a:close/>
                <a:moveTo>
                  <a:pt x="9468496" y="2939110"/>
                </a:moveTo>
                <a:lnTo>
                  <a:pt x="10017136" y="2939110"/>
                </a:lnTo>
                <a:lnTo>
                  <a:pt x="10017136" y="3487750"/>
                </a:lnTo>
                <a:lnTo>
                  <a:pt x="9468496" y="3487750"/>
                </a:lnTo>
                <a:close/>
                <a:moveTo>
                  <a:pt x="8876810" y="2939110"/>
                </a:moveTo>
                <a:lnTo>
                  <a:pt x="9425450" y="2939110"/>
                </a:lnTo>
                <a:lnTo>
                  <a:pt x="9425450" y="3487750"/>
                </a:lnTo>
                <a:lnTo>
                  <a:pt x="8876810" y="3487750"/>
                </a:lnTo>
                <a:close/>
                <a:moveTo>
                  <a:pt x="8285124" y="2939110"/>
                </a:moveTo>
                <a:lnTo>
                  <a:pt x="8833764" y="2939110"/>
                </a:lnTo>
                <a:lnTo>
                  <a:pt x="8833764" y="3487750"/>
                </a:lnTo>
                <a:lnTo>
                  <a:pt x="8285124" y="3487750"/>
                </a:lnTo>
                <a:close/>
                <a:moveTo>
                  <a:pt x="7693438" y="2939110"/>
                </a:moveTo>
                <a:lnTo>
                  <a:pt x="8242078" y="2939110"/>
                </a:lnTo>
                <a:lnTo>
                  <a:pt x="8242078" y="3487750"/>
                </a:lnTo>
                <a:lnTo>
                  <a:pt x="7693438" y="3487750"/>
                </a:lnTo>
                <a:close/>
                <a:moveTo>
                  <a:pt x="7101752" y="2939110"/>
                </a:moveTo>
                <a:lnTo>
                  <a:pt x="7650392" y="2939110"/>
                </a:lnTo>
                <a:lnTo>
                  <a:pt x="7650392" y="3487750"/>
                </a:lnTo>
                <a:lnTo>
                  <a:pt x="7101752" y="3487750"/>
                </a:lnTo>
                <a:close/>
                <a:moveTo>
                  <a:pt x="6510066" y="2939110"/>
                </a:moveTo>
                <a:lnTo>
                  <a:pt x="7058706" y="2939110"/>
                </a:lnTo>
                <a:lnTo>
                  <a:pt x="7058706" y="3487750"/>
                </a:lnTo>
                <a:lnTo>
                  <a:pt x="6510066" y="3487750"/>
                </a:lnTo>
                <a:close/>
                <a:moveTo>
                  <a:pt x="5918380" y="2939110"/>
                </a:moveTo>
                <a:lnTo>
                  <a:pt x="6467020" y="2939110"/>
                </a:lnTo>
                <a:lnTo>
                  <a:pt x="6467020" y="3487750"/>
                </a:lnTo>
                <a:lnTo>
                  <a:pt x="5918380" y="3487750"/>
                </a:lnTo>
                <a:close/>
                <a:moveTo>
                  <a:pt x="5326694" y="2939110"/>
                </a:moveTo>
                <a:lnTo>
                  <a:pt x="5875334" y="2939110"/>
                </a:lnTo>
                <a:lnTo>
                  <a:pt x="5875334" y="3487750"/>
                </a:lnTo>
                <a:lnTo>
                  <a:pt x="5326694" y="3487750"/>
                </a:lnTo>
                <a:close/>
                <a:moveTo>
                  <a:pt x="4735008" y="2939110"/>
                </a:moveTo>
                <a:lnTo>
                  <a:pt x="5283648" y="2939110"/>
                </a:lnTo>
                <a:lnTo>
                  <a:pt x="5283648" y="3487750"/>
                </a:lnTo>
                <a:lnTo>
                  <a:pt x="4735008" y="3487750"/>
                </a:lnTo>
                <a:close/>
                <a:moveTo>
                  <a:pt x="4143322" y="2939110"/>
                </a:moveTo>
                <a:lnTo>
                  <a:pt x="4691962" y="2939110"/>
                </a:lnTo>
                <a:lnTo>
                  <a:pt x="4691962" y="3487750"/>
                </a:lnTo>
                <a:lnTo>
                  <a:pt x="4143322" y="3487750"/>
                </a:lnTo>
                <a:close/>
                <a:moveTo>
                  <a:pt x="3551636" y="2939110"/>
                </a:moveTo>
                <a:lnTo>
                  <a:pt x="4100276" y="2939110"/>
                </a:lnTo>
                <a:lnTo>
                  <a:pt x="4100276" y="3487750"/>
                </a:lnTo>
                <a:lnTo>
                  <a:pt x="3551636" y="3487750"/>
                </a:lnTo>
                <a:close/>
                <a:moveTo>
                  <a:pt x="2959959" y="2939110"/>
                </a:moveTo>
                <a:lnTo>
                  <a:pt x="3508590" y="2939110"/>
                </a:lnTo>
                <a:lnTo>
                  <a:pt x="3508590" y="3487750"/>
                </a:lnTo>
                <a:lnTo>
                  <a:pt x="2959959" y="3487750"/>
                </a:lnTo>
                <a:close/>
                <a:moveTo>
                  <a:pt x="2368272" y="2939110"/>
                </a:moveTo>
                <a:lnTo>
                  <a:pt x="2916913" y="2939110"/>
                </a:lnTo>
                <a:lnTo>
                  <a:pt x="2916913" y="3487750"/>
                </a:lnTo>
                <a:lnTo>
                  <a:pt x="2368272" y="3487750"/>
                </a:lnTo>
                <a:close/>
                <a:moveTo>
                  <a:pt x="1776585" y="2939110"/>
                </a:moveTo>
                <a:lnTo>
                  <a:pt x="2325226" y="2939110"/>
                </a:lnTo>
                <a:lnTo>
                  <a:pt x="2325226" y="3487750"/>
                </a:lnTo>
                <a:lnTo>
                  <a:pt x="1776585" y="3487750"/>
                </a:lnTo>
                <a:close/>
                <a:moveTo>
                  <a:pt x="1184899" y="2939110"/>
                </a:moveTo>
                <a:lnTo>
                  <a:pt x="1733539" y="2939110"/>
                </a:lnTo>
                <a:lnTo>
                  <a:pt x="1733539" y="3487750"/>
                </a:lnTo>
                <a:lnTo>
                  <a:pt x="1184899" y="3487750"/>
                </a:lnTo>
                <a:close/>
                <a:moveTo>
                  <a:pt x="593213" y="2939110"/>
                </a:moveTo>
                <a:lnTo>
                  <a:pt x="1141853" y="2939110"/>
                </a:lnTo>
                <a:lnTo>
                  <a:pt x="1141853" y="3487750"/>
                </a:lnTo>
                <a:lnTo>
                  <a:pt x="593213" y="3487750"/>
                </a:lnTo>
                <a:close/>
                <a:moveTo>
                  <a:pt x="1528" y="2939110"/>
                </a:moveTo>
                <a:lnTo>
                  <a:pt x="550168" y="2939110"/>
                </a:lnTo>
                <a:lnTo>
                  <a:pt x="550168" y="3487750"/>
                </a:lnTo>
                <a:lnTo>
                  <a:pt x="1528" y="3487750"/>
                </a:lnTo>
                <a:close/>
                <a:moveTo>
                  <a:pt x="10059804" y="2351289"/>
                </a:moveTo>
                <a:lnTo>
                  <a:pt x="10607040" y="2351289"/>
                </a:lnTo>
                <a:lnTo>
                  <a:pt x="10607040" y="2899929"/>
                </a:lnTo>
                <a:lnTo>
                  <a:pt x="10059804" y="2899929"/>
                </a:lnTo>
                <a:close/>
                <a:moveTo>
                  <a:pt x="9468116" y="2351288"/>
                </a:moveTo>
                <a:lnTo>
                  <a:pt x="10016756" y="2351288"/>
                </a:lnTo>
                <a:lnTo>
                  <a:pt x="10016756" y="2899928"/>
                </a:lnTo>
                <a:lnTo>
                  <a:pt x="9468116" y="2899928"/>
                </a:lnTo>
                <a:close/>
                <a:moveTo>
                  <a:pt x="8876430" y="2351288"/>
                </a:moveTo>
                <a:lnTo>
                  <a:pt x="9425070" y="2351288"/>
                </a:lnTo>
                <a:lnTo>
                  <a:pt x="9425070" y="2899928"/>
                </a:lnTo>
                <a:lnTo>
                  <a:pt x="8876430" y="2899928"/>
                </a:lnTo>
                <a:close/>
                <a:moveTo>
                  <a:pt x="8284744" y="2351288"/>
                </a:moveTo>
                <a:lnTo>
                  <a:pt x="8833384" y="2351288"/>
                </a:lnTo>
                <a:lnTo>
                  <a:pt x="8833384" y="2899928"/>
                </a:lnTo>
                <a:lnTo>
                  <a:pt x="8284744" y="2899928"/>
                </a:lnTo>
                <a:close/>
                <a:moveTo>
                  <a:pt x="7693058" y="2351288"/>
                </a:moveTo>
                <a:lnTo>
                  <a:pt x="8241698" y="2351288"/>
                </a:lnTo>
                <a:lnTo>
                  <a:pt x="8241698" y="2899928"/>
                </a:lnTo>
                <a:lnTo>
                  <a:pt x="7693058" y="2899928"/>
                </a:lnTo>
                <a:close/>
                <a:moveTo>
                  <a:pt x="7101372" y="2351288"/>
                </a:moveTo>
                <a:lnTo>
                  <a:pt x="7650012" y="2351288"/>
                </a:lnTo>
                <a:lnTo>
                  <a:pt x="7650012" y="2899928"/>
                </a:lnTo>
                <a:lnTo>
                  <a:pt x="7101372" y="2899928"/>
                </a:lnTo>
                <a:close/>
                <a:moveTo>
                  <a:pt x="6509686" y="2351288"/>
                </a:moveTo>
                <a:lnTo>
                  <a:pt x="7058326" y="2351288"/>
                </a:lnTo>
                <a:lnTo>
                  <a:pt x="7058326" y="2899928"/>
                </a:lnTo>
                <a:lnTo>
                  <a:pt x="6509686" y="2899928"/>
                </a:lnTo>
                <a:close/>
                <a:moveTo>
                  <a:pt x="5918000" y="2351288"/>
                </a:moveTo>
                <a:lnTo>
                  <a:pt x="6466640" y="2351288"/>
                </a:lnTo>
                <a:lnTo>
                  <a:pt x="6466640" y="2899928"/>
                </a:lnTo>
                <a:lnTo>
                  <a:pt x="5918000" y="2899928"/>
                </a:lnTo>
                <a:close/>
                <a:moveTo>
                  <a:pt x="5326314" y="2351288"/>
                </a:moveTo>
                <a:lnTo>
                  <a:pt x="5874954" y="2351288"/>
                </a:lnTo>
                <a:lnTo>
                  <a:pt x="5874954" y="2899928"/>
                </a:lnTo>
                <a:lnTo>
                  <a:pt x="5326314" y="2899928"/>
                </a:lnTo>
                <a:close/>
                <a:moveTo>
                  <a:pt x="4734628" y="2351288"/>
                </a:moveTo>
                <a:lnTo>
                  <a:pt x="5283268" y="2351288"/>
                </a:lnTo>
                <a:lnTo>
                  <a:pt x="5283268" y="2899928"/>
                </a:lnTo>
                <a:lnTo>
                  <a:pt x="4734628" y="2899928"/>
                </a:lnTo>
                <a:close/>
                <a:moveTo>
                  <a:pt x="4142942" y="2351288"/>
                </a:moveTo>
                <a:lnTo>
                  <a:pt x="4691582" y="2351288"/>
                </a:lnTo>
                <a:lnTo>
                  <a:pt x="4691582" y="2899928"/>
                </a:lnTo>
                <a:lnTo>
                  <a:pt x="4142942" y="2899928"/>
                </a:lnTo>
                <a:close/>
                <a:moveTo>
                  <a:pt x="3551256" y="2351288"/>
                </a:moveTo>
                <a:lnTo>
                  <a:pt x="4099896" y="2351288"/>
                </a:lnTo>
                <a:lnTo>
                  <a:pt x="4099896" y="2899928"/>
                </a:lnTo>
                <a:lnTo>
                  <a:pt x="3551256" y="2899928"/>
                </a:lnTo>
                <a:close/>
                <a:moveTo>
                  <a:pt x="2959583" y="2351288"/>
                </a:moveTo>
                <a:lnTo>
                  <a:pt x="3508210" y="2351288"/>
                </a:lnTo>
                <a:lnTo>
                  <a:pt x="3508210" y="2899928"/>
                </a:lnTo>
                <a:lnTo>
                  <a:pt x="2959583" y="2899928"/>
                </a:lnTo>
                <a:close/>
                <a:moveTo>
                  <a:pt x="2367895" y="2351288"/>
                </a:moveTo>
                <a:lnTo>
                  <a:pt x="2916537" y="2351288"/>
                </a:lnTo>
                <a:lnTo>
                  <a:pt x="2916537" y="2899928"/>
                </a:lnTo>
                <a:lnTo>
                  <a:pt x="2367895" y="2899928"/>
                </a:lnTo>
                <a:close/>
                <a:moveTo>
                  <a:pt x="1776207" y="2351288"/>
                </a:moveTo>
                <a:lnTo>
                  <a:pt x="2324849" y="2351288"/>
                </a:lnTo>
                <a:lnTo>
                  <a:pt x="2324849" y="2899928"/>
                </a:lnTo>
                <a:lnTo>
                  <a:pt x="1776207" y="2899928"/>
                </a:lnTo>
                <a:close/>
                <a:moveTo>
                  <a:pt x="1184522" y="2351288"/>
                </a:moveTo>
                <a:lnTo>
                  <a:pt x="1733161" y="2351288"/>
                </a:lnTo>
                <a:lnTo>
                  <a:pt x="1733161" y="2899928"/>
                </a:lnTo>
                <a:lnTo>
                  <a:pt x="1184522" y="2899928"/>
                </a:lnTo>
                <a:close/>
                <a:moveTo>
                  <a:pt x="592836" y="2351288"/>
                </a:moveTo>
                <a:lnTo>
                  <a:pt x="1141476" y="2351288"/>
                </a:lnTo>
                <a:lnTo>
                  <a:pt x="1141476" y="2899928"/>
                </a:lnTo>
                <a:lnTo>
                  <a:pt x="592836" y="2899928"/>
                </a:lnTo>
                <a:close/>
                <a:moveTo>
                  <a:pt x="1150" y="2351288"/>
                </a:moveTo>
                <a:lnTo>
                  <a:pt x="549790" y="2351288"/>
                </a:lnTo>
                <a:lnTo>
                  <a:pt x="549790" y="2899928"/>
                </a:lnTo>
                <a:lnTo>
                  <a:pt x="1150" y="2899928"/>
                </a:lnTo>
                <a:close/>
                <a:moveTo>
                  <a:pt x="10059424" y="1763467"/>
                </a:moveTo>
                <a:lnTo>
                  <a:pt x="10607040" y="1763467"/>
                </a:lnTo>
                <a:lnTo>
                  <a:pt x="10607040" y="2312107"/>
                </a:lnTo>
                <a:lnTo>
                  <a:pt x="10059424" y="2312107"/>
                </a:lnTo>
                <a:close/>
                <a:moveTo>
                  <a:pt x="9467736" y="1763466"/>
                </a:moveTo>
                <a:lnTo>
                  <a:pt x="10016376" y="1763466"/>
                </a:lnTo>
                <a:lnTo>
                  <a:pt x="10016376" y="2312106"/>
                </a:lnTo>
                <a:lnTo>
                  <a:pt x="9467736" y="2312106"/>
                </a:lnTo>
                <a:close/>
                <a:moveTo>
                  <a:pt x="8876050" y="1763466"/>
                </a:moveTo>
                <a:lnTo>
                  <a:pt x="9424690" y="1763466"/>
                </a:lnTo>
                <a:lnTo>
                  <a:pt x="9424690" y="2312106"/>
                </a:lnTo>
                <a:lnTo>
                  <a:pt x="8876050" y="2312106"/>
                </a:lnTo>
                <a:close/>
                <a:moveTo>
                  <a:pt x="8284364" y="1763466"/>
                </a:moveTo>
                <a:lnTo>
                  <a:pt x="8833004" y="1763466"/>
                </a:lnTo>
                <a:lnTo>
                  <a:pt x="8833004" y="2312106"/>
                </a:lnTo>
                <a:lnTo>
                  <a:pt x="8284364" y="2312106"/>
                </a:lnTo>
                <a:close/>
                <a:moveTo>
                  <a:pt x="7692678" y="1763466"/>
                </a:moveTo>
                <a:lnTo>
                  <a:pt x="8241318" y="1763466"/>
                </a:lnTo>
                <a:lnTo>
                  <a:pt x="8241318" y="2312106"/>
                </a:lnTo>
                <a:lnTo>
                  <a:pt x="7692678" y="2312106"/>
                </a:lnTo>
                <a:close/>
                <a:moveTo>
                  <a:pt x="7100992" y="1763466"/>
                </a:moveTo>
                <a:lnTo>
                  <a:pt x="7649632" y="1763466"/>
                </a:lnTo>
                <a:lnTo>
                  <a:pt x="7649632" y="2312106"/>
                </a:lnTo>
                <a:lnTo>
                  <a:pt x="7100992" y="2312106"/>
                </a:lnTo>
                <a:close/>
                <a:moveTo>
                  <a:pt x="6509306" y="1763466"/>
                </a:moveTo>
                <a:lnTo>
                  <a:pt x="7057946" y="1763466"/>
                </a:lnTo>
                <a:lnTo>
                  <a:pt x="7057946" y="2312106"/>
                </a:lnTo>
                <a:lnTo>
                  <a:pt x="6509306" y="2312106"/>
                </a:lnTo>
                <a:close/>
                <a:moveTo>
                  <a:pt x="5917620" y="1763466"/>
                </a:moveTo>
                <a:lnTo>
                  <a:pt x="6466260" y="1763466"/>
                </a:lnTo>
                <a:lnTo>
                  <a:pt x="6466260" y="2312106"/>
                </a:lnTo>
                <a:lnTo>
                  <a:pt x="5917620" y="2312106"/>
                </a:lnTo>
                <a:close/>
                <a:moveTo>
                  <a:pt x="5325934" y="1763466"/>
                </a:moveTo>
                <a:lnTo>
                  <a:pt x="5874574" y="1763466"/>
                </a:lnTo>
                <a:lnTo>
                  <a:pt x="5874574" y="2312106"/>
                </a:lnTo>
                <a:lnTo>
                  <a:pt x="5325934" y="2312106"/>
                </a:lnTo>
                <a:close/>
                <a:moveTo>
                  <a:pt x="4734248" y="1763466"/>
                </a:moveTo>
                <a:lnTo>
                  <a:pt x="5282888" y="1763466"/>
                </a:lnTo>
                <a:lnTo>
                  <a:pt x="5282888" y="2312106"/>
                </a:lnTo>
                <a:lnTo>
                  <a:pt x="4734248" y="2312106"/>
                </a:lnTo>
                <a:close/>
                <a:moveTo>
                  <a:pt x="4142562" y="1763466"/>
                </a:moveTo>
                <a:lnTo>
                  <a:pt x="4691202" y="1763466"/>
                </a:lnTo>
                <a:lnTo>
                  <a:pt x="4691202" y="2312106"/>
                </a:lnTo>
                <a:lnTo>
                  <a:pt x="4142562" y="2312106"/>
                </a:lnTo>
                <a:close/>
                <a:moveTo>
                  <a:pt x="3550876" y="1763466"/>
                </a:moveTo>
                <a:lnTo>
                  <a:pt x="4099516" y="1763466"/>
                </a:lnTo>
                <a:lnTo>
                  <a:pt x="4099516" y="2312106"/>
                </a:lnTo>
                <a:lnTo>
                  <a:pt x="3550876" y="2312106"/>
                </a:lnTo>
                <a:close/>
                <a:moveTo>
                  <a:pt x="2959206" y="1763466"/>
                </a:moveTo>
                <a:lnTo>
                  <a:pt x="3507830" y="1763466"/>
                </a:lnTo>
                <a:lnTo>
                  <a:pt x="3507830" y="2312106"/>
                </a:lnTo>
                <a:lnTo>
                  <a:pt x="2959206" y="2312106"/>
                </a:lnTo>
                <a:close/>
                <a:moveTo>
                  <a:pt x="2367518" y="1763466"/>
                </a:moveTo>
                <a:lnTo>
                  <a:pt x="2916160" y="1763466"/>
                </a:lnTo>
                <a:lnTo>
                  <a:pt x="2916160" y="2312106"/>
                </a:lnTo>
                <a:lnTo>
                  <a:pt x="2367518" y="2312106"/>
                </a:lnTo>
                <a:close/>
                <a:moveTo>
                  <a:pt x="1775829" y="1763466"/>
                </a:moveTo>
                <a:lnTo>
                  <a:pt x="2324472" y="1763466"/>
                </a:lnTo>
                <a:lnTo>
                  <a:pt x="2324472" y="2312106"/>
                </a:lnTo>
                <a:lnTo>
                  <a:pt x="1775829" y="2312106"/>
                </a:lnTo>
                <a:close/>
                <a:moveTo>
                  <a:pt x="1184144" y="1763466"/>
                </a:moveTo>
                <a:lnTo>
                  <a:pt x="1732783" y="1763466"/>
                </a:lnTo>
                <a:lnTo>
                  <a:pt x="1732783" y="2312106"/>
                </a:lnTo>
                <a:lnTo>
                  <a:pt x="1184144" y="2312106"/>
                </a:lnTo>
                <a:close/>
                <a:moveTo>
                  <a:pt x="592459" y="1763466"/>
                </a:moveTo>
                <a:lnTo>
                  <a:pt x="1141098" y="1763466"/>
                </a:lnTo>
                <a:lnTo>
                  <a:pt x="1141098" y="2312106"/>
                </a:lnTo>
                <a:lnTo>
                  <a:pt x="592459" y="2312106"/>
                </a:lnTo>
                <a:close/>
                <a:moveTo>
                  <a:pt x="773" y="1763466"/>
                </a:moveTo>
                <a:lnTo>
                  <a:pt x="549413" y="1763466"/>
                </a:lnTo>
                <a:lnTo>
                  <a:pt x="549413" y="2312106"/>
                </a:lnTo>
                <a:lnTo>
                  <a:pt x="773" y="2312106"/>
                </a:lnTo>
                <a:close/>
                <a:moveTo>
                  <a:pt x="10059044" y="1175645"/>
                </a:moveTo>
                <a:lnTo>
                  <a:pt x="10607040" y="1175645"/>
                </a:lnTo>
                <a:lnTo>
                  <a:pt x="10607040" y="1724285"/>
                </a:lnTo>
                <a:lnTo>
                  <a:pt x="10059044" y="1724285"/>
                </a:lnTo>
                <a:close/>
                <a:moveTo>
                  <a:pt x="9467356" y="1175644"/>
                </a:moveTo>
                <a:lnTo>
                  <a:pt x="10015996" y="1175644"/>
                </a:lnTo>
                <a:lnTo>
                  <a:pt x="10015996" y="1724284"/>
                </a:lnTo>
                <a:lnTo>
                  <a:pt x="9467356" y="1724284"/>
                </a:lnTo>
                <a:close/>
                <a:moveTo>
                  <a:pt x="8875670" y="1175644"/>
                </a:moveTo>
                <a:lnTo>
                  <a:pt x="9424310" y="1175644"/>
                </a:lnTo>
                <a:lnTo>
                  <a:pt x="9424310" y="1724284"/>
                </a:lnTo>
                <a:lnTo>
                  <a:pt x="8875670" y="1724284"/>
                </a:lnTo>
                <a:close/>
                <a:moveTo>
                  <a:pt x="8283984" y="1175644"/>
                </a:moveTo>
                <a:lnTo>
                  <a:pt x="8832624" y="1175644"/>
                </a:lnTo>
                <a:lnTo>
                  <a:pt x="8832624" y="1724284"/>
                </a:lnTo>
                <a:lnTo>
                  <a:pt x="8283984" y="1724284"/>
                </a:lnTo>
                <a:close/>
                <a:moveTo>
                  <a:pt x="7692298" y="1175644"/>
                </a:moveTo>
                <a:lnTo>
                  <a:pt x="8240938" y="1175644"/>
                </a:lnTo>
                <a:lnTo>
                  <a:pt x="8240938" y="1724284"/>
                </a:lnTo>
                <a:lnTo>
                  <a:pt x="7692298" y="1724284"/>
                </a:lnTo>
                <a:close/>
                <a:moveTo>
                  <a:pt x="7100612" y="1175644"/>
                </a:moveTo>
                <a:lnTo>
                  <a:pt x="7649252" y="1175644"/>
                </a:lnTo>
                <a:lnTo>
                  <a:pt x="7649252" y="1724284"/>
                </a:lnTo>
                <a:lnTo>
                  <a:pt x="7100612" y="1724284"/>
                </a:lnTo>
                <a:close/>
                <a:moveTo>
                  <a:pt x="6508926" y="1175644"/>
                </a:moveTo>
                <a:lnTo>
                  <a:pt x="7057566" y="1175644"/>
                </a:lnTo>
                <a:lnTo>
                  <a:pt x="7057566" y="1724284"/>
                </a:lnTo>
                <a:lnTo>
                  <a:pt x="6508926" y="1724284"/>
                </a:lnTo>
                <a:close/>
                <a:moveTo>
                  <a:pt x="5917240" y="1175644"/>
                </a:moveTo>
                <a:lnTo>
                  <a:pt x="6465880" y="1175644"/>
                </a:lnTo>
                <a:lnTo>
                  <a:pt x="6465880" y="1724284"/>
                </a:lnTo>
                <a:lnTo>
                  <a:pt x="5917240" y="1724284"/>
                </a:lnTo>
                <a:close/>
                <a:moveTo>
                  <a:pt x="5325554" y="1175644"/>
                </a:moveTo>
                <a:lnTo>
                  <a:pt x="5874194" y="1175644"/>
                </a:lnTo>
                <a:lnTo>
                  <a:pt x="5874194" y="1724284"/>
                </a:lnTo>
                <a:lnTo>
                  <a:pt x="5325554" y="1724284"/>
                </a:lnTo>
                <a:close/>
                <a:moveTo>
                  <a:pt x="4733868" y="1175644"/>
                </a:moveTo>
                <a:lnTo>
                  <a:pt x="5282508" y="1175644"/>
                </a:lnTo>
                <a:lnTo>
                  <a:pt x="5282508" y="1724284"/>
                </a:lnTo>
                <a:lnTo>
                  <a:pt x="4733868" y="1724284"/>
                </a:lnTo>
                <a:close/>
                <a:moveTo>
                  <a:pt x="4142182" y="1175644"/>
                </a:moveTo>
                <a:lnTo>
                  <a:pt x="4690822" y="1175644"/>
                </a:lnTo>
                <a:lnTo>
                  <a:pt x="4690822" y="1724284"/>
                </a:lnTo>
                <a:lnTo>
                  <a:pt x="4142182" y="1724284"/>
                </a:lnTo>
                <a:close/>
                <a:moveTo>
                  <a:pt x="3550496" y="1175644"/>
                </a:moveTo>
                <a:lnTo>
                  <a:pt x="4099136" y="1175644"/>
                </a:lnTo>
                <a:lnTo>
                  <a:pt x="4099136" y="1724284"/>
                </a:lnTo>
                <a:lnTo>
                  <a:pt x="3550496" y="1724284"/>
                </a:lnTo>
                <a:close/>
                <a:moveTo>
                  <a:pt x="2958830" y="1175644"/>
                </a:moveTo>
                <a:lnTo>
                  <a:pt x="3507450" y="1175644"/>
                </a:lnTo>
                <a:lnTo>
                  <a:pt x="3507450" y="1724284"/>
                </a:lnTo>
                <a:lnTo>
                  <a:pt x="2958830" y="1724284"/>
                </a:lnTo>
                <a:close/>
                <a:moveTo>
                  <a:pt x="2367141" y="1175644"/>
                </a:moveTo>
                <a:lnTo>
                  <a:pt x="2915784" y="1175644"/>
                </a:lnTo>
                <a:lnTo>
                  <a:pt x="2915784" y="1724284"/>
                </a:lnTo>
                <a:lnTo>
                  <a:pt x="2367141" y="1724284"/>
                </a:lnTo>
                <a:close/>
                <a:moveTo>
                  <a:pt x="1775452" y="1175644"/>
                </a:moveTo>
                <a:lnTo>
                  <a:pt x="2324095" y="1175644"/>
                </a:lnTo>
                <a:lnTo>
                  <a:pt x="2324095" y="1724284"/>
                </a:lnTo>
                <a:lnTo>
                  <a:pt x="1775452" y="1724284"/>
                </a:lnTo>
                <a:close/>
                <a:moveTo>
                  <a:pt x="1183767" y="1175644"/>
                </a:moveTo>
                <a:lnTo>
                  <a:pt x="1732406" y="1175644"/>
                </a:lnTo>
                <a:lnTo>
                  <a:pt x="1732406" y="1724284"/>
                </a:lnTo>
                <a:lnTo>
                  <a:pt x="1183767" y="1724284"/>
                </a:lnTo>
                <a:close/>
                <a:moveTo>
                  <a:pt x="592081" y="1175644"/>
                </a:moveTo>
                <a:lnTo>
                  <a:pt x="1140721" y="1175644"/>
                </a:lnTo>
                <a:lnTo>
                  <a:pt x="1140721" y="1724284"/>
                </a:lnTo>
                <a:lnTo>
                  <a:pt x="592081" y="1724284"/>
                </a:lnTo>
                <a:close/>
                <a:moveTo>
                  <a:pt x="396" y="1175644"/>
                </a:moveTo>
                <a:lnTo>
                  <a:pt x="549036" y="1175644"/>
                </a:lnTo>
                <a:lnTo>
                  <a:pt x="549036" y="1724284"/>
                </a:lnTo>
                <a:lnTo>
                  <a:pt x="396" y="1724284"/>
                </a:lnTo>
                <a:close/>
                <a:moveTo>
                  <a:pt x="10058664" y="587823"/>
                </a:moveTo>
                <a:lnTo>
                  <a:pt x="10607040" y="587823"/>
                </a:lnTo>
                <a:lnTo>
                  <a:pt x="10607040" y="1136463"/>
                </a:lnTo>
                <a:lnTo>
                  <a:pt x="10058664" y="1136463"/>
                </a:lnTo>
                <a:close/>
                <a:moveTo>
                  <a:pt x="9466976" y="587822"/>
                </a:moveTo>
                <a:lnTo>
                  <a:pt x="10015616" y="587822"/>
                </a:lnTo>
                <a:lnTo>
                  <a:pt x="10015616" y="1136462"/>
                </a:lnTo>
                <a:lnTo>
                  <a:pt x="9466976" y="1136462"/>
                </a:lnTo>
                <a:close/>
                <a:moveTo>
                  <a:pt x="8875290" y="587822"/>
                </a:moveTo>
                <a:lnTo>
                  <a:pt x="9423930" y="587822"/>
                </a:lnTo>
                <a:lnTo>
                  <a:pt x="9423930" y="1136462"/>
                </a:lnTo>
                <a:lnTo>
                  <a:pt x="8875290" y="1136462"/>
                </a:lnTo>
                <a:close/>
                <a:moveTo>
                  <a:pt x="8283604" y="587822"/>
                </a:moveTo>
                <a:lnTo>
                  <a:pt x="8832244" y="587822"/>
                </a:lnTo>
                <a:lnTo>
                  <a:pt x="8832244" y="1136462"/>
                </a:lnTo>
                <a:lnTo>
                  <a:pt x="8283604" y="1136462"/>
                </a:lnTo>
                <a:close/>
                <a:moveTo>
                  <a:pt x="7691918" y="587822"/>
                </a:moveTo>
                <a:lnTo>
                  <a:pt x="8240558" y="587822"/>
                </a:lnTo>
                <a:lnTo>
                  <a:pt x="8240558" y="1136462"/>
                </a:lnTo>
                <a:lnTo>
                  <a:pt x="7691918" y="1136462"/>
                </a:lnTo>
                <a:close/>
                <a:moveTo>
                  <a:pt x="7100232" y="587822"/>
                </a:moveTo>
                <a:lnTo>
                  <a:pt x="7648872" y="587822"/>
                </a:lnTo>
                <a:lnTo>
                  <a:pt x="7648872" y="1136462"/>
                </a:lnTo>
                <a:lnTo>
                  <a:pt x="7100232" y="1136462"/>
                </a:lnTo>
                <a:close/>
                <a:moveTo>
                  <a:pt x="6508546" y="587822"/>
                </a:moveTo>
                <a:lnTo>
                  <a:pt x="7057186" y="587822"/>
                </a:lnTo>
                <a:lnTo>
                  <a:pt x="7057186" y="1136462"/>
                </a:lnTo>
                <a:lnTo>
                  <a:pt x="6508546" y="1136462"/>
                </a:lnTo>
                <a:close/>
                <a:moveTo>
                  <a:pt x="5916860" y="587822"/>
                </a:moveTo>
                <a:lnTo>
                  <a:pt x="6465500" y="587822"/>
                </a:lnTo>
                <a:lnTo>
                  <a:pt x="6465500" y="1136462"/>
                </a:lnTo>
                <a:lnTo>
                  <a:pt x="5916860" y="1136462"/>
                </a:lnTo>
                <a:close/>
                <a:moveTo>
                  <a:pt x="5325174" y="587822"/>
                </a:moveTo>
                <a:lnTo>
                  <a:pt x="5873814" y="587822"/>
                </a:lnTo>
                <a:lnTo>
                  <a:pt x="5873814" y="1136462"/>
                </a:lnTo>
                <a:lnTo>
                  <a:pt x="5325174" y="1136462"/>
                </a:lnTo>
                <a:close/>
                <a:moveTo>
                  <a:pt x="4733488" y="587822"/>
                </a:moveTo>
                <a:lnTo>
                  <a:pt x="5282128" y="587822"/>
                </a:lnTo>
                <a:lnTo>
                  <a:pt x="5282128" y="1136462"/>
                </a:lnTo>
                <a:lnTo>
                  <a:pt x="4733488" y="1136462"/>
                </a:lnTo>
                <a:close/>
                <a:moveTo>
                  <a:pt x="4141802" y="587822"/>
                </a:moveTo>
                <a:lnTo>
                  <a:pt x="4690442" y="587822"/>
                </a:lnTo>
                <a:lnTo>
                  <a:pt x="4690442" y="1136462"/>
                </a:lnTo>
                <a:lnTo>
                  <a:pt x="4141802" y="1136462"/>
                </a:lnTo>
                <a:close/>
                <a:moveTo>
                  <a:pt x="3550116" y="587822"/>
                </a:moveTo>
                <a:lnTo>
                  <a:pt x="4098756" y="587822"/>
                </a:lnTo>
                <a:lnTo>
                  <a:pt x="4098756" y="1136462"/>
                </a:lnTo>
                <a:lnTo>
                  <a:pt x="3550116" y="1136462"/>
                </a:lnTo>
                <a:close/>
                <a:moveTo>
                  <a:pt x="2958453" y="587822"/>
                </a:moveTo>
                <a:lnTo>
                  <a:pt x="3507070" y="587822"/>
                </a:lnTo>
                <a:lnTo>
                  <a:pt x="3507070" y="1136462"/>
                </a:lnTo>
                <a:lnTo>
                  <a:pt x="2958453" y="1136462"/>
                </a:lnTo>
                <a:close/>
                <a:moveTo>
                  <a:pt x="2366764" y="587822"/>
                </a:moveTo>
                <a:lnTo>
                  <a:pt x="2915408" y="587822"/>
                </a:lnTo>
                <a:lnTo>
                  <a:pt x="2915408" y="1136462"/>
                </a:lnTo>
                <a:lnTo>
                  <a:pt x="2366764" y="1136462"/>
                </a:lnTo>
                <a:close/>
                <a:moveTo>
                  <a:pt x="1775075" y="587822"/>
                </a:moveTo>
                <a:lnTo>
                  <a:pt x="2323718" y="587822"/>
                </a:lnTo>
                <a:lnTo>
                  <a:pt x="2323718" y="1136462"/>
                </a:lnTo>
                <a:lnTo>
                  <a:pt x="1775075" y="1136462"/>
                </a:lnTo>
                <a:close/>
                <a:moveTo>
                  <a:pt x="1183389" y="587822"/>
                </a:moveTo>
                <a:lnTo>
                  <a:pt x="1732028" y="587822"/>
                </a:lnTo>
                <a:lnTo>
                  <a:pt x="1732028" y="1136462"/>
                </a:lnTo>
                <a:lnTo>
                  <a:pt x="1183389" y="1136462"/>
                </a:lnTo>
                <a:close/>
                <a:moveTo>
                  <a:pt x="591704" y="587822"/>
                </a:moveTo>
                <a:lnTo>
                  <a:pt x="1140344" y="587822"/>
                </a:lnTo>
                <a:lnTo>
                  <a:pt x="1140344" y="1136462"/>
                </a:lnTo>
                <a:lnTo>
                  <a:pt x="591704" y="1136462"/>
                </a:lnTo>
                <a:close/>
                <a:moveTo>
                  <a:pt x="18" y="587822"/>
                </a:moveTo>
                <a:lnTo>
                  <a:pt x="548658" y="587822"/>
                </a:lnTo>
                <a:lnTo>
                  <a:pt x="548658" y="1136462"/>
                </a:lnTo>
                <a:lnTo>
                  <a:pt x="18" y="1136462"/>
                </a:lnTo>
                <a:close/>
                <a:moveTo>
                  <a:pt x="10058284" y="1"/>
                </a:moveTo>
                <a:lnTo>
                  <a:pt x="10606924" y="1"/>
                </a:lnTo>
                <a:lnTo>
                  <a:pt x="10606924" y="548641"/>
                </a:lnTo>
                <a:lnTo>
                  <a:pt x="10058284" y="548641"/>
                </a:lnTo>
                <a:close/>
                <a:moveTo>
                  <a:pt x="9466596" y="0"/>
                </a:moveTo>
                <a:lnTo>
                  <a:pt x="10015236" y="0"/>
                </a:lnTo>
                <a:lnTo>
                  <a:pt x="10015236" y="548640"/>
                </a:lnTo>
                <a:lnTo>
                  <a:pt x="9466596" y="548640"/>
                </a:lnTo>
                <a:close/>
                <a:moveTo>
                  <a:pt x="8874910" y="0"/>
                </a:moveTo>
                <a:lnTo>
                  <a:pt x="9423550" y="0"/>
                </a:lnTo>
                <a:lnTo>
                  <a:pt x="9423550" y="548640"/>
                </a:lnTo>
                <a:lnTo>
                  <a:pt x="8874910" y="548640"/>
                </a:lnTo>
                <a:close/>
                <a:moveTo>
                  <a:pt x="8283224" y="0"/>
                </a:moveTo>
                <a:lnTo>
                  <a:pt x="8831864" y="0"/>
                </a:lnTo>
                <a:lnTo>
                  <a:pt x="8831864" y="548640"/>
                </a:lnTo>
                <a:lnTo>
                  <a:pt x="8283224" y="548640"/>
                </a:lnTo>
                <a:close/>
                <a:moveTo>
                  <a:pt x="7691538" y="0"/>
                </a:moveTo>
                <a:lnTo>
                  <a:pt x="8240178" y="0"/>
                </a:lnTo>
                <a:lnTo>
                  <a:pt x="8240178" y="548640"/>
                </a:lnTo>
                <a:lnTo>
                  <a:pt x="7691538" y="548640"/>
                </a:lnTo>
                <a:close/>
                <a:moveTo>
                  <a:pt x="7099852" y="0"/>
                </a:moveTo>
                <a:lnTo>
                  <a:pt x="7648492" y="0"/>
                </a:lnTo>
                <a:lnTo>
                  <a:pt x="7648492" y="548640"/>
                </a:lnTo>
                <a:lnTo>
                  <a:pt x="7099852" y="548640"/>
                </a:lnTo>
                <a:close/>
                <a:moveTo>
                  <a:pt x="6508166" y="0"/>
                </a:moveTo>
                <a:lnTo>
                  <a:pt x="7056806" y="0"/>
                </a:lnTo>
                <a:lnTo>
                  <a:pt x="7056806" y="548640"/>
                </a:lnTo>
                <a:lnTo>
                  <a:pt x="6508166" y="548640"/>
                </a:lnTo>
                <a:close/>
                <a:moveTo>
                  <a:pt x="5916480" y="0"/>
                </a:moveTo>
                <a:lnTo>
                  <a:pt x="6465120" y="0"/>
                </a:lnTo>
                <a:lnTo>
                  <a:pt x="6465120" y="548640"/>
                </a:lnTo>
                <a:lnTo>
                  <a:pt x="5916480" y="548640"/>
                </a:lnTo>
                <a:close/>
                <a:moveTo>
                  <a:pt x="5324794" y="0"/>
                </a:moveTo>
                <a:lnTo>
                  <a:pt x="5873434" y="0"/>
                </a:lnTo>
                <a:lnTo>
                  <a:pt x="5873434" y="548640"/>
                </a:lnTo>
                <a:lnTo>
                  <a:pt x="5324794" y="548640"/>
                </a:lnTo>
                <a:close/>
                <a:moveTo>
                  <a:pt x="4733108" y="0"/>
                </a:moveTo>
                <a:lnTo>
                  <a:pt x="5281748" y="0"/>
                </a:lnTo>
                <a:lnTo>
                  <a:pt x="5281748" y="548640"/>
                </a:lnTo>
                <a:lnTo>
                  <a:pt x="4733108" y="548640"/>
                </a:lnTo>
                <a:close/>
                <a:moveTo>
                  <a:pt x="4141422" y="0"/>
                </a:moveTo>
                <a:lnTo>
                  <a:pt x="4690062" y="0"/>
                </a:lnTo>
                <a:lnTo>
                  <a:pt x="4690062" y="548640"/>
                </a:lnTo>
                <a:lnTo>
                  <a:pt x="4141422" y="548640"/>
                </a:lnTo>
                <a:close/>
                <a:moveTo>
                  <a:pt x="3549736" y="0"/>
                </a:moveTo>
                <a:lnTo>
                  <a:pt x="4098376" y="0"/>
                </a:lnTo>
                <a:lnTo>
                  <a:pt x="4098376" y="548640"/>
                </a:lnTo>
                <a:lnTo>
                  <a:pt x="3549736" y="548640"/>
                </a:lnTo>
                <a:close/>
                <a:moveTo>
                  <a:pt x="2958077" y="0"/>
                </a:moveTo>
                <a:lnTo>
                  <a:pt x="3506690" y="0"/>
                </a:lnTo>
                <a:lnTo>
                  <a:pt x="3506690" y="548640"/>
                </a:lnTo>
                <a:lnTo>
                  <a:pt x="2958077" y="548640"/>
                </a:lnTo>
                <a:close/>
                <a:moveTo>
                  <a:pt x="2366387" y="0"/>
                </a:moveTo>
                <a:lnTo>
                  <a:pt x="2915031" y="0"/>
                </a:lnTo>
                <a:lnTo>
                  <a:pt x="2915031" y="548640"/>
                </a:lnTo>
                <a:lnTo>
                  <a:pt x="2366387" y="548640"/>
                </a:lnTo>
                <a:close/>
                <a:moveTo>
                  <a:pt x="1774697" y="0"/>
                </a:moveTo>
                <a:lnTo>
                  <a:pt x="2323341" y="0"/>
                </a:lnTo>
                <a:lnTo>
                  <a:pt x="2323341" y="548640"/>
                </a:lnTo>
                <a:lnTo>
                  <a:pt x="1774697" y="548640"/>
                </a:lnTo>
                <a:close/>
                <a:moveTo>
                  <a:pt x="1183012" y="0"/>
                </a:moveTo>
                <a:lnTo>
                  <a:pt x="1731651" y="0"/>
                </a:lnTo>
                <a:lnTo>
                  <a:pt x="1731651" y="548640"/>
                </a:lnTo>
                <a:lnTo>
                  <a:pt x="1183012" y="548640"/>
                </a:lnTo>
                <a:close/>
                <a:moveTo>
                  <a:pt x="591326" y="0"/>
                </a:moveTo>
                <a:lnTo>
                  <a:pt x="1139966" y="0"/>
                </a:lnTo>
                <a:lnTo>
                  <a:pt x="1139966" y="548640"/>
                </a:lnTo>
                <a:lnTo>
                  <a:pt x="591326" y="548640"/>
                </a:lnTo>
                <a:close/>
                <a:moveTo>
                  <a:pt x="0" y="0"/>
                </a:moveTo>
                <a:lnTo>
                  <a:pt x="548280" y="0"/>
                </a:lnTo>
                <a:lnTo>
                  <a:pt x="548280" y="548640"/>
                </a:lnTo>
                <a:lnTo>
                  <a:pt x="0" y="5486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082485715"/>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Portfolio 10">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43" name="Picture Placeholder 42"/>
          <p:cNvSpPr>
            <a:spLocks noGrp="1"/>
          </p:cNvSpPr>
          <p:nvPr>
            <p:ph type="pic" sz="quarter" idx="10"/>
          </p:nvPr>
        </p:nvSpPr>
        <p:spPr>
          <a:xfrm>
            <a:off x="594124" y="1131586"/>
            <a:ext cx="7955756" cy="3497580"/>
          </a:xfrm>
          <a:custGeom>
            <a:avLst/>
            <a:gdLst>
              <a:gd name="connsiteX0" fmla="*/ 9328931 w 10607674"/>
              <a:gd name="connsiteY0" fmla="*/ 3108926 h 4571966"/>
              <a:gd name="connsiteX1" fmla="*/ 10607674 w 10607674"/>
              <a:gd name="connsiteY1" fmla="*/ 3108926 h 4571966"/>
              <a:gd name="connsiteX2" fmla="*/ 10607674 w 10607674"/>
              <a:gd name="connsiteY2" fmla="*/ 4571966 h 4571966"/>
              <a:gd name="connsiteX3" fmla="*/ 9328931 w 10607674"/>
              <a:gd name="connsiteY3" fmla="*/ 4571966 h 4571966"/>
              <a:gd name="connsiteX4" fmla="*/ 7774109 w 10607674"/>
              <a:gd name="connsiteY4" fmla="*/ 3108926 h 4571966"/>
              <a:gd name="connsiteX5" fmla="*/ 9237149 w 10607674"/>
              <a:gd name="connsiteY5" fmla="*/ 3108926 h 4571966"/>
              <a:gd name="connsiteX6" fmla="*/ 9237149 w 10607674"/>
              <a:gd name="connsiteY6" fmla="*/ 4571966 h 4571966"/>
              <a:gd name="connsiteX7" fmla="*/ 7774109 w 10607674"/>
              <a:gd name="connsiteY7" fmla="*/ 4571966 h 4571966"/>
              <a:gd name="connsiteX8" fmla="*/ 6219287 w 10607674"/>
              <a:gd name="connsiteY8" fmla="*/ 3108926 h 4571966"/>
              <a:gd name="connsiteX9" fmla="*/ 7682327 w 10607674"/>
              <a:gd name="connsiteY9" fmla="*/ 3108926 h 4571966"/>
              <a:gd name="connsiteX10" fmla="*/ 7682327 w 10607674"/>
              <a:gd name="connsiteY10" fmla="*/ 4571966 h 4571966"/>
              <a:gd name="connsiteX11" fmla="*/ 6219287 w 10607674"/>
              <a:gd name="connsiteY11" fmla="*/ 4571966 h 4571966"/>
              <a:gd name="connsiteX12" fmla="*/ 4480886 w 10607674"/>
              <a:gd name="connsiteY12" fmla="*/ 3108926 h 4571966"/>
              <a:gd name="connsiteX13" fmla="*/ 6126806 w 10607674"/>
              <a:gd name="connsiteY13" fmla="*/ 3108926 h 4571966"/>
              <a:gd name="connsiteX14" fmla="*/ 6126806 w 10607674"/>
              <a:gd name="connsiteY14" fmla="*/ 4571966 h 4571966"/>
              <a:gd name="connsiteX15" fmla="*/ 4480886 w 10607674"/>
              <a:gd name="connsiteY15" fmla="*/ 4571966 h 4571966"/>
              <a:gd name="connsiteX16" fmla="*/ 2926784 w 10607674"/>
              <a:gd name="connsiteY16" fmla="*/ 3108926 h 4571966"/>
              <a:gd name="connsiteX17" fmla="*/ 4389822 w 10607674"/>
              <a:gd name="connsiteY17" fmla="*/ 3108926 h 4571966"/>
              <a:gd name="connsiteX18" fmla="*/ 4389822 w 10607674"/>
              <a:gd name="connsiteY18" fmla="*/ 4571966 h 4571966"/>
              <a:gd name="connsiteX19" fmla="*/ 2926784 w 10607674"/>
              <a:gd name="connsiteY19" fmla="*/ 4571966 h 4571966"/>
              <a:gd name="connsiteX20" fmla="*/ 1371961 w 10607674"/>
              <a:gd name="connsiteY20" fmla="*/ 3108926 h 4571966"/>
              <a:gd name="connsiteX21" fmla="*/ 2835002 w 10607674"/>
              <a:gd name="connsiteY21" fmla="*/ 3108926 h 4571966"/>
              <a:gd name="connsiteX22" fmla="*/ 2835002 w 10607674"/>
              <a:gd name="connsiteY22" fmla="*/ 4571966 h 4571966"/>
              <a:gd name="connsiteX23" fmla="*/ 1371961 w 10607674"/>
              <a:gd name="connsiteY23" fmla="*/ 4571966 h 4571966"/>
              <a:gd name="connsiteX24" fmla="*/ 1 w 10607674"/>
              <a:gd name="connsiteY24" fmla="*/ 3108926 h 4571966"/>
              <a:gd name="connsiteX25" fmla="*/ 1280161 w 10607674"/>
              <a:gd name="connsiteY25" fmla="*/ 3108926 h 4571966"/>
              <a:gd name="connsiteX26" fmla="*/ 1280161 w 10607674"/>
              <a:gd name="connsiteY26" fmla="*/ 4571966 h 4571966"/>
              <a:gd name="connsiteX27" fmla="*/ 1 w 10607674"/>
              <a:gd name="connsiteY27" fmla="*/ 4571966 h 4571966"/>
              <a:gd name="connsiteX28" fmla="*/ 9328930 w 10607674"/>
              <a:gd name="connsiteY28" fmla="*/ 1554447 h 4571966"/>
              <a:gd name="connsiteX29" fmla="*/ 10607674 w 10607674"/>
              <a:gd name="connsiteY29" fmla="*/ 1554447 h 4571966"/>
              <a:gd name="connsiteX30" fmla="*/ 10607674 w 10607674"/>
              <a:gd name="connsiteY30" fmla="*/ 3017487 h 4571966"/>
              <a:gd name="connsiteX31" fmla="*/ 9328930 w 10607674"/>
              <a:gd name="connsiteY31" fmla="*/ 3017487 h 4571966"/>
              <a:gd name="connsiteX32" fmla="*/ 7774108 w 10607674"/>
              <a:gd name="connsiteY32" fmla="*/ 1554447 h 4571966"/>
              <a:gd name="connsiteX33" fmla="*/ 9237148 w 10607674"/>
              <a:gd name="connsiteY33" fmla="*/ 1554447 h 4571966"/>
              <a:gd name="connsiteX34" fmla="*/ 9237148 w 10607674"/>
              <a:gd name="connsiteY34" fmla="*/ 3017487 h 4571966"/>
              <a:gd name="connsiteX35" fmla="*/ 7774108 w 10607674"/>
              <a:gd name="connsiteY35" fmla="*/ 3017487 h 4571966"/>
              <a:gd name="connsiteX36" fmla="*/ 6219286 w 10607674"/>
              <a:gd name="connsiteY36" fmla="*/ 1554447 h 4571966"/>
              <a:gd name="connsiteX37" fmla="*/ 7682326 w 10607674"/>
              <a:gd name="connsiteY37" fmla="*/ 1554447 h 4571966"/>
              <a:gd name="connsiteX38" fmla="*/ 7682326 w 10607674"/>
              <a:gd name="connsiteY38" fmla="*/ 3017487 h 4571966"/>
              <a:gd name="connsiteX39" fmla="*/ 6219286 w 10607674"/>
              <a:gd name="connsiteY39" fmla="*/ 3017487 h 4571966"/>
              <a:gd name="connsiteX40" fmla="*/ 4480885 w 10607674"/>
              <a:gd name="connsiteY40" fmla="*/ 1554447 h 4571966"/>
              <a:gd name="connsiteX41" fmla="*/ 6126805 w 10607674"/>
              <a:gd name="connsiteY41" fmla="*/ 1554447 h 4571966"/>
              <a:gd name="connsiteX42" fmla="*/ 6126805 w 10607674"/>
              <a:gd name="connsiteY42" fmla="*/ 3017487 h 4571966"/>
              <a:gd name="connsiteX43" fmla="*/ 4480885 w 10607674"/>
              <a:gd name="connsiteY43" fmla="*/ 3017487 h 4571966"/>
              <a:gd name="connsiteX44" fmla="*/ 2926783 w 10607674"/>
              <a:gd name="connsiteY44" fmla="*/ 1554447 h 4571966"/>
              <a:gd name="connsiteX45" fmla="*/ 4389821 w 10607674"/>
              <a:gd name="connsiteY45" fmla="*/ 1554447 h 4571966"/>
              <a:gd name="connsiteX46" fmla="*/ 4389821 w 10607674"/>
              <a:gd name="connsiteY46" fmla="*/ 3017487 h 4571966"/>
              <a:gd name="connsiteX47" fmla="*/ 2926783 w 10607674"/>
              <a:gd name="connsiteY47" fmla="*/ 3017487 h 4571966"/>
              <a:gd name="connsiteX48" fmla="*/ 1371960 w 10607674"/>
              <a:gd name="connsiteY48" fmla="*/ 1554447 h 4571966"/>
              <a:gd name="connsiteX49" fmla="*/ 2835001 w 10607674"/>
              <a:gd name="connsiteY49" fmla="*/ 1554447 h 4571966"/>
              <a:gd name="connsiteX50" fmla="*/ 2835001 w 10607674"/>
              <a:gd name="connsiteY50" fmla="*/ 3017487 h 4571966"/>
              <a:gd name="connsiteX51" fmla="*/ 1371960 w 10607674"/>
              <a:gd name="connsiteY51" fmla="*/ 3017487 h 4571966"/>
              <a:gd name="connsiteX52" fmla="*/ 0 w 10607674"/>
              <a:gd name="connsiteY52" fmla="*/ 1554447 h 4571966"/>
              <a:gd name="connsiteX53" fmla="*/ 1280160 w 10607674"/>
              <a:gd name="connsiteY53" fmla="*/ 1554447 h 4571966"/>
              <a:gd name="connsiteX54" fmla="*/ 1280160 w 10607674"/>
              <a:gd name="connsiteY54" fmla="*/ 3017487 h 4571966"/>
              <a:gd name="connsiteX55" fmla="*/ 0 w 10607674"/>
              <a:gd name="connsiteY55" fmla="*/ 3017487 h 4571966"/>
              <a:gd name="connsiteX56" fmla="*/ 9328931 w 10607674"/>
              <a:gd name="connsiteY56" fmla="*/ 0 h 4571966"/>
              <a:gd name="connsiteX57" fmla="*/ 10607674 w 10607674"/>
              <a:gd name="connsiteY57" fmla="*/ 0 h 4571966"/>
              <a:gd name="connsiteX58" fmla="*/ 10607674 w 10607674"/>
              <a:gd name="connsiteY58" fmla="*/ 1463040 h 4571966"/>
              <a:gd name="connsiteX59" fmla="*/ 9328931 w 10607674"/>
              <a:gd name="connsiteY59" fmla="*/ 1463040 h 4571966"/>
              <a:gd name="connsiteX60" fmla="*/ 7774109 w 10607674"/>
              <a:gd name="connsiteY60" fmla="*/ 0 h 4571966"/>
              <a:gd name="connsiteX61" fmla="*/ 9237149 w 10607674"/>
              <a:gd name="connsiteY61" fmla="*/ 0 h 4571966"/>
              <a:gd name="connsiteX62" fmla="*/ 9237149 w 10607674"/>
              <a:gd name="connsiteY62" fmla="*/ 1463040 h 4571966"/>
              <a:gd name="connsiteX63" fmla="*/ 7774109 w 10607674"/>
              <a:gd name="connsiteY63" fmla="*/ 1463040 h 4571966"/>
              <a:gd name="connsiteX64" fmla="*/ 6219287 w 10607674"/>
              <a:gd name="connsiteY64" fmla="*/ 0 h 4571966"/>
              <a:gd name="connsiteX65" fmla="*/ 7682327 w 10607674"/>
              <a:gd name="connsiteY65" fmla="*/ 0 h 4571966"/>
              <a:gd name="connsiteX66" fmla="*/ 7682327 w 10607674"/>
              <a:gd name="connsiteY66" fmla="*/ 1463040 h 4571966"/>
              <a:gd name="connsiteX67" fmla="*/ 6219287 w 10607674"/>
              <a:gd name="connsiteY67" fmla="*/ 1463040 h 4571966"/>
              <a:gd name="connsiteX68" fmla="*/ 4480886 w 10607674"/>
              <a:gd name="connsiteY68" fmla="*/ 0 h 4571966"/>
              <a:gd name="connsiteX69" fmla="*/ 6126806 w 10607674"/>
              <a:gd name="connsiteY69" fmla="*/ 0 h 4571966"/>
              <a:gd name="connsiteX70" fmla="*/ 6126806 w 10607674"/>
              <a:gd name="connsiteY70" fmla="*/ 1463040 h 4571966"/>
              <a:gd name="connsiteX71" fmla="*/ 4480886 w 10607674"/>
              <a:gd name="connsiteY71" fmla="*/ 1463040 h 4571966"/>
              <a:gd name="connsiteX72" fmla="*/ 2926784 w 10607674"/>
              <a:gd name="connsiteY72" fmla="*/ 0 h 4571966"/>
              <a:gd name="connsiteX73" fmla="*/ 4389822 w 10607674"/>
              <a:gd name="connsiteY73" fmla="*/ 0 h 4571966"/>
              <a:gd name="connsiteX74" fmla="*/ 4389822 w 10607674"/>
              <a:gd name="connsiteY74" fmla="*/ 1463040 h 4571966"/>
              <a:gd name="connsiteX75" fmla="*/ 2926784 w 10607674"/>
              <a:gd name="connsiteY75" fmla="*/ 1463040 h 4571966"/>
              <a:gd name="connsiteX76" fmla="*/ 1371961 w 10607674"/>
              <a:gd name="connsiteY76" fmla="*/ 0 h 4571966"/>
              <a:gd name="connsiteX77" fmla="*/ 2835002 w 10607674"/>
              <a:gd name="connsiteY77" fmla="*/ 0 h 4571966"/>
              <a:gd name="connsiteX78" fmla="*/ 2835002 w 10607674"/>
              <a:gd name="connsiteY78" fmla="*/ 1463040 h 4571966"/>
              <a:gd name="connsiteX79" fmla="*/ 1371961 w 10607674"/>
              <a:gd name="connsiteY79" fmla="*/ 1463040 h 4571966"/>
              <a:gd name="connsiteX80" fmla="*/ 1 w 10607674"/>
              <a:gd name="connsiteY80" fmla="*/ 0 h 4571966"/>
              <a:gd name="connsiteX81" fmla="*/ 1280161 w 10607674"/>
              <a:gd name="connsiteY81" fmla="*/ 0 h 4571966"/>
              <a:gd name="connsiteX82" fmla="*/ 1280161 w 10607674"/>
              <a:gd name="connsiteY82" fmla="*/ 1463040 h 4571966"/>
              <a:gd name="connsiteX83" fmla="*/ 1 w 10607674"/>
              <a:gd name="connsiteY83" fmla="*/ 1463040 h 457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607674" h="4571966">
                <a:moveTo>
                  <a:pt x="9328931" y="3108926"/>
                </a:moveTo>
                <a:lnTo>
                  <a:pt x="10607674" y="3108926"/>
                </a:lnTo>
                <a:lnTo>
                  <a:pt x="10607674" y="4571966"/>
                </a:lnTo>
                <a:lnTo>
                  <a:pt x="9328931" y="4571966"/>
                </a:lnTo>
                <a:close/>
                <a:moveTo>
                  <a:pt x="7774109" y="3108926"/>
                </a:moveTo>
                <a:lnTo>
                  <a:pt x="9237149" y="3108926"/>
                </a:lnTo>
                <a:lnTo>
                  <a:pt x="9237149" y="4571966"/>
                </a:lnTo>
                <a:lnTo>
                  <a:pt x="7774109" y="4571966"/>
                </a:lnTo>
                <a:close/>
                <a:moveTo>
                  <a:pt x="6219287" y="3108926"/>
                </a:moveTo>
                <a:lnTo>
                  <a:pt x="7682327" y="3108926"/>
                </a:lnTo>
                <a:lnTo>
                  <a:pt x="7682327" y="4571966"/>
                </a:lnTo>
                <a:lnTo>
                  <a:pt x="6219287" y="4571966"/>
                </a:lnTo>
                <a:close/>
                <a:moveTo>
                  <a:pt x="4480886" y="3108926"/>
                </a:moveTo>
                <a:lnTo>
                  <a:pt x="6126806" y="3108926"/>
                </a:lnTo>
                <a:lnTo>
                  <a:pt x="6126806" y="4571966"/>
                </a:lnTo>
                <a:lnTo>
                  <a:pt x="4480886" y="4571966"/>
                </a:lnTo>
                <a:close/>
                <a:moveTo>
                  <a:pt x="2926784" y="3108926"/>
                </a:moveTo>
                <a:lnTo>
                  <a:pt x="4389822" y="3108926"/>
                </a:lnTo>
                <a:lnTo>
                  <a:pt x="4389822" y="4571966"/>
                </a:lnTo>
                <a:lnTo>
                  <a:pt x="2926784" y="4571966"/>
                </a:lnTo>
                <a:close/>
                <a:moveTo>
                  <a:pt x="1371961" y="3108926"/>
                </a:moveTo>
                <a:lnTo>
                  <a:pt x="2835002" y="3108926"/>
                </a:lnTo>
                <a:lnTo>
                  <a:pt x="2835002" y="4571966"/>
                </a:lnTo>
                <a:lnTo>
                  <a:pt x="1371961" y="4571966"/>
                </a:lnTo>
                <a:close/>
                <a:moveTo>
                  <a:pt x="1" y="3108926"/>
                </a:moveTo>
                <a:lnTo>
                  <a:pt x="1280161" y="3108926"/>
                </a:lnTo>
                <a:lnTo>
                  <a:pt x="1280161" y="4571966"/>
                </a:lnTo>
                <a:lnTo>
                  <a:pt x="1" y="4571966"/>
                </a:lnTo>
                <a:close/>
                <a:moveTo>
                  <a:pt x="9328930" y="1554447"/>
                </a:moveTo>
                <a:lnTo>
                  <a:pt x="10607674" y="1554447"/>
                </a:lnTo>
                <a:lnTo>
                  <a:pt x="10607674" y="3017487"/>
                </a:lnTo>
                <a:lnTo>
                  <a:pt x="9328930" y="3017487"/>
                </a:lnTo>
                <a:close/>
                <a:moveTo>
                  <a:pt x="7774108" y="1554447"/>
                </a:moveTo>
                <a:lnTo>
                  <a:pt x="9237148" y="1554447"/>
                </a:lnTo>
                <a:lnTo>
                  <a:pt x="9237148" y="3017487"/>
                </a:lnTo>
                <a:lnTo>
                  <a:pt x="7774108" y="3017487"/>
                </a:lnTo>
                <a:close/>
                <a:moveTo>
                  <a:pt x="6219286" y="1554447"/>
                </a:moveTo>
                <a:lnTo>
                  <a:pt x="7682326" y="1554447"/>
                </a:lnTo>
                <a:lnTo>
                  <a:pt x="7682326" y="3017487"/>
                </a:lnTo>
                <a:lnTo>
                  <a:pt x="6219286" y="3017487"/>
                </a:lnTo>
                <a:close/>
                <a:moveTo>
                  <a:pt x="4480885" y="1554447"/>
                </a:moveTo>
                <a:lnTo>
                  <a:pt x="6126805" y="1554447"/>
                </a:lnTo>
                <a:lnTo>
                  <a:pt x="6126805" y="3017487"/>
                </a:lnTo>
                <a:lnTo>
                  <a:pt x="4480885" y="3017487"/>
                </a:lnTo>
                <a:close/>
                <a:moveTo>
                  <a:pt x="2926783" y="1554447"/>
                </a:moveTo>
                <a:lnTo>
                  <a:pt x="4389821" y="1554447"/>
                </a:lnTo>
                <a:lnTo>
                  <a:pt x="4389821" y="3017487"/>
                </a:lnTo>
                <a:lnTo>
                  <a:pt x="2926783" y="3017487"/>
                </a:lnTo>
                <a:close/>
                <a:moveTo>
                  <a:pt x="1371960" y="1554447"/>
                </a:moveTo>
                <a:lnTo>
                  <a:pt x="2835001" y="1554447"/>
                </a:lnTo>
                <a:lnTo>
                  <a:pt x="2835001" y="3017487"/>
                </a:lnTo>
                <a:lnTo>
                  <a:pt x="1371960" y="3017487"/>
                </a:lnTo>
                <a:close/>
                <a:moveTo>
                  <a:pt x="0" y="1554447"/>
                </a:moveTo>
                <a:lnTo>
                  <a:pt x="1280160" y="1554447"/>
                </a:lnTo>
                <a:lnTo>
                  <a:pt x="1280160" y="3017487"/>
                </a:lnTo>
                <a:lnTo>
                  <a:pt x="0" y="3017487"/>
                </a:lnTo>
                <a:close/>
                <a:moveTo>
                  <a:pt x="9328931" y="0"/>
                </a:moveTo>
                <a:lnTo>
                  <a:pt x="10607674" y="0"/>
                </a:lnTo>
                <a:lnTo>
                  <a:pt x="10607674" y="1463040"/>
                </a:lnTo>
                <a:lnTo>
                  <a:pt x="9328931" y="1463040"/>
                </a:lnTo>
                <a:close/>
                <a:moveTo>
                  <a:pt x="7774109" y="0"/>
                </a:moveTo>
                <a:lnTo>
                  <a:pt x="9237149" y="0"/>
                </a:lnTo>
                <a:lnTo>
                  <a:pt x="9237149" y="1463040"/>
                </a:lnTo>
                <a:lnTo>
                  <a:pt x="7774109" y="1463040"/>
                </a:lnTo>
                <a:close/>
                <a:moveTo>
                  <a:pt x="6219287" y="0"/>
                </a:moveTo>
                <a:lnTo>
                  <a:pt x="7682327" y="0"/>
                </a:lnTo>
                <a:lnTo>
                  <a:pt x="7682327" y="1463040"/>
                </a:lnTo>
                <a:lnTo>
                  <a:pt x="6219287" y="1463040"/>
                </a:lnTo>
                <a:close/>
                <a:moveTo>
                  <a:pt x="4480886" y="0"/>
                </a:moveTo>
                <a:lnTo>
                  <a:pt x="6126806" y="0"/>
                </a:lnTo>
                <a:lnTo>
                  <a:pt x="6126806" y="1463040"/>
                </a:lnTo>
                <a:lnTo>
                  <a:pt x="4480886" y="1463040"/>
                </a:lnTo>
                <a:close/>
                <a:moveTo>
                  <a:pt x="2926784" y="0"/>
                </a:moveTo>
                <a:lnTo>
                  <a:pt x="4389822" y="0"/>
                </a:lnTo>
                <a:lnTo>
                  <a:pt x="4389822" y="1463040"/>
                </a:lnTo>
                <a:lnTo>
                  <a:pt x="2926784" y="1463040"/>
                </a:lnTo>
                <a:close/>
                <a:moveTo>
                  <a:pt x="1371961" y="0"/>
                </a:moveTo>
                <a:lnTo>
                  <a:pt x="2835002" y="0"/>
                </a:lnTo>
                <a:lnTo>
                  <a:pt x="2835002" y="1463040"/>
                </a:lnTo>
                <a:lnTo>
                  <a:pt x="1371961" y="1463040"/>
                </a:lnTo>
                <a:close/>
                <a:moveTo>
                  <a:pt x="1" y="0"/>
                </a:moveTo>
                <a:lnTo>
                  <a:pt x="1280161" y="0"/>
                </a:lnTo>
                <a:lnTo>
                  <a:pt x="1280161" y="1463040"/>
                </a:lnTo>
                <a:lnTo>
                  <a:pt x="1" y="14630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626021129"/>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Portfolio 1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66" name="Rectangle 65"/>
          <p:cNvSpPr>
            <a:spLocks/>
          </p:cNvSpPr>
          <p:nvPr userDrawn="1"/>
        </p:nvSpPr>
        <p:spPr>
          <a:xfrm>
            <a:off x="604206" y="1131589"/>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1" name="Rectangle 20"/>
          <p:cNvSpPr>
            <a:spLocks/>
          </p:cNvSpPr>
          <p:nvPr userDrawn="1"/>
        </p:nvSpPr>
        <p:spPr>
          <a:xfrm>
            <a:off x="594404" y="2983208"/>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2" name="Rectangle 21"/>
          <p:cNvSpPr>
            <a:spLocks/>
          </p:cNvSpPr>
          <p:nvPr userDrawn="1"/>
        </p:nvSpPr>
        <p:spPr>
          <a:xfrm>
            <a:off x="3268967" y="1131586"/>
            <a:ext cx="260604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3" name="Rectangle 22"/>
          <p:cNvSpPr>
            <a:spLocks/>
          </p:cNvSpPr>
          <p:nvPr userDrawn="1"/>
        </p:nvSpPr>
        <p:spPr>
          <a:xfrm>
            <a:off x="3259165" y="2983205"/>
            <a:ext cx="260604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4" name="Rectangle 23"/>
          <p:cNvSpPr>
            <a:spLocks/>
          </p:cNvSpPr>
          <p:nvPr userDrawn="1"/>
        </p:nvSpPr>
        <p:spPr>
          <a:xfrm>
            <a:off x="6080717" y="1131583"/>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5" name="Rectangle 24"/>
          <p:cNvSpPr>
            <a:spLocks/>
          </p:cNvSpPr>
          <p:nvPr userDrawn="1"/>
        </p:nvSpPr>
        <p:spPr>
          <a:xfrm>
            <a:off x="6070914" y="2983202"/>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90" name="Picture Placeholder 89"/>
          <p:cNvSpPr>
            <a:spLocks noGrp="1"/>
          </p:cNvSpPr>
          <p:nvPr>
            <p:ph type="pic" sz="quarter" idx="11"/>
          </p:nvPr>
        </p:nvSpPr>
        <p:spPr>
          <a:xfrm>
            <a:off x="662983" y="1200171"/>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6" name="Picture Placeholder 25"/>
          <p:cNvSpPr>
            <a:spLocks noGrp="1"/>
          </p:cNvSpPr>
          <p:nvPr>
            <p:ph type="pic" sz="quarter" idx="12"/>
          </p:nvPr>
        </p:nvSpPr>
        <p:spPr>
          <a:xfrm>
            <a:off x="662983" y="3051790"/>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7" name="Picture Placeholder 26"/>
          <p:cNvSpPr>
            <a:spLocks noGrp="1"/>
          </p:cNvSpPr>
          <p:nvPr>
            <p:ph type="pic" sz="quarter" idx="13"/>
          </p:nvPr>
        </p:nvSpPr>
        <p:spPr>
          <a:xfrm>
            <a:off x="6149297" y="1200165"/>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8" name="Picture Placeholder 27"/>
          <p:cNvSpPr>
            <a:spLocks noGrp="1"/>
          </p:cNvSpPr>
          <p:nvPr>
            <p:ph type="pic" sz="quarter" idx="14"/>
          </p:nvPr>
        </p:nvSpPr>
        <p:spPr>
          <a:xfrm>
            <a:off x="6149297" y="3051784"/>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9" name="Picture Placeholder 28"/>
          <p:cNvSpPr>
            <a:spLocks noGrp="1"/>
          </p:cNvSpPr>
          <p:nvPr>
            <p:ph type="pic" sz="quarter" idx="15"/>
          </p:nvPr>
        </p:nvSpPr>
        <p:spPr>
          <a:xfrm>
            <a:off x="3337574" y="1200159"/>
            <a:ext cx="246888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30" name="Picture Placeholder 29"/>
          <p:cNvSpPr>
            <a:spLocks noGrp="1"/>
          </p:cNvSpPr>
          <p:nvPr>
            <p:ph type="pic" sz="quarter" idx="16"/>
          </p:nvPr>
        </p:nvSpPr>
        <p:spPr>
          <a:xfrm>
            <a:off x="3337574" y="3051778"/>
            <a:ext cx="246888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5178279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Rectangle 4"/>
          <p:cNvSpPr>
            <a:spLocks noGrp="1" noChangeArrowheads="1"/>
          </p:cNvSpPr>
          <p:nvPr>
            <p:ph type="sldNum" sz="quarter" idx="10"/>
          </p:nvPr>
        </p:nvSpPr>
        <p:spPr/>
        <p:txBody>
          <a:bodyPr/>
          <a:lstStyle>
            <a:lvl1pPr algn="l" eaLnBrk="1" hangingPunct="1">
              <a:defRPr>
                <a:ea typeface="ＭＳ Ｐゴシック" pitchFamily="34" charset="-128"/>
              </a:defRPr>
            </a:lvl1pPr>
          </a:lstStyle>
          <a:p>
            <a:pPr>
              <a:defRPr/>
            </a:pPr>
            <a:fld id="{73873D99-5855-4E5C-9D93-EAB40107AA12}" type="slidenum">
              <a:rPr lang="es-ES"/>
              <a:pPr>
                <a:defRPr/>
              </a:pPr>
              <a:t>‹#›</a:t>
            </a:fld>
            <a:endParaRPr lang="es-ES"/>
          </a:p>
        </p:txBody>
      </p:sp>
      <p:sp>
        <p:nvSpPr>
          <p:cNvPr id="4" name="Footer Placeholder 3"/>
          <p:cNvSpPr>
            <a:spLocks noGrp="1"/>
          </p:cNvSpPr>
          <p:nvPr>
            <p:ph type="ftr" sz="quarter" idx="11"/>
          </p:nvPr>
        </p:nvSpPr>
        <p:spPr/>
        <p:txBody>
          <a:bodyPr/>
          <a:lstStyle>
            <a:lvl1pPr>
              <a:defRPr/>
            </a:lvl1pPr>
          </a:lstStyle>
          <a:p>
            <a:pPr>
              <a:defRPr/>
            </a:pPr>
            <a:endParaRPr/>
          </a:p>
        </p:txBody>
      </p:sp>
    </p:spTree>
  </p:cSld>
  <p:clrMapOvr>
    <a:masterClrMapping/>
  </p:clrMapOvr>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Portfolio 1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66" name="Rectangle 65"/>
          <p:cNvSpPr/>
          <p:nvPr userDrawn="1"/>
        </p:nvSpPr>
        <p:spPr>
          <a:xfrm>
            <a:off x="604206" y="1131589"/>
            <a:ext cx="3703320" cy="3497564"/>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88" name="Picture Placeholder 87"/>
          <p:cNvSpPr>
            <a:spLocks noGrp="1"/>
          </p:cNvSpPr>
          <p:nvPr>
            <p:ph type="pic" sz="quarter" idx="10"/>
          </p:nvPr>
        </p:nvSpPr>
        <p:spPr>
          <a:xfrm>
            <a:off x="672806" y="1200171"/>
            <a:ext cx="3566121" cy="2811749"/>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89" name="Rectangle 88"/>
          <p:cNvSpPr/>
          <p:nvPr userDrawn="1"/>
        </p:nvSpPr>
        <p:spPr>
          <a:xfrm>
            <a:off x="4846277" y="1131589"/>
            <a:ext cx="3703320" cy="3497564"/>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90" name="Picture Placeholder 89"/>
          <p:cNvSpPr>
            <a:spLocks noGrp="1"/>
          </p:cNvSpPr>
          <p:nvPr>
            <p:ph type="pic" sz="quarter" idx="11"/>
          </p:nvPr>
        </p:nvSpPr>
        <p:spPr>
          <a:xfrm>
            <a:off x="4914878" y="1200171"/>
            <a:ext cx="3566121" cy="2811749"/>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828677300"/>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Portfolio 1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2" y="0"/>
            <a:ext cx="5600775" cy="5143500"/>
          </a:xfrm>
          <a:custGeom>
            <a:avLst/>
            <a:gdLst>
              <a:gd name="connsiteX0" fmla="*/ 4527576 w 7467700"/>
              <a:gd name="connsiteY0" fmla="*/ 3899633 h 6858000"/>
              <a:gd name="connsiteX1" fmla="*/ 6799533 w 7467700"/>
              <a:gd name="connsiteY1" fmla="*/ 6858000 h 6858000"/>
              <a:gd name="connsiteX2" fmla="*/ 2255618 w 7467700"/>
              <a:gd name="connsiteY2" fmla="*/ 6858000 h 6858000"/>
              <a:gd name="connsiteX3" fmla="*/ 0 w 7467700"/>
              <a:gd name="connsiteY3" fmla="*/ 42 h 6858000"/>
              <a:gd name="connsiteX4" fmla="*/ 2255617 w 7467700"/>
              <a:gd name="connsiteY4" fmla="*/ 42 h 6858000"/>
              <a:gd name="connsiteX5" fmla="*/ 0 w 7467700"/>
              <a:gd name="connsiteY5" fmla="*/ 2937131 h 6858000"/>
              <a:gd name="connsiteX6" fmla="*/ 2417194 w 7467700"/>
              <a:gd name="connsiteY6" fmla="*/ 0 h 6858000"/>
              <a:gd name="connsiteX7" fmla="*/ 7467700 w 7467700"/>
              <a:gd name="connsiteY7" fmla="*/ 0 h 6858000"/>
              <a:gd name="connsiteX8" fmla="*/ 2094046 w 7467700"/>
              <a:gd name="connsiteY8" fmla="*/ 6858000 h 6858000"/>
              <a:gd name="connsiteX9" fmla="*/ 1 w 7467700"/>
              <a:gd name="connsiteY9" fmla="*/ 6858000 h 6858000"/>
              <a:gd name="connsiteX10" fmla="*/ 1 w 7467700"/>
              <a:gd name="connsiteY10" fmla="*/ 30848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67700" h="6858000">
                <a:moveTo>
                  <a:pt x="4527576" y="3899633"/>
                </a:moveTo>
                <a:lnTo>
                  <a:pt x="6799533" y="6858000"/>
                </a:lnTo>
                <a:lnTo>
                  <a:pt x="2255618" y="6858000"/>
                </a:lnTo>
                <a:close/>
                <a:moveTo>
                  <a:pt x="0" y="42"/>
                </a:moveTo>
                <a:lnTo>
                  <a:pt x="2255617" y="42"/>
                </a:lnTo>
                <a:lnTo>
                  <a:pt x="0" y="2937131"/>
                </a:lnTo>
                <a:close/>
                <a:moveTo>
                  <a:pt x="2417194" y="0"/>
                </a:moveTo>
                <a:lnTo>
                  <a:pt x="7467700" y="0"/>
                </a:lnTo>
                <a:lnTo>
                  <a:pt x="2094046" y="6858000"/>
                </a:lnTo>
                <a:lnTo>
                  <a:pt x="1" y="6858000"/>
                </a:lnTo>
                <a:lnTo>
                  <a:pt x="1" y="3084886"/>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664200551"/>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Portfolio 14">
    <p:spTree>
      <p:nvGrpSpPr>
        <p:cNvPr id="1" name=""/>
        <p:cNvGrpSpPr/>
        <p:nvPr/>
      </p:nvGrpSpPr>
      <p:grpSpPr>
        <a:xfrm>
          <a:off x="0" y="0"/>
          <a:ext cx="0" cy="0"/>
          <a:chOff x="0" y="0"/>
          <a:chExt cx="0" cy="0"/>
        </a:xfrm>
      </p:grpSpPr>
      <p:grpSp>
        <p:nvGrpSpPr>
          <p:cNvPr id="34" name="Group 33"/>
          <p:cNvGrpSpPr/>
          <p:nvPr userDrawn="1"/>
        </p:nvGrpSpPr>
        <p:grpSpPr>
          <a:xfrm>
            <a:off x="4777698" y="0"/>
            <a:ext cx="3767944" cy="5143500"/>
            <a:chOff x="6201147" y="0"/>
            <a:chExt cx="5023925" cy="6858000"/>
          </a:xfrm>
        </p:grpSpPr>
        <p:sp>
          <p:nvSpPr>
            <p:cNvPr id="16" name="Rectangle 15"/>
            <p:cNvSpPr/>
            <p:nvPr/>
          </p:nvSpPr>
          <p:spPr>
            <a:xfrm>
              <a:off x="6201147" y="0"/>
              <a:ext cx="67665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17" name="Rectangle 16"/>
            <p:cNvSpPr/>
            <p:nvPr/>
          </p:nvSpPr>
          <p:spPr>
            <a:xfrm>
              <a:off x="6925692" y="0"/>
              <a:ext cx="676656" cy="5810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18" name="Rectangle 17"/>
            <p:cNvSpPr/>
            <p:nvPr/>
          </p:nvSpPr>
          <p:spPr>
            <a:xfrm>
              <a:off x="7650237" y="0"/>
              <a:ext cx="676656" cy="65722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19" name="Rectangle 18"/>
            <p:cNvSpPr/>
            <p:nvPr/>
          </p:nvSpPr>
          <p:spPr>
            <a:xfrm>
              <a:off x="8374782" y="0"/>
              <a:ext cx="676656" cy="523875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20" name="Rectangle 19"/>
            <p:cNvSpPr/>
            <p:nvPr/>
          </p:nvSpPr>
          <p:spPr>
            <a:xfrm>
              <a:off x="9099327" y="0"/>
              <a:ext cx="667512" cy="619125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21" name="Rectangle 20"/>
            <p:cNvSpPr/>
            <p:nvPr/>
          </p:nvSpPr>
          <p:spPr>
            <a:xfrm>
              <a:off x="9823872" y="0"/>
              <a:ext cx="676656" cy="561975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22" name="Rectangle 21"/>
            <p:cNvSpPr/>
            <p:nvPr/>
          </p:nvSpPr>
          <p:spPr>
            <a:xfrm>
              <a:off x="10548416" y="0"/>
              <a:ext cx="676656" cy="6381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grpSp>
      <p:sp>
        <p:nvSpPr>
          <p:cNvPr id="33" name="Picture Placeholder 32"/>
          <p:cNvSpPr>
            <a:spLocks noGrp="1"/>
          </p:cNvSpPr>
          <p:nvPr userDrawn="1">
            <p:ph type="pic" sz="quarter" idx="10"/>
          </p:nvPr>
        </p:nvSpPr>
        <p:spPr>
          <a:xfrm>
            <a:off x="4777697" y="102898"/>
            <a:ext cx="3771900" cy="4929188"/>
          </a:xfrm>
          <a:custGeom>
            <a:avLst/>
            <a:gdLst>
              <a:gd name="connsiteX0" fmla="*/ 1449076 w 5029152"/>
              <a:gd name="connsiteY0" fmla="*/ 1 h 6572250"/>
              <a:gd name="connsiteX1" fmla="*/ 2131000 w 5029152"/>
              <a:gd name="connsiteY1" fmla="*/ 1 h 6572250"/>
              <a:gd name="connsiteX2" fmla="*/ 2131000 w 5029152"/>
              <a:gd name="connsiteY2" fmla="*/ 6309291 h 6572250"/>
              <a:gd name="connsiteX3" fmla="*/ 1449076 w 5029152"/>
              <a:gd name="connsiteY3" fmla="*/ 6309291 h 6572250"/>
              <a:gd name="connsiteX4" fmla="*/ 724538 w 5029152"/>
              <a:gd name="connsiteY4" fmla="*/ 1 h 6572250"/>
              <a:gd name="connsiteX5" fmla="*/ 1406462 w 5029152"/>
              <a:gd name="connsiteY5" fmla="*/ 1 h 6572250"/>
              <a:gd name="connsiteX6" fmla="*/ 1406462 w 5029152"/>
              <a:gd name="connsiteY6" fmla="*/ 5577779 h 6572250"/>
              <a:gd name="connsiteX7" fmla="*/ 724538 w 5029152"/>
              <a:gd name="connsiteY7" fmla="*/ 5577779 h 6572250"/>
              <a:gd name="connsiteX8" fmla="*/ 0 w 5029152"/>
              <a:gd name="connsiteY8" fmla="*/ 1 h 6572250"/>
              <a:gd name="connsiteX9" fmla="*/ 681924 w 5029152"/>
              <a:gd name="connsiteY9" fmla="*/ 1 h 6572250"/>
              <a:gd name="connsiteX10" fmla="*/ 681924 w 5029152"/>
              <a:gd name="connsiteY10" fmla="*/ 6572250 h 6572250"/>
              <a:gd name="connsiteX11" fmla="*/ 0 w 5029152"/>
              <a:gd name="connsiteY11" fmla="*/ 6572250 h 6572250"/>
              <a:gd name="connsiteX12" fmla="*/ 4347229 w 5029152"/>
              <a:gd name="connsiteY12" fmla="*/ 0 h 6572250"/>
              <a:gd name="connsiteX13" fmla="*/ 5029152 w 5029152"/>
              <a:gd name="connsiteY13" fmla="*/ 0 h 6572250"/>
              <a:gd name="connsiteX14" fmla="*/ 5029152 w 5029152"/>
              <a:gd name="connsiteY14" fmla="*/ 6126413 h 6572250"/>
              <a:gd name="connsiteX15" fmla="*/ 4347229 w 5029152"/>
              <a:gd name="connsiteY15" fmla="*/ 6126413 h 6572250"/>
              <a:gd name="connsiteX16" fmla="*/ 3622691 w 5029152"/>
              <a:gd name="connsiteY16" fmla="*/ 0 h 6572250"/>
              <a:gd name="connsiteX17" fmla="*/ 4304615 w 5029152"/>
              <a:gd name="connsiteY17" fmla="*/ 0 h 6572250"/>
              <a:gd name="connsiteX18" fmla="*/ 4304615 w 5029152"/>
              <a:gd name="connsiteY18" fmla="*/ 5394901 h 6572250"/>
              <a:gd name="connsiteX19" fmla="*/ 3622691 w 5029152"/>
              <a:gd name="connsiteY19" fmla="*/ 5394901 h 6572250"/>
              <a:gd name="connsiteX20" fmla="*/ 2898153 w 5029152"/>
              <a:gd name="connsiteY20" fmla="*/ 0 h 6572250"/>
              <a:gd name="connsiteX21" fmla="*/ 3580077 w 5029152"/>
              <a:gd name="connsiteY21" fmla="*/ 0 h 6572250"/>
              <a:gd name="connsiteX22" fmla="*/ 3580077 w 5029152"/>
              <a:gd name="connsiteY22" fmla="*/ 5943535 h 6572250"/>
              <a:gd name="connsiteX23" fmla="*/ 2898153 w 5029152"/>
              <a:gd name="connsiteY23" fmla="*/ 5943535 h 6572250"/>
              <a:gd name="connsiteX24" fmla="*/ 2173615 w 5029152"/>
              <a:gd name="connsiteY24" fmla="*/ 0 h 6572250"/>
              <a:gd name="connsiteX25" fmla="*/ 2855539 w 5029152"/>
              <a:gd name="connsiteY25" fmla="*/ 0 h 6572250"/>
              <a:gd name="connsiteX26" fmla="*/ 2855539 w 5029152"/>
              <a:gd name="connsiteY26" fmla="*/ 5029145 h 6572250"/>
              <a:gd name="connsiteX27" fmla="*/ 2173615 w 5029152"/>
              <a:gd name="connsiteY27" fmla="*/ 5029145 h 65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9152" h="6572250">
                <a:moveTo>
                  <a:pt x="1449076" y="1"/>
                </a:moveTo>
                <a:lnTo>
                  <a:pt x="2131000" y="1"/>
                </a:lnTo>
                <a:lnTo>
                  <a:pt x="2131000" y="6309291"/>
                </a:lnTo>
                <a:lnTo>
                  <a:pt x="1449076" y="6309291"/>
                </a:lnTo>
                <a:close/>
                <a:moveTo>
                  <a:pt x="724538" y="1"/>
                </a:moveTo>
                <a:lnTo>
                  <a:pt x="1406462" y="1"/>
                </a:lnTo>
                <a:lnTo>
                  <a:pt x="1406462" y="5577779"/>
                </a:lnTo>
                <a:lnTo>
                  <a:pt x="724538" y="5577779"/>
                </a:lnTo>
                <a:close/>
                <a:moveTo>
                  <a:pt x="0" y="1"/>
                </a:moveTo>
                <a:lnTo>
                  <a:pt x="681924" y="1"/>
                </a:lnTo>
                <a:lnTo>
                  <a:pt x="681924" y="6572250"/>
                </a:lnTo>
                <a:lnTo>
                  <a:pt x="0" y="6572250"/>
                </a:lnTo>
                <a:close/>
                <a:moveTo>
                  <a:pt x="4347229" y="0"/>
                </a:moveTo>
                <a:lnTo>
                  <a:pt x="5029152" y="0"/>
                </a:lnTo>
                <a:lnTo>
                  <a:pt x="5029152" y="6126413"/>
                </a:lnTo>
                <a:lnTo>
                  <a:pt x="4347229" y="6126413"/>
                </a:lnTo>
                <a:close/>
                <a:moveTo>
                  <a:pt x="3622691" y="0"/>
                </a:moveTo>
                <a:lnTo>
                  <a:pt x="4304615" y="0"/>
                </a:lnTo>
                <a:lnTo>
                  <a:pt x="4304615" y="5394901"/>
                </a:lnTo>
                <a:lnTo>
                  <a:pt x="3622691" y="5394901"/>
                </a:lnTo>
                <a:close/>
                <a:moveTo>
                  <a:pt x="2898153" y="0"/>
                </a:moveTo>
                <a:lnTo>
                  <a:pt x="3580077" y="0"/>
                </a:lnTo>
                <a:lnTo>
                  <a:pt x="3580077" y="5943535"/>
                </a:lnTo>
                <a:lnTo>
                  <a:pt x="2898153" y="5943535"/>
                </a:lnTo>
                <a:close/>
                <a:moveTo>
                  <a:pt x="2173615" y="0"/>
                </a:moveTo>
                <a:lnTo>
                  <a:pt x="2855539" y="0"/>
                </a:lnTo>
                <a:lnTo>
                  <a:pt x="2855539" y="5029145"/>
                </a:lnTo>
                <a:lnTo>
                  <a:pt x="2173615" y="502914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193717588"/>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Portfolio 15">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3" name="Picture Placeholder 22"/>
          <p:cNvSpPr>
            <a:spLocks noGrp="1" noChangeAspect="1"/>
          </p:cNvSpPr>
          <p:nvPr>
            <p:ph type="pic" sz="quarter" idx="10"/>
          </p:nvPr>
        </p:nvSpPr>
        <p:spPr>
          <a:xfrm>
            <a:off x="731574" y="582930"/>
            <a:ext cx="3892739" cy="3977640"/>
          </a:xfrm>
          <a:custGeom>
            <a:avLst/>
            <a:gdLst>
              <a:gd name="connsiteX0" fmla="*/ 1989152 w 4928993"/>
              <a:gd name="connsiteY0" fmla="*/ 3395553 h 5036495"/>
              <a:gd name="connsiteX1" fmla="*/ 2951693 w 4928993"/>
              <a:gd name="connsiteY1" fmla="*/ 3395553 h 5036495"/>
              <a:gd name="connsiteX2" fmla="*/ 3433422 w 4928993"/>
              <a:gd name="connsiteY2" fmla="*/ 4216024 h 5036495"/>
              <a:gd name="connsiteX3" fmla="*/ 2951693 w 4928993"/>
              <a:gd name="connsiteY3" fmla="*/ 5036495 h 5036495"/>
              <a:gd name="connsiteX4" fmla="*/ 1989152 w 4928993"/>
              <a:gd name="connsiteY4" fmla="*/ 5036495 h 5036495"/>
              <a:gd name="connsiteX5" fmla="*/ 1506509 w 4928993"/>
              <a:gd name="connsiteY5" fmla="*/ 4216024 h 5036495"/>
              <a:gd name="connsiteX6" fmla="*/ 3493489 w 4928993"/>
              <a:gd name="connsiteY6" fmla="*/ 2546666 h 5036495"/>
              <a:gd name="connsiteX7" fmla="*/ 4456032 w 4928993"/>
              <a:gd name="connsiteY7" fmla="*/ 2546666 h 5036495"/>
              <a:gd name="connsiteX8" fmla="*/ 4928993 w 4928993"/>
              <a:gd name="connsiteY8" fmla="*/ 3352206 h 5036495"/>
              <a:gd name="connsiteX9" fmla="*/ 4928993 w 4928993"/>
              <a:gd name="connsiteY9" fmla="*/ 3382068 h 5036495"/>
              <a:gd name="connsiteX10" fmla="*/ 4456032 w 4928993"/>
              <a:gd name="connsiteY10" fmla="*/ 4187608 h 5036495"/>
              <a:gd name="connsiteX11" fmla="*/ 3493489 w 4928993"/>
              <a:gd name="connsiteY11" fmla="*/ 4187608 h 5036495"/>
              <a:gd name="connsiteX12" fmla="*/ 3010847 w 4928993"/>
              <a:gd name="connsiteY12" fmla="*/ 3367137 h 5036495"/>
              <a:gd name="connsiteX13" fmla="*/ 482642 w 4928993"/>
              <a:gd name="connsiteY13" fmla="*/ 2546665 h 5036495"/>
              <a:gd name="connsiteX14" fmla="*/ 1445184 w 4928993"/>
              <a:gd name="connsiteY14" fmla="*/ 2546665 h 5036495"/>
              <a:gd name="connsiteX15" fmla="*/ 1926912 w 4928993"/>
              <a:gd name="connsiteY15" fmla="*/ 3367136 h 5036495"/>
              <a:gd name="connsiteX16" fmla="*/ 1445184 w 4928993"/>
              <a:gd name="connsiteY16" fmla="*/ 4187607 h 5036495"/>
              <a:gd name="connsiteX17" fmla="*/ 482642 w 4928993"/>
              <a:gd name="connsiteY17" fmla="*/ 4187607 h 5036495"/>
              <a:gd name="connsiteX18" fmla="*/ 0 w 4928993"/>
              <a:gd name="connsiteY18" fmla="*/ 3367136 h 5036495"/>
              <a:gd name="connsiteX19" fmla="*/ 1989152 w 4928993"/>
              <a:gd name="connsiteY19" fmla="*/ 1697776 h 5036495"/>
              <a:gd name="connsiteX20" fmla="*/ 2951693 w 4928993"/>
              <a:gd name="connsiteY20" fmla="*/ 1697776 h 5036495"/>
              <a:gd name="connsiteX21" fmla="*/ 3433422 w 4928993"/>
              <a:gd name="connsiteY21" fmla="*/ 2518247 h 5036495"/>
              <a:gd name="connsiteX22" fmla="*/ 2951693 w 4928993"/>
              <a:gd name="connsiteY22" fmla="*/ 3338718 h 5036495"/>
              <a:gd name="connsiteX23" fmla="*/ 1989152 w 4928993"/>
              <a:gd name="connsiteY23" fmla="*/ 3338718 h 5036495"/>
              <a:gd name="connsiteX24" fmla="*/ 1506509 w 4928993"/>
              <a:gd name="connsiteY24" fmla="*/ 2518247 h 5036495"/>
              <a:gd name="connsiteX25" fmla="*/ 3493489 w 4928993"/>
              <a:gd name="connsiteY25" fmla="*/ 848888 h 5036495"/>
              <a:gd name="connsiteX26" fmla="*/ 4456032 w 4928993"/>
              <a:gd name="connsiteY26" fmla="*/ 848888 h 5036495"/>
              <a:gd name="connsiteX27" fmla="*/ 4928993 w 4928993"/>
              <a:gd name="connsiteY27" fmla="*/ 1654428 h 5036495"/>
              <a:gd name="connsiteX28" fmla="*/ 4928993 w 4928993"/>
              <a:gd name="connsiteY28" fmla="*/ 1684290 h 5036495"/>
              <a:gd name="connsiteX29" fmla="*/ 4456032 w 4928993"/>
              <a:gd name="connsiteY29" fmla="*/ 2489830 h 5036495"/>
              <a:gd name="connsiteX30" fmla="*/ 3493489 w 4928993"/>
              <a:gd name="connsiteY30" fmla="*/ 2489830 h 5036495"/>
              <a:gd name="connsiteX31" fmla="*/ 3010847 w 4928993"/>
              <a:gd name="connsiteY31" fmla="*/ 1669359 h 5036495"/>
              <a:gd name="connsiteX32" fmla="*/ 482642 w 4928993"/>
              <a:gd name="connsiteY32" fmla="*/ 848886 h 5036495"/>
              <a:gd name="connsiteX33" fmla="*/ 1445184 w 4928993"/>
              <a:gd name="connsiteY33" fmla="*/ 848886 h 5036495"/>
              <a:gd name="connsiteX34" fmla="*/ 1926912 w 4928993"/>
              <a:gd name="connsiteY34" fmla="*/ 1669358 h 5036495"/>
              <a:gd name="connsiteX35" fmla="*/ 1445184 w 4928993"/>
              <a:gd name="connsiteY35" fmla="*/ 2489829 h 5036495"/>
              <a:gd name="connsiteX36" fmla="*/ 482642 w 4928993"/>
              <a:gd name="connsiteY36" fmla="*/ 2489829 h 5036495"/>
              <a:gd name="connsiteX37" fmla="*/ 0 w 4928993"/>
              <a:gd name="connsiteY37" fmla="*/ 1669358 h 5036495"/>
              <a:gd name="connsiteX38" fmla="*/ 1989152 w 4928993"/>
              <a:gd name="connsiteY38" fmla="*/ 0 h 5036495"/>
              <a:gd name="connsiteX39" fmla="*/ 2951693 w 4928993"/>
              <a:gd name="connsiteY39" fmla="*/ 0 h 5036495"/>
              <a:gd name="connsiteX40" fmla="*/ 3433422 w 4928993"/>
              <a:gd name="connsiteY40" fmla="*/ 820471 h 5036495"/>
              <a:gd name="connsiteX41" fmla="*/ 2951693 w 4928993"/>
              <a:gd name="connsiteY41" fmla="*/ 1640942 h 5036495"/>
              <a:gd name="connsiteX42" fmla="*/ 1989152 w 4928993"/>
              <a:gd name="connsiteY42" fmla="*/ 1640942 h 5036495"/>
              <a:gd name="connsiteX43" fmla="*/ 1506509 w 4928993"/>
              <a:gd name="connsiteY43" fmla="*/ 820471 h 5036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28993" h="5036495">
                <a:moveTo>
                  <a:pt x="1989152" y="3395553"/>
                </a:moveTo>
                <a:lnTo>
                  <a:pt x="2951693" y="3395553"/>
                </a:lnTo>
                <a:lnTo>
                  <a:pt x="3433422" y="4216024"/>
                </a:lnTo>
                <a:lnTo>
                  <a:pt x="2951693" y="5036495"/>
                </a:lnTo>
                <a:lnTo>
                  <a:pt x="1989152" y="5036495"/>
                </a:lnTo>
                <a:lnTo>
                  <a:pt x="1506509" y="4216024"/>
                </a:lnTo>
                <a:close/>
                <a:moveTo>
                  <a:pt x="3493489" y="2546666"/>
                </a:moveTo>
                <a:lnTo>
                  <a:pt x="4456032" y="2546666"/>
                </a:lnTo>
                <a:lnTo>
                  <a:pt x="4928993" y="3352206"/>
                </a:lnTo>
                <a:lnTo>
                  <a:pt x="4928993" y="3382068"/>
                </a:lnTo>
                <a:lnTo>
                  <a:pt x="4456032" y="4187608"/>
                </a:lnTo>
                <a:lnTo>
                  <a:pt x="3493489" y="4187608"/>
                </a:lnTo>
                <a:lnTo>
                  <a:pt x="3010847" y="3367137"/>
                </a:lnTo>
                <a:close/>
                <a:moveTo>
                  <a:pt x="482642" y="2546665"/>
                </a:moveTo>
                <a:lnTo>
                  <a:pt x="1445184" y="2546665"/>
                </a:lnTo>
                <a:lnTo>
                  <a:pt x="1926912" y="3367136"/>
                </a:lnTo>
                <a:lnTo>
                  <a:pt x="1445184" y="4187607"/>
                </a:lnTo>
                <a:lnTo>
                  <a:pt x="482642" y="4187607"/>
                </a:lnTo>
                <a:lnTo>
                  <a:pt x="0" y="3367136"/>
                </a:lnTo>
                <a:close/>
                <a:moveTo>
                  <a:pt x="1989152" y="1697776"/>
                </a:moveTo>
                <a:lnTo>
                  <a:pt x="2951693" y="1697776"/>
                </a:lnTo>
                <a:lnTo>
                  <a:pt x="3433422" y="2518247"/>
                </a:lnTo>
                <a:lnTo>
                  <a:pt x="2951693" y="3338718"/>
                </a:lnTo>
                <a:lnTo>
                  <a:pt x="1989152" y="3338718"/>
                </a:lnTo>
                <a:lnTo>
                  <a:pt x="1506509" y="2518247"/>
                </a:lnTo>
                <a:close/>
                <a:moveTo>
                  <a:pt x="3493489" y="848888"/>
                </a:moveTo>
                <a:lnTo>
                  <a:pt x="4456032" y="848888"/>
                </a:lnTo>
                <a:lnTo>
                  <a:pt x="4928993" y="1654428"/>
                </a:lnTo>
                <a:lnTo>
                  <a:pt x="4928993" y="1684290"/>
                </a:lnTo>
                <a:lnTo>
                  <a:pt x="4456032" y="2489830"/>
                </a:lnTo>
                <a:lnTo>
                  <a:pt x="3493489" y="2489830"/>
                </a:lnTo>
                <a:lnTo>
                  <a:pt x="3010847" y="1669359"/>
                </a:lnTo>
                <a:close/>
                <a:moveTo>
                  <a:pt x="482642" y="848886"/>
                </a:moveTo>
                <a:lnTo>
                  <a:pt x="1445184" y="848886"/>
                </a:lnTo>
                <a:lnTo>
                  <a:pt x="1926912" y="1669358"/>
                </a:lnTo>
                <a:lnTo>
                  <a:pt x="1445184" y="2489829"/>
                </a:lnTo>
                <a:lnTo>
                  <a:pt x="482642" y="2489829"/>
                </a:lnTo>
                <a:lnTo>
                  <a:pt x="0" y="1669358"/>
                </a:lnTo>
                <a:close/>
                <a:moveTo>
                  <a:pt x="1989152" y="0"/>
                </a:moveTo>
                <a:lnTo>
                  <a:pt x="2951693" y="0"/>
                </a:lnTo>
                <a:lnTo>
                  <a:pt x="3433422" y="820471"/>
                </a:lnTo>
                <a:lnTo>
                  <a:pt x="2951693" y="1640942"/>
                </a:lnTo>
                <a:lnTo>
                  <a:pt x="1989152" y="1640942"/>
                </a:lnTo>
                <a:lnTo>
                  <a:pt x="1506509" y="820471"/>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407256429"/>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Portfolio 16">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60585" y="754380"/>
            <a:ext cx="4434379" cy="3634740"/>
          </a:xfrm>
          <a:custGeom>
            <a:avLst/>
            <a:gdLst>
              <a:gd name="connsiteX0" fmla="*/ 3004699 w 5912505"/>
              <a:gd name="connsiteY0" fmla="*/ 3295445 h 4846320"/>
              <a:gd name="connsiteX1" fmla="*/ 4167821 w 5912505"/>
              <a:gd name="connsiteY1" fmla="*/ 3295445 h 4846320"/>
              <a:gd name="connsiteX2" fmla="*/ 4167821 w 5912505"/>
              <a:gd name="connsiteY2" fmla="*/ 4070883 h 4846320"/>
              <a:gd name="connsiteX3" fmla="*/ 3004699 w 5912505"/>
              <a:gd name="connsiteY3" fmla="*/ 4070883 h 4846320"/>
              <a:gd name="connsiteX4" fmla="*/ 0 w 5912505"/>
              <a:gd name="connsiteY4" fmla="*/ 2423144 h 4846320"/>
              <a:gd name="connsiteX5" fmla="*/ 2907805 w 5912505"/>
              <a:gd name="connsiteY5" fmla="*/ 2423144 h 4846320"/>
              <a:gd name="connsiteX6" fmla="*/ 2907805 w 5912505"/>
              <a:gd name="connsiteY6" fmla="*/ 4846320 h 4846320"/>
              <a:gd name="connsiteX7" fmla="*/ 0 w 5912505"/>
              <a:gd name="connsiteY7" fmla="*/ 4846320 h 4846320"/>
              <a:gd name="connsiteX8" fmla="*/ 3004699 w 5912505"/>
              <a:gd name="connsiteY8" fmla="*/ 1647738 h 4846320"/>
              <a:gd name="connsiteX9" fmla="*/ 5912505 w 5912505"/>
              <a:gd name="connsiteY9" fmla="*/ 1647738 h 4846320"/>
              <a:gd name="connsiteX10" fmla="*/ 5912505 w 5912505"/>
              <a:gd name="connsiteY10" fmla="*/ 3198568 h 4846320"/>
              <a:gd name="connsiteX11" fmla="*/ 3004699 w 5912505"/>
              <a:gd name="connsiteY11" fmla="*/ 3198568 h 4846320"/>
              <a:gd name="connsiteX12" fmla="*/ 1938515 w 5912505"/>
              <a:gd name="connsiteY12" fmla="*/ 1163109 h 4846320"/>
              <a:gd name="connsiteX13" fmla="*/ 2907773 w 5912505"/>
              <a:gd name="connsiteY13" fmla="*/ 1163109 h 4846320"/>
              <a:gd name="connsiteX14" fmla="*/ 2907773 w 5912505"/>
              <a:gd name="connsiteY14" fmla="*/ 2326250 h 4846320"/>
              <a:gd name="connsiteX15" fmla="*/ 1938515 w 5912505"/>
              <a:gd name="connsiteY15" fmla="*/ 2326250 h 4846320"/>
              <a:gd name="connsiteX16" fmla="*/ 3004699 w 5912505"/>
              <a:gd name="connsiteY16" fmla="*/ 0 h 4846320"/>
              <a:gd name="connsiteX17" fmla="*/ 4943236 w 5912505"/>
              <a:gd name="connsiteY17" fmla="*/ 0 h 4846320"/>
              <a:gd name="connsiteX18" fmla="*/ 4943236 w 5912505"/>
              <a:gd name="connsiteY18" fmla="*/ 1550830 h 4846320"/>
              <a:gd name="connsiteX19" fmla="*/ 3004699 w 5912505"/>
              <a:gd name="connsiteY19" fmla="*/ 1550830 h 484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12505" h="4846320">
                <a:moveTo>
                  <a:pt x="3004699" y="3295445"/>
                </a:moveTo>
                <a:lnTo>
                  <a:pt x="4167821" y="3295445"/>
                </a:lnTo>
                <a:lnTo>
                  <a:pt x="4167821" y="4070883"/>
                </a:lnTo>
                <a:lnTo>
                  <a:pt x="3004699" y="4070883"/>
                </a:lnTo>
                <a:close/>
                <a:moveTo>
                  <a:pt x="0" y="2423144"/>
                </a:moveTo>
                <a:lnTo>
                  <a:pt x="2907805" y="2423144"/>
                </a:lnTo>
                <a:lnTo>
                  <a:pt x="2907805" y="4846320"/>
                </a:lnTo>
                <a:lnTo>
                  <a:pt x="0" y="4846320"/>
                </a:lnTo>
                <a:close/>
                <a:moveTo>
                  <a:pt x="3004699" y="1647738"/>
                </a:moveTo>
                <a:lnTo>
                  <a:pt x="5912505" y="1647738"/>
                </a:lnTo>
                <a:lnTo>
                  <a:pt x="5912505" y="3198568"/>
                </a:lnTo>
                <a:lnTo>
                  <a:pt x="3004699" y="3198568"/>
                </a:lnTo>
                <a:close/>
                <a:moveTo>
                  <a:pt x="1938515" y="1163109"/>
                </a:moveTo>
                <a:lnTo>
                  <a:pt x="2907773" y="1163109"/>
                </a:lnTo>
                <a:lnTo>
                  <a:pt x="2907773" y="2326250"/>
                </a:lnTo>
                <a:lnTo>
                  <a:pt x="1938515" y="2326250"/>
                </a:lnTo>
                <a:close/>
                <a:moveTo>
                  <a:pt x="3004699" y="0"/>
                </a:moveTo>
                <a:lnTo>
                  <a:pt x="4943236" y="0"/>
                </a:lnTo>
                <a:lnTo>
                  <a:pt x="4943236" y="1550830"/>
                </a:lnTo>
                <a:lnTo>
                  <a:pt x="3004699" y="155083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448856199"/>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Portfolio 17">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3" name="Picture Placeholder 22"/>
          <p:cNvSpPr>
            <a:spLocks noGrp="1" noChangeAspect="1"/>
          </p:cNvSpPr>
          <p:nvPr>
            <p:ph type="pic" sz="quarter" idx="10"/>
          </p:nvPr>
        </p:nvSpPr>
        <p:spPr>
          <a:xfrm>
            <a:off x="4640581" y="582930"/>
            <a:ext cx="3811904" cy="3977640"/>
          </a:xfrm>
          <a:custGeom>
            <a:avLst/>
            <a:gdLst>
              <a:gd name="connsiteX0" fmla="*/ 0 w 4206240"/>
              <a:gd name="connsiteY0" fmla="*/ 2363381 h 4389120"/>
              <a:gd name="connsiteX1" fmla="*/ 1051558 w 4206240"/>
              <a:gd name="connsiteY1" fmla="*/ 2363381 h 4389120"/>
              <a:gd name="connsiteX2" fmla="*/ 2103120 w 4206240"/>
              <a:gd name="connsiteY2" fmla="*/ 3376251 h 4389120"/>
              <a:gd name="connsiteX3" fmla="*/ 3154682 w 4206240"/>
              <a:gd name="connsiteY3" fmla="*/ 2363381 h 4389120"/>
              <a:gd name="connsiteX4" fmla="*/ 4206240 w 4206240"/>
              <a:gd name="connsiteY4" fmla="*/ 2363381 h 4389120"/>
              <a:gd name="connsiteX5" fmla="*/ 2103120 w 4206240"/>
              <a:gd name="connsiteY5" fmla="*/ 4389120 h 4389120"/>
              <a:gd name="connsiteX6" fmla="*/ 0 w 4206240"/>
              <a:gd name="connsiteY6" fmla="*/ 2363381 h 4389120"/>
              <a:gd name="connsiteX7" fmla="*/ 2103120 w 4206240"/>
              <a:gd name="connsiteY7" fmla="*/ 1135662 h 4389120"/>
              <a:gd name="connsiteX8" fmla="*/ 3059073 w 4206240"/>
              <a:gd name="connsiteY8" fmla="*/ 2194561 h 4389120"/>
              <a:gd name="connsiteX9" fmla="*/ 2103120 w 4206240"/>
              <a:gd name="connsiteY9" fmla="*/ 3253461 h 4389120"/>
              <a:gd name="connsiteX10" fmla="*/ 1147167 w 4206240"/>
              <a:gd name="connsiteY10" fmla="*/ 2194561 h 4389120"/>
              <a:gd name="connsiteX11" fmla="*/ 2103120 w 4206240"/>
              <a:gd name="connsiteY11" fmla="*/ 1135662 h 4389120"/>
              <a:gd name="connsiteX12" fmla="*/ 2103120 w 4206240"/>
              <a:gd name="connsiteY12" fmla="*/ 0 h 4389120"/>
              <a:gd name="connsiteX13" fmla="*/ 4206240 w 4206240"/>
              <a:gd name="connsiteY13" fmla="*/ 2025739 h 4389120"/>
              <a:gd name="connsiteX14" fmla="*/ 3154682 w 4206240"/>
              <a:gd name="connsiteY14" fmla="*/ 2025739 h 4389120"/>
              <a:gd name="connsiteX15" fmla="*/ 2103120 w 4206240"/>
              <a:gd name="connsiteY15" fmla="*/ 1012869 h 4389120"/>
              <a:gd name="connsiteX16" fmla="*/ 1051558 w 4206240"/>
              <a:gd name="connsiteY16" fmla="*/ 2025739 h 4389120"/>
              <a:gd name="connsiteX17" fmla="*/ 0 w 4206240"/>
              <a:gd name="connsiteY17" fmla="*/ 2025739 h 4389120"/>
              <a:gd name="connsiteX18" fmla="*/ 2103120 w 4206240"/>
              <a:gd name="connsiteY18" fmla="*/ 0 h 438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6240" h="4389120">
                <a:moveTo>
                  <a:pt x="0" y="2363381"/>
                </a:moveTo>
                <a:lnTo>
                  <a:pt x="1051558" y="2363381"/>
                </a:lnTo>
                <a:cubicBezTo>
                  <a:pt x="1051558" y="2922774"/>
                  <a:pt x="1522359" y="3376251"/>
                  <a:pt x="2103120" y="3376251"/>
                </a:cubicBezTo>
                <a:cubicBezTo>
                  <a:pt x="2683882" y="3376251"/>
                  <a:pt x="3154682" y="2922774"/>
                  <a:pt x="3154682" y="2363381"/>
                </a:cubicBezTo>
                <a:lnTo>
                  <a:pt x="4206240" y="2363381"/>
                </a:lnTo>
                <a:cubicBezTo>
                  <a:pt x="4206240" y="3482166"/>
                  <a:pt x="3264641" y="4389120"/>
                  <a:pt x="2103120" y="4389120"/>
                </a:cubicBezTo>
                <a:cubicBezTo>
                  <a:pt x="941599" y="4389120"/>
                  <a:pt x="0" y="3482166"/>
                  <a:pt x="0" y="2363381"/>
                </a:cubicBezTo>
                <a:close/>
                <a:moveTo>
                  <a:pt x="2103120" y="1135662"/>
                </a:moveTo>
                <a:cubicBezTo>
                  <a:pt x="2631079" y="1135662"/>
                  <a:pt x="3059073" y="1609748"/>
                  <a:pt x="3059073" y="2194561"/>
                </a:cubicBezTo>
                <a:cubicBezTo>
                  <a:pt x="3059073" y="2779375"/>
                  <a:pt x="2631079" y="3253461"/>
                  <a:pt x="2103120" y="3253461"/>
                </a:cubicBezTo>
                <a:cubicBezTo>
                  <a:pt x="1575161" y="3253461"/>
                  <a:pt x="1147167" y="2779375"/>
                  <a:pt x="1147167" y="2194561"/>
                </a:cubicBezTo>
                <a:cubicBezTo>
                  <a:pt x="1147167" y="1609748"/>
                  <a:pt x="1575161" y="1135662"/>
                  <a:pt x="2103120" y="1135662"/>
                </a:cubicBezTo>
                <a:close/>
                <a:moveTo>
                  <a:pt x="2103120" y="0"/>
                </a:moveTo>
                <a:cubicBezTo>
                  <a:pt x="3264641" y="0"/>
                  <a:pt x="4206240" y="906954"/>
                  <a:pt x="4206240" y="2025739"/>
                </a:cubicBezTo>
                <a:lnTo>
                  <a:pt x="3154682" y="2025739"/>
                </a:lnTo>
                <a:cubicBezTo>
                  <a:pt x="3154682" y="1466346"/>
                  <a:pt x="2683882" y="1012869"/>
                  <a:pt x="2103120" y="1012869"/>
                </a:cubicBezTo>
                <a:cubicBezTo>
                  <a:pt x="1522359" y="1012869"/>
                  <a:pt x="1051558" y="1466346"/>
                  <a:pt x="1051558" y="2025739"/>
                </a:cubicBezTo>
                <a:lnTo>
                  <a:pt x="0" y="2025739"/>
                </a:lnTo>
                <a:cubicBezTo>
                  <a:pt x="0" y="906954"/>
                  <a:pt x="941599" y="0"/>
                  <a:pt x="2103120" y="0"/>
                </a:cubicBez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110717849"/>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Portfolio 18">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670118" y="0"/>
            <a:ext cx="4473882" cy="5143500"/>
          </a:xfrm>
          <a:custGeom>
            <a:avLst/>
            <a:gdLst>
              <a:gd name="connsiteX0" fmla="*/ 5093814 w 5965176"/>
              <a:gd name="connsiteY0" fmla="*/ 0 h 6858000"/>
              <a:gd name="connsiteX1" fmla="*/ 5965176 w 5965176"/>
              <a:gd name="connsiteY1" fmla="*/ 0 h 6858000"/>
              <a:gd name="connsiteX2" fmla="*/ 5965176 w 5965176"/>
              <a:gd name="connsiteY2" fmla="*/ 6858000 h 6858000"/>
              <a:gd name="connsiteX3" fmla="*/ 5093814 w 5965176"/>
              <a:gd name="connsiteY3" fmla="*/ 6858000 h 6858000"/>
              <a:gd name="connsiteX4" fmla="*/ 3395876 w 5965176"/>
              <a:gd name="connsiteY4" fmla="*/ 0 h 6858000"/>
              <a:gd name="connsiteX5" fmla="*/ 5041796 w 5965176"/>
              <a:gd name="connsiteY5" fmla="*/ 0 h 6858000"/>
              <a:gd name="connsiteX6" fmla="*/ 5041796 w 5965176"/>
              <a:gd name="connsiteY6" fmla="*/ 6858000 h 6858000"/>
              <a:gd name="connsiteX7" fmla="*/ 3395876 w 5965176"/>
              <a:gd name="connsiteY7" fmla="*/ 6858000 h 6858000"/>
              <a:gd name="connsiteX8" fmla="*/ 1697938 w 5965176"/>
              <a:gd name="connsiteY8" fmla="*/ 0 h 6858000"/>
              <a:gd name="connsiteX9" fmla="*/ 3343858 w 5965176"/>
              <a:gd name="connsiteY9" fmla="*/ 0 h 6858000"/>
              <a:gd name="connsiteX10" fmla="*/ 3343858 w 5965176"/>
              <a:gd name="connsiteY10" fmla="*/ 6858000 h 6858000"/>
              <a:gd name="connsiteX11" fmla="*/ 1697938 w 5965176"/>
              <a:gd name="connsiteY11" fmla="*/ 6858000 h 6858000"/>
              <a:gd name="connsiteX12" fmla="*/ 0 w 5965176"/>
              <a:gd name="connsiteY12" fmla="*/ 0 h 6858000"/>
              <a:gd name="connsiteX13" fmla="*/ 1645920 w 5965176"/>
              <a:gd name="connsiteY13" fmla="*/ 0 h 6858000"/>
              <a:gd name="connsiteX14" fmla="*/ 1645920 w 5965176"/>
              <a:gd name="connsiteY14" fmla="*/ 6858000 h 6858000"/>
              <a:gd name="connsiteX15" fmla="*/ 0 w 5965176"/>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65176" h="6858000">
                <a:moveTo>
                  <a:pt x="5093814" y="0"/>
                </a:moveTo>
                <a:lnTo>
                  <a:pt x="5965176" y="0"/>
                </a:lnTo>
                <a:lnTo>
                  <a:pt x="5965176" y="6858000"/>
                </a:lnTo>
                <a:lnTo>
                  <a:pt x="5093814" y="6858000"/>
                </a:lnTo>
                <a:close/>
                <a:moveTo>
                  <a:pt x="3395876" y="0"/>
                </a:moveTo>
                <a:lnTo>
                  <a:pt x="5041796" y="0"/>
                </a:lnTo>
                <a:lnTo>
                  <a:pt x="5041796" y="6858000"/>
                </a:lnTo>
                <a:lnTo>
                  <a:pt x="3395876" y="6858000"/>
                </a:lnTo>
                <a:close/>
                <a:moveTo>
                  <a:pt x="1697938" y="0"/>
                </a:moveTo>
                <a:lnTo>
                  <a:pt x="3343858" y="0"/>
                </a:lnTo>
                <a:lnTo>
                  <a:pt x="3343858" y="6858000"/>
                </a:lnTo>
                <a:lnTo>
                  <a:pt x="1697938" y="6858000"/>
                </a:lnTo>
                <a:close/>
                <a:moveTo>
                  <a:pt x="0" y="0"/>
                </a:moveTo>
                <a:lnTo>
                  <a:pt x="1645920" y="0"/>
                </a:lnTo>
                <a:lnTo>
                  <a:pt x="1645920" y="6858000"/>
                </a:lnTo>
                <a:lnTo>
                  <a:pt x="0" y="685800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222579453"/>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Portfolio 19">
    <p:spTree>
      <p:nvGrpSpPr>
        <p:cNvPr id="1" name=""/>
        <p:cNvGrpSpPr/>
        <p:nvPr/>
      </p:nvGrpSpPr>
      <p:grpSpPr>
        <a:xfrm>
          <a:off x="0" y="0"/>
          <a:ext cx="0" cy="0"/>
          <a:chOff x="0" y="0"/>
          <a:chExt cx="0" cy="0"/>
        </a:xfrm>
      </p:grpSpPr>
      <p:sp>
        <p:nvSpPr>
          <p:cNvPr id="24" name="Picture Placeholder 3"/>
          <p:cNvSpPr>
            <a:spLocks noGrp="1"/>
          </p:cNvSpPr>
          <p:nvPr>
            <p:ph type="pic" sz="quarter" idx="10"/>
          </p:nvPr>
        </p:nvSpPr>
        <p:spPr>
          <a:xfrm>
            <a:off x="2944083" y="13"/>
            <a:ext cx="6199919" cy="5143499"/>
          </a:xfrm>
          <a:custGeom>
            <a:avLst/>
            <a:gdLst>
              <a:gd name="connsiteX0" fmla="*/ 964929 w 8266558"/>
              <a:gd name="connsiteY0" fmla="*/ 0 h 6857999"/>
              <a:gd name="connsiteX1" fmla="*/ 8266558 w 8266558"/>
              <a:gd name="connsiteY1" fmla="*/ 0 h 6857999"/>
              <a:gd name="connsiteX2" fmla="*/ 8266558 w 8266558"/>
              <a:gd name="connsiteY2" fmla="*/ 4516266 h 6857999"/>
              <a:gd name="connsiteX3" fmla="*/ 4869410 w 8266558"/>
              <a:gd name="connsiteY3" fmla="*/ 6605288 h 6857999"/>
              <a:gd name="connsiteX4" fmla="*/ 0 w 8266558"/>
              <a:gd name="connsiteY4" fmla="*/ 0 h 6857999"/>
              <a:gd name="connsiteX5" fmla="*/ 964929 w 8266558"/>
              <a:gd name="connsiteY5" fmla="*/ 0 h 6857999"/>
              <a:gd name="connsiteX6" fmla="*/ 4808965 w 8266558"/>
              <a:gd name="connsiteY6" fmla="*/ 6857999 h 6857999"/>
              <a:gd name="connsiteX7" fmla="*/ 4802575 w 8266558"/>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66558" h="6857999">
                <a:moveTo>
                  <a:pt x="964929" y="0"/>
                </a:moveTo>
                <a:lnTo>
                  <a:pt x="8266558" y="0"/>
                </a:lnTo>
                <a:lnTo>
                  <a:pt x="8266558" y="4516266"/>
                </a:lnTo>
                <a:lnTo>
                  <a:pt x="4869410" y="6605288"/>
                </a:lnTo>
                <a:close/>
                <a:moveTo>
                  <a:pt x="0" y="0"/>
                </a:moveTo>
                <a:lnTo>
                  <a:pt x="964929" y="0"/>
                </a:lnTo>
                <a:lnTo>
                  <a:pt x="4808965" y="6857999"/>
                </a:lnTo>
                <a:lnTo>
                  <a:pt x="4802575" y="6857999"/>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686682230"/>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Device Mockups">
    <p:bg>
      <p:bgPr>
        <a:pattFill prst="openDmnd">
          <a:fgClr>
            <a:schemeClr val="bg1"/>
          </a:fgClr>
          <a:bgClr>
            <a:srgbClr val="00B0F0"/>
          </a:bgClr>
        </a:pattFill>
        <a:effectLst/>
      </p:bgPr>
    </p:bg>
    <p:spTree>
      <p:nvGrpSpPr>
        <p:cNvPr id="1" name=""/>
        <p:cNvGrpSpPr/>
        <p:nvPr/>
      </p:nvGrpSpPr>
      <p:grpSpPr>
        <a:xfrm>
          <a:off x="0" y="0"/>
          <a:ext cx="0" cy="0"/>
          <a:chOff x="0" y="0"/>
          <a:chExt cx="0" cy="0"/>
        </a:xfrm>
      </p:grpSpPr>
      <p:sp>
        <p:nvSpPr>
          <p:cNvPr id="22" name="Rectangle 21"/>
          <p:cNvSpPr/>
          <p:nvPr userDrawn="1"/>
        </p:nvSpPr>
        <p:spPr>
          <a:xfrm>
            <a:off x="0" y="0"/>
            <a:ext cx="9144000" cy="5143500"/>
          </a:xfrm>
          <a:prstGeom prst="rect">
            <a:avLst/>
          </a:prstGeom>
          <a:solidFill>
            <a:schemeClr val="tx2">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17" name="Picture Placeholder 16"/>
          <p:cNvSpPr>
            <a:spLocks noGrp="1"/>
          </p:cNvSpPr>
          <p:nvPr>
            <p:ph type="pic" sz="quarter" idx="11"/>
          </p:nvPr>
        </p:nvSpPr>
        <p:spPr>
          <a:xfrm>
            <a:off x="3351280" y="941483"/>
            <a:ext cx="2180843" cy="2324757"/>
          </a:xfrm>
          <a:custGeom>
            <a:avLst/>
            <a:gdLst>
              <a:gd name="connsiteX0" fmla="*/ 0 w 2907791"/>
              <a:gd name="connsiteY0" fmla="*/ 0 h 3099676"/>
              <a:gd name="connsiteX1" fmla="*/ 2155508 w 2907791"/>
              <a:gd name="connsiteY1" fmla="*/ 741397 h 3099676"/>
              <a:gd name="connsiteX2" fmla="*/ 2907791 w 2907791"/>
              <a:gd name="connsiteY2" fmla="*/ 3099673 h 3099676"/>
              <a:gd name="connsiteX3" fmla="*/ 2907791 w 2907791"/>
              <a:gd name="connsiteY3" fmla="*/ 3099676 h 3099676"/>
              <a:gd name="connsiteX4" fmla="*/ 905859 w 2907791"/>
              <a:gd name="connsiteY4" fmla="*/ 3025614 h 3099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7791" h="3099676">
                <a:moveTo>
                  <a:pt x="0" y="0"/>
                </a:moveTo>
                <a:lnTo>
                  <a:pt x="2155508" y="741397"/>
                </a:lnTo>
                <a:lnTo>
                  <a:pt x="2907791" y="3099673"/>
                </a:lnTo>
                <a:lnTo>
                  <a:pt x="2907791" y="3099676"/>
                </a:lnTo>
                <a:lnTo>
                  <a:pt x="905859" y="3025614"/>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16" name="Picture Placeholder 15"/>
          <p:cNvSpPr>
            <a:spLocks noGrp="1"/>
          </p:cNvSpPr>
          <p:nvPr>
            <p:ph type="pic" sz="quarter" idx="12"/>
          </p:nvPr>
        </p:nvSpPr>
        <p:spPr>
          <a:xfrm>
            <a:off x="5102755" y="3432631"/>
            <a:ext cx="1604772" cy="994100"/>
          </a:xfrm>
          <a:custGeom>
            <a:avLst/>
            <a:gdLst>
              <a:gd name="connsiteX0" fmla="*/ 1370156 w 2139696"/>
              <a:gd name="connsiteY0" fmla="*/ 0 h 1325466"/>
              <a:gd name="connsiteX1" fmla="*/ 2139696 w 2139696"/>
              <a:gd name="connsiteY1" fmla="*/ 463869 h 1325466"/>
              <a:gd name="connsiteX2" fmla="*/ 777584 w 2139696"/>
              <a:gd name="connsiteY2" fmla="*/ 1325466 h 1325466"/>
              <a:gd name="connsiteX3" fmla="*/ 0 w 2139696"/>
              <a:gd name="connsiteY3" fmla="*/ 809759 h 1325466"/>
            </a:gdLst>
            <a:ahLst/>
            <a:cxnLst>
              <a:cxn ang="0">
                <a:pos x="connsiteX0" y="connsiteY0"/>
              </a:cxn>
              <a:cxn ang="0">
                <a:pos x="connsiteX1" y="connsiteY1"/>
              </a:cxn>
              <a:cxn ang="0">
                <a:pos x="connsiteX2" y="connsiteY2"/>
              </a:cxn>
              <a:cxn ang="0">
                <a:pos x="connsiteX3" y="connsiteY3"/>
              </a:cxn>
            </a:cxnLst>
            <a:rect l="l" t="t" r="r" b="b"/>
            <a:pathLst>
              <a:path w="2139696" h="1325466">
                <a:moveTo>
                  <a:pt x="1370156" y="0"/>
                </a:moveTo>
                <a:lnTo>
                  <a:pt x="2139696" y="463869"/>
                </a:lnTo>
                <a:lnTo>
                  <a:pt x="777584" y="1325466"/>
                </a:lnTo>
                <a:lnTo>
                  <a:pt x="0" y="809759"/>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19" name="Picture Placeholder 18"/>
          <p:cNvSpPr>
            <a:spLocks noGrp="1"/>
          </p:cNvSpPr>
          <p:nvPr>
            <p:ph type="pic" sz="quarter" idx="10"/>
          </p:nvPr>
        </p:nvSpPr>
        <p:spPr>
          <a:xfrm>
            <a:off x="1732958" y="2821699"/>
            <a:ext cx="2016252" cy="1440720"/>
          </a:xfrm>
          <a:custGeom>
            <a:avLst/>
            <a:gdLst>
              <a:gd name="connsiteX0" fmla="*/ 2688336 w 2688336"/>
              <a:gd name="connsiteY0" fmla="*/ 0 h 1920960"/>
              <a:gd name="connsiteX1" fmla="*/ 2359100 w 2688336"/>
              <a:gd name="connsiteY1" fmla="*/ 1920960 h 1920960"/>
              <a:gd name="connsiteX2" fmla="*/ 0 w 2688336"/>
              <a:gd name="connsiteY2" fmla="*/ 1840551 h 1920960"/>
              <a:gd name="connsiteX3" fmla="*/ 374189 w 2688336"/>
              <a:gd name="connsiteY3" fmla="*/ 67747 h 1920960"/>
            </a:gdLst>
            <a:ahLst/>
            <a:cxnLst>
              <a:cxn ang="0">
                <a:pos x="connsiteX0" y="connsiteY0"/>
              </a:cxn>
              <a:cxn ang="0">
                <a:pos x="connsiteX1" y="connsiteY1"/>
              </a:cxn>
              <a:cxn ang="0">
                <a:pos x="connsiteX2" y="connsiteY2"/>
              </a:cxn>
              <a:cxn ang="0">
                <a:pos x="connsiteX3" y="connsiteY3"/>
              </a:cxn>
            </a:cxnLst>
            <a:rect l="l" t="t" r="r" b="b"/>
            <a:pathLst>
              <a:path w="2688336" h="1920960">
                <a:moveTo>
                  <a:pt x="2688336" y="0"/>
                </a:moveTo>
                <a:lnTo>
                  <a:pt x="2359100" y="1920960"/>
                </a:lnTo>
                <a:lnTo>
                  <a:pt x="0" y="1840551"/>
                </a:lnTo>
                <a:lnTo>
                  <a:pt x="374189" y="67747"/>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64512054"/>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ablet 1">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9" name="Picture Placeholder 28"/>
          <p:cNvSpPr>
            <a:spLocks noGrp="1"/>
          </p:cNvSpPr>
          <p:nvPr>
            <p:ph type="pic" sz="quarter" idx="10"/>
          </p:nvPr>
        </p:nvSpPr>
        <p:spPr>
          <a:xfrm>
            <a:off x="5268719" y="721672"/>
            <a:ext cx="2512818" cy="3713192"/>
          </a:xfrm>
          <a:custGeom>
            <a:avLst/>
            <a:gdLst>
              <a:gd name="connsiteX0" fmla="*/ 3350424 w 3350424"/>
              <a:gd name="connsiteY0" fmla="*/ 0 h 4950923"/>
              <a:gd name="connsiteX1" fmla="*/ 3350424 w 3350424"/>
              <a:gd name="connsiteY1" fmla="*/ 281222 h 4950923"/>
              <a:gd name="connsiteX2" fmla="*/ 3049588 w 3350424"/>
              <a:gd name="connsiteY2" fmla="*/ 4950923 h 4950923"/>
              <a:gd name="connsiteX3" fmla="*/ 0 w 3350424"/>
              <a:gd name="connsiteY3" fmla="*/ 4669936 h 4950923"/>
              <a:gd name="connsiteX4" fmla="*/ 425450 w 3350424"/>
              <a:gd name="connsiteY4" fmla="*/ 332886 h 4950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424" h="4950923">
                <a:moveTo>
                  <a:pt x="3350424" y="0"/>
                </a:moveTo>
                <a:lnTo>
                  <a:pt x="3350424" y="281222"/>
                </a:lnTo>
                <a:lnTo>
                  <a:pt x="3049588" y="4950923"/>
                </a:lnTo>
                <a:lnTo>
                  <a:pt x="0" y="4669936"/>
                </a:lnTo>
                <a:lnTo>
                  <a:pt x="425450" y="332886"/>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1648766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algn="l" eaLnBrk="1" hangingPunct="1">
              <a:defRPr>
                <a:ea typeface="ＭＳ Ｐゴシック" pitchFamily="34" charset="-128"/>
              </a:defRPr>
            </a:lvl1pPr>
          </a:lstStyle>
          <a:p>
            <a:pPr>
              <a:defRPr/>
            </a:pPr>
            <a:fld id="{F45F7612-456A-4955-BEB9-7689BED46A29}" type="slidenum">
              <a:rPr lang="es-ES"/>
              <a:pPr>
                <a:defRPr/>
              </a:pPr>
              <a:t>‹#›</a:t>
            </a:fld>
            <a:endParaRPr lang="es-ES"/>
          </a:p>
        </p:txBody>
      </p:sp>
      <p:sp>
        <p:nvSpPr>
          <p:cNvPr id="3" name="Footer Placeholder 2"/>
          <p:cNvSpPr>
            <a:spLocks noGrp="1"/>
          </p:cNvSpPr>
          <p:nvPr>
            <p:ph type="ftr" sz="quarter" idx="11"/>
          </p:nvPr>
        </p:nvSpPr>
        <p:spPr/>
        <p:txBody>
          <a:bodyPr/>
          <a:lstStyle>
            <a:lvl1pPr>
              <a:defRPr/>
            </a:lvl1pPr>
          </a:lstStyle>
          <a:p>
            <a:pPr>
              <a:defRPr/>
            </a:pPr>
            <a:endParaRPr/>
          </a:p>
        </p:txBody>
      </p:sp>
    </p:spTree>
  </p:cSld>
  <p:clrMapOvr>
    <a:masterClrMapping/>
  </p:clrMapOvr>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ablet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1015886" y="1425892"/>
            <a:ext cx="3374136" cy="2544318"/>
          </a:xfrm>
          <a:solidFill>
            <a:schemeClr val="tx2">
              <a:lumMod val="85000"/>
            </a:schemeClr>
          </a:solidFill>
          <a:ln w="6350">
            <a:noFill/>
          </a:ln>
        </p:spPr>
        <p:txBody>
          <a:bodyPr anchor="ctr" anchorCtr="0"/>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3428520429"/>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ablet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1" name="Rectangle 10"/>
          <p:cNvSpPr/>
          <p:nvPr userDrawn="1"/>
        </p:nvSpPr>
        <p:spPr>
          <a:xfrm>
            <a:off x="0" y="3086100"/>
            <a:ext cx="9144000" cy="20574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10" name="Picture Placeholder 3"/>
          <p:cNvSpPr>
            <a:spLocks noGrp="1"/>
          </p:cNvSpPr>
          <p:nvPr>
            <p:ph type="pic" sz="quarter" idx="10"/>
          </p:nvPr>
        </p:nvSpPr>
        <p:spPr>
          <a:xfrm>
            <a:off x="3426043" y="1391480"/>
            <a:ext cx="2331695" cy="3100491"/>
          </a:xfrm>
          <a:solidFill>
            <a:schemeClr val="tx2">
              <a:lumMod val="85000"/>
            </a:schemeClr>
          </a:solidFill>
          <a:ln w="6350">
            <a:noFill/>
          </a:ln>
        </p:spPr>
        <p:txBody>
          <a:bodyPr anchor="ctr" anchorCtr="0"/>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466289217"/>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ablet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1120141" y="1543062"/>
            <a:ext cx="2125980" cy="2811761"/>
          </a:xfrm>
          <a:solidFill>
            <a:schemeClr val="tx2">
              <a:lumMod val="85000"/>
            </a:schemeClr>
          </a:solidFill>
          <a:ln w="6350">
            <a:noFill/>
          </a:ln>
        </p:spPr>
        <p:txBody>
          <a:bodyPr anchor="ctr" anchorCtr="0"/>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3262911839"/>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Desktop 1">
    <p:bg>
      <p:bgPr>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11" name="Picture Placeholder 10"/>
          <p:cNvSpPr>
            <a:spLocks noGrp="1"/>
          </p:cNvSpPr>
          <p:nvPr>
            <p:ph type="pic" sz="quarter" idx="10"/>
          </p:nvPr>
        </p:nvSpPr>
        <p:spPr>
          <a:xfrm>
            <a:off x="936428" y="590096"/>
            <a:ext cx="2702052" cy="2880360"/>
          </a:xfrm>
          <a:custGeom>
            <a:avLst/>
            <a:gdLst>
              <a:gd name="connsiteX0" fmla="*/ 0 w 3602736"/>
              <a:gd name="connsiteY0" fmla="*/ 0 h 3840480"/>
              <a:gd name="connsiteX1" fmla="*/ 2670661 w 3602736"/>
              <a:gd name="connsiteY1" fmla="*/ 918586 h 3840480"/>
              <a:gd name="connsiteX2" fmla="*/ 3602736 w 3602736"/>
              <a:gd name="connsiteY2" fmla="*/ 3840480 h 3840480"/>
              <a:gd name="connsiteX3" fmla="*/ 1122354 w 3602736"/>
              <a:gd name="connsiteY3" fmla="*/ 3748718 h 3840480"/>
            </a:gdLst>
            <a:ahLst/>
            <a:cxnLst>
              <a:cxn ang="0">
                <a:pos x="connsiteX0" y="connsiteY0"/>
              </a:cxn>
              <a:cxn ang="0">
                <a:pos x="connsiteX1" y="connsiteY1"/>
              </a:cxn>
              <a:cxn ang="0">
                <a:pos x="connsiteX2" y="connsiteY2"/>
              </a:cxn>
              <a:cxn ang="0">
                <a:pos x="connsiteX3" y="connsiteY3"/>
              </a:cxn>
            </a:cxnLst>
            <a:rect l="l" t="t" r="r" b="b"/>
            <a:pathLst>
              <a:path w="3602736" h="3840480">
                <a:moveTo>
                  <a:pt x="0" y="0"/>
                </a:moveTo>
                <a:lnTo>
                  <a:pt x="2670661" y="918586"/>
                </a:lnTo>
                <a:lnTo>
                  <a:pt x="3602736" y="3840480"/>
                </a:lnTo>
                <a:lnTo>
                  <a:pt x="1122354" y="3748718"/>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802962521"/>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Desktop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4686274" y="1200181"/>
            <a:ext cx="3360419" cy="2269997"/>
          </a:xfrm>
          <a:custGeom>
            <a:avLst/>
            <a:gdLst>
              <a:gd name="connsiteX0" fmla="*/ 4480553 w 4480559"/>
              <a:gd name="connsiteY0" fmla="*/ 0 h 3026663"/>
              <a:gd name="connsiteX1" fmla="*/ 4480559 w 4480559"/>
              <a:gd name="connsiteY1" fmla="*/ 0 h 3026663"/>
              <a:gd name="connsiteX2" fmla="*/ 4480559 w 4480559"/>
              <a:gd name="connsiteY2" fmla="*/ 4 h 3026663"/>
              <a:gd name="connsiteX3" fmla="*/ 3890180 w 4480559"/>
              <a:gd name="connsiteY3" fmla="*/ 2968795 h 3026663"/>
              <a:gd name="connsiteX4" fmla="*/ 0 w 4480559"/>
              <a:gd name="connsiteY4" fmla="*/ 3026663 h 3026663"/>
              <a:gd name="connsiteX5" fmla="*/ 645728 w 4480559"/>
              <a:gd name="connsiteY5" fmla="*/ 554128 h 302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0559" h="3026663">
                <a:moveTo>
                  <a:pt x="4480553" y="0"/>
                </a:moveTo>
                <a:lnTo>
                  <a:pt x="4480559" y="0"/>
                </a:lnTo>
                <a:lnTo>
                  <a:pt x="4480559" y="4"/>
                </a:lnTo>
                <a:lnTo>
                  <a:pt x="3890180" y="2968795"/>
                </a:lnTo>
                <a:lnTo>
                  <a:pt x="0" y="3026663"/>
                </a:lnTo>
                <a:lnTo>
                  <a:pt x="645728" y="554128"/>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3516960410"/>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Desktop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764595" y="1571503"/>
            <a:ext cx="3700067" cy="2105542"/>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3820356727"/>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Desktop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13" name="Picture Placeholder 12"/>
          <p:cNvSpPr>
            <a:spLocks noGrp="1"/>
          </p:cNvSpPr>
          <p:nvPr>
            <p:ph type="pic" sz="quarter" idx="10"/>
          </p:nvPr>
        </p:nvSpPr>
        <p:spPr>
          <a:xfrm>
            <a:off x="849685" y="1450079"/>
            <a:ext cx="3307729" cy="2221992"/>
          </a:xfrm>
          <a:custGeom>
            <a:avLst/>
            <a:gdLst>
              <a:gd name="connsiteX0" fmla="*/ 0 w 4410305"/>
              <a:gd name="connsiteY0" fmla="*/ 0 h 2962656"/>
              <a:gd name="connsiteX1" fmla="*/ 3774585 w 4410305"/>
              <a:gd name="connsiteY1" fmla="*/ 527750 h 2962656"/>
              <a:gd name="connsiteX2" fmla="*/ 4410305 w 4410305"/>
              <a:gd name="connsiteY2" fmla="*/ 2962656 h 2962656"/>
              <a:gd name="connsiteX3" fmla="*/ 564028 w 4410305"/>
              <a:gd name="connsiteY3" fmla="*/ 2909104 h 2962656"/>
              <a:gd name="connsiteX4" fmla="*/ 0 w 4410305"/>
              <a:gd name="connsiteY4" fmla="*/ 6 h 2962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0305" h="2962656">
                <a:moveTo>
                  <a:pt x="0" y="0"/>
                </a:moveTo>
                <a:lnTo>
                  <a:pt x="3774585" y="527750"/>
                </a:lnTo>
                <a:lnTo>
                  <a:pt x="4410305" y="2962656"/>
                </a:lnTo>
                <a:lnTo>
                  <a:pt x="564028" y="2909104"/>
                </a:lnTo>
                <a:lnTo>
                  <a:pt x="0" y="6"/>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789099607"/>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Laprop 1">
    <p:bg>
      <p:bgPr>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3" name="Picture Placeholder 22"/>
          <p:cNvSpPr>
            <a:spLocks noGrp="1"/>
          </p:cNvSpPr>
          <p:nvPr>
            <p:ph type="pic" sz="quarter" idx="10"/>
          </p:nvPr>
        </p:nvSpPr>
        <p:spPr>
          <a:xfrm>
            <a:off x="4733448" y="1220061"/>
            <a:ext cx="3662172" cy="2616822"/>
          </a:xfrm>
          <a:custGeom>
            <a:avLst/>
            <a:gdLst>
              <a:gd name="connsiteX0" fmla="*/ 4882896 w 4882896"/>
              <a:gd name="connsiteY0" fmla="*/ 0 h 3489096"/>
              <a:gd name="connsiteX1" fmla="*/ 4284896 w 4882896"/>
              <a:gd name="connsiteY1" fmla="*/ 3489096 h 3489096"/>
              <a:gd name="connsiteX2" fmla="*/ 0 w 4882896"/>
              <a:gd name="connsiteY2" fmla="*/ 3343046 h 3489096"/>
              <a:gd name="connsiteX3" fmla="*/ 679650 w 4882896"/>
              <a:gd name="connsiteY3" fmla="*/ 123050 h 3489096"/>
            </a:gdLst>
            <a:ahLst/>
            <a:cxnLst>
              <a:cxn ang="0">
                <a:pos x="connsiteX0" y="connsiteY0"/>
              </a:cxn>
              <a:cxn ang="0">
                <a:pos x="connsiteX1" y="connsiteY1"/>
              </a:cxn>
              <a:cxn ang="0">
                <a:pos x="connsiteX2" y="connsiteY2"/>
              </a:cxn>
              <a:cxn ang="0">
                <a:pos x="connsiteX3" y="connsiteY3"/>
              </a:cxn>
            </a:cxnLst>
            <a:rect l="l" t="t" r="r" b="b"/>
            <a:pathLst>
              <a:path w="4882896" h="3489096">
                <a:moveTo>
                  <a:pt x="4882896" y="0"/>
                </a:moveTo>
                <a:lnTo>
                  <a:pt x="4284896" y="3489096"/>
                </a:lnTo>
                <a:lnTo>
                  <a:pt x="0" y="3343046"/>
                </a:lnTo>
                <a:lnTo>
                  <a:pt x="679650" y="12305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760559964"/>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Laptop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2" name="Rectangle 11"/>
          <p:cNvSpPr/>
          <p:nvPr userDrawn="1"/>
        </p:nvSpPr>
        <p:spPr>
          <a:xfrm flipV="1">
            <a:off x="0" y="0"/>
            <a:ext cx="9144000" cy="3086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20" name="Picture Placeholder 3"/>
          <p:cNvSpPr>
            <a:spLocks noGrp="1"/>
          </p:cNvSpPr>
          <p:nvPr>
            <p:ph type="pic" sz="quarter" idx="10"/>
          </p:nvPr>
        </p:nvSpPr>
        <p:spPr>
          <a:xfrm>
            <a:off x="1163539" y="1292392"/>
            <a:ext cx="3539906" cy="2205806"/>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281327643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Laptop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2703216" y="1292403"/>
            <a:ext cx="3743306" cy="2353781"/>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1416608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9" y="171458"/>
            <a:ext cx="8363938"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9439" y="1085852"/>
            <a:ext cx="8363938"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938543850"/>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iPhone 1">
    <p:bg>
      <p:bgPr>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12" name="Picture Placeholder 11"/>
          <p:cNvSpPr>
            <a:spLocks noGrp="1"/>
          </p:cNvSpPr>
          <p:nvPr>
            <p:ph type="pic" sz="quarter" idx="10"/>
          </p:nvPr>
        </p:nvSpPr>
        <p:spPr>
          <a:xfrm>
            <a:off x="3937619" y="1383043"/>
            <a:ext cx="4183380" cy="2591460"/>
          </a:xfrm>
          <a:custGeom>
            <a:avLst/>
            <a:gdLst>
              <a:gd name="connsiteX0" fmla="*/ 3571775 w 5577840"/>
              <a:gd name="connsiteY0" fmla="*/ 0 h 3455280"/>
              <a:gd name="connsiteX1" fmla="*/ 5577840 w 5577840"/>
              <a:gd name="connsiteY1" fmla="*/ 1209232 h 3455280"/>
              <a:gd name="connsiteX2" fmla="*/ 2027035 w 5577840"/>
              <a:gd name="connsiteY2" fmla="*/ 3455280 h 3455280"/>
              <a:gd name="connsiteX3" fmla="*/ 0 w 5577840"/>
              <a:gd name="connsiteY3" fmla="*/ 2110913 h 3455280"/>
            </a:gdLst>
            <a:ahLst/>
            <a:cxnLst>
              <a:cxn ang="0">
                <a:pos x="connsiteX0" y="connsiteY0"/>
              </a:cxn>
              <a:cxn ang="0">
                <a:pos x="connsiteX1" y="connsiteY1"/>
              </a:cxn>
              <a:cxn ang="0">
                <a:pos x="connsiteX2" y="connsiteY2"/>
              </a:cxn>
              <a:cxn ang="0">
                <a:pos x="connsiteX3" y="connsiteY3"/>
              </a:cxn>
            </a:cxnLst>
            <a:rect l="l" t="t" r="r" b="b"/>
            <a:pathLst>
              <a:path w="5577840" h="3455280">
                <a:moveTo>
                  <a:pt x="3571775" y="0"/>
                </a:moveTo>
                <a:lnTo>
                  <a:pt x="5577840" y="1209232"/>
                </a:lnTo>
                <a:lnTo>
                  <a:pt x="2027035" y="3455280"/>
                </a:lnTo>
                <a:lnTo>
                  <a:pt x="0" y="2110913"/>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893589955"/>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iPhone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1945300" y="1611642"/>
            <a:ext cx="1508744" cy="2400274"/>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3438671768"/>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iPhone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5349231" y="1531621"/>
            <a:ext cx="1503054" cy="2446020"/>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4001242448"/>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iPhone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3" name="Picture Placeholder 3"/>
          <p:cNvSpPr>
            <a:spLocks noGrp="1"/>
          </p:cNvSpPr>
          <p:nvPr>
            <p:ph type="pic" sz="quarter" idx="11"/>
          </p:nvPr>
        </p:nvSpPr>
        <p:spPr>
          <a:xfrm>
            <a:off x="2663192" y="2708921"/>
            <a:ext cx="965835" cy="1697357"/>
          </a:xfrm>
          <a:solidFill>
            <a:schemeClr val="tx2">
              <a:lumMod val="85000"/>
            </a:schemeClr>
          </a:solidFill>
          <a:ln w="6350">
            <a:noFill/>
          </a:ln>
        </p:spPr>
        <p:txBody>
          <a:bodyPr anchor="ctr" anchorCtr="0"/>
          <a:lstStyle>
            <a:lvl1pPr algn="ctr">
              <a:defRPr/>
            </a:lvl1pPr>
          </a:lstStyle>
          <a:p>
            <a:endParaRPr lang="en-US" dirty="0"/>
          </a:p>
        </p:txBody>
      </p:sp>
      <p:sp>
        <p:nvSpPr>
          <p:cNvPr id="20" name="Picture Placeholder 3"/>
          <p:cNvSpPr>
            <a:spLocks noGrp="1"/>
          </p:cNvSpPr>
          <p:nvPr>
            <p:ph type="pic" sz="quarter" idx="10"/>
          </p:nvPr>
        </p:nvSpPr>
        <p:spPr>
          <a:xfrm>
            <a:off x="890164" y="1703070"/>
            <a:ext cx="1458713" cy="2548890"/>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4177031805"/>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Project on Device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3" name="Picture Placeholder 3"/>
          <p:cNvSpPr>
            <a:spLocks noGrp="1"/>
          </p:cNvSpPr>
          <p:nvPr>
            <p:ph type="pic" sz="quarter" idx="11"/>
          </p:nvPr>
        </p:nvSpPr>
        <p:spPr>
          <a:xfrm>
            <a:off x="7852767" y="1493056"/>
            <a:ext cx="584002" cy="1025129"/>
          </a:xfrm>
          <a:solidFill>
            <a:schemeClr val="tx2">
              <a:lumMod val="85000"/>
            </a:schemeClr>
          </a:solidFill>
          <a:ln w="6350">
            <a:noFill/>
          </a:ln>
        </p:spPr>
        <p:txBody>
          <a:bodyPr anchor="ctr" anchorCtr="0"/>
          <a:lstStyle>
            <a:lvl1pPr algn="ctr">
              <a:defRPr/>
            </a:lvl1pPr>
          </a:lstStyle>
          <a:p>
            <a:endParaRPr lang="en-US" dirty="0"/>
          </a:p>
        </p:txBody>
      </p:sp>
      <p:sp>
        <p:nvSpPr>
          <p:cNvPr id="20" name="Picture Placeholder 3"/>
          <p:cNvSpPr>
            <a:spLocks noGrp="1"/>
          </p:cNvSpPr>
          <p:nvPr>
            <p:ph type="pic" sz="quarter" idx="10"/>
          </p:nvPr>
        </p:nvSpPr>
        <p:spPr>
          <a:xfrm>
            <a:off x="5189216" y="2975385"/>
            <a:ext cx="1158009" cy="1550909"/>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2604092233"/>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Image Left">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94123" y="1200167"/>
            <a:ext cx="3977878" cy="3428985"/>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515751227"/>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Image Right">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20" name="Picture Placeholder 3"/>
          <p:cNvSpPr>
            <a:spLocks noGrp="1"/>
          </p:cNvSpPr>
          <p:nvPr>
            <p:ph type="pic" sz="quarter" idx="10"/>
          </p:nvPr>
        </p:nvSpPr>
        <p:spPr>
          <a:xfrm>
            <a:off x="4571721" y="1200167"/>
            <a:ext cx="3977878" cy="3428985"/>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3127726702"/>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Text with Image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94123" y="2571750"/>
            <a:ext cx="3977878" cy="2057400"/>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2362151661"/>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Text with Image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571721" y="1405905"/>
            <a:ext cx="3977878" cy="2331694"/>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2109456566"/>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Instagram">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2" name="Group 1"/>
          <p:cNvGrpSpPr>
            <a:grpSpLocks noChangeAspect="1"/>
          </p:cNvGrpSpPr>
          <p:nvPr userDrawn="1"/>
        </p:nvGrpSpPr>
        <p:grpSpPr>
          <a:xfrm>
            <a:off x="182880" y="968119"/>
            <a:ext cx="8778240" cy="3072690"/>
            <a:chOff x="2719388" y="2247900"/>
            <a:chExt cx="6748462" cy="2362200"/>
          </a:xfrm>
          <a:solidFill>
            <a:schemeClr val="tx2">
              <a:lumMod val="85000"/>
            </a:schemeClr>
          </a:solidFill>
        </p:grpSpPr>
        <p:sp>
          <p:nvSpPr>
            <p:cNvPr id="3" name="Freeform 5"/>
            <p:cNvSpPr>
              <a:spLocks/>
            </p:cNvSpPr>
            <p:nvPr/>
          </p:nvSpPr>
          <p:spPr bwMode="auto">
            <a:xfrm>
              <a:off x="5416550" y="3241675"/>
              <a:ext cx="74613" cy="4763"/>
            </a:xfrm>
            <a:custGeom>
              <a:avLst/>
              <a:gdLst>
                <a:gd name="T0" fmla="*/ 20 w 20"/>
                <a:gd name="T1" fmla="*/ 0 h 1"/>
                <a:gd name="T2" fmla="*/ 0 w 20"/>
                <a:gd name="T3" fmla="*/ 1 h 1"/>
                <a:gd name="T4" fmla="*/ 20 w 20"/>
                <a:gd name="T5" fmla="*/ 0 h 1"/>
              </a:gdLst>
              <a:ahLst/>
              <a:cxnLst>
                <a:cxn ang="0">
                  <a:pos x="T0" y="T1"/>
                </a:cxn>
                <a:cxn ang="0">
                  <a:pos x="T2" y="T3"/>
                </a:cxn>
                <a:cxn ang="0">
                  <a:pos x="T4" y="T5"/>
                </a:cxn>
              </a:cxnLst>
              <a:rect l="0" t="0" r="r" b="b"/>
              <a:pathLst>
                <a:path w="20" h="1">
                  <a:moveTo>
                    <a:pt x="20" y="0"/>
                  </a:moveTo>
                  <a:cubicBezTo>
                    <a:pt x="14" y="0"/>
                    <a:pt x="6" y="0"/>
                    <a:pt x="0" y="1"/>
                  </a:cubicBezTo>
                  <a:cubicBezTo>
                    <a:pt x="6" y="1"/>
                    <a:pt x="14" y="0"/>
                    <a:pt x="2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 name="Freeform 6"/>
            <p:cNvSpPr>
              <a:spLocks/>
            </p:cNvSpPr>
            <p:nvPr/>
          </p:nvSpPr>
          <p:spPr bwMode="auto">
            <a:xfrm>
              <a:off x="5311775" y="3389313"/>
              <a:ext cx="44450" cy="46038"/>
            </a:xfrm>
            <a:custGeom>
              <a:avLst/>
              <a:gdLst>
                <a:gd name="T0" fmla="*/ 0 w 12"/>
                <a:gd name="T1" fmla="*/ 0 h 12"/>
                <a:gd name="T2" fmla="*/ 12 w 12"/>
                <a:gd name="T3" fmla="*/ 12 h 12"/>
                <a:gd name="T4" fmla="*/ 0 w 12"/>
                <a:gd name="T5" fmla="*/ 0 h 12"/>
              </a:gdLst>
              <a:ahLst/>
              <a:cxnLst>
                <a:cxn ang="0">
                  <a:pos x="T0" y="T1"/>
                </a:cxn>
                <a:cxn ang="0">
                  <a:pos x="T2" y="T3"/>
                </a:cxn>
                <a:cxn ang="0">
                  <a:pos x="T4" y="T5"/>
                </a:cxn>
              </a:cxnLst>
              <a:rect l="0" t="0" r="r" b="b"/>
              <a:pathLst>
                <a:path w="12" h="12">
                  <a:moveTo>
                    <a:pt x="0" y="0"/>
                  </a:moveTo>
                  <a:cubicBezTo>
                    <a:pt x="4" y="4"/>
                    <a:pt x="8" y="8"/>
                    <a:pt x="12" y="12"/>
                  </a:cubicBezTo>
                  <a:cubicBezTo>
                    <a:pt x="8" y="8"/>
                    <a:pt x="4"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 name="Oval 7"/>
            <p:cNvSpPr>
              <a:spLocks noChangeArrowheads="1"/>
            </p:cNvSpPr>
            <p:nvPr/>
          </p:nvSpPr>
          <p:spPr bwMode="auto">
            <a:xfrm>
              <a:off x="4608513" y="3027363"/>
              <a:ext cx="117475" cy="112713"/>
            </a:xfrm>
            <a:prstGeom prst="ellipse">
              <a:avLst/>
            </a:pr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 name="Freeform 8"/>
            <p:cNvSpPr>
              <a:spLocks noEditPoints="1"/>
            </p:cNvSpPr>
            <p:nvPr/>
          </p:nvSpPr>
          <p:spPr bwMode="auto">
            <a:xfrm>
              <a:off x="7437438" y="3773488"/>
              <a:ext cx="720725" cy="381000"/>
            </a:xfrm>
            <a:custGeom>
              <a:avLst/>
              <a:gdLst>
                <a:gd name="T0" fmla="*/ 78 w 192"/>
                <a:gd name="T1" fmla="*/ 24 h 101"/>
                <a:gd name="T2" fmla="*/ 80 w 192"/>
                <a:gd name="T3" fmla="*/ 24 h 101"/>
                <a:gd name="T4" fmla="*/ 86 w 192"/>
                <a:gd name="T5" fmla="*/ 32 h 101"/>
                <a:gd name="T6" fmla="*/ 65 w 192"/>
                <a:gd name="T7" fmla="*/ 74 h 101"/>
                <a:gd name="T8" fmla="*/ 65 w 192"/>
                <a:gd name="T9" fmla="*/ 74 h 101"/>
                <a:gd name="T10" fmla="*/ 54 w 192"/>
                <a:gd name="T11" fmla="*/ 75 h 101"/>
                <a:gd name="T12" fmla="*/ 52 w 192"/>
                <a:gd name="T13" fmla="*/ 77 h 101"/>
                <a:gd name="T14" fmla="*/ 14 w 192"/>
                <a:gd name="T15" fmla="*/ 43 h 101"/>
                <a:gd name="T16" fmla="*/ 15 w 192"/>
                <a:gd name="T17" fmla="*/ 39 h 101"/>
                <a:gd name="T18" fmla="*/ 96 w 192"/>
                <a:gd name="T19" fmla="*/ 0 h 101"/>
                <a:gd name="T20" fmla="*/ 78 w 192"/>
                <a:gd name="T21" fmla="*/ 19 h 101"/>
                <a:gd name="T22" fmla="*/ 15 w 192"/>
                <a:gd name="T23" fmla="*/ 37 h 101"/>
                <a:gd name="T24" fmla="*/ 15 w 192"/>
                <a:gd name="T25" fmla="*/ 37 h 101"/>
                <a:gd name="T26" fmla="*/ 10 w 192"/>
                <a:gd name="T27" fmla="*/ 33 h 101"/>
                <a:gd name="T28" fmla="*/ 13 w 192"/>
                <a:gd name="T29" fmla="*/ 9 h 101"/>
                <a:gd name="T30" fmla="*/ 8 w 192"/>
                <a:gd name="T31" fmla="*/ 33 h 101"/>
                <a:gd name="T32" fmla="*/ 2 w 192"/>
                <a:gd name="T33" fmla="*/ 42 h 101"/>
                <a:gd name="T34" fmla="*/ 11 w 192"/>
                <a:gd name="T35" fmla="*/ 45 h 101"/>
                <a:gd name="T36" fmla="*/ 12 w 192"/>
                <a:gd name="T37" fmla="*/ 45 h 101"/>
                <a:gd name="T38" fmla="*/ 49 w 192"/>
                <a:gd name="T39" fmla="*/ 79 h 101"/>
                <a:gd name="T40" fmla="*/ 48 w 192"/>
                <a:gd name="T41" fmla="*/ 93 h 101"/>
                <a:gd name="T42" fmla="*/ 66 w 192"/>
                <a:gd name="T43" fmla="*/ 99 h 101"/>
                <a:gd name="T44" fmla="*/ 69 w 192"/>
                <a:gd name="T45" fmla="*/ 76 h 101"/>
                <a:gd name="T46" fmla="*/ 91 w 192"/>
                <a:gd name="T47" fmla="*/ 34 h 101"/>
                <a:gd name="T48" fmla="*/ 91 w 192"/>
                <a:gd name="T49" fmla="*/ 34 h 101"/>
                <a:gd name="T50" fmla="*/ 104 w 192"/>
                <a:gd name="T51" fmla="*/ 33 h 101"/>
                <a:gd name="T52" fmla="*/ 109 w 192"/>
                <a:gd name="T53" fmla="*/ 30 h 101"/>
                <a:gd name="T54" fmla="*/ 178 w 192"/>
                <a:gd name="T55" fmla="*/ 78 h 101"/>
                <a:gd name="T56" fmla="*/ 178 w 192"/>
                <a:gd name="T57" fmla="*/ 83 h 101"/>
                <a:gd name="T58" fmla="*/ 187 w 192"/>
                <a:gd name="T59" fmla="*/ 87 h 101"/>
                <a:gd name="T60" fmla="*/ 184 w 192"/>
                <a:gd name="T61" fmla="*/ 74 h 101"/>
                <a:gd name="T62" fmla="*/ 179 w 192"/>
                <a:gd name="T63" fmla="*/ 76 h 101"/>
                <a:gd name="T64" fmla="*/ 179 w 192"/>
                <a:gd name="T65" fmla="*/ 76 h 101"/>
                <a:gd name="T66" fmla="*/ 112 w 192"/>
                <a:gd name="T67" fmla="*/ 26 h 101"/>
                <a:gd name="T68" fmla="*/ 96 w 192"/>
                <a:gd name="T6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01">
                  <a:moveTo>
                    <a:pt x="15" y="39"/>
                  </a:moveTo>
                  <a:cubicBezTo>
                    <a:pt x="15" y="38"/>
                    <a:pt x="68" y="24"/>
                    <a:pt x="78" y="24"/>
                  </a:cubicBezTo>
                  <a:cubicBezTo>
                    <a:pt x="79" y="24"/>
                    <a:pt x="80" y="24"/>
                    <a:pt x="80" y="24"/>
                  </a:cubicBezTo>
                  <a:cubicBezTo>
                    <a:pt x="80" y="24"/>
                    <a:pt x="80" y="24"/>
                    <a:pt x="80" y="24"/>
                  </a:cubicBezTo>
                  <a:cubicBezTo>
                    <a:pt x="80" y="25"/>
                    <a:pt x="80" y="25"/>
                    <a:pt x="80" y="25"/>
                  </a:cubicBezTo>
                  <a:cubicBezTo>
                    <a:pt x="81" y="28"/>
                    <a:pt x="84" y="30"/>
                    <a:pt x="86" y="32"/>
                  </a:cubicBezTo>
                  <a:cubicBezTo>
                    <a:pt x="86" y="31"/>
                    <a:pt x="86" y="31"/>
                    <a:pt x="86" y="31"/>
                  </a:cubicBezTo>
                  <a:cubicBezTo>
                    <a:pt x="89" y="33"/>
                    <a:pt x="68" y="74"/>
                    <a:pt x="65" y="74"/>
                  </a:cubicBezTo>
                  <a:cubicBezTo>
                    <a:pt x="65" y="74"/>
                    <a:pt x="65" y="74"/>
                    <a:pt x="65" y="74"/>
                  </a:cubicBezTo>
                  <a:cubicBezTo>
                    <a:pt x="65" y="74"/>
                    <a:pt x="65" y="74"/>
                    <a:pt x="65" y="74"/>
                  </a:cubicBezTo>
                  <a:cubicBezTo>
                    <a:pt x="63" y="74"/>
                    <a:pt x="62" y="74"/>
                    <a:pt x="60" y="74"/>
                  </a:cubicBezTo>
                  <a:cubicBezTo>
                    <a:pt x="58" y="74"/>
                    <a:pt x="56" y="74"/>
                    <a:pt x="54" y="75"/>
                  </a:cubicBezTo>
                  <a:cubicBezTo>
                    <a:pt x="53" y="76"/>
                    <a:pt x="53" y="76"/>
                    <a:pt x="52" y="77"/>
                  </a:cubicBezTo>
                  <a:cubicBezTo>
                    <a:pt x="52" y="77"/>
                    <a:pt x="52" y="77"/>
                    <a:pt x="52" y="77"/>
                  </a:cubicBezTo>
                  <a:cubicBezTo>
                    <a:pt x="52" y="77"/>
                    <a:pt x="52" y="77"/>
                    <a:pt x="52" y="77"/>
                  </a:cubicBezTo>
                  <a:cubicBezTo>
                    <a:pt x="48" y="77"/>
                    <a:pt x="13" y="44"/>
                    <a:pt x="14" y="43"/>
                  </a:cubicBezTo>
                  <a:cubicBezTo>
                    <a:pt x="14" y="43"/>
                    <a:pt x="14" y="43"/>
                    <a:pt x="14" y="43"/>
                  </a:cubicBezTo>
                  <a:cubicBezTo>
                    <a:pt x="15" y="42"/>
                    <a:pt x="15" y="40"/>
                    <a:pt x="15" y="39"/>
                  </a:cubicBezTo>
                  <a:cubicBezTo>
                    <a:pt x="15" y="39"/>
                    <a:pt x="15" y="39"/>
                    <a:pt x="15" y="39"/>
                  </a:cubicBezTo>
                  <a:moveTo>
                    <a:pt x="96" y="0"/>
                  </a:moveTo>
                  <a:cubicBezTo>
                    <a:pt x="94" y="0"/>
                    <a:pt x="91" y="1"/>
                    <a:pt x="89" y="2"/>
                  </a:cubicBezTo>
                  <a:cubicBezTo>
                    <a:pt x="81" y="5"/>
                    <a:pt x="78" y="12"/>
                    <a:pt x="78" y="19"/>
                  </a:cubicBezTo>
                  <a:cubicBezTo>
                    <a:pt x="78" y="19"/>
                    <a:pt x="78" y="19"/>
                    <a:pt x="78" y="19"/>
                  </a:cubicBezTo>
                  <a:cubicBezTo>
                    <a:pt x="79" y="23"/>
                    <a:pt x="20" y="37"/>
                    <a:pt x="15" y="37"/>
                  </a:cubicBezTo>
                  <a:cubicBezTo>
                    <a:pt x="15" y="37"/>
                    <a:pt x="15" y="37"/>
                    <a:pt x="15" y="37"/>
                  </a:cubicBezTo>
                  <a:cubicBezTo>
                    <a:pt x="15" y="37"/>
                    <a:pt x="15" y="37"/>
                    <a:pt x="15" y="37"/>
                  </a:cubicBezTo>
                  <a:cubicBezTo>
                    <a:pt x="14" y="37"/>
                    <a:pt x="14" y="37"/>
                    <a:pt x="14" y="37"/>
                  </a:cubicBezTo>
                  <a:cubicBezTo>
                    <a:pt x="14" y="35"/>
                    <a:pt x="12" y="34"/>
                    <a:pt x="10" y="33"/>
                  </a:cubicBezTo>
                  <a:cubicBezTo>
                    <a:pt x="10" y="33"/>
                    <a:pt x="10" y="33"/>
                    <a:pt x="10" y="33"/>
                  </a:cubicBezTo>
                  <a:cubicBezTo>
                    <a:pt x="10" y="33"/>
                    <a:pt x="11" y="22"/>
                    <a:pt x="13" y="9"/>
                  </a:cubicBezTo>
                  <a:cubicBezTo>
                    <a:pt x="11" y="22"/>
                    <a:pt x="9" y="33"/>
                    <a:pt x="8" y="33"/>
                  </a:cubicBezTo>
                  <a:cubicBezTo>
                    <a:pt x="8" y="33"/>
                    <a:pt x="8" y="33"/>
                    <a:pt x="8" y="33"/>
                  </a:cubicBezTo>
                  <a:cubicBezTo>
                    <a:pt x="7" y="33"/>
                    <a:pt x="6" y="33"/>
                    <a:pt x="5" y="34"/>
                  </a:cubicBezTo>
                  <a:cubicBezTo>
                    <a:pt x="2" y="35"/>
                    <a:pt x="0" y="39"/>
                    <a:pt x="2" y="42"/>
                  </a:cubicBezTo>
                  <a:cubicBezTo>
                    <a:pt x="3" y="45"/>
                    <a:pt x="6" y="46"/>
                    <a:pt x="8" y="46"/>
                  </a:cubicBezTo>
                  <a:cubicBezTo>
                    <a:pt x="9" y="46"/>
                    <a:pt x="10" y="46"/>
                    <a:pt x="11" y="45"/>
                  </a:cubicBezTo>
                  <a:cubicBezTo>
                    <a:pt x="12" y="45"/>
                    <a:pt x="12" y="45"/>
                    <a:pt x="12" y="45"/>
                  </a:cubicBezTo>
                  <a:cubicBezTo>
                    <a:pt x="12" y="45"/>
                    <a:pt x="12" y="45"/>
                    <a:pt x="12" y="45"/>
                  </a:cubicBezTo>
                  <a:cubicBezTo>
                    <a:pt x="12" y="45"/>
                    <a:pt x="12" y="45"/>
                    <a:pt x="12" y="45"/>
                  </a:cubicBezTo>
                  <a:cubicBezTo>
                    <a:pt x="14" y="45"/>
                    <a:pt x="51" y="77"/>
                    <a:pt x="49" y="79"/>
                  </a:cubicBezTo>
                  <a:cubicBezTo>
                    <a:pt x="49" y="79"/>
                    <a:pt x="49" y="79"/>
                    <a:pt x="49" y="79"/>
                  </a:cubicBezTo>
                  <a:cubicBezTo>
                    <a:pt x="46" y="83"/>
                    <a:pt x="46" y="88"/>
                    <a:pt x="48" y="93"/>
                  </a:cubicBezTo>
                  <a:cubicBezTo>
                    <a:pt x="50" y="98"/>
                    <a:pt x="55" y="101"/>
                    <a:pt x="60" y="101"/>
                  </a:cubicBezTo>
                  <a:cubicBezTo>
                    <a:pt x="62" y="101"/>
                    <a:pt x="65" y="100"/>
                    <a:pt x="66" y="99"/>
                  </a:cubicBezTo>
                  <a:cubicBezTo>
                    <a:pt x="73" y="96"/>
                    <a:pt x="76" y="88"/>
                    <a:pt x="73" y="81"/>
                  </a:cubicBezTo>
                  <a:cubicBezTo>
                    <a:pt x="72" y="79"/>
                    <a:pt x="70" y="78"/>
                    <a:pt x="69" y="76"/>
                  </a:cubicBezTo>
                  <a:cubicBezTo>
                    <a:pt x="69" y="76"/>
                    <a:pt x="69" y="76"/>
                    <a:pt x="69" y="76"/>
                  </a:cubicBezTo>
                  <a:cubicBezTo>
                    <a:pt x="66" y="75"/>
                    <a:pt x="87" y="34"/>
                    <a:pt x="91" y="34"/>
                  </a:cubicBezTo>
                  <a:cubicBezTo>
                    <a:pt x="91" y="34"/>
                    <a:pt x="91" y="34"/>
                    <a:pt x="91" y="34"/>
                  </a:cubicBezTo>
                  <a:cubicBezTo>
                    <a:pt x="91" y="34"/>
                    <a:pt x="91" y="34"/>
                    <a:pt x="91" y="34"/>
                  </a:cubicBezTo>
                  <a:cubicBezTo>
                    <a:pt x="92" y="34"/>
                    <a:pt x="94" y="35"/>
                    <a:pt x="96" y="35"/>
                  </a:cubicBezTo>
                  <a:cubicBezTo>
                    <a:pt x="99" y="35"/>
                    <a:pt x="101" y="34"/>
                    <a:pt x="104" y="33"/>
                  </a:cubicBezTo>
                  <a:cubicBezTo>
                    <a:pt x="106" y="32"/>
                    <a:pt x="107" y="31"/>
                    <a:pt x="109" y="29"/>
                  </a:cubicBezTo>
                  <a:cubicBezTo>
                    <a:pt x="109" y="30"/>
                    <a:pt x="109" y="30"/>
                    <a:pt x="109" y="30"/>
                  </a:cubicBezTo>
                  <a:cubicBezTo>
                    <a:pt x="109" y="30"/>
                    <a:pt x="109" y="29"/>
                    <a:pt x="109" y="29"/>
                  </a:cubicBezTo>
                  <a:cubicBezTo>
                    <a:pt x="115" y="29"/>
                    <a:pt x="179" y="76"/>
                    <a:pt x="178" y="78"/>
                  </a:cubicBezTo>
                  <a:cubicBezTo>
                    <a:pt x="178" y="78"/>
                    <a:pt x="178" y="78"/>
                    <a:pt x="178" y="78"/>
                  </a:cubicBezTo>
                  <a:cubicBezTo>
                    <a:pt x="177" y="79"/>
                    <a:pt x="177" y="82"/>
                    <a:pt x="178" y="83"/>
                  </a:cubicBezTo>
                  <a:cubicBezTo>
                    <a:pt x="179" y="86"/>
                    <a:pt x="182" y="87"/>
                    <a:pt x="184" y="87"/>
                  </a:cubicBezTo>
                  <a:cubicBezTo>
                    <a:pt x="185" y="87"/>
                    <a:pt x="186" y="87"/>
                    <a:pt x="187" y="87"/>
                  </a:cubicBezTo>
                  <a:cubicBezTo>
                    <a:pt x="191" y="85"/>
                    <a:pt x="192" y="81"/>
                    <a:pt x="190" y="78"/>
                  </a:cubicBezTo>
                  <a:cubicBezTo>
                    <a:pt x="189" y="75"/>
                    <a:pt x="187" y="74"/>
                    <a:pt x="184" y="74"/>
                  </a:cubicBezTo>
                  <a:cubicBezTo>
                    <a:pt x="183" y="74"/>
                    <a:pt x="182" y="74"/>
                    <a:pt x="181" y="75"/>
                  </a:cubicBezTo>
                  <a:cubicBezTo>
                    <a:pt x="181" y="75"/>
                    <a:pt x="180" y="75"/>
                    <a:pt x="179" y="76"/>
                  </a:cubicBezTo>
                  <a:cubicBezTo>
                    <a:pt x="179" y="76"/>
                    <a:pt x="179" y="76"/>
                    <a:pt x="179" y="76"/>
                  </a:cubicBezTo>
                  <a:cubicBezTo>
                    <a:pt x="179" y="76"/>
                    <a:pt x="179" y="76"/>
                    <a:pt x="179" y="76"/>
                  </a:cubicBezTo>
                  <a:cubicBezTo>
                    <a:pt x="177" y="76"/>
                    <a:pt x="110" y="29"/>
                    <a:pt x="112" y="26"/>
                  </a:cubicBezTo>
                  <a:cubicBezTo>
                    <a:pt x="112" y="26"/>
                    <a:pt x="112" y="26"/>
                    <a:pt x="112" y="26"/>
                  </a:cubicBezTo>
                  <a:cubicBezTo>
                    <a:pt x="115" y="21"/>
                    <a:pt x="115" y="15"/>
                    <a:pt x="112" y="10"/>
                  </a:cubicBezTo>
                  <a:cubicBezTo>
                    <a:pt x="109" y="4"/>
                    <a:pt x="103" y="0"/>
                    <a:pt x="96"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 name="Freeform 9"/>
            <p:cNvSpPr>
              <a:spLocks noEditPoints="1"/>
            </p:cNvSpPr>
            <p:nvPr/>
          </p:nvSpPr>
          <p:spPr bwMode="auto">
            <a:xfrm>
              <a:off x="6915150" y="2703513"/>
              <a:ext cx="2552700" cy="1103313"/>
            </a:xfrm>
            <a:custGeom>
              <a:avLst/>
              <a:gdLst>
                <a:gd name="T0" fmla="*/ 305 w 680"/>
                <a:gd name="T1" fmla="*/ 180 h 293"/>
                <a:gd name="T2" fmla="*/ 476 w 680"/>
                <a:gd name="T3" fmla="*/ 198 h 293"/>
                <a:gd name="T4" fmla="*/ 671 w 680"/>
                <a:gd name="T5" fmla="*/ 164 h 293"/>
                <a:gd name="T6" fmla="*/ 639 w 680"/>
                <a:gd name="T7" fmla="*/ 163 h 293"/>
                <a:gd name="T8" fmla="*/ 176 w 680"/>
                <a:gd name="T9" fmla="*/ 124 h 293"/>
                <a:gd name="T10" fmla="*/ 137 w 680"/>
                <a:gd name="T11" fmla="*/ 142 h 293"/>
                <a:gd name="T12" fmla="*/ 210 w 680"/>
                <a:gd name="T13" fmla="*/ 112 h 293"/>
                <a:gd name="T14" fmla="*/ 209 w 680"/>
                <a:gd name="T15" fmla="*/ 112 h 293"/>
                <a:gd name="T16" fmla="*/ 302 w 680"/>
                <a:gd name="T17" fmla="*/ 177 h 293"/>
                <a:gd name="T18" fmla="*/ 501 w 680"/>
                <a:gd name="T19" fmla="*/ 103 h 293"/>
                <a:gd name="T20" fmla="*/ 447 w 680"/>
                <a:gd name="T21" fmla="*/ 82 h 293"/>
                <a:gd name="T22" fmla="*/ 431 w 680"/>
                <a:gd name="T23" fmla="*/ 75 h 293"/>
                <a:gd name="T24" fmla="*/ 272 w 680"/>
                <a:gd name="T25" fmla="*/ 100 h 293"/>
                <a:gd name="T26" fmla="*/ 176 w 680"/>
                <a:gd name="T27" fmla="*/ 124 h 293"/>
                <a:gd name="T28" fmla="*/ 165 w 680"/>
                <a:gd name="T29" fmla="*/ 74 h 293"/>
                <a:gd name="T30" fmla="*/ 209 w 680"/>
                <a:gd name="T31" fmla="*/ 110 h 293"/>
                <a:gd name="T32" fmla="*/ 1 w 680"/>
                <a:gd name="T33" fmla="*/ 9 h 293"/>
                <a:gd name="T34" fmla="*/ 112 w 680"/>
                <a:gd name="T35" fmla="*/ 136 h 293"/>
                <a:gd name="T36" fmla="*/ 172 w 680"/>
                <a:gd name="T37" fmla="*/ 142 h 293"/>
                <a:gd name="T38" fmla="*/ 187 w 680"/>
                <a:gd name="T39" fmla="*/ 142 h 293"/>
                <a:gd name="T40" fmla="*/ 251 w 680"/>
                <a:gd name="T41" fmla="*/ 143 h 293"/>
                <a:gd name="T42" fmla="*/ 266 w 680"/>
                <a:gd name="T43" fmla="*/ 103 h 293"/>
                <a:gd name="T44" fmla="*/ 298 w 680"/>
                <a:gd name="T45" fmla="*/ 202 h 293"/>
                <a:gd name="T46" fmla="*/ 361 w 680"/>
                <a:gd name="T47" fmla="*/ 264 h 293"/>
                <a:gd name="T48" fmla="*/ 313 w 680"/>
                <a:gd name="T49" fmla="*/ 172 h 293"/>
                <a:gd name="T50" fmla="*/ 443 w 680"/>
                <a:gd name="T51" fmla="*/ 83 h 293"/>
                <a:gd name="T52" fmla="*/ 364 w 680"/>
                <a:gd name="T53" fmla="*/ 184 h 293"/>
                <a:gd name="T54" fmla="*/ 399 w 680"/>
                <a:gd name="T55" fmla="*/ 155 h 293"/>
                <a:gd name="T56" fmla="*/ 358 w 680"/>
                <a:gd name="T57" fmla="*/ 180 h 293"/>
                <a:gd name="T58" fmla="*/ 430 w 680"/>
                <a:gd name="T59" fmla="*/ 184 h 293"/>
                <a:gd name="T60" fmla="*/ 436 w 680"/>
                <a:gd name="T61" fmla="*/ 180 h 293"/>
                <a:gd name="T62" fmla="*/ 469 w 680"/>
                <a:gd name="T63" fmla="*/ 199 h 293"/>
                <a:gd name="T64" fmla="*/ 518 w 680"/>
                <a:gd name="T65" fmla="*/ 271 h 293"/>
                <a:gd name="T66" fmla="*/ 522 w 680"/>
                <a:gd name="T67" fmla="*/ 268 h 293"/>
                <a:gd name="T68" fmla="*/ 480 w 680"/>
                <a:gd name="T69" fmla="*/ 199 h 293"/>
                <a:gd name="T70" fmla="*/ 548 w 680"/>
                <a:gd name="T71" fmla="*/ 166 h 293"/>
                <a:gd name="T72" fmla="*/ 585 w 680"/>
                <a:gd name="T73" fmla="*/ 189 h 293"/>
                <a:gd name="T74" fmla="*/ 586 w 680"/>
                <a:gd name="T75" fmla="*/ 184 h 293"/>
                <a:gd name="T76" fmla="*/ 586 w 680"/>
                <a:gd name="T77" fmla="*/ 135 h 293"/>
                <a:gd name="T78" fmla="*/ 593 w 680"/>
                <a:gd name="T79" fmla="*/ 135 h 293"/>
                <a:gd name="T80" fmla="*/ 639 w 680"/>
                <a:gd name="T81" fmla="*/ 165 h 293"/>
                <a:gd name="T82" fmla="*/ 593 w 680"/>
                <a:gd name="T83" fmla="*/ 258 h 293"/>
                <a:gd name="T84" fmla="*/ 592 w 680"/>
                <a:gd name="T85" fmla="*/ 270 h 293"/>
                <a:gd name="T86" fmla="*/ 675 w 680"/>
                <a:gd name="T87" fmla="*/ 169 h 293"/>
                <a:gd name="T88" fmla="*/ 671 w 680"/>
                <a:gd name="T89" fmla="*/ 163 h 293"/>
                <a:gd name="T90" fmla="*/ 585 w 680"/>
                <a:gd name="T91" fmla="*/ 134 h 293"/>
                <a:gd name="T92" fmla="*/ 541 w 680"/>
                <a:gd name="T93" fmla="*/ 159 h 293"/>
                <a:gd name="T94" fmla="*/ 519 w 680"/>
                <a:gd name="T95" fmla="*/ 102 h 293"/>
                <a:gd name="T96" fmla="*/ 454 w 680"/>
                <a:gd name="T97" fmla="*/ 75 h 293"/>
                <a:gd name="T98" fmla="*/ 277 w 680"/>
                <a:gd name="T99" fmla="*/ 88 h 293"/>
                <a:gd name="T100" fmla="*/ 260 w 680"/>
                <a:gd name="T101" fmla="*/ 102 h 293"/>
                <a:gd name="T102" fmla="*/ 245 w 680"/>
                <a:gd name="T103" fmla="*/ 146 h 293"/>
                <a:gd name="T104" fmla="*/ 211 w 680"/>
                <a:gd name="T105" fmla="*/ 113 h 293"/>
                <a:gd name="T106" fmla="*/ 211 w 680"/>
                <a:gd name="T107" fmla="*/ 105 h 293"/>
                <a:gd name="T108" fmla="*/ 168 w 680"/>
                <a:gd name="T109" fmla="*/ 55 h 293"/>
                <a:gd name="T110" fmla="*/ 122 w 680"/>
                <a:gd name="T111" fmla="*/ 132 h 293"/>
                <a:gd name="T112" fmla="*/ 115 w 680"/>
                <a:gd name="T113" fmla="*/ 133 h 293"/>
                <a:gd name="T114" fmla="*/ 98 w 680"/>
                <a:gd name="T115" fmla="*/ 90 h 293"/>
                <a:gd name="T116" fmla="*/ 102 w 680"/>
                <a:gd name="T117" fmla="*/ 84 h 293"/>
                <a:gd name="T118" fmla="*/ 13 w 680"/>
                <a:gd name="T119" fmla="*/ 1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0" h="293">
                  <a:moveTo>
                    <a:pt x="305" y="180"/>
                  </a:moveTo>
                  <a:cubicBezTo>
                    <a:pt x="304" y="180"/>
                    <a:pt x="307" y="177"/>
                    <a:pt x="313" y="173"/>
                  </a:cubicBezTo>
                  <a:cubicBezTo>
                    <a:pt x="333" y="207"/>
                    <a:pt x="354" y="243"/>
                    <a:pt x="355" y="247"/>
                  </a:cubicBezTo>
                  <a:cubicBezTo>
                    <a:pt x="350" y="244"/>
                    <a:pt x="302" y="199"/>
                    <a:pt x="304" y="197"/>
                  </a:cubicBezTo>
                  <a:cubicBezTo>
                    <a:pt x="304" y="197"/>
                    <a:pt x="304" y="197"/>
                    <a:pt x="304" y="197"/>
                  </a:cubicBezTo>
                  <a:cubicBezTo>
                    <a:pt x="307" y="193"/>
                    <a:pt x="308" y="187"/>
                    <a:pt x="305" y="182"/>
                  </a:cubicBezTo>
                  <a:cubicBezTo>
                    <a:pt x="305" y="181"/>
                    <a:pt x="305" y="181"/>
                    <a:pt x="305" y="180"/>
                  </a:cubicBezTo>
                  <a:cubicBezTo>
                    <a:pt x="305" y="180"/>
                    <a:pt x="305" y="180"/>
                    <a:pt x="305" y="180"/>
                  </a:cubicBezTo>
                  <a:moveTo>
                    <a:pt x="473" y="198"/>
                  </a:moveTo>
                  <a:cubicBezTo>
                    <a:pt x="472" y="198"/>
                    <a:pt x="469" y="187"/>
                    <a:pt x="465" y="171"/>
                  </a:cubicBezTo>
                  <a:cubicBezTo>
                    <a:pt x="473" y="170"/>
                    <a:pt x="481" y="169"/>
                    <a:pt x="489" y="168"/>
                  </a:cubicBezTo>
                  <a:cubicBezTo>
                    <a:pt x="483" y="184"/>
                    <a:pt x="477" y="198"/>
                    <a:pt x="476" y="198"/>
                  </a:cubicBezTo>
                  <a:cubicBezTo>
                    <a:pt x="476" y="198"/>
                    <a:pt x="476" y="198"/>
                    <a:pt x="476" y="198"/>
                  </a:cubicBezTo>
                  <a:cubicBezTo>
                    <a:pt x="476" y="198"/>
                    <a:pt x="476" y="198"/>
                    <a:pt x="476" y="198"/>
                  </a:cubicBezTo>
                  <a:cubicBezTo>
                    <a:pt x="475" y="198"/>
                    <a:pt x="475" y="198"/>
                    <a:pt x="474" y="198"/>
                  </a:cubicBezTo>
                  <a:cubicBezTo>
                    <a:pt x="473" y="198"/>
                    <a:pt x="473" y="198"/>
                    <a:pt x="473" y="198"/>
                  </a:cubicBezTo>
                  <a:cubicBezTo>
                    <a:pt x="473" y="198"/>
                    <a:pt x="473" y="198"/>
                    <a:pt x="473" y="198"/>
                  </a:cubicBezTo>
                  <a:cubicBezTo>
                    <a:pt x="473" y="198"/>
                    <a:pt x="473" y="198"/>
                    <a:pt x="473" y="198"/>
                  </a:cubicBezTo>
                  <a:moveTo>
                    <a:pt x="632" y="162"/>
                  </a:moveTo>
                  <a:cubicBezTo>
                    <a:pt x="631" y="162"/>
                    <a:pt x="596" y="137"/>
                    <a:pt x="594" y="134"/>
                  </a:cubicBezTo>
                  <a:cubicBezTo>
                    <a:pt x="598" y="135"/>
                    <a:pt x="671" y="163"/>
                    <a:pt x="671" y="164"/>
                  </a:cubicBezTo>
                  <a:cubicBezTo>
                    <a:pt x="671" y="164"/>
                    <a:pt x="671" y="164"/>
                    <a:pt x="671" y="164"/>
                  </a:cubicBezTo>
                  <a:cubicBezTo>
                    <a:pt x="671" y="164"/>
                    <a:pt x="671" y="164"/>
                    <a:pt x="671" y="164"/>
                  </a:cubicBezTo>
                  <a:cubicBezTo>
                    <a:pt x="671" y="164"/>
                    <a:pt x="671" y="164"/>
                    <a:pt x="671" y="164"/>
                  </a:cubicBezTo>
                  <a:cubicBezTo>
                    <a:pt x="671" y="164"/>
                    <a:pt x="663" y="165"/>
                    <a:pt x="655" y="165"/>
                  </a:cubicBezTo>
                  <a:cubicBezTo>
                    <a:pt x="647" y="165"/>
                    <a:pt x="639" y="164"/>
                    <a:pt x="639" y="164"/>
                  </a:cubicBezTo>
                  <a:cubicBezTo>
                    <a:pt x="639" y="164"/>
                    <a:pt x="639" y="164"/>
                    <a:pt x="639" y="164"/>
                  </a:cubicBezTo>
                  <a:cubicBezTo>
                    <a:pt x="639" y="164"/>
                    <a:pt x="639" y="163"/>
                    <a:pt x="639" y="163"/>
                  </a:cubicBezTo>
                  <a:cubicBezTo>
                    <a:pt x="638" y="162"/>
                    <a:pt x="636" y="161"/>
                    <a:pt x="635" y="161"/>
                  </a:cubicBezTo>
                  <a:cubicBezTo>
                    <a:pt x="634" y="161"/>
                    <a:pt x="634" y="161"/>
                    <a:pt x="633" y="161"/>
                  </a:cubicBezTo>
                  <a:cubicBezTo>
                    <a:pt x="633" y="161"/>
                    <a:pt x="632" y="162"/>
                    <a:pt x="632" y="162"/>
                  </a:cubicBezTo>
                  <a:cubicBezTo>
                    <a:pt x="632" y="162"/>
                    <a:pt x="632" y="162"/>
                    <a:pt x="632" y="162"/>
                  </a:cubicBezTo>
                  <a:cubicBezTo>
                    <a:pt x="632" y="162"/>
                    <a:pt x="632" y="162"/>
                    <a:pt x="632" y="162"/>
                  </a:cubicBezTo>
                  <a:moveTo>
                    <a:pt x="137" y="142"/>
                  </a:moveTo>
                  <a:cubicBezTo>
                    <a:pt x="136" y="141"/>
                    <a:pt x="157" y="132"/>
                    <a:pt x="176" y="124"/>
                  </a:cubicBezTo>
                  <a:cubicBezTo>
                    <a:pt x="176" y="130"/>
                    <a:pt x="177" y="134"/>
                    <a:pt x="176" y="134"/>
                  </a:cubicBezTo>
                  <a:cubicBezTo>
                    <a:pt x="176" y="134"/>
                    <a:pt x="176" y="134"/>
                    <a:pt x="176" y="134"/>
                  </a:cubicBezTo>
                  <a:cubicBezTo>
                    <a:pt x="175" y="134"/>
                    <a:pt x="175" y="134"/>
                    <a:pt x="175" y="134"/>
                  </a:cubicBezTo>
                  <a:cubicBezTo>
                    <a:pt x="173" y="136"/>
                    <a:pt x="172" y="138"/>
                    <a:pt x="171" y="140"/>
                  </a:cubicBezTo>
                  <a:cubicBezTo>
                    <a:pt x="171" y="140"/>
                    <a:pt x="171" y="140"/>
                    <a:pt x="171" y="140"/>
                  </a:cubicBezTo>
                  <a:cubicBezTo>
                    <a:pt x="171" y="141"/>
                    <a:pt x="152" y="143"/>
                    <a:pt x="143" y="143"/>
                  </a:cubicBezTo>
                  <a:cubicBezTo>
                    <a:pt x="139" y="143"/>
                    <a:pt x="137" y="143"/>
                    <a:pt x="137" y="142"/>
                  </a:cubicBezTo>
                  <a:cubicBezTo>
                    <a:pt x="137" y="142"/>
                    <a:pt x="137" y="142"/>
                    <a:pt x="137" y="142"/>
                  </a:cubicBezTo>
                  <a:cubicBezTo>
                    <a:pt x="137" y="142"/>
                    <a:pt x="137" y="142"/>
                    <a:pt x="137" y="142"/>
                  </a:cubicBezTo>
                  <a:cubicBezTo>
                    <a:pt x="137" y="142"/>
                    <a:pt x="137" y="142"/>
                    <a:pt x="137" y="142"/>
                  </a:cubicBezTo>
                  <a:moveTo>
                    <a:pt x="209" y="112"/>
                  </a:moveTo>
                  <a:cubicBezTo>
                    <a:pt x="209" y="112"/>
                    <a:pt x="209" y="112"/>
                    <a:pt x="209" y="112"/>
                  </a:cubicBezTo>
                  <a:cubicBezTo>
                    <a:pt x="210" y="112"/>
                    <a:pt x="210" y="112"/>
                    <a:pt x="210" y="112"/>
                  </a:cubicBezTo>
                  <a:cubicBezTo>
                    <a:pt x="210" y="112"/>
                    <a:pt x="210" y="112"/>
                    <a:pt x="210" y="112"/>
                  </a:cubicBezTo>
                  <a:cubicBezTo>
                    <a:pt x="210" y="113"/>
                    <a:pt x="185" y="135"/>
                    <a:pt x="183" y="135"/>
                  </a:cubicBezTo>
                  <a:cubicBezTo>
                    <a:pt x="183" y="135"/>
                    <a:pt x="183" y="135"/>
                    <a:pt x="183" y="135"/>
                  </a:cubicBezTo>
                  <a:cubicBezTo>
                    <a:pt x="183" y="135"/>
                    <a:pt x="183" y="135"/>
                    <a:pt x="183" y="135"/>
                  </a:cubicBezTo>
                  <a:cubicBezTo>
                    <a:pt x="181" y="134"/>
                    <a:pt x="180" y="134"/>
                    <a:pt x="178" y="134"/>
                  </a:cubicBezTo>
                  <a:cubicBezTo>
                    <a:pt x="178" y="134"/>
                    <a:pt x="178" y="134"/>
                    <a:pt x="178" y="134"/>
                  </a:cubicBezTo>
                  <a:cubicBezTo>
                    <a:pt x="178" y="134"/>
                    <a:pt x="177" y="130"/>
                    <a:pt x="176" y="124"/>
                  </a:cubicBezTo>
                  <a:cubicBezTo>
                    <a:pt x="193" y="118"/>
                    <a:pt x="208" y="112"/>
                    <a:pt x="209" y="112"/>
                  </a:cubicBezTo>
                  <a:cubicBezTo>
                    <a:pt x="209" y="112"/>
                    <a:pt x="209" y="112"/>
                    <a:pt x="209" y="112"/>
                  </a:cubicBezTo>
                  <a:moveTo>
                    <a:pt x="289" y="173"/>
                  </a:moveTo>
                  <a:cubicBezTo>
                    <a:pt x="286" y="173"/>
                    <a:pt x="269" y="109"/>
                    <a:pt x="270" y="102"/>
                  </a:cubicBezTo>
                  <a:cubicBezTo>
                    <a:pt x="273" y="106"/>
                    <a:pt x="292" y="138"/>
                    <a:pt x="312" y="171"/>
                  </a:cubicBezTo>
                  <a:cubicBezTo>
                    <a:pt x="306" y="174"/>
                    <a:pt x="302" y="177"/>
                    <a:pt x="302" y="177"/>
                  </a:cubicBezTo>
                  <a:cubicBezTo>
                    <a:pt x="302" y="177"/>
                    <a:pt x="302" y="177"/>
                    <a:pt x="302" y="177"/>
                  </a:cubicBezTo>
                  <a:cubicBezTo>
                    <a:pt x="302" y="177"/>
                    <a:pt x="302" y="177"/>
                    <a:pt x="302" y="177"/>
                  </a:cubicBezTo>
                  <a:cubicBezTo>
                    <a:pt x="299" y="174"/>
                    <a:pt x="295" y="173"/>
                    <a:pt x="291" y="173"/>
                  </a:cubicBezTo>
                  <a:cubicBezTo>
                    <a:pt x="290" y="173"/>
                    <a:pt x="290" y="173"/>
                    <a:pt x="289" y="173"/>
                  </a:cubicBezTo>
                  <a:cubicBezTo>
                    <a:pt x="289" y="173"/>
                    <a:pt x="289" y="173"/>
                    <a:pt x="289" y="173"/>
                  </a:cubicBezTo>
                  <a:cubicBezTo>
                    <a:pt x="289" y="173"/>
                    <a:pt x="289" y="173"/>
                    <a:pt x="289" y="173"/>
                  </a:cubicBezTo>
                  <a:moveTo>
                    <a:pt x="452" y="78"/>
                  </a:moveTo>
                  <a:cubicBezTo>
                    <a:pt x="452" y="78"/>
                    <a:pt x="452" y="78"/>
                    <a:pt x="453" y="78"/>
                  </a:cubicBezTo>
                  <a:cubicBezTo>
                    <a:pt x="457" y="78"/>
                    <a:pt x="501" y="101"/>
                    <a:pt x="501" y="103"/>
                  </a:cubicBezTo>
                  <a:cubicBezTo>
                    <a:pt x="501" y="103"/>
                    <a:pt x="501" y="103"/>
                    <a:pt x="501" y="103"/>
                  </a:cubicBezTo>
                  <a:cubicBezTo>
                    <a:pt x="500" y="105"/>
                    <a:pt x="500" y="108"/>
                    <a:pt x="501" y="110"/>
                  </a:cubicBezTo>
                  <a:cubicBezTo>
                    <a:pt x="502" y="112"/>
                    <a:pt x="504" y="113"/>
                    <a:pt x="506" y="114"/>
                  </a:cubicBezTo>
                  <a:cubicBezTo>
                    <a:pt x="506" y="114"/>
                    <a:pt x="506" y="114"/>
                    <a:pt x="506" y="114"/>
                  </a:cubicBezTo>
                  <a:cubicBezTo>
                    <a:pt x="507" y="115"/>
                    <a:pt x="497" y="144"/>
                    <a:pt x="489" y="168"/>
                  </a:cubicBezTo>
                  <a:cubicBezTo>
                    <a:pt x="481" y="169"/>
                    <a:pt x="473" y="170"/>
                    <a:pt x="465" y="171"/>
                  </a:cubicBezTo>
                  <a:cubicBezTo>
                    <a:pt x="457" y="137"/>
                    <a:pt x="445" y="83"/>
                    <a:pt x="447" y="82"/>
                  </a:cubicBezTo>
                  <a:cubicBezTo>
                    <a:pt x="447" y="82"/>
                    <a:pt x="447" y="82"/>
                    <a:pt x="447" y="82"/>
                  </a:cubicBezTo>
                  <a:cubicBezTo>
                    <a:pt x="448" y="82"/>
                    <a:pt x="448" y="82"/>
                    <a:pt x="448" y="82"/>
                  </a:cubicBezTo>
                  <a:cubicBezTo>
                    <a:pt x="450" y="81"/>
                    <a:pt x="451" y="80"/>
                    <a:pt x="452" y="78"/>
                  </a:cubicBezTo>
                  <a:cubicBezTo>
                    <a:pt x="452" y="78"/>
                    <a:pt x="452" y="78"/>
                    <a:pt x="452" y="78"/>
                  </a:cubicBezTo>
                  <a:moveTo>
                    <a:pt x="277" y="92"/>
                  </a:moveTo>
                  <a:cubicBezTo>
                    <a:pt x="277" y="90"/>
                    <a:pt x="413" y="74"/>
                    <a:pt x="429" y="74"/>
                  </a:cubicBezTo>
                  <a:cubicBezTo>
                    <a:pt x="431" y="74"/>
                    <a:pt x="431" y="74"/>
                    <a:pt x="431" y="75"/>
                  </a:cubicBezTo>
                  <a:cubicBezTo>
                    <a:pt x="431" y="75"/>
                    <a:pt x="431" y="75"/>
                    <a:pt x="431" y="75"/>
                  </a:cubicBezTo>
                  <a:cubicBezTo>
                    <a:pt x="431" y="75"/>
                    <a:pt x="432" y="76"/>
                    <a:pt x="432" y="76"/>
                  </a:cubicBezTo>
                  <a:cubicBezTo>
                    <a:pt x="432" y="77"/>
                    <a:pt x="432" y="77"/>
                    <a:pt x="432" y="77"/>
                  </a:cubicBezTo>
                  <a:cubicBezTo>
                    <a:pt x="432" y="77"/>
                    <a:pt x="432" y="77"/>
                    <a:pt x="432" y="77"/>
                  </a:cubicBezTo>
                  <a:cubicBezTo>
                    <a:pt x="433" y="79"/>
                    <a:pt x="343" y="149"/>
                    <a:pt x="312" y="170"/>
                  </a:cubicBezTo>
                  <a:cubicBezTo>
                    <a:pt x="291" y="135"/>
                    <a:pt x="272" y="101"/>
                    <a:pt x="272" y="100"/>
                  </a:cubicBezTo>
                  <a:cubicBezTo>
                    <a:pt x="272" y="100"/>
                    <a:pt x="272" y="100"/>
                    <a:pt x="272" y="100"/>
                  </a:cubicBezTo>
                  <a:cubicBezTo>
                    <a:pt x="275" y="98"/>
                    <a:pt x="277" y="95"/>
                    <a:pt x="277" y="92"/>
                  </a:cubicBezTo>
                  <a:cubicBezTo>
                    <a:pt x="277" y="92"/>
                    <a:pt x="277" y="92"/>
                    <a:pt x="277" y="92"/>
                  </a:cubicBezTo>
                  <a:moveTo>
                    <a:pt x="165" y="74"/>
                  </a:moveTo>
                  <a:cubicBezTo>
                    <a:pt x="165" y="74"/>
                    <a:pt x="165" y="74"/>
                    <a:pt x="165" y="74"/>
                  </a:cubicBezTo>
                  <a:cubicBezTo>
                    <a:pt x="166" y="74"/>
                    <a:pt x="167" y="74"/>
                    <a:pt x="168" y="74"/>
                  </a:cubicBezTo>
                  <a:cubicBezTo>
                    <a:pt x="168" y="74"/>
                    <a:pt x="168" y="74"/>
                    <a:pt x="168" y="74"/>
                  </a:cubicBezTo>
                  <a:cubicBezTo>
                    <a:pt x="169" y="74"/>
                    <a:pt x="174" y="107"/>
                    <a:pt x="176" y="124"/>
                  </a:cubicBezTo>
                  <a:cubicBezTo>
                    <a:pt x="158" y="131"/>
                    <a:pt x="139" y="139"/>
                    <a:pt x="135" y="139"/>
                  </a:cubicBezTo>
                  <a:cubicBezTo>
                    <a:pt x="135" y="139"/>
                    <a:pt x="135" y="138"/>
                    <a:pt x="135" y="138"/>
                  </a:cubicBezTo>
                  <a:cubicBezTo>
                    <a:pt x="135" y="138"/>
                    <a:pt x="135" y="138"/>
                    <a:pt x="135" y="138"/>
                  </a:cubicBezTo>
                  <a:cubicBezTo>
                    <a:pt x="134" y="137"/>
                    <a:pt x="133" y="135"/>
                    <a:pt x="131" y="134"/>
                  </a:cubicBezTo>
                  <a:cubicBezTo>
                    <a:pt x="131" y="134"/>
                    <a:pt x="131" y="134"/>
                    <a:pt x="131" y="134"/>
                  </a:cubicBezTo>
                  <a:cubicBezTo>
                    <a:pt x="129" y="133"/>
                    <a:pt x="163" y="74"/>
                    <a:pt x="165" y="74"/>
                  </a:cubicBezTo>
                  <a:cubicBezTo>
                    <a:pt x="165" y="74"/>
                    <a:pt x="165" y="74"/>
                    <a:pt x="165" y="74"/>
                  </a:cubicBezTo>
                  <a:moveTo>
                    <a:pt x="171" y="74"/>
                  </a:moveTo>
                  <a:cubicBezTo>
                    <a:pt x="172" y="74"/>
                    <a:pt x="173" y="73"/>
                    <a:pt x="174" y="72"/>
                  </a:cubicBezTo>
                  <a:cubicBezTo>
                    <a:pt x="174" y="72"/>
                    <a:pt x="174" y="72"/>
                    <a:pt x="174" y="72"/>
                  </a:cubicBezTo>
                  <a:cubicBezTo>
                    <a:pt x="174" y="72"/>
                    <a:pt x="174" y="72"/>
                    <a:pt x="174" y="72"/>
                  </a:cubicBezTo>
                  <a:cubicBezTo>
                    <a:pt x="177" y="72"/>
                    <a:pt x="210" y="106"/>
                    <a:pt x="210" y="107"/>
                  </a:cubicBezTo>
                  <a:cubicBezTo>
                    <a:pt x="210" y="107"/>
                    <a:pt x="210" y="107"/>
                    <a:pt x="210" y="107"/>
                  </a:cubicBezTo>
                  <a:cubicBezTo>
                    <a:pt x="209" y="108"/>
                    <a:pt x="209" y="109"/>
                    <a:pt x="209" y="110"/>
                  </a:cubicBezTo>
                  <a:cubicBezTo>
                    <a:pt x="209" y="110"/>
                    <a:pt x="209" y="110"/>
                    <a:pt x="209" y="110"/>
                  </a:cubicBezTo>
                  <a:cubicBezTo>
                    <a:pt x="209" y="111"/>
                    <a:pt x="193" y="117"/>
                    <a:pt x="176" y="124"/>
                  </a:cubicBezTo>
                  <a:cubicBezTo>
                    <a:pt x="174" y="107"/>
                    <a:pt x="170" y="74"/>
                    <a:pt x="171" y="74"/>
                  </a:cubicBezTo>
                  <a:cubicBezTo>
                    <a:pt x="171" y="74"/>
                    <a:pt x="171" y="74"/>
                    <a:pt x="171" y="74"/>
                  </a:cubicBezTo>
                  <a:moveTo>
                    <a:pt x="8" y="0"/>
                  </a:moveTo>
                  <a:cubicBezTo>
                    <a:pt x="7" y="0"/>
                    <a:pt x="6" y="0"/>
                    <a:pt x="5" y="0"/>
                  </a:cubicBezTo>
                  <a:cubicBezTo>
                    <a:pt x="1" y="2"/>
                    <a:pt x="0" y="6"/>
                    <a:pt x="1" y="9"/>
                  </a:cubicBezTo>
                  <a:cubicBezTo>
                    <a:pt x="3" y="12"/>
                    <a:pt x="5" y="13"/>
                    <a:pt x="8" y="13"/>
                  </a:cubicBezTo>
                  <a:cubicBezTo>
                    <a:pt x="9" y="13"/>
                    <a:pt x="10" y="13"/>
                    <a:pt x="11" y="12"/>
                  </a:cubicBezTo>
                  <a:cubicBezTo>
                    <a:pt x="11" y="12"/>
                    <a:pt x="11" y="12"/>
                    <a:pt x="11" y="12"/>
                  </a:cubicBezTo>
                  <a:cubicBezTo>
                    <a:pt x="11" y="12"/>
                    <a:pt x="11" y="12"/>
                    <a:pt x="11" y="12"/>
                  </a:cubicBezTo>
                  <a:cubicBezTo>
                    <a:pt x="11" y="12"/>
                    <a:pt x="11" y="12"/>
                    <a:pt x="11" y="12"/>
                  </a:cubicBezTo>
                  <a:cubicBezTo>
                    <a:pt x="13" y="12"/>
                    <a:pt x="114" y="134"/>
                    <a:pt x="112" y="136"/>
                  </a:cubicBezTo>
                  <a:cubicBezTo>
                    <a:pt x="112" y="136"/>
                    <a:pt x="112" y="136"/>
                    <a:pt x="112" y="136"/>
                  </a:cubicBezTo>
                  <a:cubicBezTo>
                    <a:pt x="108" y="140"/>
                    <a:pt x="107" y="146"/>
                    <a:pt x="109" y="152"/>
                  </a:cubicBezTo>
                  <a:cubicBezTo>
                    <a:pt x="112" y="157"/>
                    <a:pt x="117" y="160"/>
                    <a:pt x="122" y="160"/>
                  </a:cubicBezTo>
                  <a:cubicBezTo>
                    <a:pt x="125" y="160"/>
                    <a:pt x="127" y="159"/>
                    <a:pt x="129" y="158"/>
                  </a:cubicBezTo>
                  <a:cubicBezTo>
                    <a:pt x="134" y="156"/>
                    <a:pt x="137" y="151"/>
                    <a:pt x="137" y="146"/>
                  </a:cubicBezTo>
                  <a:cubicBezTo>
                    <a:pt x="137" y="146"/>
                    <a:pt x="137" y="146"/>
                    <a:pt x="137" y="146"/>
                  </a:cubicBezTo>
                  <a:cubicBezTo>
                    <a:pt x="137" y="144"/>
                    <a:pt x="160" y="142"/>
                    <a:pt x="168" y="142"/>
                  </a:cubicBezTo>
                  <a:cubicBezTo>
                    <a:pt x="170" y="142"/>
                    <a:pt x="172" y="142"/>
                    <a:pt x="172" y="142"/>
                  </a:cubicBezTo>
                  <a:cubicBezTo>
                    <a:pt x="172" y="142"/>
                    <a:pt x="172" y="142"/>
                    <a:pt x="172" y="142"/>
                  </a:cubicBezTo>
                  <a:cubicBezTo>
                    <a:pt x="172" y="143"/>
                    <a:pt x="172" y="143"/>
                    <a:pt x="172" y="143"/>
                  </a:cubicBezTo>
                  <a:cubicBezTo>
                    <a:pt x="173" y="146"/>
                    <a:pt x="176" y="147"/>
                    <a:pt x="178" y="147"/>
                  </a:cubicBezTo>
                  <a:cubicBezTo>
                    <a:pt x="179" y="147"/>
                    <a:pt x="180" y="147"/>
                    <a:pt x="181" y="146"/>
                  </a:cubicBezTo>
                  <a:cubicBezTo>
                    <a:pt x="183" y="146"/>
                    <a:pt x="184" y="144"/>
                    <a:pt x="185" y="142"/>
                  </a:cubicBezTo>
                  <a:cubicBezTo>
                    <a:pt x="185" y="142"/>
                    <a:pt x="185" y="142"/>
                    <a:pt x="185" y="142"/>
                  </a:cubicBezTo>
                  <a:cubicBezTo>
                    <a:pt x="185" y="142"/>
                    <a:pt x="186" y="142"/>
                    <a:pt x="187" y="142"/>
                  </a:cubicBezTo>
                  <a:cubicBezTo>
                    <a:pt x="197" y="142"/>
                    <a:pt x="245" y="147"/>
                    <a:pt x="245" y="147"/>
                  </a:cubicBezTo>
                  <a:cubicBezTo>
                    <a:pt x="245" y="147"/>
                    <a:pt x="245" y="147"/>
                    <a:pt x="245" y="147"/>
                  </a:cubicBezTo>
                  <a:cubicBezTo>
                    <a:pt x="245" y="148"/>
                    <a:pt x="245" y="148"/>
                    <a:pt x="245" y="149"/>
                  </a:cubicBezTo>
                  <a:cubicBezTo>
                    <a:pt x="246" y="150"/>
                    <a:pt x="247" y="151"/>
                    <a:pt x="249" y="151"/>
                  </a:cubicBezTo>
                  <a:cubicBezTo>
                    <a:pt x="250" y="151"/>
                    <a:pt x="250" y="151"/>
                    <a:pt x="251" y="151"/>
                  </a:cubicBezTo>
                  <a:cubicBezTo>
                    <a:pt x="253" y="150"/>
                    <a:pt x="254" y="147"/>
                    <a:pt x="253" y="145"/>
                  </a:cubicBezTo>
                  <a:cubicBezTo>
                    <a:pt x="252" y="144"/>
                    <a:pt x="251" y="144"/>
                    <a:pt x="251" y="143"/>
                  </a:cubicBezTo>
                  <a:cubicBezTo>
                    <a:pt x="251" y="143"/>
                    <a:pt x="251" y="143"/>
                    <a:pt x="251" y="143"/>
                  </a:cubicBezTo>
                  <a:cubicBezTo>
                    <a:pt x="250" y="143"/>
                    <a:pt x="261" y="103"/>
                    <a:pt x="264" y="103"/>
                  </a:cubicBezTo>
                  <a:cubicBezTo>
                    <a:pt x="264" y="103"/>
                    <a:pt x="264" y="103"/>
                    <a:pt x="264" y="103"/>
                  </a:cubicBezTo>
                  <a:cubicBezTo>
                    <a:pt x="263" y="103"/>
                    <a:pt x="263" y="103"/>
                    <a:pt x="263" y="103"/>
                  </a:cubicBezTo>
                  <a:cubicBezTo>
                    <a:pt x="264" y="103"/>
                    <a:pt x="265" y="103"/>
                    <a:pt x="265" y="103"/>
                  </a:cubicBezTo>
                  <a:cubicBezTo>
                    <a:pt x="265" y="103"/>
                    <a:pt x="266" y="103"/>
                    <a:pt x="266" y="103"/>
                  </a:cubicBezTo>
                  <a:cubicBezTo>
                    <a:pt x="266" y="103"/>
                    <a:pt x="266" y="103"/>
                    <a:pt x="266" y="103"/>
                  </a:cubicBezTo>
                  <a:cubicBezTo>
                    <a:pt x="266" y="103"/>
                    <a:pt x="266" y="103"/>
                    <a:pt x="266" y="103"/>
                  </a:cubicBezTo>
                  <a:cubicBezTo>
                    <a:pt x="269" y="103"/>
                    <a:pt x="288" y="173"/>
                    <a:pt x="285" y="174"/>
                  </a:cubicBezTo>
                  <a:cubicBezTo>
                    <a:pt x="285" y="174"/>
                    <a:pt x="285" y="174"/>
                    <a:pt x="285" y="174"/>
                  </a:cubicBezTo>
                  <a:cubicBezTo>
                    <a:pt x="284" y="174"/>
                    <a:pt x="284" y="174"/>
                    <a:pt x="284" y="174"/>
                  </a:cubicBezTo>
                  <a:cubicBezTo>
                    <a:pt x="276" y="178"/>
                    <a:pt x="273" y="187"/>
                    <a:pt x="277" y="194"/>
                  </a:cubicBezTo>
                  <a:cubicBezTo>
                    <a:pt x="279" y="200"/>
                    <a:pt x="285" y="203"/>
                    <a:pt x="291" y="203"/>
                  </a:cubicBezTo>
                  <a:cubicBezTo>
                    <a:pt x="293" y="203"/>
                    <a:pt x="295" y="203"/>
                    <a:pt x="298" y="202"/>
                  </a:cubicBezTo>
                  <a:cubicBezTo>
                    <a:pt x="299" y="201"/>
                    <a:pt x="300" y="201"/>
                    <a:pt x="300" y="200"/>
                  </a:cubicBezTo>
                  <a:cubicBezTo>
                    <a:pt x="300" y="200"/>
                    <a:pt x="300" y="200"/>
                    <a:pt x="300" y="200"/>
                  </a:cubicBezTo>
                  <a:cubicBezTo>
                    <a:pt x="300" y="200"/>
                    <a:pt x="300" y="200"/>
                    <a:pt x="301" y="200"/>
                  </a:cubicBezTo>
                  <a:cubicBezTo>
                    <a:pt x="305" y="200"/>
                    <a:pt x="354" y="247"/>
                    <a:pt x="353" y="249"/>
                  </a:cubicBezTo>
                  <a:cubicBezTo>
                    <a:pt x="353" y="249"/>
                    <a:pt x="353" y="249"/>
                    <a:pt x="353" y="249"/>
                  </a:cubicBezTo>
                  <a:cubicBezTo>
                    <a:pt x="351" y="252"/>
                    <a:pt x="351" y="255"/>
                    <a:pt x="352" y="258"/>
                  </a:cubicBezTo>
                  <a:cubicBezTo>
                    <a:pt x="354" y="262"/>
                    <a:pt x="357" y="264"/>
                    <a:pt x="361" y="264"/>
                  </a:cubicBezTo>
                  <a:cubicBezTo>
                    <a:pt x="363" y="264"/>
                    <a:pt x="364" y="264"/>
                    <a:pt x="366" y="263"/>
                  </a:cubicBezTo>
                  <a:cubicBezTo>
                    <a:pt x="371" y="261"/>
                    <a:pt x="373" y="255"/>
                    <a:pt x="370" y="250"/>
                  </a:cubicBezTo>
                  <a:cubicBezTo>
                    <a:pt x="369" y="247"/>
                    <a:pt x="365" y="245"/>
                    <a:pt x="361" y="245"/>
                  </a:cubicBezTo>
                  <a:cubicBezTo>
                    <a:pt x="360" y="245"/>
                    <a:pt x="359" y="245"/>
                    <a:pt x="358" y="245"/>
                  </a:cubicBezTo>
                  <a:cubicBezTo>
                    <a:pt x="358" y="245"/>
                    <a:pt x="358" y="245"/>
                    <a:pt x="358" y="245"/>
                  </a:cubicBezTo>
                  <a:cubicBezTo>
                    <a:pt x="358" y="245"/>
                    <a:pt x="358" y="245"/>
                    <a:pt x="358" y="245"/>
                  </a:cubicBezTo>
                  <a:cubicBezTo>
                    <a:pt x="357" y="245"/>
                    <a:pt x="334" y="209"/>
                    <a:pt x="313" y="172"/>
                  </a:cubicBezTo>
                  <a:cubicBezTo>
                    <a:pt x="341" y="149"/>
                    <a:pt x="431" y="80"/>
                    <a:pt x="435" y="80"/>
                  </a:cubicBezTo>
                  <a:cubicBezTo>
                    <a:pt x="435" y="80"/>
                    <a:pt x="435" y="80"/>
                    <a:pt x="435" y="80"/>
                  </a:cubicBezTo>
                  <a:cubicBezTo>
                    <a:pt x="435" y="80"/>
                    <a:pt x="435" y="80"/>
                    <a:pt x="435" y="80"/>
                  </a:cubicBezTo>
                  <a:cubicBezTo>
                    <a:pt x="437" y="82"/>
                    <a:pt x="440" y="83"/>
                    <a:pt x="443" y="83"/>
                  </a:cubicBezTo>
                  <a:cubicBezTo>
                    <a:pt x="443" y="83"/>
                    <a:pt x="443" y="83"/>
                    <a:pt x="443" y="83"/>
                  </a:cubicBezTo>
                  <a:cubicBezTo>
                    <a:pt x="443" y="83"/>
                    <a:pt x="443" y="83"/>
                    <a:pt x="443" y="83"/>
                  </a:cubicBezTo>
                  <a:cubicBezTo>
                    <a:pt x="443" y="83"/>
                    <a:pt x="443" y="83"/>
                    <a:pt x="443" y="83"/>
                  </a:cubicBezTo>
                  <a:cubicBezTo>
                    <a:pt x="445" y="83"/>
                    <a:pt x="458" y="137"/>
                    <a:pt x="465" y="171"/>
                  </a:cubicBezTo>
                  <a:cubicBezTo>
                    <a:pt x="419" y="178"/>
                    <a:pt x="369" y="185"/>
                    <a:pt x="365" y="185"/>
                  </a:cubicBezTo>
                  <a:cubicBezTo>
                    <a:pt x="365" y="185"/>
                    <a:pt x="365" y="185"/>
                    <a:pt x="365" y="185"/>
                  </a:cubicBezTo>
                  <a:cubicBezTo>
                    <a:pt x="365" y="185"/>
                    <a:pt x="365" y="185"/>
                    <a:pt x="365" y="185"/>
                  </a:cubicBezTo>
                  <a:cubicBezTo>
                    <a:pt x="364" y="184"/>
                    <a:pt x="364" y="184"/>
                    <a:pt x="364" y="184"/>
                  </a:cubicBezTo>
                  <a:cubicBezTo>
                    <a:pt x="364" y="184"/>
                    <a:pt x="364" y="184"/>
                    <a:pt x="364" y="184"/>
                  </a:cubicBezTo>
                  <a:cubicBezTo>
                    <a:pt x="364" y="184"/>
                    <a:pt x="364" y="184"/>
                    <a:pt x="364" y="184"/>
                  </a:cubicBezTo>
                  <a:cubicBezTo>
                    <a:pt x="364" y="183"/>
                    <a:pt x="394" y="163"/>
                    <a:pt x="396" y="163"/>
                  </a:cubicBezTo>
                  <a:cubicBezTo>
                    <a:pt x="396" y="163"/>
                    <a:pt x="396" y="163"/>
                    <a:pt x="396" y="163"/>
                  </a:cubicBezTo>
                  <a:cubicBezTo>
                    <a:pt x="396" y="163"/>
                    <a:pt x="396" y="163"/>
                    <a:pt x="396" y="163"/>
                  </a:cubicBezTo>
                  <a:cubicBezTo>
                    <a:pt x="397" y="164"/>
                    <a:pt x="398" y="165"/>
                    <a:pt x="399" y="165"/>
                  </a:cubicBezTo>
                  <a:cubicBezTo>
                    <a:pt x="400" y="165"/>
                    <a:pt x="401" y="164"/>
                    <a:pt x="401" y="164"/>
                  </a:cubicBezTo>
                  <a:cubicBezTo>
                    <a:pt x="404" y="163"/>
                    <a:pt x="405" y="160"/>
                    <a:pt x="404" y="158"/>
                  </a:cubicBezTo>
                  <a:cubicBezTo>
                    <a:pt x="403" y="156"/>
                    <a:pt x="401" y="155"/>
                    <a:pt x="399" y="155"/>
                  </a:cubicBezTo>
                  <a:cubicBezTo>
                    <a:pt x="398" y="155"/>
                    <a:pt x="398" y="156"/>
                    <a:pt x="397" y="156"/>
                  </a:cubicBezTo>
                  <a:cubicBezTo>
                    <a:pt x="395" y="157"/>
                    <a:pt x="394" y="160"/>
                    <a:pt x="395" y="162"/>
                  </a:cubicBezTo>
                  <a:cubicBezTo>
                    <a:pt x="395" y="162"/>
                    <a:pt x="395" y="162"/>
                    <a:pt x="395" y="162"/>
                  </a:cubicBezTo>
                  <a:cubicBezTo>
                    <a:pt x="395" y="163"/>
                    <a:pt x="365" y="182"/>
                    <a:pt x="363" y="182"/>
                  </a:cubicBezTo>
                  <a:cubicBezTo>
                    <a:pt x="363" y="182"/>
                    <a:pt x="363" y="182"/>
                    <a:pt x="363" y="182"/>
                  </a:cubicBezTo>
                  <a:cubicBezTo>
                    <a:pt x="363" y="182"/>
                    <a:pt x="363" y="182"/>
                    <a:pt x="363" y="182"/>
                  </a:cubicBezTo>
                  <a:cubicBezTo>
                    <a:pt x="362" y="181"/>
                    <a:pt x="360" y="180"/>
                    <a:pt x="358" y="180"/>
                  </a:cubicBezTo>
                  <a:cubicBezTo>
                    <a:pt x="357" y="180"/>
                    <a:pt x="356" y="180"/>
                    <a:pt x="355" y="181"/>
                  </a:cubicBezTo>
                  <a:cubicBezTo>
                    <a:pt x="352" y="182"/>
                    <a:pt x="350" y="186"/>
                    <a:pt x="352" y="190"/>
                  </a:cubicBezTo>
                  <a:cubicBezTo>
                    <a:pt x="353" y="192"/>
                    <a:pt x="356" y="193"/>
                    <a:pt x="358" y="193"/>
                  </a:cubicBezTo>
                  <a:cubicBezTo>
                    <a:pt x="359" y="193"/>
                    <a:pt x="360" y="193"/>
                    <a:pt x="361" y="193"/>
                  </a:cubicBezTo>
                  <a:cubicBezTo>
                    <a:pt x="363" y="192"/>
                    <a:pt x="365" y="190"/>
                    <a:pt x="365" y="187"/>
                  </a:cubicBezTo>
                  <a:cubicBezTo>
                    <a:pt x="365" y="188"/>
                    <a:pt x="365" y="188"/>
                    <a:pt x="365" y="188"/>
                  </a:cubicBezTo>
                  <a:cubicBezTo>
                    <a:pt x="365" y="186"/>
                    <a:pt x="417" y="184"/>
                    <a:pt x="430" y="184"/>
                  </a:cubicBezTo>
                  <a:cubicBezTo>
                    <a:pt x="431" y="184"/>
                    <a:pt x="432" y="184"/>
                    <a:pt x="432" y="184"/>
                  </a:cubicBezTo>
                  <a:cubicBezTo>
                    <a:pt x="432" y="184"/>
                    <a:pt x="432" y="184"/>
                    <a:pt x="432" y="184"/>
                  </a:cubicBezTo>
                  <a:cubicBezTo>
                    <a:pt x="433" y="185"/>
                    <a:pt x="433" y="185"/>
                    <a:pt x="433" y="185"/>
                  </a:cubicBezTo>
                  <a:cubicBezTo>
                    <a:pt x="433" y="187"/>
                    <a:pt x="435" y="187"/>
                    <a:pt x="436" y="187"/>
                  </a:cubicBezTo>
                  <a:cubicBezTo>
                    <a:pt x="437" y="187"/>
                    <a:pt x="438" y="187"/>
                    <a:pt x="438" y="187"/>
                  </a:cubicBezTo>
                  <a:cubicBezTo>
                    <a:pt x="440" y="186"/>
                    <a:pt x="441" y="184"/>
                    <a:pt x="440" y="182"/>
                  </a:cubicBezTo>
                  <a:cubicBezTo>
                    <a:pt x="439" y="180"/>
                    <a:pt x="438" y="180"/>
                    <a:pt x="436" y="180"/>
                  </a:cubicBezTo>
                  <a:cubicBezTo>
                    <a:pt x="436" y="180"/>
                    <a:pt x="435" y="180"/>
                    <a:pt x="435" y="180"/>
                  </a:cubicBezTo>
                  <a:cubicBezTo>
                    <a:pt x="433" y="181"/>
                    <a:pt x="432" y="182"/>
                    <a:pt x="432" y="183"/>
                  </a:cubicBezTo>
                  <a:cubicBezTo>
                    <a:pt x="432" y="183"/>
                    <a:pt x="432" y="183"/>
                    <a:pt x="432" y="183"/>
                  </a:cubicBezTo>
                  <a:cubicBezTo>
                    <a:pt x="432" y="184"/>
                    <a:pt x="387" y="186"/>
                    <a:pt x="370" y="186"/>
                  </a:cubicBezTo>
                  <a:cubicBezTo>
                    <a:pt x="370" y="186"/>
                    <a:pt x="370" y="186"/>
                    <a:pt x="370" y="186"/>
                  </a:cubicBezTo>
                  <a:cubicBezTo>
                    <a:pt x="383" y="183"/>
                    <a:pt x="425" y="177"/>
                    <a:pt x="465" y="171"/>
                  </a:cubicBezTo>
                  <a:cubicBezTo>
                    <a:pt x="468" y="187"/>
                    <a:pt x="470" y="198"/>
                    <a:pt x="469" y="199"/>
                  </a:cubicBezTo>
                  <a:cubicBezTo>
                    <a:pt x="469" y="199"/>
                    <a:pt x="469" y="199"/>
                    <a:pt x="469" y="199"/>
                  </a:cubicBezTo>
                  <a:cubicBezTo>
                    <a:pt x="464" y="201"/>
                    <a:pt x="460" y="205"/>
                    <a:pt x="460" y="211"/>
                  </a:cubicBezTo>
                  <a:cubicBezTo>
                    <a:pt x="460" y="218"/>
                    <a:pt x="466" y="224"/>
                    <a:pt x="474" y="224"/>
                  </a:cubicBezTo>
                  <a:cubicBezTo>
                    <a:pt x="476" y="224"/>
                    <a:pt x="478" y="223"/>
                    <a:pt x="480" y="222"/>
                  </a:cubicBezTo>
                  <a:cubicBezTo>
                    <a:pt x="480" y="222"/>
                    <a:pt x="480" y="222"/>
                    <a:pt x="480" y="222"/>
                  </a:cubicBezTo>
                  <a:cubicBezTo>
                    <a:pt x="480" y="222"/>
                    <a:pt x="480" y="222"/>
                    <a:pt x="480" y="222"/>
                  </a:cubicBezTo>
                  <a:cubicBezTo>
                    <a:pt x="483" y="222"/>
                    <a:pt x="520" y="269"/>
                    <a:pt x="518" y="271"/>
                  </a:cubicBezTo>
                  <a:cubicBezTo>
                    <a:pt x="518" y="271"/>
                    <a:pt x="518" y="271"/>
                    <a:pt x="518" y="271"/>
                  </a:cubicBezTo>
                  <a:cubicBezTo>
                    <a:pt x="514" y="275"/>
                    <a:pt x="513" y="281"/>
                    <a:pt x="516" y="286"/>
                  </a:cubicBezTo>
                  <a:cubicBezTo>
                    <a:pt x="518" y="290"/>
                    <a:pt x="523" y="293"/>
                    <a:pt x="528" y="293"/>
                  </a:cubicBezTo>
                  <a:cubicBezTo>
                    <a:pt x="530" y="293"/>
                    <a:pt x="532" y="293"/>
                    <a:pt x="534" y="292"/>
                  </a:cubicBezTo>
                  <a:cubicBezTo>
                    <a:pt x="540" y="289"/>
                    <a:pt x="543" y="281"/>
                    <a:pt x="540" y="275"/>
                  </a:cubicBezTo>
                  <a:cubicBezTo>
                    <a:pt x="538" y="270"/>
                    <a:pt x="533" y="267"/>
                    <a:pt x="528" y="267"/>
                  </a:cubicBezTo>
                  <a:cubicBezTo>
                    <a:pt x="526" y="267"/>
                    <a:pt x="524" y="268"/>
                    <a:pt x="522" y="268"/>
                  </a:cubicBezTo>
                  <a:cubicBezTo>
                    <a:pt x="521" y="269"/>
                    <a:pt x="521" y="269"/>
                    <a:pt x="521" y="269"/>
                  </a:cubicBezTo>
                  <a:cubicBezTo>
                    <a:pt x="522" y="269"/>
                    <a:pt x="522" y="269"/>
                    <a:pt x="522" y="269"/>
                  </a:cubicBezTo>
                  <a:cubicBezTo>
                    <a:pt x="522" y="269"/>
                    <a:pt x="522" y="269"/>
                    <a:pt x="521" y="269"/>
                  </a:cubicBezTo>
                  <a:cubicBezTo>
                    <a:pt x="518" y="269"/>
                    <a:pt x="482" y="222"/>
                    <a:pt x="484" y="220"/>
                  </a:cubicBezTo>
                  <a:cubicBezTo>
                    <a:pt x="483" y="220"/>
                    <a:pt x="483" y="220"/>
                    <a:pt x="483" y="220"/>
                  </a:cubicBezTo>
                  <a:cubicBezTo>
                    <a:pt x="486" y="218"/>
                    <a:pt x="487" y="214"/>
                    <a:pt x="487" y="211"/>
                  </a:cubicBezTo>
                  <a:cubicBezTo>
                    <a:pt x="487" y="206"/>
                    <a:pt x="484" y="201"/>
                    <a:pt x="480" y="199"/>
                  </a:cubicBezTo>
                  <a:cubicBezTo>
                    <a:pt x="480" y="199"/>
                    <a:pt x="480" y="199"/>
                    <a:pt x="480" y="199"/>
                  </a:cubicBezTo>
                  <a:cubicBezTo>
                    <a:pt x="479" y="199"/>
                    <a:pt x="483" y="184"/>
                    <a:pt x="489" y="168"/>
                  </a:cubicBezTo>
                  <a:cubicBezTo>
                    <a:pt x="516" y="164"/>
                    <a:pt x="539" y="161"/>
                    <a:pt x="541" y="161"/>
                  </a:cubicBezTo>
                  <a:cubicBezTo>
                    <a:pt x="542" y="161"/>
                    <a:pt x="542" y="161"/>
                    <a:pt x="542" y="161"/>
                  </a:cubicBezTo>
                  <a:cubicBezTo>
                    <a:pt x="542" y="161"/>
                    <a:pt x="542" y="161"/>
                    <a:pt x="542" y="161"/>
                  </a:cubicBezTo>
                  <a:cubicBezTo>
                    <a:pt x="542" y="162"/>
                    <a:pt x="542" y="162"/>
                    <a:pt x="542" y="162"/>
                  </a:cubicBezTo>
                  <a:cubicBezTo>
                    <a:pt x="543" y="164"/>
                    <a:pt x="546" y="166"/>
                    <a:pt x="548" y="166"/>
                  </a:cubicBezTo>
                  <a:cubicBezTo>
                    <a:pt x="549" y="166"/>
                    <a:pt x="550" y="165"/>
                    <a:pt x="551" y="165"/>
                  </a:cubicBezTo>
                  <a:cubicBezTo>
                    <a:pt x="552" y="165"/>
                    <a:pt x="553" y="164"/>
                    <a:pt x="553" y="164"/>
                  </a:cubicBezTo>
                  <a:cubicBezTo>
                    <a:pt x="553" y="164"/>
                    <a:pt x="553" y="164"/>
                    <a:pt x="553" y="164"/>
                  </a:cubicBezTo>
                  <a:cubicBezTo>
                    <a:pt x="553" y="164"/>
                    <a:pt x="553" y="164"/>
                    <a:pt x="553" y="164"/>
                  </a:cubicBezTo>
                  <a:cubicBezTo>
                    <a:pt x="555" y="164"/>
                    <a:pt x="586" y="185"/>
                    <a:pt x="585" y="185"/>
                  </a:cubicBezTo>
                  <a:cubicBezTo>
                    <a:pt x="585" y="185"/>
                    <a:pt x="585" y="185"/>
                    <a:pt x="585" y="185"/>
                  </a:cubicBezTo>
                  <a:cubicBezTo>
                    <a:pt x="584" y="187"/>
                    <a:pt x="584" y="188"/>
                    <a:pt x="585" y="189"/>
                  </a:cubicBezTo>
                  <a:cubicBezTo>
                    <a:pt x="586" y="191"/>
                    <a:pt x="588" y="192"/>
                    <a:pt x="589" y="192"/>
                  </a:cubicBezTo>
                  <a:cubicBezTo>
                    <a:pt x="590" y="192"/>
                    <a:pt x="591" y="192"/>
                    <a:pt x="591" y="192"/>
                  </a:cubicBezTo>
                  <a:cubicBezTo>
                    <a:pt x="594" y="191"/>
                    <a:pt x="595" y="188"/>
                    <a:pt x="594" y="186"/>
                  </a:cubicBezTo>
                  <a:cubicBezTo>
                    <a:pt x="593" y="184"/>
                    <a:pt x="591" y="183"/>
                    <a:pt x="589" y="183"/>
                  </a:cubicBezTo>
                  <a:cubicBezTo>
                    <a:pt x="589" y="183"/>
                    <a:pt x="588" y="183"/>
                    <a:pt x="587" y="183"/>
                  </a:cubicBezTo>
                  <a:cubicBezTo>
                    <a:pt x="587" y="184"/>
                    <a:pt x="586" y="184"/>
                    <a:pt x="586" y="184"/>
                  </a:cubicBezTo>
                  <a:cubicBezTo>
                    <a:pt x="586" y="184"/>
                    <a:pt x="586" y="184"/>
                    <a:pt x="586" y="184"/>
                  </a:cubicBezTo>
                  <a:cubicBezTo>
                    <a:pt x="586" y="184"/>
                    <a:pt x="586" y="184"/>
                    <a:pt x="586" y="184"/>
                  </a:cubicBezTo>
                  <a:cubicBezTo>
                    <a:pt x="584" y="184"/>
                    <a:pt x="554" y="163"/>
                    <a:pt x="554" y="162"/>
                  </a:cubicBezTo>
                  <a:cubicBezTo>
                    <a:pt x="554" y="162"/>
                    <a:pt x="554" y="162"/>
                    <a:pt x="554" y="162"/>
                  </a:cubicBezTo>
                  <a:cubicBezTo>
                    <a:pt x="555" y="160"/>
                    <a:pt x="556" y="158"/>
                    <a:pt x="555" y="156"/>
                  </a:cubicBezTo>
                  <a:cubicBezTo>
                    <a:pt x="555" y="156"/>
                    <a:pt x="555" y="156"/>
                    <a:pt x="555" y="156"/>
                  </a:cubicBezTo>
                  <a:cubicBezTo>
                    <a:pt x="555" y="156"/>
                    <a:pt x="555" y="156"/>
                    <a:pt x="555" y="156"/>
                  </a:cubicBezTo>
                  <a:cubicBezTo>
                    <a:pt x="554" y="155"/>
                    <a:pt x="584" y="135"/>
                    <a:pt x="586" y="135"/>
                  </a:cubicBezTo>
                  <a:cubicBezTo>
                    <a:pt x="586" y="135"/>
                    <a:pt x="586" y="135"/>
                    <a:pt x="586" y="135"/>
                  </a:cubicBezTo>
                  <a:cubicBezTo>
                    <a:pt x="586" y="135"/>
                    <a:pt x="586" y="135"/>
                    <a:pt x="586" y="135"/>
                  </a:cubicBezTo>
                  <a:cubicBezTo>
                    <a:pt x="587" y="136"/>
                    <a:pt x="588" y="137"/>
                    <a:pt x="589" y="137"/>
                  </a:cubicBezTo>
                  <a:cubicBezTo>
                    <a:pt x="590" y="137"/>
                    <a:pt x="591" y="137"/>
                    <a:pt x="591" y="136"/>
                  </a:cubicBezTo>
                  <a:cubicBezTo>
                    <a:pt x="592" y="136"/>
                    <a:pt x="592" y="136"/>
                    <a:pt x="593" y="135"/>
                  </a:cubicBezTo>
                  <a:cubicBezTo>
                    <a:pt x="593" y="135"/>
                    <a:pt x="593" y="135"/>
                    <a:pt x="593" y="135"/>
                  </a:cubicBezTo>
                  <a:cubicBezTo>
                    <a:pt x="593" y="135"/>
                    <a:pt x="593" y="135"/>
                    <a:pt x="593" y="135"/>
                  </a:cubicBezTo>
                  <a:cubicBezTo>
                    <a:pt x="594" y="135"/>
                    <a:pt x="632" y="162"/>
                    <a:pt x="631" y="163"/>
                  </a:cubicBezTo>
                  <a:cubicBezTo>
                    <a:pt x="631" y="163"/>
                    <a:pt x="631" y="163"/>
                    <a:pt x="631" y="163"/>
                  </a:cubicBezTo>
                  <a:cubicBezTo>
                    <a:pt x="631" y="164"/>
                    <a:pt x="631" y="165"/>
                    <a:pt x="631" y="166"/>
                  </a:cubicBezTo>
                  <a:cubicBezTo>
                    <a:pt x="632" y="168"/>
                    <a:pt x="633" y="169"/>
                    <a:pt x="635" y="169"/>
                  </a:cubicBezTo>
                  <a:cubicBezTo>
                    <a:pt x="635" y="169"/>
                    <a:pt x="636" y="168"/>
                    <a:pt x="637" y="168"/>
                  </a:cubicBezTo>
                  <a:cubicBezTo>
                    <a:pt x="638" y="168"/>
                    <a:pt x="639" y="166"/>
                    <a:pt x="639" y="165"/>
                  </a:cubicBezTo>
                  <a:cubicBezTo>
                    <a:pt x="639" y="165"/>
                    <a:pt x="639" y="165"/>
                    <a:pt x="639" y="165"/>
                  </a:cubicBezTo>
                  <a:cubicBezTo>
                    <a:pt x="639" y="165"/>
                    <a:pt x="647" y="165"/>
                    <a:pt x="655" y="165"/>
                  </a:cubicBezTo>
                  <a:cubicBezTo>
                    <a:pt x="663" y="165"/>
                    <a:pt x="671" y="165"/>
                    <a:pt x="671" y="165"/>
                  </a:cubicBezTo>
                  <a:cubicBezTo>
                    <a:pt x="671" y="165"/>
                    <a:pt x="671" y="165"/>
                    <a:pt x="671" y="165"/>
                  </a:cubicBezTo>
                  <a:cubicBezTo>
                    <a:pt x="671" y="166"/>
                    <a:pt x="671" y="166"/>
                    <a:pt x="671" y="166"/>
                  </a:cubicBezTo>
                  <a:cubicBezTo>
                    <a:pt x="671" y="167"/>
                    <a:pt x="672" y="167"/>
                    <a:pt x="672" y="167"/>
                  </a:cubicBezTo>
                  <a:cubicBezTo>
                    <a:pt x="672" y="167"/>
                    <a:pt x="672" y="167"/>
                    <a:pt x="672" y="167"/>
                  </a:cubicBezTo>
                  <a:cubicBezTo>
                    <a:pt x="672" y="168"/>
                    <a:pt x="595" y="258"/>
                    <a:pt x="593" y="258"/>
                  </a:cubicBezTo>
                  <a:cubicBezTo>
                    <a:pt x="593" y="258"/>
                    <a:pt x="593" y="258"/>
                    <a:pt x="593" y="258"/>
                  </a:cubicBezTo>
                  <a:cubicBezTo>
                    <a:pt x="593" y="258"/>
                    <a:pt x="593" y="258"/>
                    <a:pt x="593" y="258"/>
                  </a:cubicBezTo>
                  <a:cubicBezTo>
                    <a:pt x="592" y="258"/>
                    <a:pt x="591" y="257"/>
                    <a:pt x="589" y="257"/>
                  </a:cubicBezTo>
                  <a:cubicBezTo>
                    <a:pt x="588" y="257"/>
                    <a:pt x="587" y="258"/>
                    <a:pt x="586" y="258"/>
                  </a:cubicBezTo>
                  <a:cubicBezTo>
                    <a:pt x="583" y="260"/>
                    <a:pt x="582" y="264"/>
                    <a:pt x="583" y="267"/>
                  </a:cubicBezTo>
                  <a:cubicBezTo>
                    <a:pt x="584" y="269"/>
                    <a:pt x="587" y="271"/>
                    <a:pt x="589" y="271"/>
                  </a:cubicBezTo>
                  <a:cubicBezTo>
                    <a:pt x="590" y="271"/>
                    <a:pt x="591" y="270"/>
                    <a:pt x="592" y="270"/>
                  </a:cubicBezTo>
                  <a:cubicBezTo>
                    <a:pt x="596" y="268"/>
                    <a:pt x="597" y="264"/>
                    <a:pt x="596" y="261"/>
                  </a:cubicBezTo>
                  <a:cubicBezTo>
                    <a:pt x="595" y="261"/>
                    <a:pt x="595" y="260"/>
                    <a:pt x="595" y="260"/>
                  </a:cubicBezTo>
                  <a:cubicBezTo>
                    <a:pt x="595" y="260"/>
                    <a:pt x="595" y="260"/>
                    <a:pt x="595" y="260"/>
                  </a:cubicBezTo>
                  <a:cubicBezTo>
                    <a:pt x="594" y="259"/>
                    <a:pt x="672" y="168"/>
                    <a:pt x="673" y="168"/>
                  </a:cubicBezTo>
                  <a:cubicBezTo>
                    <a:pt x="673" y="168"/>
                    <a:pt x="673" y="168"/>
                    <a:pt x="673" y="168"/>
                  </a:cubicBezTo>
                  <a:cubicBezTo>
                    <a:pt x="673" y="168"/>
                    <a:pt x="673" y="168"/>
                    <a:pt x="673" y="168"/>
                  </a:cubicBezTo>
                  <a:cubicBezTo>
                    <a:pt x="673" y="168"/>
                    <a:pt x="674" y="169"/>
                    <a:pt x="675" y="169"/>
                  </a:cubicBezTo>
                  <a:cubicBezTo>
                    <a:pt x="675" y="169"/>
                    <a:pt x="676" y="168"/>
                    <a:pt x="677" y="168"/>
                  </a:cubicBezTo>
                  <a:cubicBezTo>
                    <a:pt x="679" y="167"/>
                    <a:pt x="680" y="165"/>
                    <a:pt x="679" y="163"/>
                  </a:cubicBezTo>
                  <a:cubicBezTo>
                    <a:pt x="678" y="162"/>
                    <a:pt x="676" y="161"/>
                    <a:pt x="675" y="161"/>
                  </a:cubicBezTo>
                  <a:cubicBezTo>
                    <a:pt x="674" y="161"/>
                    <a:pt x="674" y="161"/>
                    <a:pt x="673" y="161"/>
                  </a:cubicBezTo>
                  <a:cubicBezTo>
                    <a:pt x="672" y="161"/>
                    <a:pt x="672" y="162"/>
                    <a:pt x="671" y="163"/>
                  </a:cubicBezTo>
                  <a:cubicBezTo>
                    <a:pt x="671" y="163"/>
                    <a:pt x="671" y="163"/>
                    <a:pt x="671" y="163"/>
                  </a:cubicBezTo>
                  <a:cubicBezTo>
                    <a:pt x="671" y="163"/>
                    <a:pt x="671" y="163"/>
                    <a:pt x="671" y="163"/>
                  </a:cubicBezTo>
                  <a:cubicBezTo>
                    <a:pt x="669" y="163"/>
                    <a:pt x="594" y="134"/>
                    <a:pt x="594" y="133"/>
                  </a:cubicBezTo>
                  <a:cubicBezTo>
                    <a:pt x="594" y="133"/>
                    <a:pt x="594" y="133"/>
                    <a:pt x="594" y="133"/>
                  </a:cubicBezTo>
                  <a:cubicBezTo>
                    <a:pt x="594" y="132"/>
                    <a:pt x="594" y="131"/>
                    <a:pt x="594" y="130"/>
                  </a:cubicBezTo>
                  <a:cubicBezTo>
                    <a:pt x="593" y="129"/>
                    <a:pt x="591" y="128"/>
                    <a:pt x="589" y="128"/>
                  </a:cubicBezTo>
                  <a:cubicBezTo>
                    <a:pt x="589" y="128"/>
                    <a:pt x="588" y="128"/>
                    <a:pt x="587" y="128"/>
                  </a:cubicBezTo>
                  <a:cubicBezTo>
                    <a:pt x="585" y="129"/>
                    <a:pt x="584" y="132"/>
                    <a:pt x="585" y="134"/>
                  </a:cubicBezTo>
                  <a:cubicBezTo>
                    <a:pt x="585" y="134"/>
                    <a:pt x="585" y="134"/>
                    <a:pt x="585" y="134"/>
                  </a:cubicBezTo>
                  <a:cubicBezTo>
                    <a:pt x="585" y="135"/>
                    <a:pt x="556" y="154"/>
                    <a:pt x="553" y="154"/>
                  </a:cubicBezTo>
                  <a:cubicBezTo>
                    <a:pt x="553" y="154"/>
                    <a:pt x="553" y="154"/>
                    <a:pt x="553" y="154"/>
                  </a:cubicBezTo>
                  <a:cubicBezTo>
                    <a:pt x="553" y="154"/>
                    <a:pt x="553" y="154"/>
                    <a:pt x="553" y="154"/>
                  </a:cubicBezTo>
                  <a:cubicBezTo>
                    <a:pt x="552" y="153"/>
                    <a:pt x="550" y="152"/>
                    <a:pt x="548" y="152"/>
                  </a:cubicBezTo>
                  <a:cubicBezTo>
                    <a:pt x="547" y="152"/>
                    <a:pt x="546" y="153"/>
                    <a:pt x="545" y="153"/>
                  </a:cubicBezTo>
                  <a:cubicBezTo>
                    <a:pt x="543" y="154"/>
                    <a:pt x="541" y="156"/>
                    <a:pt x="541" y="159"/>
                  </a:cubicBezTo>
                  <a:cubicBezTo>
                    <a:pt x="541" y="159"/>
                    <a:pt x="541" y="159"/>
                    <a:pt x="541" y="159"/>
                  </a:cubicBezTo>
                  <a:cubicBezTo>
                    <a:pt x="541" y="159"/>
                    <a:pt x="518" y="163"/>
                    <a:pt x="489" y="167"/>
                  </a:cubicBezTo>
                  <a:cubicBezTo>
                    <a:pt x="497" y="144"/>
                    <a:pt x="507" y="115"/>
                    <a:pt x="509" y="115"/>
                  </a:cubicBezTo>
                  <a:cubicBezTo>
                    <a:pt x="509" y="115"/>
                    <a:pt x="509" y="115"/>
                    <a:pt x="509" y="115"/>
                  </a:cubicBezTo>
                  <a:cubicBezTo>
                    <a:pt x="509" y="115"/>
                    <a:pt x="509" y="115"/>
                    <a:pt x="509" y="115"/>
                  </a:cubicBezTo>
                  <a:cubicBezTo>
                    <a:pt x="509" y="115"/>
                    <a:pt x="510" y="115"/>
                    <a:pt x="510" y="115"/>
                  </a:cubicBezTo>
                  <a:cubicBezTo>
                    <a:pt x="512" y="115"/>
                    <a:pt x="513" y="115"/>
                    <a:pt x="515" y="115"/>
                  </a:cubicBezTo>
                  <a:cubicBezTo>
                    <a:pt x="520" y="112"/>
                    <a:pt x="522" y="107"/>
                    <a:pt x="519" y="102"/>
                  </a:cubicBezTo>
                  <a:cubicBezTo>
                    <a:pt x="518" y="98"/>
                    <a:pt x="514" y="96"/>
                    <a:pt x="510" y="96"/>
                  </a:cubicBezTo>
                  <a:cubicBezTo>
                    <a:pt x="509" y="96"/>
                    <a:pt x="507" y="97"/>
                    <a:pt x="506" y="97"/>
                  </a:cubicBezTo>
                  <a:cubicBezTo>
                    <a:pt x="504" y="98"/>
                    <a:pt x="503" y="99"/>
                    <a:pt x="502" y="100"/>
                  </a:cubicBezTo>
                  <a:cubicBezTo>
                    <a:pt x="502" y="100"/>
                    <a:pt x="502" y="100"/>
                    <a:pt x="502" y="100"/>
                  </a:cubicBezTo>
                  <a:cubicBezTo>
                    <a:pt x="502" y="100"/>
                    <a:pt x="502" y="100"/>
                    <a:pt x="502" y="100"/>
                  </a:cubicBezTo>
                  <a:cubicBezTo>
                    <a:pt x="498" y="100"/>
                    <a:pt x="453" y="77"/>
                    <a:pt x="454" y="75"/>
                  </a:cubicBezTo>
                  <a:cubicBezTo>
                    <a:pt x="454" y="75"/>
                    <a:pt x="454" y="75"/>
                    <a:pt x="454" y="75"/>
                  </a:cubicBezTo>
                  <a:cubicBezTo>
                    <a:pt x="455" y="73"/>
                    <a:pt x="455" y="69"/>
                    <a:pt x="453" y="67"/>
                  </a:cubicBezTo>
                  <a:cubicBezTo>
                    <a:pt x="451" y="62"/>
                    <a:pt x="447" y="60"/>
                    <a:pt x="443" y="60"/>
                  </a:cubicBezTo>
                  <a:cubicBezTo>
                    <a:pt x="441" y="60"/>
                    <a:pt x="439" y="60"/>
                    <a:pt x="438" y="61"/>
                  </a:cubicBezTo>
                  <a:cubicBezTo>
                    <a:pt x="433" y="63"/>
                    <a:pt x="431" y="67"/>
                    <a:pt x="431" y="71"/>
                  </a:cubicBezTo>
                  <a:cubicBezTo>
                    <a:pt x="431" y="71"/>
                    <a:pt x="431" y="71"/>
                    <a:pt x="431" y="71"/>
                  </a:cubicBezTo>
                  <a:cubicBezTo>
                    <a:pt x="431" y="73"/>
                    <a:pt x="295" y="88"/>
                    <a:pt x="278" y="88"/>
                  </a:cubicBezTo>
                  <a:cubicBezTo>
                    <a:pt x="277" y="88"/>
                    <a:pt x="277" y="88"/>
                    <a:pt x="277" y="88"/>
                  </a:cubicBezTo>
                  <a:cubicBezTo>
                    <a:pt x="277" y="88"/>
                    <a:pt x="277" y="88"/>
                    <a:pt x="277" y="88"/>
                  </a:cubicBezTo>
                  <a:cubicBezTo>
                    <a:pt x="276" y="88"/>
                    <a:pt x="276" y="87"/>
                    <a:pt x="276" y="86"/>
                  </a:cubicBezTo>
                  <a:cubicBezTo>
                    <a:pt x="274" y="82"/>
                    <a:pt x="270" y="80"/>
                    <a:pt x="265" y="80"/>
                  </a:cubicBezTo>
                  <a:cubicBezTo>
                    <a:pt x="263" y="80"/>
                    <a:pt x="262" y="80"/>
                    <a:pt x="260" y="81"/>
                  </a:cubicBezTo>
                  <a:cubicBezTo>
                    <a:pt x="254" y="84"/>
                    <a:pt x="251" y="90"/>
                    <a:pt x="254" y="96"/>
                  </a:cubicBezTo>
                  <a:cubicBezTo>
                    <a:pt x="256" y="99"/>
                    <a:pt x="258" y="101"/>
                    <a:pt x="260" y="102"/>
                  </a:cubicBezTo>
                  <a:cubicBezTo>
                    <a:pt x="260" y="102"/>
                    <a:pt x="260" y="102"/>
                    <a:pt x="260" y="102"/>
                  </a:cubicBezTo>
                  <a:cubicBezTo>
                    <a:pt x="262" y="103"/>
                    <a:pt x="250" y="143"/>
                    <a:pt x="249" y="143"/>
                  </a:cubicBezTo>
                  <a:cubicBezTo>
                    <a:pt x="249" y="143"/>
                    <a:pt x="249" y="143"/>
                    <a:pt x="249" y="143"/>
                  </a:cubicBezTo>
                  <a:cubicBezTo>
                    <a:pt x="249" y="143"/>
                    <a:pt x="249" y="143"/>
                    <a:pt x="249" y="143"/>
                  </a:cubicBezTo>
                  <a:cubicBezTo>
                    <a:pt x="249" y="143"/>
                    <a:pt x="249" y="143"/>
                    <a:pt x="249" y="143"/>
                  </a:cubicBezTo>
                  <a:cubicBezTo>
                    <a:pt x="248" y="143"/>
                    <a:pt x="248" y="143"/>
                    <a:pt x="247" y="143"/>
                  </a:cubicBezTo>
                  <a:cubicBezTo>
                    <a:pt x="246" y="144"/>
                    <a:pt x="245" y="145"/>
                    <a:pt x="245" y="146"/>
                  </a:cubicBezTo>
                  <a:cubicBezTo>
                    <a:pt x="245" y="146"/>
                    <a:pt x="245" y="146"/>
                    <a:pt x="245" y="146"/>
                  </a:cubicBezTo>
                  <a:cubicBezTo>
                    <a:pt x="245" y="146"/>
                    <a:pt x="245" y="146"/>
                    <a:pt x="244" y="146"/>
                  </a:cubicBezTo>
                  <a:cubicBezTo>
                    <a:pt x="237" y="146"/>
                    <a:pt x="185" y="141"/>
                    <a:pt x="185" y="140"/>
                  </a:cubicBezTo>
                  <a:cubicBezTo>
                    <a:pt x="185" y="140"/>
                    <a:pt x="185" y="140"/>
                    <a:pt x="185" y="140"/>
                  </a:cubicBezTo>
                  <a:cubicBezTo>
                    <a:pt x="185" y="139"/>
                    <a:pt x="185" y="138"/>
                    <a:pt x="184" y="138"/>
                  </a:cubicBezTo>
                  <a:cubicBezTo>
                    <a:pt x="184" y="137"/>
                    <a:pt x="184" y="137"/>
                    <a:pt x="184" y="137"/>
                  </a:cubicBezTo>
                  <a:cubicBezTo>
                    <a:pt x="184" y="137"/>
                    <a:pt x="184" y="137"/>
                    <a:pt x="184" y="137"/>
                  </a:cubicBezTo>
                  <a:cubicBezTo>
                    <a:pt x="183" y="136"/>
                    <a:pt x="209" y="113"/>
                    <a:pt x="211" y="113"/>
                  </a:cubicBezTo>
                  <a:cubicBezTo>
                    <a:pt x="211" y="113"/>
                    <a:pt x="211" y="113"/>
                    <a:pt x="211" y="113"/>
                  </a:cubicBezTo>
                  <a:cubicBezTo>
                    <a:pt x="210" y="113"/>
                    <a:pt x="210" y="113"/>
                    <a:pt x="210" y="113"/>
                  </a:cubicBezTo>
                  <a:cubicBezTo>
                    <a:pt x="211" y="114"/>
                    <a:pt x="212" y="114"/>
                    <a:pt x="214" y="114"/>
                  </a:cubicBezTo>
                  <a:cubicBezTo>
                    <a:pt x="214" y="114"/>
                    <a:pt x="215" y="114"/>
                    <a:pt x="216" y="114"/>
                  </a:cubicBezTo>
                  <a:cubicBezTo>
                    <a:pt x="218" y="113"/>
                    <a:pt x="219" y="110"/>
                    <a:pt x="218" y="107"/>
                  </a:cubicBezTo>
                  <a:cubicBezTo>
                    <a:pt x="217" y="106"/>
                    <a:pt x="215" y="105"/>
                    <a:pt x="214" y="105"/>
                  </a:cubicBezTo>
                  <a:cubicBezTo>
                    <a:pt x="213" y="105"/>
                    <a:pt x="212" y="105"/>
                    <a:pt x="211" y="105"/>
                  </a:cubicBezTo>
                  <a:cubicBezTo>
                    <a:pt x="211" y="106"/>
                    <a:pt x="211" y="106"/>
                    <a:pt x="211" y="106"/>
                  </a:cubicBezTo>
                  <a:cubicBezTo>
                    <a:pt x="211" y="106"/>
                    <a:pt x="211" y="106"/>
                    <a:pt x="211" y="106"/>
                  </a:cubicBezTo>
                  <a:cubicBezTo>
                    <a:pt x="211" y="106"/>
                    <a:pt x="211" y="106"/>
                    <a:pt x="211" y="106"/>
                  </a:cubicBezTo>
                  <a:cubicBezTo>
                    <a:pt x="209" y="106"/>
                    <a:pt x="175" y="72"/>
                    <a:pt x="176" y="70"/>
                  </a:cubicBezTo>
                  <a:cubicBezTo>
                    <a:pt x="176" y="70"/>
                    <a:pt x="176" y="70"/>
                    <a:pt x="176" y="70"/>
                  </a:cubicBezTo>
                  <a:cubicBezTo>
                    <a:pt x="177" y="69"/>
                    <a:pt x="178" y="67"/>
                    <a:pt x="178" y="65"/>
                  </a:cubicBezTo>
                  <a:cubicBezTo>
                    <a:pt x="178" y="59"/>
                    <a:pt x="174" y="55"/>
                    <a:pt x="168" y="55"/>
                  </a:cubicBezTo>
                  <a:cubicBezTo>
                    <a:pt x="163" y="55"/>
                    <a:pt x="158" y="59"/>
                    <a:pt x="158" y="65"/>
                  </a:cubicBezTo>
                  <a:cubicBezTo>
                    <a:pt x="158" y="68"/>
                    <a:pt x="160" y="70"/>
                    <a:pt x="162" y="72"/>
                  </a:cubicBezTo>
                  <a:cubicBezTo>
                    <a:pt x="162" y="72"/>
                    <a:pt x="162" y="72"/>
                    <a:pt x="162" y="72"/>
                  </a:cubicBezTo>
                  <a:cubicBezTo>
                    <a:pt x="164" y="73"/>
                    <a:pt x="131" y="132"/>
                    <a:pt x="127" y="132"/>
                  </a:cubicBezTo>
                  <a:cubicBezTo>
                    <a:pt x="127" y="132"/>
                    <a:pt x="127" y="132"/>
                    <a:pt x="127" y="132"/>
                  </a:cubicBezTo>
                  <a:cubicBezTo>
                    <a:pt x="127" y="132"/>
                    <a:pt x="127" y="132"/>
                    <a:pt x="127" y="132"/>
                  </a:cubicBezTo>
                  <a:cubicBezTo>
                    <a:pt x="126" y="132"/>
                    <a:pt x="124" y="132"/>
                    <a:pt x="122" y="132"/>
                  </a:cubicBezTo>
                  <a:cubicBezTo>
                    <a:pt x="121" y="132"/>
                    <a:pt x="120" y="132"/>
                    <a:pt x="119" y="132"/>
                  </a:cubicBezTo>
                  <a:cubicBezTo>
                    <a:pt x="119" y="132"/>
                    <a:pt x="119" y="132"/>
                    <a:pt x="119" y="132"/>
                  </a:cubicBezTo>
                  <a:cubicBezTo>
                    <a:pt x="119" y="132"/>
                    <a:pt x="119" y="132"/>
                    <a:pt x="119" y="132"/>
                  </a:cubicBezTo>
                  <a:cubicBezTo>
                    <a:pt x="118" y="132"/>
                    <a:pt x="113" y="122"/>
                    <a:pt x="109" y="112"/>
                  </a:cubicBezTo>
                  <a:cubicBezTo>
                    <a:pt x="113" y="122"/>
                    <a:pt x="117" y="133"/>
                    <a:pt x="115" y="133"/>
                  </a:cubicBezTo>
                  <a:cubicBezTo>
                    <a:pt x="116" y="133"/>
                    <a:pt x="116" y="133"/>
                    <a:pt x="116" y="133"/>
                  </a:cubicBezTo>
                  <a:cubicBezTo>
                    <a:pt x="115" y="133"/>
                    <a:pt x="115" y="133"/>
                    <a:pt x="115" y="133"/>
                  </a:cubicBezTo>
                  <a:cubicBezTo>
                    <a:pt x="115" y="133"/>
                    <a:pt x="115" y="133"/>
                    <a:pt x="115" y="133"/>
                  </a:cubicBezTo>
                  <a:cubicBezTo>
                    <a:pt x="115" y="133"/>
                    <a:pt x="115" y="133"/>
                    <a:pt x="115" y="133"/>
                  </a:cubicBezTo>
                  <a:cubicBezTo>
                    <a:pt x="112" y="133"/>
                    <a:pt x="26" y="30"/>
                    <a:pt x="14" y="13"/>
                  </a:cubicBezTo>
                  <a:cubicBezTo>
                    <a:pt x="28" y="23"/>
                    <a:pt x="95" y="83"/>
                    <a:pt x="95" y="84"/>
                  </a:cubicBezTo>
                  <a:cubicBezTo>
                    <a:pt x="95" y="84"/>
                    <a:pt x="95" y="84"/>
                    <a:pt x="95" y="84"/>
                  </a:cubicBezTo>
                  <a:cubicBezTo>
                    <a:pt x="94" y="85"/>
                    <a:pt x="94" y="86"/>
                    <a:pt x="95" y="88"/>
                  </a:cubicBezTo>
                  <a:cubicBezTo>
                    <a:pt x="95" y="89"/>
                    <a:pt x="97" y="90"/>
                    <a:pt x="98" y="90"/>
                  </a:cubicBezTo>
                  <a:cubicBezTo>
                    <a:pt x="99" y="90"/>
                    <a:pt x="99" y="90"/>
                    <a:pt x="99" y="90"/>
                  </a:cubicBezTo>
                  <a:cubicBezTo>
                    <a:pt x="99" y="90"/>
                    <a:pt x="99" y="90"/>
                    <a:pt x="99" y="90"/>
                  </a:cubicBezTo>
                  <a:cubicBezTo>
                    <a:pt x="99" y="90"/>
                    <a:pt x="99" y="90"/>
                    <a:pt x="99" y="90"/>
                  </a:cubicBezTo>
                  <a:cubicBezTo>
                    <a:pt x="100" y="90"/>
                    <a:pt x="103" y="97"/>
                    <a:pt x="106" y="105"/>
                  </a:cubicBezTo>
                  <a:cubicBezTo>
                    <a:pt x="103" y="97"/>
                    <a:pt x="100" y="90"/>
                    <a:pt x="101" y="90"/>
                  </a:cubicBezTo>
                  <a:cubicBezTo>
                    <a:pt x="100" y="90"/>
                    <a:pt x="100" y="90"/>
                    <a:pt x="100" y="90"/>
                  </a:cubicBezTo>
                  <a:cubicBezTo>
                    <a:pt x="102" y="89"/>
                    <a:pt x="103" y="86"/>
                    <a:pt x="102" y="84"/>
                  </a:cubicBezTo>
                  <a:cubicBezTo>
                    <a:pt x="102" y="83"/>
                    <a:pt x="100" y="82"/>
                    <a:pt x="98" y="82"/>
                  </a:cubicBezTo>
                  <a:cubicBezTo>
                    <a:pt x="98" y="82"/>
                    <a:pt x="97" y="82"/>
                    <a:pt x="97" y="83"/>
                  </a:cubicBezTo>
                  <a:cubicBezTo>
                    <a:pt x="96" y="83"/>
                    <a:pt x="96" y="83"/>
                    <a:pt x="96" y="83"/>
                  </a:cubicBezTo>
                  <a:cubicBezTo>
                    <a:pt x="96" y="83"/>
                    <a:pt x="96" y="83"/>
                    <a:pt x="96" y="83"/>
                  </a:cubicBezTo>
                  <a:cubicBezTo>
                    <a:pt x="96" y="83"/>
                    <a:pt x="96" y="83"/>
                    <a:pt x="96" y="83"/>
                  </a:cubicBezTo>
                  <a:cubicBezTo>
                    <a:pt x="95" y="83"/>
                    <a:pt x="13" y="11"/>
                    <a:pt x="13" y="10"/>
                  </a:cubicBezTo>
                  <a:cubicBezTo>
                    <a:pt x="13" y="10"/>
                    <a:pt x="13" y="10"/>
                    <a:pt x="13" y="10"/>
                  </a:cubicBezTo>
                  <a:cubicBezTo>
                    <a:pt x="15" y="8"/>
                    <a:pt x="15" y="6"/>
                    <a:pt x="14" y="3"/>
                  </a:cubicBezTo>
                  <a:cubicBezTo>
                    <a:pt x="13" y="1"/>
                    <a:pt x="10" y="0"/>
                    <a:pt x="8"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8" name="Freeform 10"/>
            <p:cNvSpPr>
              <a:spLocks noEditPoints="1"/>
            </p:cNvSpPr>
            <p:nvPr/>
          </p:nvSpPr>
          <p:spPr bwMode="auto">
            <a:xfrm>
              <a:off x="6415088" y="4025900"/>
              <a:ext cx="315913" cy="323850"/>
            </a:xfrm>
            <a:custGeom>
              <a:avLst/>
              <a:gdLst>
                <a:gd name="T0" fmla="*/ 14 w 84"/>
                <a:gd name="T1" fmla="*/ 43 h 86"/>
                <a:gd name="T2" fmla="*/ 45 w 84"/>
                <a:gd name="T3" fmla="*/ 13 h 86"/>
                <a:gd name="T4" fmla="*/ 45 w 84"/>
                <a:gd name="T5" fmla="*/ 13 h 86"/>
                <a:gd name="T6" fmla="*/ 45 w 84"/>
                <a:gd name="T7" fmla="*/ 13 h 86"/>
                <a:gd name="T8" fmla="*/ 49 w 84"/>
                <a:gd name="T9" fmla="*/ 14 h 86"/>
                <a:gd name="T10" fmla="*/ 52 w 84"/>
                <a:gd name="T11" fmla="*/ 14 h 86"/>
                <a:gd name="T12" fmla="*/ 52 w 84"/>
                <a:gd name="T13" fmla="*/ 14 h 86"/>
                <a:gd name="T14" fmla="*/ 52 w 84"/>
                <a:gd name="T15" fmla="*/ 14 h 86"/>
                <a:gd name="T16" fmla="*/ 76 w 84"/>
                <a:gd name="T17" fmla="*/ 49 h 86"/>
                <a:gd name="T18" fmla="*/ 76 w 84"/>
                <a:gd name="T19" fmla="*/ 49 h 86"/>
                <a:gd name="T20" fmla="*/ 74 w 84"/>
                <a:gd name="T21" fmla="*/ 53 h 86"/>
                <a:gd name="T22" fmla="*/ 74 w 84"/>
                <a:gd name="T23" fmla="*/ 55 h 86"/>
                <a:gd name="T24" fmla="*/ 74 w 84"/>
                <a:gd name="T25" fmla="*/ 55 h 86"/>
                <a:gd name="T26" fmla="*/ 42 w 84"/>
                <a:gd name="T27" fmla="*/ 80 h 86"/>
                <a:gd name="T28" fmla="*/ 42 w 84"/>
                <a:gd name="T29" fmla="*/ 80 h 86"/>
                <a:gd name="T30" fmla="*/ 42 w 84"/>
                <a:gd name="T31" fmla="*/ 80 h 86"/>
                <a:gd name="T32" fmla="*/ 39 w 84"/>
                <a:gd name="T33" fmla="*/ 79 h 86"/>
                <a:gd name="T34" fmla="*/ 37 w 84"/>
                <a:gd name="T35" fmla="*/ 79 h 86"/>
                <a:gd name="T36" fmla="*/ 37 w 84"/>
                <a:gd name="T37" fmla="*/ 79 h 86"/>
                <a:gd name="T38" fmla="*/ 37 w 84"/>
                <a:gd name="T39" fmla="*/ 79 h 86"/>
                <a:gd name="T40" fmla="*/ 37 w 84"/>
                <a:gd name="T41" fmla="*/ 79 h 86"/>
                <a:gd name="T42" fmla="*/ 14 w 84"/>
                <a:gd name="T43" fmla="*/ 52 h 86"/>
                <a:gd name="T44" fmla="*/ 14 w 84"/>
                <a:gd name="T45" fmla="*/ 52 h 86"/>
                <a:gd name="T46" fmla="*/ 15 w 84"/>
                <a:gd name="T47" fmla="*/ 48 h 86"/>
                <a:gd name="T48" fmla="*/ 14 w 84"/>
                <a:gd name="T49" fmla="*/ 43 h 86"/>
                <a:gd name="T50" fmla="*/ 14 w 84"/>
                <a:gd name="T51" fmla="*/ 43 h 86"/>
                <a:gd name="T52" fmla="*/ 49 w 84"/>
                <a:gd name="T53" fmla="*/ 0 h 86"/>
                <a:gd name="T54" fmla="*/ 46 w 84"/>
                <a:gd name="T55" fmla="*/ 0 h 86"/>
                <a:gd name="T56" fmla="*/ 42 w 84"/>
                <a:gd name="T57" fmla="*/ 10 h 86"/>
                <a:gd name="T58" fmla="*/ 43 w 84"/>
                <a:gd name="T59" fmla="*/ 11 h 86"/>
                <a:gd name="T60" fmla="*/ 43 w 84"/>
                <a:gd name="T61" fmla="*/ 11 h 86"/>
                <a:gd name="T62" fmla="*/ 12 w 84"/>
                <a:gd name="T63" fmla="*/ 42 h 86"/>
                <a:gd name="T64" fmla="*/ 12 w 84"/>
                <a:gd name="T65" fmla="*/ 42 h 86"/>
                <a:gd name="T66" fmla="*/ 12 w 84"/>
                <a:gd name="T67" fmla="*/ 42 h 86"/>
                <a:gd name="T68" fmla="*/ 8 w 84"/>
                <a:gd name="T69" fmla="*/ 40 h 86"/>
                <a:gd name="T70" fmla="*/ 0 w 84"/>
                <a:gd name="T71" fmla="*/ 48 h 86"/>
                <a:gd name="T72" fmla="*/ 8 w 84"/>
                <a:gd name="T73" fmla="*/ 55 h 86"/>
                <a:gd name="T74" fmla="*/ 12 w 84"/>
                <a:gd name="T75" fmla="*/ 54 h 86"/>
                <a:gd name="T76" fmla="*/ 12 w 84"/>
                <a:gd name="T77" fmla="*/ 54 h 86"/>
                <a:gd name="T78" fmla="*/ 12 w 84"/>
                <a:gd name="T79" fmla="*/ 54 h 86"/>
                <a:gd name="T80" fmla="*/ 36 w 84"/>
                <a:gd name="T81" fmla="*/ 80 h 86"/>
                <a:gd name="T82" fmla="*/ 36 w 84"/>
                <a:gd name="T83" fmla="*/ 80 h 86"/>
                <a:gd name="T84" fmla="*/ 35 w 84"/>
                <a:gd name="T85" fmla="*/ 84 h 86"/>
                <a:gd name="T86" fmla="*/ 39 w 84"/>
                <a:gd name="T87" fmla="*/ 86 h 86"/>
                <a:gd name="T88" fmla="*/ 41 w 84"/>
                <a:gd name="T89" fmla="*/ 86 h 86"/>
                <a:gd name="T90" fmla="*/ 43 w 84"/>
                <a:gd name="T91" fmla="*/ 81 h 86"/>
                <a:gd name="T92" fmla="*/ 42 w 84"/>
                <a:gd name="T93" fmla="*/ 81 h 86"/>
                <a:gd name="T94" fmla="*/ 42 w 84"/>
                <a:gd name="T95" fmla="*/ 81 h 86"/>
                <a:gd name="T96" fmla="*/ 75 w 84"/>
                <a:gd name="T97" fmla="*/ 56 h 86"/>
                <a:gd name="T98" fmla="*/ 75 w 84"/>
                <a:gd name="T99" fmla="*/ 56 h 86"/>
                <a:gd name="T100" fmla="*/ 75 w 84"/>
                <a:gd name="T101" fmla="*/ 56 h 86"/>
                <a:gd name="T102" fmla="*/ 79 w 84"/>
                <a:gd name="T103" fmla="*/ 58 h 86"/>
                <a:gd name="T104" fmla="*/ 84 w 84"/>
                <a:gd name="T105" fmla="*/ 53 h 86"/>
                <a:gd name="T106" fmla="*/ 79 w 84"/>
                <a:gd name="T107" fmla="*/ 48 h 86"/>
                <a:gd name="T108" fmla="*/ 77 w 84"/>
                <a:gd name="T109" fmla="*/ 48 h 86"/>
                <a:gd name="T110" fmla="*/ 77 w 84"/>
                <a:gd name="T111" fmla="*/ 48 h 86"/>
                <a:gd name="T112" fmla="*/ 54 w 84"/>
                <a:gd name="T113" fmla="*/ 13 h 86"/>
                <a:gd name="T114" fmla="*/ 54 w 84"/>
                <a:gd name="T115" fmla="*/ 13 h 86"/>
                <a:gd name="T116" fmla="*/ 56 w 84"/>
                <a:gd name="T117" fmla="*/ 4 h 86"/>
                <a:gd name="T118" fmla="*/ 49 w 84"/>
                <a:gd name="T11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6">
                  <a:moveTo>
                    <a:pt x="14" y="43"/>
                  </a:moveTo>
                  <a:cubicBezTo>
                    <a:pt x="13" y="42"/>
                    <a:pt x="43" y="13"/>
                    <a:pt x="45" y="13"/>
                  </a:cubicBezTo>
                  <a:cubicBezTo>
                    <a:pt x="45" y="13"/>
                    <a:pt x="45" y="13"/>
                    <a:pt x="45" y="13"/>
                  </a:cubicBezTo>
                  <a:cubicBezTo>
                    <a:pt x="45" y="13"/>
                    <a:pt x="45" y="13"/>
                    <a:pt x="45" y="13"/>
                  </a:cubicBezTo>
                  <a:cubicBezTo>
                    <a:pt x="46" y="14"/>
                    <a:pt x="48" y="14"/>
                    <a:pt x="49" y="14"/>
                  </a:cubicBezTo>
                  <a:cubicBezTo>
                    <a:pt x="50" y="14"/>
                    <a:pt x="51" y="14"/>
                    <a:pt x="52" y="14"/>
                  </a:cubicBezTo>
                  <a:cubicBezTo>
                    <a:pt x="52" y="14"/>
                    <a:pt x="52" y="14"/>
                    <a:pt x="52" y="14"/>
                  </a:cubicBezTo>
                  <a:cubicBezTo>
                    <a:pt x="52" y="14"/>
                    <a:pt x="52" y="14"/>
                    <a:pt x="52" y="14"/>
                  </a:cubicBezTo>
                  <a:cubicBezTo>
                    <a:pt x="54" y="14"/>
                    <a:pt x="76" y="48"/>
                    <a:pt x="76" y="49"/>
                  </a:cubicBezTo>
                  <a:cubicBezTo>
                    <a:pt x="76" y="49"/>
                    <a:pt x="76" y="49"/>
                    <a:pt x="76" y="49"/>
                  </a:cubicBezTo>
                  <a:cubicBezTo>
                    <a:pt x="75" y="50"/>
                    <a:pt x="74" y="51"/>
                    <a:pt x="74" y="53"/>
                  </a:cubicBezTo>
                  <a:cubicBezTo>
                    <a:pt x="74" y="54"/>
                    <a:pt x="74" y="54"/>
                    <a:pt x="74" y="55"/>
                  </a:cubicBezTo>
                  <a:cubicBezTo>
                    <a:pt x="74" y="55"/>
                    <a:pt x="74" y="55"/>
                    <a:pt x="74" y="55"/>
                  </a:cubicBezTo>
                  <a:cubicBezTo>
                    <a:pt x="75" y="56"/>
                    <a:pt x="43" y="80"/>
                    <a:pt x="42" y="80"/>
                  </a:cubicBezTo>
                  <a:cubicBezTo>
                    <a:pt x="42" y="80"/>
                    <a:pt x="42" y="80"/>
                    <a:pt x="42" y="80"/>
                  </a:cubicBezTo>
                  <a:cubicBezTo>
                    <a:pt x="42" y="80"/>
                    <a:pt x="42" y="80"/>
                    <a:pt x="42" y="80"/>
                  </a:cubicBezTo>
                  <a:cubicBezTo>
                    <a:pt x="41" y="79"/>
                    <a:pt x="40" y="79"/>
                    <a:pt x="39" y="79"/>
                  </a:cubicBezTo>
                  <a:cubicBezTo>
                    <a:pt x="38" y="79"/>
                    <a:pt x="38" y="79"/>
                    <a:pt x="37" y="79"/>
                  </a:cubicBezTo>
                  <a:cubicBezTo>
                    <a:pt x="37" y="79"/>
                    <a:pt x="37" y="79"/>
                    <a:pt x="37" y="79"/>
                  </a:cubicBezTo>
                  <a:cubicBezTo>
                    <a:pt x="37" y="79"/>
                    <a:pt x="37" y="79"/>
                    <a:pt x="37" y="79"/>
                  </a:cubicBezTo>
                  <a:cubicBezTo>
                    <a:pt x="37" y="79"/>
                    <a:pt x="37" y="79"/>
                    <a:pt x="37" y="79"/>
                  </a:cubicBezTo>
                  <a:cubicBezTo>
                    <a:pt x="36" y="79"/>
                    <a:pt x="13" y="54"/>
                    <a:pt x="14" y="52"/>
                  </a:cubicBezTo>
                  <a:cubicBezTo>
                    <a:pt x="14" y="52"/>
                    <a:pt x="14" y="52"/>
                    <a:pt x="14" y="52"/>
                  </a:cubicBezTo>
                  <a:cubicBezTo>
                    <a:pt x="15" y="51"/>
                    <a:pt x="15" y="49"/>
                    <a:pt x="15" y="48"/>
                  </a:cubicBezTo>
                  <a:cubicBezTo>
                    <a:pt x="15" y="46"/>
                    <a:pt x="15" y="44"/>
                    <a:pt x="14" y="43"/>
                  </a:cubicBezTo>
                  <a:cubicBezTo>
                    <a:pt x="14" y="43"/>
                    <a:pt x="14" y="43"/>
                    <a:pt x="14" y="43"/>
                  </a:cubicBezTo>
                  <a:moveTo>
                    <a:pt x="49" y="0"/>
                  </a:moveTo>
                  <a:cubicBezTo>
                    <a:pt x="48" y="0"/>
                    <a:pt x="47" y="0"/>
                    <a:pt x="46" y="0"/>
                  </a:cubicBezTo>
                  <a:cubicBezTo>
                    <a:pt x="42" y="2"/>
                    <a:pt x="41" y="7"/>
                    <a:pt x="42" y="10"/>
                  </a:cubicBezTo>
                  <a:cubicBezTo>
                    <a:pt x="43" y="11"/>
                    <a:pt x="43" y="11"/>
                    <a:pt x="43" y="11"/>
                  </a:cubicBezTo>
                  <a:cubicBezTo>
                    <a:pt x="43" y="11"/>
                    <a:pt x="43" y="11"/>
                    <a:pt x="43" y="11"/>
                  </a:cubicBezTo>
                  <a:cubicBezTo>
                    <a:pt x="44" y="13"/>
                    <a:pt x="14" y="42"/>
                    <a:pt x="12" y="42"/>
                  </a:cubicBezTo>
                  <a:cubicBezTo>
                    <a:pt x="12" y="42"/>
                    <a:pt x="12" y="42"/>
                    <a:pt x="12" y="42"/>
                  </a:cubicBezTo>
                  <a:cubicBezTo>
                    <a:pt x="12" y="42"/>
                    <a:pt x="12" y="42"/>
                    <a:pt x="12" y="42"/>
                  </a:cubicBezTo>
                  <a:cubicBezTo>
                    <a:pt x="11" y="41"/>
                    <a:pt x="9" y="40"/>
                    <a:pt x="8" y="40"/>
                  </a:cubicBezTo>
                  <a:cubicBezTo>
                    <a:pt x="4" y="40"/>
                    <a:pt x="0" y="44"/>
                    <a:pt x="0" y="48"/>
                  </a:cubicBezTo>
                  <a:cubicBezTo>
                    <a:pt x="0" y="52"/>
                    <a:pt x="4" y="55"/>
                    <a:pt x="8" y="55"/>
                  </a:cubicBezTo>
                  <a:cubicBezTo>
                    <a:pt x="9" y="55"/>
                    <a:pt x="11" y="55"/>
                    <a:pt x="12" y="54"/>
                  </a:cubicBezTo>
                  <a:cubicBezTo>
                    <a:pt x="12" y="54"/>
                    <a:pt x="12" y="54"/>
                    <a:pt x="12" y="54"/>
                  </a:cubicBezTo>
                  <a:cubicBezTo>
                    <a:pt x="12" y="54"/>
                    <a:pt x="12" y="54"/>
                    <a:pt x="12" y="54"/>
                  </a:cubicBezTo>
                  <a:cubicBezTo>
                    <a:pt x="14" y="54"/>
                    <a:pt x="36" y="79"/>
                    <a:pt x="36" y="80"/>
                  </a:cubicBezTo>
                  <a:cubicBezTo>
                    <a:pt x="36" y="80"/>
                    <a:pt x="36" y="80"/>
                    <a:pt x="36" y="80"/>
                  </a:cubicBezTo>
                  <a:cubicBezTo>
                    <a:pt x="35" y="81"/>
                    <a:pt x="35" y="83"/>
                    <a:pt x="35" y="84"/>
                  </a:cubicBezTo>
                  <a:cubicBezTo>
                    <a:pt x="36" y="85"/>
                    <a:pt x="37" y="86"/>
                    <a:pt x="39" y="86"/>
                  </a:cubicBezTo>
                  <a:cubicBezTo>
                    <a:pt x="40" y="86"/>
                    <a:pt x="40" y="86"/>
                    <a:pt x="41" y="86"/>
                  </a:cubicBezTo>
                  <a:cubicBezTo>
                    <a:pt x="43" y="85"/>
                    <a:pt x="44" y="83"/>
                    <a:pt x="43" y="81"/>
                  </a:cubicBezTo>
                  <a:cubicBezTo>
                    <a:pt x="42" y="81"/>
                    <a:pt x="42" y="81"/>
                    <a:pt x="42" y="81"/>
                  </a:cubicBezTo>
                  <a:cubicBezTo>
                    <a:pt x="42" y="81"/>
                    <a:pt x="42" y="81"/>
                    <a:pt x="42" y="81"/>
                  </a:cubicBezTo>
                  <a:cubicBezTo>
                    <a:pt x="42" y="80"/>
                    <a:pt x="74" y="56"/>
                    <a:pt x="75" y="56"/>
                  </a:cubicBezTo>
                  <a:cubicBezTo>
                    <a:pt x="75" y="56"/>
                    <a:pt x="75" y="56"/>
                    <a:pt x="75" y="56"/>
                  </a:cubicBezTo>
                  <a:cubicBezTo>
                    <a:pt x="75" y="56"/>
                    <a:pt x="75" y="56"/>
                    <a:pt x="75" y="56"/>
                  </a:cubicBezTo>
                  <a:cubicBezTo>
                    <a:pt x="76" y="57"/>
                    <a:pt x="78" y="58"/>
                    <a:pt x="79" y="58"/>
                  </a:cubicBezTo>
                  <a:cubicBezTo>
                    <a:pt x="82" y="58"/>
                    <a:pt x="84" y="55"/>
                    <a:pt x="84" y="53"/>
                  </a:cubicBezTo>
                  <a:cubicBezTo>
                    <a:pt x="84" y="50"/>
                    <a:pt x="82" y="48"/>
                    <a:pt x="79" y="48"/>
                  </a:cubicBezTo>
                  <a:cubicBezTo>
                    <a:pt x="78" y="48"/>
                    <a:pt x="78" y="48"/>
                    <a:pt x="77" y="48"/>
                  </a:cubicBezTo>
                  <a:cubicBezTo>
                    <a:pt x="77" y="48"/>
                    <a:pt x="77" y="48"/>
                    <a:pt x="77" y="48"/>
                  </a:cubicBezTo>
                  <a:cubicBezTo>
                    <a:pt x="76" y="48"/>
                    <a:pt x="53" y="14"/>
                    <a:pt x="54" y="13"/>
                  </a:cubicBezTo>
                  <a:cubicBezTo>
                    <a:pt x="54" y="13"/>
                    <a:pt x="54" y="13"/>
                    <a:pt x="54" y="13"/>
                  </a:cubicBezTo>
                  <a:cubicBezTo>
                    <a:pt x="57" y="11"/>
                    <a:pt x="58" y="7"/>
                    <a:pt x="56" y="4"/>
                  </a:cubicBezTo>
                  <a:cubicBezTo>
                    <a:pt x="55" y="1"/>
                    <a:pt x="52" y="0"/>
                    <a:pt x="49"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 name="Freeform 11"/>
            <p:cNvSpPr>
              <a:spLocks/>
            </p:cNvSpPr>
            <p:nvPr/>
          </p:nvSpPr>
          <p:spPr bwMode="auto">
            <a:xfrm>
              <a:off x="4856163" y="2439988"/>
              <a:ext cx="87313" cy="74613"/>
            </a:xfrm>
            <a:custGeom>
              <a:avLst/>
              <a:gdLst>
                <a:gd name="T0" fmla="*/ 12 w 23"/>
                <a:gd name="T1" fmla="*/ 0 h 20"/>
                <a:gd name="T2" fmla="*/ 7 w 23"/>
                <a:gd name="T3" fmla="*/ 1 h 20"/>
                <a:gd name="T4" fmla="*/ 3 w 23"/>
                <a:gd name="T5" fmla="*/ 14 h 20"/>
                <a:gd name="T6" fmla="*/ 12 w 23"/>
                <a:gd name="T7" fmla="*/ 20 h 20"/>
                <a:gd name="T8" fmla="*/ 16 w 23"/>
                <a:gd name="T9" fmla="*/ 19 h 20"/>
                <a:gd name="T10" fmla="*/ 21 w 23"/>
                <a:gd name="T11" fmla="*/ 6 h 20"/>
                <a:gd name="T12" fmla="*/ 12 w 2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3" h="20">
                  <a:moveTo>
                    <a:pt x="12" y="0"/>
                  </a:moveTo>
                  <a:cubicBezTo>
                    <a:pt x="10" y="0"/>
                    <a:pt x="9" y="1"/>
                    <a:pt x="7" y="1"/>
                  </a:cubicBezTo>
                  <a:cubicBezTo>
                    <a:pt x="2" y="4"/>
                    <a:pt x="0" y="9"/>
                    <a:pt x="3" y="14"/>
                  </a:cubicBezTo>
                  <a:cubicBezTo>
                    <a:pt x="4" y="18"/>
                    <a:pt x="8" y="20"/>
                    <a:pt x="12" y="20"/>
                  </a:cubicBezTo>
                  <a:cubicBezTo>
                    <a:pt x="13" y="20"/>
                    <a:pt x="15" y="19"/>
                    <a:pt x="16" y="19"/>
                  </a:cubicBezTo>
                  <a:cubicBezTo>
                    <a:pt x="21" y="16"/>
                    <a:pt x="23" y="11"/>
                    <a:pt x="21" y="6"/>
                  </a:cubicBezTo>
                  <a:cubicBezTo>
                    <a:pt x="19" y="2"/>
                    <a:pt x="15" y="0"/>
                    <a:pt x="12"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0" name="Freeform 12"/>
            <p:cNvSpPr>
              <a:spLocks noEditPoints="1"/>
            </p:cNvSpPr>
            <p:nvPr/>
          </p:nvSpPr>
          <p:spPr bwMode="auto">
            <a:xfrm>
              <a:off x="3411538" y="2424113"/>
              <a:ext cx="1062038" cy="1203325"/>
            </a:xfrm>
            <a:custGeom>
              <a:avLst/>
              <a:gdLst>
                <a:gd name="T0" fmla="*/ 138 w 283"/>
                <a:gd name="T1" fmla="*/ 81 h 319"/>
                <a:gd name="T2" fmla="*/ 141 w 283"/>
                <a:gd name="T3" fmla="*/ 80 h 319"/>
                <a:gd name="T4" fmla="*/ 180 w 283"/>
                <a:gd name="T5" fmla="*/ 107 h 319"/>
                <a:gd name="T6" fmla="*/ 178 w 283"/>
                <a:gd name="T7" fmla="*/ 108 h 319"/>
                <a:gd name="T8" fmla="*/ 103 w 283"/>
                <a:gd name="T9" fmla="*/ 101 h 319"/>
                <a:gd name="T10" fmla="*/ 135 w 283"/>
                <a:gd name="T11" fmla="*/ 80 h 319"/>
                <a:gd name="T12" fmla="*/ 199 w 283"/>
                <a:gd name="T13" fmla="*/ 2 h 319"/>
                <a:gd name="T14" fmla="*/ 202 w 283"/>
                <a:gd name="T15" fmla="*/ 34 h 319"/>
                <a:gd name="T16" fmla="*/ 187 w 283"/>
                <a:gd name="T17" fmla="*/ 108 h 319"/>
                <a:gd name="T18" fmla="*/ 184 w 283"/>
                <a:gd name="T19" fmla="*/ 105 h 319"/>
                <a:gd name="T20" fmla="*/ 181 w 283"/>
                <a:gd name="T21" fmla="*/ 106 h 319"/>
                <a:gd name="T22" fmla="*/ 142 w 283"/>
                <a:gd name="T23" fmla="*/ 79 h 319"/>
                <a:gd name="T24" fmla="*/ 136 w 283"/>
                <a:gd name="T25" fmla="*/ 72 h 319"/>
                <a:gd name="T26" fmla="*/ 102 w 283"/>
                <a:gd name="T27" fmla="*/ 99 h 319"/>
                <a:gd name="T28" fmla="*/ 97 w 283"/>
                <a:gd name="T29" fmla="*/ 97 h 319"/>
                <a:gd name="T30" fmla="*/ 97 w 283"/>
                <a:gd name="T31" fmla="*/ 110 h 319"/>
                <a:gd name="T32" fmla="*/ 98 w 283"/>
                <a:gd name="T33" fmla="*/ 110 h 319"/>
                <a:gd name="T34" fmla="*/ 132 w 283"/>
                <a:gd name="T35" fmla="*/ 211 h 319"/>
                <a:gd name="T36" fmla="*/ 144 w 283"/>
                <a:gd name="T37" fmla="*/ 206 h 319"/>
                <a:gd name="T38" fmla="*/ 137 w 283"/>
                <a:gd name="T39" fmla="*/ 202 h 319"/>
                <a:gd name="T40" fmla="*/ 100 w 283"/>
                <a:gd name="T41" fmla="*/ 109 h 319"/>
                <a:gd name="T42" fmla="*/ 102 w 283"/>
                <a:gd name="T43" fmla="*/ 108 h 319"/>
                <a:gd name="T44" fmla="*/ 134 w 283"/>
                <a:gd name="T45" fmla="*/ 134 h 319"/>
                <a:gd name="T46" fmla="*/ 142 w 283"/>
                <a:gd name="T47" fmla="*/ 130 h 319"/>
                <a:gd name="T48" fmla="*/ 135 w 283"/>
                <a:gd name="T49" fmla="*/ 129 h 319"/>
                <a:gd name="T50" fmla="*/ 103 w 283"/>
                <a:gd name="T51" fmla="*/ 106 h 319"/>
                <a:gd name="T52" fmla="*/ 104 w 283"/>
                <a:gd name="T53" fmla="*/ 105 h 319"/>
                <a:gd name="T54" fmla="*/ 179 w 283"/>
                <a:gd name="T55" fmla="*/ 109 h 319"/>
                <a:gd name="T56" fmla="*/ 185 w 283"/>
                <a:gd name="T57" fmla="*/ 113 h 319"/>
                <a:gd name="T58" fmla="*/ 195 w 283"/>
                <a:gd name="T59" fmla="*/ 107 h 319"/>
                <a:gd name="T60" fmla="*/ 164 w 283"/>
                <a:gd name="T61" fmla="*/ 256 h 319"/>
                <a:gd name="T62" fmla="*/ 70 w 283"/>
                <a:gd name="T63" fmla="*/ 189 h 319"/>
                <a:gd name="T64" fmla="*/ 51 w 283"/>
                <a:gd name="T65" fmla="*/ 160 h 319"/>
                <a:gd name="T66" fmla="*/ 41 w 283"/>
                <a:gd name="T67" fmla="*/ 197 h 319"/>
                <a:gd name="T68" fmla="*/ 13 w 283"/>
                <a:gd name="T69" fmla="*/ 269 h 319"/>
                <a:gd name="T70" fmla="*/ 7 w 283"/>
                <a:gd name="T71" fmla="*/ 269 h 319"/>
                <a:gd name="T72" fmla="*/ 15 w 283"/>
                <a:gd name="T73" fmla="*/ 285 h 319"/>
                <a:gd name="T74" fmla="*/ 18 w 283"/>
                <a:gd name="T75" fmla="*/ 282 h 319"/>
                <a:gd name="T76" fmla="*/ 66 w 283"/>
                <a:gd name="T77" fmla="*/ 317 h 319"/>
                <a:gd name="T78" fmla="*/ 79 w 283"/>
                <a:gd name="T79" fmla="*/ 302 h 319"/>
                <a:gd name="T80" fmla="*/ 64 w 283"/>
                <a:gd name="T81" fmla="*/ 304 h 319"/>
                <a:gd name="T82" fmla="*/ 19 w 283"/>
                <a:gd name="T83" fmla="*/ 280 h 319"/>
                <a:gd name="T84" fmla="*/ 15 w 283"/>
                <a:gd name="T85" fmla="*/ 270 h 319"/>
                <a:gd name="T86" fmla="*/ 46 w 283"/>
                <a:gd name="T87" fmla="*/ 200 h 319"/>
                <a:gd name="T88" fmla="*/ 66 w 283"/>
                <a:gd name="T89" fmla="*/ 194 h 319"/>
                <a:gd name="T90" fmla="*/ 161 w 283"/>
                <a:gd name="T91" fmla="*/ 259 h 319"/>
                <a:gd name="T92" fmla="*/ 174 w 283"/>
                <a:gd name="T93" fmla="*/ 280 h 319"/>
                <a:gd name="T94" fmla="*/ 178 w 283"/>
                <a:gd name="T95" fmla="*/ 252 h 319"/>
                <a:gd name="T96" fmla="*/ 263 w 283"/>
                <a:gd name="T97" fmla="*/ 97 h 319"/>
                <a:gd name="T98" fmla="*/ 283 w 283"/>
                <a:gd name="T99" fmla="*/ 94 h 319"/>
                <a:gd name="T100" fmla="*/ 262 w 283"/>
                <a:gd name="T101" fmla="*/ 94 h 319"/>
                <a:gd name="T102" fmla="*/ 207 w 283"/>
                <a:gd name="T103" fmla="*/ 35 h 319"/>
                <a:gd name="T104" fmla="*/ 223 w 283"/>
                <a:gd name="T105" fmla="*/ 1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3" h="319">
                  <a:moveTo>
                    <a:pt x="135" y="80"/>
                  </a:moveTo>
                  <a:cubicBezTo>
                    <a:pt x="135" y="80"/>
                    <a:pt x="135" y="80"/>
                    <a:pt x="135" y="80"/>
                  </a:cubicBezTo>
                  <a:cubicBezTo>
                    <a:pt x="135" y="81"/>
                    <a:pt x="137" y="81"/>
                    <a:pt x="138" y="81"/>
                  </a:cubicBezTo>
                  <a:cubicBezTo>
                    <a:pt x="139" y="81"/>
                    <a:pt x="139" y="81"/>
                    <a:pt x="140" y="81"/>
                  </a:cubicBezTo>
                  <a:cubicBezTo>
                    <a:pt x="141" y="81"/>
                    <a:pt x="141" y="80"/>
                    <a:pt x="142" y="80"/>
                  </a:cubicBezTo>
                  <a:cubicBezTo>
                    <a:pt x="141" y="80"/>
                    <a:pt x="141" y="80"/>
                    <a:pt x="141" y="80"/>
                  </a:cubicBezTo>
                  <a:cubicBezTo>
                    <a:pt x="141" y="80"/>
                    <a:pt x="141" y="80"/>
                    <a:pt x="141" y="80"/>
                  </a:cubicBezTo>
                  <a:cubicBezTo>
                    <a:pt x="143" y="80"/>
                    <a:pt x="180" y="107"/>
                    <a:pt x="180" y="107"/>
                  </a:cubicBezTo>
                  <a:cubicBezTo>
                    <a:pt x="180" y="107"/>
                    <a:pt x="180" y="107"/>
                    <a:pt x="180" y="107"/>
                  </a:cubicBezTo>
                  <a:cubicBezTo>
                    <a:pt x="180" y="108"/>
                    <a:pt x="180" y="108"/>
                    <a:pt x="180" y="108"/>
                  </a:cubicBezTo>
                  <a:cubicBezTo>
                    <a:pt x="180" y="108"/>
                    <a:pt x="180" y="108"/>
                    <a:pt x="180" y="108"/>
                  </a:cubicBezTo>
                  <a:cubicBezTo>
                    <a:pt x="180" y="108"/>
                    <a:pt x="179" y="108"/>
                    <a:pt x="178" y="108"/>
                  </a:cubicBezTo>
                  <a:cubicBezTo>
                    <a:pt x="169" y="108"/>
                    <a:pt x="104" y="104"/>
                    <a:pt x="104" y="103"/>
                  </a:cubicBezTo>
                  <a:cubicBezTo>
                    <a:pt x="104" y="103"/>
                    <a:pt x="104" y="103"/>
                    <a:pt x="104" y="103"/>
                  </a:cubicBezTo>
                  <a:cubicBezTo>
                    <a:pt x="104" y="102"/>
                    <a:pt x="104" y="101"/>
                    <a:pt x="103" y="101"/>
                  </a:cubicBezTo>
                  <a:cubicBezTo>
                    <a:pt x="103" y="101"/>
                    <a:pt x="103" y="101"/>
                    <a:pt x="103" y="101"/>
                  </a:cubicBezTo>
                  <a:cubicBezTo>
                    <a:pt x="103" y="101"/>
                    <a:pt x="103" y="101"/>
                    <a:pt x="103" y="101"/>
                  </a:cubicBezTo>
                  <a:cubicBezTo>
                    <a:pt x="103" y="99"/>
                    <a:pt x="133" y="80"/>
                    <a:pt x="135" y="80"/>
                  </a:cubicBezTo>
                  <a:cubicBezTo>
                    <a:pt x="135" y="80"/>
                    <a:pt x="135" y="80"/>
                    <a:pt x="135" y="80"/>
                  </a:cubicBezTo>
                  <a:moveTo>
                    <a:pt x="207" y="0"/>
                  </a:moveTo>
                  <a:cubicBezTo>
                    <a:pt x="204" y="0"/>
                    <a:pt x="202" y="1"/>
                    <a:pt x="199" y="2"/>
                  </a:cubicBezTo>
                  <a:cubicBezTo>
                    <a:pt x="190" y="6"/>
                    <a:pt x="186" y="16"/>
                    <a:pt x="191" y="25"/>
                  </a:cubicBezTo>
                  <a:cubicBezTo>
                    <a:pt x="193" y="30"/>
                    <a:pt x="197" y="33"/>
                    <a:pt x="202" y="34"/>
                  </a:cubicBezTo>
                  <a:cubicBezTo>
                    <a:pt x="202" y="34"/>
                    <a:pt x="202" y="34"/>
                    <a:pt x="202" y="34"/>
                  </a:cubicBezTo>
                  <a:cubicBezTo>
                    <a:pt x="203" y="34"/>
                    <a:pt x="200" y="67"/>
                    <a:pt x="195" y="107"/>
                  </a:cubicBezTo>
                  <a:cubicBezTo>
                    <a:pt x="191" y="107"/>
                    <a:pt x="188" y="108"/>
                    <a:pt x="188" y="108"/>
                  </a:cubicBezTo>
                  <a:cubicBezTo>
                    <a:pt x="187" y="108"/>
                    <a:pt x="187" y="108"/>
                    <a:pt x="187" y="108"/>
                  </a:cubicBezTo>
                  <a:cubicBezTo>
                    <a:pt x="187" y="108"/>
                    <a:pt x="187" y="108"/>
                    <a:pt x="187" y="108"/>
                  </a:cubicBezTo>
                  <a:cubicBezTo>
                    <a:pt x="187" y="107"/>
                    <a:pt x="187" y="107"/>
                    <a:pt x="187" y="107"/>
                  </a:cubicBezTo>
                  <a:cubicBezTo>
                    <a:pt x="187" y="106"/>
                    <a:pt x="185" y="105"/>
                    <a:pt x="184" y="105"/>
                  </a:cubicBezTo>
                  <a:cubicBezTo>
                    <a:pt x="183" y="105"/>
                    <a:pt x="182" y="105"/>
                    <a:pt x="182" y="106"/>
                  </a:cubicBezTo>
                  <a:cubicBezTo>
                    <a:pt x="181" y="106"/>
                    <a:pt x="181" y="106"/>
                    <a:pt x="181" y="106"/>
                  </a:cubicBezTo>
                  <a:cubicBezTo>
                    <a:pt x="181" y="106"/>
                    <a:pt x="181" y="106"/>
                    <a:pt x="181" y="106"/>
                  </a:cubicBezTo>
                  <a:cubicBezTo>
                    <a:pt x="181" y="106"/>
                    <a:pt x="181" y="106"/>
                    <a:pt x="181" y="106"/>
                  </a:cubicBezTo>
                  <a:cubicBezTo>
                    <a:pt x="179" y="106"/>
                    <a:pt x="142" y="80"/>
                    <a:pt x="142" y="79"/>
                  </a:cubicBezTo>
                  <a:cubicBezTo>
                    <a:pt x="142" y="79"/>
                    <a:pt x="142" y="79"/>
                    <a:pt x="142" y="79"/>
                  </a:cubicBezTo>
                  <a:cubicBezTo>
                    <a:pt x="143" y="78"/>
                    <a:pt x="143" y="76"/>
                    <a:pt x="142" y="75"/>
                  </a:cubicBezTo>
                  <a:cubicBezTo>
                    <a:pt x="142" y="73"/>
                    <a:pt x="140" y="72"/>
                    <a:pt x="138" y="72"/>
                  </a:cubicBezTo>
                  <a:cubicBezTo>
                    <a:pt x="137" y="72"/>
                    <a:pt x="137" y="72"/>
                    <a:pt x="136" y="72"/>
                  </a:cubicBezTo>
                  <a:cubicBezTo>
                    <a:pt x="134" y="74"/>
                    <a:pt x="133" y="76"/>
                    <a:pt x="134" y="79"/>
                  </a:cubicBezTo>
                  <a:cubicBezTo>
                    <a:pt x="134" y="79"/>
                    <a:pt x="134" y="79"/>
                    <a:pt x="134" y="79"/>
                  </a:cubicBezTo>
                  <a:cubicBezTo>
                    <a:pt x="134" y="79"/>
                    <a:pt x="104" y="99"/>
                    <a:pt x="102" y="99"/>
                  </a:cubicBezTo>
                  <a:cubicBezTo>
                    <a:pt x="102" y="99"/>
                    <a:pt x="102" y="99"/>
                    <a:pt x="102" y="99"/>
                  </a:cubicBezTo>
                  <a:cubicBezTo>
                    <a:pt x="102" y="99"/>
                    <a:pt x="102" y="99"/>
                    <a:pt x="102" y="99"/>
                  </a:cubicBezTo>
                  <a:cubicBezTo>
                    <a:pt x="101" y="98"/>
                    <a:pt x="99" y="97"/>
                    <a:pt x="97" y="97"/>
                  </a:cubicBezTo>
                  <a:cubicBezTo>
                    <a:pt x="96" y="97"/>
                    <a:pt x="95" y="97"/>
                    <a:pt x="94" y="97"/>
                  </a:cubicBezTo>
                  <a:cubicBezTo>
                    <a:pt x="91" y="99"/>
                    <a:pt x="89" y="103"/>
                    <a:pt x="91" y="106"/>
                  </a:cubicBezTo>
                  <a:cubicBezTo>
                    <a:pt x="92" y="109"/>
                    <a:pt x="94" y="110"/>
                    <a:pt x="97" y="110"/>
                  </a:cubicBezTo>
                  <a:cubicBezTo>
                    <a:pt x="97" y="110"/>
                    <a:pt x="98" y="110"/>
                    <a:pt x="98" y="110"/>
                  </a:cubicBezTo>
                  <a:cubicBezTo>
                    <a:pt x="98" y="110"/>
                    <a:pt x="98" y="110"/>
                    <a:pt x="98" y="110"/>
                  </a:cubicBezTo>
                  <a:cubicBezTo>
                    <a:pt x="98" y="110"/>
                    <a:pt x="98" y="110"/>
                    <a:pt x="98" y="110"/>
                  </a:cubicBezTo>
                  <a:cubicBezTo>
                    <a:pt x="100" y="110"/>
                    <a:pt x="136" y="202"/>
                    <a:pt x="135" y="203"/>
                  </a:cubicBezTo>
                  <a:cubicBezTo>
                    <a:pt x="135" y="203"/>
                    <a:pt x="135" y="203"/>
                    <a:pt x="135" y="203"/>
                  </a:cubicBezTo>
                  <a:cubicBezTo>
                    <a:pt x="132" y="204"/>
                    <a:pt x="130" y="208"/>
                    <a:pt x="132" y="211"/>
                  </a:cubicBezTo>
                  <a:cubicBezTo>
                    <a:pt x="133" y="214"/>
                    <a:pt x="136" y="215"/>
                    <a:pt x="138" y="215"/>
                  </a:cubicBezTo>
                  <a:cubicBezTo>
                    <a:pt x="139" y="215"/>
                    <a:pt x="140" y="215"/>
                    <a:pt x="141" y="214"/>
                  </a:cubicBezTo>
                  <a:cubicBezTo>
                    <a:pt x="144" y="213"/>
                    <a:pt x="146" y="209"/>
                    <a:pt x="144" y="206"/>
                  </a:cubicBezTo>
                  <a:cubicBezTo>
                    <a:pt x="143" y="203"/>
                    <a:pt x="141" y="202"/>
                    <a:pt x="138" y="202"/>
                  </a:cubicBezTo>
                  <a:cubicBezTo>
                    <a:pt x="138" y="202"/>
                    <a:pt x="137" y="202"/>
                    <a:pt x="137" y="202"/>
                  </a:cubicBezTo>
                  <a:cubicBezTo>
                    <a:pt x="137" y="202"/>
                    <a:pt x="137" y="202"/>
                    <a:pt x="137" y="202"/>
                  </a:cubicBezTo>
                  <a:cubicBezTo>
                    <a:pt x="137" y="202"/>
                    <a:pt x="137" y="202"/>
                    <a:pt x="137" y="202"/>
                  </a:cubicBezTo>
                  <a:cubicBezTo>
                    <a:pt x="135" y="202"/>
                    <a:pt x="99" y="110"/>
                    <a:pt x="100" y="109"/>
                  </a:cubicBezTo>
                  <a:cubicBezTo>
                    <a:pt x="100" y="109"/>
                    <a:pt x="100" y="109"/>
                    <a:pt x="100" y="109"/>
                  </a:cubicBezTo>
                  <a:cubicBezTo>
                    <a:pt x="101" y="109"/>
                    <a:pt x="101" y="108"/>
                    <a:pt x="102" y="108"/>
                  </a:cubicBezTo>
                  <a:cubicBezTo>
                    <a:pt x="102" y="108"/>
                    <a:pt x="102" y="108"/>
                    <a:pt x="102" y="108"/>
                  </a:cubicBezTo>
                  <a:cubicBezTo>
                    <a:pt x="102" y="108"/>
                    <a:pt x="102" y="108"/>
                    <a:pt x="102" y="108"/>
                  </a:cubicBezTo>
                  <a:cubicBezTo>
                    <a:pt x="104" y="108"/>
                    <a:pt x="134" y="129"/>
                    <a:pt x="134" y="130"/>
                  </a:cubicBezTo>
                  <a:cubicBezTo>
                    <a:pt x="134" y="130"/>
                    <a:pt x="134" y="130"/>
                    <a:pt x="134" y="130"/>
                  </a:cubicBezTo>
                  <a:cubicBezTo>
                    <a:pt x="133" y="131"/>
                    <a:pt x="133" y="133"/>
                    <a:pt x="134" y="134"/>
                  </a:cubicBezTo>
                  <a:cubicBezTo>
                    <a:pt x="135" y="136"/>
                    <a:pt x="136" y="137"/>
                    <a:pt x="138" y="137"/>
                  </a:cubicBezTo>
                  <a:cubicBezTo>
                    <a:pt x="139" y="137"/>
                    <a:pt x="139" y="136"/>
                    <a:pt x="140" y="136"/>
                  </a:cubicBezTo>
                  <a:cubicBezTo>
                    <a:pt x="143" y="135"/>
                    <a:pt x="144" y="132"/>
                    <a:pt x="142" y="130"/>
                  </a:cubicBezTo>
                  <a:cubicBezTo>
                    <a:pt x="142" y="128"/>
                    <a:pt x="140" y="127"/>
                    <a:pt x="138" y="127"/>
                  </a:cubicBezTo>
                  <a:cubicBezTo>
                    <a:pt x="137" y="127"/>
                    <a:pt x="137" y="127"/>
                    <a:pt x="136" y="128"/>
                  </a:cubicBezTo>
                  <a:cubicBezTo>
                    <a:pt x="136" y="128"/>
                    <a:pt x="135" y="128"/>
                    <a:pt x="135" y="129"/>
                  </a:cubicBezTo>
                  <a:cubicBezTo>
                    <a:pt x="135" y="129"/>
                    <a:pt x="135" y="129"/>
                    <a:pt x="135" y="129"/>
                  </a:cubicBezTo>
                  <a:cubicBezTo>
                    <a:pt x="135" y="129"/>
                    <a:pt x="135" y="129"/>
                    <a:pt x="135" y="129"/>
                  </a:cubicBezTo>
                  <a:cubicBezTo>
                    <a:pt x="133" y="129"/>
                    <a:pt x="103" y="108"/>
                    <a:pt x="103" y="106"/>
                  </a:cubicBezTo>
                  <a:cubicBezTo>
                    <a:pt x="103" y="106"/>
                    <a:pt x="103" y="106"/>
                    <a:pt x="103" y="106"/>
                  </a:cubicBezTo>
                  <a:cubicBezTo>
                    <a:pt x="103" y="106"/>
                    <a:pt x="104" y="105"/>
                    <a:pt x="104" y="105"/>
                  </a:cubicBezTo>
                  <a:cubicBezTo>
                    <a:pt x="104" y="105"/>
                    <a:pt x="104" y="105"/>
                    <a:pt x="104" y="105"/>
                  </a:cubicBezTo>
                  <a:cubicBezTo>
                    <a:pt x="104" y="105"/>
                    <a:pt x="105" y="105"/>
                    <a:pt x="106" y="105"/>
                  </a:cubicBezTo>
                  <a:cubicBezTo>
                    <a:pt x="120" y="105"/>
                    <a:pt x="179" y="109"/>
                    <a:pt x="179" y="109"/>
                  </a:cubicBezTo>
                  <a:cubicBezTo>
                    <a:pt x="179" y="109"/>
                    <a:pt x="179" y="109"/>
                    <a:pt x="179" y="109"/>
                  </a:cubicBezTo>
                  <a:cubicBezTo>
                    <a:pt x="180" y="110"/>
                    <a:pt x="180" y="110"/>
                    <a:pt x="180" y="111"/>
                  </a:cubicBezTo>
                  <a:cubicBezTo>
                    <a:pt x="181" y="112"/>
                    <a:pt x="182" y="113"/>
                    <a:pt x="184" y="113"/>
                  </a:cubicBezTo>
                  <a:cubicBezTo>
                    <a:pt x="184" y="113"/>
                    <a:pt x="185" y="113"/>
                    <a:pt x="185" y="113"/>
                  </a:cubicBezTo>
                  <a:cubicBezTo>
                    <a:pt x="187" y="112"/>
                    <a:pt x="188" y="110"/>
                    <a:pt x="188" y="109"/>
                  </a:cubicBezTo>
                  <a:cubicBezTo>
                    <a:pt x="188" y="109"/>
                    <a:pt x="188" y="109"/>
                    <a:pt x="188" y="109"/>
                  </a:cubicBezTo>
                  <a:cubicBezTo>
                    <a:pt x="188" y="109"/>
                    <a:pt x="190" y="108"/>
                    <a:pt x="195" y="107"/>
                  </a:cubicBezTo>
                  <a:cubicBezTo>
                    <a:pt x="187" y="171"/>
                    <a:pt x="176" y="252"/>
                    <a:pt x="174" y="252"/>
                  </a:cubicBezTo>
                  <a:cubicBezTo>
                    <a:pt x="174" y="252"/>
                    <a:pt x="174" y="252"/>
                    <a:pt x="174" y="252"/>
                  </a:cubicBezTo>
                  <a:cubicBezTo>
                    <a:pt x="170" y="252"/>
                    <a:pt x="167" y="253"/>
                    <a:pt x="164" y="256"/>
                  </a:cubicBezTo>
                  <a:cubicBezTo>
                    <a:pt x="164" y="256"/>
                    <a:pt x="164" y="256"/>
                    <a:pt x="164" y="256"/>
                  </a:cubicBezTo>
                  <a:cubicBezTo>
                    <a:pt x="164" y="256"/>
                    <a:pt x="164" y="256"/>
                    <a:pt x="164" y="256"/>
                  </a:cubicBezTo>
                  <a:cubicBezTo>
                    <a:pt x="159" y="256"/>
                    <a:pt x="68" y="193"/>
                    <a:pt x="70" y="189"/>
                  </a:cubicBezTo>
                  <a:cubicBezTo>
                    <a:pt x="70" y="189"/>
                    <a:pt x="70" y="189"/>
                    <a:pt x="70" y="189"/>
                  </a:cubicBezTo>
                  <a:cubicBezTo>
                    <a:pt x="74" y="181"/>
                    <a:pt x="72" y="170"/>
                    <a:pt x="64" y="164"/>
                  </a:cubicBezTo>
                  <a:cubicBezTo>
                    <a:pt x="61" y="161"/>
                    <a:pt x="56" y="160"/>
                    <a:pt x="51" y="160"/>
                  </a:cubicBezTo>
                  <a:cubicBezTo>
                    <a:pt x="45" y="160"/>
                    <a:pt x="39" y="162"/>
                    <a:pt x="35" y="167"/>
                  </a:cubicBezTo>
                  <a:cubicBezTo>
                    <a:pt x="27" y="176"/>
                    <a:pt x="29" y="188"/>
                    <a:pt x="38" y="195"/>
                  </a:cubicBezTo>
                  <a:cubicBezTo>
                    <a:pt x="39" y="196"/>
                    <a:pt x="40" y="197"/>
                    <a:pt x="41" y="197"/>
                  </a:cubicBezTo>
                  <a:cubicBezTo>
                    <a:pt x="40" y="197"/>
                    <a:pt x="40" y="197"/>
                    <a:pt x="40" y="197"/>
                  </a:cubicBezTo>
                  <a:cubicBezTo>
                    <a:pt x="44" y="199"/>
                    <a:pt x="15" y="269"/>
                    <a:pt x="13" y="269"/>
                  </a:cubicBezTo>
                  <a:cubicBezTo>
                    <a:pt x="13" y="269"/>
                    <a:pt x="13" y="269"/>
                    <a:pt x="13" y="269"/>
                  </a:cubicBezTo>
                  <a:cubicBezTo>
                    <a:pt x="13" y="269"/>
                    <a:pt x="13" y="269"/>
                    <a:pt x="13" y="269"/>
                  </a:cubicBezTo>
                  <a:cubicBezTo>
                    <a:pt x="12" y="269"/>
                    <a:pt x="11" y="268"/>
                    <a:pt x="11" y="268"/>
                  </a:cubicBezTo>
                  <a:cubicBezTo>
                    <a:pt x="9" y="268"/>
                    <a:pt x="8" y="269"/>
                    <a:pt x="7" y="269"/>
                  </a:cubicBezTo>
                  <a:cubicBezTo>
                    <a:pt x="2" y="271"/>
                    <a:pt x="0" y="277"/>
                    <a:pt x="2" y="281"/>
                  </a:cubicBezTo>
                  <a:cubicBezTo>
                    <a:pt x="4" y="284"/>
                    <a:pt x="7" y="286"/>
                    <a:pt x="11" y="286"/>
                  </a:cubicBezTo>
                  <a:cubicBezTo>
                    <a:pt x="12" y="286"/>
                    <a:pt x="13" y="286"/>
                    <a:pt x="15" y="285"/>
                  </a:cubicBezTo>
                  <a:cubicBezTo>
                    <a:pt x="16" y="284"/>
                    <a:pt x="17" y="284"/>
                    <a:pt x="18" y="282"/>
                  </a:cubicBezTo>
                  <a:cubicBezTo>
                    <a:pt x="18" y="283"/>
                    <a:pt x="18" y="283"/>
                    <a:pt x="18" y="283"/>
                  </a:cubicBezTo>
                  <a:cubicBezTo>
                    <a:pt x="18" y="282"/>
                    <a:pt x="18" y="282"/>
                    <a:pt x="18" y="282"/>
                  </a:cubicBezTo>
                  <a:cubicBezTo>
                    <a:pt x="21" y="282"/>
                    <a:pt x="63" y="305"/>
                    <a:pt x="63" y="306"/>
                  </a:cubicBezTo>
                  <a:cubicBezTo>
                    <a:pt x="63" y="306"/>
                    <a:pt x="63" y="306"/>
                    <a:pt x="63" y="306"/>
                  </a:cubicBezTo>
                  <a:cubicBezTo>
                    <a:pt x="61" y="310"/>
                    <a:pt x="62" y="314"/>
                    <a:pt x="66" y="317"/>
                  </a:cubicBezTo>
                  <a:cubicBezTo>
                    <a:pt x="68" y="319"/>
                    <a:pt x="70" y="319"/>
                    <a:pt x="72" y="319"/>
                  </a:cubicBezTo>
                  <a:cubicBezTo>
                    <a:pt x="75" y="319"/>
                    <a:pt x="78" y="318"/>
                    <a:pt x="80" y="316"/>
                  </a:cubicBezTo>
                  <a:cubicBezTo>
                    <a:pt x="83" y="312"/>
                    <a:pt x="83" y="306"/>
                    <a:pt x="79" y="302"/>
                  </a:cubicBezTo>
                  <a:cubicBezTo>
                    <a:pt x="77" y="301"/>
                    <a:pt x="74" y="300"/>
                    <a:pt x="72" y="300"/>
                  </a:cubicBezTo>
                  <a:cubicBezTo>
                    <a:pt x="69" y="300"/>
                    <a:pt x="66" y="301"/>
                    <a:pt x="64" y="304"/>
                  </a:cubicBezTo>
                  <a:cubicBezTo>
                    <a:pt x="64" y="304"/>
                    <a:pt x="64" y="304"/>
                    <a:pt x="64" y="304"/>
                  </a:cubicBezTo>
                  <a:cubicBezTo>
                    <a:pt x="64" y="304"/>
                    <a:pt x="64" y="304"/>
                    <a:pt x="64" y="304"/>
                  </a:cubicBezTo>
                  <a:cubicBezTo>
                    <a:pt x="64" y="304"/>
                    <a:pt x="64" y="304"/>
                    <a:pt x="64" y="304"/>
                  </a:cubicBezTo>
                  <a:cubicBezTo>
                    <a:pt x="60" y="304"/>
                    <a:pt x="19" y="282"/>
                    <a:pt x="19" y="280"/>
                  </a:cubicBezTo>
                  <a:cubicBezTo>
                    <a:pt x="19" y="280"/>
                    <a:pt x="19" y="280"/>
                    <a:pt x="19" y="280"/>
                  </a:cubicBezTo>
                  <a:cubicBezTo>
                    <a:pt x="20" y="278"/>
                    <a:pt x="20" y="276"/>
                    <a:pt x="19" y="273"/>
                  </a:cubicBezTo>
                  <a:cubicBezTo>
                    <a:pt x="18" y="272"/>
                    <a:pt x="17" y="271"/>
                    <a:pt x="15" y="270"/>
                  </a:cubicBezTo>
                  <a:cubicBezTo>
                    <a:pt x="15" y="270"/>
                    <a:pt x="15" y="270"/>
                    <a:pt x="15" y="270"/>
                  </a:cubicBezTo>
                  <a:cubicBezTo>
                    <a:pt x="14" y="269"/>
                    <a:pt x="42" y="200"/>
                    <a:pt x="46" y="200"/>
                  </a:cubicBezTo>
                  <a:cubicBezTo>
                    <a:pt x="46" y="200"/>
                    <a:pt x="46" y="200"/>
                    <a:pt x="46" y="200"/>
                  </a:cubicBezTo>
                  <a:cubicBezTo>
                    <a:pt x="46" y="199"/>
                    <a:pt x="46" y="199"/>
                    <a:pt x="46" y="199"/>
                  </a:cubicBezTo>
                  <a:cubicBezTo>
                    <a:pt x="48" y="200"/>
                    <a:pt x="49" y="200"/>
                    <a:pt x="51" y="200"/>
                  </a:cubicBezTo>
                  <a:cubicBezTo>
                    <a:pt x="57" y="200"/>
                    <a:pt x="62" y="198"/>
                    <a:pt x="66" y="194"/>
                  </a:cubicBezTo>
                  <a:cubicBezTo>
                    <a:pt x="66" y="194"/>
                    <a:pt x="66" y="194"/>
                    <a:pt x="66" y="194"/>
                  </a:cubicBezTo>
                  <a:cubicBezTo>
                    <a:pt x="66" y="194"/>
                    <a:pt x="66" y="194"/>
                    <a:pt x="66" y="194"/>
                  </a:cubicBezTo>
                  <a:cubicBezTo>
                    <a:pt x="73" y="194"/>
                    <a:pt x="163" y="257"/>
                    <a:pt x="161" y="259"/>
                  </a:cubicBezTo>
                  <a:cubicBezTo>
                    <a:pt x="161" y="259"/>
                    <a:pt x="161" y="259"/>
                    <a:pt x="161" y="259"/>
                  </a:cubicBezTo>
                  <a:cubicBezTo>
                    <a:pt x="160" y="261"/>
                    <a:pt x="160" y="263"/>
                    <a:pt x="160" y="266"/>
                  </a:cubicBezTo>
                  <a:cubicBezTo>
                    <a:pt x="160" y="273"/>
                    <a:pt x="166" y="280"/>
                    <a:pt x="174" y="280"/>
                  </a:cubicBezTo>
                  <a:cubicBezTo>
                    <a:pt x="182" y="280"/>
                    <a:pt x="189" y="273"/>
                    <a:pt x="189" y="266"/>
                  </a:cubicBezTo>
                  <a:cubicBezTo>
                    <a:pt x="189" y="259"/>
                    <a:pt x="184" y="254"/>
                    <a:pt x="178" y="252"/>
                  </a:cubicBezTo>
                  <a:cubicBezTo>
                    <a:pt x="178" y="252"/>
                    <a:pt x="178" y="252"/>
                    <a:pt x="178" y="252"/>
                  </a:cubicBezTo>
                  <a:cubicBezTo>
                    <a:pt x="177" y="252"/>
                    <a:pt x="187" y="170"/>
                    <a:pt x="195" y="107"/>
                  </a:cubicBezTo>
                  <a:cubicBezTo>
                    <a:pt x="213" y="104"/>
                    <a:pt x="255" y="97"/>
                    <a:pt x="262" y="97"/>
                  </a:cubicBezTo>
                  <a:cubicBezTo>
                    <a:pt x="263" y="97"/>
                    <a:pt x="263" y="97"/>
                    <a:pt x="263" y="97"/>
                  </a:cubicBezTo>
                  <a:cubicBezTo>
                    <a:pt x="263" y="97"/>
                    <a:pt x="263" y="97"/>
                    <a:pt x="263" y="97"/>
                  </a:cubicBezTo>
                  <a:cubicBezTo>
                    <a:pt x="264" y="101"/>
                    <a:pt x="268" y="103"/>
                    <a:pt x="273" y="103"/>
                  </a:cubicBezTo>
                  <a:cubicBezTo>
                    <a:pt x="278" y="103"/>
                    <a:pt x="283" y="99"/>
                    <a:pt x="283" y="94"/>
                  </a:cubicBezTo>
                  <a:cubicBezTo>
                    <a:pt x="283" y="88"/>
                    <a:pt x="278" y="84"/>
                    <a:pt x="273" y="84"/>
                  </a:cubicBezTo>
                  <a:cubicBezTo>
                    <a:pt x="267" y="84"/>
                    <a:pt x="262" y="88"/>
                    <a:pt x="262" y="94"/>
                  </a:cubicBezTo>
                  <a:cubicBezTo>
                    <a:pt x="262" y="94"/>
                    <a:pt x="262" y="94"/>
                    <a:pt x="262" y="94"/>
                  </a:cubicBezTo>
                  <a:cubicBezTo>
                    <a:pt x="262" y="94"/>
                    <a:pt x="262" y="94"/>
                    <a:pt x="262" y="94"/>
                  </a:cubicBezTo>
                  <a:cubicBezTo>
                    <a:pt x="263" y="96"/>
                    <a:pt x="215" y="104"/>
                    <a:pt x="195" y="107"/>
                  </a:cubicBezTo>
                  <a:cubicBezTo>
                    <a:pt x="201" y="67"/>
                    <a:pt x="206" y="35"/>
                    <a:pt x="207" y="35"/>
                  </a:cubicBezTo>
                  <a:cubicBezTo>
                    <a:pt x="207" y="35"/>
                    <a:pt x="207" y="35"/>
                    <a:pt x="207" y="35"/>
                  </a:cubicBezTo>
                  <a:cubicBezTo>
                    <a:pt x="210" y="35"/>
                    <a:pt x="212" y="34"/>
                    <a:pt x="214" y="33"/>
                  </a:cubicBezTo>
                  <a:cubicBezTo>
                    <a:pt x="223" y="29"/>
                    <a:pt x="227" y="19"/>
                    <a:pt x="223" y="10"/>
                  </a:cubicBezTo>
                  <a:cubicBezTo>
                    <a:pt x="220" y="4"/>
                    <a:pt x="214" y="0"/>
                    <a:pt x="207"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1" name="Freeform 13"/>
            <p:cNvSpPr>
              <a:spLocks/>
            </p:cNvSpPr>
            <p:nvPr/>
          </p:nvSpPr>
          <p:spPr bwMode="auto">
            <a:xfrm>
              <a:off x="5762625" y="2805113"/>
              <a:ext cx="36513" cy="30163"/>
            </a:xfrm>
            <a:custGeom>
              <a:avLst/>
              <a:gdLst>
                <a:gd name="T0" fmla="*/ 0 w 10"/>
                <a:gd name="T1" fmla="*/ 0 h 8"/>
                <a:gd name="T2" fmla="*/ 10 w 10"/>
                <a:gd name="T3" fmla="*/ 8 h 8"/>
                <a:gd name="T4" fmla="*/ 0 w 10"/>
                <a:gd name="T5" fmla="*/ 0 h 8"/>
              </a:gdLst>
              <a:ahLst/>
              <a:cxnLst>
                <a:cxn ang="0">
                  <a:pos x="T0" y="T1"/>
                </a:cxn>
                <a:cxn ang="0">
                  <a:pos x="T2" y="T3"/>
                </a:cxn>
                <a:cxn ang="0">
                  <a:pos x="T4" y="T5"/>
                </a:cxn>
              </a:cxnLst>
              <a:rect l="0" t="0" r="r" b="b"/>
              <a:pathLst>
                <a:path w="10" h="8">
                  <a:moveTo>
                    <a:pt x="0" y="0"/>
                  </a:moveTo>
                  <a:cubicBezTo>
                    <a:pt x="3" y="3"/>
                    <a:pt x="6" y="6"/>
                    <a:pt x="10" y="8"/>
                  </a:cubicBezTo>
                  <a:cubicBezTo>
                    <a:pt x="6" y="6"/>
                    <a:pt x="3" y="3"/>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 name="Freeform 14"/>
            <p:cNvSpPr>
              <a:spLocks noEditPoints="1"/>
            </p:cNvSpPr>
            <p:nvPr/>
          </p:nvSpPr>
          <p:spPr bwMode="auto">
            <a:xfrm>
              <a:off x="5799138" y="2613025"/>
              <a:ext cx="241300" cy="293688"/>
            </a:xfrm>
            <a:custGeom>
              <a:avLst/>
              <a:gdLst>
                <a:gd name="T0" fmla="*/ 28 w 64"/>
                <a:gd name="T1" fmla="*/ 13 h 78"/>
                <a:gd name="T2" fmla="*/ 31 w 64"/>
                <a:gd name="T3" fmla="*/ 12 h 78"/>
                <a:gd name="T4" fmla="*/ 31 w 64"/>
                <a:gd name="T5" fmla="*/ 12 h 78"/>
                <a:gd name="T6" fmla="*/ 31 w 64"/>
                <a:gd name="T7" fmla="*/ 12 h 78"/>
                <a:gd name="T8" fmla="*/ 48 w 64"/>
                <a:gd name="T9" fmla="*/ 38 h 78"/>
                <a:gd name="T10" fmla="*/ 48 w 64"/>
                <a:gd name="T11" fmla="*/ 38 h 78"/>
                <a:gd name="T12" fmla="*/ 46 w 64"/>
                <a:gd name="T13" fmla="*/ 49 h 78"/>
                <a:gd name="T14" fmla="*/ 46 w 64"/>
                <a:gd name="T15" fmla="*/ 49 h 78"/>
                <a:gd name="T16" fmla="*/ 46 w 64"/>
                <a:gd name="T17" fmla="*/ 49 h 78"/>
                <a:gd name="T18" fmla="*/ 20 w 64"/>
                <a:gd name="T19" fmla="*/ 70 h 78"/>
                <a:gd name="T20" fmla="*/ 20 w 64"/>
                <a:gd name="T21" fmla="*/ 70 h 78"/>
                <a:gd name="T22" fmla="*/ 20 w 64"/>
                <a:gd name="T23" fmla="*/ 70 h 78"/>
                <a:gd name="T24" fmla="*/ 18 w 64"/>
                <a:gd name="T25" fmla="*/ 69 h 78"/>
                <a:gd name="T26" fmla="*/ 18 w 64"/>
                <a:gd name="T27" fmla="*/ 69 h 78"/>
                <a:gd name="T28" fmla="*/ 28 w 64"/>
                <a:gd name="T29" fmla="*/ 13 h 78"/>
                <a:gd name="T30" fmla="*/ 28 w 64"/>
                <a:gd name="T31" fmla="*/ 13 h 78"/>
                <a:gd name="T32" fmla="*/ 28 w 64"/>
                <a:gd name="T33" fmla="*/ 13 h 78"/>
                <a:gd name="T34" fmla="*/ 28 w 64"/>
                <a:gd name="T35" fmla="*/ 0 h 78"/>
                <a:gd name="T36" fmla="*/ 25 w 64"/>
                <a:gd name="T37" fmla="*/ 0 h 78"/>
                <a:gd name="T38" fmla="*/ 22 w 64"/>
                <a:gd name="T39" fmla="*/ 9 h 78"/>
                <a:gd name="T40" fmla="*/ 26 w 64"/>
                <a:gd name="T41" fmla="*/ 13 h 78"/>
                <a:gd name="T42" fmla="*/ 26 w 64"/>
                <a:gd name="T43" fmla="*/ 13 h 78"/>
                <a:gd name="T44" fmla="*/ 17 w 64"/>
                <a:gd name="T45" fmla="*/ 69 h 78"/>
                <a:gd name="T46" fmla="*/ 17 w 64"/>
                <a:gd name="T47" fmla="*/ 69 h 78"/>
                <a:gd name="T48" fmla="*/ 17 w 64"/>
                <a:gd name="T49" fmla="*/ 69 h 78"/>
                <a:gd name="T50" fmla="*/ 15 w 64"/>
                <a:gd name="T51" fmla="*/ 69 h 78"/>
                <a:gd name="T52" fmla="*/ 13 w 64"/>
                <a:gd name="T53" fmla="*/ 70 h 78"/>
                <a:gd name="T54" fmla="*/ 14 w 64"/>
                <a:gd name="T55" fmla="*/ 70 h 78"/>
                <a:gd name="T56" fmla="*/ 14 w 64"/>
                <a:gd name="T57" fmla="*/ 70 h 78"/>
                <a:gd name="T58" fmla="*/ 0 w 64"/>
                <a:gd name="T59" fmla="*/ 59 h 78"/>
                <a:gd name="T60" fmla="*/ 12 w 64"/>
                <a:gd name="T61" fmla="*/ 71 h 78"/>
                <a:gd name="T62" fmla="*/ 12 w 64"/>
                <a:gd name="T63" fmla="*/ 71 h 78"/>
                <a:gd name="T64" fmla="*/ 12 w 64"/>
                <a:gd name="T65" fmla="*/ 75 h 78"/>
                <a:gd name="T66" fmla="*/ 17 w 64"/>
                <a:gd name="T67" fmla="*/ 78 h 78"/>
                <a:gd name="T68" fmla="*/ 19 w 64"/>
                <a:gd name="T69" fmla="*/ 78 h 78"/>
                <a:gd name="T70" fmla="*/ 21 w 64"/>
                <a:gd name="T71" fmla="*/ 72 h 78"/>
                <a:gd name="T72" fmla="*/ 21 w 64"/>
                <a:gd name="T73" fmla="*/ 71 h 78"/>
                <a:gd name="T74" fmla="*/ 21 w 64"/>
                <a:gd name="T75" fmla="*/ 71 h 78"/>
                <a:gd name="T76" fmla="*/ 48 w 64"/>
                <a:gd name="T77" fmla="*/ 51 h 78"/>
                <a:gd name="T78" fmla="*/ 48 w 64"/>
                <a:gd name="T79" fmla="*/ 51 h 78"/>
                <a:gd name="T80" fmla="*/ 48 w 64"/>
                <a:gd name="T81" fmla="*/ 51 h 78"/>
                <a:gd name="T82" fmla="*/ 54 w 64"/>
                <a:gd name="T83" fmla="*/ 54 h 78"/>
                <a:gd name="T84" fmla="*/ 58 w 64"/>
                <a:gd name="T85" fmla="*/ 53 h 78"/>
                <a:gd name="T86" fmla="*/ 62 w 64"/>
                <a:gd name="T87" fmla="*/ 41 h 78"/>
                <a:gd name="T88" fmla="*/ 54 w 64"/>
                <a:gd name="T89" fmla="*/ 36 h 78"/>
                <a:gd name="T90" fmla="*/ 50 w 64"/>
                <a:gd name="T91" fmla="*/ 37 h 78"/>
                <a:gd name="T92" fmla="*/ 50 w 64"/>
                <a:gd name="T93" fmla="*/ 37 h 78"/>
                <a:gd name="T94" fmla="*/ 50 w 64"/>
                <a:gd name="T95" fmla="*/ 37 h 78"/>
                <a:gd name="T96" fmla="*/ 33 w 64"/>
                <a:gd name="T97" fmla="*/ 11 h 78"/>
                <a:gd name="T98" fmla="*/ 33 w 64"/>
                <a:gd name="T99" fmla="*/ 11 h 78"/>
                <a:gd name="T100" fmla="*/ 34 w 64"/>
                <a:gd name="T101" fmla="*/ 4 h 78"/>
                <a:gd name="T102" fmla="*/ 28 w 64"/>
                <a:gd name="T10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78">
                  <a:moveTo>
                    <a:pt x="28" y="13"/>
                  </a:moveTo>
                  <a:cubicBezTo>
                    <a:pt x="29" y="13"/>
                    <a:pt x="30" y="13"/>
                    <a:pt x="31" y="12"/>
                  </a:cubicBezTo>
                  <a:cubicBezTo>
                    <a:pt x="31" y="12"/>
                    <a:pt x="31" y="12"/>
                    <a:pt x="31" y="12"/>
                  </a:cubicBezTo>
                  <a:cubicBezTo>
                    <a:pt x="31" y="12"/>
                    <a:pt x="31" y="12"/>
                    <a:pt x="31" y="12"/>
                  </a:cubicBezTo>
                  <a:cubicBezTo>
                    <a:pt x="32" y="12"/>
                    <a:pt x="49" y="37"/>
                    <a:pt x="48" y="38"/>
                  </a:cubicBezTo>
                  <a:cubicBezTo>
                    <a:pt x="48" y="38"/>
                    <a:pt x="48" y="38"/>
                    <a:pt x="48" y="38"/>
                  </a:cubicBezTo>
                  <a:cubicBezTo>
                    <a:pt x="45" y="41"/>
                    <a:pt x="44" y="45"/>
                    <a:pt x="46" y="49"/>
                  </a:cubicBezTo>
                  <a:cubicBezTo>
                    <a:pt x="46" y="49"/>
                    <a:pt x="46" y="49"/>
                    <a:pt x="46" y="49"/>
                  </a:cubicBezTo>
                  <a:cubicBezTo>
                    <a:pt x="46" y="49"/>
                    <a:pt x="46" y="49"/>
                    <a:pt x="46" y="49"/>
                  </a:cubicBezTo>
                  <a:cubicBezTo>
                    <a:pt x="47" y="51"/>
                    <a:pt x="21" y="70"/>
                    <a:pt x="20" y="70"/>
                  </a:cubicBezTo>
                  <a:cubicBezTo>
                    <a:pt x="20" y="70"/>
                    <a:pt x="20" y="70"/>
                    <a:pt x="20" y="70"/>
                  </a:cubicBezTo>
                  <a:cubicBezTo>
                    <a:pt x="20" y="70"/>
                    <a:pt x="20" y="70"/>
                    <a:pt x="20" y="70"/>
                  </a:cubicBezTo>
                  <a:cubicBezTo>
                    <a:pt x="19" y="70"/>
                    <a:pt x="19" y="69"/>
                    <a:pt x="18" y="69"/>
                  </a:cubicBezTo>
                  <a:cubicBezTo>
                    <a:pt x="18" y="69"/>
                    <a:pt x="18" y="69"/>
                    <a:pt x="18" y="69"/>
                  </a:cubicBezTo>
                  <a:cubicBezTo>
                    <a:pt x="17" y="69"/>
                    <a:pt x="26" y="13"/>
                    <a:pt x="28" y="13"/>
                  </a:cubicBezTo>
                  <a:cubicBezTo>
                    <a:pt x="28" y="13"/>
                    <a:pt x="28" y="13"/>
                    <a:pt x="28" y="13"/>
                  </a:cubicBezTo>
                  <a:cubicBezTo>
                    <a:pt x="28" y="13"/>
                    <a:pt x="28" y="13"/>
                    <a:pt x="28" y="13"/>
                  </a:cubicBezTo>
                  <a:moveTo>
                    <a:pt x="28" y="0"/>
                  </a:moveTo>
                  <a:cubicBezTo>
                    <a:pt x="27" y="0"/>
                    <a:pt x="26" y="0"/>
                    <a:pt x="25" y="0"/>
                  </a:cubicBezTo>
                  <a:cubicBezTo>
                    <a:pt x="21" y="2"/>
                    <a:pt x="20" y="6"/>
                    <a:pt x="22" y="9"/>
                  </a:cubicBezTo>
                  <a:cubicBezTo>
                    <a:pt x="22" y="11"/>
                    <a:pt x="24" y="12"/>
                    <a:pt x="26" y="13"/>
                  </a:cubicBezTo>
                  <a:cubicBezTo>
                    <a:pt x="26" y="13"/>
                    <a:pt x="26" y="13"/>
                    <a:pt x="26" y="13"/>
                  </a:cubicBezTo>
                  <a:cubicBezTo>
                    <a:pt x="27" y="13"/>
                    <a:pt x="18" y="69"/>
                    <a:pt x="17" y="69"/>
                  </a:cubicBezTo>
                  <a:cubicBezTo>
                    <a:pt x="17" y="69"/>
                    <a:pt x="17" y="69"/>
                    <a:pt x="17" y="69"/>
                  </a:cubicBezTo>
                  <a:cubicBezTo>
                    <a:pt x="17" y="69"/>
                    <a:pt x="17" y="69"/>
                    <a:pt x="17" y="69"/>
                  </a:cubicBezTo>
                  <a:cubicBezTo>
                    <a:pt x="16" y="69"/>
                    <a:pt x="15" y="69"/>
                    <a:pt x="15" y="69"/>
                  </a:cubicBezTo>
                  <a:cubicBezTo>
                    <a:pt x="14" y="70"/>
                    <a:pt x="14" y="70"/>
                    <a:pt x="13" y="70"/>
                  </a:cubicBezTo>
                  <a:cubicBezTo>
                    <a:pt x="14" y="70"/>
                    <a:pt x="14" y="70"/>
                    <a:pt x="14" y="70"/>
                  </a:cubicBezTo>
                  <a:cubicBezTo>
                    <a:pt x="14" y="70"/>
                    <a:pt x="14" y="70"/>
                    <a:pt x="14" y="70"/>
                  </a:cubicBezTo>
                  <a:cubicBezTo>
                    <a:pt x="13" y="70"/>
                    <a:pt x="7" y="65"/>
                    <a:pt x="0" y="59"/>
                  </a:cubicBezTo>
                  <a:cubicBezTo>
                    <a:pt x="7" y="66"/>
                    <a:pt x="13" y="71"/>
                    <a:pt x="12" y="71"/>
                  </a:cubicBezTo>
                  <a:cubicBezTo>
                    <a:pt x="12" y="71"/>
                    <a:pt x="12" y="71"/>
                    <a:pt x="12" y="71"/>
                  </a:cubicBezTo>
                  <a:cubicBezTo>
                    <a:pt x="12" y="72"/>
                    <a:pt x="12" y="74"/>
                    <a:pt x="12" y="75"/>
                  </a:cubicBezTo>
                  <a:cubicBezTo>
                    <a:pt x="13" y="77"/>
                    <a:pt x="15" y="78"/>
                    <a:pt x="17" y="78"/>
                  </a:cubicBezTo>
                  <a:cubicBezTo>
                    <a:pt x="17" y="78"/>
                    <a:pt x="18" y="78"/>
                    <a:pt x="19" y="78"/>
                  </a:cubicBezTo>
                  <a:cubicBezTo>
                    <a:pt x="21" y="77"/>
                    <a:pt x="22" y="74"/>
                    <a:pt x="21" y="72"/>
                  </a:cubicBezTo>
                  <a:cubicBezTo>
                    <a:pt x="21" y="71"/>
                    <a:pt x="21" y="71"/>
                    <a:pt x="21" y="71"/>
                  </a:cubicBezTo>
                  <a:cubicBezTo>
                    <a:pt x="21" y="71"/>
                    <a:pt x="21" y="71"/>
                    <a:pt x="21" y="71"/>
                  </a:cubicBezTo>
                  <a:cubicBezTo>
                    <a:pt x="20" y="70"/>
                    <a:pt x="45" y="51"/>
                    <a:pt x="48" y="51"/>
                  </a:cubicBezTo>
                  <a:cubicBezTo>
                    <a:pt x="48" y="51"/>
                    <a:pt x="48" y="51"/>
                    <a:pt x="48" y="51"/>
                  </a:cubicBezTo>
                  <a:cubicBezTo>
                    <a:pt x="48" y="51"/>
                    <a:pt x="48" y="51"/>
                    <a:pt x="48" y="51"/>
                  </a:cubicBezTo>
                  <a:cubicBezTo>
                    <a:pt x="49" y="53"/>
                    <a:pt x="52" y="54"/>
                    <a:pt x="54" y="54"/>
                  </a:cubicBezTo>
                  <a:cubicBezTo>
                    <a:pt x="55" y="54"/>
                    <a:pt x="57" y="53"/>
                    <a:pt x="58" y="53"/>
                  </a:cubicBezTo>
                  <a:cubicBezTo>
                    <a:pt x="63" y="51"/>
                    <a:pt x="64" y="46"/>
                    <a:pt x="62" y="41"/>
                  </a:cubicBezTo>
                  <a:cubicBezTo>
                    <a:pt x="61" y="38"/>
                    <a:pt x="57" y="36"/>
                    <a:pt x="54" y="36"/>
                  </a:cubicBezTo>
                  <a:cubicBezTo>
                    <a:pt x="53" y="36"/>
                    <a:pt x="51" y="36"/>
                    <a:pt x="50" y="37"/>
                  </a:cubicBezTo>
                  <a:cubicBezTo>
                    <a:pt x="50" y="37"/>
                    <a:pt x="50" y="37"/>
                    <a:pt x="50" y="37"/>
                  </a:cubicBezTo>
                  <a:cubicBezTo>
                    <a:pt x="50" y="37"/>
                    <a:pt x="50" y="37"/>
                    <a:pt x="50" y="37"/>
                  </a:cubicBezTo>
                  <a:cubicBezTo>
                    <a:pt x="48" y="37"/>
                    <a:pt x="32" y="12"/>
                    <a:pt x="33" y="11"/>
                  </a:cubicBezTo>
                  <a:cubicBezTo>
                    <a:pt x="33" y="11"/>
                    <a:pt x="33" y="11"/>
                    <a:pt x="33" y="11"/>
                  </a:cubicBezTo>
                  <a:cubicBezTo>
                    <a:pt x="35" y="9"/>
                    <a:pt x="35" y="6"/>
                    <a:pt x="34" y="4"/>
                  </a:cubicBezTo>
                  <a:cubicBezTo>
                    <a:pt x="33" y="1"/>
                    <a:pt x="30" y="0"/>
                    <a:pt x="28"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 name="Freeform 15"/>
            <p:cNvSpPr>
              <a:spLocks/>
            </p:cNvSpPr>
            <p:nvPr/>
          </p:nvSpPr>
          <p:spPr bwMode="auto">
            <a:xfrm>
              <a:off x="6832600" y="3729038"/>
              <a:ext cx="30163" cy="63500"/>
            </a:xfrm>
            <a:custGeom>
              <a:avLst/>
              <a:gdLst>
                <a:gd name="T0" fmla="*/ 0 w 8"/>
                <a:gd name="T1" fmla="*/ 0 h 17"/>
                <a:gd name="T2" fmla="*/ 8 w 8"/>
                <a:gd name="T3" fmla="*/ 17 h 17"/>
                <a:gd name="T4" fmla="*/ 0 w 8"/>
                <a:gd name="T5" fmla="*/ 0 h 17"/>
              </a:gdLst>
              <a:ahLst/>
              <a:cxnLst>
                <a:cxn ang="0">
                  <a:pos x="T0" y="T1"/>
                </a:cxn>
                <a:cxn ang="0">
                  <a:pos x="T2" y="T3"/>
                </a:cxn>
                <a:cxn ang="0">
                  <a:pos x="T4" y="T5"/>
                </a:cxn>
              </a:cxnLst>
              <a:rect l="0" t="0" r="r" b="b"/>
              <a:pathLst>
                <a:path w="8" h="17">
                  <a:moveTo>
                    <a:pt x="0" y="0"/>
                  </a:moveTo>
                  <a:cubicBezTo>
                    <a:pt x="3" y="5"/>
                    <a:pt x="6" y="11"/>
                    <a:pt x="8" y="17"/>
                  </a:cubicBezTo>
                  <a:cubicBezTo>
                    <a:pt x="6" y="11"/>
                    <a:pt x="3" y="5"/>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 name="Freeform 16"/>
            <p:cNvSpPr>
              <a:spLocks/>
            </p:cNvSpPr>
            <p:nvPr/>
          </p:nvSpPr>
          <p:spPr bwMode="auto">
            <a:xfrm>
              <a:off x="6656388" y="3328988"/>
              <a:ext cx="17463" cy="3175"/>
            </a:xfrm>
            <a:custGeom>
              <a:avLst/>
              <a:gdLst>
                <a:gd name="T0" fmla="*/ 0 w 5"/>
                <a:gd name="T1" fmla="*/ 0 h 1"/>
                <a:gd name="T2" fmla="*/ 5 w 5"/>
                <a:gd name="T3" fmla="*/ 1 h 1"/>
                <a:gd name="T4" fmla="*/ 0 w 5"/>
                <a:gd name="T5" fmla="*/ 0 h 1"/>
              </a:gdLst>
              <a:ahLst/>
              <a:cxnLst>
                <a:cxn ang="0">
                  <a:pos x="T0" y="T1"/>
                </a:cxn>
                <a:cxn ang="0">
                  <a:pos x="T2" y="T3"/>
                </a:cxn>
                <a:cxn ang="0">
                  <a:pos x="T4" y="T5"/>
                </a:cxn>
              </a:cxnLst>
              <a:rect l="0" t="0" r="r" b="b"/>
              <a:pathLst>
                <a:path w="5" h="1">
                  <a:moveTo>
                    <a:pt x="0" y="0"/>
                  </a:moveTo>
                  <a:cubicBezTo>
                    <a:pt x="2" y="0"/>
                    <a:pt x="4" y="1"/>
                    <a:pt x="5" y="1"/>
                  </a:cubicBezTo>
                  <a:cubicBezTo>
                    <a:pt x="4" y="0"/>
                    <a:pt x="2" y="0"/>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 name="Freeform 17"/>
            <p:cNvSpPr>
              <a:spLocks/>
            </p:cNvSpPr>
            <p:nvPr/>
          </p:nvSpPr>
          <p:spPr bwMode="auto">
            <a:xfrm>
              <a:off x="6040438" y="3951288"/>
              <a:ext cx="44450" cy="19050"/>
            </a:xfrm>
            <a:custGeom>
              <a:avLst/>
              <a:gdLst>
                <a:gd name="T0" fmla="*/ 0 w 12"/>
                <a:gd name="T1" fmla="*/ 0 h 5"/>
                <a:gd name="T2" fmla="*/ 12 w 12"/>
                <a:gd name="T3" fmla="*/ 5 h 5"/>
                <a:gd name="T4" fmla="*/ 0 w 12"/>
                <a:gd name="T5" fmla="*/ 0 h 5"/>
              </a:gdLst>
              <a:ahLst/>
              <a:cxnLst>
                <a:cxn ang="0">
                  <a:pos x="T0" y="T1"/>
                </a:cxn>
                <a:cxn ang="0">
                  <a:pos x="T2" y="T3"/>
                </a:cxn>
                <a:cxn ang="0">
                  <a:pos x="T4" y="T5"/>
                </a:cxn>
              </a:cxnLst>
              <a:rect l="0" t="0" r="r" b="b"/>
              <a:pathLst>
                <a:path w="12" h="5">
                  <a:moveTo>
                    <a:pt x="0" y="0"/>
                  </a:moveTo>
                  <a:cubicBezTo>
                    <a:pt x="4" y="1"/>
                    <a:pt x="8" y="3"/>
                    <a:pt x="12" y="5"/>
                  </a:cubicBezTo>
                  <a:cubicBezTo>
                    <a:pt x="8" y="3"/>
                    <a:pt x="4"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 name="Freeform 18"/>
            <p:cNvSpPr>
              <a:spLocks/>
            </p:cNvSpPr>
            <p:nvPr/>
          </p:nvSpPr>
          <p:spPr bwMode="auto">
            <a:xfrm>
              <a:off x="7485063" y="3729038"/>
              <a:ext cx="11113" cy="77788"/>
            </a:xfrm>
            <a:custGeom>
              <a:avLst/>
              <a:gdLst>
                <a:gd name="T0" fmla="*/ 3 w 3"/>
                <a:gd name="T1" fmla="*/ 0 h 21"/>
                <a:gd name="T2" fmla="*/ 0 w 3"/>
                <a:gd name="T3" fmla="*/ 21 h 21"/>
                <a:gd name="T4" fmla="*/ 3 w 3"/>
                <a:gd name="T5" fmla="*/ 0 h 21"/>
              </a:gdLst>
              <a:ahLst/>
              <a:cxnLst>
                <a:cxn ang="0">
                  <a:pos x="T0" y="T1"/>
                </a:cxn>
                <a:cxn ang="0">
                  <a:pos x="T2" y="T3"/>
                </a:cxn>
                <a:cxn ang="0">
                  <a:pos x="T4" y="T5"/>
                </a:cxn>
              </a:cxnLst>
              <a:rect l="0" t="0" r="r" b="b"/>
              <a:pathLst>
                <a:path w="3" h="21">
                  <a:moveTo>
                    <a:pt x="3" y="0"/>
                  </a:moveTo>
                  <a:cubicBezTo>
                    <a:pt x="2" y="7"/>
                    <a:pt x="1" y="15"/>
                    <a:pt x="0" y="21"/>
                  </a:cubicBezTo>
                  <a:cubicBezTo>
                    <a:pt x="1" y="15"/>
                    <a:pt x="2" y="7"/>
                    <a:pt x="3"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 name="Freeform 19"/>
            <p:cNvSpPr>
              <a:spLocks noEditPoints="1"/>
            </p:cNvSpPr>
            <p:nvPr/>
          </p:nvSpPr>
          <p:spPr bwMode="auto">
            <a:xfrm>
              <a:off x="2719388" y="2635250"/>
              <a:ext cx="4916488" cy="1974850"/>
            </a:xfrm>
            <a:custGeom>
              <a:avLst/>
              <a:gdLst>
                <a:gd name="T0" fmla="*/ 893 w 1309"/>
                <a:gd name="T1" fmla="*/ 437 h 524"/>
                <a:gd name="T2" fmla="*/ 374 w 1309"/>
                <a:gd name="T3" fmla="*/ 407 h 524"/>
                <a:gd name="T4" fmla="*/ 109 w 1309"/>
                <a:gd name="T5" fmla="*/ 335 h 524"/>
                <a:gd name="T6" fmla="*/ 711 w 1309"/>
                <a:gd name="T7" fmla="*/ 231 h 524"/>
                <a:gd name="T8" fmla="*/ 511 w 1309"/>
                <a:gd name="T9" fmla="*/ 291 h 524"/>
                <a:gd name="T10" fmla="*/ 1098 w 1309"/>
                <a:gd name="T11" fmla="*/ 219 h 524"/>
                <a:gd name="T12" fmla="*/ 125 w 1309"/>
                <a:gd name="T13" fmla="*/ 212 h 524"/>
                <a:gd name="T14" fmla="*/ 774 w 1309"/>
                <a:gd name="T15" fmla="*/ 164 h 524"/>
                <a:gd name="T16" fmla="*/ 772 w 1309"/>
                <a:gd name="T17" fmla="*/ 166 h 524"/>
                <a:gd name="T18" fmla="*/ 994 w 1309"/>
                <a:gd name="T19" fmla="*/ 178 h 524"/>
                <a:gd name="T20" fmla="*/ 776 w 1309"/>
                <a:gd name="T21" fmla="*/ 159 h 524"/>
                <a:gd name="T22" fmla="*/ 776 w 1309"/>
                <a:gd name="T23" fmla="*/ 159 h 524"/>
                <a:gd name="T24" fmla="*/ 40 w 1309"/>
                <a:gd name="T25" fmla="*/ 153 h 524"/>
                <a:gd name="T26" fmla="*/ 41 w 1309"/>
                <a:gd name="T27" fmla="*/ 138 h 524"/>
                <a:gd name="T28" fmla="*/ 625 w 1309"/>
                <a:gd name="T29" fmla="*/ 165 h 524"/>
                <a:gd name="T30" fmla="*/ 523 w 1309"/>
                <a:gd name="T31" fmla="*/ 211 h 524"/>
                <a:gd name="T32" fmla="*/ 784 w 1309"/>
                <a:gd name="T33" fmla="*/ 34 h 524"/>
                <a:gd name="T34" fmla="*/ 738 w 1309"/>
                <a:gd name="T35" fmla="*/ 161 h 524"/>
                <a:gd name="T36" fmla="*/ 645 w 1309"/>
                <a:gd name="T37" fmla="*/ 268 h 524"/>
                <a:gd name="T38" fmla="*/ 686 w 1309"/>
                <a:gd name="T39" fmla="*/ 160 h 524"/>
                <a:gd name="T40" fmla="*/ 656 w 1309"/>
                <a:gd name="T41" fmla="*/ 136 h 524"/>
                <a:gd name="T42" fmla="*/ 505 w 1309"/>
                <a:gd name="T43" fmla="*/ 214 h 524"/>
                <a:gd name="T44" fmla="*/ 320 w 1309"/>
                <a:gd name="T45" fmla="*/ 318 h 524"/>
                <a:gd name="T46" fmla="*/ 85 w 1309"/>
                <a:gd name="T47" fmla="*/ 202 h 524"/>
                <a:gd name="T48" fmla="*/ 106 w 1309"/>
                <a:gd name="T49" fmla="*/ 162 h 524"/>
                <a:gd name="T50" fmla="*/ 48 w 1309"/>
                <a:gd name="T51" fmla="*/ 132 h 524"/>
                <a:gd name="T52" fmla="*/ 15 w 1309"/>
                <a:gd name="T53" fmla="*/ 168 h 524"/>
                <a:gd name="T54" fmla="*/ 55 w 1309"/>
                <a:gd name="T55" fmla="*/ 246 h 524"/>
                <a:gd name="T56" fmla="*/ 66 w 1309"/>
                <a:gd name="T57" fmla="*/ 318 h 524"/>
                <a:gd name="T58" fmla="*/ 113 w 1309"/>
                <a:gd name="T59" fmla="*/ 332 h 524"/>
                <a:gd name="T60" fmla="*/ 165 w 1309"/>
                <a:gd name="T61" fmla="*/ 300 h 524"/>
                <a:gd name="T62" fmla="*/ 375 w 1309"/>
                <a:gd name="T63" fmla="*/ 342 h 524"/>
                <a:gd name="T64" fmla="*/ 401 w 1309"/>
                <a:gd name="T65" fmla="*/ 388 h 524"/>
                <a:gd name="T66" fmla="*/ 379 w 1309"/>
                <a:gd name="T67" fmla="*/ 337 h 524"/>
                <a:gd name="T68" fmla="*/ 519 w 1309"/>
                <a:gd name="T69" fmla="*/ 309 h 524"/>
                <a:gd name="T70" fmla="*/ 641 w 1309"/>
                <a:gd name="T71" fmla="*/ 298 h 524"/>
                <a:gd name="T72" fmla="*/ 552 w 1309"/>
                <a:gd name="T73" fmla="*/ 435 h 524"/>
                <a:gd name="T74" fmla="*/ 681 w 1309"/>
                <a:gd name="T75" fmla="*/ 478 h 524"/>
                <a:gd name="T76" fmla="*/ 675 w 1309"/>
                <a:gd name="T77" fmla="*/ 489 h 524"/>
                <a:gd name="T78" fmla="*/ 758 w 1309"/>
                <a:gd name="T79" fmla="*/ 416 h 524"/>
                <a:gd name="T80" fmla="*/ 741 w 1309"/>
                <a:gd name="T81" fmla="*/ 317 h 524"/>
                <a:gd name="T82" fmla="*/ 889 w 1309"/>
                <a:gd name="T83" fmla="*/ 439 h 524"/>
                <a:gd name="T84" fmla="*/ 926 w 1309"/>
                <a:gd name="T85" fmla="*/ 363 h 524"/>
                <a:gd name="T86" fmla="*/ 871 w 1309"/>
                <a:gd name="T87" fmla="*/ 413 h 524"/>
                <a:gd name="T88" fmla="*/ 712 w 1309"/>
                <a:gd name="T89" fmla="*/ 233 h 524"/>
                <a:gd name="T90" fmla="*/ 764 w 1309"/>
                <a:gd name="T91" fmla="*/ 165 h 524"/>
                <a:gd name="T92" fmla="*/ 845 w 1309"/>
                <a:gd name="T93" fmla="*/ 209 h 524"/>
                <a:gd name="T94" fmla="*/ 912 w 1309"/>
                <a:gd name="T95" fmla="*/ 234 h 524"/>
                <a:gd name="T96" fmla="*/ 884 w 1309"/>
                <a:gd name="T97" fmla="*/ 349 h 524"/>
                <a:gd name="T98" fmla="*/ 1000 w 1309"/>
                <a:gd name="T99" fmla="*/ 192 h 524"/>
                <a:gd name="T100" fmla="*/ 1083 w 1309"/>
                <a:gd name="T101" fmla="*/ 271 h 524"/>
                <a:gd name="T102" fmla="*/ 1023 w 1309"/>
                <a:gd name="T103" fmla="*/ 286 h 524"/>
                <a:gd name="T104" fmla="*/ 1067 w 1309"/>
                <a:gd name="T105" fmla="*/ 180 h 524"/>
                <a:gd name="T106" fmla="*/ 1069 w 1309"/>
                <a:gd name="T107" fmla="*/ 194 h 524"/>
                <a:gd name="T108" fmla="*/ 1138 w 1309"/>
                <a:gd name="T109" fmla="*/ 197 h 524"/>
                <a:gd name="T110" fmla="*/ 1141 w 1309"/>
                <a:gd name="T111" fmla="*/ 192 h 524"/>
                <a:gd name="T112" fmla="*/ 1130 w 1309"/>
                <a:gd name="T113" fmla="*/ 80 h 524"/>
                <a:gd name="T114" fmla="*/ 1257 w 1309"/>
                <a:gd name="T115" fmla="*/ 243 h 524"/>
                <a:gd name="T116" fmla="*/ 1273 w 1309"/>
                <a:gd name="T117" fmla="*/ 254 h 524"/>
                <a:gd name="T118" fmla="*/ 1148 w 1309"/>
                <a:gd name="T119" fmla="*/ 135 h 524"/>
                <a:gd name="T120" fmla="*/ 1023 w 1309"/>
                <a:gd name="T121" fmla="*/ 153 h 524"/>
                <a:gd name="T122" fmla="*/ 1011 w 1309"/>
                <a:gd name="T123" fmla="*/ 101 h 524"/>
                <a:gd name="T124" fmla="*/ 848 w 1309"/>
                <a:gd name="T125" fmla="*/ 12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9" h="524">
                  <a:moveTo>
                    <a:pt x="897" y="418"/>
                  </a:moveTo>
                  <a:cubicBezTo>
                    <a:pt x="895" y="415"/>
                    <a:pt x="923" y="393"/>
                    <a:pt x="929" y="393"/>
                  </a:cubicBezTo>
                  <a:cubicBezTo>
                    <a:pt x="930" y="393"/>
                    <a:pt x="930" y="394"/>
                    <a:pt x="930" y="394"/>
                  </a:cubicBezTo>
                  <a:cubicBezTo>
                    <a:pt x="930" y="394"/>
                    <a:pt x="930" y="394"/>
                    <a:pt x="930" y="394"/>
                  </a:cubicBezTo>
                  <a:cubicBezTo>
                    <a:pt x="932" y="395"/>
                    <a:pt x="934" y="397"/>
                    <a:pt x="936" y="398"/>
                  </a:cubicBezTo>
                  <a:cubicBezTo>
                    <a:pt x="938" y="399"/>
                    <a:pt x="941" y="400"/>
                    <a:pt x="943" y="400"/>
                  </a:cubicBezTo>
                  <a:cubicBezTo>
                    <a:pt x="943" y="400"/>
                    <a:pt x="943" y="400"/>
                    <a:pt x="943" y="400"/>
                  </a:cubicBezTo>
                  <a:cubicBezTo>
                    <a:pt x="948" y="401"/>
                    <a:pt x="942" y="495"/>
                    <a:pt x="939" y="496"/>
                  </a:cubicBezTo>
                  <a:cubicBezTo>
                    <a:pt x="939" y="496"/>
                    <a:pt x="939" y="496"/>
                    <a:pt x="939" y="496"/>
                  </a:cubicBezTo>
                  <a:cubicBezTo>
                    <a:pt x="938" y="496"/>
                    <a:pt x="936" y="496"/>
                    <a:pt x="935" y="497"/>
                  </a:cubicBezTo>
                  <a:cubicBezTo>
                    <a:pt x="935" y="497"/>
                    <a:pt x="935" y="497"/>
                    <a:pt x="935" y="497"/>
                  </a:cubicBezTo>
                  <a:cubicBezTo>
                    <a:pt x="935" y="497"/>
                    <a:pt x="935" y="497"/>
                    <a:pt x="935" y="497"/>
                  </a:cubicBezTo>
                  <a:cubicBezTo>
                    <a:pt x="932" y="497"/>
                    <a:pt x="891" y="439"/>
                    <a:pt x="893" y="437"/>
                  </a:cubicBezTo>
                  <a:cubicBezTo>
                    <a:pt x="893" y="437"/>
                    <a:pt x="893" y="437"/>
                    <a:pt x="893" y="437"/>
                  </a:cubicBezTo>
                  <a:cubicBezTo>
                    <a:pt x="896" y="434"/>
                    <a:pt x="898" y="430"/>
                    <a:pt x="898" y="426"/>
                  </a:cubicBezTo>
                  <a:cubicBezTo>
                    <a:pt x="899" y="423"/>
                    <a:pt x="898" y="420"/>
                    <a:pt x="896" y="418"/>
                  </a:cubicBezTo>
                  <a:cubicBezTo>
                    <a:pt x="897" y="418"/>
                    <a:pt x="897" y="418"/>
                    <a:pt x="897" y="418"/>
                  </a:cubicBezTo>
                  <a:moveTo>
                    <a:pt x="382" y="350"/>
                  </a:moveTo>
                  <a:cubicBezTo>
                    <a:pt x="383" y="350"/>
                    <a:pt x="384" y="350"/>
                    <a:pt x="385" y="349"/>
                  </a:cubicBezTo>
                  <a:cubicBezTo>
                    <a:pt x="385" y="349"/>
                    <a:pt x="385" y="349"/>
                    <a:pt x="385" y="349"/>
                  </a:cubicBezTo>
                  <a:cubicBezTo>
                    <a:pt x="385" y="349"/>
                    <a:pt x="385" y="349"/>
                    <a:pt x="385" y="349"/>
                  </a:cubicBezTo>
                  <a:cubicBezTo>
                    <a:pt x="386" y="349"/>
                    <a:pt x="403" y="374"/>
                    <a:pt x="402" y="375"/>
                  </a:cubicBezTo>
                  <a:cubicBezTo>
                    <a:pt x="402" y="375"/>
                    <a:pt x="402" y="375"/>
                    <a:pt x="402" y="375"/>
                  </a:cubicBezTo>
                  <a:cubicBezTo>
                    <a:pt x="399" y="378"/>
                    <a:pt x="398" y="382"/>
                    <a:pt x="400" y="385"/>
                  </a:cubicBezTo>
                  <a:cubicBezTo>
                    <a:pt x="400" y="386"/>
                    <a:pt x="400" y="386"/>
                    <a:pt x="400" y="386"/>
                  </a:cubicBezTo>
                  <a:cubicBezTo>
                    <a:pt x="400" y="386"/>
                    <a:pt x="400" y="386"/>
                    <a:pt x="400" y="386"/>
                  </a:cubicBezTo>
                  <a:cubicBezTo>
                    <a:pt x="401" y="388"/>
                    <a:pt x="375" y="407"/>
                    <a:pt x="374" y="407"/>
                  </a:cubicBezTo>
                  <a:cubicBezTo>
                    <a:pt x="374" y="407"/>
                    <a:pt x="374" y="407"/>
                    <a:pt x="374" y="407"/>
                  </a:cubicBezTo>
                  <a:cubicBezTo>
                    <a:pt x="374" y="407"/>
                    <a:pt x="374" y="407"/>
                    <a:pt x="374" y="407"/>
                  </a:cubicBezTo>
                  <a:cubicBezTo>
                    <a:pt x="373" y="406"/>
                    <a:pt x="373" y="406"/>
                    <a:pt x="372" y="406"/>
                  </a:cubicBezTo>
                  <a:cubicBezTo>
                    <a:pt x="372" y="406"/>
                    <a:pt x="372" y="406"/>
                    <a:pt x="372" y="406"/>
                  </a:cubicBezTo>
                  <a:cubicBezTo>
                    <a:pt x="371" y="406"/>
                    <a:pt x="380" y="350"/>
                    <a:pt x="382" y="350"/>
                  </a:cubicBezTo>
                  <a:cubicBezTo>
                    <a:pt x="382" y="350"/>
                    <a:pt x="382" y="350"/>
                    <a:pt x="382" y="350"/>
                  </a:cubicBezTo>
                  <a:cubicBezTo>
                    <a:pt x="382" y="350"/>
                    <a:pt x="382" y="350"/>
                    <a:pt x="382" y="350"/>
                  </a:cubicBezTo>
                  <a:moveTo>
                    <a:pt x="110" y="294"/>
                  </a:moveTo>
                  <a:cubicBezTo>
                    <a:pt x="110" y="294"/>
                    <a:pt x="110" y="294"/>
                    <a:pt x="110" y="294"/>
                  </a:cubicBezTo>
                  <a:cubicBezTo>
                    <a:pt x="110" y="294"/>
                    <a:pt x="111" y="295"/>
                    <a:pt x="112" y="295"/>
                  </a:cubicBezTo>
                  <a:cubicBezTo>
                    <a:pt x="112" y="295"/>
                    <a:pt x="112" y="295"/>
                    <a:pt x="112" y="295"/>
                  </a:cubicBezTo>
                  <a:cubicBezTo>
                    <a:pt x="113" y="295"/>
                    <a:pt x="113" y="332"/>
                    <a:pt x="112" y="332"/>
                  </a:cubicBezTo>
                  <a:cubicBezTo>
                    <a:pt x="112" y="332"/>
                    <a:pt x="112" y="332"/>
                    <a:pt x="112" y="332"/>
                  </a:cubicBezTo>
                  <a:cubicBezTo>
                    <a:pt x="112" y="333"/>
                    <a:pt x="111" y="333"/>
                    <a:pt x="111" y="333"/>
                  </a:cubicBezTo>
                  <a:cubicBezTo>
                    <a:pt x="110" y="333"/>
                    <a:pt x="109" y="334"/>
                    <a:pt x="109" y="335"/>
                  </a:cubicBezTo>
                  <a:cubicBezTo>
                    <a:pt x="109" y="334"/>
                    <a:pt x="109" y="334"/>
                    <a:pt x="109" y="334"/>
                  </a:cubicBezTo>
                  <a:cubicBezTo>
                    <a:pt x="109" y="334"/>
                    <a:pt x="109" y="334"/>
                    <a:pt x="109" y="334"/>
                  </a:cubicBezTo>
                  <a:cubicBezTo>
                    <a:pt x="107" y="334"/>
                    <a:pt x="70" y="323"/>
                    <a:pt x="70" y="322"/>
                  </a:cubicBezTo>
                  <a:cubicBezTo>
                    <a:pt x="70" y="322"/>
                    <a:pt x="70" y="322"/>
                    <a:pt x="70" y="322"/>
                  </a:cubicBezTo>
                  <a:cubicBezTo>
                    <a:pt x="70" y="321"/>
                    <a:pt x="70" y="321"/>
                    <a:pt x="70" y="320"/>
                  </a:cubicBezTo>
                  <a:cubicBezTo>
                    <a:pt x="70" y="320"/>
                    <a:pt x="70" y="320"/>
                    <a:pt x="70" y="320"/>
                  </a:cubicBezTo>
                  <a:cubicBezTo>
                    <a:pt x="70" y="320"/>
                    <a:pt x="70" y="320"/>
                    <a:pt x="70" y="320"/>
                  </a:cubicBezTo>
                  <a:cubicBezTo>
                    <a:pt x="69" y="319"/>
                    <a:pt x="108" y="294"/>
                    <a:pt x="110" y="294"/>
                  </a:cubicBezTo>
                  <a:cubicBezTo>
                    <a:pt x="110" y="294"/>
                    <a:pt x="110" y="294"/>
                    <a:pt x="110" y="294"/>
                  </a:cubicBezTo>
                  <a:moveTo>
                    <a:pt x="656" y="271"/>
                  </a:moveTo>
                  <a:cubicBezTo>
                    <a:pt x="663" y="262"/>
                    <a:pt x="685" y="240"/>
                    <a:pt x="708" y="218"/>
                  </a:cubicBezTo>
                  <a:cubicBezTo>
                    <a:pt x="710" y="221"/>
                    <a:pt x="712" y="223"/>
                    <a:pt x="711" y="223"/>
                  </a:cubicBezTo>
                  <a:cubicBezTo>
                    <a:pt x="711" y="223"/>
                    <a:pt x="711" y="223"/>
                    <a:pt x="711" y="223"/>
                  </a:cubicBezTo>
                  <a:cubicBezTo>
                    <a:pt x="710" y="225"/>
                    <a:pt x="709" y="228"/>
                    <a:pt x="711" y="231"/>
                  </a:cubicBezTo>
                  <a:cubicBezTo>
                    <a:pt x="711" y="231"/>
                    <a:pt x="711" y="231"/>
                    <a:pt x="711" y="231"/>
                  </a:cubicBezTo>
                  <a:cubicBezTo>
                    <a:pt x="711" y="231"/>
                    <a:pt x="711" y="231"/>
                    <a:pt x="711" y="231"/>
                  </a:cubicBezTo>
                  <a:cubicBezTo>
                    <a:pt x="711" y="232"/>
                    <a:pt x="669" y="263"/>
                    <a:pt x="656" y="271"/>
                  </a:cubicBezTo>
                  <a:moveTo>
                    <a:pt x="516" y="214"/>
                  </a:moveTo>
                  <a:cubicBezTo>
                    <a:pt x="516" y="214"/>
                    <a:pt x="516" y="214"/>
                    <a:pt x="516" y="214"/>
                  </a:cubicBezTo>
                  <a:cubicBezTo>
                    <a:pt x="521" y="214"/>
                    <a:pt x="573" y="327"/>
                    <a:pt x="571" y="328"/>
                  </a:cubicBezTo>
                  <a:cubicBezTo>
                    <a:pt x="571" y="328"/>
                    <a:pt x="571" y="328"/>
                    <a:pt x="571" y="328"/>
                  </a:cubicBezTo>
                  <a:cubicBezTo>
                    <a:pt x="570" y="329"/>
                    <a:pt x="569" y="330"/>
                    <a:pt x="568" y="331"/>
                  </a:cubicBezTo>
                  <a:cubicBezTo>
                    <a:pt x="568" y="331"/>
                    <a:pt x="568" y="331"/>
                    <a:pt x="568" y="331"/>
                  </a:cubicBezTo>
                  <a:cubicBezTo>
                    <a:pt x="568" y="331"/>
                    <a:pt x="568" y="331"/>
                    <a:pt x="568" y="331"/>
                  </a:cubicBezTo>
                  <a:cubicBezTo>
                    <a:pt x="564" y="331"/>
                    <a:pt x="519" y="308"/>
                    <a:pt x="520" y="306"/>
                  </a:cubicBezTo>
                  <a:cubicBezTo>
                    <a:pt x="520" y="306"/>
                    <a:pt x="520" y="306"/>
                    <a:pt x="520" y="306"/>
                  </a:cubicBezTo>
                  <a:cubicBezTo>
                    <a:pt x="521" y="303"/>
                    <a:pt x="521" y="300"/>
                    <a:pt x="520" y="297"/>
                  </a:cubicBezTo>
                  <a:cubicBezTo>
                    <a:pt x="518" y="294"/>
                    <a:pt x="515" y="292"/>
                    <a:pt x="511" y="291"/>
                  </a:cubicBezTo>
                  <a:cubicBezTo>
                    <a:pt x="511" y="291"/>
                    <a:pt x="511" y="291"/>
                    <a:pt x="511" y="291"/>
                  </a:cubicBezTo>
                  <a:cubicBezTo>
                    <a:pt x="509" y="291"/>
                    <a:pt x="508" y="215"/>
                    <a:pt x="513" y="214"/>
                  </a:cubicBezTo>
                  <a:cubicBezTo>
                    <a:pt x="513" y="214"/>
                    <a:pt x="513" y="214"/>
                    <a:pt x="513" y="214"/>
                  </a:cubicBezTo>
                  <a:cubicBezTo>
                    <a:pt x="514" y="214"/>
                    <a:pt x="515" y="214"/>
                    <a:pt x="516" y="214"/>
                  </a:cubicBezTo>
                  <a:cubicBezTo>
                    <a:pt x="516" y="214"/>
                    <a:pt x="516" y="214"/>
                    <a:pt x="516" y="214"/>
                  </a:cubicBezTo>
                  <a:moveTo>
                    <a:pt x="1072" y="189"/>
                  </a:moveTo>
                  <a:cubicBezTo>
                    <a:pt x="1072" y="189"/>
                    <a:pt x="1073" y="189"/>
                    <a:pt x="1075" y="189"/>
                  </a:cubicBezTo>
                  <a:cubicBezTo>
                    <a:pt x="1088" y="189"/>
                    <a:pt x="1130" y="192"/>
                    <a:pt x="1130" y="193"/>
                  </a:cubicBezTo>
                  <a:cubicBezTo>
                    <a:pt x="1130" y="193"/>
                    <a:pt x="1130" y="193"/>
                    <a:pt x="1130" y="193"/>
                  </a:cubicBezTo>
                  <a:cubicBezTo>
                    <a:pt x="1131" y="194"/>
                    <a:pt x="1131" y="194"/>
                    <a:pt x="1131" y="195"/>
                  </a:cubicBezTo>
                  <a:cubicBezTo>
                    <a:pt x="1131" y="195"/>
                    <a:pt x="1131" y="195"/>
                    <a:pt x="1131" y="195"/>
                  </a:cubicBezTo>
                  <a:cubicBezTo>
                    <a:pt x="1132" y="196"/>
                    <a:pt x="1100" y="219"/>
                    <a:pt x="1098" y="219"/>
                  </a:cubicBezTo>
                  <a:cubicBezTo>
                    <a:pt x="1098" y="219"/>
                    <a:pt x="1098" y="219"/>
                    <a:pt x="1098" y="219"/>
                  </a:cubicBezTo>
                  <a:cubicBezTo>
                    <a:pt x="1098" y="219"/>
                    <a:pt x="1098" y="219"/>
                    <a:pt x="1098" y="219"/>
                  </a:cubicBezTo>
                  <a:cubicBezTo>
                    <a:pt x="1098" y="219"/>
                    <a:pt x="1097" y="218"/>
                    <a:pt x="1096" y="218"/>
                  </a:cubicBezTo>
                  <a:cubicBezTo>
                    <a:pt x="1095" y="218"/>
                    <a:pt x="1095" y="219"/>
                    <a:pt x="1094" y="219"/>
                  </a:cubicBezTo>
                  <a:cubicBezTo>
                    <a:pt x="1094" y="219"/>
                    <a:pt x="1094" y="219"/>
                    <a:pt x="1094" y="219"/>
                  </a:cubicBezTo>
                  <a:cubicBezTo>
                    <a:pt x="1094" y="219"/>
                    <a:pt x="1094" y="219"/>
                    <a:pt x="1094" y="219"/>
                  </a:cubicBezTo>
                  <a:cubicBezTo>
                    <a:pt x="1094" y="219"/>
                    <a:pt x="1094" y="219"/>
                    <a:pt x="1094" y="219"/>
                  </a:cubicBezTo>
                  <a:cubicBezTo>
                    <a:pt x="1093" y="219"/>
                    <a:pt x="1069" y="193"/>
                    <a:pt x="1070" y="192"/>
                  </a:cubicBezTo>
                  <a:cubicBezTo>
                    <a:pt x="1070" y="192"/>
                    <a:pt x="1070" y="192"/>
                    <a:pt x="1070" y="192"/>
                  </a:cubicBezTo>
                  <a:cubicBezTo>
                    <a:pt x="1071" y="191"/>
                    <a:pt x="1072" y="190"/>
                    <a:pt x="1072" y="189"/>
                  </a:cubicBezTo>
                  <a:cubicBezTo>
                    <a:pt x="1072" y="189"/>
                    <a:pt x="1072" y="189"/>
                    <a:pt x="1072" y="189"/>
                  </a:cubicBezTo>
                  <a:moveTo>
                    <a:pt x="76" y="193"/>
                  </a:moveTo>
                  <a:cubicBezTo>
                    <a:pt x="75" y="193"/>
                    <a:pt x="62" y="176"/>
                    <a:pt x="54" y="165"/>
                  </a:cubicBezTo>
                  <a:cubicBezTo>
                    <a:pt x="56" y="165"/>
                    <a:pt x="58" y="164"/>
                    <a:pt x="61" y="164"/>
                  </a:cubicBezTo>
                  <a:cubicBezTo>
                    <a:pt x="83" y="181"/>
                    <a:pt x="126" y="212"/>
                    <a:pt x="125" y="212"/>
                  </a:cubicBezTo>
                  <a:cubicBezTo>
                    <a:pt x="125" y="212"/>
                    <a:pt x="125" y="212"/>
                    <a:pt x="125" y="212"/>
                  </a:cubicBezTo>
                  <a:cubicBezTo>
                    <a:pt x="125" y="213"/>
                    <a:pt x="125" y="213"/>
                    <a:pt x="125" y="213"/>
                  </a:cubicBezTo>
                  <a:cubicBezTo>
                    <a:pt x="125" y="213"/>
                    <a:pt x="125" y="213"/>
                    <a:pt x="125" y="213"/>
                  </a:cubicBezTo>
                  <a:cubicBezTo>
                    <a:pt x="125" y="213"/>
                    <a:pt x="125" y="213"/>
                    <a:pt x="125" y="213"/>
                  </a:cubicBezTo>
                  <a:cubicBezTo>
                    <a:pt x="122" y="213"/>
                    <a:pt x="86" y="201"/>
                    <a:pt x="86" y="200"/>
                  </a:cubicBezTo>
                  <a:cubicBezTo>
                    <a:pt x="86" y="200"/>
                    <a:pt x="86" y="200"/>
                    <a:pt x="86" y="200"/>
                  </a:cubicBezTo>
                  <a:cubicBezTo>
                    <a:pt x="86" y="199"/>
                    <a:pt x="86" y="197"/>
                    <a:pt x="86" y="196"/>
                  </a:cubicBezTo>
                  <a:cubicBezTo>
                    <a:pt x="84" y="194"/>
                    <a:pt x="82" y="192"/>
                    <a:pt x="79" y="192"/>
                  </a:cubicBezTo>
                  <a:cubicBezTo>
                    <a:pt x="78" y="192"/>
                    <a:pt x="77" y="193"/>
                    <a:pt x="76" y="193"/>
                  </a:cubicBezTo>
                  <a:cubicBezTo>
                    <a:pt x="76" y="193"/>
                    <a:pt x="76" y="193"/>
                    <a:pt x="76" y="193"/>
                  </a:cubicBezTo>
                  <a:cubicBezTo>
                    <a:pt x="76" y="193"/>
                    <a:pt x="76" y="193"/>
                    <a:pt x="76" y="193"/>
                  </a:cubicBezTo>
                  <a:cubicBezTo>
                    <a:pt x="76" y="193"/>
                    <a:pt x="76" y="193"/>
                    <a:pt x="76" y="193"/>
                  </a:cubicBezTo>
                  <a:moveTo>
                    <a:pt x="772" y="166"/>
                  </a:moveTo>
                  <a:cubicBezTo>
                    <a:pt x="773" y="165"/>
                    <a:pt x="774" y="165"/>
                    <a:pt x="774" y="164"/>
                  </a:cubicBezTo>
                  <a:cubicBezTo>
                    <a:pt x="774" y="164"/>
                    <a:pt x="774" y="164"/>
                    <a:pt x="774" y="164"/>
                  </a:cubicBezTo>
                  <a:cubicBezTo>
                    <a:pt x="774" y="164"/>
                    <a:pt x="775" y="164"/>
                    <a:pt x="775" y="164"/>
                  </a:cubicBezTo>
                  <a:cubicBezTo>
                    <a:pt x="778" y="164"/>
                    <a:pt x="841" y="198"/>
                    <a:pt x="841" y="199"/>
                  </a:cubicBezTo>
                  <a:cubicBezTo>
                    <a:pt x="841" y="199"/>
                    <a:pt x="841" y="199"/>
                    <a:pt x="841" y="199"/>
                  </a:cubicBezTo>
                  <a:cubicBezTo>
                    <a:pt x="840" y="201"/>
                    <a:pt x="840" y="203"/>
                    <a:pt x="841" y="205"/>
                  </a:cubicBezTo>
                  <a:cubicBezTo>
                    <a:pt x="842" y="206"/>
                    <a:pt x="842" y="207"/>
                    <a:pt x="843" y="208"/>
                  </a:cubicBezTo>
                  <a:cubicBezTo>
                    <a:pt x="843" y="208"/>
                    <a:pt x="843" y="208"/>
                    <a:pt x="843" y="208"/>
                  </a:cubicBezTo>
                  <a:cubicBezTo>
                    <a:pt x="844" y="208"/>
                    <a:pt x="822" y="249"/>
                    <a:pt x="818" y="249"/>
                  </a:cubicBezTo>
                  <a:cubicBezTo>
                    <a:pt x="818" y="249"/>
                    <a:pt x="818" y="249"/>
                    <a:pt x="818" y="249"/>
                  </a:cubicBezTo>
                  <a:cubicBezTo>
                    <a:pt x="818" y="249"/>
                    <a:pt x="818" y="249"/>
                    <a:pt x="818" y="249"/>
                  </a:cubicBezTo>
                  <a:cubicBezTo>
                    <a:pt x="816" y="248"/>
                    <a:pt x="813" y="247"/>
                    <a:pt x="811" y="247"/>
                  </a:cubicBezTo>
                  <a:cubicBezTo>
                    <a:pt x="810" y="247"/>
                    <a:pt x="808" y="247"/>
                    <a:pt x="807" y="248"/>
                  </a:cubicBezTo>
                  <a:cubicBezTo>
                    <a:pt x="807" y="248"/>
                    <a:pt x="807" y="248"/>
                    <a:pt x="807" y="248"/>
                  </a:cubicBezTo>
                  <a:cubicBezTo>
                    <a:pt x="807" y="248"/>
                    <a:pt x="807" y="248"/>
                    <a:pt x="807" y="248"/>
                  </a:cubicBezTo>
                  <a:cubicBezTo>
                    <a:pt x="803" y="248"/>
                    <a:pt x="771" y="166"/>
                    <a:pt x="772" y="166"/>
                  </a:cubicBezTo>
                  <a:cubicBezTo>
                    <a:pt x="772" y="166"/>
                    <a:pt x="772" y="166"/>
                    <a:pt x="772" y="166"/>
                  </a:cubicBezTo>
                  <a:moveTo>
                    <a:pt x="54" y="165"/>
                  </a:moveTo>
                  <a:cubicBezTo>
                    <a:pt x="50" y="159"/>
                    <a:pt x="47" y="155"/>
                    <a:pt x="47" y="155"/>
                  </a:cubicBezTo>
                  <a:cubicBezTo>
                    <a:pt x="48" y="155"/>
                    <a:pt x="53" y="159"/>
                    <a:pt x="61" y="164"/>
                  </a:cubicBezTo>
                  <a:cubicBezTo>
                    <a:pt x="58" y="164"/>
                    <a:pt x="56" y="164"/>
                    <a:pt x="54" y="165"/>
                  </a:cubicBezTo>
                  <a:moveTo>
                    <a:pt x="47" y="155"/>
                  </a:moveTo>
                  <a:cubicBezTo>
                    <a:pt x="47" y="155"/>
                    <a:pt x="47" y="155"/>
                    <a:pt x="47" y="155"/>
                  </a:cubicBezTo>
                  <a:cubicBezTo>
                    <a:pt x="47" y="155"/>
                    <a:pt x="47" y="155"/>
                    <a:pt x="47" y="155"/>
                  </a:cubicBezTo>
                  <a:cubicBezTo>
                    <a:pt x="47" y="155"/>
                    <a:pt x="47" y="155"/>
                    <a:pt x="47" y="155"/>
                  </a:cubicBezTo>
                  <a:moveTo>
                    <a:pt x="872" y="144"/>
                  </a:moveTo>
                  <a:cubicBezTo>
                    <a:pt x="873" y="144"/>
                    <a:pt x="873" y="144"/>
                    <a:pt x="874" y="144"/>
                  </a:cubicBezTo>
                  <a:cubicBezTo>
                    <a:pt x="886" y="144"/>
                    <a:pt x="995" y="171"/>
                    <a:pt x="995" y="175"/>
                  </a:cubicBezTo>
                  <a:cubicBezTo>
                    <a:pt x="995" y="175"/>
                    <a:pt x="995" y="175"/>
                    <a:pt x="995" y="175"/>
                  </a:cubicBezTo>
                  <a:cubicBezTo>
                    <a:pt x="994" y="176"/>
                    <a:pt x="994" y="177"/>
                    <a:pt x="994" y="178"/>
                  </a:cubicBezTo>
                  <a:cubicBezTo>
                    <a:pt x="994" y="181"/>
                    <a:pt x="995" y="183"/>
                    <a:pt x="996" y="186"/>
                  </a:cubicBezTo>
                  <a:cubicBezTo>
                    <a:pt x="998" y="190"/>
                    <a:pt x="943" y="219"/>
                    <a:pt x="938" y="219"/>
                  </a:cubicBezTo>
                  <a:cubicBezTo>
                    <a:pt x="938" y="219"/>
                    <a:pt x="937" y="219"/>
                    <a:pt x="937" y="219"/>
                  </a:cubicBezTo>
                  <a:cubicBezTo>
                    <a:pt x="937" y="219"/>
                    <a:pt x="937" y="219"/>
                    <a:pt x="937" y="219"/>
                  </a:cubicBezTo>
                  <a:cubicBezTo>
                    <a:pt x="934" y="215"/>
                    <a:pt x="930" y="213"/>
                    <a:pt x="925" y="213"/>
                  </a:cubicBezTo>
                  <a:cubicBezTo>
                    <a:pt x="923" y="213"/>
                    <a:pt x="921" y="213"/>
                    <a:pt x="919" y="214"/>
                  </a:cubicBezTo>
                  <a:cubicBezTo>
                    <a:pt x="918" y="215"/>
                    <a:pt x="918" y="215"/>
                    <a:pt x="918" y="215"/>
                  </a:cubicBezTo>
                  <a:cubicBezTo>
                    <a:pt x="918" y="215"/>
                    <a:pt x="918" y="215"/>
                    <a:pt x="918" y="215"/>
                  </a:cubicBezTo>
                  <a:cubicBezTo>
                    <a:pt x="918" y="215"/>
                    <a:pt x="918" y="215"/>
                    <a:pt x="918" y="215"/>
                  </a:cubicBezTo>
                  <a:cubicBezTo>
                    <a:pt x="915" y="215"/>
                    <a:pt x="866" y="152"/>
                    <a:pt x="869" y="150"/>
                  </a:cubicBezTo>
                  <a:cubicBezTo>
                    <a:pt x="869" y="150"/>
                    <a:pt x="869" y="150"/>
                    <a:pt x="869" y="150"/>
                  </a:cubicBezTo>
                  <a:cubicBezTo>
                    <a:pt x="870" y="148"/>
                    <a:pt x="872" y="146"/>
                    <a:pt x="872" y="144"/>
                  </a:cubicBezTo>
                  <a:cubicBezTo>
                    <a:pt x="872" y="144"/>
                    <a:pt x="872" y="144"/>
                    <a:pt x="872" y="144"/>
                  </a:cubicBezTo>
                  <a:moveTo>
                    <a:pt x="776" y="159"/>
                  </a:moveTo>
                  <a:cubicBezTo>
                    <a:pt x="776" y="157"/>
                    <a:pt x="826" y="144"/>
                    <a:pt x="836" y="144"/>
                  </a:cubicBezTo>
                  <a:cubicBezTo>
                    <a:pt x="837" y="144"/>
                    <a:pt x="838" y="144"/>
                    <a:pt x="838" y="144"/>
                  </a:cubicBezTo>
                  <a:cubicBezTo>
                    <a:pt x="838" y="144"/>
                    <a:pt x="838" y="144"/>
                    <a:pt x="838" y="144"/>
                  </a:cubicBezTo>
                  <a:cubicBezTo>
                    <a:pt x="840" y="149"/>
                    <a:pt x="845" y="153"/>
                    <a:pt x="851" y="154"/>
                  </a:cubicBezTo>
                  <a:cubicBezTo>
                    <a:pt x="851" y="154"/>
                    <a:pt x="851" y="154"/>
                    <a:pt x="851" y="154"/>
                  </a:cubicBezTo>
                  <a:cubicBezTo>
                    <a:pt x="854" y="155"/>
                    <a:pt x="849" y="194"/>
                    <a:pt x="847" y="195"/>
                  </a:cubicBezTo>
                  <a:cubicBezTo>
                    <a:pt x="847" y="195"/>
                    <a:pt x="847" y="195"/>
                    <a:pt x="847" y="195"/>
                  </a:cubicBezTo>
                  <a:cubicBezTo>
                    <a:pt x="846" y="195"/>
                    <a:pt x="846" y="195"/>
                    <a:pt x="845" y="195"/>
                  </a:cubicBezTo>
                  <a:cubicBezTo>
                    <a:pt x="844" y="196"/>
                    <a:pt x="843" y="196"/>
                    <a:pt x="842" y="197"/>
                  </a:cubicBezTo>
                  <a:cubicBezTo>
                    <a:pt x="842" y="197"/>
                    <a:pt x="842" y="197"/>
                    <a:pt x="842" y="197"/>
                  </a:cubicBezTo>
                  <a:cubicBezTo>
                    <a:pt x="842" y="197"/>
                    <a:pt x="842" y="197"/>
                    <a:pt x="842" y="197"/>
                  </a:cubicBezTo>
                  <a:cubicBezTo>
                    <a:pt x="839" y="197"/>
                    <a:pt x="775" y="163"/>
                    <a:pt x="776" y="162"/>
                  </a:cubicBezTo>
                  <a:cubicBezTo>
                    <a:pt x="776" y="162"/>
                    <a:pt x="776" y="162"/>
                    <a:pt x="776" y="162"/>
                  </a:cubicBezTo>
                  <a:cubicBezTo>
                    <a:pt x="776" y="161"/>
                    <a:pt x="776" y="160"/>
                    <a:pt x="776" y="159"/>
                  </a:cubicBezTo>
                  <a:cubicBezTo>
                    <a:pt x="776" y="159"/>
                    <a:pt x="776" y="159"/>
                    <a:pt x="776" y="159"/>
                  </a:cubicBezTo>
                  <a:moveTo>
                    <a:pt x="48" y="137"/>
                  </a:moveTo>
                  <a:cubicBezTo>
                    <a:pt x="48" y="137"/>
                    <a:pt x="48" y="137"/>
                    <a:pt x="48" y="137"/>
                  </a:cubicBezTo>
                  <a:cubicBezTo>
                    <a:pt x="51" y="137"/>
                    <a:pt x="108" y="159"/>
                    <a:pt x="108" y="160"/>
                  </a:cubicBezTo>
                  <a:cubicBezTo>
                    <a:pt x="108" y="160"/>
                    <a:pt x="108" y="160"/>
                    <a:pt x="108" y="160"/>
                  </a:cubicBezTo>
                  <a:cubicBezTo>
                    <a:pt x="108" y="161"/>
                    <a:pt x="108" y="161"/>
                    <a:pt x="108" y="161"/>
                  </a:cubicBezTo>
                  <a:cubicBezTo>
                    <a:pt x="108" y="161"/>
                    <a:pt x="108" y="161"/>
                    <a:pt x="108" y="161"/>
                  </a:cubicBezTo>
                  <a:cubicBezTo>
                    <a:pt x="107" y="161"/>
                    <a:pt x="84" y="163"/>
                    <a:pt x="61" y="164"/>
                  </a:cubicBezTo>
                  <a:cubicBezTo>
                    <a:pt x="53" y="158"/>
                    <a:pt x="47" y="154"/>
                    <a:pt x="48" y="154"/>
                  </a:cubicBezTo>
                  <a:cubicBezTo>
                    <a:pt x="48" y="154"/>
                    <a:pt x="48" y="154"/>
                    <a:pt x="48" y="154"/>
                  </a:cubicBezTo>
                  <a:cubicBezTo>
                    <a:pt x="48" y="153"/>
                    <a:pt x="48" y="151"/>
                    <a:pt x="48" y="150"/>
                  </a:cubicBezTo>
                  <a:cubicBezTo>
                    <a:pt x="47" y="149"/>
                    <a:pt x="45" y="148"/>
                    <a:pt x="44" y="148"/>
                  </a:cubicBezTo>
                  <a:cubicBezTo>
                    <a:pt x="43" y="148"/>
                    <a:pt x="43" y="148"/>
                    <a:pt x="42" y="148"/>
                  </a:cubicBezTo>
                  <a:cubicBezTo>
                    <a:pt x="40" y="149"/>
                    <a:pt x="39" y="152"/>
                    <a:pt x="40" y="153"/>
                  </a:cubicBezTo>
                  <a:cubicBezTo>
                    <a:pt x="41" y="155"/>
                    <a:pt x="42" y="156"/>
                    <a:pt x="44" y="156"/>
                  </a:cubicBezTo>
                  <a:cubicBezTo>
                    <a:pt x="45" y="156"/>
                    <a:pt x="45" y="156"/>
                    <a:pt x="46" y="155"/>
                  </a:cubicBezTo>
                  <a:cubicBezTo>
                    <a:pt x="46" y="155"/>
                    <a:pt x="46" y="155"/>
                    <a:pt x="46" y="155"/>
                  </a:cubicBezTo>
                  <a:cubicBezTo>
                    <a:pt x="46" y="155"/>
                    <a:pt x="46" y="155"/>
                    <a:pt x="46" y="155"/>
                  </a:cubicBezTo>
                  <a:cubicBezTo>
                    <a:pt x="46" y="155"/>
                    <a:pt x="46" y="155"/>
                    <a:pt x="46" y="155"/>
                  </a:cubicBezTo>
                  <a:cubicBezTo>
                    <a:pt x="46" y="155"/>
                    <a:pt x="49" y="159"/>
                    <a:pt x="53" y="165"/>
                  </a:cubicBezTo>
                  <a:cubicBezTo>
                    <a:pt x="38" y="165"/>
                    <a:pt x="24" y="166"/>
                    <a:pt x="18" y="166"/>
                  </a:cubicBezTo>
                  <a:cubicBezTo>
                    <a:pt x="16" y="166"/>
                    <a:pt x="15" y="166"/>
                    <a:pt x="15" y="166"/>
                  </a:cubicBezTo>
                  <a:cubicBezTo>
                    <a:pt x="15" y="166"/>
                    <a:pt x="15" y="166"/>
                    <a:pt x="15" y="166"/>
                  </a:cubicBezTo>
                  <a:cubicBezTo>
                    <a:pt x="14" y="165"/>
                    <a:pt x="14" y="165"/>
                    <a:pt x="14" y="164"/>
                  </a:cubicBezTo>
                  <a:cubicBezTo>
                    <a:pt x="13" y="163"/>
                    <a:pt x="13" y="163"/>
                    <a:pt x="13" y="163"/>
                  </a:cubicBezTo>
                  <a:cubicBezTo>
                    <a:pt x="13" y="163"/>
                    <a:pt x="13" y="163"/>
                    <a:pt x="13" y="163"/>
                  </a:cubicBezTo>
                  <a:cubicBezTo>
                    <a:pt x="13" y="162"/>
                    <a:pt x="40" y="138"/>
                    <a:pt x="41" y="138"/>
                  </a:cubicBezTo>
                  <a:cubicBezTo>
                    <a:pt x="41" y="138"/>
                    <a:pt x="41" y="138"/>
                    <a:pt x="41" y="138"/>
                  </a:cubicBezTo>
                  <a:cubicBezTo>
                    <a:pt x="41" y="138"/>
                    <a:pt x="41" y="138"/>
                    <a:pt x="41" y="138"/>
                  </a:cubicBezTo>
                  <a:cubicBezTo>
                    <a:pt x="42" y="139"/>
                    <a:pt x="43" y="139"/>
                    <a:pt x="44" y="139"/>
                  </a:cubicBezTo>
                  <a:cubicBezTo>
                    <a:pt x="45" y="139"/>
                    <a:pt x="45" y="139"/>
                    <a:pt x="46" y="139"/>
                  </a:cubicBezTo>
                  <a:cubicBezTo>
                    <a:pt x="47" y="138"/>
                    <a:pt x="48" y="138"/>
                    <a:pt x="48" y="137"/>
                  </a:cubicBezTo>
                  <a:cubicBezTo>
                    <a:pt x="48" y="137"/>
                    <a:pt x="48" y="137"/>
                    <a:pt x="48" y="137"/>
                  </a:cubicBezTo>
                  <a:moveTo>
                    <a:pt x="586" y="70"/>
                  </a:moveTo>
                  <a:cubicBezTo>
                    <a:pt x="586" y="70"/>
                    <a:pt x="586" y="70"/>
                    <a:pt x="586" y="70"/>
                  </a:cubicBezTo>
                  <a:cubicBezTo>
                    <a:pt x="588" y="70"/>
                    <a:pt x="590" y="71"/>
                    <a:pt x="592" y="71"/>
                  </a:cubicBezTo>
                  <a:cubicBezTo>
                    <a:pt x="594" y="71"/>
                    <a:pt x="596" y="70"/>
                    <a:pt x="598" y="70"/>
                  </a:cubicBezTo>
                  <a:cubicBezTo>
                    <a:pt x="597" y="70"/>
                    <a:pt x="597" y="70"/>
                    <a:pt x="597" y="70"/>
                  </a:cubicBezTo>
                  <a:cubicBezTo>
                    <a:pt x="597" y="70"/>
                    <a:pt x="597" y="70"/>
                    <a:pt x="598" y="70"/>
                  </a:cubicBezTo>
                  <a:cubicBezTo>
                    <a:pt x="601" y="70"/>
                    <a:pt x="642" y="138"/>
                    <a:pt x="637" y="142"/>
                  </a:cubicBezTo>
                  <a:cubicBezTo>
                    <a:pt x="637" y="142"/>
                    <a:pt x="637" y="142"/>
                    <a:pt x="637" y="142"/>
                  </a:cubicBezTo>
                  <a:cubicBezTo>
                    <a:pt x="630" y="147"/>
                    <a:pt x="625" y="156"/>
                    <a:pt x="625" y="165"/>
                  </a:cubicBezTo>
                  <a:cubicBezTo>
                    <a:pt x="625" y="179"/>
                    <a:pt x="634" y="190"/>
                    <a:pt x="648" y="194"/>
                  </a:cubicBezTo>
                  <a:cubicBezTo>
                    <a:pt x="653" y="195"/>
                    <a:pt x="643" y="267"/>
                    <a:pt x="640" y="268"/>
                  </a:cubicBezTo>
                  <a:cubicBezTo>
                    <a:pt x="640" y="268"/>
                    <a:pt x="640" y="268"/>
                    <a:pt x="640" y="268"/>
                  </a:cubicBezTo>
                  <a:cubicBezTo>
                    <a:pt x="632" y="268"/>
                    <a:pt x="625" y="274"/>
                    <a:pt x="625" y="283"/>
                  </a:cubicBezTo>
                  <a:cubicBezTo>
                    <a:pt x="625" y="286"/>
                    <a:pt x="626" y="288"/>
                    <a:pt x="628" y="291"/>
                  </a:cubicBezTo>
                  <a:cubicBezTo>
                    <a:pt x="628" y="291"/>
                    <a:pt x="628" y="291"/>
                    <a:pt x="628" y="291"/>
                  </a:cubicBezTo>
                  <a:cubicBezTo>
                    <a:pt x="629" y="293"/>
                    <a:pt x="586" y="329"/>
                    <a:pt x="583" y="329"/>
                  </a:cubicBezTo>
                  <a:cubicBezTo>
                    <a:pt x="583" y="329"/>
                    <a:pt x="583" y="329"/>
                    <a:pt x="583" y="329"/>
                  </a:cubicBezTo>
                  <a:cubicBezTo>
                    <a:pt x="583" y="329"/>
                    <a:pt x="583" y="329"/>
                    <a:pt x="583" y="329"/>
                  </a:cubicBezTo>
                  <a:cubicBezTo>
                    <a:pt x="581" y="328"/>
                    <a:pt x="579" y="327"/>
                    <a:pt x="576" y="327"/>
                  </a:cubicBezTo>
                  <a:cubicBezTo>
                    <a:pt x="576" y="327"/>
                    <a:pt x="575" y="327"/>
                    <a:pt x="574" y="327"/>
                  </a:cubicBezTo>
                  <a:cubicBezTo>
                    <a:pt x="574" y="327"/>
                    <a:pt x="574" y="327"/>
                    <a:pt x="574" y="327"/>
                  </a:cubicBezTo>
                  <a:cubicBezTo>
                    <a:pt x="574" y="327"/>
                    <a:pt x="574" y="327"/>
                    <a:pt x="574" y="327"/>
                  </a:cubicBezTo>
                  <a:cubicBezTo>
                    <a:pt x="572" y="327"/>
                    <a:pt x="518" y="213"/>
                    <a:pt x="523" y="211"/>
                  </a:cubicBezTo>
                  <a:cubicBezTo>
                    <a:pt x="523" y="211"/>
                    <a:pt x="523" y="211"/>
                    <a:pt x="523" y="211"/>
                  </a:cubicBezTo>
                  <a:cubicBezTo>
                    <a:pt x="530" y="206"/>
                    <a:pt x="535" y="199"/>
                    <a:pt x="535" y="190"/>
                  </a:cubicBezTo>
                  <a:cubicBezTo>
                    <a:pt x="535" y="182"/>
                    <a:pt x="531" y="175"/>
                    <a:pt x="525" y="171"/>
                  </a:cubicBezTo>
                  <a:cubicBezTo>
                    <a:pt x="525" y="171"/>
                    <a:pt x="525" y="171"/>
                    <a:pt x="525" y="171"/>
                  </a:cubicBezTo>
                  <a:cubicBezTo>
                    <a:pt x="521" y="168"/>
                    <a:pt x="583" y="70"/>
                    <a:pt x="586" y="70"/>
                  </a:cubicBezTo>
                  <a:cubicBezTo>
                    <a:pt x="586" y="70"/>
                    <a:pt x="586" y="70"/>
                    <a:pt x="586" y="70"/>
                  </a:cubicBezTo>
                  <a:moveTo>
                    <a:pt x="678" y="145"/>
                  </a:moveTo>
                  <a:cubicBezTo>
                    <a:pt x="674" y="141"/>
                    <a:pt x="762" y="34"/>
                    <a:pt x="767" y="34"/>
                  </a:cubicBezTo>
                  <a:cubicBezTo>
                    <a:pt x="767" y="34"/>
                    <a:pt x="767" y="34"/>
                    <a:pt x="767" y="34"/>
                  </a:cubicBezTo>
                  <a:cubicBezTo>
                    <a:pt x="767" y="34"/>
                    <a:pt x="767" y="34"/>
                    <a:pt x="767" y="34"/>
                  </a:cubicBezTo>
                  <a:cubicBezTo>
                    <a:pt x="770" y="35"/>
                    <a:pt x="773" y="36"/>
                    <a:pt x="776" y="36"/>
                  </a:cubicBezTo>
                  <a:cubicBezTo>
                    <a:pt x="779" y="36"/>
                    <a:pt x="781" y="35"/>
                    <a:pt x="784" y="34"/>
                  </a:cubicBezTo>
                  <a:cubicBezTo>
                    <a:pt x="784" y="34"/>
                    <a:pt x="784" y="34"/>
                    <a:pt x="784" y="34"/>
                  </a:cubicBezTo>
                  <a:cubicBezTo>
                    <a:pt x="784" y="34"/>
                    <a:pt x="784" y="34"/>
                    <a:pt x="784" y="34"/>
                  </a:cubicBezTo>
                  <a:cubicBezTo>
                    <a:pt x="788" y="34"/>
                    <a:pt x="846" y="121"/>
                    <a:pt x="843" y="124"/>
                  </a:cubicBezTo>
                  <a:cubicBezTo>
                    <a:pt x="843" y="123"/>
                    <a:pt x="843" y="123"/>
                    <a:pt x="843" y="123"/>
                  </a:cubicBezTo>
                  <a:cubicBezTo>
                    <a:pt x="839" y="127"/>
                    <a:pt x="837" y="132"/>
                    <a:pt x="837" y="137"/>
                  </a:cubicBezTo>
                  <a:cubicBezTo>
                    <a:pt x="837" y="138"/>
                    <a:pt x="837" y="138"/>
                    <a:pt x="837" y="139"/>
                  </a:cubicBezTo>
                  <a:cubicBezTo>
                    <a:pt x="837" y="139"/>
                    <a:pt x="837" y="139"/>
                    <a:pt x="837" y="139"/>
                  </a:cubicBezTo>
                  <a:cubicBezTo>
                    <a:pt x="837" y="142"/>
                    <a:pt x="781" y="156"/>
                    <a:pt x="776" y="156"/>
                  </a:cubicBezTo>
                  <a:cubicBezTo>
                    <a:pt x="776" y="156"/>
                    <a:pt x="775" y="156"/>
                    <a:pt x="775" y="156"/>
                  </a:cubicBezTo>
                  <a:cubicBezTo>
                    <a:pt x="775" y="156"/>
                    <a:pt x="775" y="156"/>
                    <a:pt x="775" y="156"/>
                  </a:cubicBezTo>
                  <a:cubicBezTo>
                    <a:pt x="775" y="156"/>
                    <a:pt x="775" y="156"/>
                    <a:pt x="775" y="156"/>
                  </a:cubicBezTo>
                  <a:cubicBezTo>
                    <a:pt x="774" y="153"/>
                    <a:pt x="771" y="152"/>
                    <a:pt x="768" y="152"/>
                  </a:cubicBezTo>
                  <a:cubicBezTo>
                    <a:pt x="767" y="152"/>
                    <a:pt x="766" y="152"/>
                    <a:pt x="765" y="153"/>
                  </a:cubicBezTo>
                  <a:cubicBezTo>
                    <a:pt x="763" y="154"/>
                    <a:pt x="761" y="156"/>
                    <a:pt x="761" y="158"/>
                  </a:cubicBezTo>
                  <a:cubicBezTo>
                    <a:pt x="761" y="158"/>
                    <a:pt x="761" y="158"/>
                    <a:pt x="761" y="158"/>
                  </a:cubicBezTo>
                  <a:cubicBezTo>
                    <a:pt x="761" y="159"/>
                    <a:pt x="751" y="160"/>
                    <a:pt x="738" y="161"/>
                  </a:cubicBezTo>
                  <a:cubicBezTo>
                    <a:pt x="744" y="161"/>
                    <a:pt x="749" y="161"/>
                    <a:pt x="753" y="161"/>
                  </a:cubicBezTo>
                  <a:cubicBezTo>
                    <a:pt x="758" y="161"/>
                    <a:pt x="761" y="161"/>
                    <a:pt x="761" y="161"/>
                  </a:cubicBezTo>
                  <a:cubicBezTo>
                    <a:pt x="761" y="161"/>
                    <a:pt x="761" y="161"/>
                    <a:pt x="761" y="161"/>
                  </a:cubicBezTo>
                  <a:cubicBezTo>
                    <a:pt x="761" y="161"/>
                    <a:pt x="761" y="162"/>
                    <a:pt x="761" y="162"/>
                  </a:cubicBezTo>
                  <a:cubicBezTo>
                    <a:pt x="762" y="163"/>
                    <a:pt x="762" y="163"/>
                    <a:pt x="762" y="164"/>
                  </a:cubicBezTo>
                  <a:cubicBezTo>
                    <a:pt x="762" y="164"/>
                    <a:pt x="762" y="164"/>
                    <a:pt x="762" y="164"/>
                  </a:cubicBezTo>
                  <a:cubicBezTo>
                    <a:pt x="763" y="164"/>
                    <a:pt x="736" y="191"/>
                    <a:pt x="708" y="218"/>
                  </a:cubicBezTo>
                  <a:cubicBezTo>
                    <a:pt x="706" y="216"/>
                    <a:pt x="704" y="214"/>
                    <a:pt x="702" y="212"/>
                  </a:cubicBezTo>
                  <a:cubicBezTo>
                    <a:pt x="704" y="214"/>
                    <a:pt x="706" y="216"/>
                    <a:pt x="707" y="218"/>
                  </a:cubicBezTo>
                  <a:cubicBezTo>
                    <a:pt x="680" y="244"/>
                    <a:pt x="652" y="270"/>
                    <a:pt x="650" y="270"/>
                  </a:cubicBezTo>
                  <a:cubicBezTo>
                    <a:pt x="650" y="270"/>
                    <a:pt x="650" y="270"/>
                    <a:pt x="650" y="270"/>
                  </a:cubicBezTo>
                  <a:cubicBezTo>
                    <a:pt x="650" y="270"/>
                    <a:pt x="650" y="270"/>
                    <a:pt x="650" y="270"/>
                  </a:cubicBezTo>
                  <a:cubicBezTo>
                    <a:pt x="649" y="269"/>
                    <a:pt x="647" y="269"/>
                    <a:pt x="645" y="268"/>
                  </a:cubicBezTo>
                  <a:cubicBezTo>
                    <a:pt x="645" y="268"/>
                    <a:pt x="645" y="268"/>
                    <a:pt x="645" y="268"/>
                  </a:cubicBezTo>
                  <a:cubicBezTo>
                    <a:pt x="642" y="267"/>
                    <a:pt x="650" y="195"/>
                    <a:pt x="656" y="195"/>
                  </a:cubicBezTo>
                  <a:cubicBezTo>
                    <a:pt x="656" y="195"/>
                    <a:pt x="656" y="195"/>
                    <a:pt x="656" y="195"/>
                  </a:cubicBezTo>
                  <a:cubicBezTo>
                    <a:pt x="663" y="194"/>
                    <a:pt x="669" y="192"/>
                    <a:pt x="674" y="189"/>
                  </a:cubicBezTo>
                  <a:cubicBezTo>
                    <a:pt x="674" y="189"/>
                    <a:pt x="674" y="189"/>
                    <a:pt x="674" y="189"/>
                  </a:cubicBezTo>
                  <a:cubicBezTo>
                    <a:pt x="674" y="189"/>
                    <a:pt x="674" y="189"/>
                    <a:pt x="674" y="189"/>
                  </a:cubicBezTo>
                  <a:cubicBezTo>
                    <a:pt x="677" y="189"/>
                    <a:pt x="683" y="194"/>
                    <a:pt x="690" y="200"/>
                  </a:cubicBezTo>
                  <a:cubicBezTo>
                    <a:pt x="683" y="192"/>
                    <a:pt x="678" y="186"/>
                    <a:pt x="679" y="184"/>
                  </a:cubicBezTo>
                  <a:cubicBezTo>
                    <a:pt x="679" y="184"/>
                    <a:pt x="679" y="184"/>
                    <a:pt x="679" y="184"/>
                  </a:cubicBezTo>
                  <a:cubicBezTo>
                    <a:pt x="683" y="179"/>
                    <a:pt x="686" y="174"/>
                    <a:pt x="686" y="168"/>
                  </a:cubicBezTo>
                  <a:cubicBezTo>
                    <a:pt x="686" y="168"/>
                    <a:pt x="686" y="168"/>
                    <a:pt x="686" y="168"/>
                  </a:cubicBezTo>
                  <a:cubicBezTo>
                    <a:pt x="686" y="165"/>
                    <a:pt x="701" y="163"/>
                    <a:pt x="718" y="162"/>
                  </a:cubicBezTo>
                  <a:cubicBezTo>
                    <a:pt x="713" y="162"/>
                    <a:pt x="709" y="162"/>
                    <a:pt x="705" y="162"/>
                  </a:cubicBezTo>
                  <a:cubicBezTo>
                    <a:pt x="694" y="162"/>
                    <a:pt x="686" y="161"/>
                    <a:pt x="686" y="160"/>
                  </a:cubicBezTo>
                  <a:cubicBezTo>
                    <a:pt x="686" y="160"/>
                    <a:pt x="686" y="160"/>
                    <a:pt x="686" y="160"/>
                  </a:cubicBezTo>
                  <a:cubicBezTo>
                    <a:pt x="685" y="154"/>
                    <a:pt x="682" y="149"/>
                    <a:pt x="678" y="145"/>
                  </a:cubicBezTo>
                  <a:cubicBezTo>
                    <a:pt x="678" y="145"/>
                    <a:pt x="678" y="145"/>
                    <a:pt x="678" y="145"/>
                  </a:cubicBezTo>
                  <a:moveTo>
                    <a:pt x="789" y="31"/>
                  </a:moveTo>
                  <a:cubicBezTo>
                    <a:pt x="789" y="31"/>
                    <a:pt x="789" y="31"/>
                    <a:pt x="789" y="31"/>
                  </a:cubicBezTo>
                  <a:cubicBezTo>
                    <a:pt x="789" y="31"/>
                    <a:pt x="789" y="31"/>
                    <a:pt x="789" y="31"/>
                  </a:cubicBezTo>
                  <a:cubicBezTo>
                    <a:pt x="789" y="31"/>
                    <a:pt x="789" y="31"/>
                    <a:pt x="789" y="31"/>
                  </a:cubicBezTo>
                  <a:moveTo>
                    <a:pt x="776" y="0"/>
                  </a:moveTo>
                  <a:cubicBezTo>
                    <a:pt x="766" y="0"/>
                    <a:pt x="757" y="8"/>
                    <a:pt x="757" y="18"/>
                  </a:cubicBezTo>
                  <a:cubicBezTo>
                    <a:pt x="757" y="23"/>
                    <a:pt x="759" y="27"/>
                    <a:pt x="763" y="30"/>
                  </a:cubicBezTo>
                  <a:cubicBezTo>
                    <a:pt x="762" y="30"/>
                    <a:pt x="762" y="30"/>
                    <a:pt x="762" y="30"/>
                  </a:cubicBezTo>
                  <a:cubicBezTo>
                    <a:pt x="765" y="33"/>
                    <a:pt x="678" y="140"/>
                    <a:pt x="671" y="140"/>
                  </a:cubicBezTo>
                  <a:cubicBezTo>
                    <a:pt x="671" y="140"/>
                    <a:pt x="671" y="140"/>
                    <a:pt x="671" y="140"/>
                  </a:cubicBezTo>
                  <a:cubicBezTo>
                    <a:pt x="671" y="140"/>
                    <a:pt x="671" y="140"/>
                    <a:pt x="671" y="140"/>
                  </a:cubicBezTo>
                  <a:cubicBezTo>
                    <a:pt x="666" y="137"/>
                    <a:pt x="661" y="136"/>
                    <a:pt x="656" y="136"/>
                  </a:cubicBezTo>
                  <a:cubicBezTo>
                    <a:pt x="652" y="136"/>
                    <a:pt x="648" y="136"/>
                    <a:pt x="645" y="138"/>
                  </a:cubicBezTo>
                  <a:cubicBezTo>
                    <a:pt x="645" y="138"/>
                    <a:pt x="645" y="138"/>
                    <a:pt x="644" y="138"/>
                  </a:cubicBezTo>
                  <a:cubicBezTo>
                    <a:pt x="638" y="138"/>
                    <a:pt x="600" y="69"/>
                    <a:pt x="602" y="67"/>
                  </a:cubicBezTo>
                  <a:cubicBezTo>
                    <a:pt x="602" y="68"/>
                    <a:pt x="602" y="68"/>
                    <a:pt x="602" y="68"/>
                  </a:cubicBezTo>
                  <a:cubicBezTo>
                    <a:pt x="606" y="65"/>
                    <a:pt x="608" y="60"/>
                    <a:pt x="608" y="56"/>
                  </a:cubicBezTo>
                  <a:cubicBezTo>
                    <a:pt x="608" y="47"/>
                    <a:pt x="601" y="41"/>
                    <a:pt x="592" y="41"/>
                  </a:cubicBezTo>
                  <a:cubicBezTo>
                    <a:pt x="584" y="41"/>
                    <a:pt x="576" y="47"/>
                    <a:pt x="576" y="56"/>
                  </a:cubicBezTo>
                  <a:cubicBezTo>
                    <a:pt x="576" y="60"/>
                    <a:pt x="579" y="64"/>
                    <a:pt x="582" y="67"/>
                  </a:cubicBezTo>
                  <a:cubicBezTo>
                    <a:pt x="582" y="67"/>
                    <a:pt x="582" y="67"/>
                    <a:pt x="582" y="67"/>
                  </a:cubicBezTo>
                  <a:cubicBezTo>
                    <a:pt x="584" y="69"/>
                    <a:pt x="525" y="167"/>
                    <a:pt x="519" y="167"/>
                  </a:cubicBezTo>
                  <a:cubicBezTo>
                    <a:pt x="519" y="167"/>
                    <a:pt x="519" y="167"/>
                    <a:pt x="519" y="167"/>
                  </a:cubicBezTo>
                  <a:cubicBezTo>
                    <a:pt x="516" y="166"/>
                    <a:pt x="512" y="165"/>
                    <a:pt x="509" y="165"/>
                  </a:cubicBezTo>
                  <a:cubicBezTo>
                    <a:pt x="495" y="165"/>
                    <a:pt x="483" y="176"/>
                    <a:pt x="483" y="190"/>
                  </a:cubicBezTo>
                  <a:cubicBezTo>
                    <a:pt x="483" y="202"/>
                    <a:pt x="493" y="213"/>
                    <a:pt x="505" y="214"/>
                  </a:cubicBezTo>
                  <a:cubicBezTo>
                    <a:pt x="505" y="214"/>
                    <a:pt x="505" y="214"/>
                    <a:pt x="505" y="214"/>
                  </a:cubicBezTo>
                  <a:cubicBezTo>
                    <a:pt x="510" y="215"/>
                    <a:pt x="509" y="291"/>
                    <a:pt x="507" y="291"/>
                  </a:cubicBezTo>
                  <a:cubicBezTo>
                    <a:pt x="507" y="291"/>
                    <a:pt x="507" y="291"/>
                    <a:pt x="507" y="291"/>
                  </a:cubicBezTo>
                  <a:cubicBezTo>
                    <a:pt x="506" y="291"/>
                    <a:pt x="505" y="291"/>
                    <a:pt x="504" y="292"/>
                  </a:cubicBezTo>
                  <a:cubicBezTo>
                    <a:pt x="500" y="294"/>
                    <a:pt x="497" y="298"/>
                    <a:pt x="497" y="302"/>
                  </a:cubicBezTo>
                  <a:cubicBezTo>
                    <a:pt x="497" y="302"/>
                    <a:pt x="497" y="302"/>
                    <a:pt x="497" y="302"/>
                  </a:cubicBezTo>
                  <a:cubicBezTo>
                    <a:pt x="497" y="304"/>
                    <a:pt x="361" y="319"/>
                    <a:pt x="345" y="319"/>
                  </a:cubicBezTo>
                  <a:cubicBezTo>
                    <a:pt x="343" y="319"/>
                    <a:pt x="343" y="319"/>
                    <a:pt x="343" y="319"/>
                  </a:cubicBezTo>
                  <a:cubicBezTo>
                    <a:pt x="343" y="319"/>
                    <a:pt x="343" y="319"/>
                    <a:pt x="343" y="319"/>
                  </a:cubicBezTo>
                  <a:cubicBezTo>
                    <a:pt x="343" y="318"/>
                    <a:pt x="342" y="318"/>
                    <a:pt x="342" y="317"/>
                  </a:cubicBezTo>
                  <a:cubicBezTo>
                    <a:pt x="340" y="313"/>
                    <a:pt x="336" y="311"/>
                    <a:pt x="331" y="311"/>
                  </a:cubicBezTo>
                  <a:cubicBezTo>
                    <a:pt x="330" y="311"/>
                    <a:pt x="328" y="311"/>
                    <a:pt x="326" y="312"/>
                  </a:cubicBezTo>
                  <a:cubicBezTo>
                    <a:pt x="323" y="313"/>
                    <a:pt x="321" y="315"/>
                    <a:pt x="320" y="318"/>
                  </a:cubicBezTo>
                  <a:cubicBezTo>
                    <a:pt x="320" y="318"/>
                    <a:pt x="320" y="318"/>
                    <a:pt x="320" y="318"/>
                  </a:cubicBezTo>
                  <a:cubicBezTo>
                    <a:pt x="320" y="318"/>
                    <a:pt x="320" y="318"/>
                    <a:pt x="320" y="318"/>
                  </a:cubicBezTo>
                  <a:cubicBezTo>
                    <a:pt x="310" y="318"/>
                    <a:pt x="180" y="290"/>
                    <a:pt x="180" y="287"/>
                  </a:cubicBezTo>
                  <a:cubicBezTo>
                    <a:pt x="180" y="287"/>
                    <a:pt x="180" y="287"/>
                    <a:pt x="180" y="287"/>
                  </a:cubicBezTo>
                  <a:cubicBezTo>
                    <a:pt x="180" y="283"/>
                    <a:pt x="178" y="279"/>
                    <a:pt x="175" y="276"/>
                  </a:cubicBezTo>
                  <a:cubicBezTo>
                    <a:pt x="172" y="273"/>
                    <a:pt x="169" y="272"/>
                    <a:pt x="165" y="272"/>
                  </a:cubicBezTo>
                  <a:cubicBezTo>
                    <a:pt x="161" y="272"/>
                    <a:pt x="157" y="274"/>
                    <a:pt x="154" y="277"/>
                  </a:cubicBezTo>
                  <a:cubicBezTo>
                    <a:pt x="154" y="278"/>
                    <a:pt x="153" y="279"/>
                    <a:pt x="153" y="280"/>
                  </a:cubicBezTo>
                  <a:cubicBezTo>
                    <a:pt x="153" y="280"/>
                    <a:pt x="153" y="280"/>
                    <a:pt x="153" y="280"/>
                  </a:cubicBezTo>
                  <a:cubicBezTo>
                    <a:pt x="153" y="280"/>
                    <a:pt x="152" y="280"/>
                    <a:pt x="152" y="280"/>
                  </a:cubicBezTo>
                  <a:cubicBezTo>
                    <a:pt x="148" y="280"/>
                    <a:pt x="124" y="272"/>
                    <a:pt x="103" y="265"/>
                  </a:cubicBezTo>
                  <a:cubicBezTo>
                    <a:pt x="94" y="241"/>
                    <a:pt x="82" y="205"/>
                    <a:pt x="83" y="205"/>
                  </a:cubicBezTo>
                  <a:cubicBezTo>
                    <a:pt x="82" y="205"/>
                    <a:pt x="82" y="205"/>
                    <a:pt x="82" y="205"/>
                  </a:cubicBezTo>
                  <a:cubicBezTo>
                    <a:pt x="84" y="204"/>
                    <a:pt x="85" y="203"/>
                    <a:pt x="85" y="202"/>
                  </a:cubicBezTo>
                  <a:cubicBezTo>
                    <a:pt x="85" y="202"/>
                    <a:pt x="85" y="202"/>
                    <a:pt x="85" y="202"/>
                  </a:cubicBezTo>
                  <a:cubicBezTo>
                    <a:pt x="85" y="202"/>
                    <a:pt x="86" y="202"/>
                    <a:pt x="86" y="202"/>
                  </a:cubicBezTo>
                  <a:cubicBezTo>
                    <a:pt x="90" y="202"/>
                    <a:pt x="125" y="213"/>
                    <a:pt x="125" y="214"/>
                  </a:cubicBezTo>
                  <a:cubicBezTo>
                    <a:pt x="125" y="214"/>
                    <a:pt x="125" y="214"/>
                    <a:pt x="125" y="214"/>
                  </a:cubicBezTo>
                  <a:cubicBezTo>
                    <a:pt x="125" y="215"/>
                    <a:pt x="125" y="216"/>
                    <a:pt x="125" y="217"/>
                  </a:cubicBezTo>
                  <a:cubicBezTo>
                    <a:pt x="126" y="218"/>
                    <a:pt x="128" y="219"/>
                    <a:pt x="130" y="219"/>
                  </a:cubicBezTo>
                  <a:cubicBezTo>
                    <a:pt x="130" y="219"/>
                    <a:pt x="131" y="219"/>
                    <a:pt x="132" y="219"/>
                  </a:cubicBezTo>
                  <a:cubicBezTo>
                    <a:pt x="134" y="218"/>
                    <a:pt x="135" y="215"/>
                    <a:pt x="134" y="213"/>
                  </a:cubicBezTo>
                  <a:cubicBezTo>
                    <a:pt x="133" y="211"/>
                    <a:pt x="131" y="210"/>
                    <a:pt x="130" y="210"/>
                  </a:cubicBezTo>
                  <a:cubicBezTo>
                    <a:pt x="129" y="210"/>
                    <a:pt x="128" y="210"/>
                    <a:pt x="128" y="210"/>
                  </a:cubicBezTo>
                  <a:cubicBezTo>
                    <a:pt x="127" y="211"/>
                    <a:pt x="127" y="211"/>
                    <a:pt x="126" y="211"/>
                  </a:cubicBezTo>
                  <a:cubicBezTo>
                    <a:pt x="126" y="211"/>
                    <a:pt x="126" y="211"/>
                    <a:pt x="126" y="211"/>
                  </a:cubicBezTo>
                  <a:cubicBezTo>
                    <a:pt x="126" y="211"/>
                    <a:pt x="126" y="211"/>
                    <a:pt x="126" y="211"/>
                  </a:cubicBezTo>
                  <a:cubicBezTo>
                    <a:pt x="125" y="211"/>
                    <a:pt x="83" y="181"/>
                    <a:pt x="61" y="164"/>
                  </a:cubicBezTo>
                  <a:cubicBezTo>
                    <a:pt x="81" y="163"/>
                    <a:pt x="100" y="162"/>
                    <a:pt x="106" y="162"/>
                  </a:cubicBezTo>
                  <a:cubicBezTo>
                    <a:pt x="107" y="162"/>
                    <a:pt x="108" y="162"/>
                    <a:pt x="108" y="162"/>
                  </a:cubicBezTo>
                  <a:cubicBezTo>
                    <a:pt x="108" y="162"/>
                    <a:pt x="108" y="162"/>
                    <a:pt x="108" y="162"/>
                  </a:cubicBezTo>
                  <a:cubicBezTo>
                    <a:pt x="108" y="163"/>
                    <a:pt x="108" y="163"/>
                    <a:pt x="108" y="163"/>
                  </a:cubicBezTo>
                  <a:cubicBezTo>
                    <a:pt x="109" y="165"/>
                    <a:pt x="111" y="166"/>
                    <a:pt x="112" y="166"/>
                  </a:cubicBezTo>
                  <a:cubicBezTo>
                    <a:pt x="113" y="166"/>
                    <a:pt x="114" y="166"/>
                    <a:pt x="114" y="165"/>
                  </a:cubicBezTo>
                  <a:cubicBezTo>
                    <a:pt x="117" y="164"/>
                    <a:pt x="118" y="162"/>
                    <a:pt x="117" y="159"/>
                  </a:cubicBezTo>
                  <a:cubicBezTo>
                    <a:pt x="116" y="158"/>
                    <a:pt x="114" y="157"/>
                    <a:pt x="112" y="157"/>
                  </a:cubicBezTo>
                  <a:cubicBezTo>
                    <a:pt x="112" y="157"/>
                    <a:pt x="111" y="157"/>
                    <a:pt x="110" y="157"/>
                  </a:cubicBezTo>
                  <a:cubicBezTo>
                    <a:pt x="109" y="158"/>
                    <a:pt x="109" y="158"/>
                    <a:pt x="108" y="159"/>
                  </a:cubicBezTo>
                  <a:cubicBezTo>
                    <a:pt x="108" y="159"/>
                    <a:pt x="108" y="159"/>
                    <a:pt x="108" y="159"/>
                  </a:cubicBezTo>
                  <a:cubicBezTo>
                    <a:pt x="108" y="159"/>
                    <a:pt x="108" y="159"/>
                    <a:pt x="108" y="159"/>
                  </a:cubicBezTo>
                  <a:cubicBezTo>
                    <a:pt x="106" y="159"/>
                    <a:pt x="49" y="136"/>
                    <a:pt x="49" y="135"/>
                  </a:cubicBezTo>
                  <a:cubicBezTo>
                    <a:pt x="49" y="136"/>
                    <a:pt x="49" y="136"/>
                    <a:pt x="49" y="136"/>
                  </a:cubicBezTo>
                  <a:cubicBezTo>
                    <a:pt x="49" y="135"/>
                    <a:pt x="49" y="133"/>
                    <a:pt x="48" y="132"/>
                  </a:cubicBezTo>
                  <a:cubicBezTo>
                    <a:pt x="48" y="131"/>
                    <a:pt x="46" y="130"/>
                    <a:pt x="44" y="130"/>
                  </a:cubicBezTo>
                  <a:cubicBezTo>
                    <a:pt x="43" y="130"/>
                    <a:pt x="43" y="130"/>
                    <a:pt x="42" y="130"/>
                  </a:cubicBezTo>
                  <a:cubicBezTo>
                    <a:pt x="40" y="131"/>
                    <a:pt x="39" y="134"/>
                    <a:pt x="40" y="136"/>
                  </a:cubicBezTo>
                  <a:cubicBezTo>
                    <a:pt x="40" y="137"/>
                    <a:pt x="40" y="137"/>
                    <a:pt x="40" y="137"/>
                  </a:cubicBezTo>
                  <a:cubicBezTo>
                    <a:pt x="40" y="137"/>
                    <a:pt x="40" y="137"/>
                    <a:pt x="40" y="137"/>
                  </a:cubicBezTo>
                  <a:cubicBezTo>
                    <a:pt x="41" y="138"/>
                    <a:pt x="14" y="162"/>
                    <a:pt x="12" y="162"/>
                  </a:cubicBezTo>
                  <a:cubicBezTo>
                    <a:pt x="12" y="162"/>
                    <a:pt x="12" y="162"/>
                    <a:pt x="12" y="162"/>
                  </a:cubicBezTo>
                  <a:cubicBezTo>
                    <a:pt x="12" y="162"/>
                    <a:pt x="12" y="162"/>
                    <a:pt x="12" y="162"/>
                  </a:cubicBezTo>
                  <a:cubicBezTo>
                    <a:pt x="11" y="161"/>
                    <a:pt x="9" y="161"/>
                    <a:pt x="8" y="161"/>
                  </a:cubicBezTo>
                  <a:cubicBezTo>
                    <a:pt x="7" y="161"/>
                    <a:pt x="6" y="161"/>
                    <a:pt x="5" y="161"/>
                  </a:cubicBezTo>
                  <a:cubicBezTo>
                    <a:pt x="1" y="163"/>
                    <a:pt x="0" y="167"/>
                    <a:pt x="2" y="170"/>
                  </a:cubicBezTo>
                  <a:cubicBezTo>
                    <a:pt x="3" y="172"/>
                    <a:pt x="5" y="174"/>
                    <a:pt x="8" y="174"/>
                  </a:cubicBezTo>
                  <a:cubicBezTo>
                    <a:pt x="9" y="174"/>
                    <a:pt x="10" y="174"/>
                    <a:pt x="11" y="173"/>
                  </a:cubicBezTo>
                  <a:cubicBezTo>
                    <a:pt x="13" y="172"/>
                    <a:pt x="14" y="170"/>
                    <a:pt x="15" y="168"/>
                  </a:cubicBezTo>
                  <a:cubicBezTo>
                    <a:pt x="15" y="168"/>
                    <a:pt x="15" y="168"/>
                    <a:pt x="15" y="168"/>
                  </a:cubicBezTo>
                  <a:cubicBezTo>
                    <a:pt x="15" y="167"/>
                    <a:pt x="33" y="166"/>
                    <a:pt x="53" y="165"/>
                  </a:cubicBezTo>
                  <a:cubicBezTo>
                    <a:pt x="62" y="176"/>
                    <a:pt x="75" y="194"/>
                    <a:pt x="74" y="194"/>
                  </a:cubicBezTo>
                  <a:cubicBezTo>
                    <a:pt x="75" y="194"/>
                    <a:pt x="75" y="194"/>
                    <a:pt x="75" y="194"/>
                  </a:cubicBezTo>
                  <a:cubicBezTo>
                    <a:pt x="72" y="196"/>
                    <a:pt x="72" y="199"/>
                    <a:pt x="73" y="202"/>
                  </a:cubicBezTo>
                  <a:cubicBezTo>
                    <a:pt x="74" y="204"/>
                    <a:pt x="77" y="206"/>
                    <a:pt x="79" y="206"/>
                  </a:cubicBezTo>
                  <a:cubicBezTo>
                    <a:pt x="80" y="206"/>
                    <a:pt x="80" y="206"/>
                    <a:pt x="81" y="206"/>
                  </a:cubicBezTo>
                  <a:cubicBezTo>
                    <a:pt x="81" y="206"/>
                    <a:pt x="81" y="206"/>
                    <a:pt x="81" y="206"/>
                  </a:cubicBezTo>
                  <a:cubicBezTo>
                    <a:pt x="81" y="206"/>
                    <a:pt x="81" y="206"/>
                    <a:pt x="81" y="206"/>
                  </a:cubicBezTo>
                  <a:cubicBezTo>
                    <a:pt x="81" y="206"/>
                    <a:pt x="94" y="241"/>
                    <a:pt x="103" y="265"/>
                  </a:cubicBezTo>
                  <a:cubicBezTo>
                    <a:pt x="91" y="261"/>
                    <a:pt x="79" y="257"/>
                    <a:pt x="73" y="254"/>
                  </a:cubicBezTo>
                  <a:cubicBezTo>
                    <a:pt x="74" y="251"/>
                    <a:pt x="72" y="247"/>
                    <a:pt x="70" y="245"/>
                  </a:cubicBezTo>
                  <a:cubicBezTo>
                    <a:pt x="68" y="244"/>
                    <a:pt x="65" y="243"/>
                    <a:pt x="63" y="243"/>
                  </a:cubicBezTo>
                  <a:cubicBezTo>
                    <a:pt x="60" y="243"/>
                    <a:pt x="57" y="244"/>
                    <a:pt x="55" y="246"/>
                  </a:cubicBezTo>
                  <a:cubicBezTo>
                    <a:pt x="52" y="251"/>
                    <a:pt x="52" y="257"/>
                    <a:pt x="57" y="260"/>
                  </a:cubicBezTo>
                  <a:cubicBezTo>
                    <a:pt x="59" y="262"/>
                    <a:pt x="61" y="262"/>
                    <a:pt x="63" y="262"/>
                  </a:cubicBezTo>
                  <a:cubicBezTo>
                    <a:pt x="66" y="262"/>
                    <a:pt x="69" y="261"/>
                    <a:pt x="71" y="259"/>
                  </a:cubicBezTo>
                  <a:cubicBezTo>
                    <a:pt x="72" y="258"/>
                    <a:pt x="72" y="257"/>
                    <a:pt x="73" y="256"/>
                  </a:cubicBezTo>
                  <a:cubicBezTo>
                    <a:pt x="79" y="258"/>
                    <a:pt x="91" y="261"/>
                    <a:pt x="103" y="265"/>
                  </a:cubicBezTo>
                  <a:cubicBezTo>
                    <a:pt x="108" y="278"/>
                    <a:pt x="111" y="288"/>
                    <a:pt x="111" y="288"/>
                  </a:cubicBezTo>
                  <a:cubicBezTo>
                    <a:pt x="111" y="288"/>
                    <a:pt x="111" y="288"/>
                    <a:pt x="111" y="288"/>
                  </a:cubicBezTo>
                  <a:cubicBezTo>
                    <a:pt x="109" y="289"/>
                    <a:pt x="108" y="291"/>
                    <a:pt x="109" y="293"/>
                  </a:cubicBezTo>
                  <a:cubicBezTo>
                    <a:pt x="109" y="293"/>
                    <a:pt x="109" y="293"/>
                    <a:pt x="109" y="293"/>
                  </a:cubicBezTo>
                  <a:cubicBezTo>
                    <a:pt x="109" y="293"/>
                    <a:pt x="109" y="293"/>
                    <a:pt x="109" y="293"/>
                  </a:cubicBezTo>
                  <a:cubicBezTo>
                    <a:pt x="109" y="293"/>
                    <a:pt x="70" y="319"/>
                    <a:pt x="69" y="319"/>
                  </a:cubicBezTo>
                  <a:cubicBezTo>
                    <a:pt x="69" y="319"/>
                    <a:pt x="69" y="319"/>
                    <a:pt x="69" y="319"/>
                  </a:cubicBezTo>
                  <a:cubicBezTo>
                    <a:pt x="69" y="319"/>
                    <a:pt x="69" y="319"/>
                    <a:pt x="69" y="319"/>
                  </a:cubicBezTo>
                  <a:cubicBezTo>
                    <a:pt x="68" y="319"/>
                    <a:pt x="67" y="318"/>
                    <a:pt x="66" y="318"/>
                  </a:cubicBezTo>
                  <a:cubicBezTo>
                    <a:pt x="66" y="318"/>
                    <a:pt x="66" y="318"/>
                    <a:pt x="65" y="318"/>
                  </a:cubicBezTo>
                  <a:cubicBezTo>
                    <a:pt x="63" y="319"/>
                    <a:pt x="63" y="321"/>
                    <a:pt x="63" y="323"/>
                  </a:cubicBezTo>
                  <a:cubicBezTo>
                    <a:pt x="64" y="324"/>
                    <a:pt x="65" y="325"/>
                    <a:pt x="67" y="325"/>
                  </a:cubicBezTo>
                  <a:cubicBezTo>
                    <a:pt x="67" y="325"/>
                    <a:pt x="67" y="324"/>
                    <a:pt x="68" y="324"/>
                  </a:cubicBezTo>
                  <a:cubicBezTo>
                    <a:pt x="69" y="324"/>
                    <a:pt x="69" y="323"/>
                    <a:pt x="69" y="323"/>
                  </a:cubicBezTo>
                  <a:cubicBezTo>
                    <a:pt x="69" y="323"/>
                    <a:pt x="69" y="323"/>
                    <a:pt x="69" y="323"/>
                  </a:cubicBezTo>
                  <a:cubicBezTo>
                    <a:pt x="69" y="323"/>
                    <a:pt x="69" y="323"/>
                    <a:pt x="70" y="323"/>
                  </a:cubicBezTo>
                  <a:cubicBezTo>
                    <a:pt x="71" y="323"/>
                    <a:pt x="109" y="335"/>
                    <a:pt x="109" y="336"/>
                  </a:cubicBezTo>
                  <a:cubicBezTo>
                    <a:pt x="109" y="335"/>
                    <a:pt x="109" y="335"/>
                    <a:pt x="109" y="335"/>
                  </a:cubicBezTo>
                  <a:cubicBezTo>
                    <a:pt x="108" y="336"/>
                    <a:pt x="109" y="337"/>
                    <a:pt x="109" y="338"/>
                  </a:cubicBezTo>
                  <a:cubicBezTo>
                    <a:pt x="110" y="339"/>
                    <a:pt x="111" y="340"/>
                    <a:pt x="112" y="340"/>
                  </a:cubicBezTo>
                  <a:cubicBezTo>
                    <a:pt x="113" y="340"/>
                    <a:pt x="114" y="340"/>
                    <a:pt x="114" y="340"/>
                  </a:cubicBezTo>
                  <a:cubicBezTo>
                    <a:pt x="116" y="339"/>
                    <a:pt x="117" y="336"/>
                    <a:pt x="116" y="335"/>
                  </a:cubicBezTo>
                  <a:cubicBezTo>
                    <a:pt x="115" y="333"/>
                    <a:pt x="114" y="333"/>
                    <a:pt x="113" y="332"/>
                  </a:cubicBezTo>
                  <a:cubicBezTo>
                    <a:pt x="113" y="332"/>
                    <a:pt x="113" y="332"/>
                    <a:pt x="113" y="332"/>
                  </a:cubicBezTo>
                  <a:cubicBezTo>
                    <a:pt x="112" y="332"/>
                    <a:pt x="112" y="295"/>
                    <a:pt x="113" y="295"/>
                  </a:cubicBezTo>
                  <a:cubicBezTo>
                    <a:pt x="113" y="295"/>
                    <a:pt x="113" y="295"/>
                    <a:pt x="113" y="295"/>
                  </a:cubicBezTo>
                  <a:cubicBezTo>
                    <a:pt x="113" y="295"/>
                    <a:pt x="114" y="295"/>
                    <a:pt x="114" y="295"/>
                  </a:cubicBezTo>
                  <a:cubicBezTo>
                    <a:pt x="116" y="294"/>
                    <a:pt x="117" y="291"/>
                    <a:pt x="116" y="290"/>
                  </a:cubicBezTo>
                  <a:cubicBezTo>
                    <a:pt x="115" y="288"/>
                    <a:pt x="114" y="287"/>
                    <a:pt x="112" y="287"/>
                  </a:cubicBezTo>
                  <a:cubicBezTo>
                    <a:pt x="112" y="287"/>
                    <a:pt x="112" y="287"/>
                    <a:pt x="112" y="287"/>
                  </a:cubicBezTo>
                  <a:cubicBezTo>
                    <a:pt x="112" y="287"/>
                    <a:pt x="112" y="287"/>
                    <a:pt x="112" y="287"/>
                  </a:cubicBezTo>
                  <a:cubicBezTo>
                    <a:pt x="112" y="287"/>
                    <a:pt x="112" y="287"/>
                    <a:pt x="112" y="287"/>
                  </a:cubicBezTo>
                  <a:cubicBezTo>
                    <a:pt x="112" y="287"/>
                    <a:pt x="108" y="278"/>
                    <a:pt x="103" y="265"/>
                  </a:cubicBezTo>
                  <a:cubicBezTo>
                    <a:pt x="126" y="273"/>
                    <a:pt x="151" y="282"/>
                    <a:pt x="151" y="284"/>
                  </a:cubicBezTo>
                  <a:cubicBezTo>
                    <a:pt x="151" y="284"/>
                    <a:pt x="151" y="284"/>
                    <a:pt x="151" y="284"/>
                  </a:cubicBezTo>
                  <a:cubicBezTo>
                    <a:pt x="150" y="289"/>
                    <a:pt x="152" y="294"/>
                    <a:pt x="156" y="297"/>
                  </a:cubicBezTo>
                  <a:cubicBezTo>
                    <a:pt x="159" y="299"/>
                    <a:pt x="162" y="300"/>
                    <a:pt x="165" y="300"/>
                  </a:cubicBezTo>
                  <a:cubicBezTo>
                    <a:pt x="170" y="300"/>
                    <a:pt x="174" y="299"/>
                    <a:pt x="177" y="295"/>
                  </a:cubicBezTo>
                  <a:cubicBezTo>
                    <a:pt x="178" y="294"/>
                    <a:pt x="178" y="293"/>
                    <a:pt x="179" y="291"/>
                  </a:cubicBezTo>
                  <a:cubicBezTo>
                    <a:pt x="179" y="291"/>
                    <a:pt x="179" y="291"/>
                    <a:pt x="179" y="291"/>
                  </a:cubicBezTo>
                  <a:cubicBezTo>
                    <a:pt x="179" y="291"/>
                    <a:pt x="179" y="291"/>
                    <a:pt x="180" y="291"/>
                  </a:cubicBezTo>
                  <a:cubicBezTo>
                    <a:pt x="191" y="291"/>
                    <a:pt x="320" y="319"/>
                    <a:pt x="319" y="321"/>
                  </a:cubicBezTo>
                  <a:cubicBezTo>
                    <a:pt x="319" y="321"/>
                    <a:pt x="319" y="321"/>
                    <a:pt x="319" y="321"/>
                  </a:cubicBezTo>
                  <a:cubicBezTo>
                    <a:pt x="319" y="323"/>
                    <a:pt x="320" y="325"/>
                    <a:pt x="321" y="327"/>
                  </a:cubicBezTo>
                  <a:cubicBezTo>
                    <a:pt x="323" y="331"/>
                    <a:pt x="327" y="333"/>
                    <a:pt x="331" y="333"/>
                  </a:cubicBezTo>
                  <a:cubicBezTo>
                    <a:pt x="333" y="333"/>
                    <a:pt x="335" y="333"/>
                    <a:pt x="336" y="332"/>
                  </a:cubicBezTo>
                  <a:cubicBezTo>
                    <a:pt x="339" y="331"/>
                    <a:pt x="340" y="330"/>
                    <a:pt x="341" y="328"/>
                  </a:cubicBezTo>
                  <a:cubicBezTo>
                    <a:pt x="341" y="328"/>
                    <a:pt x="341" y="328"/>
                    <a:pt x="341" y="328"/>
                  </a:cubicBezTo>
                  <a:cubicBezTo>
                    <a:pt x="342" y="328"/>
                    <a:pt x="342" y="328"/>
                    <a:pt x="342" y="328"/>
                  </a:cubicBezTo>
                  <a:cubicBezTo>
                    <a:pt x="347" y="328"/>
                    <a:pt x="375" y="340"/>
                    <a:pt x="375" y="342"/>
                  </a:cubicBezTo>
                  <a:cubicBezTo>
                    <a:pt x="375" y="342"/>
                    <a:pt x="375" y="342"/>
                    <a:pt x="375" y="342"/>
                  </a:cubicBezTo>
                  <a:cubicBezTo>
                    <a:pt x="375" y="343"/>
                    <a:pt x="375" y="345"/>
                    <a:pt x="375" y="346"/>
                  </a:cubicBezTo>
                  <a:cubicBezTo>
                    <a:pt x="376" y="348"/>
                    <a:pt x="378" y="349"/>
                    <a:pt x="380" y="350"/>
                  </a:cubicBezTo>
                  <a:cubicBezTo>
                    <a:pt x="380" y="350"/>
                    <a:pt x="380" y="350"/>
                    <a:pt x="380" y="350"/>
                  </a:cubicBezTo>
                  <a:cubicBezTo>
                    <a:pt x="381" y="350"/>
                    <a:pt x="371" y="406"/>
                    <a:pt x="370" y="406"/>
                  </a:cubicBezTo>
                  <a:cubicBezTo>
                    <a:pt x="371" y="406"/>
                    <a:pt x="371" y="406"/>
                    <a:pt x="371" y="406"/>
                  </a:cubicBezTo>
                  <a:cubicBezTo>
                    <a:pt x="371" y="406"/>
                    <a:pt x="371" y="406"/>
                    <a:pt x="370" y="406"/>
                  </a:cubicBezTo>
                  <a:cubicBezTo>
                    <a:pt x="370" y="406"/>
                    <a:pt x="369" y="406"/>
                    <a:pt x="368" y="406"/>
                  </a:cubicBezTo>
                  <a:cubicBezTo>
                    <a:pt x="366" y="407"/>
                    <a:pt x="365" y="410"/>
                    <a:pt x="366" y="412"/>
                  </a:cubicBezTo>
                  <a:cubicBezTo>
                    <a:pt x="367" y="414"/>
                    <a:pt x="369" y="415"/>
                    <a:pt x="370" y="415"/>
                  </a:cubicBezTo>
                  <a:cubicBezTo>
                    <a:pt x="371" y="415"/>
                    <a:pt x="372" y="415"/>
                    <a:pt x="373" y="414"/>
                  </a:cubicBezTo>
                  <a:cubicBezTo>
                    <a:pt x="375" y="413"/>
                    <a:pt x="376" y="411"/>
                    <a:pt x="375" y="408"/>
                  </a:cubicBezTo>
                  <a:cubicBezTo>
                    <a:pt x="375" y="408"/>
                    <a:pt x="375" y="408"/>
                    <a:pt x="375" y="408"/>
                  </a:cubicBezTo>
                  <a:cubicBezTo>
                    <a:pt x="375" y="408"/>
                    <a:pt x="375" y="408"/>
                    <a:pt x="375" y="408"/>
                  </a:cubicBezTo>
                  <a:cubicBezTo>
                    <a:pt x="374" y="407"/>
                    <a:pt x="399" y="388"/>
                    <a:pt x="401" y="388"/>
                  </a:cubicBezTo>
                  <a:cubicBezTo>
                    <a:pt x="402" y="388"/>
                    <a:pt x="402" y="388"/>
                    <a:pt x="402" y="388"/>
                  </a:cubicBezTo>
                  <a:cubicBezTo>
                    <a:pt x="402" y="388"/>
                    <a:pt x="402" y="388"/>
                    <a:pt x="402" y="388"/>
                  </a:cubicBezTo>
                  <a:cubicBezTo>
                    <a:pt x="403" y="390"/>
                    <a:pt x="406" y="390"/>
                    <a:pt x="408" y="390"/>
                  </a:cubicBezTo>
                  <a:cubicBezTo>
                    <a:pt x="409" y="390"/>
                    <a:pt x="411" y="390"/>
                    <a:pt x="412" y="390"/>
                  </a:cubicBezTo>
                  <a:cubicBezTo>
                    <a:pt x="416" y="388"/>
                    <a:pt x="418" y="382"/>
                    <a:pt x="416" y="378"/>
                  </a:cubicBezTo>
                  <a:cubicBezTo>
                    <a:pt x="415" y="375"/>
                    <a:pt x="411" y="373"/>
                    <a:pt x="408" y="373"/>
                  </a:cubicBezTo>
                  <a:cubicBezTo>
                    <a:pt x="407" y="373"/>
                    <a:pt x="405" y="373"/>
                    <a:pt x="404" y="374"/>
                  </a:cubicBezTo>
                  <a:cubicBezTo>
                    <a:pt x="404" y="374"/>
                    <a:pt x="404" y="374"/>
                    <a:pt x="404" y="374"/>
                  </a:cubicBezTo>
                  <a:cubicBezTo>
                    <a:pt x="404" y="374"/>
                    <a:pt x="404" y="374"/>
                    <a:pt x="404" y="374"/>
                  </a:cubicBezTo>
                  <a:cubicBezTo>
                    <a:pt x="402" y="374"/>
                    <a:pt x="385" y="349"/>
                    <a:pt x="386" y="348"/>
                  </a:cubicBezTo>
                  <a:cubicBezTo>
                    <a:pt x="386" y="348"/>
                    <a:pt x="386" y="348"/>
                    <a:pt x="386" y="348"/>
                  </a:cubicBezTo>
                  <a:cubicBezTo>
                    <a:pt x="389" y="346"/>
                    <a:pt x="389" y="343"/>
                    <a:pt x="388" y="340"/>
                  </a:cubicBezTo>
                  <a:cubicBezTo>
                    <a:pt x="387" y="338"/>
                    <a:pt x="384" y="337"/>
                    <a:pt x="382" y="337"/>
                  </a:cubicBezTo>
                  <a:cubicBezTo>
                    <a:pt x="381" y="337"/>
                    <a:pt x="380" y="337"/>
                    <a:pt x="379" y="337"/>
                  </a:cubicBezTo>
                  <a:cubicBezTo>
                    <a:pt x="378" y="338"/>
                    <a:pt x="377" y="339"/>
                    <a:pt x="376" y="340"/>
                  </a:cubicBezTo>
                  <a:cubicBezTo>
                    <a:pt x="376" y="340"/>
                    <a:pt x="376" y="340"/>
                    <a:pt x="376" y="340"/>
                  </a:cubicBezTo>
                  <a:cubicBezTo>
                    <a:pt x="376" y="340"/>
                    <a:pt x="376" y="340"/>
                    <a:pt x="376" y="340"/>
                  </a:cubicBezTo>
                  <a:cubicBezTo>
                    <a:pt x="373" y="340"/>
                    <a:pt x="342" y="327"/>
                    <a:pt x="343" y="325"/>
                  </a:cubicBezTo>
                  <a:cubicBezTo>
                    <a:pt x="343" y="325"/>
                    <a:pt x="343" y="325"/>
                    <a:pt x="343" y="325"/>
                  </a:cubicBezTo>
                  <a:cubicBezTo>
                    <a:pt x="343" y="324"/>
                    <a:pt x="343" y="323"/>
                    <a:pt x="343" y="322"/>
                  </a:cubicBezTo>
                  <a:cubicBezTo>
                    <a:pt x="343" y="322"/>
                    <a:pt x="343" y="322"/>
                    <a:pt x="343" y="322"/>
                  </a:cubicBezTo>
                  <a:cubicBezTo>
                    <a:pt x="343" y="320"/>
                    <a:pt x="479" y="305"/>
                    <a:pt x="496" y="305"/>
                  </a:cubicBezTo>
                  <a:cubicBezTo>
                    <a:pt x="497" y="305"/>
                    <a:pt x="497" y="305"/>
                    <a:pt x="497" y="305"/>
                  </a:cubicBezTo>
                  <a:cubicBezTo>
                    <a:pt x="497" y="305"/>
                    <a:pt x="497" y="305"/>
                    <a:pt x="497" y="305"/>
                  </a:cubicBezTo>
                  <a:cubicBezTo>
                    <a:pt x="498" y="306"/>
                    <a:pt x="498" y="306"/>
                    <a:pt x="498" y="307"/>
                  </a:cubicBezTo>
                  <a:cubicBezTo>
                    <a:pt x="500" y="311"/>
                    <a:pt x="504" y="314"/>
                    <a:pt x="509" y="314"/>
                  </a:cubicBezTo>
                  <a:cubicBezTo>
                    <a:pt x="511" y="314"/>
                    <a:pt x="512" y="313"/>
                    <a:pt x="514" y="313"/>
                  </a:cubicBezTo>
                  <a:cubicBezTo>
                    <a:pt x="516" y="312"/>
                    <a:pt x="517" y="311"/>
                    <a:pt x="519" y="309"/>
                  </a:cubicBezTo>
                  <a:cubicBezTo>
                    <a:pt x="519" y="309"/>
                    <a:pt x="519" y="309"/>
                    <a:pt x="519" y="309"/>
                  </a:cubicBezTo>
                  <a:cubicBezTo>
                    <a:pt x="519" y="309"/>
                    <a:pt x="519" y="309"/>
                    <a:pt x="519" y="309"/>
                  </a:cubicBezTo>
                  <a:cubicBezTo>
                    <a:pt x="523" y="309"/>
                    <a:pt x="568" y="332"/>
                    <a:pt x="567" y="333"/>
                  </a:cubicBezTo>
                  <a:cubicBezTo>
                    <a:pt x="567" y="333"/>
                    <a:pt x="567" y="333"/>
                    <a:pt x="567" y="333"/>
                  </a:cubicBezTo>
                  <a:cubicBezTo>
                    <a:pt x="566" y="336"/>
                    <a:pt x="566" y="338"/>
                    <a:pt x="567" y="341"/>
                  </a:cubicBezTo>
                  <a:cubicBezTo>
                    <a:pt x="569" y="344"/>
                    <a:pt x="573" y="346"/>
                    <a:pt x="576" y="346"/>
                  </a:cubicBezTo>
                  <a:cubicBezTo>
                    <a:pt x="578" y="346"/>
                    <a:pt x="579" y="346"/>
                    <a:pt x="581" y="345"/>
                  </a:cubicBezTo>
                  <a:cubicBezTo>
                    <a:pt x="586" y="343"/>
                    <a:pt x="588" y="337"/>
                    <a:pt x="586" y="332"/>
                  </a:cubicBezTo>
                  <a:cubicBezTo>
                    <a:pt x="585" y="331"/>
                    <a:pt x="585" y="331"/>
                    <a:pt x="585" y="331"/>
                  </a:cubicBezTo>
                  <a:cubicBezTo>
                    <a:pt x="585" y="331"/>
                    <a:pt x="585" y="331"/>
                    <a:pt x="585" y="331"/>
                  </a:cubicBezTo>
                  <a:cubicBezTo>
                    <a:pt x="584" y="330"/>
                    <a:pt x="626" y="294"/>
                    <a:pt x="631" y="294"/>
                  </a:cubicBezTo>
                  <a:cubicBezTo>
                    <a:pt x="631" y="294"/>
                    <a:pt x="631" y="294"/>
                    <a:pt x="631" y="294"/>
                  </a:cubicBezTo>
                  <a:cubicBezTo>
                    <a:pt x="631" y="294"/>
                    <a:pt x="631" y="294"/>
                    <a:pt x="631" y="294"/>
                  </a:cubicBezTo>
                  <a:cubicBezTo>
                    <a:pt x="634" y="296"/>
                    <a:pt x="637" y="298"/>
                    <a:pt x="641" y="298"/>
                  </a:cubicBezTo>
                  <a:cubicBezTo>
                    <a:pt x="647" y="298"/>
                    <a:pt x="653" y="294"/>
                    <a:pt x="655" y="289"/>
                  </a:cubicBezTo>
                  <a:cubicBezTo>
                    <a:pt x="655" y="289"/>
                    <a:pt x="655" y="289"/>
                    <a:pt x="655" y="289"/>
                  </a:cubicBezTo>
                  <a:cubicBezTo>
                    <a:pt x="655" y="289"/>
                    <a:pt x="656" y="289"/>
                    <a:pt x="656" y="289"/>
                  </a:cubicBezTo>
                  <a:cubicBezTo>
                    <a:pt x="666" y="289"/>
                    <a:pt x="737" y="308"/>
                    <a:pt x="737" y="310"/>
                  </a:cubicBezTo>
                  <a:cubicBezTo>
                    <a:pt x="737" y="310"/>
                    <a:pt x="737" y="310"/>
                    <a:pt x="737" y="310"/>
                  </a:cubicBezTo>
                  <a:cubicBezTo>
                    <a:pt x="737" y="311"/>
                    <a:pt x="737" y="312"/>
                    <a:pt x="738" y="314"/>
                  </a:cubicBezTo>
                  <a:cubicBezTo>
                    <a:pt x="738" y="314"/>
                    <a:pt x="739" y="315"/>
                    <a:pt x="739" y="316"/>
                  </a:cubicBezTo>
                  <a:cubicBezTo>
                    <a:pt x="739" y="316"/>
                    <a:pt x="739" y="316"/>
                    <a:pt x="739" y="316"/>
                  </a:cubicBezTo>
                  <a:cubicBezTo>
                    <a:pt x="740" y="317"/>
                    <a:pt x="692" y="378"/>
                    <a:pt x="689" y="378"/>
                  </a:cubicBezTo>
                  <a:cubicBezTo>
                    <a:pt x="689" y="378"/>
                    <a:pt x="689" y="378"/>
                    <a:pt x="689" y="378"/>
                  </a:cubicBezTo>
                  <a:cubicBezTo>
                    <a:pt x="687" y="377"/>
                    <a:pt x="684" y="376"/>
                    <a:pt x="682" y="376"/>
                  </a:cubicBezTo>
                  <a:cubicBezTo>
                    <a:pt x="674" y="376"/>
                    <a:pt x="667" y="382"/>
                    <a:pt x="667" y="390"/>
                  </a:cubicBezTo>
                  <a:cubicBezTo>
                    <a:pt x="667" y="391"/>
                    <a:pt x="667" y="392"/>
                    <a:pt x="668" y="393"/>
                  </a:cubicBezTo>
                  <a:cubicBezTo>
                    <a:pt x="668" y="396"/>
                    <a:pt x="559" y="435"/>
                    <a:pt x="552" y="435"/>
                  </a:cubicBezTo>
                  <a:cubicBezTo>
                    <a:pt x="552" y="435"/>
                    <a:pt x="552" y="435"/>
                    <a:pt x="552" y="435"/>
                  </a:cubicBezTo>
                  <a:cubicBezTo>
                    <a:pt x="552" y="435"/>
                    <a:pt x="552" y="435"/>
                    <a:pt x="552" y="435"/>
                  </a:cubicBezTo>
                  <a:cubicBezTo>
                    <a:pt x="550" y="431"/>
                    <a:pt x="545" y="429"/>
                    <a:pt x="540" y="429"/>
                  </a:cubicBezTo>
                  <a:cubicBezTo>
                    <a:pt x="533" y="429"/>
                    <a:pt x="527" y="434"/>
                    <a:pt x="527" y="442"/>
                  </a:cubicBezTo>
                  <a:cubicBezTo>
                    <a:pt x="527" y="449"/>
                    <a:pt x="533" y="455"/>
                    <a:pt x="540" y="455"/>
                  </a:cubicBezTo>
                  <a:cubicBezTo>
                    <a:pt x="548" y="455"/>
                    <a:pt x="554" y="449"/>
                    <a:pt x="554" y="442"/>
                  </a:cubicBezTo>
                  <a:cubicBezTo>
                    <a:pt x="554" y="441"/>
                    <a:pt x="554" y="440"/>
                    <a:pt x="553" y="439"/>
                  </a:cubicBezTo>
                  <a:cubicBezTo>
                    <a:pt x="553" y="436"/>
                    <a:pt x="661" y="397"/>
                    <a:pt x="669" y="397"/>
                  </a:cubicBezTo>
                  <a:cubicBezTo>
                    <a:pt x="669" y="397"/>
                    <a:pt x="669" y="397"/>
                    <a:pt x="669" y="397"/>
                  </a:cubicBezTo>
                  <a:cubicBezTo>
                    <a:pt x="669" y="397"/>
                    <a:pt x="669" y="397"/>
                    <a:pt x="669" y="397"/>
                  </a:cubicBezTo>
                  <a:cubicBezTo>
                    <a:pt x="671" y="401"/>
                    <a:pt x="675" y="403"/>
                    <a:pt x="680" y="404"/>
                  </a:cubicBezTo>
                  <a:cubicBezTo>
                    <a:pt x="680" y="404"/>
                    <a:pt x="680" y="404"/>
                    <a:pt x="680" y="404"/>
                  </a:cubicBezTo>
                  <a:cubicBezTo>
                    <a:pt x="683" y="404"/>
                    <a:pt x="682" y="478"/>
                    <a:pt x="681" y="478"/>
                  </a:cubicBezTo>
                  <a:cubicBezTo>
                    <a:pt x="681" y="478"/>
                    <a:pt x="681" y="478"/>
                    <a:pt x="681" y="478"/>
                  </a:cubicBezTo>
                  <a:cubicBezTo>
                    <a:pt x="680" y="478"/>
                    <a:pt x="679" y="479"/>
                    <a:pt x="679" y="479"/>
                  </a:cubicBezTo>
                  <a:cubicBezTo>
                    <a:pt x="676" y="480"/>
                    <a:pt x="674" y="483"/>
                    <a:pt x="674" y="486"/>
                  </a:cubicBezTo>
                  <a:cubicBezTo>
                    <a:pt x="674" y="486"/>
                    <a:pt x="674" y="486"/>
                    <a:pt x="674" y="486"/>
                  </a:cubicBezTo>
                  <a:cubicBezTo>
                    <a:pt x="674" y="488"/>
                    <a:pt x="615" y="505"/>
                    <a:pt x="607" y="505"/>
                  </a:cubicBezTo>
                  <a:cubicBezTo>
                    <a:pt x="607" y="505"/>
                    <a:pt x="606" y="505"/>
                    <a:pt x="606" y="505"/>
                  </a:cubicBezTo>
                  <a:cubicBezTo>
                    <a:pt x="606" y="505"/>
                    <a:pt x="606" y="505"/>
                    <a:pt x="606" y="505"/>
                  </a:cubicBezTo>
                  <a:cubicBezTo>
                    <a:pt x="604" y="501"/>
                    <a:pt x="599" y="498"/>
                    <a:pt x="594" y="498"/>
                  </a:cubicBezTo>
                  <a:cubicBezTo>
                    <a:pt x="592" y="498"/>
                    <a:pt x="590" y="498"/>
                    <a:pt x="588" y="499"/>
                  </a:cubicBezTo>
                  <a:cubicBezTo>
                    <a:pt x="582" y="502"/>
                    <a:pt x="579" y="510"/>
                    <a:pt x="582" y="516"/>
                  </a:cubicBezTo>
                  <a:cubicBezTo>
                    <a:pt x="584" y="521"/>
                    <a:pt x="589" y="524"/>
                    <a:pt x="594" y="524"/>
                  </a:cubicBezTo>
                  <a:cubicBezTo>
                    <a:pt x="596" y="524"/>
                    <a:pt x="598" y="523"/>
                    <a:pt x="600" y="523"/>
                  </a:cubicBezTo>
                  <a:cubicBezTo>
                    <a:pt x="605" y="520"/>
                    <a:pt x="608" y="515"/>
                    <a:pt x="608" y="509"/>
                  </a:cubicBezTo>
                  <a:cubicBezTo>
                    <a:pt x="608" y="509"/>
                    <a:pt x="608" y="509"/>
                    <a:pt x="608" y="509"/>
                  </a:cubicBezTo>
                  <a:cubicBezTo>
                    <a:pt x="607" y="507"/>
                    <a:pt x="670" y="489"/>
                    <a:pt x="675" y="489"/>
                  </a:cubicBezTo>
                  <a:cubicBezTo>
                    <a:pt x="675" y="489"/>
                    <a:pt x="675" y="489"/>
                    <a:pt x="675" y="489"/>
                  </a:cubicBezTo>
                  <a:cubicBezTo>
                    <a:pt x="675" y="489"/>
                    <a:pt x="675" y="489"/>
                    <a:pt x="675" y="489"/>
                  </a:cubicBezTo>
                  <a:cubicBezTo>
                    <a:pt x="676" y="491"/>
                    <a:pt x="679" y="493"/>
                    <a:pt x="682" y="493"/>
                  </a:cubicBezTo>
                  <a:cubicBezTo>
                    <a:pt x="683" y="493"/>
                    <a:pt x="684" y="493"/>
                    <a:pt x="685" y="492"/>
                  </a:cubicBezTo>
                  <a:cubicBezTo>
                    <a:pt x="689" y="490"/>
                    <a:pt x="690" y="486"/>
                    <a:pt x="689" y="482"/>
                  </a:cubicBezTo>
                  <a:cubicBezTo>
                    <a:pt x="688" y="480"/>
                    <a:pt x="685" y="479"/>
                    <a:pt x="683" y="478"/>
                  </a:cubicBezTo>
                  <a:cubicBezTo>
                    <a:pt x="683" y="478"/>
                    <a:pt x="683" y="478"/>
                    <a:pt x="683" y="478"/>
                  </a:cubicBezTo>
                  <a:cubicBezTo>
                    <a:pt x="682" y="478"/>
                    <a:pt x="681" y="404"/>
                    <a:pt x="684" y="404"/>
                  </a:cubicBezTo>
                  <a:cubicBezTo>
                    <a:pt x="684" y="404"/>
                    <a:pt x="684" y="404"/>
                    <a:pt x="684" y="404"/>
                  </a:cubicBezTo>
                  <a:cubicBezTo>
                    <a:pt x="689" y="403"/>
                    <a:pt x="693" y="400"/>
                    <a:pt x="695" y="396"/>
                  </a:cubicBezTo>
                  <a:cubicBezTo>
                    <a:pt x="695" y="396"/>
                    <a:pt x="695" y="396"/>
                    <a:pt x="695" y="396"/>
                  </a:cubicBezTo>
                  <a:cubicBezTo>
                    <a:pt x="695" y="396"/>
                    <a:pt x="695" y="396"/>
                    <a:pt x="696" y="396"/>
                  </a:cubicBezTo>
                  <a:cubicBezTo>
                    <a:pt x="704" y="396"/>
                    <a:pt x="759" y="413"/>
                    <a:pt x="758" y="416"/>
                  </a:cubicBezTo>
                  <a:cubicBezTo>
                    <a:pt x="758" y="416"/>
                    <a:pt x="758" y="416"/>
                    <a:pt x="758" y="416"/>
                  </a:cubicBezTo>
                  <a:cubicBezTo>
                    <a:pt x="758" y="417"/>
                    <a:pt x="758" y="418"/>
                    <a:pt x="758" y="419"/>
                  </a:cubicBezTo>
                  <a:cubicBezTo>
                    <a:pt x="758" y="429"/>
                    <a:pt x="766" y="437"/>
                    <a:pt x="776" y="437"/>
                  </a:cubicBezTo>
                  <a:cubicBezTo>
                    <a:pt x="786" y="437"/>
                    <a:pt x="795" y="429"/>
                    <a:pt x="795" y="419"/>
                  </a:cubicBezTo>
                  <a:cubicBezTo>
                    <a:pt x="795" y="409"/>
                    <a:pt x="786" y="401"/>
                    <a:pt x="776" y="401"/>
                  </a:cubicBezTo>
                  <a:cubicBezTo>
                    <a:pt x="769" y="401"/>
                    <a:pt x="763" y="405"/>
                    <a:pt x="760" y="411"/>
                  </a:cubicBezTo>
                  <a:cubicBezTo>
                    <a:pt x="760" y="411"/>
                    <a:pt x="760" y="411"/>
                    <a:pt x="760" y="411"/>
                  </a:cubicBezTo>
                  <a:cubicBezTo>
                    <a:pt x="760" y="411"/>
                    <a:pt x="759" y="411"/>
                    <a:pt x="759" y="411"/>
                  </a:cubicBezTo>
                  <a:cubicBezTo>
                    <a:pt x="749" y="411"/>
                    <a:pt x="696" y="395"/>
                    <a:pt x="696" y="392"/>
                  </a:cubicBezTo>
                  <a:cubicBezTo>
                    <a:pt x="696" y="392"/>
                    <a:pt x="696" y="392"/>
                    <a:pt x="696" y="392"/>
                  </a:cubicBezTo>
                  <a:cubicBezTo>
                    <a:pt x="696" y="391"/>
                    <a:pt x="696" y="391"/>
                    <a:pt x="696" y="390"/>
                  </a:cubicBezTo>
                  <a:cubicBezTo>
                    <a:pt x="696" y="386"/>
                    <a:pt x="695" y="383"/>
                    <a:pt x="692" y="380"/>
                  </a:cubicBezTo>
                  <a:cubicBezTo>
                    <a:pt x="692" y="380"/>
                    <a:pt x="692" y="380"/>
                    <a:pt x="692" y="380"/>
                  </a:cubicBezTo>
                  <a:cubicBezTo>
                    <a:pt x="690" y="378"/>
                    <a:pt x="739" y="317"/>
                    <a:pt x="741" y="317"/>
                  </a:cubicBezTo>
                  <a:cubicBezTo>
                    <a:pt x="741" y="317"/>
                    <a:pt x="741" y="317"/>
                    <a:pt x="741" y="317"/>
                  </a:cubicBezTo>
                  <a:cubicBezTo>
                    <a:pt x="741" y="317"/>
                    <a:pt x="741" y="317"/>
                    <a:pt x="741" y="317"/>
                  </a:cubicBezTo>
                  <a:cubicBezTo>
                    <a:pt x="742" y="318"/>
                    <a:pt x="743" y="318"/>
                    <a:pt x="745" y="318"/>
                  </a:cubicBezTo>
                  <a:cubicBezTo>
                    <a:pt x="746" y="318"/>
                    <a:pt x="747" y="318"/>
                    <a:pt x="748" y="317"/>
                  </a:cubicBezTo>
                  <a:cubicBezTo>
                    <a:pt x="748" y="317"/>
                    <a:pt x="749" y="316"/>
                    <a:pt x="750" y="316"/>
                  </a:cubicBezTo>
                  <a:cubicBezTo>
                    <a:pt x="749" y="316"/>
                    <a:pt x="749" y="316"/>
                    <a:pt x="749" y="316"/>
                  </a:cubicBezTo>
                  <a:cubicBezTo>
                    <a:pt x="749" y="316"/>
                    <a:pt x="750" y="316"/>
                    <a:pt x="750" y="316"/>
                  </a:cubicBezTo>
                  <a:cubicBezTo>
                    <a:pt x="752" y="316"/>
                    <a:pt x="870" y="414"/>
                    <a:pt x="868" y="417"/>
                  </a:cubicBezTo>
                  <a:cubicBezTo>
                    <a:pt x="868" y="417"/>
                    <a:pt x="868" y="417"/>
                    <a:pt x="868" y="417"/>
                  </a:cubicBezTo>
                  <a:cubicBezTo>
                    <a:pt x="867" y="419"/>
                    <a:pt x="866" y="421"/>
                    <a:pt x="866" y="424"/>
                  </a:cubicBezTo>
                  <a:cubicBezTo>
                    <a:pt x="865" y="433"/>
                    <a:pt x="872" y="440"/>
                    <a:pt x="881" y="441"/>
                  </a:cubicBezTo>
                  <a:cubicBezTo>
                    <a:pt x="882" y="441"/>
                    <a:pt x="882" y="441"/>
                    <a:pt x="882" y="441"/>
                  </a:cubicBezTo>
                  <a:cubicBezTo>
                    <a:pt x="885" y="441"/>
                    <a:pt x="887" y="440"/>
                    <a:pt x="889" y="439"/>
                  </a:cubicBezTo>
                  <a:cubicBezTo>
                    <a:pt x="889" y="439"/>
                    <a:pt x="889" y="439"/>
                    <a:pt x="889" y="439"/>
                  </a:cubicBezTo>
                  <a:cubicBezTo>
                    <a:pt x="889" y="439"/>
                    <a:pt x="889" y="439"/>
                    <a:pt x="889" y="439"/>
                  </a:cubicBezTo>
                  <a:cubicBezTo>
                    <a:pt x="893" y="439"/>
                    <a:pt x="933" y="497"/>
                    <a:pt x="931" y="499"/>
                  </a:cubicBezTo>
                  <a:cubicBezTo>
                    <a:pt x="931" y="499"/>
                    <a:pt x="931" y="499"/>
                    <a:pt x="931" y="499"/>
                  </a:cubicBezTo>
                  <a:cubicBezTo>
                    <a:pt x="929" y="501"/>
                    <a:pt x="927" y="504"/>
                    <a:pt x="927" y="508"/>
                  </a:cubicBezTo>
                  <a:cubicBezTo>
                    <a:pt x="926" y="515"/>
                    <a:pt x="932" y="522"/>
                    <a:pt x="940" y="522"/>
                  </a:cubicBezTo>
                  <a:cubicBezTo>
                    <a:pt x="940" y="522"/>
                    <a:pt x="940" y="522"/>
                    <a:pt x="941" y="522"/>
                  </a:cubicBezTo>
                  <a:cubicBezTo>
                    <a:pt x="948" y="522"/>
                    <a:pt x="954" y="516"/>
                    <a:pt x="954" y="509"/>
                  </a:cubicBezTo>
                  <a:cubicBezTo>
                    <a:pt x="955" y="503"/>
                    <a:pt x="950" y="497"/>
                    <a:pt x="944" y="496"/>
                  </a:cubicBezTo>
                  <a:cubicBezTo>
                    <a:pt x="944" y="496"/>
                    <a:pt x="944" y="496"/>
                    <a:pt x="944" y="496"/>
                  </a:cubicBezTo>
                  <a:cubicBezTo>
                    <a:pt x="941" y="495"/>
                    <a:pt x="946" y="401"/>
                    <a:pt x="951" y="401"/>
                  </a:cubicBezTo>
                  <a:cubicBezTo>
                    <a:pt x="951" y="401"/>
                    <a:pt x="951" y="401"/>
                    <a:pt x="951" y="401"/>
                  </a:cubicBezTo>
                  <a:cubicBezTo>
                    <a:pt x="959" y="400"/>
                    <a:pt x="967" y="395"/>
                    <a:pt x="971" y="388"/>
                  </a:cubicBezTo>
                  <a:cubicBezTo>
                    <a:pt x="978" y="376"/>
                    <a:pt x="973" y="361"/>
                    <a:pt x="960" y="354"/>
                  </a:cubicBezTo>
                  <a:cubicBezTo>
                    <a:pt x="957" y="352"/>
                    <a:pt x="952" y="351"/>
                    <a:pt x="948" y="351"/>
                  </a:cubicBezTo>
                  <a:cubicBezTo>
                    <a:pt x="940" y="351"/>
                    <a:pt x="931" y="355"/>
                    <a:pt x="926" y="363"/>
                  </a:cubicBezTo>
                  <a:cubicBezTo>
                    <a:pt x="926" y="363"/>
                    <a:pt x="926" y="363"/>
                    <a:pt x="926" y="363"/>
                  </a:cubicBezTo>
                  <a:cubicBezTo>
                    <a:pt x="926" y="363"/>
                    <a:pt x="926" y="363"/>
                    <a:pt x="925" y="363"/>
                  </a:cubicBezTo>
                  <a:cubicBezTo>
                    <a:pt x="921" y="363"/>
                    <a:pt x="909" y="359"/>
                    <a:pt x="896" y="354"/>
                  </a:cubicBezTo>
                  <a:cubicBezTo>
                    <a:pt x="911" y="360"/>
                    <a:pt x="924" y="367"/>
                    <a:pt x="923" y="369"/>
                  </a:cubicBezTo>
                  <a:cubicBezTo>
                    <a:pt x="923" y="369"/>
                    <a:pt x="923" y="369"/>
                    <a:pt x="923" y="369"/>
                  </a:cubicBezTo>
                  <a:cubicBezTo>
                    <a:pt x="921" y="376"/>
                    <a:pt x="922" y="382"/>
                    <a:pt x="926" y="388"/>
                  </a:cubicBezTo>
                  <a:cubicBezTo>
                    <a:pt x="926" y="388"/>
                    <a:pt x="926" y="388"/>
                    <a:pt x="926" y="388"/>
                  </a:cubicBezTo>
                  <a:cubicBezTo>
                    <a:pt x="928" y="392"/>
                    <a:pt x="898" y="414"/>
                    <a:pt x="894" y="414"/>
                  </a:cubicBezTo>
                  <a:cubicBezTo>
                    <a:pt x="893" y="414"/>
                    <a:pt x="893" y="414"/>
                    <a:pt x="893" y="413"/>
                  </a:cubicBezTo>
                  <a:cubicBezTo>
                    <a:pt x="893" y="413"/>
                    <a:pt x="893" y="413"/>
                    <a:pt x="893" y="413"/>
                  </a:cubicBezTo>
                  <a:cubicBezTo>
                    <a:pt x="890" y="411"/>
                    <a:pt x="887" y="410"/>
                    <a:pt x="883" y="409"/>
                  </a:cubicBezTo>
                  <a:cubicBezTo>
                    <a:pt x="883" y="409"/>
                    <a:pt x="882" y="409"/>
                    <a:pt x="882" y="409"/>
                  </a:cubicBezTo>
                  <a:cubicBezTo>
                    <a:pt x="878" y="409"/>
                    <a:pt x="874" y="411"/>
                    <a:pt x="871" y="413"/>
                  </a:cubicBezTo>
                  <a:cubicBezTo>
                    <a:pt x="871" y="413"/>
                    <a:pt x="871" y="413"/>
                    <a:pt x="871" y="413"/>
                  </a:cubicBezTo>
                  <a:cubicBezTo>
                    <a:pt x="871" y="413"/>
                    <a:pt x="871" y="413"/>
                    <a:pt x="871" y="413"/>
                  </a:cubicBezTo>
                  <a:cubicBezTo>
                    <a:pt x="867" y="413"/>
                    <a:pt x="750" y="316"/>
                    <a:pt x="751" y="314"/>
                  </a:cubicBezTo>
                  <a:cubicBezTo>
                    <a:pt x="751" y="314"/>
                    <a:pt x="751" y="314"/>
                    <a:pt x="751" y="314"/>
                  </a:cubicBezTo>
                  <a:cubicBezTo>
                    <a:pt x="752" y="312"/>
                    <a:pt x="753" y="310"/>
                    <a:pt x="752" y="307"/>
                  </a:cubicBezTo>
                  <a:cubicBezTo>
                    <a:pt x="750" y="305"/>
                    <a:pt x="747" y="303"/>
                    <a:pt x="745" y="303"/>
                  </a:cubicBezTo>
                  <a:cubicBezTo>
                    <a:pt x="744" y="303"/>
                    <a:pt x="742" y="303"/>
                    <a:pt x="741" y="304"/>
                  </a:cubicBezTo>
                  <a:cubicBezTo>
                    <a:pt x="740" y="305"/>
                    <a:pt x="738" y="306"/>
                    <a:pt x="738" y="307"/>
                  </a:cubicBezTo>
                  <a:cubicBezTo>
                    <a:pt x="738" y="307"/>
                    <a:pt x="738" y="307"/>
                    <a:pt x="738" y="307"/>
                  </a:cubicBezTo>
                  <a:cubicBezTo>
                    <a:pt x="738" y="307"/>
                    <a:pt x="738" y="307"/>
                    <a:pt x="737" y="307"/>
                  </a:cubicBezTo>
                  <a:cubicBezTo>
                    <a:pt x="732" y="307"/>
                    <a:pt x="656" y="287"/>
                    <a:pt x="657" y="284"/>
                  </a:cubicBezTo>
                  <a:cubicBezTo>
                    <a:pt x="657" y="285"/>
                    <a:pt x="657" y="285"/>
                    <a:pt x="657" y="285"/>
                  </a:cubicBezTo>
                  <a:cubicBezTo>
                    <a:pt x="657" y="284"/>
                    <a:pt x="657" y="283"/>
                    <a:pt x="657" y="283"/>
                  </a:cubicBezTo>
                  <a:cubicBezTo>
                    <a:pt x="657" y="280"/>
                    <a:pt x="656" y="278"/>
                    <a:pt x="655" y="275"/>
                  </a:cubicBezTo>
                  <a:cubicBezTo>
                    <a:pt x="653" y="273"/>
                    <a:pt x="710" y="233"/>
                    <a:pt x="712" y="233"/>
                  </a:cubicBezTo>
                  <a:cubicBezTo>
                    <a:pt x="712" y="233"/>
                    <a:pt x="712" y="233"/>
                    <a:pt x="712" y="233"/>
                  </a:cubicBezTo>
                  <a:cubicBezTo>
                    <a:pt x="712" y="233"/>
                    <a:pt x="712" y="233"/>
                    <a:pt x="712" y="233"/>
                  </a:cubicBezTo>
                  <a:cubicBezTo>
                    <a:pt x="714" y="234"/>
                    <a:pt x="716" y="235"/>
                    <a:pt x="718" y="235"/>
                  </a:cubicBezTo>
                  <a:cubicBezTo>
                    <a:pt x="719" y="235"/>
                    <a:pt x="720" y="235"/>
                    <a:pt x="721" y="234"/>
                  </a:cubicBezTo>
                  <a:cubicBezTo>
                    <a:pt x="725" y="233"/>
                    <a:pt x="726" y="228"/>
                    <a:pt x="724" y="225"/>
                  </a:cubicBezTo>
                  <a:cubicBezTo>
                    <a:pt x="723" y="222"/>
                    <a:pt x="720" y="220"/>
                    <a:pt x="718" y="220"/>
                  </a:cubicBezTo>
                  <a:cubicBezTo>
                    <a:pt x="716" y="220"/>
                    <a:pt x="715" y="221"/>
                    <a:pt x="714" y="221"/>
                  </a:cubicBezTo>
                  <a:cubicBezTo>
                    <a:pt x="713" y="222"/>
                    <a:pt x="713" y="222"/>
                    <a:pt x="713" y="222"/>
                  </a:cubicBezTo>
                  <a:cubicBezTo>
                    <a:pt x="713" y="222"/>
                    <a:pt x="713" y="222"/>
                    <a:pt x="713" y="222"/>
                  </a:cubicBezTo>
                  <a:cubicBezTo>
                    <a:pt x="713" y="222"/>
                    <a:pt x="713" y="222"/>
                    <a:pt x="713" y="222"/>
                  </a:cubicBezTo>
                  <a:cubicBezTo>
                    <a:pt x="713" y="222"/>
                    <a:pt x="711" y="220"/>
                    <a:pt x="708" y="218"/>
                  </a:cubicBezTo>
                  <a:cubicBezTo>
                    <a:pt x="735" y="191"/>
                    <a:pt x="763" y="165"/>
                    <a:pt x="764" y="165"/>
                  </a:cubicBezTo>
                  <a:cubicBezTo>
                    <a:pt x="764" y="165"/>
                    <a:pt x="764" y="165"/>
                    <a:pt x="764" y="165"/>
                  </a:cubicBezTo>
                  <a:cubicBezTo>
                    <a:pt x="764" y="165"/>
                    <a:pt x="764" y="165"/>
                    <a:pt x="764" y="165"/>
                  </a:cubicBezTo>
                  <a:cubicBezTo>
                    <a:pt x="765" y="166"/>
                    <a:pt x="767" y="167"/>
                    <a:pt x="768" y="167"/>
                  </a:cubicBezTo>
                  <a:cubicBezTo>
                    <a:pt x="769" y="167"/>
                    <a:pt x="769" y="167"/>
                    <a:pt x="770" y="166"/>
                  </a:cubicBezTo>
                  <a:cubicBezTo>
                    <a:pt x="770" y="167"/>
                    <a:pt x="770" y="167"/>
                    <a:pt x="770" y="167"/>
                  </a:cubicBezTo>
                  <a:cubicBezTo>
                    <a:pt x="770" y="167"/>
                    <a:pt x="770" y="167"/>
                    <a:pt x="770" y="167"/>
                  </a:cubicBezTo>
                  <a:cubicBezTo>
                    <a:pt x="772" y="167"/>
                    <a:pt x="805" y="248"/>
                    <a:pt x="802" y="250"/>
                  </a:cubicBezTo>
                  <a:cubicBezTo>
                    <a:pt x="802" y="250"/>
                    <a:pt x="802" y="250"/>
                    <a:pt x="802" y="250"/>
                  </a:cubicBezTo>
                  <a:cubicBezTo>
                    <a:pt x="793" y="254"/>
                    <a:pt x="790" y="265"/>
                    <a:pt x="794" y="273"/>
                  </a:cubicBezTo>
                  <a:cubicBezTo>
                    <a:pt x="797" y="280"/>
                    <a:pt x="804" y="284"/>
                    <a:pt x="811" y="284"/>
                  </a:cubicBezTo>
                  <a:cubicBezTo>
                    <a:pt x="814" y="284"/>
                    <a:pt x="817" y="283"/>
                    <a:pt x="819" y="282"/>
                  </a:cubicBezTo>
                  <a:cubicBezTo>
                    <a:pt x="829" y="278"/>
                    <a:pt x="833" y="267"/>
                    <a:pt x="828" y="258"/>
                  </a:cubicBezTo>
                  <a:cubicBezTo>
                    <a:pt x="827" y="255"/>
                    <a:pt x="825" y="253"/>
                    <a:pt x="822" y="251"/>
                  </a:cubicBezTo>
                  <a:cubicBezTo>
                    <a:pt x="823" y="251"/>
                    <a:pt x="823" y="251"/>
                    <a:pt x="823" y="251"/>
                  </a:cubicBezTo>
                  <a:cubicBezTo>
                    <a:pt x="820" y="249"/>
                    <a:pt x="844" y="209"/>
                    <a:pt x="845" y="209"/>
                  </a:cubicBezTo>
                  <a:cubicBezTo>
                    <a:pt x="845" y="209"/>
                    <a:pt x="845" y="209"/>
                    <a:pt x="845" y="209"/>
                  </a:cubicBezTo>
                  <a:cubicBezTo>
                    <a:pt x="845" y="209"/>
                    <a:pt x="845" y="209"/>
                    <a:pt x="845" y="209"/>
                  </a:cubicBezTo>
                  <a:cubicBezTo>
                    <a:pt x="846" y="209"/>
                    <a:pt x="847" y="209"/>
                    <a:pt x="848" y="209"/>
                  </a:cubicBezTo>
                  <a:cubicBezTo>
                    <a:pt x="849" y="209"/>
                    <a:pt x="850" y="209"/>
                    <a:pt x="851" y="208"/>
                  </a:cubicBezTo>
                  <a:cubicBezTo>
                    <a:pt x="855" y="207"/>
                    <a:pt x="857" y="202"/>
                    <a:pt x="855" y="199"/>
                  </a:cubicBezTo>
                  <a:cubicBezTo>
                    <a:pt x="854" y="197"/>
                    <a:pt x="852" y="195"/>
                    <a:pt x="850" y="195"/>
                  </a:cubicBezTo>
                  <a:cubicBezTo>
                    <a:pt x="850" y="195"/>
                    <a:pt x="850" y="195"/>
                    <a:pt x="850" y="195"/>
                  </a:cubicBezTo>
                  <a:cubicBezTo>
                    <a:pt x="849" y="194"/>
                    <a:pt x="852" y="155"/>
                    <a:pt x="856" y="155"/>
                  </a:cubicBezTo>
                  <a:cubicBezTo>
                    <a:pt x="856" y="155"/>
                    <a:pt x="856" y="155"/>
                    <a:pt x="856" y="155"/>
                  </a:cubicBezTo>
                  <a:cubicBezTo>
                    <a:pt x="859" y="155"/>
                    <a:pt x="862" y="154"/>
                    <a:pt x="864" y="153"/>
                  </a:cubicBezTo>
                  <a:cubicBezTo>
                    <a:pt x="864" y="153"/>
                    <a:pt x="864" y="153"/>
                    <a:pt x="864" y="153"/>
                  </a:cubicBezTo>
                  <a:cubicBezTo>
                    <a:pt x="864" y="153"/>
                    <a:pt x="864" y="153"/>
                    <a:pt x="864" y="153"/>
                  </a:cubicBezTo>
                  <a:cubicBezTo>
                    <a:pt x="869" y="153"/>
                    <a:pt x="917" y="215"/>
                    <a:pt x="914" y="217"/>
                  </a:cubicBezTo>
                  <a:cubicBezTo>
                    <a:pt x="915" y="217"/>
                    <a:pt x="915" y="217"/>
                    <a:pt x="915" y="217"/>
                  </a:cubicBezTo>
                  <a:cubicBezTo>
                    <a:pt x="910" y="222"/>
                    <a:pt x="909" y="228"/>
                    <a:pt x="912" y="234"/>
                  </a:cubicBezTo>
                  <a:cubicBezTo>
                    <a:pt x="913" y="236"/>
                    <a:pt x="914" y="238"/>
                    <a:pt x="916" y="239"/>
                  </a:cubicBezTo>
                  <a:cubicBezTo>
                    <a:pt x="915" y="239"/>
                    <a:pt x="915" y="239"/>
                    <a:pt x="915" y="239"/>
                  </a:cubicBezTo>
                  <a:cubicBezTo>
                    <a:pt x="918" y="241"/>
                    <a:pt x="860" y="330"/>
                    <a:pt x="858" y="330"/>
                  </a:cubicBezTo>
                  <a:cubicBezTo>
                    <a:pt x="858" y="330"/>
                    <a:pt x="858" y="330"/>
                    <a:pt x="858" y="330"/>
                  </a:cubicBezTo>
                  <a:cubicBezTo>
                    <a:pt x="858" y="330"/>
                    <a:pt x="858" y="330"/>
                    <a:pt x="858" y="330"/>
                  </a:cubicBezTo>
                  <a:cubicBezTo>
                    <a:pt x="857" y="329"/>
                    <a:pt x="856" y="329"/>
                    <a:pt x="855" y="329"/>
                  </a:cubicBezTo>
                  <a:cubicBezTo>
                    <a:pt x="854" y="329"/>
                    <a:pt x="853" y="329"/>
                    <a:pt x="852" y="330"/>
                  </a:cubicBezTo>
                  <a:cubicBezTo>
                    <a:pt x="848" y="332"/>
                    <a:pt x="847" y="336"/>
                    <a:pt x="848" y="340"/>
                  </a:cubicBezTo>
                  <a:cubicBezTo>
                    <a:pt x="850" y="342"/>
                    <a:pt x="852" y="344"/>
                    <a:pt x="855" y="344"/>
                  </a:cubicBezTo>
                  <a:cubicBezTo>
                    <a:pt x="856" y="344"/>
                    <a:pt x="858" y="344"/>
                    <a:pt x="859" y="343"/>
                  </a:cubicBezTo>
                  <a:cubicBezTo>
                    <a:pt x="860" y="343"/>
                    <a:pt x="861" y="342"/>
                    <a:pt x="862" y="341"/>
                  </a:cubicBezTo>
                  <a:cubicBezTo>
                    <a:pt x="862" y="341"/>
                    <a:pt x="862" y="341"/>
                    <a:pt x="862" y="341"/>
                  </a:cubicBezTo>
                  <a:cubicBezTo>
                    <a:pt x="862" y="341"/>
                    <a:pt x="862" y="341"/>
                    <a:pt x="862" y="341"/>
                  </a:cubicBezTo>
                  <a:cubicBezTo>
                    <a:pt x="863" y="341"/>
                    <a:pt x="873" y="344"/>
                    <a:pt x="884" y="349"/>
                  </a:cubicBezTo>
                  <a:cubicBezTo>
                    <a:pt x="872" y="344"/>
                    <a:pt x="863" y="339"/>
                    <a:pt x="863" y="338"/>
                  </a:cubicBezTo>
                  <a:cubicBezTo>
                    <a:pt x="863" y="338"/>
                    <a:pt x="863" y="338"/>
                    <a:pt x="863" y="338"/>
                  </a:cubicBezTo>
                  <a:cubicBezTo>
                    <a:pt x="863" y="337"/>
                    <a:pt x="863" y="335"/>
                    <a:pt x="862" y="333"/>
                  </a:cubicBezTo>
                  <a:cubicBezTo>
                    <a:pt x="862" y="332"/>
                    <a:pt x="861" y="332"/>
                    <a:pt x="860" y="331"/>
                  </a:cubicBezTo>
                  <a:cubicBezTo>
                    <a:pt x="860" y="331"/>
                    <a:pt x="860" y="331"/>
                    <a:pt x="860" y="331"/>
                  </a:cubicBezTo>
                  <a:cubicBezTo>
                    <a:pt x="859" y="330"/>
                    <a:pt x="916" y="241"/>
                    <a:pt x="919" y="241"/>
                  </a:cubicBezTo>
                  <a:cubicBezTo>
                    <a:pt x="919" y="241"/>
                    <a:pt x="919" y="241"/>
                    <a:pt x="919" y="241"/>
                  </a:cubicBezTo>
                  <a:cubicBezTo>
                    <a:pt x="919" y="241"/>
                    <a:pt x="919" y="241"/>
                    <a:pt x="919" y="241"/>
                  </a:cubicBezTo>
                  <a:cubicBezTo>
                    <a:pt x="921" y="242"/>
                    <a:pt x="923" y="242"/>
                    <a:pt x="925" y="242"/>
                  </a:cubicBezTo>
                  <a:cubicBezTo>
                    <a:pt x="928" y="242"/>
                    <a:pt x="930" y="242"/>
                    <a:pt x="932" y="241"/>
                  </a:cubicBezTo>
                  <a:cubicBezTo>
                    <a:pt x="939" y="238"/>
                    <a:pt x="942" y="230"/>
                    <a:pt x="940" y="223"/>
                  </a:cubicBezTo>
                  <a:cubicBezTo>
                    <a:pt x="940" y="223"/>
                    <a:pt x="940" y="223"/>
                    <a:pt x="940" y="223"/>
                  </a:cubicBezTo>
                  <a:cubicBezTo>
                    <a:pt x="939" y="220"/>
                    <a:pt x="990" y="192"/>
                    <a:pt x="999" y="192"/>
                  </a:cubicBezTo>
                  <a:cubicBezTo>
                    <a:pt x="999" y="192"/>
                    <a:pt x="999" y="192"/>
                    <a:pt x="1000" y="192"/>
                  </a:cubicBezTo>
                  <a:cubicBezTo>
                    <a:pt x="1000" y="192"/>
                    <a:pt x="1000" y="192"/>
                    <a:pt x="1000" y="192"/>
                  </a:cubicBezTo>
                  <a:cubicBezTo>
                    <a:pt x="1003" y="196"/>
                    <a:pt x="1008" y="200"/>
                    <a:pt x="1013" y="201"/>
                  </a:cubicBezTo>
                  <a:cubicBezTo>
                    <a:pt x="1013" y="201"/>
                    <a:pt x="1013" y="201"/>
                    <a:pt x="1013" y="201"/>
                  </a:cubicBezTo>
                  <a:cubicBezTo>
                    <a:pt x="1018" y="202"/>
                    <a:pt x="1008" y="276"/>
                    <a:pt x="1004" y="276"/>
                  </a:cubicBezTo>
                  <a:cubicBezTo>
                    <a:pt x="1004" y="276"/>
                    <a:pt x="1004" y="276"/>
                    <a:pt x="1004" y="276"/>
                  </a:cubicBezTo>
                  <a:cubicBezTo>
                    <a:pt x="993" y="277"/>
                    <a:pt x="984" y="286"/>
                    <a:pt x="984" y="297"/>
                  </a:cubicBezTo>
                  <a:cubicBezTo>
                    <a:pt x="984" y="308"/>
                    <a:pt x="994" y="317"/>
                    <a:pt x="1005" y="317"/>
                  </a:cubicBezTo>
                  <a:cubicBezTo>
                    <a:pt x="1017" y="317"/>
                    <a:pt x="1026" y="308"/>
                    <a:pt x="1026" y="297"/>
                  </a:cubicBezTo>
                  <a:cubicBezTo>
                    <a:pt x="1026" y="295"/>
                    <a:pt x="1026" y="293"/>
                    <a:pt x="1025" y="291"/>
                  </a:cubicBezTo>
                  <a:cubicBezTo>
                    <a:pt x="1025" y="291"/>
                    <a:pt x="1025" y="291"/>
                    <a:pt x="1025" y="291"/>
                  </a:cubicBezTo>
                  <a:cubicBezTo>
                    <a:pt x="1024" y="287"/>
                    <a:pt x="1073" y="268"/>
                    <a:pt x="1076" y="268"/>
                  </a:cubicBezTo>
                  <a:cubicBezTo>
                    <a:pt x="1076" y="268"/>
                    <a:pt x="1076" y="268"/>
                    <a:pt x="1076" y="268"/>
                  </a:cubicBezTo>
                  <a:cubicBezTo>
                    <a:pt x="1076" y="268"/>
                    <a:pt x="1076" y="268"/>
                    <a:pt x="1076" y="268"/>
                  </a:cubicBezTo>
                  <a:cubicBezTo>
                    <a:pt x="1078" y="270"/>
                    <a:pt x="1080" y="271"/>
                    <a:pt x="1083" y="271"/>
                  </a:cubicBezTo>
                  <a:cubicBezTo>
                    <a:pt x="1083" y="271"/>
                    <a:pt x="1084" y="271"/>
                    <a:pt x="1085" y="271"/>
                  </a:cubicBezTo>
                  <a:cubicBezTo>
                    <a:pt x="1085" y="271"/>
                    <a:pt x="1085" y="271"/>
                    <a:pt x="1085" y="271"/>
                  </a:cubicBezTo>
                  <a:cubicBezTo>
                    <a:pt x="1085" y="271"/>
                    <a:pt x="1085" y="271"/>
                    <a:pt x="1085" y="271"/>
                  </a:cubicBezTo>
                  <a:cubicBezTo>
                    <a:pt x="1085" y="271"/>
                    <a:pt x="1090" y="279"/>
                    <a:pt x="1095" y="290"/>
                  </a:cubicBezTo>
                  <a:cubicBezTo>
                    <a:pt x="1090" y="279"/>
                    <a:pt x="1087" y="270"/>
                    <a:pt x="1087" y="270"/>
                  </a:cubicBezTo>
                  <a:cubicBezTo>
                    <a:pt x="1087" y="270"/>
                    <a:pt x="1087" y="270"/>
                    <a:pt x="1087" y="270"/>
                  </a:cubicBezTo>
                  <a:cubicBezTo>
                    <a:pt x="1090" y="268"/>
                    <a:pt x="1091" y="264"/>
                    <a:pt x="1090" y="261"/>
                  </a:cubicBezTo>
                  <a:cubicBezTo>
                    <a:pt x="1088" y="258"/>
                    <a:pt x="1086" y="257"/>
                    <a:pt x="1083" y="257"/>
                  </a:cubicBezTo>
                  <a:cubicBezTo>
                    <a:pt x="1082" y="257"/>
                    <a:pt x="1080" y="257"/>
                    <a:pt x="1079" y="257"/>
                  </a:cubicBezTo>
                  <a:cubicBezTo>
                    <a:pt x="1076" y="259"/>
                    <a:pt x="1074" y="262"/>
                    <a:pt x="1075" y="266"/>
                  </a:cubicBezTo>
                  <a:cubicBezTo>
                    <a:pt x="1075" y="266"/>
                    <a:pt x="1075" y="266"/>
                    <a:pt x="1075" y="266"/>
                  </a:cubicBezTo>
                  <a:cubicBezTo>
                    <a:pt x="1076" y="267"/>
                    <a:pt x="1032" y="286"/>
                    <a:pt x="1024" y="286"/>
                  </a:cubicBezTo>
                  <a:cubicBezTo>
                    <a:pt x="1024" y="286"/>
                    <a:pt x="1023" y="286"/>
                    <a:pt x="1023" y="286"/>
                  </a:cubicBezTo>
                  <a:cubicBezTo>
                    <a:pt x="1023" y="286"/>
                    <a:pt x="1023" y="286"/>
                    <a:pt x="1023" y="286"/>
                  </a:cubicBezTo>
                  <a:cubicBezTo>
                    <a:pt x="1020" y="282"/>
                    <a:pt x="1016" y="279"/>
                    <a:pt x="1011" y="277"/>
                  </a:cubicBezTo>
                  <a:cubicBezTo>
                    <a:pt x="1011" y="277"/>
                    <a:pt x="1011" y="277"/>
                    <a:pt x="1011" y="277"/>
                  </a:cubicBezTo>
                  <a:cubicBezTo>
                    <a:pt x="1007" y="276"/>
                    <a:pt x="1016" y="202"/>
                    <a:pt x="1021" y="202"/>
                  </a:cubicBezTo>
                  <a:cubicBezTo>
                    <a:pt x="1021" y="202"/>
                    <a:pt x="1021" y="202"/>
                    <a:pt x="1021" y="202"/>
                  </a:cubicBezTo>
                  <a:cubicBezTo>
                    <a:pt x="1031" y="201"/>
                    <a:pt x="1040" y="195"/>
                    <a:pt x="1044" y="186"/>
                  </a:cubicBezTo>
                  <a:cubicBezTo>
                    <a:pt x="1044" y="184"/>
                    <a:pt x="1046" y="184"/>
                    <a:pt x="1048" y="184"/>
                  </a:cubicBezTo>
                  <a:cubicBezTo>
                    <a:pt x="1048" y="184"/>
                    <a:pt x="1048" y="184"/>
                    <a:pt x="1048" y="184"/>
                  </a:cubicBezTo>
                  <a:cubicBezTo>
                    <a:pt x="1046" y="183"/>
                    <a:pt x="1045" y="182"/>
                    <a:pt x="1045" y="180"/>
                  </a:cubicBezTo>
                  <a:cubicBezTo>
                    <a:pt x="1045" y="180"/>
                    <a:pt x="1045" y="180"/>
                    <a:pt x="1045" y="180"/>
                  </a:cubicBezTo>
                  <a:cubicBezTo>
                    <a:pt x="1045" y="179"/>
                    <a:pt x="1045" y="178"/>
                    <a:pt x="1045" y="178"/>
                  </a:cubicBezTo>
                  <a:cubicBezTo>
                    <a:pt x="1045" y="172"/>
                    <a:pt x="1043" y="167"/>
                    <a:pt x="1040" y="163"/>
                  </a:cubicBezTo>
                  <a:cubicBezTo>
                    <a:pt x="1040" y="163"/>
                    <a:pt x="1040" y="163"/>
                    <a:pt x="1040" y="163"/>
                  </a:cubicBezTo>
                  <a:cubicBezTo>
                    <a:pt x="1037" y="159"/>
                    <a:pt x="1115" y="80"/>
                    <a:pt x="1121" y="78"/>
                  </a:cubicBezTo>
                  <a:cubicBezTo>
                    <a:pt x="1120" y="84"/>
                    <a:pt x="1068" y="180"/>
                    <a:pt x="1067" y="180"/>
                  </a:cubicBezTo>
                  <a:cubicBezTo>
                    <a:pt x="1067" y="180"/>
                    <a:pt x="1067" y="180"/>
                    <a:pt x="1067" y="180"/>
                  </a:cubicBezTo>
                  <a:cubicBezTo>
                    <a:pt x="1067" y="180"/>
                    <a:pt x="1067" y="180"/>
                    <a:pt x="1067" y="180"/>
                  </a:cubicBezTo>
                  <a:cubicBezTo>
                    <a:pt x="1066" y="180"/>
                    <a:pt x="1065" y="180"/>
                    <a:pt x="1064" y="180"/>
                  </a:cubicBezTo>
                  <a:cubicBezTo>
                    <a:pt x="1061" y="180"/>
                    <a:pt x="1059" y="182"/>
                    <a:pt x="1058" y="184"/>
                  </a:cubicBezTo>
                  <a:cubicBezTo>
                    <a:pt x="1058" y="184"/>
                    <a:pt x="1058" y="184"/>
                    <a:pt x="1058" y="184"/>
                  </a:cubicBezTo>
                  <a:cubicBezTo>
                    <a:pt x="1057" y="185"/>
                    <a:pt x="1056" y="185"/>
                    <a:pt x="1055" y="185"/>
                  </a:cubicBezTo>
                  <a:cubicBezTo>
                    <a:pt x="1054" y="185"/>
                    <a:pt x="1054" y="185"/>
                    <a:pt x="1053" y="185"/>
                  </a:cubicBezTo>
                  <a:cubicBezTo>
                    <a:pt x="1055" y="186"/>
                    <a:pt x="1057" y="187"/>
                    <a:pt x="1057" y="187"/>
                  </a:cubicBezTo>
                  <a:cubicBezTo>
                    <a:pt x="1057" y="187"/>
                    <a:pt x="1057" y="187"/>
                    <a:pt x="1057" y="187"/>
                  </a:cubicBezTo>
                  <a:cubicBezTo>
                    <a:pt x="1057" y="187"/>
                    <a:pt x="1057" y="187"/>
                    <a:pt x="1057" y="187"/>
                  </a:cubicBezTo>
                  <a:cubicBezTo>
                    <a:pt x="1057" y="191"/>
                    <a:pt x="1060" y="195"/>
                    <a:pt x="1064" y="195"/>
                  </a:cubicBezTo>
                  <a:cubicBezTo>
                    <a:pt x="1066" y="195"/>
                    <a:pt x="1067" y="194"/>
                    <a:pt x="1069" y="194"/>
                  </a:cubicBezTo>
                  <a:cubicBezTo>
                    <a:pt x="1069" y="194"/>
                    <a:pt x="1069" y="194"/>
                    <a:pt x="1069" y="194"/>
                  </a:cubicBezTo>
                  <a:cubicBezTo>
                    <a:pt x="1069" y="194"/>
                    <a:pt x="1069" y="194"/>
                    <a:pt x="1069" y="194"/>
                  </a:cubicBezTo>
                  <a:cubicBezTo>
                    <a:pt x="1070" y="194"/>
                    <a:pt x="1093" y="219"/>
                    <a:pt x="1093" y="220"/>
                  </a:cubicBezTo>
                  <a:cubicBezTo>
                    <a:pt x="1093" y="220"/>
                    <a:pt x="1093" y="220"/>
                    <a:pt x="1093" y="220"/>
                  </a:cubicBezTo>
                  <a:cubicBezTo>
                    <a:pt x="1092" y="221"/>
                    <a:pt x="1091" y="222"/>
                    <a:pt x="1092" y="224"/>
                  </a:cubicBezTo>
                  <a:cubicBezTo>
                    <a:pt x="1093" y="225"/>
                    <a:pt x="1094" y="226"/>
                    <a:pt x="1096" y="226"/>
                  </a:cubicBezTo>
                  <a:cubicBezTo>
                    <a:pt x="1096" y="226"/>
                    <a:pt x="1097" y="226"/>
                    <a:pt x="1097" y="226"/>
                  </a:cubicBezTo>
                  <a:cubicBezTo>
                    <a:pt x="1099" y="225"/>
                    <a:pt x="1100" y="222"/>
                    <a:pt x="1099" y="221"/>
                  </a:cubicBezTo>
                  <a:cubicBezTo>
                    <a:pt x="1099" y="220"/>
                    <a:pt x="1099" y="220"/>
                    <a:pt x="1099" y="220"/>
                  </a:cubicBezTo>
                  <a:cubicBezTo>
                    <a:pt x="1099" y="220"/>
                    <a:pt x="1099" y="220"/>
                    <a:pt x="1099" y="220"/>
                  </a:cubicBezTo>
                  <a:cubicBezTo>
                    <a:pt x="1099" y="220"/>
                    <a:pt x="1130" y="196"/>
                    <a:pt x="1132" y="196"/>
                  </a:cubicBezTo>
                  <a:cubicBezTo>
                    <a:pt x="1132" y="196"/>
                    <a:pt x="1132" y="196"/>
                    <a:pt x="1132" y="196"/>
                  </a:cubicBezTo>
                  <a:cubicBezTo>
                    <a:pt x="1132" y="196"/>
                    <a:pt x="1132" y="196"/>
                    <a:pt x="1132" y="196"/>
                  </a:cubicBezTo>
                  <a:cubicBezTo>
                    <a:pt x="1133" y="197"/>
                    <a:pt x="1134" y="197"/>
                    <a:pt x="1136" y="197"/>
                  </a:cubicBezTo>
                  <a:cubicBezTo>
                    <a:pt x="1136" y="197"/>
                    <a:pt x="1137" y="197"/>
                    <a:pt x="1138" y="197"/>
                  </a:cubicBezTo>
                  <a:cubicBezTo>
                    <a:pt x="1138" y="197"/>
                    <a:pt x="1138" y="197"/>
                    <a:pt x="1138" y="197"/>
                  </a:cubicBezTo>
                  <a:cubicBezTo>
                    <a:pt x="1138" y="197"/>
                    <a:pt x="1138" y="197"/>
                    <a:pt x="1138" y="197"/>
                  </a:cubicBezTo>
                  <a:cubicBezTo>
                    <a:pt x="1139" y="197"/>
                    <a:pt x="1171" y="245"/>
                    <a:pt x="1169" y="247"/>
                  </a:cubicBezTo>
                  <a:cubicBezTo>
                    <a:pt x="1169" y="247"/>
                    <a:pt x="1169" y="247"/>
                    <a:pt x="1169" y="247"/>
                  </a:cubicBezTo>
                  <a:cubicBezTo>
                    <a:pt x="1164" y="251"/>
                    <a:pt x="1162" y="258"/>
                    <a:pt x="1165" y="264"/>
                  </a:cubicBezTo>
                  <a:cubicBezTo>
                    <a:pt x="1168" y="269"/>
                    <a:pt x="1173" y="272"/>
                    <a:pt x="1179" y="272"/>
                  </a:cubicBezTo>
                  <a:cubicBezTo>
                    <a:pt x="1181" y="272"/>
                    <a:pt x="1183" y="272"/>
                    <a:pt x="1185" y="271"/>
                  </a:cubicBezTo>
                  <a:cubicBezTo>
                    <a:pt x="1193" y="268"/>
                    <a:pt x="1196" y="259"/>
                    <a:pt x="1192" y="252"/>
                  </a:cubicBezTo>
                  <a:cubicBezTo>
                    <a:pt x="1190" y="246"/>
                    <a:pt x="1184" y="243"/>
                    <a:pt x="1179" y="243"/>
                  </a:cubicBezTo>
                  <a:cubicBezTo>
                    <a:pt x="1177" y="243"/>
                    <a:pt x="1175" y="244"/>
                    <a:pt x="1173" y="245"/>
                  </a:cubicBezTo>
                  <a:cubicBezTo>
                    <a:pt x="1173" y="245"/>
                    <a:pt x="1173" y="245"/>
                    <a:pt x="1173" y="245"/>
                  </a:cubicBezTo>
                  <a:cubicBezTo>
                    <a:pt x="1173" y="245"/>
                    <a:pt x="1173" y="245"/>
                    <a:pt x="1173" y="245"/>
                  </a:cubicBezTo>
                  <a:cubicBezTo>
                    <a:pt x="1169" y="245"/>
                    <a:pt x="1138" y="197"/>
                    <a:pt x="1139" y="196"/>
                  </a:cubicBezTo>
                  <a:cubicBezTo>
                    <a:pt x="1139" y="196"/>
                    <a:pt x="1139" y="196"/>
                    <a:pt x="1139" y="196"/>
                  </a:cubicBezTo>
                  <a:cubicBezTo>
                    <a:pt x="1140" y="195"/>
                    <a:pt x="1141" y="194"/>
                    <a:pt x="1141" y="192"/>
                  </a:cubicBezTo>
                  <a:cubicBezTo>
                    <a:pt x="1141" y="190"/>
                    <a:pt x="1139" y="187"/>
                    <a:pt x="1136" y="187"/>
                  </a:cubicBezTo>
                  <a:cubicBezTo>
                    <a:pt x="1133" y="187"/>
                    <a:pt x="1131" y="189"/>
                    <a:pt x="1131" y="191"/>
                  </a:cubicBezTo>
                  <a:cubicBezTo>
                    <a:pt x="1131" y="191"/>
                    <a:pt x="1131" y="191"/>
                    <a:pt x="1131" y="191"/>
                  </a:cubicBezTo>
                  <a:cubicBezTo>
                    <a:pt x="1131" y="191"/>
                    <a:pt x="1130" y="191"/>
                    <a:pt x="1129" y="191"/>
                  </a:cubicBezTo>
                  <a:cubicBezTo>
                    <a:pt x="1119" y="191"/>
                    <a:pt x="1072" y="188"/>
                    <a:pt x="1072" y="187"/>
                  </a:cubicBezTo>
                  <a:cubicBezTo>
                    <a:pt x="1072" y="187"/>
                    <a:pt x="1072" y="187"/>
                    <a:pt x="1072" y="187"/>
                  </a:cubicBezTo>
                  <a:cubicBezTo>
                    <a:pt x="1072" y="185"/>
                    <a:pt x="1071" y="183"/>
                    <a:pt x="1069" y="181"/>
                  </a:cubicBezTo>
                  <a:cubicBezTo>
                    <a:pt x="1069" y="182"/>
                    <a:pt x="1069" y="182"/>
                    <a:pt x="1069" y="182"/>
                  </a:cubicBezTo>
                  <a:cubicBezTo>
                    <a:pt x="1068" y="181"/>
                    <a:pt x="1122" y="80"/>
                    <a:pt x="1125" y="80"/>
                  </a:cubicBezTo>
                  <a:cubicBezTo>
                    <a:pt x="1125" y="80"/>
                    <a:pt x="1125" y="80"/>
                    <a:pt x="1125" y="80"/>
                  </a:cubicBezTo>
                  <a:cubicBezTo>
                    <a:pt x="1125" y="80"/>
                    <a:pt x="1125" y="80"/>
                    <a:pt x="1125" y="80"/>
                  </a:cubicBezTo>
                  <a:cubicBezTo>
                    <a:pt x="1126" y="80"/>
                    <a:pt x="1127" y="80"/>
                    <a:pt x="1129" y="80"/>
                  </a:cubicBezTo>
                  <a:cubicBezTo>
                    <a:pt x="1129" y="80"/>
                    <a:pt x="1130" y="80"/>
                    <a:pt x="1130" y="80"/>
                  </a:cubicBezTo>
                  <a:cubicBezTo>
                    <a:pt x="1130" y="80"/>
                    <a:pt x="1130" y="80"/>
                    <a:pt x="1130" y="80"/>
                  </a:cubicBezTo>
                  <a:cubicBezTo>
                    <a:pt x="1130" y="80"/>
                    <a:pt x="1130" y="80"/>
                    <a:pt x="1130" y="80"/>
                  </a:cubicBezTo>
                  <a:cubicBezTo>
                    <a:pt x="1133" y="80"/>
                    <a:pt x="1146" y="135"/>
                    <a:pt x="1143" y="136"/>
                  </a:cubicBezTo>
                  <a:cubicBezTo>
                    <a:pt x="1143" y="136"/>
                    <a:pt x="1143" y="136"/>
                    <a:pt x="1143" y="136"/>
                  </a:cubicBezTo>
                  <a:cubicBezTo>
                    <a:pt x="1143" y="136"/>
                    <a:pt x="1142" y="136"/>
                    <a:pt x="1142" y="137"/>
                  </a:cubicBezTo>
                  <a:cubicBezTo>
                    <a:pt x="1133" y="141"/>
                    <a:pt x="1129" y="151"/>
                    <a:pt x="1133" y="160"/>
                  </a:cubicBezTo>
                  <a:cubicBezTo>
                    <a:pt x="1136" y="167"/>
                    <a:pt x="1143" y="171"/>
                    <a:pt x="1150" y="171"/>
                  </a:cubicBezTo>
                  <a:cubicBezTo>
                    <a:pt x="1153" y="171"/>
                    <a:pt x="1155" y="170"/>
                    <a:pt x="1158" y="169"/>
                  </a:cubicBezTo>
                  <a:cubicBezTo>
                    <a:pt x="1161" y="168"/>
                    <a:pt x="1163" y="166"/>
                    <a:pt x="1164" y="164"/>
                  </a:cubicBezTo>
                  <a:cubicBezTo>
                    <a:pt x="1164" y="164"/>
                    <a:pt x="1164" y="164"/>
                    <a:pt x="1164" y="164"/>
                  </a:cubicBezTo>
                  <a:cubicBezTo>
                    <a:pt x="1164" y="164"/>
                    <a:pt x="1165" y="164"/>
                    <a:pt x="1165" y="164"/>
                  </a:cubicBezTo>
                  <a:cubicBezTo>
                    <a:pt x="1171" y="164"/>
                    <a:pt x="1256" y="212"/>
                    <a:pt x="1254" y="217"/>
                  </a:cubicBezTo>
                  <a:cubicBezTo>
                    <a:pt x="1253" y="220"/>
                    <a:pt x="1252" y="224"/>
                    <a:pt x="1252" y="228"/>
                  </a:cubicBezTo>
                  <a:cubicBezTo>
                    <a:pt x="1252" y="233"/>
                    <a:pt x="1254" y="238"/>
                    <a:pt x="1257" y="243"/>
                  </a:cubicBezTo>
                  <a:cubicBezTo>
                    <a:pt x="1257" y="243"/>
                    <a:pt x="1257" y="243"/>
                    <a:pt x="1257" y="243"/>
                  </a:cubicBezTo>
                  <a:cubicBezTo>
                    <a:pt x="1259" y="247"/>
                    <a:pt x="1178" y="318"/>
                    <a:pt x="1154" y="334"/>
                  </a:cubicBezTo>
                  <a:cubicBezTo>
                    <a:pt x="1151" y="326"/>
                    <a:pt x="1143" y="320"/>
                    <a:pt x="1134" y="320"/>
                  </a:cubicBezTo>
                  <a:cubicBezTo>
                    <a:pt x="1126" y="320"/>
                    <a:pt x="1120" y="324"/>
                    <a:pt x="1116" y="329"/>
                  </a:cubicBezTo>
                  <a:cubicBezTo>
                    <a:pt x="1113" y="324"/>
                    <a:pt x="1108" y="316"/>
                    <a:pt x="1103" y="307"/>
                  </a:cubicBezTo>
                  <a:cubicBezTo>
                    <a:pt x="1109" y="319"/>
                    <a:pt x="1113" y="329"/>
                    <a:pt x="1113" y="334"/>
                  </a:cubicBezTo>
                  <a:cubicBezTo>
                    <a:pt x="1112" y="336"/>
                    <a:pt x="1112" y="339"/>
                    <a:pt x="1112" y="341"/>
                  </a:cubicBezTo>
                  <a:cubicBezTo>
                    <a:pt x="1112" y="353"/>
                    <a:pt x="1122" y="363"/>
                    <a:pt x="1134" y="363"/>
                  </a:cubicBezTo>
                  <a:cubicBezTo>
                    <a:pt x="1146" y="363"/>
                    <a:pt x="1156" y="353"/>
                    <a:pt x="1156" y="341"/>
                  </a:cubicBezTo>
                  <a:cubicBezTo>
                    <a:pt x="1156" y="341"/>
                    <a:pt x="1156" y="341"/>
                    <a:pt x="1156" y="341"/>
                  </a:cubicBezTo>
                  <a:cubicBezTo>
                    <a:pt x="1169" y="323"/>
                    <a:pt x="1255" y="249"/>
                    <a:pt x="1262" y="249"/>
                  </a:cubicBezTo>
                  <a:cubicBezTo>
                    <a:pt x="1262" y="249"/>
                    <a:pt x="1263" y="249"/>
                    <a:pt x="1263" y="249"/>
                  </a:cubicBezTo>
                  <a:cubicBezTo>
                    <a:pt x="1263" y="249"/>
                    <a:pt x="1263" y="249"/>
                    <a:pt x="1263" y="249"/>
                  </a:cubicBezTo>
                  <a:cubicBezTo>
                    <a:pt x="1266" y="251"/>
                    <a:pt x="1269" y="253"/>
                    <a:pt x="1273" y="254"/>
                  </a:cubicBezTo>
                  <a:cubicBezTo>
                    <a:pt x="1273" y="254"/>
                    <a:pt x="1273" y="254"/>
                    <a:pt x="1273" y="254"/>
                  </a:cubicBezTo>
                  <a:cubicBezTo>
                    <a:pt x="1275" y="255"/>
                    <a:pt x="1274" y="272"/>
                    <a:pt x="1272" y="290"/>
                  </a:cubicBezTo>
                  <a:cubicBezTo>
                    <a:pt x="1275" y="272"/>
                    <a:pt x="1278" y="255"/>
                    <a:pt x="1281" y="255"/>
                  </a:cubicBezTo>
                  <a:cubicBezTo>
                    <a:pt x="1281" y="255"/>
                    <a:pt x="1281" y="255"/>
                    <a:pt x="1281" y="255"/>
                  </a:cubicBezTo>
                  <a:cubicBezTo>
                    <a:pt x="1297" y="255"/>
                    <a:pt x="1309" y="243"/>
                    <a:pt x="1309" y="228"/>
                  </a:cubicBezTo>
                  <a:cubicBezTo>
                    <a:pt x="1309" y="212"/>
                    <a:pt x="1297" y="200"/>
                    <a:pt x="1281" y="200"/>
                  </a:cubicBezTo>
                  <a:cubicBezTo>
                    <a:pt x="1272" y="200"/>
                    <a:pt x="1264" y="204"/>
                    <a:pt x="1258" y="210"/>
                  </a:cubicBezTo>
                  <a:cubicBezTo>
                    <a:pt x="1258" y="210"/>
                    <a:pt x="1258" y="210"/>
                    <a:pt x="1258" y="210"/>
                  </a:cubicBezTo>
                  <a:cubicBezTo>
                    <a:pt x="1248" y="210"/>
                    <a:pt x="1166" y="163"/>
                    <a:pt x="1167" y="159"/>
                  </a:cubicBezTo>
                  <a:cubicBezTo>
                    <a:pt x="1167" y="159"/>
                    <a:pt x="1167" y="159"/>
                    <a:pt x="1167" y="159"/>
                  </a:cubicBezTo>
                  <a:cubicBezTo>
                    <a:pt x="1169" y="155"/>
                    <a:pt x="1169" y="150"/>
                    <a:pt x="1167" y="145"/>
                  </a:cubicBezTo>
                  <a:cubicBezTo>
                    <a:pt x="1164" y="139"/>
                    <a:pt x="1157" y="135"/>
                    <a:pt x="1150" y="135"/>
                  </a:cubicBezTo>
                  <a:cubicBezTo>
                    <a:pt x="1149" y="135"/>
                    <a:pt x="1149" y="135"/>
                    <a:pt x="1148" y="135"/>
                  </a:cubicBezTo>
                  <a:cubicBezTo>
                    <a:pt x="1149" y="135"/>
                    <a:pt x="1149" y="135"/>
                    <a:pt x="1149" y="135"/>
                  </a:cubicBezTo>
                  <a:cubicBezTo>
                    <a:pt x="1149" y="135"/>
                    <a:pt x="1149" y="135"/>
                    <a:pt x="1148" y="135"/>
                  </a:cubicBezTo>
                  <a:cubicBezTo>
                    <a:pt x="1145" y="135"/>
                    <a:pt x="1132" y="80"/>
                    <a:pt x="1134" y="79"/>
                  </a:cubicBezTo>
                  <a:cubicBezTo>
                    <a:pt x="1134" y="79"/>
                    <a:pt x="1134" y="79"/>
                    <a:pt x="1134" y="79"/>
                  </a:cubicBezTo>
                  <a:cubicBezTo>
                    <a:pt x="1135" y="79"/>
                    <a:pt x="1135" y="79"/>
                    <a:pt x="1135" y="79"/>
                  </a:cubicBezTo>
                  <a:cubicBezTo>
                    <a:pt x="1141" y="76"/>
                    <a:pt x="1144" y="68"/>
                    <a:pt x="1141" y="62"/>
                  </a:cubicBezTo>
                  <a:cubicBezTo>
                    <a:pt x="1139" y="57"/>
                    <a:pt x="1134" y="54"/>
                    <a:pt x="1129" y="54"/>
                  </a:cubicBezTo>
                  <a:cubicBezTo>
                    <a:pt x="1127" y="54"/>
                    <a:pt x="1125" y="55"/>
                    <a:pt x="1123" y="56"/>
                  </a:cubicBezTo>
                  <a:cubicBezTo>
                    <a:pt x="1116" y="59"/>
                    <a:pt x="1113" y="66"/>
                    <a:pt x="1117" y="73"/>
                  </a:cubicBezTo>
                  <a:cubicBezTo>
                    <a:pt x="1117" y="74"/>
                    <a:pt x="1118" y="74"/>
                    <a:pt x="1118" y="75"/>
                  </a:cubicBezTo>
                  <a:cubicBezTo>
                    <a:pt x="1118" y="75"/>
                    <a:pt x="1118" y="75"/>
                    <a:pt x="1118" y="75"/>
                  </a:cubicBezTo>
                  <a:cubicBezTo>
                    <a:pt x="1120" y="77"/>
                    <a:pt x="1041" y="158"/>
                    <a:pt x="1035" y="158"/>
                  </a:cubicBezTo>
                  <a:cubicBezTo>
                    <a:pt x="1034" y="158"/>
                    <a:pt x="1034" y="158"/>
                    <a:pt x="1034" y="158"/>
                  </a:cubicBezTo>
                  <a:cubicBezTo>
                    <a:pt x="1034" y="158"/>
                    <a:pt x="1034" y="158"/>
                    <a:pt x="1034" y="158"/>
                  </a:cubicBezTo>
                  <a:cubicBezTo>
                    <a:pt x="1031" y="155"/>
                    <a:pt x="1027" y="154"/>
                    <a:pt x="1023" y="153"/>
                  </a:cubicBezTo>
                  <a:cubicBezTo>
                    <a:pt x="1023" y="153"/>
                    <a:pt x="1023" y="153"/>
                    <a:pt x="1023" y="153"/>
                  </a:cubicBezTo>
                  <a:cubicBezTo>
                    <a:pt x="1018" y="153"/>
                    <a:pt x="1019" y="84"/>
                    <a:pt x="1022" y="84"/>
                  </a:cubicBezTo>
                  <a:cubicBezTo>
                    <a:pt x="1022" y="84"/>
                    <a:pt x="1022" y="84"/>
                    <a:pt x="1022" y="84"/>
                  </a:cubicBezTo>
                  <a:cubicBezTo>
                    <a:pt x="1028" y="83"/>
                    <a:pt x="1033" y="77"/>
                    <a:pt x="1033" y="71"/>
                  </a:cubicBezTo>
                  <a:cubicBezTo>
                    <a:pt x="1033" y="64"/>
                    <a:pt x="1027" y="58"/>
                    <a:pt x="1020" y="58"/>
                  </a:cubicBezTo>
                  <a:cubicBezTo>
                    <a:pt x="1015" y="58"/>
                    <a:pt x="1011" y="60"/>
                    <a:pt x="1009" y="63"/>
                  </a:cubicBezTo>
                  <a:cubicBezTo>
                    <a:pt x="1009" y="63"/>
                    <a:pt x="1009" y="63"/>
                    <a:pt x="1009" y="63"/>
                  </a:cubicBezTo>
                  <a:cubicBezTo>
                    <a:pt x="1009" y="63"/>
                    <a:pt x="1009" y="63"/>
                    <a:pt x="1008" y="63"/>
                  </a:cubicBezTo>
                  <a:cubicBezTo>
                    <a:pt x="1006" y="63"/>
                    <a:pt x="1000" y="60"/>
                    <a:pt x="994" y="57"/>
                  </a:cubicBezTo>
                  <a:cubicBezTo>
                    <a:pt x="1001" y="61"/>
                    <a:pt x="1008" y="65"/>
                    <a:pt x="1007" y="66"/>
                  </a:cubicBezTo>
                  <a:cubicBezTo>
                    <a:pt x="1007" y="66"/>
                    <a:pt x="1007" y="66"/>
                    <a:pt x="1007" y="66"/>
                  </a:cubicBezTo>
                  <a:cubicBezTo>
                    <a:pt x="1007" y="68"/>
                    <a:pt x="1006" y="69"/>
                    <a:pt x="1006" y="71"/>
                  </a:cubicBezTo>
                  <a:cubicBezTo>
                    <a:pt x="1006" y="76"/>
                    <a:pt x="1010" y="81"/>
                    <a:pt x="1014" y="83"/>
                  </a:cubicBezTo>
                  <a:cubicBezTo>
                    <a:pt x="1014" y="83"/>
                    <a:pt x="1014" y="83"/>
                    <a:pt x="1014" y="83"/>
                  </a:cubicBezTo>
                  <a:cubicBezTo>
                    <a:pt x="1016" y="83"/>
                    <a:pt x="1013" y="92"/>
                    <a:pt x="1011" y="101"/>
                  </a:cubicBezTo>
                  <a:cubicBezTo>
                    <a:pt x="1013" y="93"/>
                    <a:pt x="1016" y="85"/>
                    <a:pt x="1018" y="84"/>
                  </a:cubicBezTo>
                  <a:cubicBezTo>
                    <a:pt x="1020" y="87"/>
                    <a:pt x="1021" y="153"/>
                    <a:pt x="1016" y="153"/>
                  </a:cubicBezTo>
                  <a:cubicBezTo>
                    <a:pt x="1016" y="153"/>
                    <a:pt x="1016" y="153"/>
                    <a:pt x="1016" y="153"/>
                  </a:cubicBezTo>
                  <a:cubicBezTo>
                    <a:pt x="1016" y="153"/>
                    <a:pt x="1016" y="153"/>
                    <a:pt x="1016" y="153"/>
                  </a:cubicBezTo>
                  <a:cubicBezTo>
                    <a:pt x="1016" y="153"/>
                    <a:pt x="1016" y="153"/>
                    <a:pt x="1016" y="153"/>
                  </a:cubicBezTo>
                  <a:cubicBezTo>
                    <a:pt x="1014" y="153"/>
                    <a:pt x="1012" y="151"/>
                    <a:pt x="1011" y="147"/>
                  </a:cubicBezTo>
                  <a:cubicBezTo>
                    <a:pt x="1012" y="151"/>
                    <a:pt x="1012" y="154"/>
                    <a:pt x="1010" y="155"/>
                  </a:cubicBezTo>
                  <a:cubicBezTo>
                    <a:pt x="1004" y="157"/>
                    <a:pt x="999" y="162"/>
                    <a:pt x="996" y="168"/>
                  </a:cubicBezTo>
                  <a:cubicBezTo>
                    <a:pt x="996" y="168"/>
                    <a:pt x="996" y="168"/>
                    <a:pt x="994" y="168"/>
                  </a:cubicBezTo>
                  <a:cubicBezTo>
                    <a:pt x="978" y="168"/>
                    <a:pt x="874" y="142"/>
                    <a:pt x="874" y="139"/>
                  </a:cubicBezTo>
                  <a:cubicBezTo>
                    <a:pt x="874" y="139"/>
                    <a:pt x="874" y="139"/>
                    <a:pt x="874" y="139"/>
                  </a:cubicBezTo>
                  <a:cubicBezTo>
                    <a:pt x="874" y="138"/>
                    <a:pt x="874" y="138"/>
                    <a:pt x="874" y="137"/>
                  </a:cubicBezTo>
                  <a:cubicBezTo>
                    <a:pt x="874" y="127"/>
                    <a:pt x="866" y="119"/>
                    <a:pt x="855" y="119"/>
                  </a:cubicBezTo>
                  <a:cubicBezTo>
                    <a:pt x="853" y="119"/>
                    <a:pt x="850" y="120"/>
                    <a:pt x="848" y="121"/>
                  </a:cubicBezTo>
                  <a:cubicBezTo>
                    <a:pt x="848" y="120"/>
                    <a:pt x="848" y="120"/>
                    <a:pt x="848" y="120"/>
                  </a:cubicBezTo>
                  <a:cubicBezTo>
                    <a:pt x="848" y="121"/>
                    <a:pt x="848" y="121"/>
                    <a:pt x="848" y="121"/>
                  </a:cubicBezTo>
                  <a:cubicBezTo>
                    <a:pt x="843" y="121"/>
                    <a:pt x="786" y="34"/>
                    <a:pt x="789" y="31"/>
                  </a:cubicBezTo>
                  <a:cubicBezTo>
                    <a:pt x="789" y="31"/>
                    <a:pt x="789" y="31"/>
                    <a:pt x="789" y="31"/>
                  </a:cubicBezTo>
                  <a:cubicBezTo>
                    <a:pt x="791" y="31"/>
                    <a:pt x="800" y="38"/>
                    <a:pt x="810" y="45"/>
                  </a:cubicBezTo>
                  <a:cubicBezTo>
                    <a:pt x="800" y="37"/>
                    <a:pt x="791" y="29"/>
                    <a:pt x="792" y="28"/>
                  </a:cubicBezTo>
                  <a:cubicBezTo>
                    <a:pt x="792" y="28"/>
                    <a:pt x="792" y="28"/>
                    <a:pt x="792" y="28"/>
                  </a:cubicBezTo>
                  <a:cubicBezTo>
                    <a:pt x="794" y="25"/>
                    <a:pt x="795" y="22"/>
                    <a:pt x="795" y="18"/>
                  </a:cubicBezTo>
                  <a:cubicBezTo>
                    <a:pt x="795" y="8"/>
                    <a:pt x="787" y="0"/>
                    <a:pt x="776"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8" name="Freeform 20"/>
            <p:cNvSpPr>
              <a:spLocks/>
            </p:cNvSpPr>
            <p:nvPr/>
          </p:nvSpPr>
          <p:spPr bwMode="auto">
            <a:xfrm>
              <a:off x="6035675" y="2900363"/>
              <a:ext cx="52388" cy="41275"/>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cubicBezTo>
                    <a:pt x="9" y="4"/>
                    <a:pt x="4" y="8"/>
                    <a:pt x="0" y="11"/>
                  </a:cubicBezTo>
                  <a:cubicBezTo>
                    <a:pt x="4" y="8"/>
                    <a:pt x="10" y="4"/>
                    <a:pt x="14"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9" name="Freeform 21"/>
            <p:cNvSpPr>
              <a:spLocks noEditPoints="1"/>
            </p:cNvSpPr>
            <p:nvPr/>
          </p:nvSpPr>
          <p:spPr bwMode="auto">
            <a:xfrm>
              <a:off x="5457825" y="2247900"/>
              <a:ext cx="1231900" cy="652463"/>
            </a:xfrm>
            <a:custGeom>
              <a:avLst/>
              <a:gdLst>
                <a:gd name="T0" fmla="*/ 294 w 328"/>
                <a:gd name="T1" fmla="*/ 53 h 173"/>
                <a:gd name="T2" fmla="*/ 290 w 328"/>
                <a:gd name="T3" fmla="*/ 68 h 173"/>
                <a:gd name="T4" fmla="*/ 237 w 328"/>
                <a:gd name="T5" fmla="*/ 89 h 173"/>
                <a:gd name="T6" fmla="*/ 255 w 328"/>
                <a:gd name="T7" fmla="*/ 21 h 173"/>
                <a:gd name="T8" fmla="*/ 257 w 328"/>
                <a:gd name="T9" fmla="*/ 22 h 173"/>
                <a:gd name="T10" fmla="*/ 257 w 328"/>
                <a:gd name="T11" fmla="*/ 0 h 173"/>
                <a:gd name="T12" fmla="*/ 252 w 328"/>
                <a:gd name="T13" fmla="*/ 20 h 173"/>
                <a:gd name="T14" fmla="*/ 230 w 328"/>
                <a:gd name="T15" fmla="*/ 84 h 173"/>
                <a:gd name="T16" fmla="*/ 225 w 328"/>
                <a:gd name="T17" fmla="*/ 84 h 173"/>
                <a:gd name="T18" fmla="*/ 213 w 328"/>
                <a:gd name="T19" fmla="*/ 59 h 173"/>
                <a:gd name="T20" fmla="*/ 199 w 328"/>
                <a:gd name="T21" fmla="*/ 34 h 173"/>
                <a:gd name="T22" fmla="*/ 185 w 328"/>
                <a:gd name="T23" fmla="*/ 44 h 173"/>
                <a:gd name="T24" fmla="*/ 104 w 328"/>
                <a:gd name="T25" fmla="*/ 22 h 173"/>
                <a:gd name="T26" fmla="*/ 88 w 328"/>
                <a:gd name="T27" fmla="*/ 38 h 173"/>
                <a:gd name="T28" fmla="*/ 16 w 328"/>
                <a:gd name="T29" fmla="*/ 52 h 173"/>
                <a:gd name="T30" fmla="*/ 6 w 328"/>
                <a:gd name="T31" fmla="*/ 48 h 173"/>
                <a:gd name="T32" fmla="*/ 12 w 328"/>
                <a:gd name="T33" fmla="*/ 61 h 173"/>
                <a:gd name="T34" fmla="*/ 86 w 328"/>
                <a:gd name="T35" fmla="*/ 42 h 173"/>
                <a:gd name="T36" fmla="*/ 104 w 328"/>
                <a:gd name="T37" fmla="*/ 54 h 173"/>
                <a:gd name="T38" fmla="*/ 128 w 328"/>
                <a:gd name="T39" fmla="*/ 41 h 173"/>
                <a:gd name="T40" fmla="*/ 192 w 328"/>
                <a:gd name="T41" fmla="*/ 53 h 173"/>
                <a:gd name="T42" fmla="*/ 210 w 328"/>
                <a:gd name="T43" fmla="*/ 60 h 173"/>
                <a:gd name="T44" fmla="*/ 222 w 328"/>
                <a:gd name="T45" fmla="*/ 86 h 173"/>
                <a:gd name="T46" fmla="*/ 222 w 328"/>
                <a:gd name="T47" fmla="*/ 101 h 173"/>
                <a:gd name="T48" fmla="*/ 205 w 328"/>
                <a:gd name="T49" fmla="*/ 130 h 173"/>
                <a:gd name="T50" fmla="*/ 178 w 328"/>
                <a:gd name="T51" fmla="*/ 162 h 173"/>
                <a:gd name="T52" fmla="*/ 181 w 328"/>
                <a:gd name="T53" fmla="*/ 166 h 173"/>
                <a:gd name="T54" fmla="*/ 198 w 328"/>
                <a:gd name="T55" fmla="*/ 172 h 173"/>
                <a:gd name="T56" fmla="*/ 226 w 328"/>
                <a:gd name="T57" fmla="*/ 150 h 173"/>
                <a:gd name="T58" fmla="*/ 211 w 328"/>
                <a:gd name="T59" fmla="*/ 132 h 173"/>
                <a:gd name="T60" fmla="*/ 225 w 328"/>
                <a:gd name="T61" fmla="*/ 103 h 173"/>
                <a:gd name="T62" fmla="*/ 230 w 328"/>
                <a:gd name="T63" fmla="*/ 103 h 173"/>
                <a:gd name="T64" fmla="*/ 244 w 328"/>
                <a:gd name="T65" fmla="*/ 146 h 173"/>
                <a:gd name="T66" fmla="*/ 242 w 328"/>
                <a:gd name="T67" fmla="*/ 149 h 173"/>
                <a:gd name="T68" fmla="*/ 242 w 328"/>
                <a:gd name="T69" fmla="*/ 151 h 173"/>
                <a:gd name="T70" fmla="*/ 248 w 328"/>
                <a:gd name="T71" fmla="*/ 154 h 173"/>
                <a:gd name="T72" fmla="*/ 250 w 328"/>
                <a:gd name="T73" fmla="*/ 153 h 173"/>
                <a:gd name="T74" fmla="*/ 251 w 328"/>
                <a:gd name="T75" fmla="*/ 152 h 173"/>
                <a:gd name="T76" fmla="*/ 246 w 328"/>
                <a:gd name="T77" fmla="*/ 146 h 173"/>
                <a:gd name="T78" fmla="*/ 232 w 328"/>
                <a:gd name="T79" fmla="*/ 102 h 173"/>
                <a:gd name="T80" fmla="*/ 238 w 328"/>
                <a:gd name="T81" fmla="*/ 92 h 173"/>
                <a:gd name="T82" fmla="*/ 292 w 328"/>
                <a:gd name="T83" fmla="*/ 72 h 173"/>
                <a:gd name="T84" fmla="*/ 324 w 328"/>
                <a:gd name="T85" fmla="*/ 57 h 173"/>
                <a:gd name="T86" fmla="*/ 297 w 328"/>
                <a:gd name="T87" fmla="*/ 50 h 173"/>
                <a:gd name="T88" fmla="*/ 266 w 328"/>
                <a:gd name="T89" fmla="*/ 17 h 173"/>
                <a:gd name="T90" fmla="*/ 257 w 328"/>
                <a:gd name="T9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173">
                  <a:moveTo>
                    <a:pt x="263" y="20"/>
                  </a:moveTo>
                  <a:cubicBezTo>
                    <a:pt x="263" y="20"/>
                    <a:pt x="263" y="20"/>
                    <a:pt x="263" y="20"/>
                  </a:cubicBezTo>
                  <a:cubicBezTo>
                    <a:pt x="266" y="20"/>
                    <a:pt x="296" y="51"/>
                    <a:pt x="294" y="53"/>
                  </a:cubicBezTo>
                  <a:cubicBezTo>
                    <a:pt x="294" y="53"/>
                    <a:pt x="294" y="53"/>
                    <a:pt x="294" y="53"/>
                  </a:cubicBezTo>
                  <a:cubicBezTo>
                    <a:pt x="290" y="57"/>
                    <a:pt x="289" y="63"/>
                    <a:pt x="290" y="68"/>
                  </a:cubicBezTo>
                  <a:cubicBezTo>
                    <a:pt x="290" y="68"/>
                    <a:pt x="290" y="68"/>
                    <a:pt x="290" y="68"/>
                  </a:cubicBezTo>
                  <a:cubicBezTo>
                    <a:pt x="291" y="71"/>
                    <a:pt x="242" y="89"/>
                    <a:pt x="237" y="89"/>
                  </a:cubicBezTo>
                  <a:cubicBezTo>
                    <a:pt x="237" y="89"/>
                    <a:pt x="237" y="89"/>
                    <a:pt x="237" y="89"/>
                  </a:cubicBezTo>
                  <a:cubicBezTo>
                    <a:pt x="237" y="89"/>
                    <a:pt x="237" y="89"/>
                    <a:pt x="237" y="89"/>
                  </a:cubicBezTo>
                  <a:cubicBezTo>
                    <a:pt x="236" y="87"/>
                    <a:pt x="234" y="86"/>
                    <a:pt x="233" y="85"/>
                  </a:cubicBezTo>
                  <a:cubicBezTo>
                    <a:pt x="233" y="85"/>
                    <a:pt x="233" y="85"/>
                    <a:pt x="233" y="85"/>
                  </a:cubicBezTo>
                  <a:cubicBezTo>
                    <a:pt x="231" y="84"/>
                    <a:pt x="253" y="21"/>
                    <a:pt x="255" y="21"/>
                  </a:cubicBezTo>
                  <a:cubicBezTo>
                    <a:pt x="255" y="21"/>
                    <a:pt x="255" y="21"/>
                    <a:pt x="255" y="21"/>
                  </a:cubicBezTo>
                  <a:cubicBezTo>
                    <a:pt x="255" y="21"/>
                    <a:pt x="255" y="21"/>
                    <a:pt x="255" y="21"/>
                  </a:cubicBezTo>
                  <a:cubicBezTo>
                    <a:pt x="256" y="21"/>
                    <a:pt x="256" y="22"/>
                    <a:pt x="257" y="22"/>
                  </a:cubicBezTo>
                  <a:cubicBezTo>
                    <a:pt x="259" y="22"/>
                    <a:pt x="261" y="21"/>
                    <a:pt x="263" y="20"/>
                  </a:cubicBezTo>
                  <a:cubicBezTo>
                    <a:pt x="263" y="20"/>
                    <a:pt x="263" y="20"/>
                    <a:pt x="263" y="20"/>
                  </a:cubicBezTo>
                  <a:moveTo>
                    <a:pt x="257" y="0"/>
                  </a:moveTo>
                  <a:cubicBezTo>
                    <a:pt x="251" y="0"/>
                    <a:pt x="246" y="5"/>
                    <a:pt x="246" y="11"/>
                  </a:cubicBezTo>
                  <a:cubicBezTo>
                    <a:pt x="246" y="15"/>
                    <a:pt x="248" y="19"/>
                    <a:pt x="252" y="20"/>
                  </a:cubicBezTo>
                  <a:cubicBezTo>
                    <a:pt x="252" y="20"/>
                    <a:pt x="252" y="20"/>
                    <a:pt x="252" y="20"/>
                  </a:cubicBezTo>
                  <a:cubicBezTo>
                    <a:pt x="254" y="21"/>
                    <a:pt x="232" y="84"/>
                    <a:pt x="230" y="84"/>
                  </a:cubicBezTo>
                  <a:cubicBezTo>
                    <a:pt x="230" y="84"/>
                    <a:pt x="230" y="84"/>
                    <a:pt x="230" y="84"/>
                  </a:cubicBezTo>
                  <a:cubicBezTo>
                    <a:pt x="230" y="84"/>
                    <a:pt x="230" y="84"/>
                    <a:pt x="230" y="84"/>
                  </a:cubicBezTo>
                  <a:cubicBezTo>
                    <a:pt x="229" y="84"/>
                    <a:pt x="229" y="84"/>
                    <a:pt x="228" y="84"/>
                  </a:cubicBezTo>
                  <a:cubicBezTo>
                    <a:pt x="227" y="84"/>
                    <a:pt x="226" y="84"/>
                    <a:pt x="225" y="85"/>
                  </a:cubicBezTo>
                  <a:cubicBezTo>
                    <a:pt x="225" y="84"/>
                    <a:pt x="225" y="84"/>
                    <a:pt x="225" y="84"/>
                  </a:cubicBezTo>
                  <a:cubicBezTo>
                    <a:pt x="225" y="85"/>
                    <a:pt x="225" y="85"/>
                    <a:pt x="225" y="85"/>
                  </a:cubicBezTo>
                  <a:cubicBezTo>
                    <a:pt x="223" y="85"/>
                    <a:pt x="211" y="60"/>
                    <a:pt x="214" y="59"/>
                  </a:cubicBezTo>
                  <a:cubicBezTo>
                    <a:pt x="213" y="59"/>
                    <a:pt x="213" y="59"/>
                    <a:pt x="213" y="59"/>
                  </a:cubicBezTo>
                  <a:cubicBezTo>
                    <a:pt x="220" y="55"/>
                    <a:pt x="222" y="47"/>
                    <a:pt x="219" y="41"/>
                  </a:cubicBezTo>
                  <a:cubicBezTo>
                    <a:pt x="216" y="36"/>
                    <a:pt x="211" y="33"/>
                    <a:pt x="205" y="33"/>
                  </a:cubicBezTo>
                  <a:cubicBezTo>
                    <a:pt x="203" y="33"/>
                    <a:pt x="201" y="33"/>
                    <a:pt x="199" y="34"/>
                  </a:cubicBezTo>
                  <a:cubicBezTo>
                    <a:pt x="195" y="36"/>
                    <a:pt x="192" y="39"/>
                    <a:pt x="191" y="43"/>
                  </a:cubicBezTo>
                  <a:cubicBezTo>
                    <a:pt x="191" y="43"/>
                    <a:pt x="191" y="43"/>
                    <a:pt x="191" y="43"/>
                  </a:cubicBezTo>
                  <a:cubicBezTo>
                    <a:pt x="191" y="44"/>
                    <a:pt x="189" y="44"/>
                    <a:pt x="185" y="44"/>
                  </a:cubicBezTo>
                  <a:cubicBezTo>
                    <a:pt x="168" y="44"/>
                    <a:pt x="121" y="39"/>
                    <a:pt x="121" y="37"/>
                  </a:cubicBezTo>
                  <a:cubicBezTo>
                    <a:pt x="121" y="37"/>
                    <a:pt x="121" y="37"/>
                    <a:pt x="121" y="37"/>
                  </a:cubicBezTo>
                  <a:cubicBezTo>
                    <a:pt x="121" y="28"/>
                    <a:pt x="114" y="22"/>
                    <a:pt x="104" y="22"/>
                  </a:cubicBezTo>
                  <a:cubicBezTo>
                    <a:pt x="95" y="22"/>
                    <a:pt x="88" y="29"/>
                    <a:pt x="88" y="38"/>
                  </a:cubicBezTo>
                  <a:cubicBezTo>
                    <a:pt x="88" y="38"/>
                    <a:pt x="88" y="38"/>
                    <a:pt x="88" y="38"/>
                  </a:cubicBezTo>
                  <a:cubicBezTo>
                    <a:pt x="88" y="38"/>
                    <a:pt x="88" y="38"/>
                    <a:pt x="88" y="38"/>
                  </a:cubicBezTo>
                  <a:cubicBezTo>
                    <a:pt x="88" y="41"/>
                    <a:pt x="24" y="52"/>
                    <a:pt x="17" y="52"/>
                  </a:cubicBezTo>
                  <a:cubicBezTo>
                    <a:pt x="16" y="52"/>
                    <a:pt x="16" y="52"/>
                    <a:pt x="16" y="52"/>
                  </a:cubicBezTo>
                  <a:cubicBezTo>
                    <a:pt x="16" y="52"/>
                    <a:pt x="16" y="52"/>
                    <a:pt x="16" y="52"/>
                  </a:cubicBezTo>
                  <a:cubicBezTo>
                    <a:pt x="16" y="51"/>
                    <a:pt x="16" y="51"/>
                    <a:pt x="16" y="51"/>
                  </a:cubicBezTo>
                  <a:cubicBezTo>
                    <a:pt x="14" y="48"/>
                    <a:pt x="12" y="47"/>
                    <a:pt x="9" y="47"/>
                  </a:cubicBezTo>
                  <a:cubicBezTo>
                    <a:pt x="8" y="47"/>
                    <a:pt x="7" y="47"/>
                    <a:pt x="6" y="48"/>
                  </a:cubicBezTo>
                  <a:cubicBezTo>
                    <a:pt x="2" y="49"/>
                    <a:pt x="0" y="54"/>
                    <a:pt x="2" y="57"/>
                  </a:cubicBezTo>
                  <a:cubicBezTo>
                    <a:pt x="3" y="60"/>
                    <a:pt x="6" y="61"/>
                    <a:pt x="9" y="61"/>
                  </a:cubicBezTo>
                  <a:cubicBezTo>
                    <a:pt x="10" y="61"/>
                    <a:pt x="11" y="61"/>
                    <a:pt x="12" y="61"/>
                  </a:cubicBezTo>
                  <a:cubicBezTo>
                    <a:pt x="15" y="60"/>
                    <a:pt x="17" y="57"/>
                    <a:pt x="16" y="54"/>
                  </a:cubicBezTo>
                  <a:cubicBezTo>
                    <a:pt x="16" y="54"/>
                    <a:pt x="16" y="54"/>
                    <a:pt x="16" y="54"/>
                  </a:cubicBezTo>
                  <a:cubicBezTo>
                    <a:pt x="16" y="53"/>
                    <a:pt x="73" y="42"/>
                    <a:pt x="86" y="42"/>
                  </a:cubicBezTo>
                  <a:cubicBezTo>
                    <a:pt x="87" y="42"/>
                    <a:pt x="88" y="43"/>
                    <a:pt x="89" y="43"/>
                  </a:cubicBezTo>
                  <a:cubicBezTo>
                    <a:pt x="88" y="43"/>
                    <a:pt x="88" y="43"/>
                    <a:pt x="88" y="43"/>
                  </a:cubicBezTo>
                  <a:cubicBezTo>
                    <a:pt x="91" y="49"/>
                    <a:pt x="97" y="54"/>
                    <a:pt x="104" y="54"/>
                  </a:cubicBezTo>
                  <a:cubicBezTo>
                    <a:pt x="112" y="54"/>
                    <a:pt x="119" y="49"/>
                    <a:pt x="121" y="42"/>
                  </a:cubicBezTo>
                  <a:cubicBezTo>
                    <a:pt x="121" y="42"/>
                    <a:pt x="121" y="42"/>
                    <a:pt x="121" y="42"/>
                  </a:cubicBezTo>
                  <a:cubicBezTo>
                    <a:pt x="121" y="41"/>
                    <a:pt x="124" y="41"/>
                    <a:pt x="128" y="41"/>
                  </a:cubicBezTo>
                  <a:cubicBezTo>
                    <a:pt x="145" y="41"/>
                    <a:pt x="191" y="46"/>
                    <a:pt x="191" y="48"/>
                  </a:cubicBezTo>
                  <a:cubicBezTo>
                    <a:pt x="191" y="48"/>
                    <a:pt x="191" y="48"/>
                    <a:pt x="191" y="48"/>
                  </a:cubicBezTo>
                  <a:cubicBezTo>
                    <a:pt x="191" y="49"/>
                    <a:pt x="191" y="51"/>
                    <a:pt x="192" y="53"/>
                  </a:cubicBezTo>
                  <a:cubicBezTo>
                    <a:pt x="195" y="58"/>
                    <a:pt x="200" y="61"/>
                    <a:pt x="205" y="61"/>
                  </a:cubicBezTo>
                  <a:cubicBezTo>
                    <a:pt x="207" y="61"/>
                    <a:pt x="208" y="61"/>
                    <a:pt x="210" y="60"/>
                  </a:cubicBezTo>
                  <a:cubicBezTo>
                    <a:pt x="210" y="60"/>
                    <a:pt x="210" y="60"/>
                    <a:pt x="210" y="60"/>
                  </a:cubicBezTo>
                  <a:cubicBezTo>
                    <a:pt x="210" y="60"/>
                    <a:pt x="210" y="60"/>
                    <a:pt x="210" y="60"/>
                  </a:cubicBezTo>
                  <a:cubicBezTo>
                    <a:pt x="213" y="60"/>
                    <a:pt x="224" y="85"/>
                    <a:pt x="222" y="86"/>
                  </a:cubicBezTo>
                  <a:cubicBezTo>
                    <a:pt x="222" y="86"/>
                    <a:pt x="222" y="86"/>
                    <a:pt x="222" y="86"/>
                  </a:cubicBezTo>
                  <a:cubicBezTo>
                    <a:pt x="218" y="88"/>
                    <a:pt x="217" y="94"/>
                    <a:pt x="219" y="98"/>
                  </a:cubicBezTo>
                  <a:cubicBezTo>
                    <a:pt x="220" y="99"/>
                    <a:pt x="221" y="101"/>
                    <a:pt x="222" y="101"/>
                  </a:cubicBezTo>
                  <a:cubicBezTo>
                    <a:pt x="222" y="101"/>
                    <a:pt x="222" y="101"/>
                    <a:pt x="222" y="101"/>
                  </a:cubicBezTo>
                  <a:cubicBezTo>
                    <a:pt x="223" y="103"/>
                    <a:pt x="210" y="130"/>
                    <a:pt x="206" y="130"/>
                  </a:cubicBezTo>
                  <a:cubicBezTo>
                    <a:pt x="206" y="130"/>
                    <a:pt x="205" y="130"/>
                    <a:pt x="205" y="130"/>
                  </a:cubicBezTo>
                  <a:cubicBezTo>
                    <a:pt x="205" y="130"/>
                    <a:pt x="205" y="130"/>
                    <a:pt x="205" y="130"/>
                  </a:cubicBezTo>
                  <a:cubicBezTo>
                    <a:pt x="203" y="129"/>
                    <a:pt x="201" y="128"/>
                    <a:pt x="198" y="128"/>
                  </a:cubicBezTo>
                  <a:cubicBezTo>
                    <a:pt x="185" y="128"/>
                    <a:pt x="175" y="138"/>
                    <a:pt x="175" y="150"/>
                  </a:cubicBezTo>
                  <a:cubicBezTo>
                    <a:pt x="175" y="155"/>
                    <a:pt x="176" y="159"/>
                    <a:pt x="178" y="162"/>
                  </a:cubicBezTo>
                  <a:cubicBezTo>
                    <a:pt x="178" y="162"/>
                    <a:pt x="178" y="162"/>
                    <a:pt x="178" y="162"/>
                  </a:cubicBezTo>
                  <a:cubicBezTo>
                    <a:pt x="179" y="163"/>
                    <a:pt x="174" y="168"/>
                    <a:pt x="168" y="173"/>
                  </a:cubicBezTo>
                  <a:cubicBezTo>
                    <a:pt x="174" y="169"/>
                    <a:pt x="179" y="166"/>
                    <a:pt x="181" y="166"/>
                  </a:cubicBezTo>
                  <a:cubicBezTo>
                    <a:pt x="182" y="166"/>
                    <a:pt x="182" y="166"/>
                    <a:pt x="182" y="166"/>
                  </a:cubicBezTo>
                  <a:cubicBezTo>
                    <a:pt x="182" y="166"/>
                    <a:pt x="182" y="166"/>
                    <a:pt x="182" y="166"/>
                  </a:cubicBezTo>
                  <a:cubicBezTo>
                    <a:pt x="186" y="170"/>
                    <a:pt x="192" y="172"/>
                    <a:pt x="198" y="172"/>
                  </a:cubicBezTo>
                  <a:cubicBezTo>
                    <a:pt x="210" y="172"/>
                    <a:pt x="219" y="164"/>
                    <a:pt x="221" y="153"/>
                  </a:cubicBezTo>
                  <a:cubicBezTo>
                    <a:pt x="221" y="153"/>
                    <a:pt x="221" y="153"/>
                    <a:pt x="221" y="153"/>
                  </a:cubicBezTo>
                  <a:cubicBezTo>
                    <a:pt x="221" y="151"/>
                    <a:pt x="223" y="151"/>
                    <a:pt x="226" y="150"/>
                  </a:cubicBezTo>
                  <a:cubicBezTo>
                    <a:pt x="223" y="150"/>
                    <a:pt x="221" y="149"/>
                    <a:pt x="221" y="148"/>
                  </a:cubicBezTo>
                  <a:cubicBezTo>
                    <a:pt x="221" y="148"/>
                    <a:pt x="221" y="148"/>
                    <a:pt x="221" y="148"/>
                  </a:cubicBezTo>
                  <a:cubicBezTo>
                    <a:pt x="220" y="141"/>
                    <a:pt x="216" y="136"/>
                    <a:pt x="211" y="132"/>
                  </a:cubicBezTo>
                  <a:cubicBezTo>
                    <a:pt x="211" y="132"/>
                    <a:pt x="211" y="132"/>
                    <a:pt x="211" y="132"/>
                  </a:cubicBezTo>
                  <a:cubicBezTo>
                    <a:pt x="207" y="130"/>
                    <a:pt x="223" y="103"/>
                    <a:pt x="225" y="103"/>
                  </a:cubicBezTo>
                  <a:cubicBezTo>
                    <a:pt x="225" y="103"/>
                    <a:pt x="225" y="103"/>
                    <a:pt x="225" y="103"/>
                  </a:cubicBezTo>
                  <a:cubicBezTo>
                    <a:pt x="225" y="103"/>
                    <a:pt x="225" y="103"/>
                    <a:pt x="225" y="103"/>
                  </a:cubicBezTo>
                  <a:cubicBezTo>
                    <a:pt x="226" y="103"/>
                    <a:pt x="227" y="103"/>
                    <a:pt x="228" y="103"/>
                  </a:cubicBezTo>
                  <a:cubicBezTo>
                    <a:pt x="229" y="103"/>
                    <a:pt x="229" y="103"/>
                    <a:pt x="230" y="103"/>
                  </a:cubicBezTo>
                  <a:cubicBezTo>
                    <a:pt x="230" y="103"/>
                    <a:pt x="230" y="103"/>
                    <a:pt x="230" y="103"/>
                  </a:cubicBezTo>
                  <a:cubicBezTo>
                    <a:pt x="230" y="103"/>
                    <a:pt x="230" y="103"/>
                    <a:pt x="230" y="103"/>
                  </a:cubicBezTo>
                  <a:cubicBezTo>
                    <a:pt x="232" y="103"/>
                    <a:pt x="245" y="146"/>
                    <a:pt x="244" y="146"/>
                  </a:cubicBezTo>
                  <a:cubicBezTo>
                    <a:pt x="244" y="146"/>
                    <a:pt x="244" y="146"/>
                    <a:pt x="244" y="146"/>
                  </a:cubicBezTo>
                  <a:cubicBezTo>
                    <a:pt x="243" y="147"/>
                    <a:pt x="242" y="148"/>
                    <a:pt x="242" y="150"/>
                  </a:cubicBezTo>
                  <a:cubicBezTo>
                    <a:pt x="242" y="149"/>
                    <a:pt x="242" y="149"/>
                    <a:pt x="242" y="149"/>
                  </a:cubicBezTo>
                  <a:cubicBezTo>
                    <a:pt x="242" y="150"/>
                    <a:pt x="240" y="150"/>
                    <a:pt x="237" y="150"/>
                  </a:cubicBezTo>
                  <a:cubicBezTo>
                    <a:pt x="240" y="151"/>
                    <a:pt x="242" y="151"/>
                    <a:pt x="242" y="151"/>
                  </a:cubicBezTo>
                  <a:cubicBezTo>
                    <a:pt x="242" y="151"/>
                    <a:pt x="242" y="151"/>
                    <a:pt x="242" y="151"/>
                  </a:cubicBezTo>
                  <a:cubicBezTo>
                    <a:pt x="242" y="151"/>
                    <a:pt x="242" y="152"/>
                    <a:pt x="242" y="152"/>
                  </a:cubicBezTo>
                  <a:cubicBezTo>
                    <a:pt x="243" y="154"/>
                    <a:pt x="245" y="155"/>
                    <a:pt x="246" y="155"/>
                  </a:cubicBezTo>
                  <a:cubicBezTo>
                    <a:pt x="247" y="155"/>
                    <a:pt x="248" y="155"/>
                    <a:pt x="248" y="154"/>
                  </a:cubicBezTo>
                  <a:cubicBezTo>
                    <a:pt x="249" y="154"/>
                    <a:pt x="250" y="154"/>
                    <a:pt x="250" y="153"/>
                  </a:cubicBezTo>
                  <a:cubicBezTo>
                    <a:pt x="250" y="153"/>
                    <a:pt x="250" y="153"/>
                    <a:pt x="250" y="153"/>
                  </a:cubicBezTo>
                  <a:cubicBezTo>
                    <a:pt x="250" y="153"/>
                    <a:pt x="250" y="153"/>
                    <a:pt x="250" y="153"/>
                  </a:cubicBezTo>
                  <a:cubicBezTo>
                    <a:pt x="251" y="153"/>
                    <a:pt x="256" y="155"/>
                    <a:pt x="262" y="158"/>
                  </a:cubicBezTo>
                  <a:cubicBezTo>
                    <a:pt x="256" y="155"/>
                    <a:pt x="251" y="152"/>
                    <a:pt x="251" y="152"/>
                  </a:cubicBezTo>
                  <a:cubicBezTo>
                    <a:pt x="251" y="152"/>
                    <a:pt x="251" y="152"/>
                    <a:pt x="251" y="152"/>
                  </a:cubicBezTo>
                  <a:cubicBezTo>
                    <a:pt x="251" y="151"/>
                    <a:pt x="251" y="150"/>
                    <a:pt x="251" y="148"/>
                  </a:cubicBezTo>
                  <a:cubicBezTo>
                    <a:pt x="250" y="147"/>
                    <a:pt x="248" y="146"/>
                    <a:pt x="246" y="146"/>
                  </a:cubicBezTo>
                  <a:cubicBezTo>
                    <a:pt x="246" y="146"/>
                    <a:pt x="246" y="146"/>
                    <a:pt x="246" y="146"/>
                  </a:cubicBezTo>
                  <a:cubicBezTo>
                    <a:pt x="246" y="146"/>
                    <a:pt x="246" y="146"/>
                    <a:pt x="246" y="146"/>
                  </a:cubicBezTo>
                  <a:cubicBezTo>
                    <a:pt x="246" y="146"/>
                    <a:pt x="246" y="146"/>
                    <a:pt x="246" y="146"/>
                  </a:cubicBezTo>
                  <a:cubicBezTo>
                    <a:pt x="245" y="146"/>
                    <a:pt x="231" y="103"/>
                    <a:pt x="232" y="102"/>
                  </a:cubicBezTo>
                  <a:cubicBezTo>
                    <a:pt x="232" y="102"/>
                    <a:pt x="232" y="102"/>
                    <a:pt x="232" y="102"/>
                  </a:cubicBezTo>
                  <a:cubicBezTo>
                    <a:pt x="237" y="101"/>
                    <a:pt x="239" y="96"/>
                    <a:pt x="238" y="92"/>
                  </a:cubicBezTo>
                  <a:cubicBezTo>
                    <a:pt x="238" y="92"/>
                    <a:pt x="238" y="92"/>
                    <a:pt x="238" y="92"/>
                  </a:cubicBezTo>
                  <a:cubicBezTo>
                    <a:pt x="237" y="90"/>
                    <a:pt x="283" y="72"/>
                    <a:pt x="291" y="72"/>
                  </a:cubicBezTo>
                  <a:cubicBezTo>
                    <a:pt x="292" y="72"/>
                    <a:pt x="292" y="72"/>
                    <a:pt x="292" y="73"/>
                  </a:cubicBezTo>
                  <a:cubicBezTo>
                    <a:pt x="292" y="72"/>
                    <a:pt x="292" y="72"/>
                    <a:pt x="292" y="72"/>
                  </a:cubicBezTo>
                  <a:cubicBezTo>
                    <a:pt x="295" y="78"/>
                    <a:pt x="301" y="81"/>
                    <a:pt x="308" y="81"/>
                  </a:cubicBezTo>
                  <a:cubicBezTo>
                    <a:pt x="310" y="81"/>
                    <a:pt x="313" y="81"/>
                    <a:pt x="315" y="80"/>
                  </a:cubicBezTo>
                  <a:cubicBezTo>
                    <a:pt x="324" y="76"/>
                    <a:pt x="328" y="65"/>
                    <a:pt x="324" y="57"/>
                  </a:cubicBezTo>
                  <a:cubicBezTo>
                    <a:pt x="321" y="51"/>
                    <a:pt x="314" y="47"/>
                    <a:pt x="308" y="47"/>
                  </a:cubicBezTo>
                  <a:cubicBezTo>
                    <a:pt x="305" y="47"/>
                    <a:pt x="302" y="47"/>
                    <a:pt x="300" y="49"/>
                  </a:cubicBezTo>
                  <a:cubicBezTo>
                    <a:pt x="299" y="49"/>
                    <a:pt x="298" y="49"/>
                    <a:pt x="297" y="50"/>
                  </a:cubicBezTo>
                  <a:cubicBezTo>
                    <a:pt x="298" y="50"/>
                    <a:pt x="298" y="50"/>
                    <a:pt x="298" y="50"/>
                  </a:cubicBezTo>
                  <a:cubicBezTo>
                    <a:pt x="298" y="50"/>
                    <a:pt x="297" y="50"/>
                    <a:pt x="297" y="50"/>
                  </a:cubicBezTo>
                  <a:cubicBezTo>
                    <a:pt x="293" y="50"/>
                    <a:pt x="264" y="19"/>
                    <a:pt x="266" y="17"/>
                  </a:cubicBezTo>
                  <a:cubicBezTo>
                    <a:pt x="266" y="17"/>
                    <a:pt x="266" y="17"/>
                    <a:pt x="266" y="17"/>
                  </a:cubicBezTo>
                  <a:cubicBezTo>
                    <a:pt x="267" y="16"/>
                    <a:pt x="268" y="13"/>
                    <a:pt x="268" y="11"/>
                  </a:cubicBezTo>
                  <a:cubicBezTo>
                    <a:pt x="268" y="5"/>
                    <a:pt x="263" y="0"/>
                    <a:pt x="257"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0" name="Freeform 22"/>
            <p:cNvSpPr>
              <a:spLocks/>
            </p:cNvSpPr>
            <p:nvPr/>
          </p:nvSpPr>
          <p:spPr bwMode="auto">
            <a:xfrm>
              <a:off x="7312025" y="3098800"/>
              <a:ext cx="12700" cy="26988"/>
            </a:xfrm>
            <a:custGeom>
              <a:avLst/>
              <a:gdLst>
                <a:gd name="T0" fmla="*/ 0 w 3"/>
                <a:gd name="T1" fmla="*/ 0 h 7"/>
                <a:gd name="T2" fmla="*/ 3 w 3"/>
                <a:gd name="T3" fmla="*/ 7 h 7"/>
                <a:gd name="T4" fmla="*/ 0 w 3"/>
                <a:gd name="T5" fmla="*/ 0 h 7"/>
              </a:gdLst>
              <a:ahLst/>
              <a:cxnLst>
                <a:cxn ang="0">
                  <a:pos x="T0" y="T1"/>
                </a:cxn>
                <a:cxn ang="0">
                  <a:pos x="T2" y="T3"/>
                </a:cxn>
                <a:cxn ang="0">
                  <a:pos x="T4" y="T5"/>
                </a:cxn>
              </a:cxnLst>
              <a:rect l="0" t="0" r="r" b="b"/>
              <a:pathLst>
                <a:path w="3" h="7">
                  <a:moveTo>
                    <a:pt x="0" y="0"/>
                  </a:moveTo>
                  <a:cubicBezTo>
                    <a:pt x="1" y="2"/>
                    <a:pt x="2" y="4"/>
                    <a:pt x="3" y="7"/>
                  </a:cubicBezTo>
                  <a:cubicBezTo>
                    <a:pt x="2" y="4"/>
                    <a:pt x="1" y="2"/>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1" name="Freeform 23"/>
            <p:cNvSpPr>
              <a:spLocks/>
            </p:cNvSpPr>
            <p:nvPr/>
          </p:nvSpPr>
          <p:spPr bwMode="auto">
            <a:xfrm>
              <a:off x="6307138" y="2813050"/>
              <a:ext cx="41275" cy="3175"/>
            </a:xfrm>
            <a:custGeom>
              <a:avLst/>
              <a:gdLst>
                <a:gd name="T0" fmla="*/ 5 w 11"/>
                <a:gd name="T1" fmla="*/ 0 h 1"/>
                <a:gd name="T2" fmla="*/ 0 w 11"/>
                <a:gd name="T3" fmla="*/ 0 h 1"/>
                <a:gd name="T4" fmla="*/ 5 w 11"/>
                <a:gd name="T5" fmla="*/ 1 h 1"/>
                <a:gd name="T6" fmla="*/ 11 w 11"/>
                <a:gd name="T7" fmla="*/ 0 h 1"/>
                <a:gd name="T8" fmla="*/ 5 w 11"/>
                <a:gd name="T9" fmla="*/ 0 h 1"/>
              </a:gdLst>
              <a:ahLst/>
              <a:cxnLst>
                <a:cxn ang="0">
                  <a:pos x="T0" y="T1"/>
                </a:cxn>
                <a:cxn ang="0">
                  <a:pos x="T2" y="T3"/>
                </a:cxn>
                <a:cxn ang="0">
                  <a:pos x="T4" y="T5"/>
                </a:cxn>
                <a:cxn ang="0">
                  <a:pos x="T6" y="T7"/>
                </a:cxn>
                <a:cxn ang="0">
                  <a:pos x="T8" y="T9"/>
                </a:cxn>
              </a:cxnLst>
              <a:rect l="0" t="0" r="r" b="b"/>
              <a:pathLst>
                <a:path w="11" h="1">
                  <a:moveTo>
                    <a:pt x="5" y="0"/>
                  </a:moveTo>
                  <a:cubicBezTo>
                    <a:pt x="4" y="0"/>
                    <a:pt x="2" y="0"/>
                    <a:pt x="0" y="0"/>
                  </a:cubicBezTo>
                  <a:cubicBezTo>
                    <a:pt x="2" y="1"/>
                    <a:pt x="4" y="1"/>
                    <a:pt x="5" y="1"/>
                  </a:cubicBezTo>
                  <a:cubicBezTo>
                    <a:pt x="7" y="1"/>
                    <a:pt x="9" y="0"/>
                    <a:pt x="11" y="0"/>
                  </a:cubicBezTo>
                  <a:cubicBezTo>
                    <a:pt x="9" y="0"/>
                    <a:pt x="7" y="0"/>
                    <a:pt x="5"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2" name="Freeform 24"/>
            <p:cNvSpPr>
              <a:spLocks/>
            </p:cNvSpPr>
            <p:nvPr/>
          </p:nvSpPr>
          <p:spPr bwMode="auto">
            <a:xfrm>
              <a:off x="6442075" y="2843213"/>
              <a:ext cx="11113" cy="7938"/>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2"/>
                    <a:pt x="1"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3" name="Freeform 25"/>
            <p:cNvSpPr>
              <a:spLocks/>
            </p:cNvSpPr>
            <p:nvPr/>
          </p:nvSpPr>
          <p:spPr bwMode="auto">
            <a:xfrm>
              <a:off x="6502400" y="3136900"/>
              <a:ext cx="14288" cy="52388"/>
            </a:xfrm>
            <a:custGeom>
              <a:avLst/>
              <a:gdLst>
                <a:gd name="T0" fmla="*/ 0 w 4"/>
                <a:gd name="T1" fmla="*/ 0 h 14"/>
                <a:gd name="T2" fmla="*/ 4 w 4"/>
                <a:gd name="T3" fmla="*/ 14 h 14"/>
                <a:gd name="T4" fmla="*/ 0 w 4"/>
                <a:gd name="T5" fmla="*/ 0 h 14"/>
              </a:gdLst>
              <a:ahLst/>
              <a:cxnLst>
                <a:cxn ang="0">
                  <a:pos x="T0" y="T1"/>
                </a:cxn>
                <a:cxn ang="0">
                  <a:pos x="T2" y="T3"/>
                </a:cxn>
                <a:cxn ang="0">
                  <a:pos x="T4" y="T5"/>
                </a:cxn>
              </a:cxnLst>
              <a:rect l="0" t="0" r="r" b="b"/>
              <a:pathLst>
                <a:path w="4" h="14">
                  <a:moveTo>
                    <a:pt x="0" y="0"/>
                  </a:moveTo>
                  <a:cubicBezTo>
                    <a:pt x="1" y="4"/>
                    <a:pt x="2" y="9"/>
                    <a:pt x="4" y="14"/>
                  </a:cubicBezTo>
                  <a:cubicBezTo>
                    <a:pt x="3" y="9"/>
                    <a:pt x="1"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4" name="Freeform 26"/>
            <p:cNvSpPr>
              <a:spLocks noEditPoints="1"/>
            </p:cNvSpPr>
            <p:nvPr/>
          </p:nvSpPr>
          <p:spPr bwMode="auto">
            <a:xfrm>
              <a:off x="5980113" y="2941638"/>
              <a:ext cx="528638" cy="195263"/>
            </a:xfrm>
            <a:custGeom>
              <a:avLst/>
              <a:gdLst>
                <a:gd name="T0" fmla="*/ 95 w 141"/>
                <a:gd name="T1" fmla="*/ 22 h 52"/>
                <a:gd name="T2" fmla="*/ 101 w 141"/>
                <a:gd name="T3" fmla="*/ 23 h 52"/>
                <a:gd name="T4" fmla="*/ 103 w 141"/>
                <a:gd name="T5" fmla="*/ 22 h 52"/>
                <a:gd name="T6" fmla="*/ 133 w 141"/>
                <a:gd name="T7" fmla="*/ 41 h 52"/>
                <a:gd name="T8" fmla="*/ 132 w 141"/>
                <a:gd name="T9" fmla="*/ 42 h 52"/>
                <a:gd name="T10" fmla="*/ 70 w 141"/>
                <a:gd name="T11" fmla="*/ 45 h 52"/>
                <a:gd name="T12" fmla="*/ 65 w 141"/>
                <a:gd name="T13" fmla="*/ 45 h 52"/>
                <a:gd name="T14" fmla="*/ 64 w 141"/>
                <a:gd name="T15" fmla="*/ 43 h 52"/>
                <a:gd name="T16" fmla="*/ 95 w 141"/>
                <a:gd name="T17" fmla="*/ 22 h 52"/>
                <a:gd name="T18" fmla="*/ 15 w 141"/>
                <a:gd name="T19" fmla="*/ 0 h 52"/>
                <a:gd name="T20" fmla="*/ 7 w 141"/>
                <a:gd name="T21" fmla="*/ 6 h 52"/>
                <a:gd name="T22" fmla="*/ 4 w 141"/>
                <a:gd name="T23" fmla="*/ 5 h 52"/>
                <a:gd name="T24" fmla="*/ 1 w 141"/>
                <a:gd name="T25" fmla="*/ 10 h 52"/>
                <a:gd name="T26" fmla="*/ 6 w 141"/>
                <a:gd name="T27" fmla="*/ 12 h 52"/>
                <a:gd name="T28" fmla="*/ 7 w 141"/>
                <a:gd name="T29" fmla="*/ 11 h 52"/>
                <a:gd name="T30" fmla="*/ 52 w 141"/>
                <a:gd name="T31" fmla="*/ 43 h 52"/>
                <a:gd name="T32" fmla="*/ 52 w 141"/>
                <a:gd name="T33" fmla="*/ 49 h 52"/>
                <a:gd name="T34" fmla="*/ 61 w 141"/>
                <a:gd name="T35" fmla="*/ 52 h 52"/>
                <a:gd name="T36" fmla="*/ 65 w 141"/>
                <a:gd name="T37" fmla="*/ 47 h 52"/>
                <a:gd name="T38" fmla="*/ 132 w 141"/>
                <a:gd name="T39" fmla="*/ 43 h 52"/>
                <a:gd name="T40" fmla="*/ 133 w 141"/>
                <a:gd name="T41" fmla="*/ 44 h 52"/>
                <a:gd name="T42" fmla="*/ 137 w 141"/>
                <a:gd name="T43" fmla="*/ 46 h 52"/>
                <a:gd name="T44" fmla="*/ 137 w 141"/>
                <a:gd name="T45" fmla="*/ 46 h 52"/>
                <a:gd name="T46" fmla="*/ 138 w 141"/>
                <a:gd name="T47" fmla="*/ 46 h 52"/>
                <a:gd name="T48" fmla="*/ 140 w 141"/>
                <a:gd name="T49" fmla="*/ 41 h 52"/>
                <a:gd name="T50" fmla="*/ 138 w 141"/>
                <a:gd name="T51" fmla="*/ 39 h 52"/>
                <a:gd name="T52" fmla="*/ 137 w 141"/>
                <a:gd name="T53" fmla="*/ 39 h 52"/>
                <a:gd name="T54" fmla="*/ 137 w 141"/>
                <a:gd name="T55" fmla="*/ 39 h 52"/>
                <a:gd name="T56" fmla="*/ 135 w 141"/>
                <a:gd name="T57" fmla="*/ 39 h 52"/>
                <a:gd name="T58" fmla="*/ 133 w 141"/>
                <a:gd name="T59" fmla="*/ 40 h 52"/>
                <a:gd name="T60" fmla="*/ 103 w 141"/>
                <a:gd name="T61" fmla="*/ 21 h 52"/>
                <a:gd name="T62" fmla="*/ 103 w 141"/>
                <a:gd name="T63" fmla="*/ 17 h 52"/>
                <a:gd name="T64" fmla="*/ 97 w 141"/>
                <a:gd name="T65" fmla="*/ 15 h 52"/>
                <a:gd name="T66" fmla="*/ 95 w 141"/>
                <a:gd name="T67" fmla="*/ 21 h 52"/>
                <a:gd name="T68" fmla="*/ 63 w 141"/>
                <a:gd name="T69" fmla="*/ 41 h 52"/>
                <a:gd name="T70" fmla="*/ 58 w 141"/>
                <a:gd name="T71" fmla="*/ 39 h 52"/>
                <a:gd name="T72" fmla="*/ 53 w 141"/>
                <a:gd name="T73" fmla="*/ 41 h 52"/>
                <a:gd name="T74" fmla="*/ 53 w 141"/>
                <a:gd name="T75" fmla="*/ 41 h 52"/>
                <a:gd name="T76" fmla="*/ 8 w 141"/>
                <a:gd name="T77" fmla="*/ 10 h 52"/>
                <a:gd name="T78" fmla="*/ 8 w 141"/>
                <a:gd name="T79" fmla="*/ 7 h 52"/>
                <a:gd name="T80" fmla="*/ 15 w 141"/>
                <a:gd name="T8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52">
                  <a:moveTo>
                    <a:pt x="96" y="22"/>
                  </a:moveTo>
                  <a:cubicBezTo>
                    <a:pt x="95" y="22"/>
                    <a:pt x="95" y="22"/>
                    <a:pt x="95" y="22"/>
                  </a:cubicBezTo>
                  <a:cubicBezTo>
                    <a:pt x="96" y="23"/>
                    <a:pt x="98" y="24"/>
                    <a:pt x="99" y="24"/>
                  </a:cubicBezTo>
                  <a:cubicBezTo>
                    <a:pt x="100" y="24"/>
                    <a:pt x="100" y="23"/>
                    <a:pt x="101" y="23"/>
                  </a:cubicBezTo>
                  <a:cubicBezTo>
                    <a:pt x="102" y="23"/>
                    <a:pt x="102" y="23"/>
                    <a:pt x="103" y="22"/>
                  </a:cubicBezTo>
                  <a:cubicBezTo>
                    <a:pt x="103" y="22"/>
                    <a:pt x="103" y="22"/>
                    <a:pt x="103" y="22"/>
                  </a:cubicBezTo>
                  <a:cubicBezTo>
                    <a:pt x="103" y="22"/>
                    <a:pt x="103" y="22"/>
                    <a:pt x="103" y="22"/>
                  </a:cubicBezTo>
                  <a:cubicBezTo>
                    <a:pt x="104" y="22"/>
                    <a:pt x="133" y="40"/>
                    <a:pt x="133" y="41"/>
                  </a:cubicBezTo>
                  <a:cubicBezTo>
                    <a:pt x="133" y="41"/>
                    <a:pt x="133" y="41"/>
                    <a:pt x="133" y="41"/>
                  </a:cubicBezTo>
                  <a:cubicBezTo>
                    <a:pt x="132" y="41"/>
                    <a:pt x="132" y="42"/>
                    <a:pt x="132" y="42"/>
                  </a:cubicBezTo>
                  <a:cubicBezTo>
                    <a:pt x="132" y="42"/>
                    <a:pt x="132" y="42"/>
                    <a:pt x="132" y="42"/>
                  </a:cubicBezTo>
                  <a:cubicBezTo>
                    <a:pt x="132" y="43"/>
                    <a:pt x="86" y="45"/>
                    <a:pt x="70" y="45"/>
                  </a:cubicBezTo>
                  <a:cubicBezTo>
                    <a:pt x="67" y="45"/>
                    <a:pt x="65" y="45"/>
                    <a:pt x="65" y="45"/>
                  </a:cubicBezTo>
                  <a:cubicBezTo>
                    <a:pt x="65" y="45"/>
                    <a:pt x="65" y="45"/>
                    <a:pt x="65" y="45"/>
                  </a:cubicBezTo>
                  <a:cubicBezTo>
                    <a:pt x="65" y="44"/>
                    <a:pt x="64" y="43"/>
                    <a:pt x="64" y="43"/>
                  </a:cubicBezTo>
                  <a:cubicBezTo>
                    <a:pt x="64" y="43"/>
                    <a:pt x="64" y="43"/>
                    <a:pt x="64" y="43"/>
                  </a:cubicBezTo>
                  <a:cubicBezTo>
                    <a:pt x="64" y="43"/>
                    <a:pt x="64" y="43"/>
                    <a:pt x="64" y="43"/>
                  </a:cubicBezTo>
                  <a:cubicBezTo>
                    <a:pt x="64" y="42"/>
                    <a:pt x="94" y="22"/>
                    <a:pt x="95" y="22"/>
                  </a:cubicBezTo>
                  <a:cubicBezTo>
                    <a:pt x="96" y="22"/>
                    <a:pt x="96" y="22"/>
                    <a:pt x="96" y="22"/>
                  </a:cubicBezTo>
                  <a:moveTo>
                    <a:pt x="15" y="0"/>
                  </a:moveTo>
                  <a:cubicBezTo>
                    <a:pt x="11" y="3"/>
                    <a:pt x="8" y="6"/>
                    <a:pt x="7" y="6"/>
                  </a:cubicBezTo>
                  <a:cubicBezTo>
                    <a:pt x="7" y="6"/>
                    <a:pt x="7" y="6"/>
                    <a:pt x="7" y="6"/>
                  </a:cubicBezTo>
                  <a:cubicBezTo>
                    <a:pt x="7" y="6"/>
                    <a:pt x="7" y="6"/>
                    <a:pt x="7" y="6"/>
                  </a:cubicBezTo>
                  <a:cubicBezTo>
                    <a:pt x="6" y="5"/>
                    <a:pt x="5" y="5"/>
                    <a:pt x="4" y="5"/>
                  </a:cubicBezTo>
                  <a:cubicBezTo>
                    <a:pt x="4" y="5"/>
                    <a:pt x="3" y="5"/>
                    <a:pt x="3" y="5"/>
                  </a:cubicBezTo>
                  <a:cubicBezTo>
                    <a:pt x="1" y="6"/>
                    <a:pt x="0" y="8"/>
                    <a:pt x="1" y="10"/>
                  </a:cubicBezTo>
                  <a:cubicBezTo>
                    <a:pt x="1" y="12"/>
                    <a:pt x="3" y="12"/>
                    <a:pt x="4" y="12"/>
                  </a:cubicBezTo>
                  <a:cubicBezTo>
                    <a:pt x="5" y="12"/>
                    <a:pt x="6" y="12"/>
                    <a:pt x="6" y="12"/>
                  </a:cubicBezTo>
                  <a:cubicBezTo>
                    <a:pt x="7" y="12"/>
                    <a:pt x="7" y="12"/>
                    <a:pt x="7" y="11"/>
                  </a:cubicBezTo>
                  <a:cubicBezTo>
                    <a:pt x="7" y="11"/>
                    <a:pt x="7" y="11"/>
                    <a:pt x="7" y="11"/>
                  </a:cubicBezTo>
                  <a:cubicBezTo>
                    <a:pt x="7" y="11"/>
                    <a:pt x="7" y="11"/>
                    <a:pt x="7" y="11"/>
                  </a:cubicBezTo>
                  <a:cubicBezTo>
                    <a:pt x="9" y="11"/>
                    <a:pt x="52" y="42"/>
                    <a:pt x="52" y="43"/>
                  </a:cubicBezTo>
                  <a:cubicBezTo>
                    <a:pt x="52" y="43"/>
                    <a:pt x="52" y="43"/>
                    <a:pt x="52" y="43"/>
                  </a:cubicBezTo>
                  <a:cubicBezTo>
                    <a:pt x="51" y="44"/>
                    <a:pt x="51" y="47"/>
                    <a:pt x="52" y="49"/>
                  </a:cubicBezTo>
                  <a:cubicBezTo>
                    <a:pt x="53" y="51"/>
                    <a:pt x="55" y="52"/>
                    <a:pt x="58" y="52"/>
                  </a:cubicBezTo>
                  <a:cubicBezTo>
                    <a:pt x="59" y="52"/>
                    <a:pt x="60" y="52"/>
                    <a:pt x="61" y="52"/>
                  </a:cubicBezTo>
                  <a:cubicBezTo>
                    <a:pt x="63" y="51"/>
                    <a:pt x="65" y="49"/>
                    <a:pt x="65" y="46"/>
                  </a:cubicBezTo>
                  <a:cubicBezTo>
                    <a:pt x="65" y="47"/>
                    <a:pt x="65" y="47"/>
                    <a:pt x="65" y="47"/>
                  </a:cubicBezTo>
                  <a:cubicBezTo>
                    <a:pt x="65" y="45"/>
                    <a:pt x="117" y="43"/>
                    <a:pt x="129" y="43"/>
                  </a:cubicBezTo>
                  <a:cubicBezTo>
                    <a:pt x="131" y="43"/>
                    <a:pt x="132" y="43"/>
                    <a:pt x="132" y="43"/>
                  </a:cubicBezTo>
                  <a:cubicBezTo>
                    <a:pt x="132" y="43"/>
                    <a:pt x="132" y="43"/>
                    <a:pt x="132" y="43"/>
                  </a:cubicBezTo>
                  <a:cubicBezTo>
                    <a:pt x="133" y="44"/>
                    <a:pt x="133" y="44"/>
                    <a:pt x="133" y="44"/>
                  </a:cubicBezTo>
                  <a:cubicBezTo>
                    <a:pt x="133" y="46"/>
                    <a:pt x="135" y="46"/>
                    <a:pt x="136" y="46"/>
                  </a:cubicBezTo>
                  <a:cubicBezTo>
                    <a:pt x="136" y="46"/>
                    <a:pt x="137" y="46"/>
                    <a:pt x="137" y="46"/>
                  </a:cubicBezTo>
                  <a:cubicBezTo>
                    <a:pt x="137" y="46"/>
                    <a:pt x="137" y="46"/>
                    <a:pt x="137" y="46"/>
                  </a:cubicBezTo>
                  <a:cubicBezTo>
                    <a:pt x="137" y="46"/>
                    <a:pt x="137" y="46"/>
                    <a:pt x="137" y="46"/>
                  </a:cubicBezTo>
                  <a:cubicBezTo>
                    <a:pt x="137" y="46"/>
                    <a:pt x="138" y="49"/>
                    <a:pt x="139" y="52"/>
                  </a:cubicBezTo>
                  <a:cubicBezTo>
                    <a:pt x="138" y="48"/>
                    <a:pt x="138" y="46"/>
                    <a:pt x="138" y="46"/>
                  </a:cubicBezTo>
                  <a:cubicBezTo>
                    <a:pt x="138" y="46"/>
                    <a:pt x="138" y="46"/>
                    <a:pt x="138" y="46"/>
                  </a:cubicBezTo>
                  <a:cubicBezTo>
                    <a:pt x="140" y="45"/>
                    <a:pt x="141" y="43"/>
                    <a:pt x="140" y="41"/>
                  </a:cubicBezTo>
                  <a:cubicBezTo>
                    <a:pt x="140" y="40"/>
                    <a:pt x="139" y="39"/>
                    <a:pt x="138" y="39"/>
                  </a:cubicBezTo>
                  <a:cubicBezTo>
                    <a:pt x="138" y="39"/>
                    <a:pt x="138" y="39"/>
                    <a:pt x="138" y="39"/>
                  </a:cubicBezTo>
                  <a:cubicBezTo>
                    <a:pt x="138" y="39"/>
                    <a:pt x="139" y="33"/>
                    <a:pt x="141" y="25"/>
                  </a:cubicBezTo>
                  <a:cubicBezTo>
                    <a:pt x="139" y="33"/>
                    <a:pt x="137" y="39"/>
                    <a:pt x="137" y="39"/>
                  </a:cubicBezTo>
                  <a:cubicBezTo>
                    <a:pt x="137" y="39"/>
                    <a:pt x="137" y="39"/>
                    <a:pt x="137" y="39"/>
                  </a:cubicBezTo>
                  <a:cubicBezTo>
                    <a:pt x="137" y="39"/>
                    <a:pt x="137" y="39"/>
                    <a:pt x="137" y="39"/>
                  </a:cubicBezTo>
                  <a:cubicBezTo>
                    <a:pt x="137" y="39"/>
                    <a:pt x="136" y="39"/>
                    <a:pt x="136" y="39"/>
                  </a:cubicBezTo>
                  <a:cubicBezTo>
                    <a:pt x="136" y="39"/>
                    <a:pt x="135" y="39"/>
                    <a:pt x="135" y="39"/>
                  </a:cubicBezTo>
                  <a:cubicBezTo>
                    <a:pt x="134" y="39"/>
                    <a:pt x="134" y="40"/>
                    <a:pt x="133" y="40"/>
                  </a:cubicBezTo>
                  <a:cubicBezTo>
                    <a:pt x="133" y="40"/>
                    <a:pt x="133" y="40"/>
                    <a:pt x="133" y="40"/>
                  </a:cubicBezTo>
                  <a:cubicBezTo>
                    <a:pt x="133" y="40"/>
                    <a:pt x="133" y="40"/>
                    <a:pt x="133" y="40"/>
                  </a:cubicBezTo>
                  <a:cubicBezTo>
                    <a:pt x="132" y="40"/>
                    <a:pt x="103" y="22"/>
                    <a:pt x="103" y="21"/>
                  </a:cubicBezTo>
                  <a:cubicBezTo>
                    <a:pt x="103" y="21"/>
                    <a:pt x="103" y="21"/>
                    <a:pt x="103" y="21"/>
                  </a:cubicBezTo>
                  <a:cubicBezTo>
                    <a:pt x="104" y="20"/>
                    <a:pt x="104" y="18"/>
                    <a:pt x="103" y="17"/>
                  </a:cubicBezTo>
                  <a:cubicBezTo>
                    <a:pt x="103" y="15"/>
                    <a:pt x="101" y="14"/>
                    <a:pt x="99" y="14"/>
                  </a:cubicBezTo>
                  <a:cubicBezTo>
                    <a:pt x="98" y="14"/>
                    <a:pt x="98" y="15"/>
                    <a:pt x="97" y="15"/>
                  </a:cubicBezTo>
                  <a:cubicBezTo>
                    <a:pt x="95" y="16"/>
                    <a:pt x="94" y="19"/>
                    <a:pt x="95" y="21"/>
                  </a:cubicBezTo>
                  <a:cubicBezTo>
                    <a:pt x="95" y="21"/>
                    <a:pt x="95" y="21"/>
                    <a:pt x="95" y="21"/>
                  </a:cubicBezTo>
                  <a:cubicBezTo>
                    <a:pt x="95" y="22"/>
                    <a:pt x="65" y="41"/>
                    <a:pt x="63" y="41"/>
                  </a:cubicBezTo>
                  <a:cubicBezTo>
                    <a:pt x="63" y="41"/>
                    <a:pt x="63" y="41"/>
                    <a:pt x="63" y="41"/>
                  </a:cubicBezTo>
                  <a:cubicBezTo>
                    <a:pt x="63" y="41"/>
                    <a:pt x="63" y="41"/>
                    <a:pt x="63" y="41"/>
                  </a:cubicBezTo>
                  <a:cubicBezTo>
                    <a:pt x="62" y="40"/>
                    <a:pt x="60" y="39"/>
                    <a:pt x="58" y="39"/>
                  </a:cubicBezTo>
                  <a:cubicBezTo>
                    <a:pt x="57" y="39"/>
                    <a:pt x="56" y="39"/>
                    <a:pt x="55" y="40"/>
                  </a:cubicBezTo>
                  <a:cubicBezTo>
                    <a:pt x="54" y="40"/>
                    <a:pt x="54" y="41"/>
                    <a:pt x="53" y="41"/>
                  </a:cubicBezTo>
                  <a:cubicBezTo>
                    <a:pt x="53" y="41"/>
                    <a:pt x="53" y="41"/>
                    <a:pt x="53" y="41"/>
                  </a:cubicBezTo>
                  <a:cubicBezTo>
                    <a:pt x="53" y="41"/>
                    <a:pt x="53" y="41"/>
                    <a:pt x="53" y="41"/>
                  </a:cubicBezTo>
                  <a:cubicBezTo>
                    <a:pt x="51" y="41"/>
                    <a:pt x="8" y="11"/>
                    <a:pt x="8" y="10"/>
                  </a:cubicBezTo>
                  <a:cubicBezTo>
                    <a:pt x="8" y="10"/>
                    <a:pt x="8" y="10"/>
                    <a:pt x="8" y="10"/>
                  </a:cubicBezTo>
                  <a:cubicBezTo>
                    <a:pt x="9" y="9"/>
                    <a:pt x="9" y="8"/>
                    <a:pt x="8" y="7"/>
                  </a:cubicBezTo>
                  <a:cubicBezTo>
                    <a:pt x="8" y="7"/>
                    <a:pt x="8" y="7"/>
                    <a:pt x="8" y="7"/>
                  </a:cubicBezTo>
                  <a:cubicBezTo>
                    <a:pt x="8" y="7"/>
                    <a:pt x="8" y="7"/>
                    <a:pt x="8" y="7"/>
                  </a:cubicBezTo>
                  <a:cubicBezTo>
                    <a:pt x="8" y="6"/>
                    <a:pt x="11" y="4"/>
                    <a:pt x="15"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5" name="Freeform 27"/>
            <p:cNvSpPr>
              <a:spLocks/>
            </p:cNvSpPr>
            <p:nvPr/>
          </p:nvSpPr>
          <p:spPr bwMode="auto">
            <a:xfrm>
              <a:off x="6508750" y="3016250"/>
              <a:ext cx="7938" cy="19050"/>
            </a:xfrm>
            <a:custGeom>
              <a:avLst/>
              <a:gdLst>
                <a:gd name="T0" fmla="*/ 2 w 2"/>
                <a:gd name="T1" fmla="*/ 0 h 5"/>
                <a:gd name="T2" fmla="*/ 0 w 2"/>
                <a:gd name="T3" fmla="*/ 5 h 5"/>
                <a:gd name="T4" fmla="*/ 2 w 2"/>
                <a:gd name="T5" fmla="*/ 0 h 5"/>
              </a:gdLst>
              <a:ahLst/>
              <a:cxnLst>
                <a:cxn ang="0">
                  <a:pos x="T0" y="T1"/>
                </a:cxn>
                <a:cxn ang="0">
                  <a:pos x="T2" y="T3"/>
                </a:cxn>
                <a:cxn ang="0">
                  <a:pos x="T4" y="T5"/>
                </a:cxn>
              </a:cxnLst>
              <a:rect l="0" t="0" r="r" b="b"/>
              <a:pathLst>
                <a:path w="2" h="5">
                  <a:moveTo>
                    <a:pt x="2" y="0"/>
                  </a:moveTo>
                  <a:cubicBezTo>
                    <a:pt x="1" y="2"/>
                    <a:pt x="1" y="4"/>
                    <a:pt x="0" y="5"/>
                  </a:cubicBezTo>
                  <a:cubicBezTo>
                    <a:pt x="1" y="4"/>
                    <a:pt x="1" y="2"/>
                    <a:pt x="2" y="0"/>
                  </a:cubicBezTo>
                </a:path>
              </a:pathLst>
            </a:custGeom>
            <a:grpFill/>
            <a:ln>
              <a:noFill/>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grpSp>
      <p:sp>
        <p:nvSpPr>
          <p:cNvPr id="30" name="Picture Placeholder 29"/>
          <p:cNvSpPr>
            <a:spLocks noGrp="1"/>
          </p:cNvSpPr>
          <p:nvPr>
            <p:ph type="pic" sz="quarter" idx="10"/>
          </p:nvPr>
        </p:nvSpPr>
        <p:spPr>
          <a:xfrm>
            <a:off x="1328527" y="2091686"/>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a:ln w="76200">
            <a:solidFill>
              <a:schemeClr val="tx2">
                <a:lumMod val="85000"/>
              </a:schemeClr>
            </a:solidFill>
          </a:ln>
        </p:spPr>
        <p:txBody>
          <a:bodyPr wrap="square" anchor="ctr" anchorCtr="0">
            <a:noAutofit/>
          </a:bodyPr>
          <a:lstStyle>
            <a:lvl1pPr algn="ctr">
              <a:defRPr/>
            </a:lvl1pPr>
          </a:lstStyle>
          <a:p>
            <a:endParaRPr lang="en-US" dirty="0"/>
          </a:p>
        </p:txBody>
      </p:sp>
      <p:sp>
        <p:nvSpPr>
          <p:cNvPr id="31" name="Picture Placeholder 30"/>
          <p:cNvSpPr>
            <a:spLocks noGrp="1"/>
          </p:cNvSpPr>
          <p:nvPr>
            <p:ph type="pic" sz="quarter" idx="11"/>
          </p:nvPr>
        </p:nvSpPr>
        <p:spPr>
          <a:xfrm>
            <a:off x="6286481" y="2091686"/>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a:ln w="76200">
            <a:solidFill>
              <a:schemeClr val="tx2">
                <a:lumMod val="85000"/>
              </a:schemeClr>
            </a:solidFill>
          </a:ln>
        </p:spPr>
        <p:txBody>
          <a:bodyPr wrap="square" anchor="ctr" anchorCtr="0">
            <a:noAutofit/>
          </a:bodyPr>
          <a:lstStyle>
            <a:lvl1pPr algn="ctr">
              <a:defRPr/>
            </a:lvl1pPr>
          </a:lstStyle>
          <a:p>
            <a:endParaRPr lang="en-US" dirty="0"/>
          </a:p>
        </p:txBody>
      </p:sp>
      <p:sp>
        <p:nvSpPr>
          <p:cNvPr id="32" name="Picture Placeholder 31"/>
          <p:cNvSpPr>
            <a:spLocks noGrp="1"/>
          </p:cNvSpPr>
          <p:nvPr>
            <p:ph type="pic" sz="quarter" idx="12"/>
          </p:nvPr>
        </p:nvSpPr>
        <p:spPr>
          <a:xfrm>
            <a:off x="3807504" y="2091686"/>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a:ln w="76200">
            <a:solidFill>
              <a:schemeClr val="tx2">
                <a:lumMod val="85000"/>
              </a:schemeClr>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3259777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9" y="171458"/>
            <a:ext cx="8363938"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9439" y="1085850"/>
            <a:ext cx="8363938"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5014980"/>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op Active Social Flatform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11" name="Rectangle 10"/>
          <p:cNvSpPr/>
          <p:nvPr userDrawn="1"/>
        </p:nvSpPr>
        <p:spPr>
          <a:xfrm>
            <a:off x="0" y="3257542"/>
            <a:ext cx="9144000" cy="1885958"/>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Tree>
    <p:extLst>
      <p:ext uri="{BB962C8B-B14F-4D97-AF65-F5344CB8AC3E}">
        <p14:creationId xmlns:p14="http://schemas.microsoft.com/office/powerpoint/2010/main" val="1369456521"/>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Social Media Us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grpSp>
        <p:nvGrpSpPr>
          <p:cNvPr id="11" name="Group 274"/>
          <p:cNvGrpSpPr>
            <a:grpSpLocks noChangeAspect="1"/>
          </p:cNvGrpSpPr>
          <p:nvPr userDrawn="1"/>
        </p:nvGrpSpPr>
        <p:grpSpPr>
          <a:xfrm>
            <a:off x="662940" y="1159323"/>
            <a:ext cx="7818120" cy="3890370"/>
            <a:chOff x="538789" y="1131575"/>
            <a:chExt cx="5819028" cy="2895599"/>
          </a:xfrm>
          <a:pattFill prst="dkUpDiag">
            <a:fgClr>
              <a:schemeClr val="tx2">
                <a:lumMod val="75000"/>
              </a:schemeClr>
            </a:fgClr>
            <a:bgClr>
              <a:schemeClr val="tx2">
                <a:lumMod val="75000"/>
                <a:lumOff val="25000"/>
              </a:schemeClr>
            </a:bgClr>
          </a:pattFill>
        </p:grpSpPr>
        <p:grpSp>
          <p:nvGrpSpPr>
            <p:cNvPr id="12" name="Group 341"/>
            <p:cNvGrpSpPr/>
            <p:nvPr/>
          </p:nvGrpSpPr>
          <p:grpSpPr>
            <a:xfrm>
              <a:off x="2984512" y="2355982"/>
              <a:ext cx="1110006" cy="1241414"/>
              <a:chOff x="4097338" y="2217738"/>
              <a:chExt cx="1139825" cy="1274763"/>
            </a:xfrm>
            <a:grpFill/>
          </p:grpSpPr>
          <p:sp>
            <p:nvSpPr>
              <p:cNvPr id="183" name="Freeform 5"/>
              <p:cNvSpPr>
                <a:spLocks/>
              </p:cNvSpPr>
              <p:nvPr/>
            </p:nvSpPr>
            <p:spPr bwMode="auto">
              <a:xfrm>
                <a:off x="5102225" y="3086100"/>
                <a:ext cx="120650" cy="233363"/>
              </a:xfrm>
              <a:custGeom>
                <a:avLst/>
                <a:gdLst/>
                <a:ahLst/>
                <a:cxnLst>
                  <a:cxn ang="0">
                    <a:pos x="9" y="114"/>
                  </a:cxn>
                  <a:cxn ang="0">
                    <a:pos x="18" y="94"/>
                  </a:cxn>
                  <a:cxn ang="0">
                    <a:pos x="11" y="71"/>
                  </a:cxn>
                  <a:cxn ang="0">
                    <a:pos x="40" y="43"/>
                  </a:cxn>
                  <a:cxn ang="0">
                    <a:pos x="71" y="13"/>
                  </a:cxn>
                  <a:cxn ang="0">
                    <a:pos x="73" y="0"/>
                  </a:cxn>
                  <a:cxn ang="0">
                    <a:pos x="91" y="42"/>
                  </a:cxn>
                  <a:cxn ang="0">
                    <a:pos x="91" y="49"/>
                  </a:cxn>
                  <a:cxn ang="0">
                    <a:pos x="84" y="47"/>
                  </a:cxn>
                  <a:cxn ang="0">
                    <a:pos x="64" y="126"/>
                  </a:cxn>
                  <a:cxn ang="0">
                    <a:pos x="25" y="175"/>
                  </a:cxn>
                  <a:cxn ang="0">
                    <a:pos x="5" y="151"/>
                  </a:cxn>
                  <a:cxn ang="0">
                    <a:pos x="5" y="140"/>
                  </a:cxn>
                  <a:cxn ang="0">
                    <a:pos x="0" y="122"/>
                  </a:cxn>
                  <a:cxn ang="0">
                    <a:pos x="9" y="114"/>
                  </a:cxn>
                </a:cxnLst>
                <a:rect l="0" t="0" r="r" b="b"/>
                <a:pathLst>
                  <a:path w="91" h="175">
                    <a:moveTo>
                      <a:pt x="9" y="114"/>
                    </a:moveTo>
                    <a:cubicBezTo>
                      <a:pt x="9" y="114"/>
                      <a:pt x="18" y="95"/>
                      <a:pt x="18" y="94"/>
                    </a:cubicBezTo>
                    <a:cubicBezTo>
                      <a:pt x="18" y="89"/>
                      <a:pt x="11" y="78"/>
                      <a:pt x="11" y="71"/>
                    </a:cubicBezTo>
                    <a:cubicBezTo>
                      <a:pt x="11" y="49"/>
                      <a:pt x="27" y="50"/>
                      <a:pt x="40" y="43"/>
                    </a:cubicBezTo>
                    <a:cubicBezTo>
                      <a:pt x="50" y="37"/>
                      <a:pt x="64" y="20"/>
                      <a:pt x="71" y="13"/>
                    </a:cubicBezTo>
                    <a:cubicBezTo>
                      <a:pt x="73" y="11"/>
                      <a:pt x="72" y="4"/>
                      <a:pt x="73" y="0"/>
                    </a:cubicBezTo>
                    <a:cubicBezTo>
                      <a:pt x="88" y="2"/>
                      <a:pt x="87" y="31"/>
                      <a:pt x="91" y="42"/>
                    </a:cubicBezTo>
                    <a:cubicBezTo>
                      <a:pt x="91" y="49"/>
                      <a:pt x="91" y="49"/>
                      <a:pt x="91" y="49"/>
                    </a:cubicBezTo>
                    <a:cubicBezTo>
                      <a:pt x="89" y="48"/>
                      <a:pt x="85" y="47"/>
                      <a:pt x="84" y="47"/>
                    </a:cubicBezTo>
                    <a:cubicBezTo>
                      <a:pt x="84" y="79"/>
                      <a:pt x="74" y="101"/>
                      <a:pt x="64" y="126"/>
                    </a:cubicBezTo>
                    <a:cubicBezTo>
                      <a:pt x="56" y="146"/>
                      <a:pt x="52" y="175"/>
                      <a:pt x="25" y="175"/>
                    </a:cubicBezTo>
                    <a:cubicBezTo>
                      <a:pt x="14" y="175"/>
                      <a:pt x="5" y="163"/>
                      <a:pt x="5" y="151"/>
                    </a:cubicBezTo>
                    <a:cubicBezTo>
                      <a:pt x="5" y="145"/>
                      <a:pt x="6" y="143"/>
                      <a:pt x="5" y="140"/>
                    </a:cubicBezTo>
                    <a:cubicBezTo>
                      <a:pt x="0" y="136"/>
                      <a:pt x="0" y="129"/>
                      <a:pt x="0" y="122"/>
                    </a:cubicBezTo>
                    <a:cubicBezTo>
                      <a:pt x="0" y="121"/>
                      <a:pt x="8" y="114"/>
                      <a:pt x="9"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84" name="Freeform 6"/>
              <p:cNvSpPr>
                <a:spLocks/>
              </p:cNvSpPr>
              <p:nvPr/>
            </p:nvSpPr>
            <p:spPr bwMode="auto">
              <a:xfrm>
                <a:off x="4097338" y="2217738"/>
                <a:ext cx="1139825" cy="1274763"/>
              </a:xfrm>
              <a:custGeom>
                <a:avLst/>
                <a:gdLst/>
                <a:ahLst/>
                <a:cxnLst>
                  <a:cxn ang="0">
                    <a:pos x="499" y="66"/>
                  </a:cxn>
                  <a:cxn ang="0">
                    <a:pos x="527" y="81"/>
                  </a:cxn>
                  <a:cxn ang="0">
                    <a:pos x="609" y="86"/>
                  </a:cxn>
                  <a:cxn ang="0">
                    <a:pos x="644" y="89"/>
                  </a:cxn>
                  <a:cxn ang="0">
                    <a:pos x="644" y="136"/>
                  </a:cxn>
                  <a:cxn ang="0">
                    <a:pos x="620" y="115"/>
                  </a:cxn>
                  <a:cxn ang="0">
                    <a:pos x="679" y="223"/>
                  </a:cxn>
                  <a:cxn ang="0">
                    <a:pos x="699" y="267"/>
                  </a:cxn>
                  <a:cxn ang="0">
                    <a:pos x="730" y="310"/>
                  </a:cxn>
                  <a:cxn ang="0">
                    <a:pos x="755" y="348"/>
                  </a:cxn>
                  <a:cxn ang="0">
                    <a:pos x="787" y="359"/>
                  </a:cxn>
                  <a:cxn ang="0">
                    <a:pos x="853" y="346"/>
                  </a:cxn>
                  <a:cxn ang="0">
                    <a:pos x="826" y="425"/>
                  </a:cxn>
                  <a:cxn ang="0">
                    <a:pos x="719" y="541"/>
                  </a:cxn>
                  <a:cxn ang="0">
                    <a:pos x="708" y="600"/>
                  </a:cxn>
                  <a:cxn ang="0">
                    <a:pos x="721" y="638"/>
                  </a:cxn>
                  <a:cxn ang="0">
                    <a:pos x="720" y="676"/>
                  </a:cxn>
                  <a:cxn ang="0">
                    <a:pos x="660" y="745"/>
                  </a:cxn>
                  <a:cxn ang="0">
                    <a:pos x="659" y="788"/>
                  </a:cxn>
                  <a:cxn ang="0">
                    <a:pos x="643" y="816"/>
                  </a:cxn>
                  <a:cxn ang="0">
                    <a:pos x="627" y="846"/>
                  </a:cxn>
                  <a:cxn ang="0">
                    <a:pos x="592" y="902"/>
                  </a:cxn>
                  <a:cxn ang="0">
                    <a:pos x="538" y="946"/>
                  </a:cxn>
                  <a:cxn ang="0">
                    <a:pos x="512" y="944"/>
                  </a:cxn>
                  <a:cxn ang="0">
                    <a:pos x="452" y="949"/>
                  </a:cxn>
                  <a:cxn ang="0">
                    <a:pos x="440" y="929"/>
                  </a:cxn>
                  <a:cxn ang="0">
                    <a:pos x="431" y="893"/>
                  </a:cxn>
                  <a:cxn ang="0">
                    <a:pos x="395" y="789"/>
                  </a:cxn>
                  <a:cxn ang="0">
                    <a:pos x="360" y="708"/>
                  </a:cxn>
                  <a:cxn ang="0">
                    <a:pos x="382" y="621"/>
                  </a:cxn>
                  <a:cxn ang="0">
                    <a:pos x="364" y="558"/>
                  </a:cxn>
                  <a:cxn ang="0">
                    <a:pos x="337" y="490"/>
                  </a:cxn>
                  <a:cxn ang="0">
                    <a:pos x="342" y="461"/>
                  </a:cxn>
                  <a:cxn ang="0">
                    <a:pos x="295" y="443"/>
                  </a:cxn>
                  <a:cxn ang="0">
                    <a:pos x="206" y="433"/>
                  </a:cxn>
                  <a:cxn ang="0">
                    <a:pos x="164" y="434"/>
                  </a:cxn>
                  <a:cxn ang="0">
                    <a:pos x="109" y="439"/>
                  </a:cxn>
                  <a:cxn ang="0">
                    <a:pos x="40" y="369"/>
                  </a:cxn>
                  <a:cxn ang="0">
                    <a:pos x="7" y="338"/>
                  </a:cxn>
                  <a:cxn ang="0">
                    <a:pos x="7" y="324"/>
                  </a:cxn>
                  <a:cxn ang="0">
                    <a:pos x="18" y="269"/>
                  </a:cxn>
                  <a:cxn ang="0">
                    <a:pos x="22" y="199"/>
                  </a:cxn>
                  <a:cxn ang="0">
                    <a:pos x="77" y="132"/>
                  </a:cxn>
                  <a:cxn ang="0">
                    <a:pos x="104" y="77"/>
                  </a:cxn>
                  <a:cxn ang="0">
                    <a:pos x="141" y="36"/>
                  </a:cxn>
                  <a:cxn ang="0">
                    <a:pos x="187" y="35"/>
                  </a:cxn>
                  <a:cxn ang="0">
                    <a:pos x="273" y="6"/>
                  </a:cxn>
                  <a:cxn ang="0">
                    <a:pos x="307" y="4"/>
                  </a:cxn>
                  <a:cxn ang="0">
                    <a:pos x="338" y="0"/>
                  </a:cxn>
                  <a:cxn ang="0">
                    <a:pos x="358" y="6"/>
                  </a:cxn>
                  <a:cxn ang="0">
                    <a:pos x="357" y="27"/>
                  </a:cxn>
                  <a:cxn ang="0">
                    <a:pos x="371" y="64"/>
                  </a:cxn>
                  <a:cxn ang="0">
                    <a:pos x="455" y="100"/>
                  </a:cxn>
                  <a:cxn ang="0">
                    <a:pos x="464" y="84"/>
                  </a:cxn>
                  <a:cxn ang="0">
                    <a:pos x="490" y="66"/>
                  </a:cxn>
                </a:cxnLst>
                <a:rect l="0" t="0" r="r" b="b"/>
                <a:pathLst>
                  <a:path w="856" h="957">
                    <a:moveTo>
                      <a:pt x="490" y="66"/>
                    </a:moveTo>
                    <a:cubicBezTo>
                      <a:pt x="499" y="66"/>
                      <a:pt x="499" y="66"/>
                      <a:pt x="499" y="66"/>
                    </a:cubicBezTo>
                    <a:cubicBezTo>
                      <a:pt x="499" y="73"/>
                      <a:pt x="504" y="74"/>
                      <a:pt x="506" y="77"/>
                    </a:cubicBezTo>
                    <a:cubicBezTo>
                      <a:pt x="510" y="82"/>
                      <a:pt x="520" y="78"/>
                      <a:pt x="527" y="81"/>
                    </a:cubicBezTo>
                    <a:cubicBezTo>
                      <a:pt x="541" y="86"/>
                      <a:pt x="561" y="93"/>
                      <a:pt x="576" y="93"/>
                    </a:cubicBezTo>
                    <a:cubicBezTo>
                      <a:pt x="591" y="93"/>
                      <a:pt x="595" y="86"/>
                      <a:pt x="609" y="86"/>
                    </a:cubicBezTo>
                    <a:cubicBezTo>
                      <a:pt x="617" y="86"/>
                      <a:pt x="622" y="92"/>
                      <a:pt x="632" y="92"/>
                    </a:cubicBezTo>
                    <a:cubicBezTo>
                      <a:pt x="638" y="92"/>
                      <a:pt x="638" y="90"/>
                      <a:pt x="644" y="89"/>
                    </a:cubicBezTo>
                    <a:cubicBezTo>
                      <a:pt x="647" y="96"/>
                      <a:pt x="653" y="102"/>
                      <a:pt x="653" y="111"/>
                    </a:cubicBezTo>
                    <a:cubicBezTo>
                      <a:pt x="653" y="115"/>
                      <a:pt x="646" y="131"/>
                      <a:pt x="644" y="136"/>
                    </a:cubicBezTo>
                    <a:cubicBezTo>
                      <a:pt x="635" y="135"/>
                      <a:pt x="627" y="115"/>
                      <a:pt x="620" y="107"/>
                    </a:cubicBezTo>
                    <a:cubicBezTo>
                      <a:pt x="620" y="115"/>
                      <a:pt x="620" y="115"/>
                      <a:pt x="620" y="115"/>
                    </a:cubicBezTo>
                    <a:cubicBezTo>
                      <a:pt x="662" y="189"/>
                      <a:pt x="662" y="189"/>
                      <a:pt x="662" y="189"/>
                    </a:cubicBezTo>
                    <a:cubicBezTo>
                      <a:pt x="659" y="198"/>
                      <a:pt x="673" y="218"/>
                      <a:pt x="679" y="223"/>
                    </a:cubicBezTo>
                    <a:cubicBezTo>
                      <a:pt x="679" y="246"/>
                      <a:pt x="679" y="246"/>
                      <a:pt x="679" y="246"/>
                    </a:cubicBezTo>
                    <a:cubicBezTo>
                      <a:pt x="684" y="258"/>
                      <a:pt x="692" y="258"/>
                      <a:pt x="699" y="267"/>
                    </a:cubicBezTo>
                    <a:cubicBezTo>
                      <a:pt x="707" y="278"/>
                      <a:pt x="702" y="289"/>
                      <a:pt x="710" y="297"/>
                    </a:cubicBezTo>
                    <a:cubicBezTo>
                      <a:pt x="717" y="304"/>
                      <a:pt x="722" y="305"/>
                      <a:pt x="730" y="310"/>
                    </a:cubicBezTo>
                    <a:cubicBezTo>
                      <a:pt x="737" y="316"/>
                      <a:pt x="741" y="334"/>
                      <a:pt x="755" y="334"/>
                    </a:cubicBezTo>
                    <a:cubicBezTo>
                      <a:pt x="755" y="341"/>
                      <a:pt x="759" y="343"/>
                      <a:pt x="755" y="348"/>
                    </a:cubicBezTo>
                    <a:cubicBezTo>
                      <a:pt x="761" y="352"/>
                      <a:pt x="767" y="366"/>
                      <a:pt x="774" y="366"/>
                    </a:cubicBezTo>
                    <a:cubicBezTo>
                      <a:pt x="781" y="366"/>
                      <a:pt x="782" y="361"/>
                      <a:pt x="787" y="359"/>
                    </a:cubicBezTo>
                    <a:cubicBezTo>
                      <a:pt x="794" y="357"/>
                      <a:pt x="798" y="360"/>
                      <a:pt x="805" y="359"/>
                    </a:cubicBezTo>
                    <a:cubicBezTo>
                      <a:pt x="822" y="356"/>
                      <a:pt x="838" y="350"/>
                      <a:pt x="853" y="346"/>
                    </a:cubicBezTo>
                    <a:cubicBezTo>
                      <a:pt x="855" y="348"/>
                      <a:pt x="856" y="350"/>
                      <a:pt x="856" y="352"/>
                    </a:cubicBezTo>
                    <a:cubicBezTo>
                      <a:pt x="856" y="377"/>
                      <a:pt x="837" y="410"/>
                      <a:pt x="826" y="425"/>
                    </a:cubicBezTo>
                    <a:cubicBezTo>
                      <a:pt x="812" y="443"/>
                      <a:pt x="807" y="459"/>
                      <a:pt x="790" y="471"/>
                    </a:cubicBezTo>
                    <a:cubicBezTo>
                      <a:pt x="761" y="494"/>
                      <a:pt x="730" y="501"/>
                      <a:pt x="719" y="541"/>
                    </a:cubicBezTo>
                    <a:cubicBezTo>
                      <a:pt x="716" y="552"/>
                      <a:pt x="704" y="555"/>
                      <a:pt x="704" y="567"/>
                    </a:cubicBezTo>
                    <a:cubicBezTo>
                      <a:pt x="704" y="581"/>
                      <a:pt x="708" y="587"/>
                      <a:pt x="708" y="600"/>
                    </a:cubicBezTo>
                    <a:cubicBezTo>
                      <a:pt x="708" y="615"/>
                      <a:pt x="724" y="623"/>
                      <a:pt x="724" y="631"/>
                    </a:cubicBezTo>
                    <a:cubicBezTo>
                      <a:pt x="724" y="634"/>
                      <a:pt x="722" y="637"/>
                      <a:pt x="721" y="638"/>
                    </a:cubicBezTo>
                    <a:cubicBezTo>
                      <a:pt x="721" y="649"/>
                      <a:pt x="721" y="649"/>
                      <a:pt x="721" y="649"/>
                    </a:cubicBezTo>
                    <a:cubicBezTo>
                      <a:pt x="721" y="656"/>
                      <a:pt x="720" y="664"/>
                      <a:pt x="720" y="676"/>
                    </a:cubicBezTo>
                    <a:cubicBezTo>
                      <a:pt x="722" y="679"/>
                      <a:pt x="723" y="682"/>
                      <a:pt x="723" y="685"/>
                    </a:cubicBezTo>
                    <a:cubicBezTo>
                      <a:pt x="723" y="720"/>
                      <a:pt x="665" y="716"/>
                      <a:pt x="660" y="745"/>
                    </a:cubicBezTo>
                    <a:cubicBezTo>
                      <a:pt x="654" y="746"/>
                      <a:pt x="647" y="753"/>
                      <a:pt x="647" y="758"/>
                    </a:cubicBezTo>
                    <a:cubicBezTo>
                      <a:pt x="647" y="768"/>
                      <a:pt x="659" y="774"/>
                      <a:pt x="659" y="788"/>
                    </a:cubicBezTo>
                    <a:cubicBezTo>
                      <a:pt x="659" y="795"/>
                      <a:pt x="658" y="809"/>
                      <a:pt x="656" y="813"/>
                    </a:cubicBezTo>
                    <a:cubicBezTo>
                      <a:pt x="653" y="817"/>
                      <a:pt x="646" y="815"/>
                      <a:pt x="643" y="816"/>
                    </a:cubicBezTo>
                    <a:cubicBezTo>
                      <a:pt x="632" y="822"/>
                      <a:pt x="626" y="826"/>
                      <a:pt x="621" y="837"/>
                    </a:cubicBezTo>
                    <a:cubicBezTo>
                      <a:pt x="624" y="839"/>
                      <a:pt x="627" y="842"/>
                      <a:pt x="627" y="846"/>
                    </a:cubicBezTo>
                    <a:cubicBezTo>
                      <a:pt x="627" y="859"/>
                      <a:pt x="615" y="868"/>
                      <a:pt x="610" y="874"/>
                    </a:cubicBezTo>
                    <a:cubicBezTo>
                      <a:pt x="600" y="883"/>
                      <a:pt x="599" y="893"/>
                      <a:pt x="592" y="902"/>
                    </a:cubicBezTo>
                    <a:cubicBezTo>
                      <a:pt x="581" y="916"/>
                      <a:pt x="576" y="929"/>
                      <a:pt x="558" y="938"/>
                    </a:cubicBezTo>
                    <a:cubicBezTo>
                      <a:pt x="550" y="941"/>
                      <a:pt x="539" y="938"/>
                      <a:pt x="538" y="946"/>
                    </a:cubicBezTo>
                    <a:cubicBezTo>
                      <a:pt x="532" y="946"/>
                      <a:pt x="529" y="949"/>
                      <a:pt x="525" y="949"/>
                    </a:cubicBezTo>
                    <a:cubicBezTo>
                      <a:pt x="520" y="949"/>
                      <a:pt x="517" y="944"/>
                      <a:pt x="512" y="944"/>
                    </a:cubicBezTo>
                    <a:cubicBezTo>
                      <a:pt x="494" y="944"/>
                      <a:pt x="483" y="957"/>
                      <a:pt x="466" y="957"/>
                    </a:cubicBezTo>
                    <a:cubicBezTo>
                      <a:pt x="459" y="957"/>
                      <a:pt x="455" y="953"/>
                      <a:pt x="452" y="949"/>
                    </a:cubicBezTo>
                    <a:cubicBezTo>
                      <a:pt x="449" y="949"/>
                      <a:pt x="449" y="950"/>
                      <a:pt x="448" y="951"/>
                    </a:cubicBezTo>
                    <a:cubicBezTo>
                      <a:pt x="448" y="942"/>
                      <a:pt x="443" y="932"/>
                      <a:pt x="440" y="929"/>
                    </a:cubicBezTo>
                    <a:cubicBezTo>
                      <a:pt x="443" y="925"/>
                      <a:pt x="445" y="922"/>
                      <a:pt x="445" y="917"/>
                    </a:cubicBezTo>
                    <a:cubicBezTo>
                      <a:pt x="445" y="910"/>
                      <a:pt x="433" y="897"/>
                      <a:pt x="431" y="893"/>
                    </a:cubicBezTo>
                    <a:cubicBezTo>
                      <a:pt x="415" y="866"/>
                      <a:pt x="395" y="840"/>
                      <a:pt x="395" y="801"/>
                    </a:cubicBezTo>
                    <a:cubicBezTo>
                      <a:pt x="395" y="794"/>
                      <a:pt x="395" y="792"/>
                      <a:pt x="395" y="789"/>
                    </a:cubicBezTo>
                    <a:cubicBezTo>
                      <a:pt x="395" y="783"/>
                      <a:pt x="389" y="781"/>
                      <a:pt x="386" y="774"/>
                    </a:cubicBezTo>
                    <a:cubicBezTo>
                      <a:pt x="374" y="754"/>
                      <a:pt x="360" y="737"/>
                      <a:pt x="360" y="708"/>
                    </a:cubicBezTo>
                    <a:cubicBezTo>
                      <a:pt x="360" y="677"/>
                      <a:pt x="388" y="670"/>
                      <a:pt x="388" y="646"/>
                    </a:cubicBezTo>
                    <a:cubicBezTo>
                      <a:pt x="388" y="635"/>
                      <a:pt x="384" y="631"/>
                      <a:pt x="382" y="621"/>
                    </a:cubicBezTo>
                    <a:cubicBezTo>
                      <a:pt x="379" y="602"/>
                      <a:pt x="376" y="596"/>
                      <a:pt x="371" y="585"/>
                    </a:cubicBezTo>
                    <a:cubicBezTo>
                      <a:pt x="368" y="576"/>
                      <a:pt x="370" y="566"/>
                      <a:pt x="364" y="558"/>
                    </a:cubicBezTo>
                    <a:cubicBezTo>
                      <a:pt x="352" y="544"/>
                      <a:pt x="327" y="528"/>
                      <a:pt x="327" y="508"/>
                    </a:cubicBezTo>
                    <a:cubicBezTo>
                      <a:pt x="327" y="503"/>
                      <a:pt x="334" y="492"/>
                      <a:pt x="337" y="490"/>
                    </a:cubicBezTo>
                    <a:cubicBezTo>
                      <a:pt x="336" y="486"/>
                      <a:pt x="337" y="485"/>
                      <a:pt x="337" y="483"/>
                    </a:cubicBezTo>
                    <a:cubicBezTo>
                      <a:pt x="337" y="478"/>
                      <a:pt x="337" y="465"/>
                      <a:pt x="342" y="461"/>
                    </a:cubicBezTo>
                    <a:cubicBezTo>
                      <a:pt x="337" y="451"/>
                      <a:pt x="329" y="443"/>
                      <a:pt x="314" y="443"/>
                    </a:cubicBezTo>
                    <a:cubicBezTo>
                      <a:pt x="306" y="443"/>
                      <a:pt x="299" y="443"/>
                      <a:pt x="295" y="443"/>
                    </a:cubicBezTo>
                    <a:cubicBezTo>
                      <a:pt x="282" y="443"/>
                      <a:pt x="279" y="417"/>
                      <a:pt x="261" y="417"/>
                    </a:cubicBezTo>
                    <a:cubicBezTo>
                      <a:pt x="239" y="417"/>
                      <a:pt x="223" y="427"/>
                      <a:pt x="206" y="433"/>
                    </a:cubicBezTo>
                    <a:cubicBezTo>
                      <a:pt x="199" y="435"/>
                      <a:pt x="197" y="440"/>
                      <a:pt x="191" y="440"/>
                    </a:cubicBezTo>
                    <a:cubicBezTo>
                      <a:pt x="184" y="440"/>
                      <a:pt x="173" y="434"/>
                      <a:pt x="164" y="434"/>
                    </a:cubicBezTo>
                    <a:cubicBezTo>
                      <a:pt x="147" y="434"/>
                      <a:pt x="139" y="443"/>
                      <a:pt x="122" y="443"/>
                    </a:cubicBezTo>
                    <a:cubicBezTo>
                      <a:pt x="117" y="443"/>
                      <a:pt x="111" y="440"/>
                      <a:pt x="109" y="439"/>
                    </a:cubicBezTo>
                    <a:cubicBezTo>
                      <a:pt x="97" y="430"/>
                      <a:pt x="71" y="415"/>
                      <a:pt x="62" y="401"/>
                    </a:cubicBezTo>
                    <a:cubicBezTo>
                      <a:pt x="53" y="388"/>
                      <a:pt x="51" y="377"/>
                      <a:pt x="40" y="369"/>
                    </a:cubicBezTo>
                    <a:cubicBezTo>
                      <a:pt x="37" y="366"/>
                      <a:pt x="13" y="346"/>
                      <a:pt x="13" y="344"/>
                    </a:cubicBezTo>
                    <a:cubicBezTo>
                      <a:pt x="11" y="341"/>
                      <a:pt x="10" y="340"/>
                      <a:pt x="7" y="338"/>
                    </a:cubicBezTo>
                    <a:cubicBezTo>
                      <a:pt x="9" y="338"/>
                      <a:pt x="9" y="338"/>
                      <a:pt x="9" y="338"/>
                    </a:cubicBezTo>
                    <a:cubicBezTo>
                      <a:pt x="9" y="331"/>
                      <a:pt x="7" y="328"/>
                      <a:pt x="7" y="324"/>
                    </a:cubicBezTo>
                    <a:cubicBezTo>
                      <a:pt x="7" y="317"/>
                      <a:pt x="3" y="315"/>
                      <a:pt x="0" y="309"/>
                    </a:cubicBezTo>
                    <a:cubicBezTo>
                      <a:pt x="10" y="304"/>
                      <a:pt x="18" y="280"/>
                      <a:pt x="18" y="269"/>
                    </a:cubicBezTo>
                    <a:cubicBezTo>
                      <a:pt x="18" y="250"/>
                      <a:pt x="10" y="238"/>
                      <a:pt x="10" y="220"/>
                    </a:cubicBezTo>
                    <a:cubicBezTo>
                      <a:pt x="10" y="211"/>
                      <a:pt x="20" y="206"/>
                      <a:pt x="22" y="199"/>
                    </a:cubicBezTo>
                    <a:cubicBezTo>
                      <a:pt x="28" y="182"/>
                      <a:pt x="41" y="158"/>
                      <a:pt x="52" y="144"/>
                    </a:cubicBezTo>
                    <a:cubicBezTo>
                      <a:pt x="58" y="135"/>
                      <a:pt x="69" y="136"/>
                      <a:pt x="77" y="132"/>
                    </a:cubicBezTo>
                    <a:cubicBezTo>
                      <a:pt x="84" y="128"/>
                      <a:pt x="95" y="119"/>
                      <a:pt x="97" y="112"/>
                    </a:cubicBezTo>
                    <a:cubicBezTo>
                      <a:pt x="102" y="96"/>
                      <a:pt x="96" y="89"/>
                      <a:pt x="104" y="77"/>
                    </a:cubicBezTo>
                    <a:cubicBezTo>
                      <a:pt x="116" y="63"/>
                      <a:pt x="131" y="49"/>
                      <a:pt x="142" y="36"/>
                    </a:cubicBezTo>
                    <a:cubicBezTo>
                      <a:pt x="141" y="36"/>
                      <a:pt x="141" y="36"/>
                      <a:pt x="141" y="36"/>
                    </a:cubicBezTo>
                    <a:cubicBezTo>
                      <a:pt x="145" y="31"/>
                      <a:pt x="146" y="27"/>
                      <a:pt x="150" y="24"/>
                    </a:cubicBezTo>
                    <a:cubicBezTo>
                      <a:pt x="161" y="32"/>
                      <a:pt x="172" y="35"/>
                      <a:pt x="187" y="35"/>
                    </a:cubicBezTo>
                    <a:cubicBezTo>
                      <a:pt x="197" y="35"/>
                      <a:pt x="198" y="29"/>
                      <a:pt x="204" y="27"/>
                    </a:cubicBezTo>
                    <a:cubicBezTo>
                      <a:pt x="221" y="18"/>
                      <a:pt x="254" y="6"/>
                      <a:pt x="273" y="6"/>
                    </a:cubicBezTo>
                    <a:cubicBezTo>
                      <a:pt x="280" y="6"/>
                      <a:pt x="285" y="10"/>
                      <a:pt x="289" y="10"/>
                    </a:cubicBezTo>
                    <a:cubicBezTo>
                      <a:pt x="294" y="10"/>
                      <a:pt x="301" y="4"/>
                      <a:pt x="307" y="4"/>
                    </a:cubicBezTo>
                    <a:cubicBezTo>
                      <a:pt x="313" y="4"/>
                      <a:pt x="316" y="7"/>
                      <a:pt x="321" y="7"/>
                    </a:cubicBezTo>
                    <a:cubicBezTo>
                      <a:pt x="329" y="7"/>
                      <a:pt x="330" y="0"/>
                      <a:pt x="338" y="0"/>
                    </a:cubicBezTo>
                    <a:cubicBezTo>
                      <a:pt x="347" y="0"/>
                      <a:pt x="344" y="8"/>
                      <a:pt x="351" y="8"/>
                    </a:cubicBezTo>
                    <a:cubicBezTo>
                      <a:pt x="354" y="8"/>
                      <a:pt x="355" y="6"/>
                      <a:pt x="358" y="6"/>
                    </a:cubicBezTo>
                    <a:cubicBezTo>
                      <a:pt x="358" y="12"/>
                      <a:pt x="351" y="11"/>
                      <a:pt x="351" y="17"/>
                    </a:cubicBezTo>
                    <a:cubicBezTo>
                      <a:pt x="351" y="21"/>
                      <a:pt x="357" y="23"/>
                      <a:pt x="357" y="27"/>
                    </a:cubicBezTo>
                    <a:cubicBezTo>
                      <a:pt x="357" y="33"/>
                      <a:pt x="351" y="37"/>
                      <a:pt x="351" y="44"/>
                    </a:cubicBezTo>
                    <a:cubicBezTo>
                      <a:pt x="351" y="55"/>
                      <a:pt x="363" y="64"/>
                      <a:pt x="371" y="64"/>
                    </a:cubicBezTo>
                    <a:cubicBezTo>
                      <a:pt x="377" y="64"/>
                      <a:pt x="380" y="64"/>
                      <a:pt x="384" y="64"/>
                    </a:cubicBezTo>
                    <a:cubicBezTo>
                      <a:pt x="412" y="64"/>
                      <a:pt x="423" y="100"/>
                      <a:pt x="455" y="100"/>
                    </a:cubicBezTo>
                    <a:cubicBezTo>
                      <a:pt x="459" y="100"/>
                      <a:pt x="464" y="95"/>
                      <a:pt x="464" y="93"/>
                    </a:cubicBezTo>
                    <a:cubicBezTo>
                      <a:pt x="464" y="90"/>
                      <a:pt x="464" y="87"/>
                      <a:pt x="464" y="84"/>
                    </a:cubicBezTo>
                    <a:cubicBezTo>
                      <a:pt x="464" y="70"/>
                      <a:pt x="475" y="70"/>
                      <a:pt x="488" y="66"/>
                    </a:cubicBezTo>
                    <a:lnTo>
                      <a:pt x="490"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grpSp>
        <p:grpSp>
          <p:nvGrpSpPr>
            <p:cNvPr id="13" name="Group 274"/>
            <p:cNvGrpSpPr/>
            <p:nvPr/>
          </p:nvGrpSpPr>
          <p:grpSpPr>
            <a:xfrm>
              <a:off x="1945621" y="2801220"/>
              <a:ext cx="759070" cy="1225954"/>
              <a:chOff x="3030538" y="2674938"/>
              <a:chExt cx="779463" cy="1258888"/>
            </a:xfrm>
            <a:grpFill/>
          </p:grpSpPr>
          <p:sp>
            <p:nvSpPr>
              <p:cNvPr id="181" name="Freeform 22"/>
              <p:cNvSpPr>
                <a:spLocks/>
              </p:cNvSpPr>
              <p:nvPr/>
            </p:nvSpPr>
            <p:spPr bwMode="auto">
              <a:xfrm>
                <a:off x="3541713" y="2881313"/>
                <a:ext cx="39688" cy="31750"/>
              </a:xfrm>
              <a:custGeom>
                <a:avLst/>
                <a:gdLst/>
                <a:ahLst/>
                <a:cxnLst>
                  <a:cxn ang="0">
                    <a:pos x="10" y="0"/>
                  </a:cxn>
                  <a:cxn ang="0">
                    <a:pos x="20" y="4"/>
                  </a:cxn>
                  <a:cxn ang="0">
                    <a:pos x="27" y="5"/>
                  </a:cxn>
                  <a:cxn ang="0">
                    <a:pos x="30" y="9"/>
                  </a:cxn>
                  <a:cxn ang="0">
                    <a:pos x="18" y="23"/>
                  </a:cxn>
                  <a:cxn ang="0">
                    <a:pos x="0" y="11"/>
                  </a:cxn>
                  <a:cxn ang="0">
                    <a:pos x="9" y="0"/>
                  </a:cxn>
                  <a:cxn ang="0">
                    <a:pos x="10" y="0"/>
                  </a:cxn>
                </a:cxnLst>
                <a:rect l="0" t="0" r="r" b="b"/>
                <a:pathLst>
                  <a:path w="30" h="23">
                    <a:moveTo>
                      <a:pt x="10" y="0"/>
                    </a:moveTo>
                    <a:cubicBezTo>
                      <a:pt x="13" y="1"/>
                      <a:pt x="16" y="4"/>
                      <a:pt x="20" y="4"/>
                    </a:cubicBezTo>
                    <a:cubicBezTo>
                      <a:pt x="21" y="9"/>
                      <a:pt x="25" y="5"/>
                      <a:pt x="27" y="5"/>
                    </a:cubicBezTo>
                    <a:cubicBezTo>
                      <a:pt x="29" y="5"/>
                      <a:pt x="30" y="8"/>
                      <a:pt x="30" y="9"/>
                    </a:cubicBezTo>
                    <a:cubicBezTo>
                      <a:pt x="30" y="12"/>
                      <a:pt x="23" y="23"/>
                      <a:pt x="18" y="23"/>
                    </a:cubicBezTo>
                    <a:cubicBezTo>
                      <a:pt x="11" y="23"/>
                      <a:pt x="0" y="15"/>
                      <a:pt x="0" y="11"/>
                    </a:cubicBezTo>
                    <a:cubicBezTo>
                      <a:pt x="0" y="4"/>
                      <a:pt x="3" y="0"/>
                      <a:pt x="9" y="0"/>
                    </a:cubicBezTo>
                    <a:cubicBezTo>
                      <a:pt x="9" y="0"/>
                      <a:pt x="10" y="0"/>
                      <a:pt x="1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82" name="Freeform 23"/>
              <p:cNvSpPr>
                <a:spLocks/>
              </p:cNvSpPr>
              <p:nvPr/>
            </p:nvSpPr>
            <p:spPr bwMode="auto">
              <a:xfrm>
                <a:off x="3030538" y="2674938"/>
                <a:ext cx="779463" cy="1258888"/>
              </a:xfrm>
              <a:custGeom>
                <a:avLst/>
                <a:gdLst/>
                <a:ahLst/>
                <a:cxnLst>
                  <a:cxn ang="0">
                    <a:pos x="46" y="91"/>
                  </a:cxn>
                  <a:cxn ang="0">
                    <a:pos x="51" y="51"/>
                  </a:cxn>
                  <a:cxn ang="0">
                    <a:pos x="59" y="46"/>
                  </a:cxn>
                  <a:cxn ang="0">
                    <a:pos x="82" y="18"/>
                  </a:cxn>
                  <a:cxn ang="0">
                    <a:pos x="128" y="6"/>
                  </a:cxn>
                  <a:cxn ang="0">
                    <a:pos x="126" y="42"/>
                  </a:cxn>
                  <a:cxn ang="0">
                    <a:pos x="136" y="13"/>
                  </a:cxn>
                  <a:cxn ang="0">
                    <a:pos x="146" y="5"/>
                  </a:cxn>
                  <a:cxn ang="0">
                    <a:pos x="194" y="24"/>
                  </a:cxn>
                  <a:cxn ang="0">
                    <a:pos x="227" y="20"/>
                  </a:cxn>
                  <a:cxn ang="0">
                    <a:pos x="233" y="26"/>
                  </a:cxn>
                  <a:cxn ang="0">
                    <a:pos x="270" y="50"/>
                  </a:cxn>
                  <a:cxn ang="0">
                    <a:pos x="328" y="84"/>
                  </a:cxn>
                  <a:cxn ang="0">
                    <a:pos x="354" y="89"/>
                  </a:cxn>
                  <a:cxn ang="0">
                    <a:pos x="389" y="130"/>
                  </a:cxn>
                  <a:cxn ang="0">
                    <a:pos x="383" y="170"/>
                  </a:cxn>
                  <a:cxn ang="0">
                    <a:pos x="403" y="185"/>
                  </a:cxn>
                  <a:cxn ang="0">
                    <a:pos x="454" y="175"/>
                  </a:cxn>
                  <a:cxn ang="0">
                    <a:pos x="467" y="191"/>
                  </a:cxn>
                  <a:cxn ang="0">
                    <a:pos x="513" y="191"/>
                  </a:cxn>
                  <a:cxn ang="0">
                    <a:pos x="575" y="220"/>
                  </a:cxn>
                  <a:cxn ang="0">
                    <a:pos x="549" y="310"/>
                  </a:cxn>
                  <a:cxn ang="0">
                    <a:pos x="532" y="374"/>
                  </a:cxn>
                  <a:cxn ang="0">
                    <a:pos x="522" y="405"/>
                  </a:cxn>
                  <a:cxn ang="0">
                    <a:pos x="485" y="449"/>
                  </a:cxn>
                  <a:cxn ang="0">
                    <a:pos x="429" y="474"/>
                  </a:cxn>
                  <a:cxn ang="0">
                    <a:pos x="412" y="524"/>
                  </a:cxn>
                  <a:cxn ang="0">
                    <a:pos x="388" y="559"/>
                  </a:cxn>
                  <a:cxn ang="0">
                    <a:pos x="311" y="614"/>
                  </a:cxn>
                  <a:cxn ang="0">
                    <a:pos x="297" y="619"/>
                  </a:cxn>
                  <a:cxn ang="0">
                    <a:pos x="308" y="654"/>
                  </a:cxn>
                  <a:cxn ang="0">
                    <a:pos x="244" y="677"/>
                  </a:cxn>
                  <a:cxn ang="0">
                    <a:pos x="240" y="707"/>
                  </a:cxn>
                  <a:cxn ang="0">
                    <a:pos x="205" y="711"/>
                  </a:cxn>
                  <a:cxn ang="0">
                    <a:pos x="225" y="730"/>
                  </a:cxn>
                  <a:cxn ang="0">
                    <a:pos x="214" y="739"/>
                  </a:cxn>
                  <a:cxn ang="0">
                    <a:pos x="178" y="787"/>
                  </a:cxn>
                  <a:cxn ang="0">
                    <a:pos x="176" y="846"/>
                  </a:cxn>
                  <a:cxn ang="0">
                    <a:pos x="161" y="884"/>
                  </a:cxn>
                  <a:cxn ang="0">
                    <a:pos x="200" y="935"/>
                  </a:cxn>
                  <a:cxn ang="0">
                    <a:pos x="169" y="945"/>
                  </a:cxn>
                  <a:cxn ang="0">
                    <a:pos x="127" y="921"/>
                  </a:cxn>
                  <a:cxn ang="0">
                    <a:pos x="92" y="903"/>
                  </a:cxn>
                  <a:cxn ang="0">
                    <a:pos x="93" y="889"/>
                  </a:cxn>
                  <a:cxn ang="0">
                    <a:pos x="84" y="857"/>
                  </a:cxn>
                  <a:cxn ang="0">
                    <a:pos x="82" y="791"/>
                  </a:cxn>
                  <a:cxn ang="0">
                    <a:pos x="86" y="782"/>
                  </a:cxn>
                  <a:cxn ang="0">
                    <a:pos x="112" y="718"/>
                  </a:cxn>
                  <a:cxn ang="0">
                    <a:pos x="95" y="708"/>
                  </a:cxn>
                  <a:cxn ang="0">
                    <a:pos x="102" y="680"/>
                  </a:cxn>
                  <a:cxn ang="0">
                    <a:pos x="114" y="626"/>
                  </a:cxn>
                  <a:cxn ang="0">
                    <a:pos x="124" y="562"/>
                  </a:cxn>
                  <a:cxn ang="0">
                    <a:pos x="136" y="494"/>
                  </a:cxn>
                  <a:cxn ang="0">
                    <a:pos x="143" y="434"/>
                  </a:cxn>
                  <a:cxn ang="0">
                    <a:pos x="104" y="370"/>
                  </a:cxn>
                  <a:cxn ang="0">
                    <a:pos x="62" y="330"/>
                  </a:cxn>
                  <a:cxn ang="0">
                    <a:pos x="28" y="261"/>
                  </a:cxn>
                  <a:cxn ang="0">
                    <a:pos x="11" y="242"/>
                  </a:cxn>
                  <a:cxn ang="0">
                    <a:pos x="18" y="191"/>
                  </a:cxn>
                  <a:cxn ang="0">
                    <a:pos x="14" y="148"/>
                  </a:cxn>
                  <a:cxn ang="0">
                    <a:pos x="47" y="106"/>
                  </a:cxn>
                </a:cxnLst>
                <a:rect l="0" t="0" r="r" b="b"/>
                <a:pathLst>
                  <a:path w="586" h="945">
                    <a:moveTo>
                      <a:pt x="49" y="103"/>
                    </a:moveTo>
                    <a:cubicBezTo>
                      <a:pt x="49" y="102"/>
                      <a:pt x="49" y="101"/>
                      <a:pt x="49" y="100"/>
                    </a:cubicBezTo>
                    <a:cubicBezTo>
                      <a:pt x="49" y="97"/>
                      <a:pt x="46" y="94"/>
                      <a:pt x="46" y="91"/>
                    </a:cubicBezTo>
                    <a:cubicBezTo>
                      <a:pt x="46" y="85"/>
                      <a:pt x="48" y="84"/>
                      <a:pt x="48" y="79"/>
                    </a:cubicBezTo>
                    <a:cubicBezTo>
                      <a:pt x="48" y="70"/>
                      <a:pt x="40" y="71"/>
                      <a:pt x="40" y="63"/>
                    </a:cubicBezTo>
                    <a:cubicBezTo>
                      <a:pt x="40" y="57"/>
                      <a:pt x="49" y="55"/>
                      <a:pt x="51" y="51"/>
                    </a:cubicBezTo>
                    <a:cubicBezTo>
                      <a:pt x="55" y="52"/>
                      <a:pt x="53" y="52"/>
                      <a:pt x="57" y="51"/>
                    </a:cubicBezTo>
                    <a:cubicBezTo>
                      <a:pt x="57" y="50"/>
                      <a:pt x="57" y="49"/>
                      <a:pt x="57" y="48"/>
                    </a:cubicBezTo>
                    <a:cubicBezTo>
                      <a:pt x="57" y="48"/>
                      <a:pt x="58" y="46"/>
                      <a:pt x="59" y="46"/>
                    </a:cubicBezTo>
                    <a:cubicBezTo>
                      <a:pt x="59" y="42"/>
                      <a:pt x="64" y="40"/>
                      <a:pt x="66" y="39"/>
                    </a:cubicBezTo>
                    <a:cubicBezTo>
                      <a:pt x="69" y="37"/>
                      <a:pt x="69" y="31"/>
                      <a:pt x="70" y="28"/>
                    </a:cubicBezTo>
                    <a:cubicBezTo>
                      <a:pt x="72" y="21"/>
                      <a:pt x="76" y="19"/>
                      <a:pt x="82" y="18"/>
                    </a:cubicBezTo>
                    <a:cubicBezTo>
                      <a:pt x="93" y="14"/>
                      <a:pt x="100" y="12"/>
                      <a:pt x="111" y="9"/>
                    </a:cubicBezTo>
                    <a:cubicBezTo>
                      <a:pt x="117" y="7"/>
                      <a:pt x="118" y="0"/>
                      <a:pt x="124" y="0"/>
                    </a:cubicBezTo>
                    <a:cubicBezTo>
                      <a:pt x="126" y="0"/>
                      <a:pt x="128" y="5"/>
                      <a:pt x="128" y="6"/>
                    </a:cubicBezTo>
                    <a:cubicBezTo>
                      <a:pt x="128" y="9"/>
                      <a:pt x="125" y="11"/>
                      <a:pt x="123" y="11"/>
                    </a:cubicBezTo>
                    <a:cubicBezTo>
                      <a:pt x="122" y="18"/>
                      <a:pt x="119" y="25"/>
                      <a:pt x="119" y="29"/>
                    </a:cubicBezTo>
                    <a:cubicBezTo>
                      <a:pt x="119" y="34"/>
                      <a:pt x="122" y="42"/>
                      <a:pt x="126" y="42"/>
                    </a:cubicBezTo>
                    <a:cubicBezTo>
                      <a:pt x="128" y="42"/>
                      <a:pt x="131" y="37"/>
                      <a:pt x="131" y="35"/>
                    </a:cubicBezTo>
                    <a:cubicBezTo>
                      <a:pt x="131" y="30"/>
                      <a:pt x="125" y="27"/>
                      <a:pt x="125" y="21"/>
                    </a:cubicBezTo>
                    <a:cubicBezTo>
                      <a:pt x="125" y="15"/>
                      <a:pt x="132" y="16"/>
                      <a:pt x="136" y="13"/>
                    </a:cubicBezTo>
                    <a:cubicBezTo>
                      <a:pt x="147" y="13"/>
                      <a:pt x="147" y="13"/>
                      <a:pt x="147" y="13"/>
                    </a:cubicBezTo>
                    <a:cubicBezTo>
                      <a:pt x="145" y="8"/>
                      <a:pt x="139" y="10"/>
                      <a:pt x="139" y="5"/>
                    </a:cubicBezTo>
                    <a:cubicBezTo>
                      <a:pt x="146" y="5"/>
                      <a:pt x="146" y="5"/>
                      <a:pt x="146" y="5"/>
                    </a:cubicBezTo>
                    <a:cubicBezTo>
                      <a:pt x="148" y="12"/>
                      <a:pt x="158" y="14"/>
                      <a:pt x="165" y="16"/>
                    </a:cubicBezTo>
                    <a:cubicBezTo>
                      <a:pt x="165" y="20"/>
                      <a:pt x="167" y="23"/>
                      <a:pt x="170" y="24"/>
                    </a:cubicBezTo>
                    <a:cubicBezTo>
                      <a:pt x="177" y="24"/>
                      <a:pt x="190" y="24"/>
                      <a:pt x="194" y="24"/>
                    </a:cubicBezTo>
                    <a:cubicBezTo>
                      <a:pt x="194" y="28"/>
                      <a:pt x="199" y="29"/>
                      <a:pt x="203" y="29"/>
                    </a:cubicBezTo>
                    <a:cubicBezTo>
                      <a:pt x="209" y="28"/>
                      <a:pt x="214" y="28"/>
                      <a:pt x="216" y="22"/>
                    </a:cubicBezTo>
                    <a:cubicBezTo>
                      <a:pt x="217" y="21"/>
                      <a:pt x="226" y="21"/>
                      <a:pt x="227" y="20"/>
                    </a:cubicBezTo>
                    <a:cubicBezTo>
                      <a:pt x="232" y="20"/>
                      <a:pt x="240" y="21"/>
                      <a:pt x="240" y="21"/>
                    </a:cubicBezTo>
                    <a:cubicBezTo>
                      <a:pt x="238" y="23"/>
                      <a:pt x="234" y="23"/>
                      <a:pt x="233" y="22"/>
                    </a:cubicBezTo>
                    <a:cubicBezTo>
                      <a:pt x="233" y="26"/>
                      <a:pt x="233" y="26"/>
                      <a:pt x="233" y="26"/>
                    </a:cubicBezTo>
                    <a:cubicBezTo>
                      <a:pt x="236" y="32"/>
                      <a:pt x="245" y="33"/>
                      <a:pt x="252" y="36"/>
                    </a:cubicBezTo>
                    <a:cubicBezTo>
                      <a:pt x="258" y="37"/>
                      <a:pt x="256" y="44"/>
                      <a:pt x="258" y="50"/>
                    </a:cubicBezTo>
                    <a:cubicBezTo>
                      <a:pt x="270" y="50"/>
                      <a:pt x="270" y="50"/>
                      <a:pt x="270" y="50"/>
                    </a:cubicBezTo>
                    <a:cubicBezTo>
                      <a:pt x="279" y="58"/>
                      <a:pt x="283" y="57"/>
                      <a:pt x="288" y="68"/>
                    </a:cubicBezTo>
                    <a:cubicBezTo>
                      <a:pt x="289" y="70"/>
                      <a:pt x="293" y="70"/>
                      <a:pt x="295" y="70"/>
                    </a:cubicBezTo>
                    <a:cubicBezTo>
                      <a:pt x="298" y="83"/>
                      <a:pt x="316" y="81"/>
                      <a:pt x="328" y="84"/>
                    </a:cubicBezTo>
                    <a:cubicBezTo>
                      <a:pt x="340" y="84"/>
                      <a:pt x="340" y="84"/>
                      <a:pt x="340" y="84"/>
                    </a:cubicBezTo>
                    <a:cubicBezTo>
                      <a:pt x="343" y="85"/>
                      <a:pt x="350" y="89"/>
                      <a:pt x="354" y="89"/>
                    </a:cubicBezTo>
                    <a:cubicBezTo>
                      <a:pt x="354" y="89"/>
                      <a:pt x="354" y="89"/>
                      <a:pt x="354" y="89"/>
                    </a:cubicBezTo>
                    <a:cubicBezTo>
                      <a:pt x="355" y="89"/>
                      <a:pt x="356" y="89"/>
                      <a:pt x="357" y="89"/>
                    </a:cubicBezTo>
                    <a:cubicBezTo>
                      <a:pt x="364" y="89"/>
                      <a:pt x="373" y="104"/>
                      <a:pt x="381" y="106"/>
                    </a:cubicBezTo>
                    <a:cubicBezTo>
                      <a:pt x="381" y="111"/>
                      <a:pt x="386" y="125"/>
                      <a:pt x="389" y="130"/>
                    </a:cubicBezTo>
                    <a:cubicBezTo>
                      <a:pt x="391" y="134"/>
                      <a:pt x="397" y="134"/>
                      <a:pt x="397" y="139"/>
                    </a:cubicBezTo>
                    <a:cubicBezTo>
                      <a:pt x="390" y="148"/>
                      <a:pt x="377" y="152"/>
                      <a:pt x="377" y="165"/>
                    </a:cubicBezTo>
                    <a:cubicBezTo>
                      <a:pt x="377" y="170"/>
                      <a:pt x="381" y="169"/>
                      <a:pt x="383" y="170"/>
                    </a:cubicBezTo>
                    <a:cubicBezTo>
                      <a:pt x="387" y="172"/>
                      <a:pt x="390" y="176"/>
                      <a:pt x="390" y="180"/>
                    </a:cubicBezTo>
                    <a:cubicBezTo>
                      <a:pt x="401" y="180"/>
                      <a:pt x="401" y="180"/>
                      <a:pt x="401" y="180"/>
                    </a:cubicBezTo>
                    <a:cubicBezTo>
                      <a:pt x="401" y="182"/>
                      <a:pt x="402" y="185"/>
                      <a:pt x="403" y="185"/>
                    </a:cubicBezTo>
                    <a:cubicBezTo>
                      <a:pt x="405" y="185"/>
                      <a:pt x="407" y="182"/>
                      <a:pt x="408" y="180"/>
                    </a:cubicBezTo>
                    <a:cubicBezTo>
                      <a:pt x="413" y="173"/>
                      <a:pt x="418" y="164"/>
                      <a:pt x="425" y="164"/>
                    </a:cubicBezTo>
                    <a:cubicBezTo>
                      <a:pt x="433" y="164"/>
                      <a:pt x="449" y="172"/>
                      <a:pt x="454" y="175"/>
                    </a:cubicBezTo>
                    <a:cubicBezTo>
                      <a:pt x="458" y="178"/>
                      <a:pt x="462" y="177"/>
                      <a:pt x="463" y="180"/>
                    </a:cubicBezTo>
                    <a:cubicBezTo>
                      <a:pt x="464" y="184"/>
                      <a:pt x="464" y="187"/>
                      <a:pt x="464" y="191"/>
                    </a:cubicBezTo>
                    <a:cubicBezTo>
                      <a:pt x="467" y="191"/>
                      <a:pt x="467" y="191"/>
                      <a:pt x="467" y="191"/>
                    </a:cubicBezTo>
                    <a:cubicBezTo>
                      <a:pt x="471" y="190"/>
                      <a:pt x="472" y="186"/>
                      <a:pt x="476" y="186"/>
                    </a:cubicBezTo>
                    <a:cubicBezTo>
                      <a:pt x="486" y="186"/>
                      <a:pt x="487" y="194"/>
                      <a:pt x="496" y="194"/>
                    </a:cubicBezTo>
                    <a:cubicBezTo>
                      <a:pt x="513" y="191"/>
                      <a:pt x="513" y="191"/>
                      <a:pt x="513" y="191"/>
                    </a:cubicBezTo>
                    <a:cubicBezTo>
                      <a:pt x="521" y="193"/>
                      <a:pt x="529" y="196"/>
                      <a:pt x="534" y="198"/>
                    </a:cubicBezTo>
                    <a:cubicBezTo>
                      <a:pt x="538" y="205"/>
                      <a:pt x="551" y="217"/>
                      <a:pt x="558" y="220"/>
                    </a:cubicBezTo>
                    <a:cubicBezTo>
                      <a:pt x="565" y="221"/>
                      <a:pt x="569" y="219"/>
                      <a:pt x="575" y="220"/>
                    </a:cubicBezTo>
                    <a:cubicBezTo>
                      <a:pt x="584" y="223"/>
                      <a:pt x="586" y="232"/>
                      <a:pt x="586" y="242"/>
                    </a:cubicBezTo>
                    <a:cubicBezTo>
                      <a:pt x="586" y="274"/>
                      <a:pt x="568" y="283"/>
                      <a:pt x="556" y="301"/>
                    </a:cubicBezTo>
                    <a:cubicBezTo>
                      <a:pt x="553" y="305"/>
                      <a:pt x="551" y="306"/>
                      <a:pt x="549" y="310"/>
                    </a:cubicBezTo>
                    <a:cubicBezTo>
                      <a:pt x="544" y="317"/>
                      <a:pt x="540" y="317"/>
                      <a:pt x="535" y="322"/>
                    </a:cubicBezTo>
                    <a:cubicBezTo>
                      <a:pt x="529" y="328"/>
                      <a:pt x="535" y="343"/>
                      <a:pt x="535" y="353"/>
                    </a:cubicBezTo>
                    <a:cubicBezTo>
                      <a:pt x="535" y="361"/>
                      <a:pt x="532" y="369"/>
                      <a:pt x="532" y="374"/>
                    </a:cubicBezTo>
                    <a:cubicBezTo>
                      <a:pt x="532" y="377"/>
                      <a:pt x="530" y="378"/>
                      <a:pt x="530" y="380"/>
                    </a:cubicBezTo>
                    <a:cubicBezTo>
                      <a:pt x="528" y="382"/>
                      <a:pt x="524" y="386"/>
                      <a:pt x="524" y="390"/>
                    </a:cubicBezTo>
                    <a:cubicBezTo>
                      <a:pt x="524" y="394"/>
                      <a:pt x="523" y="403"/>
                      <a:pt x="522" y="405"/>
                    </a:cubicBezTo>
                    <a:cubicBezTo>
                      <a:pt x="515" y="415"/>
                      <a:pt x="513" y="419"/>
                      <a:pt x="506" y="428"/>
                    </a:cubicBezTo>
                    <a:cubicBezTo>
                      <a:pt x="505" y="431"/>
                      <a:pt x="505" y="436"/>
                      <a:pt x="504" y="438"/>
                    </a:cubicBezTo>
                    <a:cubicBezTo>
                      <a:pt x="502" y="443"/>
                      <a:pt x="492" y="449"/>
                      <a:pt x="485" y="449"/>
                    </a:cubicBezTo>
                    <a:cubicBezTo>
                      <a:pt x="476" y="449"/>
                      <a:pt x="470" y="449"/>
                      <a:pt x="463" y="452"/>
                    </a:cubicBezTo>
                    <a:cubicBezTo>
                      <a:pt x="461" y="453"/>
                      <a:pt x="460" y="455"/>
                      <a:pt x="459" y="457"/>
                    </a:cubicBezTo>
                    <a:cubicBezTo>
                      <a:pt x="448" y="467"/>
                      <a:pt x="437" y="461"/>
                      <a:pt x="429" y="474"/>
                    </a:cubicBezTo>
                    <a:cubicBezTo>
                      <a:pt x="426" y="479"/>
                      <a:pt x="420" y="479"/>
                      <a:pt x="416" y="483"/>
                    </a:cubicBezTo>
                    <a:cubicBezTo>
                      <a:pt x="411" y="489"/>
                      <a:pt x="412" y="495"/>
                      <a:pt x="412" y="503"/>
                    </a:cubicBezTo>
                    <a:cubicBezTo>
                      <a:pt x="412" y="524"/>
                      <a:pt x="412" y="524"/>
                      <a:pt x="412" y="524"/>
                    </a:cubicBezTo>
                    <a:cubicBezTo>
                      <a:pt x="403" y="528"/>
                      <a:pt x="398" y="536"/>
                      <a:pt x="394" y="545"/>
                    </a:cubicBezTo>
                    <a:cubicBezTo>
                      <a:pt x="394" y="545"/>
                      <a:pt x="394" y="545"/>
                      <a:pt x="394" y="545"/>
                    </a:cubicBezTo>
                    <a:cubicBezTo>
                      <a:pt x="391" y="550"/>
                      <a:pt x="391" y="553"/>
                      <a:pt x="388" y="559"/>
                    </a:cubicBezTo>
                    <a:cubicBezTo>
                      <a:pt x="380" y="571"/>
                      <a:pt x="371" y="572"/>
                      <a:pt x="364" y="584"/>
                    </a:cubicBezTo>
                    <a:cubicBezTo>
                      <a:pt x="355" y="597"/>
                      <a:pt x="351" y="619"/>
                      <a:pt x="331" y="619"/>
                    </a:cubicBezTo>
                    <a:cubicBezTo>
                      <a:pt x="324" y="619"/>
                      <a:pt x="314" y="614"/>
                      <a:pt x="311" y="614"/>
                    </a:cubicBezTo>
                    <a:cubicBezTo>
                      <a:pt x="305" y="614"/>
                      <a:pt x="299" y="609"/>
                      <a:pt x="293" y="609"/>
                    </a:cubicBezTo>
                    <a:cubicBezTo>
                      <a:pt x="291" y="609"/>
                      <a:pt x="289" y="610"/>
                      <a:pt x="289" y="611"/>
                    </a:cubicBezTo>
                    <a:cubicBezTo>
                      <a:pt x="289" y="615"/>
                      <a:pt x="296" y="617"/>
                      <a:pt x="297" y="619"/>
                    </a:cubicBezTo>
                    <a:cubicBezTo>
                      <a:pt x="300" y="622"/>
                      <a:pt x="300" y="627"/>
                      <a:pt x="302" y="632"/>
                    </a:cubicBezTo>
                    <a:cubicBezTo>
                      <a:pt x="304" y="637"/>
                      <a:pt x="311" y="637"/>
                      <a:pt x="311" y="642"/>
                    </a:cubicBezTo>
                    <a:cubicBezTo>
                      <a:pt x="311" y="647"/>
                      <a:pt x="311" y="650"/>
                      <a:pt x="308" y="654"/>
                    </a:cubicBezTo>
                    <a:cubicBezTo>
                      <a:pt x="304" y="660"/>
                      <a:pt x="301" y="663"/>
                      <a:pt x="297" y="667"/>
                    </a:cubicBezTo>
                    <a:cubicBezTo>
                      <a:pt x="289" y="675"/>
                      <a:pt x="280" y="673"/>
                      <a:pt x="270" y="676"/>
                    </a:cubicBezTo>
                    <a:cubicBezTo>
                      <a:pt x="263" y="678"/>
                      <a:pt x="248" y="673"/>
                      <a:pt x="244" y="677"/>
                    </a:cubicBezTo>
                    <a:cubicBezTo>
                      <a:pt x="238" y="683"/>
                      <a:pt x="243" y="696"/>
                      <a:pt x="240" y="703"/>
                    </a:cubicBezTo>
                    <a:cubicBezTo>
                      <a:pt x="240" y="702"/>
                      <a:pt x="240" y="702"/>
                      <a:pt x="240" y="702"/>
                    </a:cubicBezTo>
                    <a:cubicBezTo>
                      <a:pt x="240" y="703"/>
                      <a:pt x="240" y="706"/>
                      <a:pt x="240" y="707"/>
                    </a:cubicBezTo>
                    <a:cubicBezTo>
                      <a:pt x="240" y="709"/>
                      <a:pt x="233" y="712"/>
                      <a:pt x="229" y="712"/>
                    </a:cubicBezTo>
                    <a:cubicBezTo>
                      <a:pt x="220" y="712"/>
                      <a:pt x="218" y="706"/>
                      <a:pt x="210" y="706"/>
                    </a:cubicBezTo>
                    <a:cubicBezTo>
                      <a:pt x="207" y="706"/>
                      <a:pt x="205" y="709"/>
                      <a:pt x="205" y="711"/>
                    </a:cubicBezTo>
                    <a:cubicBezTo>
                      <a:pt x="205" y="717"/>
                      <a:pt x="211" y="729"/>
                      <a:pt x="214" y="729"/>
                    </a:cubicBezTo>
                    <a:cubicBezTo>
                      <a:pt x="217" y="729"/>
                      <a:pt x="219" y="726"/>
                      <a:pt x="221" y="726"/>
                    </a:cubicBezTo>
                    <a:cubicBezTo>
                      <a:pt x="222" y="728"/>
                      <a:pt x="225" y="728"/>
                      <a:pt x="225" y="730"/>
                    </a:cubicBezTo>
                    <a:cubicBezTo>
                      <a:pt x="225" y="733"/>
                      <a:pt x="221" y="736"/>
                      <a:pt x="220" y="736"/>
                    </a:cubicBezTo>
                    <a:cubicBezTo>
                      <a:pt x="215" y="736"/>
                      <a:pt x="213" y="732"/>
                      <a:pt x="209" y="732"/>
                    </a:cubicBezTo>
                    <a:cubicBezTo>
                      <a:pt x="209" y="737"/>
                      <a:pt x="211" y="738"/>
                      <a:pt x="214" y="739"/>
                    </a:cubicBezTo>
                    <a:cubicBezTo>
                      <a:pt x="206" y="747"/>
                      <a:pt x="206" y="755"/>
                      <a:pt x="203" y="766"/>
                    </a:cubicBezTo>
                    <a:cubicBezTo>
                      <a:pt x="202" y="770"/>
                      <a:pt x="194" y="771"/>
                      <a:pt x="191" y="771"/>
                    </a:cubicBezTo>
                    <a:cubicBezTo>
                      <a:pt x="184" y="773"/>
                      <a:pt x="178" y="779"/>
                      <a:pt x="178" y="787"/>
                    </a:cubicBezTo>
                    <a:cubicBezTo>
                      <a:pt x="178" y="804"/>
                      <a:pt x="198" y="798"/>
                      <a:pt x="198" y="811"/>
                    </a:cubicBezTo>
                    <a:cubicBezTo>
                      <a:pt x="198" y="824"/>
                      <a:pt x="187" y="825"/>
                      <a:pt x="181" y="831"/>
                    </a:cubicBezTo>
                    <a:cubicBezTo>
                      <a:pt x="177" y="835"/>
                      <a:pt x="178" y="841"/>
                      <a:pt x="176" y="846"/>
                    </a:cubicBezTo>
                    <a:cubicBezTo>
                      <a:pt x="173" y="852"/>
                      <a:pt x="166" y="850"/>
                      <a:pt x="162" y="854"/>
                    </a:cubicBezTo>
                    <a:cubicBezTo>
                      <a:pt x="156" y="859"/>
                      <a:pt x="154" y="865"/>
                      <a:pt x="154" y="874"/>
                    </a:cubicBezTo>
                    <a:cubicBezTo>
                      <a:pt x="154" y="878"/>
                      <a:pt x="158" y="883"/>
                      <a:pt x="161" y="884"/>
                    </a:cubicBezTo>
                    <a:cubicBezTo>
                      <a:pt x="169" y="888"/>
                      <a:pt x="168" y="908"/>
                      <a:pt x="174" y="914"/>
                    </a:cubicBezTo>
                    <a:cubicBezTo>
                      <a:pt x="184" y="924"/>
                      <a:pt x="196" y="928"/>
                      <a:pt x="207" y="934"/>
                    </a:cubicBezTo>
                    <a:cubicBezTo>
                      <a:pt x="206" y="936"/>
                      <a:pt x="203" y="935"/>
                      <a:pt x="200" y="935"/>
                    </a:cubicBezTo>
                    <a:cubicBezTo>
                      <a:pt x="194" y="935"/>
                      <a:pt x="183" y="943"/>
                      <a:pt x="179" y="943"/>
                    </a:cubicBezTo>
                    <a:cubicBezTo>
                      <a:pt x="176" y="943"/>
                      <a:pt x="176" y="943"/>
                      <a:pt x="174" y="943"/>
                    </a:cubicBezTo>
                    <a:cubicBezTo>
                      <a:pt x="173" y="943"/>
                      <a:pt x="171" y="945"/>
                      <a:pt x="169" y="945"/>
                    </a:cubicBezTo>
                    <a:cubicBezTo>
                      <a:pt x="165" y="945"/>
                      <a:pt x="162" y="945"/>
                      <a:pt x="157" y="945"/>
                    </a:cubicBezTo>
                    <a:cubicBezTo>
                      <a:pt x="147" y="945"/>
                      <a:pt x="151" y="933"/>
                      <a:pt x="143" y="931"/>
                    </a:cubicBezTo>
                    <a:cubicBezTo>
                      <a:pt x="137" y="929"/>
                      <a:pt x="127" y="929"/>
                      <a:pt x="127" y="921"/>
                    </a:cubicBezTo>
                    <a:cubicBezTo>
                      <a:pt x="124" y="921"/>
                      <a:pt x="122" y="921"/>
                      <a:pt x="119" y="921"/>
                    </a:cubicBezTo>
                    <a:cubicBezTo>
                      <a:pt x="115" y="921"/>
                      <a:pt x="114" y="917"/>
                      <a:pt x="114" y="915"/>
                    </a:cubicBezTo>
                    <a:cubicBezTo>
                      <a:pt x="102" y="915"/>
                      <a:pt x="98" y="909"/>
                      <a:pt x="92" y="903"/>
                    </a:cubicBezTo>
                    <a:cubicBezTo>
                      <a:pt x="91" y="902"/>
                      <a:pt x="88" y="900"/>
                      <a:pt x="88" y="899"/>
                    </a:cubicBezTo>
                    <a:cubicBezTo>
                      <a:pt x="88" y="895"/>
                      <a:pt x="96" y="895"/>
                      <a:pt x="97" y="891"/>
                    </a:cubicBezTo>
                    <a:cubicBezTo>
                      <a:pt x="95" y="891"/>
                      <a:pt x="94" y="890"/>
                      <a:pt x="93" y="889"/>
                    </a:cubicBezTo>
                    <a:cubicBezTo>
                      <a:pt x="94" y="887"/>
                      <a:pt x="96" y="884"/>
                      <a:pt x="96" y="882"/>
                    </a:cubicBezTo>
                    <a:cubicBezTo>
                      <a:pt x="96" y="871"/>
                      <a:pt x="84" y="873"/>
                      <a:pt x="84" y="863"/>
                    </a:cubicBezTo>
                    <a:cubicBezTo>
                      <a:pt x="84" y="860"/>
                      <a:pt x="84" y="859"/>
                      <a:pt x="84" y="857"/>
                    </a:cubicBezTo>
                    <a:cubicBezTo>
                      <a:pt x="84" y="848"/>
                      <a:pt x="78" y="832"/>
                      <a:pt x="78" y="825"/>
                    </a:cubicBezTo>
                    <a:cubicBezTo>
                      <a:pt x="78" y="817"/>
                      <a:pt x="88" y="814"/>
                      <a:pt x="88" y="807"/>
                    </a:cubicBezTo>
                    <a:cubicBezTo>
                      <a:pt x="88" y="803"/>
                      <a:pt x="83" y="796"/>
                      <a:pt x="82" y="791"/>
                    </a:cubicBezTo>
                    <a:cubicBezTo>
                      <a:pt x="82" y="787"/>
                      <a:pt x="82" y="787"/>
                      <a:pt x="82" y="787"/>
                    </a:cubicBezTo>
                    <a:cubicBezTo>
                      <a:pt x="82" y="787"/>
                      <a:pt x="82" y="787"/>
                      <a:pt x="82" y="787"/>
                    </a:cubicBezTo>
                    <a:cubicBezTo>
                      <a:pt x="82" y="784"/>
                      <a:pt x="84" y="782"/>
                      <a:pt x="86" y="782"/>
                    </a:cubicBezTo>
                    <a:cubicBezTo>
                      <a:pt x="94" y="782"/>
                      <a:pt x="91" y="790"/>
                      <a:pt x="98" y="790"/>
                    </a:cubicBezTo>
                    <a:cubicBezTo>
                      <a:pt x="112" y="725"/>
                      <a:pt x="112" y="725"/>
                      <a:pt x="112" y="725"/>
                    </a:cubicBezTo>
                    <a:cubicBezTo>
                      <a:pt x="112" y="718"/>
                      <a:pt x="112" y="718"/>
                      <a:pt x="112" y="718"/>
                    </a:cubicBezTo>
                    <a:cubicBezTo>
                      <a:pt x="111" y="718"/>
                      <a:pt x="109" y="717"/>
                      <a:pt x="108" y="718"/>
                    </a:cubicBezTo>
                    <a:cubicBezTo>
                      <a:pt x="105" y="719"/>
                      <a:pt x="105" y="723"/>
                      <a:pt x="102" y="723"/>
                    </a:cubicBezTo>
                    <a:cubicBezTo>
                      <a:pt x="98" y="723"/>
                      <a:pt x="95" y="713"/>
                      <a:pt x="95" y="708"/>
                    </a:cubicBezTo>
                    <a:cubicBezTo>
                      <a:pt x="95" y="699"/>
                      <a:pt x="98" y="696"/>
                      <a:pt x="100" y="688"/>
                    </a:cubicBezTo>
                    <a:cubicBezTo>
                      <a:pt x="103" y="688"/>
                      <a:pt x="104" y="687"/>
                      <a:pt x="104" y="685"/>
                    </a:cubicBezTo>
                    <a:cubicBezTo>
                      <a:pt x="104" y="683"/>
                      <a:pt x="102" y="680"/>
                      <a:pt x="102" y="680"/>
                    </a:cubicBezTo>
                    <a:cubicBezTo>
                      <a:pt x="100" y="680"/>
                      <a:pt x="99" y="668"/>
                      <a:pt x="99" y="665"/>
                    </a:cubicBezTo>
                    <a:cubicBezTo>
                      <a:pt x="99" y="655"/>
                      <a:pt x="106" y="645"/>
                      <a:pt x="109" y="639"/>
                    </a:cubicBezTo>
                    <a:cubicBezTo>
                      <a:pt x="111" y="635"/>
                      <a:pt x="112" y="629"/>
                      <a:pt x="114" y="626"/>
                    </a:cubicBezTo>
                    <a:cubicBezTo>
                      <a:pt x="116" y="624"/>
                      <a:pt x="118" y="625"/>
                      <a:pt x="118" y="623"/>
                    </a:cubicBezTo>
                    <a:cubicBezTo>
                      <a:pt x="121" y="613"/>
                      <a:pt x="121" y="605"/>
                      <a:pt x="124" y="595"/>
                    </a:cubicBezTo>
                    <a:cubicBezTo>
                      <a:pt x="124" y="562"/>
                      <a:pt x="124" y="562"/>
                      <a:pt x="124" y="562"/>
                    </a:cubicBezTo>
                    <a:cubicBezTo>
                      <a:pt x="121" y="554"/>
                      <a:pt x="126" y="548"/>
                      <a:pt x="126" y="541"/>
                    </a:cubicBezTo>
                    <a:cubicBezTo>
                      <a:pt x="126" y="524"/>
                      <a:pt x="136" y="513"/>
                      <a:pt x="136" y="498"/>
                    </a:cubicBezTo>
                    <a:cubicBezTo>
                      <a:pt x="136" y="497"/>
                      <a:pt x="136" y="495"/>
                      <a:pt x="136" y="494"/>
                    </a:cubicBezTo>
                    <a:cubicBezTo>
                      <a:pt x="136" y="491"/>
                      <a:pt x="138" y="483"/>
                      <a:pt x="139" y="478"/>
                    </a:cubicBezTo>
                    <a:cubicBezTo>
                      <a:pt x="139" y="465"/>
                      <a:pt x="139" y="465"/>
                      <a:pt x="139" y="459"/>
                    </a:cubicBezTo>
                    <a:cubicBezTo>
                      <a:pt x="139" y="453"/>
                      <a:pt x="143" y="441"/>
                      <a:pt x="143" y="434"/>
                    </a:cubicBezTo>
                    <a:cubicBezTo>
                      <a:pt x="143" y="429"/>
                      <a:pt x="141" y="403"/>
                      <a:pt x="140" y="399"/>
                    </a:cubicBezTo>
                    <a:cubicBezTo>
                      <a:pt x="136" y="388"/>
                      <a:pt x="128" y="381"/>
                      <a:pt x="121" y="377"/>
                    </a:cubicBezTo>
                    <a:cubicBezTo>
                      <a:pt x="114" y="374"/>
                      <a:pt x="109" y="375"/>
                      <a:pt x="104" y="370"/>
                    </a:cubicBezTo>
                    <a:cubicBezTo>
                      <a:pt x="99" y="365"/>
                      <a:pt x="96" y="363"/>
                      <a:pt x="90" y="362"/>
                    </a:cubicBezTo>
                    <a:cubicBezTo>
                      <a:pt x="78" y="358"/>
                      <a:pt x="72" y="351"/>
                      <a:pt x="64" y="343"/>
                    </a:cubicBezTo>
                    <a:cubicBezTo>
                      <a:pt x="60" y="340"/>
                      <a:pt x="62" y="335"/>
                      <a:pt x="62" y="330"/>
                    </a:cubicBezTo>
                    <a:cubicBezTo>
                      <a:pt x="62" y="323"/>
                      <a:pt x="55" y="319"/>
                      <a:pt x="53" y="313"/>
                    </a:cubicBezTo>
                    <a:cubicBezTo>
                      <a:pt x="50" y="302"/>
                      <a:pt x="41" y="294"/>
                      <a:pt x="38" y="285"/>
                    </a:cubicBezTo>
                    <a:cubicBezTo>
                      <a:pt x="35" y="275"/>
                      <a:pt x="32" y="269"/>
                      <a:pt x="28" y="261"/>
                    </a:cubicBezTo>
                    <a:cubicBezTo>
                      <a:pt x="27" y="258"/>
                      <a:pt x="24" y="259"/>
                      <a:pt x="23" y="257"/>
                    </a:cubicBezTo>
                    <a:cubicBezTo>
                      <a:pt x="20" y="254"/>
                      <a:pt x="19" y="248"/>
                      <a:pt x="17" y="245"/>
                    </a:cubicBezTo>
                    <a:cubicBezTo>
                      <a:pt x="16" y="242"/>
                      <a:pt x="12" y="243"/>
                      <a:pt x="11" y="242"/>
                    </a:cubicBezTo>
                    <a:cubicBezTo>
                      <a:pt x="6" y="237"/>
                      <a:pt x="0" y="228"/>
                      <a:pt x="0" y="220"/>
                    </a:cubicBezTo>
                    <a:cubicBezTo>
                      <a:pt x="0" y="215"/>
                      <a:pt x="3" y="209"/>
                      <a:pt x="5" y="207"/>
                    </a:cubicBezTo>
                    <a:cubicBezTo>
                      <a:pt x="8" y="200"/>
                      <a:pt x="16" y="198"/>
                      <a:pt x="18" y="191"/>
                    </a:cubicBezTo>
                    <a:cubicBezTo>
                      <a:pt x="14" y="189"/>
                      <a:pt x="15" y="191"/>
                      <a:pt x="12" y="191"/>
                    </a:cubicBezTo>
                    <a:cubicBezTo>
                      <a:pt x="5" y="191"/>
                      <a:pt x="5" y="182"/>
                      <a:pt x="5" y="176"/>
                    </a:cubicBezTo>
                    <a:cubicBezTo>
                      <a:pt x="5" y="166"/>
                      <a:pt x="16" y="168"/>
                      <a:pt x="14" y="148"/>
                    </a:cubicBezTo>
                    <a:cubicBezTo>
                      <a:pt x="26" y="148"/>
                      <a:pt x="29" y="136"/>
                      <a:pt x="32" y="129"/>
                    </a:cubicBezTo>
                    <a:cubicBezTo>
                      <a:pt x="37" y="119"/>
                      <a:pt x="49" y="123"/>
                      <a:pt x="51" y="111"/>
                    </a:cubicBezTo>
                    <a:cubicBezTo>
                      <a:pt x="49" y="110"/>
                      <a:pt x="47" y="107"/>
                      <a:pt x="47" y="106"/>
                    </a:cubicBezTo>
                    <a:cubicBezTo>
                      <a:pt x="49" y="103"/>
                      <a:pt x="49" y="103"/>
                      <a:pt x="49" y="1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grpSp>
        <p:grpSp>
          <p:nvGrpSpPr>
            <p:cNvPr id="14" name="Group 277"/>
            <p:cNvGrpSpPr/>
            <p:nvPr/>
          </p:nvGrpSpPr>
          <p:grpSpPr>
            <a:xfrm>
              <a:off x="538789" y="1131575"/>
              <a:ext cx="2523022" cy="1757766"/>
              <a:chOff x="1585913" y="960438"/>
              <a:chExt cx="2590800" cy="1804987"/>
            </a:xfrm>
            <a:grpFill/>
          </p:grpSpPr>
          <p:sp>
            <p:nvSpPr>
              <p:cNvPr id="118" name="Freeform 21"/>
              <p:cNvSpPr>
                <a:spLocks/>
              </p:cNvSpPr>
              <p:nvPr/>
            </p:nvSpPr>
            <p:spPr bwMode="auto">
              <a:xfrm>
                <a:off x="3359150" y="2703513"/>
                <a:ext cx="12700" cy="14288"/>
              </a:xfrm>
              <a:custGeom>
                <a:avLst/>
                <a:gdLst/>
                <a:ahLst/>
                <a:cxnLst>
                  <a:cxn ang="0">
                    <a:pos x="9" y="4"/>
                  </a:cxn>
                  <a:cxn ang="0">
                    <a:pos x="9" y="0"/>
                  </a:cxn>
                  <a:cxn ang="0">
                    <a:pos x="5" y="0"/>
                  </a:cxn>
                  <a:cxn ang="0">
                    <a:pos x="0" y="9"/>
                  </a:cxn>
                  <a:cxn ang="0">
                    <a:pos x="4" y="9"/>
                  </a:cxn>
                  <a:cxn ang="0">
                    <a:pos x="9" y="4"/>
                  </a:cxn>
                </a:cxnLst>
                <a:rect l="0" t="0" r="r" b="b"/>
                <a:pathLst>
                  <a:path w="9" h="11">
                    <a:moveTo>
                      <a:pt x="9" y="4"/>
                    </a:moveTo>
                    <a:cubicBezTo>
                      <a:pt x="9" y="0"/>
                      <a:pt x="9" y="0"/>
                      <a:pt x="9" y="0"/>
                    </a:cubicBezTo>
                    <a:cubicBezTo>
                      <a:pt x="8" y="0"/>
                      <a:pt x="6" y="0"/>
                      <a:pt x="5" y="0"/>
                    </a:cubicBezTo>
                    <a:cubicBezTo>
                      <a:pt x="2" y="0"/>
                      <a:pt x="0" y="5"/>
                      <a:pt x="0" y="9"/>
                    </a:cubicBezTo>
                    <a:cubicBezTo>
                      <a:pt x="0" y="11"/>
                      <a:pt x="2" y="9"/>
                      <a:pt x="4" y="9"/>
                    </a:cubicBezTo>
                    <a:cubicBezTo>
                      <a:pt x="6" y="9"/>
                      <a:pt x="8" y="5"/>
                      <a:pt x="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19" name="Freeform 39"/>
              <p:cNvSpPr>
                <a:spLocks/>
              </p:cNvSpPr>
              <p:nvPr/>
            </p:nvSpPr>
            <p:spPr bwMode="auto">
              <a:xfrm>
                <a:off x="3989388" y="1552575"/>
                <a:ext cx="169863" cy="77788"/>
              </a:xfrm>
              <a:custGeom>
                <a:avLst/>
                <a:gdLst/>
                <a:ahLst/>
                <a:cxnLst>
                  <a:cxn ang="0">
                    <a:pos x="127" y="31"/>
                  </a:cxn>
                  <a:cxn ang="0">
                    <a:pos x="108" y="47"/>
                  </a:cxn>
                  <a:cxn ang="0">
                    <a:pos x="74" y="58"/>
                  </a:cxn>
                  <a:cxn ang="0">
                    <a:pos x="34" y="50"/>
                  </a:cxn>
                  <a:cxn ang="0">
                    <a:pos x="14" y="42"/>
                  </a:cxn>
                  <a:cxn ang="0">
                    <a:pos x="18" y="40"/>
                  </a:cxn>
                  <a:cxn ang="0">
                    <a:pos x="21" y="27"/>
                  </a:cxn>
                  <a:cxn ang="0">
                    <a:pos x="2" y="25"/>
                  </a:cxn>
                  <a:cxn ang="0">
                    <a:pos x="25" y="21"/>
                  </a:cxn>
                  <a:cxn ang="0">
                    <a:pos x="23" y="18"/>
                  </a:cxn>
                  <a:cxn ang="0">
                    <a:pos x="0" y="8"/>
                  </a:cxn>
                  <a:cxn ang="0">
                    <a:pos x="9" y="9"/>
                  </a:cxn>
                  <a:cxn ang="0">
                    <a:pos x="9" y="5"/>
                  </a:cxn>
                  <a:cxn ang="0">
                    <a:pos x="17" y="0"/>
                  </a:cxn>
                  <a:cxn ang="0">
                    <a:pos x="21" y="0"/>
                  </a:cxn>
                  <a:cxn ang="0">
                    <a:pos x="23" y="7"/>
                  </a:cxn>
                  <a:cxn ang="0">
                    <a:pos x="30" y="16"/>
                  </a:cxn>
                  <a:cxn ang="0">
                    <a:pos x="38" y="13"/>
                  </a:cxn>
                  <a:cxn ang="0">
                    <a:pos x="38" y="8"/>
                  </a:cxn>
                  <a:cxn ang="0">
                    <a:pos x="44" y="12"/>
                  </a:cxn>
                  <a:cxn ang="0">
                    <a:pos x="54" y="9"/>
                  </a:cxn>
                  <a:cxn ang="0">
                    <a:pos x="60" y="12"/>
                  </a:cxn>
                  <a:cxn ang="0">
                    <a:pos x="60" y="8"/>
                  </a:cxn>
                  <a:cxn ang="0">
                    <a:pos x="74" y="9"/>
                  </a:cxn>
                  <a:cxn ang="0">
                    <a:pos x="89" y="8"/>
                  </a:cxn>
                  <a:cxn ang="0">
                    <a:pos x="91" y="1"/>
                  </a:cxn>
                  <a:cxn ang="0">
                    <a:pos x="96" y="1"/>
                  </a:cxn>
                  <a:cxn ang="0">
                    <a:pos x="104" y="7"/>
                  </a:cxn>
                  <a:cxn ang="0">
                    <a:pos x="115" y="4"/>
                  </a:cxn>
                  <a:cxn ang="0">
                    <a:pos x="112" y="8"/>
                  </a:cxn>
                  <a:cxn ang="0">
                    <a:pos x="128" y="30"/>
                  </a:cxn>
                  <a:cxn ang="0">
                    <a:pos x="127" y="31"/>
                  </a:cxn>
                </a:cxnLst>
                <a:rect l="0" t="0" r="r" b="b"/>
                <a:pathLst>
                  <a:path w="128" h="58">
                    <a:moveTo>
                      <a:pt x="127" y="31"/>
                    </a:moveTo>
                    <a:cubicBezTo>
                      <a:pt x="124" y="38"/>
                      <a:pt x="113" y="45"/>
                      <a:pt x="108" y="47"/>
                    </a:cubicBezTo>
                    <a:cubicBezTo>
                      <a:pt x="97" y="51"/>
                      <a:pt x="89" y="58"/>
                      <a:pt x="74" y="58"/>
                    </a:cubicBezTo>
                    <a:cubicBezTo>
                      <a:pt x="57" y="58"/>
                      <a:pt x="46" y="54"/>
                      <a:pt x="34" y="50"/>
                    </a:cubicBezTo>
                    <a:cubicBezTo>
                      <a:pt x="28" y="49"/>
                      <a:pt x="24" y="42"/>
                      <a:pt x="14" y="42"/>
                    </a:cubicBezTo>
                    <a:cubicBezTo>
                      <a:pt x="16" y="41"/>
                      <a:pt x="17" y="40"/>
                      <a:pt x="18" y="40"/>
                    </a:cubicBezTo>
                    <a:cubicBezTo>
                      <a:pt x="18" y="34"/>
                      <a:pt x="20" y="32"/>
                      <a:pt x="21" y="27"/>
                    </a:cubicBezTo>
                    <a:cubicBezTo>
                      <a:pt x="14" y="25"/>
                      <a:pt x="6" y="30"/>
                      <a:pt x="2" y="25"/>
                    </a:cubicBezTo>
                    <a:cubicBezTo>
                      <a:pt x="8" y="25"/>
                      <a:pt x="20" y="23"/>
                      <a:pt x="25" y="21"/>
                    </a:cubicBezTo>
                    <a:cubicBezTo>
                      <a:pt x="23" y="20"/>
                      <a:pt x="23" y="19"/>
                      <a:pt x="23" y="18"/>
                    </a:cubicBezTo>
                    <a:cubicBezTo>
                      <a:pt x="18" y="18"/>
                      <a:pt x="1" y="13"/>
                      <a:pt x="0" y="8"/>
                    </a:cubicBezTo>
                    <a:cubicBezTo>
                      <a:pt x="4" y="7"/>
                      <a:pt x="7" y="8"/>
                      <a:pt x="9" y="9"/>
                    </a:cubicBezTo>
                    <a:cubicBezTo>
                      <a:pt x="9" y="8"/>
                      <a:pt x="9" y="7"/>
                      <a:pt x="9" y="5"/>
                    </a:cubicBezTo>
                    <a:cubicBezTo>
                      <a:pt x="13" y="5"/>
                      <a:pt x="14" y="0"/>
                      <a:pt x="17" y="0"/>
                    </a:cubicBezTo>
                    <a:cubicBezTo>
                      <a:pt x="18" y="0"/>
                      <a:pt x="19" y="0"/>
                      <a:pt x="21" y="0"/>
                    </a:cubicBezTo>
                    <a:cubicBezTo>
                      <a:pt x="21" y="3"/>
                      <a:pt x="23" y="4"/>
                      <a:pt x="23" y="7"/>
                    </a:cubicBezTo>
                    <a:cubicBezTo>
                      <a:pt x="23" y="10"/>
                      <a:pt x="27" y="16"/>
                      <a:pt x="30" y="16"/>
                    </a:cubicBezTo>
                    <a:cubicBezTo>
                      <a:pt x="33" y="16"/>
                      <a:pt x="36" y="14"/>
                      <a:pt x="38" y="13"/>
                    </a:cubicBezTo>
                    <a:cubicBezTo>
                      <a:pt x="37" y="10"/>
                      <a:pt x="37" y="9"/>
                      <a:pt x="38" y="8"/>
                    </a:cubicBezTo>
                    <a:cubicBezTo>
                      <a:pt x="40" y="9"/>
                      <a:pt x="41" y="12"/>
                      <a:pt x="44" y="12"/>
                    </a:cubicBezTo>
                    <a:cubicBezTo>
                      <a:pt x="54" y="9"/>
                      <a:pt x="54" y="9"/>
                      <a:pt x="54" y="9"/>
                    </a:cubicBezTo>
                    <a:cubicBezTo>
                      <a:pt x="58" y="10"/>
                      <a:pt x="59" y="11"/>
                      <a:pt x="60" y="12"/>
                    </a:cubicBezTo>
                    <a:cubicBezTo>
                      <a:pt x="60" y="11"/>
                      <a:pt x="60" y="9"/>
                      <a:pt x="60" y="8"/>
                    </a:cubicBezTo>
                    <a:cubicBezTo>
                      <a:pt x="67" y="8"/>
                      <a:pt x="70" y="9"/>
                      <a:pt x="74" y="9"/>
                    </a:cubicBezTo>
                    <a:cubicBezTo>
                      <a:pt x="80" y="9"/>
                      <a:pt x="85" y="4"/>
                      <a:pt x="89" y="8"/>
                    </a:cubicBezTo>
                    <a:cubicBezTo>
                      <a:pt x="89" y="4"/>
                      <a:pt x="90" y="3"/>
                      <a:pt x="91" y="1"/>
                    </a:cubicBezTo>
                    <a:cubicBezTo>
                      <a:pt x="94" y="2"/>
                      <a:pt x="94" y="2"/>
                      <a:pt x="96" y="1"/>
                    </a:cubicBezTo>
                    <a:cubicBezTo>
                      <a:pt x="96" y="6"/>
                      <a:pt x="100" y="7"/>
                      <a:pt x="104" y="7"/>
                    </a:cubicBezTo>
                    <a:cubicBezTo>
                      <a:pt x="108" y="7"/>
                      <a:pt x="111" y="4"/>
                      <a:pt x="115" y="4"/>
                    </a:cubicBezTo>
                    <a:cubicBezTo>
                      <a:pt x="113" y="5"/>
                      <a:pt x="112" y="7"/>
                      <a:pt x="112" y="8"/>
                    </a:cubicBezTo>
                    <a:cubicBezTo>
                      <a:pt x="112" y="21"/>
                      <a:pt x="128" y="18"/>
                      <a:pt x="128" y="30"/>
                    </a:cubicBezTo>
                    <a:lnTo>
                      <a:pt x="127"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0" name="Freeform 40"/>
              <p:cNvSpPr>
                <a:spLocks/>
              </p:cNvSpPr>
              <p:nvPr/>
            </p:nvSpPr>
            <p:spPr bwMode="auto">
              <a:xfrm>
                <a:off x="2971800" y="2487613"/>
                <a:ext cx="174625" cy="60325"/>
              </a:xfrm>
              <a:custGeom>
                <a:avLst/>
                <a:gdLst/>
                <a:ahLst/>
                <a:cxnLst>
                  <a:cxn ang="0">
                    <a:pos x="131" y="40"/>
                  </a:cxn>
                  <a:cxn ang="0">
                    <a:pos x="114" y="45"/>
                  </a:cxn>
                  <a:cxn ang="0">
                    <a:pos x="88" y="42"/>
                  </a:cxn>
                  <a:cxn ang="0">
                    <a:pos x="88" y="39"/>
                  </a:cxn>
                  <a:cxn ang="0">
                    <a:pos x="93" y="35"/>
                  </a:cxn>
                  <a:cxn ang="0">
                    <a:pos x="78" y="26"/>
                  </a:cxn>
                  <a:cxn ang="0">
                    <a:pos x="73" y="22"/>
                  </a:cxn>
                  <a:cxn ang="0">
                    <a:pos x="64" y="22"/>
                  </a:cxn>
                  <a:cxn ang="0">
                    <a:pos x="48" y="15"/>
                  </a:cxn>
                  <a:cxn ang="0">
                    <a:pos x="35" y="15"/>
                  </a:cxn>
                  <a:cxn ang="0">
                    <a:pos x="34" y="10"/>
                  </a:cxn>
                  <a:cxn ang="0">
                    <a:pos x="28" y="9"/>
                  </a:cxn>
                  <a:cxn ang="0">
                    <a:pos x="4" y="20"/>
                  </a:cxn>
                  <a:cxn ang="0">
                    <a:pos x="0" y="20"/>
                  </a:cxn>
                  <a:cxn ang="0">
                    <a:pos x="36" y="0"/>
                  </a:cxn>
                  <a:cxn ang="0">
                    <a:pos x="79" y="11"/>
                  </a:cxn>
                  <a:cxn ang="0">
                    <a:pos x="86" y="17"/>
                  </a:cxn>
                  <a:cxn ang="0">
                    <a:pos x="114" y="28"/>
                  </a:cxn>
                  <a:cxn ang="0">
                    <a:pos x="114" y="31"/>
                  </a:cxn>
                  <a:cxn ang="0">
                    <a:pos x="120" y="31"/>
                  </a:cxn>
                  <a:cxn ang="0">
                    <a:pos x="131" y="40"/>
                  </a:cxn>
                </a:cxnLst>
                <a:rect l="0" t="0" r="r" b="b"/>
                <a:pathLst>
                  <a:path w="131" h="45">
                    <a:moveTo>
                      <a:pt x="131" y="40"/>
                    </a:moveTo>
                    <a:cubicBezTo>
                      <a:pt x="127" y="45"/>
                      <a:pt x="119" y="45"/>
                      <a:pt x="114" y="45"/>
                    </a:cubicBezTo>
                    <a:cubicBezTo>
                      <a:pt x="104" y="45"/>
                      <a:pt x="97" y="42"/>
                      <a:pt x="88" y="42"/>
                    </a:cubicBezTo>
                    <a:cubicBezTo>
                      <a:pt x="88" y="41"/>
                      <a:pt x="88" y="40"/>
                      <a:pt x="88" y="39"/>
                    </a:cubicBezTo>
                    <a:cubicBezTo>
                      <a:pt x="90" y="39"/>
                      <a:pt x="92" y="38"/>
                      <a:pt x="93" y="35"/>
                    </a:cubicBezTo>
                    <a:cubicBezTo>
                      <a:pt x="86" y="32"/>
                      <a:pt x="79" y="33"/>
                      <a:pt x="78" y="26"/>
                    </a:cubicBezTo>
                    <a:cubicBezTo>
                      <a:pt x="74" y="26"/>
                      <a:pt x="75" y="23"/>
                      <a:pt x="73" y="22"/>
                    </a:cubicBezTo>
                    <a:cubicBezTo>
                      <a:pt x="69" y="20"/>
                      <a:pt x="67" y="22"/>
                      <a:pt x="64" y="22"/>
                    </a:cubicBezTo>
                    <a:cubicBezTo>
                      <a:pt x="57" y="22"/>
                      <a:pt x="54" y="15"/>
                      <a:pt x="48" y="15"/>
                    </a:cubicBezTo>
                    <a:cubicBezTo>
                      <a:pt x="35" y="15"/>
                      <a:pt x="35" y="15"/>
                      <a:pt x="35" y="15"/>
                    </a:cubicBezTo>
                    <a:cubicBezTo>
                      <a:pt x="33" y="13"/>
                      <a:pt x="33" y="12"/>
                      <a:pt x="34" y="10"/>
                    </a:cubicBezTo>
                    <a:cubicBezTo>
                      <a:pt x="33" y="9"/>
                      <a:pt x="30" y="9"/>
                      <a:pt x="28" y="9"/>
                    </a:cubicBezTo>
                    <a:cubicBezTo>
                      <a:pt x="20" y="9"/>
                      <a:pt x="8" y="15"/>
                      <a:pt x="4" y="20"/>
                    </a:cubicBezTo>
                    <a:cubicBezTo>
                      <a:pt x="0" y="20"/>
                      <a:pt x="0" y="20"/>
                      <a:pt x="0" y="20"/>
                    </a:cubicBezTo>
                    <a:cubicBezTo>
                      <a:pt x="7" y="8"/>
                      <a:pt x="16" y="0"/>
                      <a:pt x="36" y="0"/>
                    </a:cubicBezTo>
                    <a:cubicBezTo>
                      <a:pt x="55" y="0"/>
                      <a:pt x="64" y="11"/>
                      <a:pt x="79" y="11"/>
                    </a:cubicBezTo>
                    <a:cubicBezTo>
                      <a:pt x="82" y="11"/>
                      <a:pt x="86" y="16"/>
                      <a:pt x="86" y="17"/>
                    </a:cubicBezTo>
                    <a:cubicBezTo>
                      <a:pt x="93" y="23"/>
                      <a:pt x="104" y="28"/>
                      <a:pt x="114" y="28"/>
                    </a:cubicBezTo>
                    <a:cubicBezTo>
                      <a:pt x="114" y="28"/>
                      <a:pt x="113" y="30"/>
                      <a:pt x="114" y="31"/>
                    </a:cubicBezTo>
                    <a:cubicBezTo>
                      <a:pt x="120" y="31"/>
                      <a:pt x="120" y="31"/>
                      <a:pt x="120" y="31"/>
                    </a:cubicBezTo>
                    <a:cubicBezTo>
                      <a:pt x="125" y="32"/>
                      <a:pt x="127" y="39"/>
                      <a:pt x="131" y="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1" name="Freeform 41"/>
              <p:cNvSpPr>
                <a:spLocks/>
              </p:cNvSpPr>
              <p:nvPr/>
            </p:nvSpPr>
            <p:spPr bwMode="auto">
              <a:xfrm>
                <a:off x="2995613" y="2509838"/>
                <a:ext cx="9525" cy="11113"/>
              </a:xfrm>
              <a:custGeom>
                <a:avLst/>
                <a:gdLst/>
                <a:ahLst/>
                <a:cxnLst>
                  <a:cxn ang="0">
                    <a:pos x="6" y="0"/>
                  </a:cxn>
                  <a:cxn ang="0">
                    <a:pos x="6" y="7"/>
                  </a:cxn>
                  <a:cxn ang="0">
                    <a:pos x="0" y="7"/>
                  </a:cxn>
                  <a:cxn ang="0">
                    <a:pos x="4" y="3"/>
                  </a:cxn>
                  <a:cxn ang="0">
                    <a:pos x="4" y="0"/>
                  </a:cxn>
                  <a:cxn ang="0">
                    <a:pos x="5" y="0"/>
                  </a:cxn>
                  <a:cxn ang="0">
                    <a:pos x="6" y="0"/>
                  </a:cxn>
                </a:cxnLst>
                <a:rect l="0" t="0" r="r" b="b"/>
                <a:pathLst>
                  <a:path w="7" h="8">
                    <a:moveTo>
                      <a:pt x="6" y="0"/>
                    </a:moveTo>
                    <a:cubicBezTo>
                      <a:pt x="6" y="3"/>
                      <a:pt x="7" y="5"/>
                      <a:pt x="6" y="7"/>
                    </a:cubicBezTo>
                    <a:cubicBezTo>
                      <a:pt x="5" y="7"/>
                      <a:pt x="0" y="8"/>
                      <a:pt x="0" y="7"/>
                    </a:cubicBezTo>
                    <a:cubicBezTo>
                      <a:pt x="0" y="4"/>
                      <a:pt x="2" y="3"/>
                      <a:pt x="4" y="3"/>
                    </a:cubicBezTo>
                    <a:cubicBezTo>
                      <a:pt x="4" y="0"/>
                      <a:pt x="4" y="0"/>
                      <a:pt x="4" y="0"/>
                    </a:cubicBezTo>
                    <a:cubicBezTo>
                      <a:pt x="5" y="0"/>
                      <a:pt x="5" y="0"/>
                      <a:pt x="5" y="0"/>
                    </a:cubicBez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2" name="Freeform 42"/>
              <p:cNvSpPr>
                <a:spLocks/>
              </p:cNvSpPr>
              <p:nvPr/>
            </p:nvSpPr>
            <p:spPr bwMode="auto">
              <a:xfrm>
                <a:off x="3082925" y="2568575"/>
                <a:ext cx="28575" cy="14288"/>
              </a:xfrm>
              <a:custGeom>
                <a:avLst/>
                <a:gdLst/>
                <a:ahLst/>
                <a:cxnLst>
                  <a:cxn ang="0">
                    <a:pos x="18" y="3"/>
                  </a:cxn>
                  <a:cxn ang="0">
                    <a:pos x="22" y="7"/>
                  </a:cxn>
                  <a:cxn ang="0">
                    <a:pos x="7" y="10"/>
                  </a:cxn>
                  <a:cxn ang="0">
                    <a:pos x="0" y="3"/>
                  </a:cxn>
                  <a:cxn ang="0">
                    <a:pos x="5" y="0"/>
                  </a:cxn>
                  <a:cxn ang="0">
                    <a:pos x="19" y="4"/>
                  </a:cxn>
                  <a:cxn ang="0">
                    <a:pos x="18" y="3"/>
                  </a:cxn>
                </a:cxnLst>
                <a:rect l="0" t="0" r="r" b="b"/>
                <a:pathLst>
                  <a:path w="22" h="10">
                    <a:moveTo>
                      <a:pt x="18" y="3"/>
                    </a:moveTo>
                    <a:cubicBezTo>
                      <a:pt x="21" y="4"/>
                      <a:pt x="22" y="5"/>
                      <a:pt x="22" y="7"/>
                    </a:cubicBezTo>
                    <a:cubicBezTo>
                      <a:pt x="17" y="8"/>
                      <a:pt x="13" y="10"/>
                      <a:pt x="7" y="10"/>
                    </a:cubicBezTo>
                    <a:cubicBezTo>
                      <a:pt x="4" y="10"/>
                      <a:pt x="0" y="7"/>
                      <a:pt x="0" y="3"/>
                    </a:cubicBezTo>
                    <a:cubicBezTo>
                      <a:pt x="0" y="1"/>
                      <a:pt x="3" y="0"/>
                      <a:pt x="5" y="0"/>
                    </a:cubicBezTo>
                    <a:cubicBezTo>
                      <a:pt x="10" y="0"/>
                      <a:pt x="16" y="3"/>
                      <a:pt x="19" y="4"/>
                    </a:cubicBezTo>
                    <a:lnTo>
                      <a:pt x="18"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3" name="Freeform 43"/>
              <p:cNvSpPr>
                <a:spLocks/>
              </p:cNvSpPr>
              <p:nvPr/>
            </p:nvSpPr>
            <p:spPr bwMode="auto">
              <a:xfrm>
                <a:off x="3267075" y="2568575"/>
                <a:ext cx="23813" cy="9525"/>
              </a:xfrm>
              <a:custGeom>
                <a:avLst/>
                <a:gdLst/>
                <a:ahLst/>
                <a:cxnLst>
                  <a:cxn ang="0">
                    <a:pos x="18" y="4"/>
                  </a:cxn>
                  <a:cxn ang="0">
                    <a:pos x="11" y="7"/>
                  </a:cxn>
                  <a:cxn ang="0">
                    <a:pos x="0" y="2"/>
                  </a:cxn>
                  <a:cxn ang="0">
                    <a:pos x="5" y="0"/>
                  </a:cxn>
                  <a:cxn ang="0">
                    <a:pos x="18" y="4"/>
                  </a:cxn>
                </a:cxnLst>
                <a:rect l="0" t="0" r="r" b="b"/>
                <a:pathLst>
                  <a:path w="18" h="7">
                    <a:moveTo>
                      <a:pt x="18" y="4"/>
                    </a:moveTo>
                    <a:cubicBezTo>
                      <a:pt x="17" y="7"/>
                      <a:pt x="14" y="7"/>
                      <a:pt x="11" y="7"/>
                    </a:cubicBezTo>
                    <a:cubicBezTo>
                      <a:pt x="6" y="7"/>
                      <a:pt x="0" y="7"/>
                      <a:pt x="0" y="2"/>
                    </a:cubicBezTo>
                    <a:cubicBezTo>
                      <a:pt x="0" y="0"/>
                      <a:pt x="4" y="0"/>
                      <a:pt x="5" y="0"/>
                    </a:cubicBezTo>
                    <a:cubicBezTo>
                      <a:pt x="6" y="0"/>
                      <a:pt x="17" y="2"/>
                      <a:pt x="18"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4" name="Freeform 44"/>
              <p:cNvSpPr>
                <a:spLocks/>
              </p:cNvSpPr>
              <p:nvPr/>
            </p:nvSpPr>
            <p:spPr bwMode="auto">
              <a:xfrm>
                <a:off x="3146425" y="2543175"/>
                <a:ext cx="100013" cy="39688"/>
              </a:xfrm>
              <a:custGeom>
                <a:avLst/>
                <a:gdLst/>
                <a:ahLst/>
                <a:cxnLst>
                  <a:cxn ang="0">
                    <a:pos x="64" y="11"/>
                  </a:cxn>
                  <a:cxn ang="0">
                    <a:pos x="75" y="21"/>
                  </a:cxn>
                  <a:cxn ang="0">
                    <a:pos x="59" y="21"/>
                  </a:cxn>
                  <a:cxn ang="0">
                    <a:pos x="51" y="24"/>
                  </a:cxn>
                  <a:cxn ang="0">
                    <a:pos x="47" y="22"/>
                  </a:cxn>
                  <a:cxn ang="0">
                    <a:pos x="37" y="30"/>
                  </a:cxn>
                  <a:cxn ang="0">
                    <a:pos x="31" y="24"/>
                  </a:cxn>
                  <a:cxn ang="0">
                    <a:pos x="11" y="23"/>
                  </a:cxn>
                  <a:cxn ang="0">
                    <a:pos x="6" y="23"/>
                  </a:cxn>
                  <a:cxn ang="0">
                    <a:pos x="6" y="27"/>
                  </a:cxn>
                  <a:cxn ang="0">
                    <a:pos x="0" y="19"/>
                  </a:cxn>
                  <a:cxn ang="0">
                    <a:pos x="3" y="18"/>
                  </a:cxn>
                  <a:cxn ang="0">
                    <a:pos x="22" y="17"/>
                  </a:cxn>
                  <a:cxn ang="0">
                    <a:pos x="19" y="8"/>
                  </a:cxn>
                  <a:cxn ang="0">
                    <a:pos x="14" y="3"/>
                  </a:cxn>
                  <a:cxn ang="0">
                    <a:pos x="17" y="0"/>
                  </a:cxn>
                  <a:cxn ang="0">
                    <a:pos x="28" y="3"/>
                  </a:cxn>
                  <a:cxn ang="0">
                    <a:pos x="41" y="1"/>
                  </a:cxn>
                  <a:cxn ang="0">
                    <a:pos x="66" y="13"/>
                  </a:cxn>
                  <a:cxn ang="0">
                    <a:pos x="64" y="11"/>
                  </a:cxn>
                </a:cxnLst>
                <a:rect l="0" t="0" r="r" b="b"/>
                <a:pathLst>
                  <a:path w="75" h="30">
                    <a:moveTo>
                      <a:pt x="64" y="11"/>
                    </a:moveTo>
                    <a:cubicBezTo>
                      <a:pt x="68" y="15"/>
                      <a:pt x="72" y="16"/>
                      <a:pt x="75" y="21"/>
                    </a:cubicBezTo>
                    <a:cubicBezTo>
                      <a:pt x="59" y="21"/>
                      <a:pt x="59" y="21"/>
                      <a:pt x="59" y="21"/>
                    </a:cubicBezTo>
                    <a:cubicBezTo>
                      <a:pt x="56" y="23"/>
                      <a:pt x="54" y="24"/>
                      <a:pt x="51" y="24"/>
                    </a:cubicBezTo>
                    <a:cubicBezTo>
                      <a:pt x="49" y="24"/>
                      <a:pt x="49" y="22"/>
                      <a:pt x="47" y="22"/>
                    </a:cubicBezTo>
                    <a:cubicBezTo>
                      <a:pt x="41" y="22"/>
                      <a:pt x="41" y="30"/>
                      <a:pt x="37" y="30"/>
                    </a:cubicBezTo>
                    <a:cubicBezTo>
                      <a:pt x="33" y="30"/>
                      <a:pt x="34" y="26"/>
                      <a:pt x="31" y="24"/>
                    </a:cubicBezTo>
                    <a:cubicBezTo>
                      <a:pt x="27" y="22"/>
                      <a:pt x="17" y="23"/>
                      <a:pt x="11" y="23"/>
                    </a:cubicBezTo>
                    <a:cubicBezTo>
                      <a:pt x="8" y="23"/>
                      <a:pt x="8" y="24"/>
                      <a:pt x="6" y="23"/>
                    </a:cubicBezTo>
                    <a:cubicBezTo>
                      <a:pt x="6" y="24"/>
                      <a:pt x="6" y="25"/>
                      <a:pt x="6" y="27"/>
                    </a:cubicBezTo>
                    <a:cubicBezTo>
                      <a:pt x="3" y="26"/>
                      <a:pt x="0" y="22"/>
                      <a:pt x="0" y="19"/>
                    </a:cubicBezTo>
                    <a:cubicBezTo>
                      <a:pt x="1" y="19"/>
                      <a:pt x="2" y="18"/>
                      <a:pt x="3" y="18"/>
                    </a:cubicBezTo>
                    <a:cubicBezTo>
                      <a:pt x="13" y="18"/>
                      <a:pt x="17" y="20"/>
                      <a:pt x="22" y="17"/>
                    </a:cubicBezTo>
                    <a:cubicBezTo>
                      <a:pt x="20" y="15"/>
                      <a:pt x="19" y="12"/>
                      <a:pt x="19" y="8"/>
                    </a:cubicBezTo>
                    <a:cubicBezTo>
                      <a:pt x="17" y="8"/>
                      <a:pt x="14" y="6"/>
                      <a:pt x="14" y="3"/>
                    </a:cubicBezTo>
                    <a:cubicBezTo>
                      <a:pt x="14" y="2"/>
                      <a:pt x="16" y="0"/>
                      <a:pt x="17" y="0"/>
                    </a:cubicBezTo>
                    <a:cubicBezTo>
                      <a:pt x="21" y="0"/>
                      <a:pt x="24" y="3"/>
                      <a:pt x="28" y="3"/>
                    </a:cubicBezTo>
                    <a:cubicBezTo>
                      <a:pt x="34" y="3"/>
                      <a:pt x="36" y="1"/>
                      <a:pt x="41" y="1"/>
                    </a:cubicBezTo>
                    <a:cubicBezTo>
                      <a:pt x="55" y="1"/>
                      <a:pt x="58" y="9"/>
                      <a:pt x="66" y="13"/>
                    </a:cubicBezTo>
                    <a:lnTo>
                      <a:pt x="64"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5" name="Freeform 45"/>
              <p:cNvSpPr>
                <a:spLocks/>
              </p:cNvSpPr>
              <p:nvPr/>
            </p:nvSpPr>
            <p:spPr bwMode="auto">
              <a:xfrm>
                <a:off x="3076575" y="2455863"/>
                <a:ext cx="9525" cy="11113"/>
              </a:xfrm>
              <a:custGeom>
                <a:avLst/>
                <a:gdLst/>
                <a:ahLst/>
                <a:cxnLst>
                  <a:cxn ang="0">
                    <a:pos x="2" y="0"/>
                  </a:cxn>
                  <a:cxn ang="0">
                    <a:pos x="7" y="6"/>
                  </a:cxn>
                  <a:cxn ang="0">
                    <a:pos x="5" y="8"/>
                  </a:cxn>
                  <a:cxn ang="0">
                    <a:pos x="0" y="0"/>
                  </a:cxn>
                  <a:cxn ang="0">
                    <a:pos x="2" y="0"/>
                  </a:cxn>
                </a:cxnLst>
                <a:rect l="0" t="0" r="r" b="b"/>
                <a:pathLst>
                  <a:path w="7" h="8">
                    <a:moveTo>
                      <a:pt x="2" y="0"/>
                    </a:moveTo>
                    <a:cubicBezTo>
                      <a:pt x="6" y="0"/>
                      <a:pt x="7" y="3"/>
                      <a:pt x="7" y="6"/>
                    </a:cubicBezTo>
                    <a:cubicBezTo>
                      <a:pt x="7" y="7"/>
                      <a:pt x="6" y="8"/>
                      <a:pt x="5" y="8"/>
                    </a:cubicBezTo>
                    <a:cubicBezTo>
                      <a:pt x="0" y="8"/>
                      <a:pt x="0" y="3"/>
                      <a:pt x="0" y="0"/>
                    </a:cubicBezTo>
                    <a:cubicBezTo>
                      <a:pt x="0" y="0"/>
                      <a:pt x="2" y="0"/>
                      <a:pt x="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6" name="Freeform 46"/>
              <p:cNvSpPr>
                <a:spLocks/>
              </p:cNvSpPr>
              <p:nvPr/>
            </p:nvSpPr>
            <p:spPr bwMode="auto">
              <a:xfrm>
                <a:off x="3068638" y="2422525"/>
                <a:ext cx="14288" cy="4763"/>
              </a:xfrm>
              <a:custGeom>
                <a:avLst/>
                <a:gdLst/>
                <a:ahLst/>
                <a:cxnLst>
                  <a:cxn ang="0">
                    <a:pos x="0" y="3"/>
                  </a:cxn>
                  <a:cxn ang="0">
                    <a:pos x="6" y="0"/>
                  </a:cxn>
                  <a:cxn ang="0">
                    <a:pos x="11" y="3"/>
                  </a:cxn>
                  <a:cxn ang="0">
                    <a:pos x="0" y="3"/>
                  </a:cxn>
                </a:cxnLst>
                <a:rect l="0" t="0" r="r" b="b"/>
                <a:pathLst>
                  <a:path w="11" h="4">
                    <a:moveTo>
                      <a:pt x="0" y="3"/>
                    </a:moveTo>
                    <a:cubicBezTo>
                      <a:pt x="1" y="2"/>
                      <a:pt x="4" y="0"/>
                      <a:pt x="6" y="0"/>
                    </a:cubicBezTo>
                    <a:cubicBezTo>
                      <a:pt x="9" y="0"/>
                      <a:pt x="10" y="2"/>
                      <a:pt x="11" y="3"/>
                    </a:cubicBezTo>
                    <a:cubicBezTo>
                      <a:pt x="7" y="4"/>
                      <a:pt x="2" y="3"/>
                      <a:pt x="0"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7" name="Freeform 47"/>
              <p:cNvSpPr>
                <a:spLocks/>
              </p:cNvSpPr>
              <p:nvPr/>
            </p:nvSpPr>
            <p:spPr bwMode="auto">
              <a:xfrm>
                <a:off x="3094038" y="2428875"/>
                <a:ext cx="4763" cy="6350"/>
              </a:xfrm>
              <a:custGeom>
                <a:avLst/>
                <a:gdLst/>
                <a:ahLst/>
                <a:cxnLst>
                  <a:cxn ang="0">
                    <a:pos x="3" y="4"/>
                  </a:cxn>
                  <a:cxn ang="0">
                    <a:pos x="1" y="0"/>
                  </a:cxn>
                  <a:cxn ang="0">
                    <a:pos x="3" y="4"/>
                  </a:cxn>
                </a:cxnLst>
                <a:rect l="0" t="0" r="r" b="b"/>
                <a:pathLst>
                  <a:path w="3" h="4">
                    <a:moveTo>
                      <a:pt x="3" y="4"/>
                    </a:moveTo>
                    <a:cubicBezTo>
                      <a:pt x="2" y="4"/>
                      <a:pt x="0" y="1"/>
                      <a:pt x="1" y="0"/>
                    </a:cubicBezTo>
                    <a:lnTo>
                      <a:pt x="3"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8" name="Freeform 48"/>
              <p:cNvSpPr>
                <a:spLocks/>
              </p:cNvSpPr>
              <p:nvPr/>
            </p:nvSpPr>
            <p:spPr bwMode="auto">
              <a:xfrm>
                <a:off x="3154363" y="2517775"/>
                <a:ext cx="11113" cy="7938"/>
              </a:xfrm>
              <a:custGeom>
                <a:avLst/>
                <a:gdLst/>
                <a:ahLst/>
                <a:cxnLst>
                  <a:cxn ang="0">
                    <a:pos x="0" y="4"/>
                  </a:cxn>
                  <a:cxn ang="0">
                    <a:pos x="0" y="7"/>
                  </a:cxn>
                  <a:cxn ang="0">
                    <a:pos x="2" y="7"/>
                  </a:cxn>
                  <a:cxn ang="0">
                    <a:pos x="9" y="4"/>
                  </a:cxn>
                  <a:cxn ang="0">
                    <a:pos x="9" y="0"/>
                  </a:cxn>
                  <a:cxn ang="0">
                    <a:pos x="0" y="4"/>
                  </a:cxn>
                </a:cxnLst>
                <a:rect l="0" t="0" r="r" b="b"/>
                <a:pathLst>
                  <a:path w="9" h="7">
                    <a:moveTo>
                      <a:pt x="0" y="4"/>
                    </a:moveTo>
                    <a:cubicBezTo>
                      <a:pt x="0" y="5"/>
                      <a:pt x="0" y="6"/>
                      <a:pt x="0" y="7"/>
                    </a:cubicBezTo>
                    <a:cubicBezTo>
                      <a:pt x="0" y="7"/>
                      <a:pt x="1" y="7"/>
                      <a:pt x="2" y="7"/>
                    </a:cubicBezTo>
                    <a:cubicBezTo>
                      <a:pt x="4" y="7"/>
                      <a:pt x="7" y="6"/>
                      <a:pt x="9" y="4"/>
                    </a:cubicBezTo>
                    <a:cubicBezTo>
                      <a:pt x="9" y="0"/>
                      <a:pt x="9" y="0"/>
                      <a:pt x="9" y="0"/>
                    </a:cubicBezTo>
                    <a:cubicBezTo>
                      <a:pt x="7" y="3"/>
                      <a:pt x="4" y="5"/>
                      <a:pt x="0"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29" name="Freeform 49"/>
              <p:cNvSpPr>
                <a:spLocks/>
              </p:cNvSpPr>
              <p:nvPr/>
            </p:nvSpPr>
            <p:spPr bwMode="auto">
              <a:xfrm>
                <a:off x="2301875" y="1979613"/>
                <a:ext cx="966788" cy="473075"/>
              </a:xfrm>
              <a:custGeom>
                <a:avLst/>
                <a:gdLst/>
                <a:ahLst/>
                <a:cxnLst>
                  <a:cxn ang="0">
                    <a:pos x="543" y="285"/>
                  </a:cxn>
                  <a:cxn ang="0">
                    <a:pos x="555" y="317"/>
                  </a:cxn>
                  <a:cxn ang="0">
                    <a:pos x="560" y="338"/>
                  </a:cxn>
                  <a:cxn ang="0">
                    <a:pos x="542" y="345"/>
                  </a:cxn>
                  <a:cxn ang="0">
                    <a:pos x="507" y="287"/>
                  </a:cxn>
                  <a:cxn ang="0">
                    <a:pos x="474" y="283"/>
                  </a:cxn>
                  <a:cxn ang="0">
                    <a:pos x="460" y="283"/>
                  </a:cxn>
                  <a:cxn ang="0">
                    <a:pos x="443" y="286"/>
                  </a:cxn>
                  <a:cxn ang="0">
                    <a:pos x="412" y="292"/>
                  </a:cxn>
                  <a:cxn ang="0">
                    <a:pos x="393" y="291"/>
                  </a:cxn>
                  <a:cxn ang="0">
                    <a:pos x="357" y="309"/>
                  </a:cxn>
                  <a:cxn ang="0">
                    <a:pos x="343" y="342"/>
                  </a:cxn>
                  <a:cxn ang="0">
                    <a:pos x="282" y="290"/>
                  </a:cxn>
                  <a:cxn ang="0">
                    <a:pos x="246" y="281"/>
                  </a:cxn>
                  <a:cxn ang="0">
                    <a:pos x="207" y="262"/>
                  </a:cxn>
                  <a:cxn ang="0">
                    <a:pos x="170" y="268"/>
                  </a:cxn>
                  <a:cxn ang="0">
                    <a:pos x="95" y="252"/>
                  </a:cxn>
                  <a:cxn ang="0">
                    <a:pos x="47" y="214"/>
                  </a:cxn>
                  <a:cxn ang="0">
                    <a:pos x="4" y="141"/>
                  </a:cxn>
                  <a:cxn ang="0">
                    <a:pos x="4" y="95"/>
                  </a:cxn>
                  <a:cxn ang="0">
                    <a:pos x="0" y="23"/>
                  </a:cxn>
                  <a:cxn ang="0">
                    <a:pos x="20" y="27"/>
                  </a:cxn>
                  <a:cxn ang="0">
                    <a:pos x="20" y="5"/>
                  </a:cxn>
                  <a:cxn ang="0">
                    <a:pos x="373" y="0"/>
                  </a:cxn>
                  <a:cxn ang="0">
                    <a:pos x="406" y="11"/>
                  </a:cxn>
                  <a:cxn ang="0">
                    <a:pos x="408" y="45"/>
                  </a:cxn>
                  <a:cxn ang="0">
                    <a:pos x="423" y="42"/>
                  </a:cxn>
                  <a:cxn ang="0">
                    <a:pos x="441" y="40"/>
                  </a:cxn>
                  <a:cxn ang="0">
                    <a:pos x="456" y="42"/>
                  </a:cxn>
                  <a:cxn ang="0">
                    <a:pos x="472" y="47"/>
                  </a:cxn>
                  <a:cxn ang="0">
                    <a:pos x="510" y="48"/>
                  </a:cxn>
                  <a:cxn ang="0">
                    <a:pos x="490" y="54"/>
                  </a:cxn>
                  <a:cxn ang="0">
                    <a:pos x="472" y="69"/>
                  </a:cxn>
                  <a:cxn ang="0">
                    <a:pos x="471" y="121"/>
                  </a:cxn>
                  <a:cxn ang="0">
                    <a:pos x="480" y="88"/>
                  </a:cxn>
                  <a:cxn ang="0">
                    <a:pos x="501" y="57"/>
                  </a:cxn>
                  <a:cxn ang="0">
                    <a:pos x="516" y="87"/>
                  </a:cxn>
                  <a:cxn ang="0">
                    <a:pos x="531" y="97"/>
                  </a:cxn>
                  <a:cxn ang="0">
                    <a:pos x="527" y="123"/>
                  </a:cxn>
                  <a:cxn ang="0">
                    <a:pos x="564" y="97"/>
                  </a:cxn>
                  <a:cxn ang="0">
                    <a:pos x="610" y="84"/>
                  </a:cxn>
                  <a:cxn ang="0">
                    <a:pos x="653" y="65"/>
                  </a:cxn>
                  <a:cxn ang="0">
                    <a:pos x="675" y="63"/>
                  </a:cxn>
                  <a:cxn ang="0">
                    <a:pos x="699" y="28"/>
                  </a:cxn>
                  <a:cxn ang="0">
                    <a:pos x="726" y="73"/>
                  </a:cxn>
                  <a:cxn ang="0">
                    <a:pos x="701" y="80"/>
                  </a:cxn>
                  <a:cxn ang="0">
                    <a:pos x="681" y="113"/>
                  </a:cxn>
                  <a:cxn ang="0">
                    <a:pos x="690" y="118"/>
                  </a:cxn>
                  <a:cxn ang="0">
                    <a:pos x="676" y="122"/>
                  </a:cxn>
                  <a:cxn ang="0">
                    <a:pos x="648" y="132"/>
                  </a:cxn>
                  <a:cxn ang="0">
                    <a:pos x="642" y="134"/>
                  </a:cxn>
                  <a:cxn ang="0">
                    <a:pos x="635" y="137"/>
                  </a:cxn>
                  <a:cxn ang="0">
                    <a:pos x="627" y="161"/>
                  </a:cxn>
                  <a:cxn ang="0">
                    <a:pos x="622" y="159"/>
                  </a:cxn>
                  <a:cxn ang="0">
                    <a:pos x="615" y="186"/>
                  </a:cxn>
                  <a:cxn ang="0">
                    <a:pos x="614" y="178"/>
                  </a:cxn>
                  <a:cxn ang="0">
                    <a:pos x="608" y="170"/>
                  </a:cxn>
                  <a:cxn ang="0">
                    <a:pos x="611" y="192"/>
                  </a:cxn>
                  <a:cxn ang="0">
                    <a:pos x="614" y="196"/>
                  </a:cxn>
                  <a:cxn ang="0">
                    <a:pos x="614" y="205"/>
                  </a:cxn>
                  <a:cxn ang="0">
                    <a:pos x="607" y="213"/>
                  </a:cxn>
                  <a:cxn ang="0">
                    <a:pos x="607" y="221"/>
                  </a:cxn>
                  <a:cxn ang="0">
                    <a:pos x="589" y="232"/>
                  </a:cxn>
                </a:cxnLst>
                <a:rect l="0" t="0" r="r" b="b"/>
                <a:pathLst>
                  <a:path w="726" h="356">
                    <a:moveTo>
                      <a:pt x="590" y="233"/>
                    </a:moveTo>
                    <a:cubicBezTo>
                      <a:pt x="569" y="245"/>
                      <a:pt x="543" y="253"/>
                      <a:pt x="543" y="285"/>
                    </a:cubicBezTo>
                    <a:cubicBezTo>
                      <a:pt x="543" y="300"/>
                      <a:pt x="555" y="304"/>
                      <a:pt x="555" y="318"/>
                    </a:cubicBezTo>
                    <a:cubicBezTo>
                      <a:pt x="555" y="317"/>
                      <a:pt x="555" y="317"/>
                      <a:pt x="555" y="317"/>
                    </a:cubicBezTo>
                    <a:cubicBezTo>
                      <a:pt x="555" y="320"/>
                      <a:pt x="555" y="320"/>
                      <a:pt x="555" y="320"/>
                    </a:cubicBezTo>
                    <a:cubicBezTo>
                      <a:pt x="556" y="326"/>
                      <a:pt x="560" y="330"/>
                      <a:pt x="560" y="338"/>
                    </a:cubicBezTo>
                    <a:cubicBezTo>
                      <a:pt x="560" y="347"/>
                      <a:pt x="558" y="356"/>
                      <a:pt x="551" y="356"/>
                    </a:cubicBezTo>
                    <a:cubicBezTo>
                      <a:pt x="544" y="356"/>
                      <a:pt x="544" y="349"/>
                      <a:pt x="542" y="345"/>
                    </a:cubicBezTo>
                    <a:cubicBezTo>
                      <a:pt x="537" y="338"/>
                      <a:pt x="532" y="335"/>
                      <a:pt x="529" y="328"/>
                    </a:cubicBezTo>
                    <a:cubicBezTo>
                      <a:pt x="522" y="314"/>
                      <a:pt x="527" y="287"/>
                      <a:pt x="507" y="287"/>
                    </a:cubicBezTo>
                    <a:cubicBezTo>
                      <a:pt x="503" y="287"/>
                      <a:pt x="502" y="293"/>
                      <a:pt x="498" y="293"/>
                    </a:cubicBezTo>
                    <a:cubicBezTo>
                      <a:pt x="490" y="293"/>
                      <a:pt x="485" y="283"/>
                      <a:pt x="474" y="283"/>
                    </a:cubicBezTo>
                    <a:cubicBezTo>
                      <a:pt x="468" y="283"/>
                      <a:pt x="467" y="286"/>
                      <a:pt x="463" y="286"/>
                    </a:cubicBezTo>
                    <a:cubicBezTo>
                      <a:pt x="462" y="286"/>
                      <a:pt x="460" y="284"/>
                      <a:pt x="460" y="283"/>
                    </a:cubicBezTo>
                    <a:cubicBezTo>
                      <a:pt x="453" y="285"/>
                      <a:pt x="444" y="284"/>
                      <a:pt x="436" y="286"/>
                    </a:cubicBezTo>
                    <a:cubicBezTo>
                      <a:pt x="441" y="288"/>
                      <a:pt x="440" y="288"/>
                      <a:pt x="443" y="286"/>
                    </a:cubicBezTo>
                    <a:cubicBezTo>
                      <a:pt x="442" y="293"/>
                      <a:pt x="438" y="297"/>
                      <a:pt x="443" y="301"/>
                    </a:cubicBezTo>
                    <a:cubicBezTo>
                      <a:pt x="431" y="307"/>
                      <a:pt x="421" y="292"/>
                      <a:pt x="412" y="292"/>
                    </a:cubicBezTo>
                    <a:cubicBezTo>
                      <a:pt x="409" y="292"/>
                      <a:pt x="408" y="295"/>
                      <a:pt x="405" y="295"/>
                    </a:cubicBezTo>
                    <a:cubicBezTo>
                      <a:pt x="400" y="295"/>
                      <a:pt x="398" y="291"/>
                      <a:pt x="393" y="291"/>
                    </a:cubicBezTo>
                    <a:cubicBezTo>
                      <a:pt x="380" y="291"/>
                      <a:pt x="374" y="302"/>
                      <a:pt x="368" y="307"/>
                    </a:cubicBezTo>
                    <a:cubicBezTo>
                      <a:pt x="365" y="311"/>
                      <a:pt x="361" y="308"/>
                      <a:pt x="357" y="309"/>
                    </a:cubicBezTo>
                    <a:cubicBezTo>
                      <a:pt x="347" y="313"/>
                      <a:pt x="341" y="325"/>
                      <a:pt x="341" y="338"/>
                    </a:cubicBezTo>
                    <a:cubicBezTo>
                      <a:pt x="341" y="339"/>
                      <a:pt x="343" y="341"/>
                      <a:pt x="343" y="342"/>
                    </a:cubicBezTo>
                    <a:cubicBezTo>
                      <a:pt x="336" y="342"/>
                      <a:pt x="325" y="339"/>
                      <a:pt x="321" y="336"/>
                    </a:cubicBezTo>
                    <a:cubicBezTo>
                      <a:pt x="307" y="322"/>
                      <a:pt x="308" y="290"/>
                      <a:pt x="282" y="290"/>
                    </a:cubicBezTo>
                    <a:cubicBezTo>
                      <a:pt x="272" y="290"/>
                      <a:pt x="275" y="302"/>
                      <a:pt x="266" y="302"/>
                    </a:cubicBezTo>
                    <a:cubicBezTo>
                      <a:pt x="257" y="302"/>
                      <a:pt x="250" y="287"/>
                      <a:pt x="246" y="281"/>
                    </a:cubicBezTo>
                    <a:cubicBezTo>
                      <a:pt x="239" y="268"/>
                      <a:pt x="230" y="266"/>
                      <a:pt x="215" y="262"/>
                    </a:cubicBezTo>
                    <a:cubicBezTo>
                      <a:pt x="207" y="262"/>
                      <a:pt x="207" y="262"/>
                      <a:pt x="207" y="262"/>
                    </a:cubicBezTo>
                    <a:cubicBezTo>
                      <a:pt x="207" y="268"/>
                      <a:pt x="207" y="268"/>
                      <a:pt x="207" y="268"/>
                    </a:cubicBezTo>
                    <a:cubicBezTo>
                      <a:pt x="170" y="268"/>
                      <a:pt x="170" y="268"/>
                      <a:pt x="170" y="268"/>
                    </a:cubicBezTo>
                    <a:cubicBezTo>
                      <a:pt x="123" y="252"/>
                      <a:pt x="123" y="252"/>
                      <a:pt x="123" y="252"/>
                    </a:cubicBezTo>
                    <a:cubicBezTo>
                      <a:pt x="95" y="252"/>
                      <a:pt x="95" y="252"/>
                      <a:pt x="95" y="252"/>
                    </a:cubicBezTo>
                    <a:cubicBezTo>
                      <a:pt x="88" y="239"/>
                      <a:pt x="66" y="230"/>
                      <a:pt x="50" y="223"/>
                    </a:cubicBezTo>
                    <a:cubicBezTo>
                      <a:pt x="47" y="222"/>
                      <a:pt x="48" y="217"/>
                      <a:pt x="47" y="214"/>
                    </a:cubicBezTo>
                    <a:cubicBezTo>
                      <a:pt x="40" y="198"/>
                      <a:pt x="28" y="193"/>
                      <a:pt x="30" y="175"/>
                    </a:cubicBezTo>
                    <a:cubicBezTo>
                      <a:pt x="21" y="174"/>
                      <a:pt x="11" y="154"/>
                      <a:pt x="4" y="141"/>
                    </a:cubicBezTo>
                    <a:cubicBezTo>
                      <a:pt x="2" y="137"/>
                      <a:pt x="6" y="134"/>
                      <a:pt x="8" y="133"/>
                    </a:cubicBezTo>
                    <a:cubicBezTo>
                      <a:pt x="3" y="123"/>
                      <a:pt x="8" y="107"/>
                      <a:pt x="4" y="95"/>
                    </a:cubicBezTo>
                    <a:cubicBezTo>
                      <a:pt x="0" y="85"/>
                      <a:pt x="11" y="60"/>
                      <a:pt x="11" y="46"/>
                    </a:cubicBezTo>
                    <a:cubicBezTo>
                      <a:pt x="11" y="36"/>
                      <a:pt x="0" y="32"/>
                      <a:pt x="0" y="23"/>
                    </a:cubicBezTo>
                    <a:cubicBezTo>
                      <a:pt x="0" y="20"/>
                      <a:pt x="5" y="20"/>
                      <a:pt x="7" y="20"/>
                    </a:cubicBezTo>
                    <a:cubicBezTo>
                      <a:pt x="13" y="20"/>
                      <a:pt x="17" y="23"/>
                      <a:pt x="20" y="27"/>
                    </a:cubicBezTo>
                    <a:cubicBezTo>
                      <a:pt x="22" y="24"/>
                      <a:pt x="26" y="19"/>
                      <a:pt x="26" y="15"/>
                    </a:cubicBezTo>
                    <a:cubicBezTo>
                      <a:pt x="26" y="11"/>
                      <a:pt x="22" y="10"/>
                      <a:pt x="20" y="5"/>
                    </a:cubicBezTo>
                    <a:cubicBezTo>
                      <a:pt x="373" y="5"/>
                      <a:pt x="373" y="5"/>
                      <a:pt x="373" y="5"/>
                    </a:cubicBezTo>
                    <a:cubicBezTo>
                      <a:pt x="373" y="0"/>
                      <a:pt x="373" y="0"/>
                      <a:pt x="373" y="0"/>
                    </a:cubicBezTo>
                    <a:cubicBezTo>
                      <a:pt x="379" y="4"/>
                      <a:pt x="378" y="8"/>
                      <a:pt x="384" y="11"/>
                    </a:cubicBezTo>
                    <a:cubicBezTo>
                      <a:pt x="406" y="11"/>
                      <a:pt x="406" y="11"/>
                      <a:pt x="406" y="11"/>
                    </a:cubicBezTo>
                    <a:cubicBezTo>
                      <a:pt x="415" y="20"/>
                      <a:pt x="426" y="20"/>
                      <a:pt x="443" y="20"/>
                    </a:cubicBezTo>
                    <a:cubicBezTo>
                      <a:pt x="431" y="28"/>
                      <a:pt x="418" y="32"/>
                      <a:pt x="408" y="45"/>
                    </a:cubicBezTo>
                    <a:cubicBezTo>
                      <a:pt x="415" y="45"/>
                      <a:pt x="415" y="45"/>
                      <a:pt x="415" y="45"/>
                    </a:cubicBezTo>
                    <a:cubicBezTo>
                      <a:pt x="418" y="43"/>
                      <a:pt x="420" y="42"/>
                      <a:pt x="423" y="42"/>
                    </a:cubicBezTo>
                    <a:cubicBezTo>
                      <a:pt x="425" y="46"/>
                      <a:pt x="426" y="46"/>
                      <a:pt x="429" y="46"/>
                    </a:cubicBezTo>
                    <a:cubicBezTo>
                      <a:pt x="437" y="46"/>
                      <a:pt x="437" y="40"/>
                      <a:pt x="441" y="40"/>
                    </a:cubicBezTo>
                    <a:cubicBezTo>
                      <a:pt x="446" y="40"/>
                      <a:pt x="454" y="32"/>
                      <a:pt x="461" y="31"/>
                    </a:cubicBezTo>
                    <a:cubicBezTo>
                      <a:pt x="461" y="37"/>
                      <a:pt x="458" y="38"/>
                      <a:pt x="456" y="42"/>
                    </a:cubicBezTo>
                    <a:cubicBezTo>
                      <a:pt x="465" y="42"/>
                      <a:pt x="465" y="42"/>
                      <a:pt x="465" y="42"/>
                    </a:cubicBezTo>
                    <a:cubicBezTo>
                      <a:pt x="465" y="45"/>
                      <a:pt x="469" y="47"/>
                      <a:pt x="472" y="47"/>
                    </a:cubicBezTo>
                    <a:cubicBezTo>
                      <a:pt x="478" y="47"/>
                      <a:pt x="480" y="43"/>
                      <a:pt x="484" y="43"/>
                    </a:cubicBezTo>
                    <a:cubicBezTo>
                      <a:pt x="495" y="43"/>
                      <a:pt x="500" y="48"/>
                      <a:pt x="510" y="48"/>
                    </a:cubicBezTo>
                    <a:cubicBezTo>
                      <a:pt x="510" y="54"/>
                      <a:pt x="510" y="54"/>
                      <a:pt x="510" y="54"/>
                    </a:cubicBezTo>
                    <a:cubicBezTo>
                      <a:pt x="503" y="56"/>
                      <a:pt x="493" y="54"/>
                      <a:pt x="490" y="54"/>
                    </a:cubicBezTo>
                    <a:cubicBezTo>
                      <a:pt x="480" y="54"/>
                      <a:pt x="462" y="66"/>
                      <a:pt x="462" y="75"/>
                    </a:cubicBezTo>
                    <a:cubicBezTo>
                      <a:pt x="466" y="72"/>
                      <a:pt x="468" y="69"/>
                      <a:pt x="472" y="69"/>
                    </a:cubicBezTo>
                    <a:cubicBezTo>
                      <a:pt x="465" y="78"/>
                      <a:pt x="461" y="101"/>
                      <a:pt x="461" y="112"/>
                    </a:cubicBezTo>
                    <a:cubicBezTo>
                      <a:pt x="461" y="117"/>
                      <a:pt x="466" y="121"/>
                      <a:pt x="471" y="121"/>
                    </a:cubicBezTo>
                    <a:cubicBezTo>
                      <a:pt x="478" y="121"/>
                      <a:pt x="480" y="108"/>
                      <a:pt x="480" y="102"/>
                    </a:cubicBezTo>
                    <a:cubicBezTo>
                      <a:pt x="480" y="97"/>
                      <a:pt x="480" y="88"/>
                      <a:pt x="480" y="88"/>
                    </a:cubicBezTo>
                    <a:cubicBezTo>
                      <a:pt x="480" y="82"/>
                      <a:pt x="480" y="69"/>
                      <a:pt x="485" y="69"/>
                    </a:cubicBezTo>
                    <a:cubicBezTo>
                      <a:pt x="501" y="68"/>
                      <a:pt x="494" y="57"/>
                      <a:pt x="501" y="57"/>
                    </a:cubicBezTo>
                    <a:cubicBezTo>
                      <a:pt x="504" y="57"/>
                      <a:pt x="521" y="65"/>
                      <a:pt x="521" y="70"/>
                    </a:cubicBezTo>
                    <a:cubicBezTo>
                      <a:pt x="521" y="77"/>
                      <a:pt x="517" y="81"/>
                      <a:pt x="516" y="87"/>
                    </a:cubicBezTo>
                    <a:cubicBezTo>
                      <a:pt x="521" y="87"/>
                      <a:pt x="520" y="85"/>
                      <a:pt x="525" y="84"/>
                    </a:cubicBezTo>
                    <a:cubicBezTo>
                      <a:pt x="526" y="91"/>
                      <a:pt x="526" y="94"/>
                      <a:pt x="531" y="97"/>
                    </a:cubicBezTo>
                    <a:cubicBezTo>
                      <a:pt x="526" y="103"/>
                      <a:pt x="521" y="106"/>
                      <a:pt x="521" y="112"/>
                    </a:cubicBezTo>
                    <a:cubicBezTo>
                      <a:pt x="521" y="117"/>
                      <a:pt x="523" y="123"/>
                      <a:pt x="527" y="123"/>
                    </a:cubicBezTo>
                    <a:cubicBezTo>
                      <a:pt x="539" y="123"/>
                      <a:pt x="559" y="112"/>
                      <a:pt x="568" y="108"/>
                    </a:cubicBezTo>
                    <a:cubicBezTo>
                      <a:pt x="567" y="103"/>
                      <a:pt x="565" y="99"/>
                      <a:pt x="564" y="97"/>
                    </a:cubicBezTo>
                    <a:cubicBezTo>
                      <a:pt x="567" y="97"/>
                      <a:pt x="567" y="97"/>
                      <a:pt x="569" y="97"/>
                    </a:cubicBezTo>
                    <a:cubicBezTo>
                      <a:pt x="582" y="97"/>
                      <a:pt x="610" y="101"/>
                      <a:pt x="610" y="84"/>
                    </a:cubicBezTo>
                    <a:cubicBezTo>
                      <a:pt x="611" y="84"/>
                      <a:pt x="627" y="68"/>
                      <a:pt x="630" y="66"/>
                    </a:cubicBezTo>
                    <a:cubicBezTo>
                      <a:pt x="632" y="64"/>
                      <a:pt x="643" y="65"/>
                      <a:pt x="653" y="65"/>
                    </a:cubicBezTo>
                    <a:cubicBezTo>
                      <a:pt x="657" y="65"/>
                      <a:pt x="660" y="65"/>
                      <a:pt x="664" y="65"/>
                    </a:cubicBezTo>
                    <a:cubicBezTo>
                      <a:pt x="668" y="65"/>
                      <a:pt x="672" y="63"/>
                      <a:pt x="675" y="63"/>
                    </a:cubicBezTo>
                    <a:cubicBezTo>
                      <a:pt x="680" y="62"/>
                      <a:pt x="678" y="61"/>
                      <a:pt x="680" y="59"/>
                    </a:cubicBezTo>
                    <a:cubicBezTo>
                      <a:pt x="688" y="51"/>
                      <a:pt x="688" y="36"/>
                      <a:pt x="699" y="28"/>
                    </a:cubicBezTo>
                    <a:cubicBezTo>
                      <a:pt x="704" y="35"/>
                      <a:pt x="712" y="25"/>
                      <a:pt x="716" y="32"/>
                    </a:cubicBezTo>
                    <a:cubicBezTo>
                      <a:pt x="723" y="44"/>
                      <a:pt x="717" y="62"/>
                      <a:pt x="726" y="73"/>
                    </a:cubicBezTo>
                    <a:cubicBezTo>
                      <a:pt x="723" y="77"/>
                      <a:pt x="718" y="80"/>
                      <a:pt x="712" y="80"/>
                    </a:cubicBezTo>
                    <a:cubicBezTo>
                      <a:pt x="706" y="80"/>
                      <a:pt x="706" y="78"/>
                      <a:pt x="701" y="80"/>
                    </a:cubicBezTo>
                    <a:cubicBezTo>
                      <a:pt x="694" y="87"/>
                      <a:pt x="679" y="92"/>
                      <a:pt x="679" y="109"/>
                    </a:cubicBezTo>
                    <a:cubicBezTo>
                      <a:pt x="679" y="110"/>
                      <a:pt x="680" y="112"/>
                      <a:pt x="681" y="113"/>
                    </a:cubicBezTo>
                    <a:cubicBezTo>
                      <a:pt x="681" y="115"/>
                      <a:pt x="683" y="121"/>
                      <a:pt x="686" y="121"/>
                    </a:cubicBezTo>
                    <a:cubicBezTo>
                      <a:pt x="687" y="121"/>
                      <a:pt x="690" y="118"/>
                      <a:pt x="690" y="118"/>
                    </a:cubicBezTo>
                    <a:cubicBezTo>
                      <a:pt x="690" y="121"/>
                      <a:pt x="690" y="121"/>
                      <a:pt x="690" y="121"/>
                    </a:cubicBezTo>
                    <a:cubicBezTo>
                      <a:pt x="685" y="122"/>
                      <a:pt x="678" y="124"/>
                      <a:pt x="676" y="122"/>
                    </a:cubicBezTo>
                    <a:cubicBezTo>
                      <a:pt x="667" y="129"/>
                      <a:pt x="652" y="126"/>
                      <a:pt x="643" y="132"/>
                    </a:cubicBezTo>
                    <a:cubicBezTo>
                      <a:pt x="648" y="132"/>
                      <a:pt x="648" y="132"/>
                      <a:pt x="648" y="132"/>
                    </a:cubicBezTo>
                    <a:cubicBezTo>
                      <a:pt x="652" y="132"/>
                      <a:pt x="656" y="129"/>
                      <a:pt x="659" y="132"/>
                    </a:cubicBezTo>
                    <a:cubicBezTo>
                      <a:pt x="653" y="134"/>
                      <a:pt x="648" y="134"/>
                      <a:pt x="642" y="134"/>
                    </a:cubicBezTo>
                    <a:cubicBezTo>
                      <a:pt x="641" y="134"/>
                      <a:pt x="639" y="133"/>
                      <a:pt x="638" y="133"/>
                    </a:cubicBezTo>
                    <a:cubicBezTo>
                      <a:pt x="637" y="134"/>
                      <a:pt x="635" y="135"/>
                      <a:pt x="635" y="137"/>
                    </a:cubicBezTo>
                    <a:cubicBezTo>
                      <a:pt x="635" y="139"/>
                      <a:pt x="639" y="142"/>
                      <a:pt x="639" y="142"/>
                    </a:cubicBezTo>
                    <a:cubicBezTo>
                      <a:pt x="638" y="145"/>
                      <a:pt x="630" y="161"/>
                      <a:pt x="627" y="161"/>
                    </a:cubicBezTo>
                    <a:cubicBezTo>
                      <a:pt x="626" y="161"/>
                      <a:pt x="625" y="158"/>
                      <a:pt x="624" y="157"/>
                    </a:cubicBezTo>
                    <a:cubicBezTo>
                      <a:pt x="622" y="159"/>
                      <a:pt x="622" y="159"/>
                      <a:pt x="622" y="159"/>
                    </a:cubicBezTo>
                    <a:cubicBezTo>
                      <a:pt x="623" y="163"/>
                      <a:pt x="626" y="164"/>
                      <a:pt x="626" y="168"/>
                    </a:cubicBezTo>
                    <a:cubicBezTo>
                      <a:pt x="626" y="170"/>
                      <a:pt x="617" y="186"/>
                      <a:pt x="615" y="186"/>
                    </a:cubicBezTo>
                    <a:cubicBezTo>
                      <a:pt x="615" y="186"/>
                      <a:pt x="614" y="184"/>
                      <a:pt x="614" y="183"/>
                    </a:cubicBezTo>
                    <a:cubicBezTo>
                      <a:pt x="614" y="181"/>
                      <a:pt x="614" y="180"/>
                      <a:pt x="614" y="178"/>
                    </a:cubicBezTo>
                    <a:cubicBezTo>
                      <a:pt x="614" y="175"/>
                      <a:pt x="610" y="168"/>
                      <a:pt x="609" y="164"/>
                    </a:cubicBezTo>
                    <a:cubicBezTo>
                      <a:pt x="608" y="166"/>
                      <a:pt x="608" y="170"/>
                      <a:pt x="608" y="170"/>
                    </a:cubicBezTo>
                    <a:cubicBezTo>
                      <a:pt x="608" y="173"/>
                      <a:pt x="611" y="181"/>
                      <a:pt x="611" y="185"/>
                    </a:cubicBezTo>
                    <a:cubicBezTo>
                      <a:pt x="611" y="189"/>
                      <a:pt x="608" y="189"/>
                      <a:pt x="611" y="192"/>
                    </a:cubicBezTo>
                    <a:cubicBezTo>
                      <a:pt x="612" y="192"/>
                      <a:pt x="613" y="192"/>
                      <a:pt x="614" y="192"/>
                    </a:cubicBezTo>
                    <a:cubicBezTo>
                      <a:pt x="614" y="193"/>
                      <a:pt x="614" y="195"/>
                      <a:pt x="614" y="196"/>
                    </a:cubicBezTo>
                    <a:cubicBezTo>
                      <a:pt x="614" y="200"/>
                      <a:pt x="610" y="201"/>
                      <a:pt x="608" y="201"/>
                    </a:cubicBezTo>
                    <a:cubicBezTo>
                      <a:pt x="610" y="205"/>
                      <a:pt x="612" y="205"/>
                      <a:pt x="614" y="205"/>
                    </a:cubicBezTo>
                    <a:cubicBezTo>
                      <a:pt x="613" y="210"/>
                      <a:pt x="611" y="210"/>
                      <a:pt x="607" y="210"/>
                    </a:cubicBezTo>
                    <a:cubicBezTo>
                      <a:pt x="607" y="213"/>
                      <a:pt x="607" y="213"/>
                      <a:pt x="607" y="213"/>
                    </a:cubicBezTo>
                    <a:cubicBezTo>
                      <a:pt x="612" y="216"/>
                      <a:pt x="612" y="216"/>
                      <a:pt x="612" y="216"/>
                    </a:cubicBezTo>
                    <a:cubicBezTo>
                      <a:pt x="611" y="218"/>
                      <a:pt x="610" y="221"/>
                      <a:pt x="607" y="221"/>
                    </a:cubicBezTo>
                    <a:cubicBezTo>
                      <a:pt x="602" y="222"/>
                      <a:pt x="600" y="226"/>
                      <a:pt x="596" y="226"/>
                    </a:cubicBezTo>
                    <a:cubicBezTo>
                      <a:pt x="591" y="228"/>
                      <a:pt x="591" y="230"/>
                      <a:pt x="589" y="232"/>
                    </a:cubicBezTo>
                    <a:lnTo>
                      <a:pt x="590" y="2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0" name="Freeform 50"/>
              <p:cNvSpPr>
                <a:spLocks/>
              </p:cNvSpPr>
              <p:nvPr/>
            </p:nvSpPr>
            <p:spPr bwMode="auto">
              <a:xfrm>
                <a:off x="2030413" y="1400175"/>
                <a:ext cx="1425575" cy="736600"/>
              </a:xfrm>
              <a:custGeom>
                <a:avLst/>
                <a:gdLst/>
                <a:ahLst/>
                <a:cxnLst>
                  <a:cxn ang="0">
                    <a:pos x="950" y="501"/>
                  </a:cxn>
                  <a:cxn ang="0">
                    <a:pos x="950" y="527"/>
                  </a:cxn>
                  <a:cxn ang="0">
                    <a:pos x="955" y="469"/>
                  </a:cxn>
                  <a:cxn ang="0">
                    <a:pos x="944" y="436"/>
                  </a:cxn>
                  <a:cxn ang="0">
                    <a:pos x="982" y="418"/>
                  </a:cxn>
                  <a:cxn ang="0">
                    <a:pos x="1060" y="356"/>
                  </a:cxn>
                  <a:cxn ang="0">
                    <a:pos x="1050" y="346"/>
                  </a:cxn>
                  <a:cxn ang="0">
                    <a:pos x="991" y="310"/>
                  </a:cxn>
                  <a:cxn ang="0">
                    <a:pos x="965" y="247"/>
                  </a:cxn>
                  <a:cxn ang="0">
                    <a:pos x="908" y="267"/>
                  </a:cxn>
                  <a:cxn ang="0">
                    <a:pos x="831" y="204"/>
                  </a:cxn>
                  <a:cxn ang="0">
                    <a:pos x="794" y="247"/>
                  </a:cxn>
                  <a:cxn ang="0">
                    <a:pos x="783" y="387"/>
                  </a:cxn>
                  <a:cxn ang="0">
                    <a:pos x="726" y="334"/>
                  </a:cxn>
                  <a:cxn ang="0">
                    <a:pos x="607" y="306"/>
                  </a:cxn>
                  <a:cxn ang="0">
                    <a:pos x="595" y="216"/>
                  </a:cxn>
                  <a:cxn ang="0">
                    <a:pos x="633" y="178"/>
                  </a:cxn>
                  <a:cxn ang="0">
                    <a:pos x="675" y="146"/>
                  </a:cxn>
                  <a:cxn ang="0">
                    <a:pos x="686" y="127"/>
                  </a:cxn>
                  <a:cxn ang="0">
                    <a:pos x="722" y="120"/>
                  </a:cxn>
                  <a:cxn ang="0">
                    <a:pos x="746" y="61"/>
                  </a:cxn>
                  <a:cxn ang="0">
                    <a:pos x="702" y="67"/>
                  </a:cxn>
                  <a:cxn ang="0">
                    <a:pos x="665" y="74"/>
                  </a:cxn>
                  <a:cxn ang="0">
                    <a:pos x="625" y="55"/>
                  </a:cxn>
                  <a:cxn ang="0">
                    <a:pos x="574" y="0"/>
                  </a:cxn>
                  <a:cxn ang="0">
                    <a:pos x="555" y="38"/>
                  </a:cxn>
                  <a:cxn ang="0">
                    <a:pos x="567" y="98"/>
                  </a:cxn>
                  <a:cxn ang="0">
                    <a:pos x="492" y="92"/>
                  </a:cxn>
                  <a:cxn ang="0">
                    <a:pos x="430" y="75"/>
                  </a:cxn>
                  <a:cxn ang="0">
                    <a:pos x="387" y="89"/>
                  </a:cxn>
                  <a:cxn ang="0">
                    <a:pos x="333" y="81"/>
                  </a:cxn>
                  <a:cxn ang="0">
                    <a:pos x="202" y="42"/>
                  </a:cxn>
                  <a:cxn ang="0">
                    <a:pos x="138" y="40"/>
                  </a:cxn>
                  <a:cxn ang="0">
                    <a:pos x="61" y="70"/>
                  </a:cxn>
                  <a:cxn ang="0">
                    <a:pos x="0" y="242"/>
                  </a:cxn>
                  <a:cxn ang="0">
                    <a:pos x="67" y="253"/>
                  </a:cxn>
                  <a:cxn ang="0">
                    <a:pos x="124" y="316"/>
                  </a:cxn>
                  <a:cxn ang="0">
                    <a:pos x="136" y="366"/>
                  </a:cxn>
                  <a:cxn ang="0">
                    <a:pos x="181" y="413"/>
                  </a:cxn>
                  <a:cxn ang="0">
                    <a:pos x="224" y="440"/>
                  </a:cxn>
                  <a:cxn ang="0">
                    <a:pos x="610" y="446"/>
                  </a:cxn>
                  <a:cxn ang="0">
                    <a:pos x="676" y="453"/>
                  </a:cxn>
                  <a:cxn ang="0">
                    <a:pos x="705" y="477"/>
                  </a:cxn>
                  <a:cxn ang="0">
                    <a:pos x="759" y="512"/>
                  </a:cxn>
                  <a:cxn ang="0">
                    <a:pos x="732" y="553"/>
                  </a:cxn>
                  <a:cxn ang="0">
                    <a:pos x="772" y="543"/>
                  </a:cxn>
                  <a:cxn ang="0">
                    <a:pos x="814" y="519"/>
                  </a:cxn>
                  <a:cxn ang="0">
                    <a:pos x="879" y="498"/>
                  </a:cxn>
                  <a:cxn ang="0">
                    <a:pos x="928" y="505"/>
                  </a:cxn>
                </a:cxnLst>
                <a:rect l="0" t="0" r="r" b="b"/>
                <a:pathLst>
                  <a:path w="1071" h="553">
                    <a:moveTo>
                      <a:pt x="928" y="503"/>
                    </a:moveTo>
                    <a:cubicBezTo>
                      <a:pt x="928" y="502"/>
                      <a:pt x="928" y="502"/>
                      <a:pt x="928" y="502"/>
                    </a:cubicBezTo>
                    <a:cubicBezTo>
                      <a:pt x="928" y="502"/>
                      <a:pt x="931" y="502"/>
                      <a:pt x="932" y="502"/>
                    </a:cubicBezTo>
                    <a:cubicBezTo>
                      <a:pt x="935" y="502"/>
                      <a:pt x="946" y="504"/>
                      <a:pt x="950" y="501"/>
                    </a:cubicBezTo>
                    <a:cubicBezTo>
                      <a:pt x="954" y="498"/>
                      <a:pt x="954" y="493"/>
                      <a:pt x="960" y="492"/>
                    </a:cubicBezTo>
                    <a:cubicBezTo>
                      <a:pt x="960" y="498"/>
                      <a:pt x="960" y="499"/>
                      <a:pt x="967" y="499"/>
                    </a:cubicBezTo>
                    <a:cubicBezTo>
                      <a:pt x="957" y="500"/>
                      <a:pt x="941" y="507"/>
                      <a:pt x="941" y="516"/>
                    </a:cubicBezTo>
                    <a:cubicBezTo>
                      <a:pt x="941" y="520"/>
                      <a:pt x="947" y="527"/>
                      <a:pt x="950" y="527"/>
                    </a:cubicBezTo>
                    <a:cubicBezTo>
                      <a:pt x="953" y="527"/>
                      <a:pt x="961" y="516"/>
                      <a:pt x="970" y="513"/>
                    </a:cubicBezTo>
                    <a:cubicBezTo>
                      <a:pt x="972" y="513"/>
                      <a:pt x="1003" y="501"/>
                      <a:pt x="1003" y="497"/>
                    </a:cubicBezTo>
                    <a:cubicBezTo>
                      <a:pt x="1003" y="493"/>
                      <a:pt x="991" y="492"/>
                      <a:pt x="988" y="492"/>
                    </a:cubicBezTo>
                    <a:cubicBezTo>
                      <a:pt x="976" y="492"/>
                      <a:pt x="955" y="480"/>
                      <a:pt x="955" y="469"/>
                    </a:cubicBezTo>
                    <a:cubicBezTo>
                      <a:pt x="955" y="466"/>
                      <a:pt x="959" y="463"/>
                      <a:pt x="960" y="458"/>
                    </a:cubicBezTo>
                    <a:cubicBezTo>
                      <a:pt x="958" y="458"/>
                      <a:pt x="953" y="457"/>
                      <a:pt x="949" y="457"/>
                    </a:cubicBezTo>
                    <a:cubicBezTo>
                      <a:pt x="951" y="453"/>
                      <a:pt x="967" y="451"/>
                      <a:pt x="967" y="442"/>
                    </a:cubicBezTo>
                    <a:cubicBezTo>
                      <a:pt x="967" y="434"/>
                      <a:pt x="954" y="436"/>
                      <a:pt x="944" y="436"/>
                    </a:cubicBezTo>
                    <a:cubicBezTo>
                      <a:pt x="925" y="436"/>
                      <a:pt x="916" y="449"/>
                      <a:pt x="903" y="451"/>
                    </a:cubicBezTo>
                    <a:cubicBezTo>
                      <a:pt x="909" y="439"/>
                      <a:pt x="918" y="443"/>
                      <a:pt x="928" y="433"/>
                    </a:cubicBezTo>
                    <a:cubicBezTo>
                      <a:pt x="934" y="427"/>
                      <a:pt x="929" y="423"/>
                      <a:pt x="939" y="420"/>
                    </a:cubicBezTo>
                    <a:cubicBezTo>
                      <a:pt x="955" y="415"/>
                      <a:pt x="965" y="418"/>
                      <a:pt x="982" y="418"/>
                    </a:cubicBezTo>
                    <a:cubicBezTo>
                      <a:pt x="1004" y="418"/>
                      <a:pt x="1016" y="425"/>
                      <a:pt x="1029" y="408"/>
                    </a:cubicBezTo>
                    <a:cubicBezTo>
                      <a:pt x="1035" y="400"/>
                      <a:pt x="1071" y="398"/>
                      <a:pt x="1071" y="384"/>
                    </a:cubicBezTo>
                    <a:cubicBezTo>
                      <a:pt x="1071" y="374"/>
                      <a:pt x="1067" y="370"/>
                      <a:pt x="1063" y="363"/>
                    </a:cubicBezTo>
                    <a:cubicBezTo>
                      <a:pt x="1060" y="363"/>
                      <a:pt x="1065" y="359"/>
                      <a:pt x="1060" y="356"/>
                    </a:cubicBezTo>
                    <a:cubicBezTo>
                      <a:pt x="1060" y="351"/>
                      <a:pt x="1060" y="351"/>
                      <a:pt x="1060" y="351"/>
                    </a:cubicBezTo>
                    <a:cubicBezTo>
                      <a:pt x="1050" y="357"/>
                      <a:pt x="1029" y="364"/>
                      <a:pt x="1018" y="364"/>
                    </a:cubicBezTo>
                    <a:cubicBezTo>
                      <a:pt x="1017" y="364"/>
                      <a:pt x="1014" y="363"/>
                      <a:pt x="1014" y="362"/>
                    </a:cubicBezTo>
                    <a:cubicBezTo>
                      <a:pt x="1022" y="358"/>
                      <a:pt x="1047" y="354"/>
                      <a:pt x="1050" y="346"/>
                    </a:cubicBezTo>
                    <a:cubicBezTo>
                      <a:pt x="1050" y="344"/>
                      <a:pt x="1046" y="343"/>
                      <a:pt x="1046" y="341"/>
                    </a:cubicBezTo>
                    <a:cubicBezTo>
                      <a:pt x="1035" y="342"/>
                      <a:pt x="1013" y="337"/>
                      <a:pt x="1013" y="322"/>
                    </a:cubicBezTo>
                    <a:cubicBezTo>
                      <a:pt x="1013" y="321"/>
                      <a:pt x="1013" y="321"/>
                      <a:pt x="1013" y="321"/>
                    </a:cubicBezTo>
                    <a:cubicBezTo>
                      <a:pt x="1003" y="321"/>
                      <a:pt x="997" y="315"/>
                      <a:pt x="991" y="310"/>
                    </a:cubicBezTo>
                    <a:cubicBezTo>
                      <a:pt x="994" y="309"/>
                      <a:pt x="998" y="308"/>
                      <a:pt x="998" y="302"/>
                    </a:cubicBezTo>
                    <a:cubicBezTo>
                      <a:pt x="998" y="298"/>
                      <a:pt x="994" y="295"/>
                      <a:pt x="995" y="290"/>
                    </a:cubicBezTo>
                    <a:cubicBezTo>
                      <a:pt x="991" y="289"/>
                      <a:pt x="977" y="280"/>
                      <a:pt x="980" y="272"/>
                    </a:cubicBezTo>
                    <a:cubicBezTo>
                      <a:pt x="985" y="262"/>
                      <a:pt x="966" y="259"/>
                      <a:pt x="965" y="247"/>
                    </a:cubicBezTo>
                    <a:cubicBezTo>
                      <a:pt x="964" y="247"/>
                      <a:pt x="959" y="243"/>
                      <a:pt x="958" y="242"/>
                    </a:cubicBezTo>
                    <a:cubicBezTo>
                      <a:pt x="954" y="244"/>
                      <a:pt x="947" y="248"/>
                      <a:pt x="947" y="254"/>
                    </a:cubicBezTo>
                    <a:cubicBezTo>
                      <a:pt x="947" y="261"/>
                      <a:pt x="933" y="277"/>
                      <a:pt x="922" y="277"/>
                    </a:cubicBezTo>
                    <a:cubicBezTo>
                      <a:pt x="914" y="277"/>
                      <a:pt x="913" y="267"/>
                      <a:pt x="908" y="267"/>
                    </a:cubicBezTo>
                    <a:cubicBezTo>
                      <a:pt x="900" y="267"/>
                      <a:pt x="897" y="246"/>
                      <a:pt x="896" y="236"/>
                    </a:cubicBezTo>
                    <a:cubicBezTo>
                      <a:pt x="894" y="224"/>
                      <a:pt x="870" y="233"/>
                      <a:pt x="870" y="216"/>
                    </a:cubicBezTo>
                    <a:cubicBezTo>
                      <a:pt x="858" y="215"/>
                      <a:pt x="855" y="200"/>
                      <a:pt x="843" y="200"/>
                    </a:cubicBezTo>
                    <a:cubicBezTo>
                      <a:pt x="837" y="200"/>
                      <a:pt x="837" y="204"/>
                      <a:pt x="831" y="204"/>
                    </a:cubicBezTo>
                    <a:cubicBezTo>
                      <a:pt x="818" y="204"/>
                      <a:pt x="810" y="197"/>
                      <a:pt x="797" y="197"/>
                    </a:cubicBezTo>
                    <a:cubicBezTo>
                      <a:pt x="791" y="197"/>
                      <a:pt x="784" y="200"/>
                      <a:pt x="784" y="208"/>
                    </a:cubicBezTo>
                    <a:cubicBezTo>
                      <a:pt x="784" y="212"/>
                      <a:pt x="800" y="218"/>
                      <a:pt x="786" y="227"/>
                    </a:cubicBezTo>
                    <a:cubicBezTo>
                      <a:pt x="780" y="231"/>
                      <a:pt x="794" y="241"/>
                      <a:pt x="794" y="247"/>
                    </a:cubicBezTo>
                    <a:cubicBezTo>
                      <a:pt x="796" y="260"/>
                      <a:pt x="783" y="264"/>
                      <a:pt x="778" y="266"/>
                    </a:cubicBezTo>
                    <a:cubicBezTo>
                      <a:pt x="788" y="283"/>
                      <a:pt x="803" y="289"/>
                      <a:pt x="803" y="318"/>
                    </a:cubicBezTo>
                    <a:cubicBezTo>
                      <a:pt x="803" y="326"/>
                      <a:pt x="777" y="346"/>
                      <a:pt x="768" y="347"/>
                    </a:cubicBezTo>
                    <a:cubicBezTo>
                      <a:pt x="783" y="355"/>
                      <a:pt x="777" y="379"/>
                      <a:pt x="783" y="387"/>
                    </a:cubicBezTo>
                    <a:cubicBezTo>
                      <a:pt x="782" y="389"/>
                      <a:pt x="776" y="392"/>
                      <a:pt x="775" y="397"/>
                    </a:cubicBezTo>
                    <a:cubicBezTo>
                      <a:pt x="770" y="397"/>
                      <a:pt x="766" y="406"/>
                      <a:pt x="762" y="403"/>
                    </a:cubicBezTo>
                    <a:cubicBezTo>
                      <a:pt x="751" y="394"/>
                      <a:pt x="736" y="380"/>
                      <a:pt x="736" y="367"/>
                    </a:cubicBezTo>
                    <a:cubicBezTo>
                      <a:pt x="736" y="353"/>
                      <a:pt x="738" y="342"/>
                      <a:pt x="726" y="334"/>
                    </a:cubicBezTo>
                    <a:cubicBezTo>
                      <a:pt x="697" y="334"/>
                      <a:pt x="697" y="334"/>
                      <a:pt x="697" y="334"/>
                    </a:cubicBezTo>
                    <a:cubicBezTo>
                      <a:pt x="681" y="322"/>
                      <a:pt x="662" y="315"/>
                      <a:pt x="643" y="308"/>
                    </a:cubicBezTo>
                    <a:cubicBezTo>
                      <a:pt x="640" y="306"/>
                      <a:pt x="629" y="299"/>
                      <a:pt x="623" y="299"/>
                    </a:cubicBezTo>
                    <a:cubicBezTo>
                      <a:pt x="617" y="299"/>
                      <a:pt x="614" y="306"/>
                      <a:pt x="607" y="306"/>
                    </a:cubicBezTo>
                    <a:cubicBezTo>
                      <a:pt x="607" y="295"/>
                      <a:pt x="600" y="270"/>
                      <a:pt x="590" y="270"/>
                    </a:cubicBezTo>
                    <a:cubicBezTo>
                      <a:pt x="586" y="270"/>
                      <a:pt x="584" y="274"/>
                      <a:pt x="579" y="275"/>
                    </a:cubicBezTo>
                    <a:cubicBezTo>
                      <a:pt x="581" y="269"/>
                      <a:pt x="579" y="268"/>
                      <a:pt x="579" y="255"/>
                    </a:cubicBezTo>
                    <a:cubicBezTo>
                      <a:pt x="579" y="237"/>
                      <a:pt x="584" y="227"/>
                      <a:pt x="595" y="216"/>
                    </a:cubicBezTo>
                    <a:cubicBezTo>
                      <a:pt x="598" y="213"/>
                      <a:pt x="606" y="196"/>
                      <a:pt x="609" y="194"/>
                    </a:cubicBezTo>
                    <a:cubicBezTo>
                      <a:pt x="617" y="192"/>
                      <a:pt x="630" y="196"/>
                      <a:pt x="630" y="186"/>
                    </a:cubicBezTo>
                    <a:cubicBezTo>
                      <a:pt x="630" y="179"/>
                      <a:pt x="613" y="178"/>
                      <a:pt x="607" y="175"/>
                    </a:cubicBezTo>
                    <a:cubicBezTo>
                      <a:pt x="611" y="176"/>
                      <a:pt x="597" y="167"/>
                      <a:pt x="633" y="178"/>
                    </a:cubicBezTo>
                    <a:cubicBezTo>
                      <a:pt x="643" y="181"/>
                      <a:pt x="637" y="169"/>
                      <a:pt x="642" y="169"/>
                    </a:cubicBezTo>
                    <a:cubicBezTo>
                      <a:pt x="643" y="169"/>
                      <a:pt x="647" y="169"/>
                      <a:pt x="652" y="169"/>
                    </a:cubicBezTo>
                    <a:cubicBezTo>
                      <a:pt x="662" y="169"/>
                      <a:pt x="668" y="158"/>
                      <a:pt x="675" y="153"/>
                    </a:cubicBezTo>
                    <a:cubicBezTo>
                      <a:pt x="675" y="146"/>
                      <a:pt x="675" y="146"/>
                      <a:pt x="675" y="146"/>
                    </a:cubicBezTo>
                    <a:cubicBezTo>
                      <a:pt x="660" y="142"/>
                      <a:pt x="645" y="145"/>
                      <a:pt x="639" y="131"/>
                    </a:cubicBezTo>
                    <a:cubicBezTo>
                      <a:pt x="639" y="131"/>
                      <a:pt x="643" y="131"/>
                      <a:pt x="647" y="131"/>
                    </a:cubicBezTo>
                    <a:cubicBezTo>
                      <a:pt x="652" y="135"/>
                      <a:pt x="658" y="141"/>
                      <a:pt x="666" y="141"/>
                    </a:cubicBezTo>
                    <a:cubicBezTo>
                      <a:pt x="673" y="141"/>
                      <a:pt x="686" y="132"/>
                      <a:pt x="686" y="127"/>
                    </a:cubicBezTo>
                    <a:cubicBezTo>
                      <a:pt x="686" y="125"/>
                      <a:pt x="680" y="117"/>
                      <a:pt x="683" y="117"/>
                    </a:cubicBezTo>
                    <a:cubicBezTo>
                      <a:pt x="693" y="117"/>
                      <a:pt x="696" y="126"/>
                      <a:pt x="703" y="126"/>
                    </a:cubicBezTo>
                    <a:cubicBezTo>
                      <a:pt x="707" y="126"/>
                      <a:pt x="709" y="123"/>
                      <a:pt x="717" y="123"/>
                    </a:cubicBezTo>
                    <a:cubicBezTo>
                      <a:pt x="715" y="120"/>
                      <a:pt x="717" y="112"/>
                      <a:pt x="722" y="120"/>
                    </a:cubicBezTo>
                    <a:cubicBezTo>
                      <a:pt x="725" y="125"/>
                      <a:pt x="748" y="105"/>
                      <a:pt x="748" y="100"/>
                    </a:cubicBezTo>
                    <a:cubicBezTo>
                      <a:pt x="748" y="96"/>
                      <a:pt x="738" y="91"/>
                      <a:pt x="738" y="89"/>
                    </a:cubicBezTo>
                    <a:cubicBezTo>
                      <a:pt x="738" y="85"/>
                      <a:pt x="732" y="78"/>
                      <a:pt x="746" y="72"/>
                    </a:cubicBezTo>
                    <a:cubicBezTo>
                      <a:pt x="748" y="68"/>
                      <a:pt x="746" y="68"/>
                      <a:pt x="746" y="61"/>
                    </a:cubicBezTo>
                    <a:cubicBezTo>
                      <a:pt x="732" y="61"/>
                      <a:pt x="735" y="50"/>
                      <a:pt x="717" y="50"/>
                    </a:cubicBezTo>
                    <a:cubicBezTo>
                      <a:pt x="713" y="49"/>
                      <a:pt x="710" y="47"/>
                      <a:pt x="706" y="47"/>
                    </a:cubicBezTo>
                    <a:cubicBezTo>
                      <a:pt x="701" y="47"/>
                      <a:pt x="695" y="50"/>
                      <a:pt x="695" y="55"/>
                    </a:cubicBezTo>
                    <a:cubicBezTo>
                      <a:pt x="695" y="61"/>
                      <a:pt x="702" y="63"/>
                      <a:pt x="702" y="67"/>
                    </a:cubicBezTo>
                    <a:cubicBezTo>
                      <a:pt x="702" y="72"/>
                      <a:pt x="692" y="72"/>
                      <a:pt x="689" y="76"/>
                    </a:cubicBezTo>
                    <a:cubicBezTo>
                      <a:pt x="686" y="84"/>
                      <a:pt x="687" y="90"/>
                      <a:pt x="681" y="98"/>
                    </a:cubicBezTo>
                    <a:cubicBezTo>
                      <a:pt x="671" y="110"/>
                      <a:pt x="658" y="90"/>
                      <a:pt x="658" y="85"/>
                    </a:cubicBezTo>
                    <a:cubicBezTo>
                      <a:pt x="658" y="79"/>
                      <a:pt x="665" y="81"/>
                      <a:pt x="665" y="74"/>
                    </a:cubicBezTo>
                    <a:cubicBezTo>
                      <a:pt x="665" y="71"/>
                      <a:pt x="652" y="59"/>
                      <a:pt x="649" y="59"/>
                    </a:cubicBezTo>
                    <a:cubicBezTo>
                      <a:pt x="636" y="59"/>
                      <a:pt x="645" y="78"/>
                      <a:pt x="631" y="78"/>
                    </a:cubicBezTo>
                    <a:cubicBezTo>
                      <a:pt x="631" y="70"/>
                      <a:pt x="630" y="65"/>
                      <a:pt x="621" y="60"/>
                    </a:cubicBezTo>
                    <a:cubicBezTo>
                      <a:pt x="622" y="58"/>
                      <a:pt x="623" y="57"/>
                      <a:pt x="625" y="55"/>
                    </a:cubicBezTo>
                    <a:cubicBezTo>
                      <a:pt x="618" y="51"/>
                      <a:pt x="609" y="55"/>
                      <a:pt x="603" y="48"/>
                    </a:cubicBezTo>
                    <a:cubicBezTo>
                      <a:pt x="606" y="47"/>
                      <a:pt x="614" y="44"/>
                      <a:pt x="614" y="38"/>
                    </a:cubicBezTo>
                    <a:cubicBezTo>
                      <a:pt x="614" y="29"/>
                      <a:pt x="601" y="30"/>
                      <a:pt x="601" y="23"/>
                    </a:cubicBezTo>
                    <a:cubicBezTo>
                      <a:pt x="601" y="10"/>
                      <a:pt x="591" y="1"/>
                      <a:pt x="574" y="0"/>
                    </a:cubicBezTo>
                    <a:cubicBezTo>
                      <a:pt x="565" y="0"/>
                      <a:pt x="569" y="6"/>
                      <a:pt x="569" y="10"/>
                    </a:cubicBezTo>
                    <a:cubicBezTo>
                      <a:pt x="564" y="11"/>
                      <a:pt x="557" y="10"/>
                      <a:pt x="557" y="17"/>
                    </a:cubicBezTo>
                    <a:cubicBezTo>
                      <a:pt x="557" y="21"/>
                      <a:pt x="561" y="23"/>
                      <a:pt x="561" y="28"/>
                    </a:cubicBezTo>
                    <a:cubicBezTo>
                      <a:pt x="561" y="32"/>
                      <a:pt x="555" y="32"/>
                      <a:pt x="555" y="38"/>
                    </a:cubicBezTo>
                    <a:cubicBezTo>
                      <a:pt x="555" y="52"/>
                      <a:pt x="585" y="44"/>
                      <a:pt x="585" y="59"/>
                    </a:cubicBezTo>
                    <a:cubicBezTo>
                      <a:pt x="585" y="61"/>
                      <a:pt x="581" y="72"/>
                      <a:pt x="581" y="72"/>
                    </a:cubicBezTo>
                    <a:cubicBezTo>
                      <a:pt x="584" y="70"/>
                      <a:pt x="587" y="69"/>
                      <a:pt x="591" y="67"/>
                    </a:cubicBezTo>
                    <a:cubicBezTo>
                      <a:pt x="596" y="85"/>
                      <a:pt x="567" y="77"/>
                      <a:pt x="567" y="98"/>
                    </a:cubicBezTo>
                    <a:cubicBezTo>
                      <a:pt x="553" y="102"/>
                      <a:pt x="564" y="88"/>
                      <a:pt x="561" y="83"/>
                    </a:cubicBezTo>
                    <a:cubicBezTo>
                      <a:pt x="559" y="81"/>
                      <a:pt x="547" y="78"/>
                      <a:pt x="541" y="78"/>
                    </a:cubicBezTo>
                    <a:cubicBezTo>
                      <a:pt x="533" y="78"/>
                      <a:pt x="530" y="82"/>
                      <a:pt x="530" y="92"/>
                    </a:cubicBezTo>
                    <a:cubicBezTo>
                      <a:pt x="522" y="91"/>
                      <a:pt x="517" y="92"/>
                      <a:pt x="492" y="92"/>
                    </a:cubicBezTo>
                    <a:cubicBezTo>
                      <a:pt x="468" y="92"/>
                      <a:pt x="441" y="83"/>
                      <a:pt x="435" y="65"/>
                    </a:cubicBezTo>
                    <a:cubicBezTo>
                      <a:pt x="427" y="67"/>
                      <a:pt x="400" y="68"/>
                      <a:pt x="400" y="78"/>
                    </a:cubicBezTo>
                    <a:cubicBezTo>
                      <a:pt x="400" y="81"/>
                      <a:pt x="403" y="82"/>
                      <a:pt x="406" y="82"/>
                    </a:cubicBezTo>
                    <a:cubicBezTo>
                      <a:pt x="413" y="82"/>
                      <a:pt x="425" y="79"/>
                      <a:pt x="430" y="75"/>
                    </a:cubicBezTo>
                    <a:cubicBezTo>
                      <a:pt x="432" y="90"/>
                      <a:pt x="409" y="78"/>
                      <a:pt x="409" y="93"/>
                    </a:cubicBezTo>
                    <a:cubicBezTo>
                      <a:pt x="409" y="96"/>
                      <a:pt x="414" y="106"/>
                      <a:pt x="412" y="106"/>
                    </a:cubicBezTo>
                    <a:cubicBezTo>
                      <a:pt x="403" y="106"/>
                      <a:pt x="401" y="95"/>
                      <a:pt x="394" y="92"/>
                    </a:cubicBezTo>
                    <a:cubicBezTo>
                      <a:pt x="387" y="89"/>
                      <a:pt x="387" y="89"/>
                      <a:pt x="387" y="89"/>
                    </a:cubicBezTo>
                    <a:cubicBezTo>
                      <a:pt x="377" y="89"/>
                      <a:pt x="370" y="89"/>
                      <a:pt x="359" y="89"/>
                    </a:cubicBezTo>
                    <a:cubicBezTo>
                      <a:pt x="350" y="89"/>
                      <a:pt x="344" y="92"/>
                      <a:pt x="335" y="93"/>
                    </a:cubicBezTo>
                    <a:cubicBezTo>
                      <a:pt x="317" y="93"/>
                      <a:pt x="317" y="87"/>
                      <a:pt x="317" y="86"/>
                    </a:cubicBezTo>
                    <a:cubicBezTo>
                      <a:pt x="317" y="82"/>
                      <a:pt x="331" y="83"/>
                      <a:pt x="333" y="81"/>
                    </a:cubicBezTo>
                    <a:cubicBezTo>
                      <a:pt x="321" y="64"/>
                      <a:pt x="323" y="66"/>
                      <a:pt x="298" y="68"/>
                    </a:cubicBezTo>
                    <a:cubicBezTo>
                      <a:pt x="271" y="70"/>
                      <a:pt x="258" y="48"/>
                      <a:pt x="231" y="48"/>
                    </a:cubicBezTo>
                    <a:cubicBezTo>
                      <a:pt x="223" y="48"/>
                      <a:pt x="219" y="54"/>
                      <a:pt x="212" y="54"/>
                    </a:cubicBezTo>
                    <a:cubicBezTo>
                      <a:pt x="207" y="54"/>
                      <a:pt x="202" y="46"/>
                      <a:pt x="202" y="42"/>
                    </a:cubicBezTo>
                    <a:cubicBezTo>
                      <a:pt x="193" y="44"/>
                      <a:pt x="193" y="54"/>
                      <a:pt x="184" y="54"/>
                    </a:cubicBezTo>
                    <a:cubicBezTo>
                      <a:pt x="176" y="54"/>
                      <a:pt x="164" y="34"/>
                      <a:pt x="161" y="34"/>
                    </a:cubicBezTo>
                    <a:cubicBezTo>
                      <a:pt x="153" y="34"/>
                      <a:pt x="156" y="47"/>
                      <a:pt x="146" y="47"/>
                    </a:cubicBezTo>
                    <a:cubicBezTo>
                      <a:pt x="143" y="47"/>
                      <a:pt x="140" y="44"/>
                      <a:pt x="138" y="40"/>
                    </a:cubicBezTo>
                    <a:cubicBezTo>
                      <a:pt x="125" y="44"/>
                      <a:pt x="120" y="44"/>
                      <a:pt x="108" y="49"/>
                    </a:cubicBezTo>
                    <a:cubicBezTo>
                      <a:pt x="103" y="50"/>
                      <a:pt x="91" y="59"/>
                      <a:pt x="87" y="55"/>
                    </a:cubicBezTo>
                    <a:cubicBezTo>
                      <a:pt x="76" y="44"/>
                      <a:pt x="78" y="58"/>
                      <a:pt x="74" y="58"/>
                    </a:cubicBezTo>
                    <a:cubicBezTo>
                      <a:pt x="45" y="59"/>
                      <a:pt x="65" y="70"/>
                      <a:pt x="61" y="70"/>
                    </a:cubicBezTo>
                    <a:cubicBezTo>
                      <a:pt x="50" y="70"/>
                      <a:pt x="30" y="67"/>
                      <a:pt x="12" y="56"/>
                    </a:cubicBezTo>
                    <a:cubicBezTo>
                      <a:pt x="11" y="56"/>
                      <a:pt x="6" y="52"/>
                      <a:pt x="6" y="51"/>
                    </a:cubicBezTo>
                    <a:cubicBezTo>
                      <a:pt x="3" y="52"/>
                      <a:pt x="5" y="52"/>
                      <a:pt x="0" y="51"/>
                    </a:cubicBezTo>
                    <a:cubicBezTo>
                      <a:pt x="0" y="242"/>
                      <a:pt x="0" y="242"/>
                      <a:pt x="0" y="242"/>
                    </a:cubicBezTo>
                    <a:cubicBezTo>
                      <a:pt x="6" y="247"/>
                      <a:pt x="19" y="240"/>
                      <a:pt x="25" y="248"/>
                    </a:cubicBezTo>
                    <a:cubicBezTo>
                      <a:pt x="29" y="254"/>
                      <a:pt x="38" y="266"/>
                      <a:pt x="47" y="266"/>
                    </a:cubicBezTo>
                    <a:cubicBezTo>
                      <a:pt x="53" y="266"/>
                      <a:pt x="53" y="257"/>
                      <a:pt x="59" y="255"/>
                    </a:cubicBezTo>
                    <a:cubicBezTo>
                      <a:pt x="62" y="254"/>
                      <a:pt x="64" y="255"/>
                      <a:pt x="67" y="253"/>
                    </a:cubicBezTo>
                    <a:cubicBezTo>
                      <a:pt x="81" y="266"/>
                      <a:pt x="87" y="271"/>
                      <a:pt x="99" y="288"/>
                    </a:cubicBezTo>
                    <a:cubicBezTo>
                      <a:pt x="100" y="290"/>
                      <a:pt x="103" y="291"/>
                      <a:pt x="105" y="295"/>
                    </a:cubicBezTo>
                    <a:cubicBezTo>
                      <a:pt x="106" y="300"/>
                      <a:pt x="108" y="306"/>
                      <a:pt x="113" y="311"/>
                    </a:cubicBezTo>
                    <a:cubicBezTo>
                      <a:pt x="116" y="314"/>
                      <a:pt x="121" y="313"/>
                      <a:pt x="124" y="316"/>
                    </a:cubicBezTo>
                    <a:cubicBezTo>
                      <a:pt x="128" y="320"/>
                      <a:pt x="135" y="322"/>
                      <a:pt x="135" y="332"/>
                    </a:cubicBezTo>
                    <a:cubicBezTo>
                      <a:pt x="135" y="336"/>
                      <a:pt x="129" y="337"/>
                      <a:pt x="129" y="340"/>
                    </a:cubicBezTo>
                    <a:cubicBezTo>
                      <a:pt x="129" y="343"/>
                      <a:pt x="132" y="344"/>
                      <a:pt x="132" y="347"/>
                    </a:cubicBezTo>
                    <a:cubicBezTo>
                      <a:pt x="132" y="352"/>
                      <a:pt x="130" y="364"/>
                      <a:pt x="136" y="366"/>
                    </a:cubicBezTo>
                    <a:cubicBezTo>
                      <a:pt x="140" y="367"/>
                      <a:pt x="143" y="367"/>
                      <a:pt x="146" y="370"/>
                    </a:cubicBezTo>
                    <a:cubicBezTo>
                      <a:pt x="150" y="373"/>
                      <a:pt x="145" y="379"/>
                      <a:pt x="150" y="383"/>
                    </a:cubicBezTo>
                    <a:cubicBezTo>
                      <a:pt x="150" y="383"/>
                      <a:pt x="162" y="390"/>
                      <a:pt x="162" y="391"/>
                    </a:cubicBezTo>
                    <a:cubicBezTo>
                      <a:pt x="165" y="401"/>
                      <a:pt x="166" y="413"/>
                      <a:pt x="181" y="413"/>
                    </a:cubicBezTo>
                    <a:cubicBezTo>
                      <a:pt x="183" y="422"/>
                      <a:pt x="199" y="416"/>
                      <a:pt x="202" y="428"/>
                    </a:cubicBezTo>
                    <a:cubicBezTo>
                      <a:pt x="204" y="432"/>
                      <a:pt x="215" y="433"/>
                      <a:pt x="219" y="437"/>
                    </a:cubicBezTo>
                    <a:cubicBezTo>
                      <a:pt x="220" y="438"/>
                      <a:pt x="222" y="439"/>
                      <a:pt x="224" y="440"/>
                    </a:cubicBezTo>
                    <a:cubicBezTo>
                      <a:pt x="224" y="440"/>
                      <a:pt x="224" y="440"/>
                      <a:pt x="224" y="440"/>
                    </a:cubicBezTo>
                    <a:cubicBezTo>
                      <a:pt x="577" y="440"/>
                      <a:pt x="577" y="440"/>
                      <a:pt x="577" y="440"/>
                    </a:cubicBezTo>
                    <a:cubicBezTo>
                      <a:pt x="577" y="435"/>
                      <a:pt x="577" y="435"/>
                      <a:pt x="577" y="435"/>
                    </a:cubicBezTo>
                    <a:cubicBezTo>
                      <a:pt x="583" y="439"/>
                      <a:pt x="582" y="443"/>
                      <a:pt x="588" y="446"/>
                    </a:cubicBezTo>
                    <a:cubicBezTo>
                      <a:pt x="610" y="446"/>
                      <a:pt x="610" y="446"/>
                      <a:pt x="610" y="446"/>
                    </a:cubicBezTo>
                    <a:cubicBezTo>
                      <a:pt x="619" y="455"/>
                      <a:pt x="630" y="455"/>
                      <a:pt x="647" y="455"/>
                    </a:cubicBezTo>
                    <a:cubicBezTo>
                      <a:pt x="652" y="453"/>
                      <a:pt x="653" y="455"/>
                      <a:pt x="658" y="452"/>
                    </a:cubicBezTo>
                    <a:cubicBezTo>
                      <a:pt x="662" y="450"/>
                      <a:pt x="661" y="443"/>
                      <a:pt x="665" y="443"/>
                    </a:cubicBezTo>
                    <a:cubicBezTo>
                      <a:pt x="670" y="443"/>
                      <a:pt x="674" y="451"/>
                      <a:pt x="676" y="453"/>
                    </a:cubicBezTo>
                    <a:cubicBezTo>
                      <a:pt x="677" y="451"/>
                      <a:pt x="676" y="448"/>
                      <a:pt x="676" y="447"/>
                    </a:cubicBezTo>
                    <a:cubicBezTo>
                      <a:pt x="677" y="447"/>
                      <a:pt x="678" y="447"/>
                      <a:pt x="680" y="447"/>
                    </a:cubicBezTo>
                    <a:cubicBezTo>
                      <a:pt x="682" y="447"/>
                      <a:pt x="701" y="462"/>
                      <a:pt x="702" y="463"/>
                    </a:cubicBezTo>
                    <a:cubicBezTo>
                      <a:pt x="704" y="469"/>
                      <a:pt x="702" y="473"/>
                      <a:pt x="705" y="477"/>
                    </a:cubicBezTo>
                    <a:cubicBezTo>
                      <a:pt x="715" y="487"/>
                      <a:pt x="729" y="485"/>
                      <a:pt x="740" y="492"/>
                    </a:cubicBezTo>
                    <a:cubicBezTo>
                      <a:pt x="752" y="492"/>
                      <a:pt x="752" y="492"/>
                      <a:pt x="752" y="492"/>
                    </a:cubicBezTo>
                    <a:cubicBezTo>
                      <a:pt x="757" y="495"/>
                      <a:pt x="763" y="500"/>
                      <a:pt x="763" y="506"/>
                    </a:cubicBezTo>
                    <a:cubicBezTo>
                      <a:pt x="763" y="509"/>
                      <a:pt x="762" y="512"/>
                      <a:pt x="759" y="512"/>
                    </a:cubicBezTo>
                    <a:cubicBezTo>
                      <a:pt x="754" y="512"/>
                      <a:pt x="748" y="506"/>
                      <a:pt x="747" y="504"/>
                    </a:cubicBezTo>
                    <a:cubicBezTo>
                      <a:pt x="745" y="511"/>
                      <a:pt x="741" y="532"/>
                      <a:pt x="735" y="532"/>
                    </a:cubicBezTo>
                    <a:cubicBezTo>
                      <a:pt x="730" y="538"/>
                      <a:pt x="725" y="541"/>
                      <a:pt x="725" y="547"/>
                    </a:cubicBezTo>
                    <a:cubicBezTo>
                      <a:pt x="726" y="549"/>
                      <a:pt x="729" y="553"/>
                      <a:pt x="732" y="553"/>
                    </a:cubicBezTo>
                    <a:cubicBezTo>
                      <a:pt x="736" y="553"/>
                      <a:pt x="736" y="550"/>
                      <a:pt x="738" y="548"/>
                    </a:cubicBezTo>
                    <a:cubicBezTo>
                      <a:pt x="742" y="544"/>
                      <a:pt x="748" y="545"/>
                      <a:pt x="755" y="545"/>
                    </a:cubicBezTo>
                    <a:cubicBezTo>
                      <a:pt x="760" y="545"/>
                      <a:pt x="763" y="548"/>
                      <a:pt x="765" y="546"/>
                    </a:cubicBezTo>
                    <a:cubicBezTo>
                      <a:pt x="768" y="545"/>
                      <a:pt x="770" y="544"/>
                      <a:pt x="772" y="543"/>
                    </a:cubicBezTo>
                    <a:cubicBezTo>
                      <a:pt x="772" y="540"/>
                      <a:pt x="771" y="538"/>
                      <a:pt x="770" y="536"/>
                    </a:cubicBezTo>
                    <a:cubicBezTo>
                      <a:pt x="769" y="534"/>
                      <a:pt x="767" y="533"/>
                      <a:pt x="767" y="531"/>
                    </a:cubicBezTo>
                    <a:cubicBezTo>
                      <a:pt x="767" y="529"/>
                      <a:pt x="771" y="528"/>
                      <a:pt x="773" y="528"/>
                    </a:cubicBezTo>
                    <a:cubicBezTo>
                      <a:pt x="782" y="525"/>
                      <a:pt x="803" y="519"/>
                      <a:pt x="814" y="519"/>
                    </a:cubicBezTo>
                    <a:cubicBezTo>
                      <a:pt x="815" y="519"/>
                      <a:pt x="831" y="503"/>
                      <a:pt x="834" y="501"/>
                    </a:cubicBezTo>
                    <a:cubicBezTo>
                      <a:pt x="836" y="499"/>
                      <a:pt x="847" y="500"/>
                      <a:pt x="857" y="500"/>
                    </a:cubicBezTo>
                    <a:cubicBezTo>
                      <a:pt x="861" y="500"/>
                      <a:pt x="864" y="500"/>
                      <a:pt x="868" y="500"/>
                    </a:cubicBezTo>
                    <a:cubicBezTo>
                      <a:pt x="872" y="500"/>
                      <a:pt x="876" y="498"/>
                      <a:pt x="879" y="498"/>
                    </a:cubicBezTo>
                    <a:cubicBezTo>
                      <a:pt x="884" y="497"/>
                      <a:pt x="882" y="496"/>
                      <a:pt x="884" y="494"/>
                    </a:cubicBezTo>
                    <a:cubicBezTo>
                      <a:pt x="892" y="486"/>
                      <a:pt x="892" y="471"/>
                      <a:pt x="903" y="463"/>
                    </a:cubicBezTo>
                    <a:cubicBezTo>
                      <a:pt x="908" y="470"/>
                      <a:pt x="916" y="460"/>
                      <a:pt x="920" y="467"/>
                    </a:cubicBezTo>
                    <a:cubicBezTo>
                      <a:pt x="926" y="478"/>
                      <a:pt x="922" y="494"/>
                      <a:pt x="928" y="505"/>
                    </a:cubicBezTo>
                    <a:lnTo>
                      <a:pt x="928" y="5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1" name="Freeform 51"/>
              <p:cNvSpPr>
                <a:spLocks/>
              </p:cNvSpPr>
              <p:nvPr/>
            </p:nvSpPr>
            <p:spPr bwMode="auto">
              <a:xfrm>
                <a:off x="1585913" y="1417638"/>
                <a:ext cx="623888" cy="457200"/>
              </a:xfrm>
              <a:custGeom>
                <a:avLst/>
                <a:gdLst/>
                <a:ahLst/>
                <a:cxnLst>
                  <a:cxn ang="0">
                    <a:pos x="334" y="228"/>
                  </a:cxn>
                  <a:cxn ang="0">
                    <a:pos x="381" y="252"/>
                  </a:cxn>
                  <a:cxn ang="0">
                    <a:pos x="401" y="239"/>
                  </a:cxn>
                  <a:cxn ang="0">
                    <a:pos x="439" y="281"/>
                  </a:cxn>
                  <a:cxn ang="0">
                    <a:pos x="458" y="302"/>
                  </a:cxn>
                  <a:cxn ang="0">
                    <a:pos x="463" y="326"/>
                  </a:cxn>
                  <a:cxn ang="0">
                    <a:pos x="440" y="314"/>
                  </a:cxn>
                  <a:cxn ang="0">
                    <a:pos x="427" y="300"/>
                  </a:cxn>
                  <a:cxn ang="0">
                    <a:pos x="426" y="286"/>
                  </a:cxn>
                  <a:cxn ang="0">
                    <a:pos x="414" y="286"/>
                  </a:cxn>
                  <a:cxn ang="0">
                    <a:pos x="412" y="270"/>
                  </a:cxn>
                  <a:cxn ang="0">
                    <a:pos x="390" y="261"/>
                  </a:cxn>
                  <a:cxn ang="0">
                    <a:pos x="363" y="252"/>
                  </a:cxn>
                  <a:cxn ang="0">
                    <a:pos x="299" y="236"/>
                  </a:cxn>
                  <a:cxn ang="0">
                    <a:pos x="240" y="221"/>
                  </a:cxn>
                  <a:cxn ang="0">
                    <a:pos x="200" y="252"/>
                  </a:cxn>
                  <a:cxn ang="0">
                    <a:pos x="199" y="245"/>
                  </a:cxn>
                  <a:cxn ang="0">
                    <a:pos x="218" y="219"/>
                  </a:cxn>
                  <a:cxn ang="0">
                    <a:pos x="213" y="214"/>
                  </a:cxn>
                  <a:cxn ang="0">
                    <a:pos x="173" y="260"/>
                  </a:cxn>
                  <a:cxn ang="0">
                    <a:pos x="143" y="288"/>
                  </a:cxn>
                  <a:cxn ang="0">
                    <a:pos x="79" y="322"/>
                  </a:cxn>
                  <a:cxn ang="0">
                    <a:pos x="57" y="328"/>
                  </a:cxn>
                  <a:cxn ang="0">
                    <a:pos x="92" y="307"/>
                  </a:cxn>
                  <a:cxn ang="0">
                    <a:pos x="148" y="256"/>
                  </a:cxn>
                  <a:cxn ang="0">
                    <a:pos x="125" y="262"/>
                  </a:cxn>
                  <a:cxn ang="0">
                    <a:pos x="110" y="266"/>
                  </a:cxn>
                  <a:cxn ang="0">
                    <a:pos x="88" y="261"/>
                  </a:cxn>
                  <a:cxn ang="0">
                    <a:pos x="76" y="264"/>
                  </a:cxn>
                  <a:cxn ang="0">
                    <a:pos x="72" y="244"/>
                  </a:cxn>
                  <a:cxn ang="0">
                    <a:pos x="60" y="245"/>
                  </a:cxn>
                  <a:cxn ang="0">
                    <a:pos x="37" y="224"/>
                  </a:cxn>
                  <a:cxn ang="0">
                    <a:pos x="52" y="180"/>
                  </a:cxn>
                  <a:cxn ang="0">
                    <a:pos x="79" y="152"/>
                  </a:cxn>
                  <a:cxn ang="0">
                    <a:pos x="85" y="145"/>
                  </a:cxn>
                  <a:cxn ang="0">
                    <a:pos x="60" y="153"/>
                  </a:cxn>
                  <a:cxn ang="0">
                    <a:pos x="18" y="150"/>
                  </a:cxn>
                  <a:cxn ang="0">
                    <a:pos x="13" y="133"/>
                  </a:cxn>
                  <a:cxn ang="0">
                    <a:pos x="40" y="106"/>
                  </a:cxn>
                  <a:cxn ang="0">
                    <a:pos x="64" y="116"/>
                  </a:cxn>
                  <a:cxn ang="0">
                    <a:pos x="50" y="95"/>
                  </a:cxn>
                  <a:cxn ang="0">
                    <a:pos x="13" y="68"/>
                  </a:cxn>
                  <a:cxn ang="0">
                    <a:pos x="44" y="56"/>
                  </a:cxn>
                  <a:cxn ang="0">
                    <a:pos x="117" y="13"/>
                  </a:cxn>
                  <a:cxn ang="0">
                    <a:pos x="150" y="7"/>
                  </a:cxn>
                  <a:cxn ang="0">
                    <a:pos x="157" y="7"/>
                  </a:cxn>
                  <a:cxn ang="0">
                    <a:pos x="189" y="11"/>
                  </a:cxn>
                  <a:cxn ang="0">
                    <a:pos x="236" y="20"/>
                  </a:cxn>
                  <a:cxn ang="0">
                    <a:pos x="307" y="28"/>
                  </a:cxn>
                  <a:cxn ang="0">
                    <a:pos x="334" y="36"/>
                  </a:cxn>
                </a:cxnLst>
                <a:rect l="0" t="0" r="r" b="b"/>
                <a:pathLst>
                  <a:path w="469" h="343">
                    <a:moveTo>
                      <a:pt x="334" y="37"/>
                    </a:moveTo>
                    <a:cubicBezTo>
                      <a:pt x="334" y="228"/>
                      <a:pt x="334" y="228"/>
                      <a:pt x="334" y="228"/>
                    </a:cubicBezTo>
                    <a:cubicBezTo>
                      <a:pt x="340" y="233"/>
                      <a:pt x="353" y="226"/>
                      <a:pt x="359" y="234"/>
                    </a:cubicBezTo>
                    <a:cubicBezTo>
                      <a:pt x="363" y="240"/>
                      <a:pt x="372" y="252"/>
                      <a:pt x="381" y="252"/>
                    </a:cubicBezTo>
                    <a:cubicBezTo>
                      <a:pt x="387" y="252"/>
                      <a:pt x="387" y="243"/>
                      <a:pt x="393" y="241"/>
                    </a:cubicBezTo>
                    <a:cubicBezTo>
                      <a:pt x="396" y="240"/>
                      <a:pt x="398" y="241"/>
                      <a:pt x="401" y="239"/>
                    </a:cubicBezTo>
                    <a:cubicBezTo>
                      <a:pt x="415" y="252"/>
                      <a:pt x="421" y="257"/>
                      <a:pt x="433" y="274"/>
                    </a:cubicBezTo>
                    <a:cubicBezTo>
                      <a:pt x="434" y="276"/>
                      <a:pt x="437" y="277"/>
                      <a:pt x="439" y="281"/>
                    </a:cubicBezTo>
                    <a:cubicBezTo>
                      <a:pt x="440" y="286"/>
                      <a:pt x="442" y="292"/>
                      <a:pt x="447" y="297"/>
                    </a:cubicBezTo>
                    <a:cubicBezTo>
                      <a:pt x="450" y="300"/>
                      <a:pt x="455" y="299"/>
                      <a:pt x="458" y="302"/>
                    </a:cubicBezTo>
                    <a:cubicBezTo>
                      <a:pt x="462" y="306"/>
                      <a:pt x="469" y="308"/>
                      <a:pt x="469" y="318"/>
                    </a:cubicBezTo>
                    <a:cubicBezTo>
                      <a:pt x="469" y="322"/>
                      <a:pt x="463" y="323"/>
                      <a:pt x="463" y="326"/>
                    </a:cubicBezTo>
                    <a:cubicBezTo>
                      <a:pt x="461" y="326"/>
                      <a:pt x="461" y="327"/>
                      <a:pt x="459" y="327"/>
                    </a:cubicBezTo>
                    <a:cubicBezTo>
                      <a:pt x="451" y="327"/>
                      <a:pt x="440" y="318"/>
                      <a:pt x="440" y="314"/>
                    </a:cubicBezTo>
                    <a:cubicBezTo>
                      <a:pt x="440" y="310"/>
                      <a:pt x="440" y="311"/>
                      <a:pt x="440" y="307"/>
                    </a:cubicBezTo>
                    <a:cubicBezTo>
                      <a:pt x="440" y="300"/>
                      <a:pt x="435" y="300"/>
                      <a:pt x="427" y="300"/>
                    </a:cubicBezTo>
                    <a:cubicBezTo>
                      <a:pt x="421" y="300"/>
                      <a:pt x="419" y="296"/>
                      <a:pt x="419" y="294"/>
                    </a:cubicBezTo>
                    <a:cubicBezTo>
                      <a:pt x="419" y="290"/>
                      <a:pt x="426" y="290"/>
                      <a:pt x="426" y="286"/>
                    </a:cubicBezTo>
                    <a:cubicBezTo>
                      <a:pt x="426" y="283"/>
                      <a:pt x="426" y="281"/>
                      <a:pt x="426" y="281"/>
                    </a:cubicBezTo>
                    <a:cubicBezTo>
                      <a:pt x="417" y="281"/>
                      <a:pt x="420" y="286"/>
                      <a:pt x="414" y="286"/>
                    </a:cubicBezTo>
                    <a:cubicBezTo>
                      <a:pt x="412" y="286"/>
                      <a:pt x="407" y="282"/>
                      <a:pt x="407" y="280"/>
                    </a:cubicBezTo>
                    <a:cubicBezTo>
                      <a:pt x="407" y="274"/>
                      <a:pt x="410" y="273"/>
                      <a:pt x="412" y="270"/>
                    </a:cubicBezTo>
                    <a:cubicBezTo>
                      <a:pt x="409" y="268"/>
                      <a:pt x="405" y="264"/>
                      <a:pt x="404" y="267"/>
                    </a:cubicBezTo>
                    <a:cubicBezTo>
                      <a:pt x="397" y="267"/>
                      <a:pt x="394" y="264"/>
                      <a:pt x="390" y="261"/>
                    </a:cubicBezTo>
                    <a:cubicBezTo>
                      <a:pt x="389" y="264"/>
                      <a:pt x="387" y="269"/>
                      <a:pt x="384" y="269"/>
                    </a:cubicBezTo>
                    <a:cubicBezTo>
                      <a:pt x="375" y="269"/>
                      <a:pt x="368" y="256"/>
                      <a:pt x="363" y="252"/>
                    </a:cubicBezTo>
                    <a:cubicBezTo>
                      <a:pt x="352" y="243"/>
                      <a:pt x="337" y="244"/>
                      <a:pt x="323" y="236"/>
                    </a:cubicBezTo>
                    <a:cubicBezTo>
                      <a:pt x="299" y="236"/>
                      <a:pt x="299" y="236"/>
                      <a:pt x="299" y="236"/>
                    </a:cubicBezTo>
                    <a:cubicBezTo>
                      <a:pt x="285" y="232"/>
                      <a:pt x="265" y="230"/>
                      <a:pt x="258" y="214"/>
                    </a:cubicBezTo>
                    <a:cubicBezTo>
                      <a:pt x="252" y="217"/>
                      <a:pt x="244" y="219"/>
                      <a:pt x="240" y="221"/>
                    </a:cubicBezTo>
                    <a:cubicBezTo>
                      <a:pt x="241" y="224"/>
                      <a:pt x="242" y="225"/>
                      <a:pt x="244" y="227"/>
                    </a:cubicBezTo>
                    <a:cubicBezTo>
                      <a:pt x="238" y="236"/>
                      <a:pt x="210" y="252"/>
                      <a:pt x="200" y="252"/>
                    </a:cubicBezTo>
                    <a:cubicBezTo>
                      <a:pt x="198" y="252"/>
                      <a:pt x="195" y="251"/>
                      <a:pt x="195" y="249"/>
                    </a:cubicBezTo>
                    <a:cubicBezTo>
                      <a:pt x="195" y="246"/>
                      <a:pt x="198" y="246"/>
                      <a:pt x="199" y="245"/>
                    </a:cubicBezTo>
                    <a:cubicBezTo>
                      <a:pt x="197" y="242"/>
                      <a:pt x="199" y="242"/>
                      <a:pt x="199" y="240"/>
                    </a:cubicBezTo>
                    <a:cubicBezTo>
                      <a:pt x="199" y="230"/>
                      <a:pt x="205" y="223"/>
                      <a:pt x="218" y="219"/>
                    </a:cubicBezTo>
                    <a:cubicBezTo>
                      <a:pt x="218" y="217"/>
                      <a:pt x="218" y="216"/>
                      <a:pt x="218" y="214"/>
                    </a:cubicBezTo>
                    <a:cubicBezTo>
                      <a:pt x="214" y="214"/>
                      <a:pt x="215" y="214"/>
                      <a:pt x="213" y="214"/>
                    </a:cubicBezTo>
                    <a:cubicBezTo>
                      <a:pt x="203" y="214"/>
                      <a:pt x="173" y="239"/>
                      <a:pt x="173" y="253"/>
                    </a:cubicBezTo>
                    <a:cubicBezTo>
                      <a:pt x="173" y="255"/>
                      <a:pt x="173" y="258"/>
                      <a:pt x="173" y="260"/>
                    </a:cubicBezTo>
                    <a:cubicBezTo>
                      <a:pt x="173" y="270"/>
                      <a:pt x="164" y="273"/>
                      <a:pt x="154" y="277"/>
                    </a:cubicBezTo>
                    <a:cubicBezTo>
                      <a:pt x="148" y="280"/>
                      <a:pt x="146" y="284"/>
                      <a:pt x="143" y="288"/>
                    </a:cubicBezTo>
                    <a:cubicBezTo>
                      <a:pt x="136" y="297"/>
                      <a:pt x="121" y="301"/>
                      <a:pt x="114" y="308"/>
                    </a:cubicBezTo>
                    <a:cubicBezTo>
                      <a:pt x="107" y="315"/>
                      <a:pt x="91" y="320"/>
                      <a:pt x="79" y="322"/>
                    </a:cubicBezTo>
                    <a:cubicBezTo>
                      <a:pt x="63" y="324"/>
                      <a:pt x="54" y="343"/>
                      <a:pt x="35" y="337"/>
                    </a:cubicBezTo>
                    <a:cubicBezTo>
                      <a:pt x="41" y="329"/>
                      <a:pt x="49" y="333"/>
                      <a:pt x="57" y="328"/>
                    </a:cubicBezTo>
                    <a:cubicBezTo>
                      <a:pt x="62" y="325"/>
                      <a:pt x="66" y="316"/>
                      <a:pt x="71" y="314"/>
                    </a:cubicBezTo>
                    <a:cubicBezTo>
                      <a:pt x="78" y="309"/>
                      <a:pt x="87" y="314"/>
                      <a:pt x="92" y="307"/>
                    </a:cubicBezTo>
                    <a:cubicBezTo>
                      <a:pt x="99" y="297"/>
                      <a:pt x="117" y="290"/>
                      <a:pt x="127" y="283"/>
                    </a:cubicBezTo>
                    <a:cubicBezTo>
                      <a:pt x="137" y="276"/>
                      <a:pt x="137" y="263"/>
                      <a:pt x="148" y="256"/>
                    </a:cubicBezTo>
                    <a:cubicBezTo>
                      <a:pt x="141" y="256"/>
                      <a:pt x="141" y="256"/>
                      <a:pt x="141" y="256"/>
                    </a:cubicBezTo>
                    <a:cubicBezTo>
                      <a:pt x="135" y="259"/>
                      <a:pt x="132" y="262"/>
                      <a:pt x="125" y="262"/>
                    </a:cubicBezTo>
                    <a:cubicBezTo>
                      <a:pt x="120" y="262"/>
                      <a:pt x="117" y="260"/>
                      <a:pt x="113" y="258"/>
                    </a:cubicBezTo>
                    <a:cubicBezTo>
                      <a:pt x="112" y="262"/>
                      <a:pt x="110" y="263"/>
                      <a:pt x="110" y="266"/>
                    </a:cubicBezTo>
                    <a:cubicBezTo>
                      <a:pt x="99" y="262"/>
                      <a:pt x="96" y="260"/>
                      <a:pt x="89" y="254"/>
                    </a:cubicBezTo>
                    <a:cubicBezTo>
                      <a:pt x="88" y="257"/>
                      <a:pt x="88" y="259"/>
                      <a:pt x="88" y="261"/>
                    </a:cubicBezTo>
                    <a:cubicBezTo>
                      <a:pt x="84" y="261"/>
                      <a:pt x="85" y="261"/>
                      <a:pt x="83" y="261"/>
                    </a:cubicBezTo>
                    <a:cubicBezTo>
                      <a:pt x="80" y="261"/>
                      <a:pt x="78" y="264"/>
                      <a:pt x="76" y="264"/>
                    </a:cubicBezTo>
                    <a:cubicBezTo>
                      <a:pt x="74" y="264"/>
                      <a:pt x="72" y="257"/>
                      <a:pt x="72" y="253"/>
                    </a:cubicBezTo>
                    <a:cubicBezTo>
                      <a:pt x="72" y="248"/>
                      <a:pt x="72" y="248"/>
                      <a:pt x="72" y="244"/>
                    </a:cubicBezTo>
                    <a:cubicBezTo>
                      <a:pt x="72" y="243"/>
                      <a:pt x="72" y="238"/>
                      <a:pt x="68" y="238"/>
                    </a:cubicBezTo>
                    <a:cubicBezTo>
                      <a:pt x="65" y="238"/>
                      <a:pt x="61" y="245"/>
                      <a:pt x="60" y="245"/>
                    </a:cubicBezTo>
                    <a:cubicBezTo>
                      <a:pt x="54" y="245"/>
                      <a:pt x="33" y="229"/>
                      <a:pt x="30" y="225"/>
                    </a:cubicBezTo>
                    <a:cubicBezTo>
                      <a:pt x="32" y="225"/>
                      <a:pt x="35" y="224"/>
                      <a:pt x="37" y="224"/>
                    </a:cubicBezTo>
                    <a:cubicBezTo>
                      <a:pt x="33" y="214"/>
                      <a:pt x="19" y="212"/>
                      <a:pt x="19" y="205"/>
                    </a:cubicBezTo>
                    <a:cubicBezTo>
                      <a:pt x="19" y="191"/>
                      <a:pt x="43" y="180"/>
                      <a:pt x="52" y="180"/>
                    </a:cubicBezTo>
                    <a:cubicBezTo>
                      <a:pt x="56" y="180"/>
                      <a:pt x="86" y="169"/>
                      <a:pt x="86" y="163"/>
                    </a:cubicBezTo>
                    <a:cubicBezTo>
                      <a:pt x="86" y="160"/>
                      <a:pt x="79" y="153"/>
                      <a:pt x="79" y="152"/>
                    </a:cubicBezTo>
                    <a:cubicBezTo>
                      <a:pt x="83" y="150"/>
                      <a:pt x="82" y="150"/>
                      <a:pt x="85" y="152"/>
                    </a:cubicBezTo>
                    <a:cubicBezTo>
                      <a:pt x="85" y="145"/>
                      <a:pt x="85" y="145"/>
                      <a:pt x="85" y="145"/>
                    </a:cubicBezTo>
                    <a:cubicBezTo>
                      <a:pt x="81" y="145"/>
                      <a:pt x="81" y="145"/>
                      <a:pt x="79" y="145"/>
                    </a:cubicBezTo>
                    <a:cubicBezTo>
                      <a:pt x="72" y="145"/>
                      <a:pt x="69" y="153"/>
                      <a:pt x="60" y="153"/>
                    </a:cubicBezTo>
                    <a:cubicBezTo>
                      <a:pt x="51" y="153"/>
                      <a:pt x="48" y="148"/>
                      <a:pt x="41" y="150"/>
                    </a:cubicBezTo>
                    <a:cubicBezTo>
                      <a:pt x="32" y="150"/>
                      <a:pt x="21" y="150"/>
                      <a:pt x="18" y="150"/>
                    </a:cubicBezTo>
                    <a:cubicBezTo>
                      <a:pt x="17" y="143"/>
                      <a:pt x="12" y="141"/>
                      <a:pt x="12" y="137"/>
                    </a:cubicBezTo>
                    <a:cubicBezTo>
                      <a:pt x="12" y="136"/>
                      <a:pt x="13" y="134"/>
                      <a:pt x="13" y="133"/>
                    </a:cubicBezTo>
                    <a:cubicBezTo>
                      <a:pt x="6" y="133"/>
                      <a:pt x="2" y="130"/>
                      <a:pt x="0" y="126"/>
                    </a:cubicBezTo>
                    <a:cubicBezTo>
                      <a:pt x="11" y="119"/>
                      <a:pt x="29" y="113"/>
                      <a:pt x="40" y="106"/>
                    </a:cubicBezTo>
                    <a:cubicBezTo>
                      <a:pt x="48" y="106"/>
                      <a:pt x="48" y="106"/>
                      <a:pt x="48" y="106"/>
                    </a:cubicBezTo>
                    <a:cubicBezTo>
                      <a:pt x="48" y="120"/>
                      <a:pt x="55" y="116"/>
                      <a:pt x="64" y="116"/>
                    </a:cubicBezTo>
                    <a:cubicBezTo>
                      <a:pt x="70" y="116"/>
                      <a:pt x="71" y="118"/>
                      <a:pt x="76" y="116"/>
                    </a:cubicBezTo>
                    <a:cubicBezTo>
                      <a:pt x="72" y="102"/>
                      <a:pt x="63" y="101"/>
                      <a:pt x="50" y="95"/>
                    </a:cubicBezTo>
                    <a:cubicBezTo>
                      <a:pt x="46" y="94"/>
                      <a:pt x="41" y="80"/>
                      <a:pt x="37" y="78"/>
                    </a:cubicBezTo>
                    <a:cubicBezTo>
                      <a:pt x="31" y="75"/>
                      <a:pt x="13" y="71"/>
                      <a:pt x="13" y="68"/>
                    </a:cubicBezTo>
                    <a:cubicBezTo>
                      <a:pt x="13" y="68"/>
                      <a:pt x="20" y="57"/>
                      <a:pt x="20" y="56"/>
                    </a:cubicBezTo>
                    <a:cubicBezTo>
                      <a:pt x="44" y="56"/>
                      <a:pt x="44" y="56"/>
                      <a:pt x="44" y="56"/>
                    </a:cubicBezTo>
                    <a:cubicBezTo>
                      <a:pt x="57" y="38"/>
                      <a:pt x="77" y="21"/>
                      <a:pt x="101" y="14"/>
                    </a:cubicBezTo>
                    <a:cubicBezTo>
                      <a:pt x="107" y="12"/>
                      <a:pt x="111" y="15"/>
                      <a:pt x="117" y="13"/>
                    </a:cubicBezTo>
                    <a:cubicBezTo>
                      <a:pt x="124" y="10"/>
                      <a:pt x="128" y="0"/>
                      <a:pt x="136" y="0"/>
                    </a:cubicBezTo>
                    <a:cubicBezTo>
                      <a:pt x="142" y="0"/>
                      <a:pt x="144" y="5"/>
                      <a:pt x="150" y="7"/>
                    </a:cubicBezTo>
                    <a:cubicBezTo>
                      <a:pt x="147" y="10"/>
                      <a:pt x="147" y="11"/>
                      <a:pt x="146" y="13"/>
                    </a:cubicBezTo>
                    <a:cubicBezTo>
                      <a:pt x="150" y="14"/>
                      <a:pt x="154" y="11"/>
                      <a:pt x="157" y="7"/>
                    </a:cubicBezTo>
                    <a:cubicBezTo>
                      <a:pt x="162" y="9"/>
                      <a:pt x="163" y="10"/>
                      <a:pt x="167" y="11"/>
                    </a:cubicBezTo>
                    <a:cubicBezTo>
                      <a:pt x="189" y="11"/>
                      <a:pt x="189" y="11"/>
                      <a:pt x="189" y="11"/>
                    </a:cubicBezTo>
                    <a:cubicBezTo>
                      <a:pt x="194" y="15"/>
                      <a:pt x="196" y="17"/>
                      <a:pt x="202" y="20"/>
                    </a:cubicBezTo>
                    <a:cubicBezTo>
                      <a:pt x="236" y="20"/>
                      <a:pt x="236" y="20"/>
                      <a:pt x="236" y="20"/>
                    </a:cubicBezTo>
                    <a:cubicBezTo>
                      <a:pt x="245" y="29"/>
                      <a:pt x="272" y="31"/>
                      <a:pt x="286" y="31"/>
                    </a:cubicBezTo>
                    <a:cubicBezTo>
                      <a:pt x="294" y="31"/>
                      <a:pt x="299" y="28"/>
                      <a:pt x="307" y="28"/>
                    </a:cubicBezTo>
                    <a:cubicBezTo>
                      <a:pt x="319" y="28"/>
                      <a:pt x="323" y="34"/>
                      <a:pt x="334" y="37"/>
                    </a:cubicBezTo>
                    <a:cubicBezTo>
                      <a:pt x="334" y="36"/>
                      <a:pt x="334" y="36"/>
                      <a:pt x="334" y="36"/>
                    </a:cubicBezTo>
                    <a:lnTo>
                      <a:pt x="334"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2" name="Freeform 52"/>
              <p:cNvSpPr>
                <a:spLocks/>
              </p:cNvSpPr>
              <p:nvPr/>
            </p:nvSpPr>
            <p:spPr bwMode="auto">
              <a:xfrm>
                <a:off x="2149475" y="1820863"/>
                <a:ext cx="28575" cy="38100"/>
              </a:xfrm>
              <a:custGeom>
                <a:avLst/>
                <a:gdLst/>
                <a:ahLst/>
                <a:cxnLst>
                  <a:cxn ang="0">
                    <a:pos x="9" y="11"/>
                  </a:cxn>
                  <a:cxn ang="0">
                    <a:pos x="0" y="11"/>
                  </a:cxn>
                  <a:cxn ang="0">
                    <a:pos x="11" y="2"/>
                  </a:cxn>
                  <a:cxn ang="0">
                    <a:pos x="22" y="25"/>
                  </a:cxn>
                  <a:cxn ang="0">
                    <a:pos x="18" y="29"/>
                  </a:cxn>
                  <a:cxn ang="0">
                    <a:pos x="9" y="20"/>
                  </a:cxn>
                  <a:cxn ang="0">
                    <a:pos x="9" y="11"/>
                  </a:cxn>
                </a:cxnLst>
                <a:rect l="0" t="0" r="r" b="b"/>
                <a:pathLst>
                  <a:path w="22" h="29">
                    <a:moveTo>
                      <a:pt x="9" y="11"/>
                    </a:moveTo>
                    <a:cubicBezTo>
                      <a:pt x="2" y="9"/>
                      <a:pt x="5" y="7"/>
                      <a:pt x="0" y="11"/>
                    </a:cubicBezTo>
                    <a:cubicBezTo>
                      <a:pt x="0" y="0"/>
                      <a:pt x="2" y="0"/>
                      <a:pt x="11" y="2"/>
                    </a:cubicBezTo>
                    <a:cubicBezTo>
                      <a:pt x="10" y="14"/>
                      <a:pt x="22" y="15"/>
                      <a:pt x="22" y="25"/>
                    </a:cubicBezTo>
                    <a:cubicBezTo>
                      <a:pt x="22" y="28"/>
                      <a:pt x="20" y="29"/>
                      <a:pt x="18" y="29"/>
                    </a:cubicBezTo>
                    <a:cubicBezTo>
                      <a:pt x="14" y="29"/>
                      <a:pt x="9" y="20"/>
                      <a:pt x="9" y="20"/>
                    </a:cubicBezTo>
                    <a:cubicBezTo>
                      <a:pt x="9" y="16"/>
                      <a:pt x="8" y="13"/>
                      <a:pt x="9"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3" name="Freeform 53"/>
              <p:cNvSpPr>
                <a:spLocks/>
              </p:cNvSpPr>
              <p:nvPr/>
            </p:nvSpPr>
            <p:spPr bwMode="auto">
              <a:xfrm>
                <a:off x="2105025" y="1776413"/>
                <a:ext cx="30163" cy="46038"/>
              </a:xfrm>
              <a:custGeom>
                <a:avLst/>
                <a:gdLst/>
                <a:ahLst/>
                <a:cxnLst>
                  <a:cxn ang="0">
                    <a:pos x="15" y="18"/>
                  </a:cxn>
                  <a:cxn ang="0">
                    <a:pos x="19" y="18"/>
                  </a:cxn>
                  <a:cxn ang="0">
                    <a:pos x="19" y="35"/>
                  </a:cxn>
                  <a:cxn ang="0">
                    <a:pos x="11" y="17"/>
                  </a:cxn>
                  <a:cxn ang="0">
                    <a:pos x="0" y="4"/>
                  </a:cxn>
                  <a:cxn ang="0">
                    <a:pos x="5" y="0"/>
                  </a:cxn>
                  <a:cxn ang="0">
                    <a:pos x="15" y="0"/>
                  </a:cxn>
                  <a:cxn ang="0">
                    <a:pos x="15" y="18"/>
                  </a:cxn>
                </a:cxnLst>
                <a:rect l="0" t="0" r="r" b="b"/>
                <a:pathLst>
                  <a:path w="23" h="35">
                    <a:moveTo>
                      <a:pt x="15" y="18"/>
                    </a:moveTo>
                    <a:cubicBezTo>
                      <a:pt x="15" y="19"/>
                      <a:pt x="19" y="19"/>
                      <a:pt x="19" y="18"/>
                    </a:cubicBezTo>
                    <a:cubicBezTo>
                      <a:pt x="19" y="24"/>
                      <a:pt x="23" y="30"/>
                      <a:pt x="19" y="35"/>
                    </a:cubicBezTo>
                    <a:cubicBezTo>
                      <a:pt x="13" y="30"/>
                      <a:pt x="11" y="24"/>
                      <a:pt x="11" y="17"/>
                    </a:cubicBezTo>
                    <a:cubicBezTo>
                      <a:pt x="5" y="16"/>
                      <a:pt x="0" y="11"/>
                      <a:pt x="0" y="4"/>
                    </a:cubicBezTo>
                    <a:cubicBezTo>
                      <a:pt x="0" y="1"/>
                      <a:pt x="3" y="0"/>
                      <a:pt x="5" y="0"/>
                    </a:cubicBezTo>
                    <a:cubicBezTo>
                      <a:pt x="13" y="0"/>
                      <a:pt x="9" y="3"/>
                      <a:pt x="15" y="0"/>
                    </a:cubicBezTo>
                    <a:cubicBezTo>
                      <a:pt x="15" y="11"/>
                      <a:pt x="13" y="11"/>
                      <a:pt x="15"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4" name="Freeform 54"/>
              <p:cNvSpPr>
                <a:spLocks/>
              </p:cNvSpPr>
              <p:nvPr/>
            </p:nvSpPr>
            <p:spPr bwMode="auto">
              <a:xfrm>
                <a:off x="2389188" y="1335088"/>
                <a:ext cx="307975" cy="161925"/>
              </a:xfrm>
              <a:custGeom>
                <a:avLst/>
                <a:gdLst/>
                <a:ahLst/>
                <a:cxnLst>
                  <a:cxn ang="0">
                    <a:pos x="214" y="96"/>
                  </a:cxn>
                  <a:cxn ang="0">
                    <a:pos x="209" y="100"/>
                  </a:cxn>
                  <a:cxn ang="0">
                    <a:pos x="215" y="103"/>
                  </a:cxn>
                  <a:cxn ang="0">
                    <a:pos x="220" y="110"/>
                  </a:cxn>
                  <a:cxn ang="0">
                    <a:pos x="195" y="118"/>
                  </a:cxn>
                  <a:cxn ang="0">
                    <a:pos x="158" y="104"/>
                  </a:cxn>
                  <a:cxn ang="0">
                    <a:pos x="147" y="112"/>
                  </a:cxn>
                  <a:cxn ang="0">
                    <a:pos x="115" y="121"/>
                  </a:cxn>
                  <a:cxn ang="0">
                    <a:pos x="75" y="121"/>
                  </a:cxn>
                  <a:cxn ang="0">
                    <a:pos x="68" y="110"/>
                  </a:cxn>
                  <a:cxn ang="0">
                    <a:pos x="43" y="108"/>
                  </a:cxn>
                  <a:cxn ang="0">
                    <a:pos x="23" y="92"/>
                  </a:cxn>
                  <a:cxn ang="0">
                    <a:pos x="65" y="82"/>
                  </a:cxn>
                  <a:cxn ang="0">
                    <a:pos x="80" y="81"/>
                  </a:cxn>
                  <a:cxn ang="0">
                    <a:pos x="69" y="77"/>
                  </a:cxn>
                  <a:cxn ang="0">
                    <a:pos x="45" y="77"/>
                  </a:cxn>
                  <a:cxn ang="0">
                    <a:pos x="12" y="69"/>
                  </a:cxn>
                  <a:cxn ang="0">
                    <a:pos x="29" y="60"/>
                  </a:cxn>
                  <a:cxn ang="0">
                    <a:pos x="14" y="59"/>
                  </a:cxn>
                  <a:cxn ang="0">
                    <a:pos x="0" y="51"/>
                  </a:cxn>
                  <a:cxn ang="0">
                    <a:pos x="56" y="13"/>
                  </a:cxn>
                  <a:cxn ang="0">
                    <a:pos x="64" y="29"/>
                  </a:cxn>
                  <a:cxn ang="0">
                    <a:pos x="78" y="21"/>
                  </a:cxn>
                  <a:cxn ang="0">
                    <a:pos x="98" y="34"/>
                  </a:cxn>
                  <a:cxn ang="0">
                    <a:pos x="111" y="31"/>
                  </a:cxn>
                  <a:cxn ang="0">
                    <a:pos x="109" y="23"/>
                  </a:cxn>
                  <a:cxn ang="0">
                    <a:pos x="118" y="23"/>
                  </a:cxn>
                  <a:cxn ang="0">
                    <a:pos x="133" y="35"/>
                  </a:cxn>
                  <a:cxn ang="0">
                    <a:pos x="140" y="51"/>
                  </a:cxn>
                  <a:cxn ang="0">
                    <a:pos x="146" y="48"/>
                  </a:cxn>
                  <a:cxn ang="0">
                    <a:pos x="136" y="17"/>
                  </a:cxn>
                  <a:cxn ang="0">
                    <a:pos x="144" y="12"/>
                  </a:cxn>
                  <a:cxn ang="0">
                    <a:pos x="156" y="12"/>
                  </a:cxn>
                  <a:cxn ang="0">
                    <a:pos x="156" y="7"/>
                  </a:cxn>
                  <a:cxn ang="0">
                    <a:pos x="169" y="0"/>
                  </a:cxn>
                  <a:cxn ang="0">
                    <a:pos x="184" y="10"/>
                  </a:cxn>
                  <a:cxn ang="0">
                    <a:pos x="175" y="24"/>
                  </a:cxn>
                  <a:cxn ang="0">
                    <a:pos x="187" y="62"/>
                  </a:cxn>
                  <a:cxn ang="0">
                    <a:pos x="232" y="92"/>
                  </a:cxn>
                  <a:cxn ang="0">
                    <a:pos x="214" y="96"/>
                  </a:cxn>
                </a:cxnLst>
                <a:rect l="0" t="0" r="r" b="b"/>
                <a:pathLst>
                  <a:path w="232" h="121">
                    <a:moveTo>
                      <a:pt x="214" y="96"/>
                    </a:moveTo>
                    <a:cubicBezTo>
                      <a:pt x="211" y="96"/>
                      <a:pt x="209" y="97"/>
                      <a:pt x="209" y="100"/>
                    </a:cubicBezTo>
                    <a:cubicBezTo>
                      <a:pt x="209" y="103"/>
                      <a:pt x="214" y="103"/>
                      <a:pt x="215" y="103"/>
                    </a:cubicBezTo>
                    <a:cubicBezTo>
                      <a:pt x="216" y="107"/>
                      <a:pt x="218" y="108"/>
                      <a:pt x="220" y="110"/>
                    </a:cubicBezTo>
                    <a:cubicBezTo>
                      <a:pt x="216" y="118"/>
                      <a:pt x="206" y="118"/>
                      <a:pt x="195" y="118"/>
                    </a:cubicBezTo>
                    <a:cubicBezTo>
                      <a:pt x="177" y="118"/>
                      <a:pt x="171" y="104"/>
                      <a:pt x="158" y="104"/>
                    </a:cubicBezTo>
                    <a:cubicBezTo>
                      <a:pt x="150" y="104"/>
                      <a:pt x="154" y="109"/>
                      <a:pt x="147" y="112"/>
                    </a:cubicBezTo>
                    <a:cubicBezTo>
                      <a:pt x="135" y="118"/>
                      <a:pt x="124" y="115"/>
                      <a:pt x="115" y="121"/>
                    </a:cubicBezTo>
                    <a:cubicBezTo>
                      <a:pt x="95" y="121"/>
                      <a:pt x="87" y="121"/>
                      <a:pt x="75" y="121"/>
                    </a:cubicBezTo>
                    <a:cubicBezTo>
                      <a:pt x="68" y="121"/>
                      <a:pt x="73" y="114"/>
                      <a:pt x="68" y="110"/>
                    </a:cubicBezTo>
                    <a:cubicBezTo>
                      <a:pt x="63" y="107"/>
                      <a:pt x="49" y="108"/>
                      <a:pt x="43" y="108"/>
                    </a:cubicBezTo>
                    <a:cubicBezTo>
                      <a:pt x="34" y="108"/>
                      <a:pt x="26" y="98"/>
                      <a:pt x="23" y="92"/>
                    </a:cubicBezTo>
                    <a:cubicBezTo>
                      <a:pt x="33" y="85"/>
                      <a:pt x="47" y="82"/>
                      <a:pt x="65" y="82"/>
                    </a:cubicBezTo>
                    <a:cubicBezTo>
                      <a:pt x="72" y="82"/>
                      <a:pt x="75" y="82"/>
                      <a:pt x="80" y="81"/>
                    </a:cubicBezTo>
                    <a:cubicBezTo>
                      <a:pt x="77" y="80"/>
                      <a:pt x="73" y="77"/>
                      <a:pt x="69" y="77"/>
                    </a:cubicBezTo>
                    <a:cubicBezTo>
                      <a:pt x="60" y="77"/>
                      <a:pt x="50" y="77"/>
                      <a:pt x="45" y="77"/>
                    </a:cubicBezTo>
                    <a:cubicBezTo>
                      <a:pt x="36" y="77"/>
                      <a:pt x="12" y="81"/>
                      <a:pt x="12" y="69"/>
                    </a:cubicBezTo>
                    <a:cubicBezTo>
                      <a:pt x="12" y="59"/>
                      <a:pt x="24" y="63"/>
                      <a:pt x="29" y="60"/>
                    </a:cubicBezTo>
                    <a:cubicBezTo>
                      <a:pt x="22" y="58"/>
                      <a:pt x="19" y="59"/>
                      <a:pt x="14" y="59"/>
                    </a:cubicBezTo>
                    <a:cubicBezTo>
                      <a:pt x="9" y="59"/>
                      <a:pt x="0" y="53"/>
                      <a:pt x="0" y="51"/>
                    </a:cubicBezTo>
                    <a:cubicBezTo>
                      <a:pt x="0" y="29"/>
                      <a:pt x="41" y="13"/>
                      <a:pt x="56" y="13"/>
                    </a:cubicBezTo>
                    <a:cubicBezTo>
                      <a:pt x="63" y="13"/>
                      <a:pt x="62" y="26"/>
                      <a:pt x="64" y="29"/>
                    </a:cubicBezTo>
                    <a:cubicBezTo>
                      <a:pt x="68" y="26"/>
                      <a:pt x="71" y="21"/>
                      <a:pt x="78" y="21"/>
                    </a:cubicBezTo>
                    <a:cubicBezTo>
                      <a:pt x="90" y="21"/>
                      <a:pt x="94" y="26"/>
                      <a:pt x="98" y="34"/>
                    </a:cubicBezTo>
                    <a:cubicBezTo>
                      <a:pt x="102" y="33"/>
                      <a:pt x="106" y="32"/>
                      <a:pt x="111" y="31"/>
                    </a:cubicBezTo>
                    <a:cubicBezTo>
                      <a:pt x="110" y="27"/>
                      <a:pt x="109" y="25"/>
                      <a:pt x="109" y="23"/>
                    </a:cubicBezTo>
                    <a:cubicBezTo>
                      <a:pt x="118" y="23"/>
                      <a:pt x="118" y="23"/>
                      <a:pt x="118" y="23"/>
                    </a:cubicBezTo>
                    <a:cubicBezTo>
                      <a:pt x="124" y="25"/>
                      <a:pt x="131" y="30"/>
                      <a:pt x="133" y="35"/>
                    </a:cubicBezTo>
                    <a:cubicBezTo>
                      <a:pt x="135" y="40"/>
                      <a:pt x="132" y="51"/>
                      <a:pt x="140" y="51"/>
                    </a:cubicBezTo>
                    <a:cubicBezTo>
                      <a:pt x="144" y="51"/>
                      <a:pt x="144" y="50"/>
                      <a:pt x="146" y="48"/>
                    </a:cubicBezTo>
                    <a:cubicBezTo>
                      <a:pt x="142" y="42"/>
                      <a:pt x="136" y="21"/>
                      <a:pt x="136" y="17"/>
                    </a:cubicBezTo>
                    <a:cubicBezTo>
                      <a:pt x="136" y="14"/>
                      <a:pt x="140" y="12"/>
                      <a:pt x="144" y="12"/>
                    </a:cubicBezTo>
                    <a:cubicBezTo>
                      <a:pt x="152" y="12"/>
                      <a:pt x="149" y="15"/>
                      <a:pt x="156" y="12"/>
                    </a:cubicBezTo>
                    <a:cubicBezTo>
                      <a:pt x="156" y="10"/>
                      <a:pt x="156" y="9"/>
                      <a:pt x="156" y="7"/>
                    </a:cubicBezTo>
                    <a:cubicBezTo>
                      <a:pt x="156" y="3"/>
                      <a:pt x="162" y="0"/>
                      <a:pt x="169" y="0"/>
                    </a:cubicBezTo>
                    <a:cubicBezTo>
                      <a:pt x="177" y="0"/>
                      <a:pt x="184" y="3"/>
                      <a:pt x="184" y="10"/>
                    </a:cubicBezTo>
                    <a:cubicBezTo>
                      <a:pt x="184" y="16"/>
                      <a:pt x="175" y="20"/>
                      <a:pt x="175" y="24"/>
                    </a:cubicBezTo>
                    <a:cubicBezTo>
                      <a:pt x="175" y="40"/>
                      <a:pt x="187" y="50"/>
                      <a:pt x="187" y="62"/>
                    </a:cubicBezTo>
                    <a:cubicBezTo>
                      <a:pt x="187" y="76"/>
                      <a:pt x="224" y="85"/>
                      <a:pt x="232" y="92"/>
                    </a:cubicBezTo>
                    <a:cubicBezTo>
                      <a:pt x="224" y="97"/>
                      <a:pt x="222" y="96"/>
                      <a:pt x="214" y="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5" name="Freeform 55"/>
              <p:cNvSpPr>
                <a:spLocks/>
              </p:cNvSpPr>
              <p:nvPr/>
            </p:nvSpPr>
            <p:spPr bwMode="auto">
              <a:xfrm>
                <a:off x="2274888" y="1309688"/>
                <a:ext cx="173038" cy="114300"/>
              </a:xfrm>
              <a:custGeom>
                <a:avLst/>
                <a:gdLst/>
                <a:ahLst/>
                <a:cxnLst>
                  <a:cxn ang="0">
                    <a:pos x="28" y="82"/>
                  </a:cxn>
                  <a:cxn ang="0">
                    <a:pos x="22" y="73"/>
                  </a:cxn>
                  <a:cxn ang="0">
                    <a:pos x="0" y="64"/>
                  </a:cxn>
                  <a:cxn ang="0">
                    <a:pos x="22" y="21"/>
                  </a:cxn>
                  <a:cxn ang="0">
                    <a:pos x="16" y="5"/>
                  </a:cxn>
                  <a:cxn ang="0">
                    <a:pos x="42" y="5"/>
                  </a:cxn>
                  <a:cxn ang="0">
                    <a:pos x="60" y="2"/>
                  </a:cxn>
                  <a:cxn ang="0">
                    <a:pos x="84" y="11"/>
                  </a:cxn>
                  <a:cxn ang="0">
                    <a:pos x="99" y="10"/>
                  </a:cxn>
                  <a:cxn ang="0">
                    <a:pos x="130" y="29"/>
                  </a:cxn>
                  <a:cxn ang="0">
                    <a:pos x="102" y="38"/>
                  </a:cxn>
                  <a:cxn ang="0">
                    <a:pos x="69" y="71"/>
                  </a:cxn>
                  <a:cxn ang="0">
                    <a:pos x="35" y="86"/>
                  </a:cxn>
                  <a:cxn ang="0">
                    <a:pos x="28" y="82"/>
                  </a:cxn>
                </a:cxnLst>
                <a:rect l="0" t="0" r="r" b="b"/>
                <a:pathLst>
                  <a:path w="130" h="86">
                    <a:moveTo>
                      <a:pt x="28" y="82"/>
                    </a:moveTo>
                    <a:cubicBezTo>
                      <a:pt x="26" y="82"/>
                      <a:pt x="23" y="75"/>
                      <a:pt x="22" y="73"/>
                    </a:cubicBezTo>
                    <a:cubicBezTo>
                      <a:pt x="18" y="68"/>
                      <a:pt x="0" y="69"/>
                      <a:pt x="0" y="64"/>
                    </a:cubicBezTo>
                    <a:cubicBezTo>
                      <a:pt x="0" y="49"/>
                      <a:pt x="22" y="37"/>
                      <a:pt x="22" y="21"/>
                    </a:cubicBezTo>
                    <a:cubicBezTo>
                      <a:pt x="22" y="17"/>
                      <a:pt x="16" y="10"/>
                      <a:pt x="16" y="5"/>
                    </a:cubicBezTo>
                    <a:cubicBezTo>
                      <a:pt x="27" y="1"/>
                      <a:pt x="32" y="5"/>
                      <a:pt x="42" y="5"/>
                    </a:cubicBezTo>
                    <a:cubicBezTo>
                      <a:pt x="48" y="5"/>
                      <a:pt x="52" y="0"/>
                      <a:pt x="60" y="2"/>
                    </a:cubicBezTo>
                    <a:cubicBezTo>
                      <a:pt x="70" y="5"/>
                      <a:pt x="74" y="10"/>
                      <a:pt x="84" y="11"/>
                    </a:cubicBezTo>
                    <a:cubicBezTo>
                      <a:pt x="88" y="15"/>
                      <a:pt x="93" y="10"/>
                      <a:pt x="99" y="10"/>
                    </a:cubicBezTo>
                    <a:cubicBezTo>
                      <a:pt x="108" y="10"/>
                      <a:pt x="130" y="19"/>
                      <a:pt x="130" y="29"/>
                    </a:cubicBezTo>
                    <a:cubicBezTo>
                      <a:pt x="130" y="34"/>
                      <a:pt x="106" y="37"/>
                      <a:pt x="102" y="38"/>
                    </a:cubicBezTo>
                    <a:cubicBezTo>
                      <a:pt x="88" y="43"/>
                      <a:pt x="69" y="61"/>
                      <a:pt x="69" y="71"/>
                    </a:cubicBezTo>
                    <a:cubicBezTo>
                      <a:pt x="69" y="75"/>
                      <a:pt x="38" y="86"/>
                      <a:pt x="35" y="86"/>
                    </a:cubicBezTo>
                    <a:cubicBezTo>
                      <a:pt x="32" y="86"/>
                      <a:pt x="30" y="82"/>
                      <a:pt x="28"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6" name="Freeform 56"/>
              <p:cNvSpPr>
                <a:spLocks/>
              </p:cNvSpPr>
              <p:nvPr/>
            </p:nvSpPr>
            <p:spPr bwMode="auto">
              <a:xfrm>
                <a:off x="2413000" y="1228725"/>
                <a:ext cx="204788" cy="87313"/>
              </a:xfrm>
              <a:custGeom>
                <a:avLst/>
                <a:gdLst/>
                <a:ahLst/>
                <a:cxnLst>
                  <a:cxn ang="0">
                    <a:pos x="53" y="65"/>
                  </a:cxn>
                  <a:cxn ang="0">
                    <a:pos x="41" y="59"/>
                  </a:cxn>
                  <a:cxn ang="0">
                    <a:pos x="53" y="53"/>
                  </a:cxn>
                  <a:cxn ang="0">
                    <a:pos x="46" y="43"/>
                  </a:cxn>
                  <a:cxn ang="0">
                    <a:pos x="41" y="49"/>
                  </a:cxn>
                  <a:cxn ang="0">
                    <a:pos x="22" y="52"/>
                  </a:cxn>
                  <a:cxn ang="0">
                    <a:pos x="7" y="49"/>
                  </a:cxn>
                  <a:cxn ang="0">
                    <a:pos x="0" y="42"/>
                  </a:cxn>
                  <a:cxn ang="0">
                    <a:pos x="0" y="36"/>
                  </a:cxn>
                  <a:cxn ang="0">
                    <a:pos x="11" y="31"/>
                  </a:cxn>
                  <a:cxn ang="0">
                    <a:pos x="31" y="36"/>
                  </a:cxn>
                  <a:cxn ang="0">
                    <a:pos x="11" y="30"/>
                  </a:cxn>
                  <a:cxn ang="0">
                    <a:pos x="11" y="23"/>
                  </a:cxn>
                  <a:cxn ang="0">
                    <a:pos x="19" y="23"/>
                  </a:cxn>
                  <a:cxn ang="0">
                    <a:pos x="38" y="26"/>
                  </a:cxn>
                  <a:cxn ang="0">
                    <a:pos x="16" y="22"/>
                  </a:cxn>
                  <a:cxn ang="0">
                    <a:pos x="25" y="17"/>
                  </a:cxn>
                  <a:cxn ang="0">
                    <a:pos x="36" y="18"/>
                  </a:cxn>
                  <a:cxn ang="0">
                    <a:pos x="23" y="12"/>
                  </a:cxn>
                  <a:cxn ang="0">
                    <a:pos x="38" y="12"/>
                  </a:cxn>
                  <a:cxn ang="0">
                    <a:pos x="45" y="19"/>
                  </a:cxn>
                  <a:cxn ang="0">
                    <a:pos x="55" y="19"/>
                  </a:cxn>
                  <a:cxn ang="0">
                    <a:pos x="97" y="36"/>
                  </a:cxn>
                  <a:cxn ang="0">
                    <a:pos x="107" y="30"/>
                  </a:cxn>
                  <a:cxn ang="0">
                    <a:pos x="98" y="29"/>
                  </a:cxn>
                  <a:cxn ang="0">
                    <a:pos x="102" y="27"/>
                  </a:cxn>
                  <a:cxn ang="0">
                    <a:pos x="102" y="21"/>
                  </a:cxn>
                  <a:cxn ang="0">
                    <a:pos x="91" y="15"/>
                  </a:cxn>
                  <a:cxn ang="0">
                    <a:pos x="107" y="0"/>
                  </a:cxn>
                  <a:cxn ang="0">
                    <a:pos x="116" y="4"/>
                  </a:cxn>
                  <a:cxn ang="0">
                    <a:pos x="116" y="9"/>
                  </a:cxn>
                  <a:cxn ang="0">
                    <a:pos x="132" y="26"/>
                  </a:cxn>
                  <a:cxn ang="0">
                    <a:pos x="144" y="20"/>
                  </a:cxn>
                  <a:cxn ang="0">
                    <a:pos x="154" y="31"/>
                  </a:cxn>
                  <a:cxn ang="0">
                    <a:pos x="140" y="52"/>
                  </a:cxn>
                  <a:cxn ang="0">
                    <a:pos x="111" y="51"/>
                  </a:cxn>
                  <a:cxn ang="0">
                    <a:pos x="82" y="59"/>
                  </a:cxn>
                  <a:cxn ang="0">
                    <a:pos x="53" y="65"/>
                  </a:cxn>
                </a:cxnLst>
                <a:rect l="0" t="0" r="r" b="b"/>
                <a:pathLst>
                  <a:path w="154" h="65">
                    <a:moveTo>
                      <a:pt x="53" y="65"/>
                    </a:moveTo>
                    <a:cubicBezTo>
                      <a:pt x="48" y="65"/>
                      <a:pt x="41" y="61"/>
                      <a:pt x="41" y="59"/>
                    </a:cubicBezTo>
                    <a:cubicBezTo>
                      <a:pt x="41" y="52"/>
                      <a:pt x="47" y="53"/>
                      <a:pt x="53" y="53"/>
                    </a:cubicBezTo>
                    <a:cubicBezTo>
                      <a:pt x="50" y="50"/>
                      <a:pt x="46" y="48"/>
                      <a:pt x="46" y="43"/>
                    </a:cubicBezTo>
                    <a:cubicBezTo>
                      <a:pt x="43" y="44"/>
                      <a:pt x="41" y="46"/>
                      <a:pt x="41" y="49"/>
                    </a:cubicBezTo>
                    <a:cubicBezTo>
                      <a:pt x="33" y="50"/>
                      <a:pt x="27" y="52"/>
                      <a:pt x="22" y="52"/>
                    </a:cubicBezTo>
                    <a:cubicBezTo>
                      <a:pt x="16" y="52"/>
                      <a:pt x="10" y="49"/>
                      <a:pt x="7" y="49"/>
                    </a:cubicBezTo>
                    <a:cubicBezTo>
                      <a:pt x="3" y="49"/>
                      <a:pt x="0" y="46"/>
                      <a:pt x="0" y="42"/>
                    </a:cubicBezTo>
                    <a:cubicBezTo>
                      <a:pt x="0" y="38"/>
                      <a:pt x="2" y="39"/>
                      <a:pt x="0" y="36"/>
                    </a:cubicBezTo>
                    <a:cubicBezTo>
                      <a:pt x="5" y="35"/>
                      <a:pt x="7" y="31"/>
                      <a:pt x="11" y="31"/>
                    </a:cubicBezTo>
                    <a:cubicBezTo>
                      <a:pt x="20" y="31"/>
                      <a:pt x="24" y="35"/>
                      <a:pt x="31" y="36"/>
                    </a:cubicBezTo>
                    <a:cubicBezTo>
                      <a:pt x="24" y="35"/>
                      <a:pt x="17" y="32"/>
                      <a:pt x="11" y="30"/>
                    </a:cubicBezTo>
                    <a:cubicBezTo>
                      <a:pt x="11" y="23"/>
                      <a:pt x="11" y="23"/>
                      <a:pt x="11" y="23"/>
                    </a:cubicBezTo>
                    <a:cubicBezTo>
                      <a:pt x="15" y="23"/>
                      <a:pt x="19" y="23"/>
                      <a:pt x="19" y="23"/>
                    </a:cubicBezTo>
                    <a:cubicBezTo>
                      <a:pt x="20" y="23"/>
                      <a:pt x="34" y="26"/>
                      <a:pt x="38" y="26"/>
                    </a:cubicBezTo>
                    <a:cubicBezTo>
                      <a:pt x="30" y="25"/>
                      <a:pt x="23" y="26"/>
                      <a:pt x="16" y="22"/>
                    </a:cubicBezTo>
                    <a:cubicBezTo>
                      <a:pt x="18" y="19"/>
                      <a:pt x="22" y="17"/>
                      <a:pt x="25" y="17"/>
                    </a:cubicBezTo>
                    <a:cubicBezTo>
                      <a:pt x="31" y="17"/>
                      <a:pt x="32" y="19"/>
                      <a:pt x="36" y="18"/>
                    </a:cubicBezTo>
                    <a:cubicBezTo>
                      <a:pt x="31" y="19"/>
                      <a:pt x="23" y="18"/>
                      <a:pt x="23" y="12"/>
                    </a:cubicBezTo>
                    <a:cubicBezTo>
                      <a:pt x="31" y="11"/>
                      <a:pt x="34" y="12"/>
                      <a:pt x="38" y="12"/>
                    </a:cubicBezTo>
                    <a:cubicBezTo>
                      <a:pt x="39" y="12"/>
                      <a:pt x="45" y="14"/>
                      <a:pt x="45" y="19"/>
                    </a:cubicBezTo>
                    <a:cubicBezTo>
                      <a:pt x="50" y="19"/>
                      <a:pt x="54" y="19"/>
                      <a:pt x="55" y="19"/>
                    </a:cubicBezTo>
                    <a:cubicBezTo>
                      <a:pt x="68" y="19"/>
                      <a:pt x="78" y="36"/>
                      <a:pt x="97" y="36"/>
                    </a:cubicBezTo>
                    <a:cubicBezTo>
                      <a:pt x="103" y="36"/>
                      <a:pt x="105" y="34"/>
                      <a:pt x="107" y="30"/>
                    </a:cubicBezTo>
                    <a:cubicBezTo>
                      <a:pt x="102" y="30"/>
                      <a:pt x="100" y="30"/>
                      <a:pt x="98" y="29"/>
                    </a:cubicBezTo>
                    <a:cubicBezTo>
                      <a:pt x="98" y="28"/>
                      <a:pt x="101" y="27"/>
                      <a:pt x="102" y="27"/>
                    </a:cubicBezTo>
                    <a:cubicBezTo>
                      <a:pt x="102" y="21"/>
                      <a:pt x="102" y="21"/>
                      <a:pt x="102" y="21"/>
                    </a:cubicBezTo>
                    <a:cubicBezTo>
                      <a:pt x="99" y="21"/>
                      <a:pt x="91" y="19"/>
                      <a:pt x="91" y="15"/>
                    </a:cubicBezTo>
                    <a:cubicBezTo>
                      <a:pt x="91" y="7"/>
                      <a:pt x="103" y="4"/>
                      <a:pt x="107" y="0"/>
                    </a:cubicBezTo>
                    <a:cubicBezTo>
                      <a:pt x="110" y="2"/>
                      <a:pt x="113" y="4"/>
                      <a:pt x="116" y="4"/>
                    </a:cubicBezTo>
                    <a:cubicBezTo>
                      <a:pt x="115" y="7"/>
                      <a:pt x="116" y="8"/>
                      <a:pt x="116" y="9"/>
                    </a:cubicBezTo>
                    <a:cubicBezTo>
                      <a:pt x="116" y="16"/>
                      <a:pt x="124" y="26"/>
                      <a:pt x="132" y="26"/>
                    </a:cubicBezTo>
                    <a:cubicBezTo>
                      <a:pt x="136" y="26"/>
                      <a:pt x="139" y="20"/>
                      <a:pt x="144" y="20"/>
                    </a:cubicBezTo>
                    <a:cubicBezTo>
                      <a:pt x="150" y="20"/>
                      <a:pt x="154" y="26"/>
                      <a:pt x="154" y="31"/>
                    </a:cubicBezTo>
                    <a:cubicBezTo>
                      <a:pt x="154" y="37"/>
                      <a:pt x="144" y="51"/>
                      <a:pt x="140" y="52"/>
                    </a:cubicBezTo>
                    <a:cubicBezTo>
                      <a:pt x="137" y="53"/>
                      <a:pt x="111" y="50"/>
                      <a:pt x="111" y="51"/>
                    </a:cubicBezTo>
                    <a:cubicBezTo>
                      <a:pt x="111" y="52"/>
                      <a:pt x="83" y="58"/>
                      <a:pt x="82" y="59"/>
                    </a:cubicBezTo>
                    <a:cubicBezTo>
                      <a:pt x="73" y="62"/>
                      <a:pt x="64" y="65"/>
                      <a:pt x="53" y="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7" name="Freeform 57"/>
              <p:cNvSpPr>
                <a:spLocks/>
              </p:cNvSpPr>
              <p:nvPr/>
            </p:nvSpPr>
            <p:spPr bwMode="auto">
              <a:xfrm>
                <a:off x="2382838" y="1260475"/>
                <a:ext cx="28575" cy="20638"/>
              </a:xfrm>
              <a:custGeom>
                <a:avLst/>
                <a:gdLst/>
                <a:ahLst/>
                <a:cxnLst>
                  <a:cxn ang="0">
                    <a:pos x="8" y="16"/>
                  </a:cxn>
                  <a:cxn ang="0">
                    <a:pos x="0" y="11"/>
                  </a:cxn>
                  <a:cxn ang="0">
                    <a:pos x="21" y="0"/>
                  </a:cxn>
                  <a:cxn ang="0">
                    <a:pos x="8" y="16"/>
                  </a:cxn>
                </a:cxnLst>
                <a:rect l="0" t="0" r="r" b="b"/>
                <a:pathLst>
                  <a:path w="21" h="16">
                    <a:moveTo>
                      <a:pt x="8" y="16"/>
                    </a:moveTo>
                    <a:cubicBezTo>
                      <a:pt x="4" y="16"/>
                      <a:pt x="0" y="14"/>
                      <a:pt x="0" y="11"/>
                    </a:cubicBezTo>
                    <a:cubicBezTo>
                      <a:pt x="0" y="3"/>
                      <a:pt x="16" y="0"/>
                      <a:pt x="21" y="0"/>
                    </a:cubicBezTo>
                    <a:cubicBezTo>
                      <a:pt x="20" y="7"/>
                      <a:pt x="13" y="16"/>
                      <a:pt x="8"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8" name="Freeform 58"/>
              <p:cNvSpPr>
                <a:spLocks/>
              </p:cNvSpPr>
              <p:nvPr/>
            </p:nvSpPr>
            <p:spPr bwMode="auto">
              <a:xfrm>
                <a:off x="2457450" y="1230313"/>
                <a:ext cx="22225" cy="7938"/>
              </a:xfrm>
              <a:custGeom>
                <a:avLst/>
                <a:gdLst/>
                <a:ahLst/>
                <a:cxnLst>
                  <a:cxn ang="0">
                    <a:pos x="6" y="6"/>
                  </a:cxn>
                  <a:cxn ang="0">
                    <a:pos x="0" y="0"/>
                  </a:cxn>
                  <a:cxn ang="0">
                    <a:pos x="16" y="0"/>
                  </a:cxn>
                  <a:cxn ang="0">
                    <a:pos x="16" y="6"/>
                  </a:cxn>
                  <a:cxn ang="0">
                    <a:pos x="6" y="6"/>
                  </a:cxn>
                </a:cxnLst>
                <a:rect l="0" t="0" r="r" b="b"/>
                <a:pathLst>
                  <a:path w="16" h="6">
                    <a:moveTo>
                      <a:pt x="6" y="6"/>
                    </a:moveTo>
                    <a:cubicBezTo>
                      <a:pt x="4" y="6"/>
                      <a:pt x="0" y="4"/>
                      <a:pt x="0" y="0"/>
                    </a:cubicBezTo>
                    <a:cubicBezTo>
                      <a:pt x="16" y="0"/>
                      <a:pt x="16" y="0"/>
                      <a:pt x="16" y="0"/>
                    </a:cubicBezTo>
                    <a:cubicBezTo>
                      <a:pt x="16" y="6"/>
                      <a:pt x="16" y="6"/>
                      <a:pt x="16" y="6"/>
                    </a:cubicBezTo>
                    <a:cubicBezTo>
                      <a:pt x="14" y="6"/>
                      <a:pt x="6" y="6"/>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39" name="Freeform 59"/>
              <p:cNvSpPr>
                <a:spLocks/>
              </p:cNvSpPr>
              <p:nvPr/>
            </p:nvSpPr>
            <p:spPr bwMode="auto">
              <a:xfrm>
                <a:off x="2324100" y="1203325"/>
                <a:ext cx="117475" cy="65088"/>
              </a:xfrm>
              <a:custGeom>
                <a:avLst/>
                <a:gdLst/>
                <a:ahLst/>
                <a:cxnLst>
                  <a:cxn ang="0">
                    <a:pos x="88" y="8"/>
                  </a:cxn>
                  <a:cxn ang="0">
                    <a:pos x="82" y="15"/>
                  </a:cxn>
                  <a:cxn ang="0">
                    <a:pos x="86" y="24"/>
                  </a:cxn>
                  <a:cxn ang="0">
                    <a:pos x="67" y="38"/>
                  </a:cxn>
                  <a:cxn ang="0">
                    <a:pos x="56" y="26"/>
                  </a:cxn>
                  <a:cxn ang="0">
                    <a:pos x="41" y="39"/>
                  </a:cxn>
                  <a:cxn ang="0">
                    <a:pos x="32" y="49"/>
                  </a:cxn>
                  <a:cxn ang="0">
                    <a:pos x="24" y="42"/>
                  </a:cxn>
                  <a:cxn ang="0">
                    <a:pos x="12" y="42"/>
                  </a:cxn>
                  <a:cxn ang="0">
                    <a:pos x="4" y="46"/>
                  </a:cxn>
                  <a:cxn ang="0">
                    <a:pos x="0" y="39"/>
                  </a:cxn>
                  <a:cxn ang="0">
                    <a:pos x="10" y="31"/>
                  </a:cxn>
                  <a:cxn ang="0">
                    <a:pos x="31" y="23"/>
                  </a:cxn>
                  <a:cxn ang="0">
                    <a:pos x="54" y="6"/>
                  </a:cxn>
                  <a:cxn ang="0">
                    <a:pos x="62" y="7"/>
                  </a:cxn>
                  <a:cxn ang="0">
                    <a:pos x="88" y="8"/>
                  </a:cxn>
                </a:cxnLst>
                <a:rect l="0" t="0" r="r" b="b"/>
                <a:pathLst>
                  <a:path w="88" h="49">
                    <a:moveTo>
                      <a:pt x="88" y="8"/>
                    </a:moveTo>
                    <a:cubicBezTo>
                      <a:pt x="88" y="11"/>
                      <a:pt x="86" y="14"/>
                      <a:pt x="82" y="15"/>
                    </a:cubicBezTo>
                    <a:cubicBezTo>
                      <a:pt x="83" y="19"/>
                      <a:pt x="86" y="20"/>
                      <a:pt x="86" y="24"/>
                    </a:cubicBezTo>
                    <a:cubicBezTo>
                      <a:pt x="67" y="38"/>
                      <a:pt x="67" y="38"/>
                      <a:pt x="67" y="38"/>
                    </a:cubicBezTo>
                    <a:cubicBezTo>
                      <a:pt x="60" y="38"/>
                      <a:pt x="60" y="28"/>
                      <a:pt x="56" y="26"/>
                    </a:cubicBezTo>
                    <a:cubicBezTo>
                      <a:pt x="55" y="33"/>
                      <a:pt x="48" y="40"/>
                      <a:pt x="41" y="39"/>
                    </a:cubicBezTo>
                    <a:cubicBezTo>
                      <a:pt x="40" y="44"/>
                      <a:pt x="37" y="49"/>
                      <a:pt x="32" y="49"/>
                    </a:cubicBezTo>
                    <a:cubicBezTo>
                      <a:pt x="28" y="49"/>
                      <a:pt x="25" y="44"/>
                      <a:pt x="24" y="42"/>
                    </a:cubicBezTo>
                    <a:cubicBezTo>
                      <a:pt x="19" y="45"/>
                      <a:pt x="16" y="42"/>
                      <a:pt x="12" y="42"/>
                    </a:cubicBezTo>
                    <a:cubicBezTo>
                      <a:pt x="9" y="42"/>
                      <a:pt x="8" y="45"/>
                      <a:pt x="4" y="46"/>
                    </a:cubicBezTo>
                    <a:cubicBezTo>
                      <a:pt x="4" y="43"/>
                      <a:pt x="0" y="41"/>
                      <a:pt x="0" y="39"/>
                    </a:cubicBezTo>
                    <a:cubicBezTo>
                      <a:pt x="0" y="38"/>
                      <a:pt x="8" y="32"/>
                      <a:pt x="10" y="31"/>
                    </a:cubicBezTo>
                    <a:cubicBezTo>
                      <a:pt x="17" y="28"/>
                      <a:pt x="23" y="27"/>
                      <a:pt x="31" y="23"/>
                    </a:cubicBezTo>
                    <a:cubicBezTo>
                      <a:pt x="39" y="18"/>
                      <a:pt x="41" y="6"/>
                      <a:pt x="54" y="6"/>
                    </a:cubicBezTo>
                    <a:cubicBezTo>
                      <a:pt x="57" y="6"/>
                      <a:pt x="58" y="7"/>
                      <a:pt x="62" y="7"/>
                    </a:cubicBezTo>
                    <a:cubicBezTo>
                      <a:pt x="62" y="7"/>
                      <a:pt x="88" y="0"/>
                      <a:pt x="88"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0" name="Freeform 60"/>
              <p:cNvSpPr>
                <a:spLocks/>
              </p:cNvSpPr>
              <p:nvPr/>
            </p:nvSpPr>
            <p:spPr bwMode="auto">
              <a:xfrm>
                <a:off x="2481263" y="1162050"/>
                <a:ext cx="66675" cy="20638"/>
              </a:xfrm>
              <a:custGeom>
                <a:avLst/>
                <a:gdLst/>
                <a:ahLst/>
                <a:cxnLst>
                  <a:cxn ang="0">
                    <a:pos x="20" y="15"/>
                  </a:cxn>
                  <a:cxn ang="0">
                    <a:pos x="9" y="12"/>
                  </a:cxn>
                  <a:cxn ang="0">
                    <a:pos x="0" y="15"/>
                  </a:cxn>
                  <a:cxn ang="0">
                    <a:pos x="32" y="0"/>
                  </a:cxn>
                  <a:cxn ang="0">
                    <a:pos x="50" y="11"/>
                  </a:cxn>
                  <a:cxn ang="0">
                    <a:pos x="39" y="15"/>
                  </a:cxn>
                  <a:cxn ang="0">
                    <a:pos x="20" y="15"/>
                  </a:cxn>
                </a:cxnLst>
                <a:rect l="0" t="0" r="r" b="b"/>
                <a:pathLst>
                  <a:path w="50" h="15">
                    <a:moveTo>
                      <a:pt x="20" y="15"/>
                    </a:moveTo>
                    <a:cubicBezTo>
                      <a:pt x="14" y="15"/>
                      <a:pt x="13" y="12"/>
                      <a:pt x="9" y="12"/>
                    </a:cubicBezTo>
                    <a:cubicBezTo>
                      <a:pt x="5" y="12"/>
                      <a:pt x="3" y="15"/>
                      <a:pt x="0" y="15"/>
                    </a:cubicBezTo>
                    <a:cubicBezTo>
                      <a:pt x="0" y="9"/>
                      <a:pt x="26" y="0"/>
                      <a:pt x="32" y="0"/>
                    </a:cubicBezTo>
                    <a:cubicBezTo>
                      <a:pt x="41" y="0"/>
                      <a:pt x="49" y="5"/>
                      <a:pt x="50" y="11"/>
                    </a:cubicBezTo>
                    <a:cubicBezTo>
                      <a:pt x="47" y="12"/>
                      <a:pt x="44" y="15"/>
                      <a:pt x="39" y="15"/>
                    </a:cubicBezTo>
                    <a:cubicBezTo>
                      <a:pt x="27" y="15"/>
                      <a:pt x="29" y="15"/>
                      <a:pt x="20"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1" name="Freeform 61"/>
              <p:cNvSpPr>
                <a:spLocks/>
              </p:cNvSpPr>
              <p:nvPr/>
            </p:nvSpPr>
            <p:spPr bwMode="auto">
              <a:xfrm>
                <a:off x="2482850" y="1185863"/>
                <a:ext cx="58738" cy="30163"/>
              </a:xfrm>
              <a:custGeom>
                <a:avLst/>
                <a:gdLst/>
                <a:ahLst/>
                <a:cxnLst>
                  <a:cxn ang="0">
                    <a:pos x="38" y="10"/>
                  </a:cxn>
                  <a:cxn ang="0">
                    <a:pos x="14" y="23"/>
                  </a:cxn>
                  <a:cxn ang="0">
                    <a:pos x="0" y="11"/>
                  </a:cxn>
                  <a:cxn ang="0">
                    <a:pos x="36" y="0"/>
                  </a:cxn>
                  <a:cxn ang="0">
                    <a:pos x="44" y="5"/>
                  </a:cxn>
                  <a:cxn ang="0">
                    <a:pos x="25" y="10"/>
                  </a:cxn>
                  <a:cxn ang="0">
                    <a:pos x="38" y="10"/>
                  </a:cxn>
                </a:cxnLst>
                <a:rect l="0" t="0" r="r" b="b"/>
                <a:pathLst>
                  <a:path w="44" h="23">
                    <a:moveTo>
                      <a:pt x="38" y="10"/>
                    </a:moveTo>
                    <a:cubicBezTo>
                      <a:pt x="38" y="19"/>
                      <a:pt x="24" y="23"/>
                      <a:pt x="14" y="23"/>
                    </a:cubicBezTo>
                    <a:cubicBezTo>
                      <a:pt x="8" y="23"/>
                      <a:pt x="0" y="15"/>
                      <a:pt x="0" y="11"/>
                    </a:cubicBezTo>
                    <a:cubicBezTo>
                      <a:pt x="0" y="1"/>
                      <a:pt x="27" y="0"/>
                      <a:pt x="36" y="0"/>
                    </a:cubicBezTo>
                    <a:cubicBezTo>
                      <a:pt x="41" y="0"/>
                      <a:pt x="43" y="3"/>
                      <a:pt x="44" y="5"/>
                    </a:cubicBezTo>
                    <a:cubicBezTo>
                      <a:pt x="39" y="9"/>
                      <a:pt x="32" y="10"/>
                      <a:pt x="25" y="10"/>
                    </a:cubicBezTo>
                    <a:lnTo>
                      <a:pt x="38"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2" name="Freeform 62"/>
              <p:cNvSpPr>
                <a:spLocks/>
              </p:cNvSpPr>
              <p:nvPr/>
            </p:nvSpPr>
            <p:spPr bwMode="auto">
              <a:xfrm>
                <a:off x="2454275" y="1181100"/>
                <a:ext cx="20638" cy="22225"/>
              </a:xfrm>
              <a:custGeom>
                <a:avLst/>
                <a:gdLst/>
                <a:ahLst/>
                <a:cxnLst>
                  <a:cxn ang="0">
                    <a:pos x="15" y="12"/>
                  </a:cxn>
                  <a:cxn ang="0">
                    <a:pos x="9" y="17"/>
                  </a:cxn>
                  <a:cxn ang="0">
                    <a:pos x="0" y="11"/>
                  </a:cxn>
                  <a:cxn ang="0">
                    <a:pos x="15" y="12"/>
                  </a:cxn>
                </a:cxnLst>
                <a:rect l="0" t="0" r="r" b="b"/>
                <a:pathLst>
                  <a:path w="15" h="17">
                    <a:moveTo>
                      <a:pt x="15" y="12"/>
                    </a:moveTo>
                    <a:cubicBezTo>
                      <a:pt x="13" y="15"/>
                      <a:pt x="12" y="17"/>
                      <a:pt x="9" y="17"/>
                    </a:cubicBezTo>
                    <a:cubicBezTo>
                      <a:pt x="5" y="17"/>
                      <a:pt x="0" y="13"/>
                      <a:pt x="0" y="11"/>
                    </a:cubicBezTo>
                    <a:cubicBezTo>
                      <a:pt x="0" y="0"/>
                      <a:pt x="12" y="11"/>
                      <a:pt x="15"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3" name="Freeform 63"/>
              <p:cNvSpPr>
                <a:spLocks/>
              </p:cNvSpPr>
              <p:nvPr/>
            </p:nvSpPr>
            <p:spPr bwMode="auto">
              <a:xfrm>
                <a:off x="2671763" y="1335088"/>
                <a:ext cx="100013" cy="80963"/>
              </a:xfrm>
              <a:custGeom>
                <a:avLst/>
                <a:gdLst/>
                <a:ahLst/>
                <a:cxnLst>
                  <a:cxn ang="0">
                    <a:pos x="66" y="23"/>
                  </a:cxn>
                  <a:cxn ang="0">
                    <a:pos x="65" y="30"/>
                  </a:cxn>
                  <a:cxn ang="0">
                    <a:pos x="75" y="32"/>
                  </a:cxn>
                  <a:cxn ang="0">
                    <a:pos x="57" y="55"/>
                  </a:cxn>
                  <a:cxn ang="0">
                    <a:pos x="49" y="61"/>
                  </a:cxn>
                  <a:cxn ang="0">
                    <a:pos x="39" y="54"/>
                  </a:cxn>
                  <a:cxn ang="0">
                    <a:pos x="0" y="30"/>
                  </a:cxn>
                  <a:cxn ang="0">
                    <a:pos x="0" y="23"/>
                  </a:cxn>
                  <a:cxn ang="0">
                    <a:pos x="20" y="28"/>
                  </a:cxn>
                  <a:cxn ang="0">
                    <a:pos x="27" y="28"/>
                  </a:cxn>
                  <a:cxn ang="0">
                    <a:pos x="27" y="16"/>
                  </a:cxn>
                  <a:cxn ang="0">
                    <a:pos x="12" y="11"/>
                  </a:cxn>
                  <a:cxn ang="0">
                    <a:pos x="16" y="7"/>
                  </a:cxn>
                  <a:cxn ang="0">
                    <a:pos x="42" y="2"/>
                  </a:cxn>
                  <a:cxn ang="0">
                    <a:pos x="60" y="2"/>
                  </a:cxn>
                  <a:cxn ang="0">
                    <a:pos x="64" y="6"/>
                  </a:cxn>
                  <a:cxn ang="0">
                    <a:pos x="50" y="22"/>
                  </a:cxn>
                  <a:cxn ang="0">
                    <a:pos x="66" y="23"/>
                  </a:cxn>
                </a:cxnLst>
                <a:rect l="0" t="0" r="r" b="b"/>
                <a:pathLst>
                  <a:path w="75" h="61">
                    <a:moveTo>
                      <a:pt x="66" y="23"/>
                    </a:moveTo>
                    <a:cubicBezTo>
                      <a:pt x="66" y="29"/>
                      <a:pt x="65" y="25"/>
                      <a:pt x="65" y="30"/>
                    </a:cubicBezTo>
                    <a:cubicBezTo>
                      <a:pt x="67" y="30"/>
                      <a:pt x="72" y="31"/>
                      <a:pt x="75" y="32"/>
                    </a:cubicBezTo>
                    <a:cubicBezTo>
                      <a:pt x="73" y="56"/>
                      <a:pt x="72" y="49"/>
                      <a:pt x="57" y="55"/>
                    </a:cubicBezTo>
                    <a:cubicBezTo>
                      <a:pt x="53" y="56"/>
                      <a:pt x="53" y="61"/>
                      <a:pt x="49" y="61"/>
                    </a:cubicBezTo>
                    <a:cubicBezTo>
                      <a:pt x="42" y="61"/>
                      <a:pt x="42" y="56"/>
                      <a:pt x="39" y="54"/>
                    </a:cubicBezTo>
                    <a:cubicBezTo>
                      <a:pt x="27" y="41"/>
                      <a:pt x="13" y="43"/>
                      <a:pt x="0" y="30"/>
                    </a:cubicBezTo>
                    <a:cubicBezTo>
                      <a:pt x="0" y="23"/>
                      <a:pt x="0" y="23"/>
                      <a:pt x="0" y="23"/>
                    </a:cubicBezTo>
                    <a:cubicBezTo>
                      <a:pt x="6" y="23"/>
                      <a:pt x="12" y="28"/>
                      <a:pt x="20" y="28"/>
                    </a:cubicBezTo>
                    <a:cubicBezTo>
                      <a:pt x="24" y="28"/>
                      <a:pt x="23" y="28"/>
                      <a:pt x="27" y="28"/>
                    </a:cubicBezTo>
                    <a:cubicBezTo>
                      <a:pt x="27" y="16"/>
                      <a:pt x="27" y="16"/>
                      <a:pt x="27" y="16"/>
                    </a:cubicBezTo>
                    <a:cubicBezTo>
                      <a:pt x="21" y="15"/>
                      <a:pt x="12" y="16"/>
                      <a:pt x="12" y="11"/>
                    </a:cubicBezTo>
                    <a:cubicBezTo>
                      <a:pt x="12" y="9"/>
                      <a:pt x="15" y="8"/>
                      <a:pt x="16" y="7"/>
                    </a:cubicBezTo>
                    <a:cubicBezTo>
                      <a:pt x="23" y="0"/>
                      <a:pt x="32" y="2"/>
                      <a:pt x="42" y="2"/>
                    </a:cubicBezTo>
                    <a:cubicBezTo>
                      <a:pt x="50" y="2"/>
                      <a:pt x="60" y="2"/>
                      <a:pt x="60" y="2"/>
                    </a:cubicBezTo>
                    <a:cubicBezTo>
                      <a:pt x="61" y="2"/>
                      <a:pt x="64" y="4"/>
                      <a:pt x="64" y="6"/>
                    </a:cubicBezTo>
                    <a:cubicBezTo>
                      <a:pt x="64" y="15"/>
                      <a:pt x="53" y="18"/>
                      <a:pt x="50" y="22"/>
                    </a:cubicBezTo>
                    <a:cubicBezTo>
                      <a:pt x="53" y="22"/>
                      <a:pt x="66" y="18"/>
                      <a:pt x="66"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4" name="Freeform 64"/>
              <p:cNvSpPr>
                <a:spLocks/>
              </p:cNvSpPr>
              <p:nvPr/>
            </p:nvSpPr>
            <p:spPr bwMode="auto">
              <a:xfrm>
                <a:off x="2636838" y="1236663"/>
                <a:ext cx="111125" cy="60325"/>
              </a:xfrm>
              <a:custGeom>
                <a:avLst/>
                <a:gdLst/>
                <a:ahLst/>
                <a:cxnLst>
                  <a:cxn ang="0">
                    <a:pos x="4" y="11"/>
                  </a:cxn>
                  <a:cxn ang="0">
                    <a:pos x="0" y="2"/>
                  </a:cxn>
                  <a:cxn ang="0">
                    <a:pos x="5" y="2"/>
                  </a:cxn>
                  <a:cxn ang="0">
                    <a:pos x="38" y="20"/>
                  </a:cxn>
                  <a:cxn ang="0">
                    <a:pos x="29" y="13"/>
                  </a:cxn>
                  <a:cxn ang="0">
                    <a:pos x="29" y="8"/>
                  </a:cxn>
                  <a:cxn ang="0">
                    <a:pos x="54" y="17"/>
                  </a:cxn>
                  <a:cxn ang="0">
                    <a:pos x="54" y="8"/>
                  </a:cxn>
                  <a:cxn ang="0">
                    <a:pos x="38" y="1"/>
                  </a:cxn>
                  <a:cxn ang="0">
                    <a:pos x="46" y="1"/>
                  </a:cxn>
                  <a:cxn ang="0">
                    <a:pos x="66" y="5"/>
                  </a:cxn>
                  <a:cxn ang="0">
                    <a:pos x="75" y="2"/>
                  </a:cxn>
                  <a:cxn ang="0">
                    <a:pos x="84" y="13"/>
                  </a:cxn>
                  <a:cxn ang="0">
                    <a:pos x="80" y="41"/>
                  </a:cxn>
                  <a:cxn ang="0">
                    <a:pos x="62" y="43"/>
                  </a:cxn>
                  <a:cxn ang="0">
                    <a:pos x="48" y="41"/>
                  </a:cxn>
                  <a:cxn ang="0">
                    <a:pos x="51" y="36"/>
                  </a:cxn>
                  <a:cxn ang="0">
                    <a:pos x="51" y="32"/>
                  </a:cxn>
                  <a:cxn ang="0">
                    <a:pos x="62" y="25"/>
                  </a:cxn>
                  <a:cxn ang="0">
                    <a:pos x="57" y="24"/>
                  </a:cxn>
                  <a:cxn ang="0">
                    <a:pos x="25" y="28"/>
                  </a:cxn>
                  <a:cxn ang="0">
                    <a:pos x="20" y="23"/>
                  </a:cxn>
                  <a:cxn ang="0">
                    <a:pos x="13" y="23"/>
                  </a:cxn>
                  <a:cxn ang="0">
                    <a:pos x="12" y="19"/>
                  </a:cxn>
                  <a:cxn ang="0">
                    <a:pos x="1" y="14"/>
                  </a:cxn>
                  <a:cxn ang="0">
                    <a:pos x="1" y="6"/>
                  </a:cxn>
                  <a:cxn ang="0">
                    <a:pos x="4" y="11"/>
                  </a:cxn>
                </a:cxnLst>
                <a:rect l="0" t="0" r="r" b="b"/>
                <a:pathLst>
                  <a:path w="84" h="45">
                    <a:moveTo>
                      <a:pt x="4" y="11"/>
                    </a:moveTo>
                    <a:cubicBezTo>
                      <a:pt x="2" y="9"/>
                      <a:pt x="0" y="6"/>
                      <a:pt x="0" y="2"/>
                    </a:cubicBezTo>
                    <a:cubicBezTo>
                      <a:pt x="1" y="2"/>
                      <a:pt x="3" y="2"/>
                      <a:pt x="5" y="2"/>
                    </a:cubicBezTo>
                    <a:cubicBezTo>
                      <a:pt x="18" y="2"/>
                      <a:pt x="24" y="24"/>
                      <a:pt x="38" y="20"/>
                    </a:cubicBezTo>
                    <a:cubicBezTo>
                      <a:pt x="35" y="18"/>
                      <a:pt x="31" y="15"/>
                      <a:pt x="29" y="13"/>
                    </a:cubicBezTo>
                    <a:cubicBezTo>
                      <a:pt x="29" y="8"/>
                      <a:pt x="29" y="8"/>
                      <a:pt x="29" y="8"/>
                    </a:cubicBezTo>
                    <a:cubicBezTo>
                      <a:pt x="39" y="8"/>
                      <a:pt x="43" y="17"/>
                      <a:pt x="54" y="17"/>
                    </a:cubicBezTo>
                    <a:cubicBezTo>
                      <a:pt x="54" y="8"/>
                      <a:pt x="54" y="8"/>
                      <a:pt x="54" y="8"/>
                    </a:cubicBezTo>
                    <a:cubicBezTo>
                      <a:pt x="46" y="8"/>
                      <a:pt x="40" y="8"/>
                      <a:pt x="38" y="1"/>
                    </a:cubicBezTo>
                    <a:cubicBezTo>
                      <a:pt x="41" y="0"/>
                      <a:pt x="43" y="1"/>
                      <a:pt x="46" y="1"/>
                    </a:cubicBezTo>
                    <a:cubicBezTo>
                      <a:pt x="53" y="1"/>
                      <a:pt x="58" y="5"/>
                      <a:pt x="66" y="5"/>
                    </a:cubicBezTo>
                    <a:cubicBezTo>
                      <a:pt x="69" y="5"/>
                      <a:pt x="71" y="2"/>
                      <a:pt x="75" y="2"/>
                    </a:cubicBezTo>
                    <a:cubicBezTo>
                      <a:pt x="83" y="2"/>
                      <a:pt x="84" y="6"/>
                      <a:pt x="84" y="13"/>
                    </a:cubicBezTo>
                    <a:cubicBezTo>
                      <a:pt x="84" y="23"/>
                      <a:pt x="78" y="28"/>
                      <a:pt x="80" y="41"/>
                    </a:cubicBezTo>
                    <a:cubicBezTo>
                      <a:pt x="73" y="43"/>
                      <a:pt x="64" y="43"/>
                      <a:pt x="62" y="43"/>
                    </a:cubicBezTo>
                    <a:cubicBezTo>
                      <a:pt x="60" y="43"/>
                      <a:pt x="48" y="45"/>
                      <a:pt x="48" y="41"/>
                    </a:cubicBezTo>
                    <a:cubicBezTo>
                      <a:pt x="48" y="39"/>
                      <a:pt x="50" y="37"/>
                      <a:pt x="51" y="36"/>
                    </a:cubicBezTo>
                    <a:cubicBezTo>
                      <a:pt x="51" y="35"/>
                      <a:pt x="51" y="33"/>
                      <a:pt x="51" y="32"/>
                    </a:cubicBezTo>
                    <a:cubicBezTo>
                      <a:pt x="51" y="28"/>
                      <a:pt x="60" y="28"/>
                      <a:pt x="62" y="25"/>
                    </a:cubicBezTo>
                    <a:cubicBezTo>
                      <a:pt x="61" y="24"/>
                      <a:pt x="59" y="24"/>
                      <a:pt x="57" y="24"/>
                    </a:cubicBezTo>
                    <a:cubicBezTo>
                      <a:pt x="49" y="24"/>
                      <a:pt x="34" y="28"/>
                      <a:pt x="25" y="28"/>
                    </a:cubicBezTo>
                    <a:cubicBezTo>
                      <a:pt x="22" y="28"/>
                      <a:pt x="20" y="26"/>
                      <a:pt x="20" y="23"/>
                    </a:cubicBezTo>
                    <a:cubicBezTo>
                      <a:pt x="13" y="23"/>
                      <a:pt x="13" y="23"/>
                      <a:pt x="13" y="23"/>
                    </a:cubicBezTo>
                    <a:cubicBezTo>
                      <a:pt x="12" y="19"/>
                      <a:pt x="12" y="19"/>
                      <a:pt x="12" y="19"/>
                    </a:cubicBezTo>
                    <a:cubicBezTo>
                      <a:pt x="7" y="20"/>
                      <a:pt x="4" y="17"/>
                      <a:pt x="1" y="14"/>
                    </a:cubicBezTo>
                    <a:cubicBezTo>
                      <a:pt x="1" y="6"/>
                      <a:pt x="1" y="6"/>
                      <a:pt x="1" y="6"/>
                    </a:cubicBezTo>
                    <a:lnTo>
                      <a:pt x="4"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5" name="Freeform 65"/>
              <p:cNvSpPr>
                <a:spLocks/>
              </p:cNvSpPr>
              <p:nvPr/>
            </p:nvSpPr>
            <p:spPr bwMode="auto">
              <a:xfrm>
                <a:off x="2720975" y="1462088"/>
                <a:ext cx="65088" cy="38100"/>
              </a:xfrm>
              <a:custGeom>
                <a:avLst/>
                <a:gdLst/>
                <a:ahLst/>
                <a:cxnLst>
                  <a:cxn ang="0">
                    <a:pos x="38" y="29"/>
                  </a:cxn>
                  <a:cxn ang="0">
                    <a:pos x="0" y="16"/>
                  </a:cxn>
                  <a:cxn ang="0">
                    <a:pos x="9" y="14"/>
                  </a:cxn>
                  <a:cxn ang="0">
                    <a:pos x="22" y="0"/>
                  </a:cxn>
                  <a:cxn ang="0">
                    <a:pos x="49" y="22"/>
                  </a:cxn>
                  <a:cxn ang="0">
                    <a:pos x="38" y="29"/>
                  </a:cxn>
                </a:cxnLst>
                <a:rect l="0" t="0" r="r" b="b"/>
                <a:pathLst>
                  <a:path w="49" h="29">
                    <a:moveTo>
                      <a:pt x="38" y="29"/>
                    </a:moveTo>
                    <a:cubicBezTo>
                      <a:pt x="32" y="29"/>
                      <a:pt x="0" y="17"/>
                      <a:pt x="0" y="16"/>
                    </a:cubicBezTo>
                    <a:cubicBezTo>
                      <a:pt x="0" y="12"/>
                      <a:pt x="8" y="14"/>
                      <a:pt x="9" y="14"/>
                    </a:cubicBezTo>
                    <a:cubicBezTo>
                      <a:pt x="15" y="12"/>
                      <a:pt x="13" y="0"/>
                      <a:pt x="22" y="0"/>
                    </a:cubicBezTo>
                    <a:cubicBezTo>
                      <a:pt x="28" y="0"/>
                      <a:pt x="46" y="16"/>
                      <a:pt x="49" y="22"/>
                    </a:cubicBezTo>
                    <a:cubicBezTo>
                      <a:pt x="45" y="25"/>
                      <a:pt x="43" y="29"/>
                      <a:pt x="38"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6" name="Freeform 66"/>
              <p:cNvSpPr>
                <a:spLocks/>
              </p:cNvSpPr>
              <p:nvPr/>
            </p:nvSpPr>
            <p:spPr bwMode="auto">
              <a:xfrm>
                <a:off x="2784475" y="1323975"/>
                <a:ext cx="85725" cy="69850"/>
              </a:xfrm>
              <a:custGeom>
                <a:avLst/>
                <a:gdLst/>
                <a:ahLst/>
                <a:cxnLst>
                  <a:cxn ang="0">
                    <a:pos x="65" y="11"/>
                  </a:cxn>
                  <a:cxn ang="0">
                    <a:pos x="57" y="18"/>
                  </a:cxn>
                  <a:cxn ang="0">
                    <a:pos x="32" y="35"/>
                  </a:cxn>
                  <a:cxn ang="0">
                    <a:pos x="20" y="38"/>
                  </a:cxn>
                  <a:cxn ang="0">
                    <a:pos x="25" y="38"/>
                  </a:cxn>
                  <a:cxn ang="0">
                    <a:pos x="15" y="53"/>
                  </a:cxn>
                  <a:cxn ang="0">
                    <a:pos x="6" y="53"/>
                  </a:cxn>
                  <a:cxn ang="0">
                    <a:pos x="7" y="40"/>
                  </a:cxn>
                  <a:cxn ang="0">
                    <a:pos x="0" y="19"/>
                  </a:cxn>
                  <a:cxn ang="0">
                    <a:pos x="0" y="11"/>
                  </a:cxn>
                  <a:cxn ang="0">
                    <a:pos x="10" y="11"/>
                  </a:cxn>
                  <a:cxn ang="0">
                    <a:pos x="10" y="7"/>
                  </a:cxn>
                  <a:cxn ang="0">
                    <a:pos x="22" y="0"/>
                  </a:cxn>
                  <a:cxn ang="0">
                    <a:pos x="65" y="5"/>
                  </a:cxn>
                  <a:cxn ang="0">
                    <a:pos x="65" y="11"/>
                  </a:cxn>
                </a:cxnLst>
                <a:rect l="0" t="0" r="r" b="b"/>
                <a:pathLst>
                  <a:path w="65" h="53">
                    <a:moveTo>
                      <a:pt x="65" y="11"/>
                    </a:moveTo>
                    <a:cubicBezTo>
                      <a:pt x="65" y="12"/>
                      <a:pt x="57" y="18"/>
                      <a:pt x="57" y="18"/>
                    </a:cubicBezTo>
                    <a:cubicBezTo>
                      <a:pt x="51" y="26"/>
                      <a:pt x="45" y="35"/>
                      <a:pt x="32" y="35"/>
                    </a:cubicBezTo>
                    <a:cubicBezTo>
                      <a:pt x="22" y="35"/>
                      <a:pt x="22" y="30"/>
                      <a:pt x="20" y="38"/>
                    </a:cubicBezTo>
                    <a:cubicBezTo>
                      <a:pt x="25" y="38"/>
                      <a:pt x="25" y="38"/>
                      <a:pt x="25" y="38"/>
                    </a:cubicBezTo>
                    <a:cubicBezTo>
                      <a:pt x="24" y="46"/>
                      <a:pt x="21" y="48"/>
                      <a:pt x="15" y="53"/>
                    </a:cubicBezTo>
                    <a:cubicBezTo>
                      <a:pt x="6" y="53"/>
                      <a:pt x="6" y="53"/>
                      <a:pt x="6" y="53"/>
                    </a:cubicBezTo>
                    <a:cubicBezTo>
                      <a:pt x="6" y="47"/>
                      <a:pt x="6" y="42"/>
                      <a:pt x="7" y="40"/>
                    </a:cubicBezTo>
                    <a:cubicBezTo>
                      <a:pt x="0" y="33"/>
                      <a:pt x="3" y="27"/>
                      <a:pt x="0" y="19"/>
                    </a:cubicBezTo>
                    <a:cubicBezTo>
                      <a:pt x="0" y="11"/>
                      <a:pt x="0" y="11"/>
                      <a:pt x="0" y="11"/>
                    </a:cubicBezTo>
                    <a:cubicBezTo>
                      <a:pt x="3" y="11"/>
                      <a:pt x="8" y="11"/>
                      <a:pt x="10" y="11"/>
                    </a:cubicBezTo>
                    <a:cubicBezTo>
                      <a:pt x="9" y="11"/>
                      <a:pt x="10" y="8"/>
                      <a:pt x="10" y="7"/>
                    </a:cubicBezTo>
                    <a:cubicBezTo>
                      <a:pt x="10" y="6"/>
                      <a:pt x="13" y="0"/>
                      <a:pt x="22" y="0"/>
                    </a:cubicBezTo>
                    <a:cubicBezTo>
                      <a:pt x="37" y="0"/>
                      <a:pt x="49" y="5"/>
                      <a:pt x="65" y="5"/>
                    </a:cubicBezTo>
                    <a:cubicBezTo>
                      <a:pt x="65" y="8"/>
                      <a:pt x="65" y="9"/>
                      <a:pt x="65"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7" name="Freeform 67"/>
              <p:cNvSpPr>
                <a:spLocks/>
              </p:cNvSpPr>
              <p:nvPr/>
            </p:nvSpPr>
            <p:spPr bwMode="auto">
              <a:xfrm>
                <a:off x="2608263" y="1198563"/>
                <a:ext cx="28575" cy="23813"/>
              </a:xfrm>
              <a:custGeom>
                <a:avLst/>
                <a:gdLst/>
                <a:ahLst/>
                <a:cxnLst>
                  <a:cxn ang="0">
                    <a:pos x="21" y="12"/>
                  </a:cxn>
                  <a:cxn ang="0">
                    <a:pos x="15" y="18"/>
                  </a:cxn>
                  <a:cxn ang="0">
                    <a:pos x="0" y="0"/>
                  </a:cxn>
                  <a:cxn ang="0">
                    <a:pos x="21" y="12"/>
                  </a:cxn>
                </a:cxnLst>
                <a:rect l="0" t="0" r="r" b="b"/>
                <a:pathLst>
                  <a:path w="21" h="18">
                    <a:moveTo>
                      <a:pt x="21" y="12"/>
                    </a:moveTo>
                    <a:cubicBezTo>
                      <a:pt x="21" y="16"/>
                      <a:pt x="18" y="18"/>
                      <a:pt x="15" y="18"/>
                    </a:cubicBezTo>
                    <a:cubicBezTo>
                      <a:pt x="10" y="18"/>
                      <a:pt x="0" y="6"/>
                      <a:pt x="0" y="0"/>
                    </a:cubicBezTo>
                    <a:cubicBezTo>
                      <a:pt x="11" y="0"/>
                      <a:pt x="12" y="9"/>
                      <a:pt x="2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8" name="Freeform 68"/>
              <p:cNvSpPr>
                <a:spLocks/>
              </p:cNvSpPr>
              <p:nvPr/>
            </p:nvSpPr>
            <p:spPr bwMode="auto">
              <a:xfrm>
                <a:off x="2625725" y="1277938"/>
                <a:ext cx="19050" cy="15875"/>
              </a:xfrm>
              <a:custGeom>
                <a:avLst/>
                <a:gdLst/>
                <a:ahLst/>
                <a:cxnLst>
                  <a:cxn ang="0">
                    <a:pos x="12" y="0"/>
                  </a:cxn>
                  <a:cxn ang="0">
                    <a:pos x="15" y="6"/>
                  </a:cxn>
                  <a:cxn ang="0">
                    <a:pos x="9" y="12"/>
                  </a:cxn>
                  <a:cxn ang="0">
                    <a:pos x="0" y="12"/>
                  </a:cxn>
                  <a:cxn ang="0">
                    <a:pos x="12" y="0"/>
                  </a:cxn>
                </a:cxnLst>
                <a:rect l="0" t="0" r="r" b="b"/>
                <a:pathLst>
                  <a:path w="15" h="12">
                    <a:moveTo>
                      <a:pt x="12" y="0"/>
                    </a:moveTo>
                    <a:cubicBezTo>
                      <a:pt x="13" y="2"/>
                      <a:pt x="15" y="3"/>
                      <a:pt x="15" y="6"/>
                    </a:cubicBezTo>
                    <a:cubicBezTo>
                      <a:pt x="15" y="12"/>
                      <a:pt x="11" y="12"/>
                      <a:pt x="9" y="12"/>
                    </a:cubicBezTo>
                    <a:cubicBezTo>
                      <a:pt x="4" y="12"/>
                      <a:pt x="3" y="11"/>
                      <a:pt x="0" y="12"/>
                    </a:cubicBezTo>
                    <a:cubicBezTo>
                      <a:pt x="2" y="4"/>
                      <a:pt x="6" y="2"/>
                      <a:pt x="1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9" name="Freeform 69"/>
              <p:cNvSpPr>
                <a:spLocks/>
              </p:cNvSpPr>
              <p:nvPr/>
            </p:nvSpPr>
            <p:spPr bwMode="auto">
              <a:xfrm>
                <a:off x="2614613" y="1139825"/>
                <a:ext cx="109538" cy="57150"/>
              </a:xfrm>
              <a:custGeom>
                <a:avLst/>
                <a:gdLst/>
                <a:ahLst/>
                <a:cxnLst>
                  <a:cxn ang="0">
                    <a:pos x="54" y="32"/>
                  </a:cxn>
                  <a:cxn ang="0">
                    <a:pos x="33" y="30"/>
                  </a:cxn>
                  <a:cxn ang="0">
                    <a:pos x="19" y="29"/>
                  </a:cxn>
                  <a:cxn ang="0">
                    <a:pos x="7" y="25"/>
                  </a:cxn>
                  <a:cxn ang="0">
                    <a:pos x="20" y="20"/>
                  </a:cxn>
                  <a:cxn ang="0">
                    <a:pos x="20" y="15"/>
                  </a:cxn>
                  <a:cxn ang="0">
                    <a:pos x="5" y="15"/>
                  </a:cxn>
                  <a:cxn ang="0">
                    <a:pos x="8" y="10"/>
                  </a:cxn>
                  <a:cxn ang="0">
                    <a:pos x="0" y="3"/>
                  </a:cxn>
                  <a:cxn ang="0">
                    <a:pos x="14" y="0"/>
                  </a:cxn>
                  <a:cxn ang="0">
                    <a:pos x="31" y="8"/>
                  </a:cxn>
                  <a:cxn ang="0">
                    <a:pos x="40" y="4"/>
                  </a:cxn>
                  <a:cxn ang="0">
                    <a:pos x="53" y="15"/>
                  </a:cxn>
                  <a:cxn ang="0">
                    <a:pos x="60" y="11"/>
                  </a:cxn>
                  <a:cxn ang="0">
                    <a:pos x="73" y="21"/>
                  </a:cxn>
                  <a:cxn ang="0">
                    <a:pos x="70" y="26"/>
                  </a:cxn>
                  <a:cxn ang="0">
                    <a:pos x="82" y="37"/>
                  </a:cxn>
                  <a:cxn ang="0">
                    <a:pos x="74" y="43"/>
                  </a:cxn>
                  <a:cxn ang="0">
                    <a:pos x="54" y="32"/>
                  </a:cxn>
                </a:cxnLst>
                <a:rect l="0" t="0" r="r" b="b"/>
                <a:pathLst>
                  <a:path w="82" h="43">
                    <a:moveTo>
                      <a:pt x="54" y="32"/>
                    </a:moveTo>
                    <a:cubicBezTo>
                      <a:pt x="46" y="32"/>
                      <a:pt x="41" y="29"/>
                      <a:pt x="33" y="30"/>
                    </a:cubicBezTo>
                    <a:cubicBezTo>
                      <a:pt x="31" y="26"/>
                      <a:pt x="25" y="29"/>
                      <a:pt x="19" y="29"/>
                    </a:cubicBezTo>
                    <a:cubicBezTo>
                      <a:pt x="13" y="29"/>
                      <a:pt x="11" y="29"/>
                      <a:pt x="7" y="25"/>
                    </a:cubicBezTo>
                    <a:cubicBezTo>
                      <a:pt x="11" y="21"/>
                      <a:pt x="15" y="22"/>
                      <a:pt x="20" y="20"/>
                    </a:cubicBezTo>
                    <a:cubicBezTo>
                      <a:pt x="19" y="18"/>
                      <a:pt x="19" y="16"/>
                      <a:pt x="20" y="15"/>
                    </a:cubicBezTo>
                    <a:cubicBezTo>
                      <a:pt x="10" y="15"/>
                      <a:pt x="8" y="17"/>
                      <a:pt x="5" y="15"/>
                    </a:cubicBezTo>
                    <a:cubicBezTo>
                      <a:pt x="6" y="14"/>
                      <a:pt x="7" y="12"/>
                      <a:pt x="8" y="10"/>
                    </a:cubicBezTo>
                    <a:cubicBezTo>
                      <a:pt x="2" y="10"/>
                      <a:pt x="0" y="9"/>
                      <a:pt x="0" y="3"/>
                    </a:cubicBezTo>
                    <a:cubicBezTo>
                      <a:pt x="6" y="3"/>
                      <a:pt x="9" y="0"/>
                      <a:pt x="14" y="0"/>
                    </a:cubicBezTo>
                    <a:cubicBezTo>
                      <a:pt x="24" y="0"/>
                      <a:pt x="26" y="8"/>
                      <a:pt x="31" y="8"/>
                    </a:cubicBezTo>
                    <a:cubicBezTo>
                      <a:pt x="35" y="8"/>
                      <a:pt x="36" y="4"/>
                      <a:pt x="40" y="4"/>
                    </a:cubicBezTo>
                    <a:cubicBezTo>
                      <a:pt x="49" y="4"/>
                      <a:pt x="48" y="15"/>
                      <a:pt x="53" y="15"/>
                    </a:cubicBezTo>
                    <a:cubicBezTo>
                      <a:pt x="56" y="15"/>
                      <a:pt x="57" y="11"/>
                      <a:pt x="60" y="11"/>
                    </a:cubicBezTo>
                    <a:cubicBezTo>
                      <a:pt x="66" y="11"/>
                      <a:pt x="71" y="19"/>
                      <a:pt x="73" y="21"/>
                    </a:cubicBezTo>
                    <a:cubicBezTo>
                      <a:pt x="72" y="22"/>
                      <a:pt x="70" y="24"/>
                      <a:pt x="70" y="26"/>
                    </a:cubicBezTo>
                    <a:cubicBezTo>
                      <a:pt x="73" y="29"/>
                      <a:pt x="82" y="33"/>
                      <a:pt x="82" y="37"/>
                    </a:cubicBezTo>
                    <a:cubicBezTo>
                      <a:pt x="82" y="42"/>
                      <a:pt x="77" y="43"/>
                      <a:pt x="74" y="43"/>
                    </a:cubicBezTo>
                    <a:cubicBezTo>
                      <a:pt x="63" y="43"/>
                      <a:pt x="64" y="32"/>
                      <a:pt x="54" y="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0" name="Freeform 70"/>
              <p:cNvSpPr>
                <a:spLocks/>
              </p:cNvSpPr>
              <p:nvPr/>
            </p:nvSpPr>
            <p:spPr bwMode="auto">
              <a:xfrm>
                <a:off x="2657475" y="1189038"/>
                <a:ext cx="30163" cy="9525"/>
              </a:xfrm>
              <a:custGeom>
                <a:avLst/>
                <a:gdLst/>
                <a:ahLst/>
                <a:cxnLst>
                  <a:cxn ang="0">
                    <a:pos x="8" y="7"/>
                  </a:cxn>
                  <a:cxn ang="0">
                    <a:pos x="12" y="0"/>
                  </a:cxn>
                  <a:cxn ang="0">
                    <a:pos x="23" y="4"/>
                  </a:cxn>
                  <a:cxn ang="0">
                    <a:pos x="8" y="7"/>
                  </a:cxn>
                </a:cxnLst>
                <a:rect l="0" t="0" r="r" b="b"/>
                <a:pathLst>
                  <a:path w="23" h="7">
                    <a:moveTo>
                      <a:pt x="8" y="7"/>
                    </a:moveTo>
                    <a:cubicBezTo>
                      <a:pt x="0" y="7"/>
                      <a:pt x="11" y="0"/>
                      <a:pt x="12" y="0"/>
                    </a:cubicBezTo>
                    <a:cubicBezTo>
                      <a:pt x="17" y="0"/>
                      <a:pt x="19" y="3"/>
                      <a:pt x="23" y="4"/>
                    </a:cubicBezTo>
                    <a:cubicBezTo>
                      <a:pt x="20" y="7"/>
                      <a:pt x="15" y="7"/>
                      <a:pt x="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1" name="Freeform 71"/>
              <p:cNvSpPr>
                <a:spLocks/>
              </p:cNvSpPr>
              <p:nvPr/>
            </p:nvSpPr>
            <p:spPr bwMode="auto">
              <a:xfrm>
                <a:off x="2765425" y="1223963"/>
                <a:ext cx="287338" cy="90488"/>
              </a:xfrm>
              <a:custGeom>
                <a:avLst/>
                <a:gdLst/>
                <a:ahLst/>
                <a:cxnLst>
                  <a:cxn ang="0">
                    <a:pos x="215" y="45"/>
                  </a:cxn>
                  <a:cxn ang="0">
                    <a:pos x="210" y="51"/>
                  </a:cxn>
                  <a:cxn ang="0">
                    <a:pos x="216" y="52"/>
                  </a:cxn>
                  <a:cxn ang="0">
                    <a:pos x="179" y="67"/>
                  </a:cxn>
                  <a:cxn ang="0">
                    <a:pos x="170" y="60"/>
                  </a:cxn>
                  <a:cxn ang="0">
                    <a:pos x="159" y="66"/>
                  </a:cxn>
                  <a:cxn ang="0">
                    <a:pos x="124" y="66"/>
                  </a:cxn>
                  <a:cxn ang="0">
                    <a:pos x="102" y="60"/>
                  </a:cxn>
                  <a:cxn ang="0">
                    <a:pos x="97" y="60"/>
                  </a:cxn>
                  <a:cxn ang="0">
                    <a:pos x="84" y="67"/>
                  </a:cxn>
                  <a:cxn ang="0">
                    <a:pos x="53" y="47"/>
                  </a:cxn>
                  <a:cxn ang="0">
                    <a:pos x="58" y="40"/>
                  </a:cxn>
                  <a:cxn ang="0">
                    <a:pos x="40" y="18"/>
                  </a:cxn>
                  <a:cxn ang="0">
                    <a:pos x="32" y="22"/>
                  </a:cxn>
                  <a:cxn ang="0">
                    <a:pos x="0" y="7"/>
                  </a:cxn>
                  <a:cxn ang="0">
                    <a:pos x="13" y="0"/>
                  </a:cxn>
                  <a:cxn ang="0">
                    <a:pos x="51" y="15"/>
                  </a:cxn>
                  <a:cxn ang="0">
                    <a:pos x="60" y="12"/>
                  </a:cxn>
                  <a:cxn ang="0">
                    <a:pos x="68" y="12"/>
                  </a:cxn>
                  <a:cxn ang="0">
                    <a:pos x="89" y="25"/>
                  </a:cxn>
                  <a:cxn ang="0">
                    <a:pos x="71" y="25"/>
                  </a:cxn>
                  <a:cxn ang="0">
                    <a:pos x="91" y="35"/>
                  </a:cxn>
                  <a:cxn ang="0">
                    <a:pos x="88" y="38"/>
                  </a:cxn>
                  <a:cxn ang="0">
                    <a:pos x="95" y="40"/>
                  </a:cxn>
                  <a:cxn ang="0">
                    <a:pos x="125" y="45"/>
                  </a:cxn>
                  <a:cxn ang="0">
                    <a:pos x="181" y="34"/>
                  </a:cxn>
                  <a:cxn ang="0">
                    <a:pos x="216" y="46"/>
                  </a:cxn>
                  <a:cxn ang="0">
                    <a:pos x="211" y="47"/>
                  </a:cxn>
                  <a:cxn ang="0">
                    <a:pos x="215" y="45"/>
                  </a:cxn>
                </a:cxnLst>
                <a:rect l="0" t="0" r="r" b="b"/>
                <a:pathLst>
                  <a:path w="216" h="68">
                    <a:moveTo>
                      <a:pt x="215" y="45"/>
                    </a:moveTo>
                    <a:cubicBezTo>
                      <a:pt x="213" y="46"/>
                      <a:pt x="211" y="48"/>
                      <a:pt x="210" y="51"/>
                    </a:cubicBezTo>
                    <a:cubicBezTo>
                      <a:pt x="213" y="52"/>
                      <a:pt x="216" y="52"/>
                      <a:pt x="216" y="52"/>
                    </a:cubicBezTo>
                    <a:cubicBezTo>
                      <a:pt x="215" y="67"/>
                      <a:pt x="195" y="67"/>
                      <a:pt x="179" y="67"/>
                    </a:cubicBezTo>
                    <a:cubicBezTo>
                      <a:pt x="174" y="67"/>
                      <a:pt x="171" y="64"/>
                      <a:pt x="170" y="60"/>
                    </a:cubicBezTo>
                    <a:cubicBezTo>
                      <a:pt x="164" y="61"/>
                      <a:pt x="163" y="64"/>
                      <a:pt x="159" y="66"/>
                    </a:cubicBezTo>
                    <a:cubicBezTo>
                      <a:pt x="124" y="66"/>
                      <a:pt x="124" y="66"/>
                      <a:pt x="124" y="66"/>
                    </a:cubicBezTo>
                    <a:cubicBezTo>
                      <a:pt x="115" y="68"/>
                      <a:pt x="101" y="67"/>
                      <a:pt x="102" y="60"/>
                    </a:cubicBezTo>
                    <a:cubicBezTo>
                      <a:pt x="97" y="60"/>
                      <a:pt x="97" y="60"/>
                      <a:pt x="97" y="60"/>
                    </a:cubicBezTo>
                    <a:cubicBezTo>
                      <a:pt x="95" y="62"/>
                      <a:pt x="88" y="67"/>
                      <a:pt x="84" y="67"/>
                    </a:cubicBezTo>
                    <a:cubicBezTo>
                      <a:pt x="75" y="67"/>
                      <a:pt x="53" y="56"/>
                      <a:pt x="53" y="47"/>
                    </a:cubicBezTo>
                    <a:cubicBezTo>
                      <a:pt x="53" y="44"/>
                      <a:pt x="56" y="41"/>
                      <a:pt x="58" y="40"/>
                    </a:cubicBezTo>
                    <a:cubicBezTo>
                      <a:pt x="50" y="32"/>
                      <a:pt x="48" y="25"/>
                      <a:pt x="40" y="18"/>
                    </a:cubicBezTo>
                    <a:cubicBezTo>
                      <a:pt x="38" y="20"/>
                      <a:pt x="35" y="22"/>
                      <a:pt x="32" y="22"/>
                    </a:cubicBezTo>
                    <a:cubicBezTo>
                      <a:pt x="27" y="22"/>
                      <a:pt x="0" y="11"/>
                      <a:pt x="0" y="7"/>
                    </a:cubicBezTo>
                    <a:cubicBezTo>
                      <a:pt x="0" y="0"/>
                      <a:pt x="8" y="0"/>
                      <a:pt x="13" y="0"/>
                    </a:cubicBezTo>
                    <a:cubicBezTo>
                      <a:pt x="33" y="0"/>
                      <a:pt x="36" y="15"/>
                      <a:pt x="51" y="15"/>
                    </a:cubicBezTo>
                    <a:cubicBezTo>
                      <a:pt x="56" y="15"/>
                      <a:pt x="58" y="15"/>
                      <a:pt x="60" y="12"/>
                    </a:cubicBezTo>
                    <a:cubicBezTo>
                      <a:pt x="63" y="12"/>
                      <a:pt x="68" y="12"/>
                      <a:pt x="68" y="12"/>
                    </a:cubicBezTo>
                    <a:cubicBezTo>
                      <a:pt x="65" y="22"/>
                      <a:pt x="85" y="19"/>
                      <a:pt x="89" y="25"/>
                    </a:cubicBezTo>
                    <a:cubicBezTo>
                      <a:pt x="71" y="25"/>
                      <a:pt x="71" y="25"/>
                      <a:pt x="71" y="25"/>
                    </a:cubicBezTo>
                    <a:cubicBezTo>
                      <a:pt x="74" y="37"/>
                      <a:pt x="85" y="30"/>
                      <a:pt x="91" y="35"/>
                    </a:cubicBezTo>
                    <a:cubicBezTo>
                      <a:pt x="90" y="36"/>
                      <a:pt x="88" y="36"/>
                      <a:pt x="88" y="38"/>
                    </a:cubicBezTo>
                    <a:cubicBezTo>
                      <a:pt x="88" y="44"/>
                      <a:pt x="93" y="41"/>
                      <a:pt x="95" y="40"/>
                    </a:cubicBezTo>
                    <a:cubicBezTo>
                      <a:pt x="106" y="42"/>
                      <a:pt x="114" y="45"/>
                      <a:pt x="125" y="45"/>
                    </a:cubicBezTo>
                    <a:cubicBezTo>
                      <a:pt x="150" y="45"/>
                      <a:pt x="158" y="34"/>
                      <a:pt x="181" y="34"/>
                    </a:cubicBezTo>
                    <a:cubicBezTo>
                      <a:pt x="198" y="34"/>
                      <a:pt x="210" y="35"/>
                      <a:pt x="216" y="46"/>
                    </a:cubicBezTo>
                    <a:cubicBezTo>
                      <a:pt x="215" y="47"/>
                      <a:pt x="213" y="47"/>
                      <a:pt x="211" y="47"/>
                    </a:cubicBezTo>
                    <a:lnTo>
                      <a:pt x="215"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2" name="Freeform 72"/>
              <p:cNvSpPr>
                <a:spLocks/>
              </p:cNvSpPr>
              <p:nvPr/>
            </p:nvSpPr>
            <p:spPr bwMode="auto">
              <a:xfrm>
                <a:off x="2768600" y="1271588"/>
                <a:ext cx="49213" cy="38100"/>
              </a:xfrm>
              <a:custGeom>
                <a:avLst/>
                <a:gdLst/>
                <a:ahLst/>
                <a:cxnLst>
                  <a:cxn ang="0">
                    <a:pos x="6" y="10"/>
                  </a:cxn>
                  <a:cxn ang="0">
                    <a:pos x="19" y="0"/>
                  </a:cxn>
                  <a:cxn ang="0">
                    <a:pos x="37" y="15"/>
                  </a:cxn>
                  <a:cxn ang="0">
                    <a:pos x="29" y="29"/>
                  </a:cxn>
                  <a:cxn ang="0">
                    <a:pos x="0" y="17"/>
                  </a:cxn>
                  <a:cxn ang="0">
                    <a:pos x="6" y="10"/>
                  </a:cxn>
                </a:cxnLst>
                <a:rect l="0" t="0" r="r" b="b"/>
                <a:pathLst>
                  <a:path w="37" h="29">
                    <a:moveTo>
                      <a:pt x="6" y="10"/>
                    </a:moveTo>
                    <a:cubicBezTo>
                      <a:pt x="10" y="10"/>
                      <a:pt x="9" y="0"/>
                      <a:pt x="19" y="0"/>
                    </a:cubicBezTo>
                    <a:cubicBezTo>
                      <a:pt x="27" y="0"/>
                      <a:pt x="37" y="9"/>
                      <a:pt x="37" y="15"/>
                    </a:cubicBezTo>
                    <a:cubicBezTo>
                      <a:pt x="37" y="22"/>
                      <a:pt x="35" y="29"/>
                      <a:pt x="29" y="29"/>
                    </a:cubicBezTo>
                    <a:cubicBezTo>
                      <a:pt x="25" y="29"/>
                      <a:pt x="0" y="17"/>
                      <a:pt x="0" y="17"/>
                    </a:cubicBezTo>
                    <a:cubicBezTo>
                      <a:pt x="0" y="13"/>
                      <a:pt x="5" y="10"/>
                      <a:pt x="6"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3" name="Freeform 73"/>
              <p:cNvSpPr>
                <a:spLocks/>
              </p:cNvSpPr>
              <p:nvPr/>
            </p:nvSpPr>
            <p:spPr bwMode="auto">
              <a:xfrm>
                <a:off x="2774950" y="1198563"/>
                <a:ext cx="46038" cy="12700"/>
              </a:xfrm>
              <a:custGeom>
                <a:avLst/>
                <a:gdLst/>
                <a:ahLst/>
                <a:cxnLst>
                  <a:cxn ang="0">
                    <a:pos x="29" y="0"/>
                  </a:cxn>
                  <a:cxn ang="0">
                    <a:pos x="35" y="0"/>
                  </a:cxn>
                  <a:cxn ang="0">
                    <a:pos x="35" y="6"/>
                  </a:cxn>
                  <a:cxn ang="0">
                    <a:pos x="28" y="10"/>
                  </a:cxn>
                  <a:cxn ang="0">
                    <a:pos x="0" y="5"/>
                  </a:cxn>
                  <a:cxn ang="0">
                    <a:pos x="29" y="0"/>
                  </a:cxn>
                </a:cxnLst>
                <a:rect l="0" t="0" r="r" b="b"/>
                <a:pathLst>
                  <a:path w="35" h="10">
                    <a:moveTo>
                      <a:pt x="29" y="0"/>
                    </a:moveTo>
                    <a:cubicBezTo>
                      <a:pt x="34" y="0"/>
                      <a:pt x="30" y="1"/>
                      <a:pt x="35" y="0"/>
                    </a:cubicBezTo>
                    <a:cubicBezTo>
                      <a:pt x="35" y="3"/>
                      <a:pt x="35" y="5"/>
                      <a:pt x="35" y="6"/>
                    </a:cubicBezTo>
                    <a:cubicBezTo>
                      <a:pt x="35" y="8"/>
                      <a:pt x="32" y="10"/>
                      <a:pt x="28" y="10"/>
                    </a:cubicBezTo>
                    <a:cubicBezTo>
                      <a:pt x="26" y="10"/>
                      <a:pt x="0" y="5"/>
                      <a:pt x="0" y="5"/>
                    </a:cubicBezTo>
                    <a:cubicBezTo>
                      <a:pt x="5" y="1"/>
                      <a:pt x="21" y="0"/>
                      <a:pt x="2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4" name="Freeform 74"/>
              <p:cNvSpPr>
                <a:spLocks/>
              </p:cNvSpPr>
              <p:nvPr/>
            </p:nvSpPr>
            <p:spPr bwMode="auto">
              <a:xfrm>
                <a:off x="2740025" y="1154113"/>
                <a:ext cx="53975" cy="44450"/>
              </a:xfrm>
              <a:custGeom>
                <a:avLst/>
                <a:gdLst/>
                <a:ahLst/>
                <a:cxnLst>
                  <a:cxn ang="0">
                    <a:pos x="10" y="28"/>
                  </a:cxn>
                  <a:cxn ang="0">
                    <a:pos x="14" y="23"/>
                  </a:cxn>
                  <a:cxn ang="0">
                    <a:pos x="0" y="7"/>
                  </a:cxn>
                  <a:cxn ang="0">
                    <a:pos x="10" y="0"/>
                  </a:cxn>
                  <a:cxn ang="0">
                    <a:pos x="25" y="7"/>
                  </a:cxn>
                  <a:cxn ang="0">
                    <a:pos x="41" y="17"/>
                  </a:cxn>
                  <a:cxn ang="0">
                    <a:pos x="41" y="28"/>
                  </a:cxn>
                  <a:cxn ang="0">
                    <a:pos x="10" y="28"/>
                  </a:cxn>
                </a:cxnLst>
                <a:rect l="0" t="0" r="r" b="b"/>
                <a:pathLst>
                  <a:path w="41" h="33">
                    <a:moveTo>
                      <a:pt x="10" y="28"/>
                    </a:moveTo>
                    <a:cubicBezTo>
                      <a:pt x="10" y="26"/>
                      <a:pt x="13" y="24"/>
                      <a:pt x="14" y="23"/>
                    </a:cubicBezTo>
                    <a:cubicBezTo>
                      <a:pt x="9" y="18"/>
                      <a:pt x="0" y="15"/>
                      <a:pt x="0" y="7"/>
                    </a:cubicBezTo>
                    <a:cubicBezTo>
                      <a:pt x="0" y="2"/>
                      <a:pt x="6" y="0"/>
                      <a:pt x="10" y="0"/>
                    </a:cubicBezTo>
                    <a:cubicBezTo>
                      <a:pt x="11" y="4"/>
                      <a:pt x="21" y="7"/>
                      <a:pt x="25" y="7"/>
                    </a:cubicBezTo>
                    <a:cubicBezTo>
                      <a:pt x="25" y="17"/>
                      <a:pt x="41" y="7"/>
                      <a:pt x="41" y="17"/>
                    </a:cubicBezTo>
                    <a:cubicBezTo>
                      <a:pt x="41" y="20"/>
                      <a:pt x="39" y="23"/>
                      <a:pt x="41" y="28"/>
                    </a:cubicBezTo>
                    <a:cubicBezTo>
                      <a:pt x="25" y="31"/>
                      <a:pt x="10" y="33"/>
                      <a:pt x="10"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5" name="Freeform 75"/>
              <p:cNvSpPr>
                <a:spLocks/>
              </p:cNvSpPr>
              <p:nvPr/>
            </p:nvSpPr>
            <p:spPr bwMode="auto">
              <a:xfrm>
                <a:off x="2719388" y="1114425"/>
                <a:ext cx="20638" cy="12700"/>
              </a:xfrm>
              <a:custGeom>
                <a:avLst/>
                <a:gdLst/>
                <a:ahLst/>
                <a:cxnLst>
                  <a:cxn ang="0">
                    <a:pos x="16" y="0"/>
                  </a:cxn>
                  <a:cxn ang="0">
                    <a:pos x="16" y="9"/>
                  </a:cxn>
                  <a:cxn ang="0">
                    <a:pos x="8" y="9"/>
                  </a:cxn>
                  <a:cxn ang="0">
                    <a:pos x="0" y="0"/>
                  </a:cxn>
                  <a:cxn ang="0">
                    <a:pos x="16" y="0"/>
                  </a:cxn>
                </a:cxnLst>
                <a:rect l="0" t="0" r="r" b="b"/>
                <a:pathLst>
                  <a:path w="16" h="9">
                    <a:moveTo>
                      <a:pt x="16" y="0"/>
                    </a:moveTo>
                    <a:cubicBezTo>
                      <a:pt x="16" y="9"/>
                      <a:pt x="16" y="9"/>
                      <a:pt x="16" y="9"/>
                    </a:cubicBezTo>
                    <a:cubicBezTo>
                      <a:pt x="8" y="9"/>
                      <a:pt x="8" y="9"/>
                      <a:pt x="8" y="9"/>
                    </a:cubicBezTo>
                    <a:cubicBezTo>
                      <a:pt x="6" y="7"/>
                      <a:pt x="0" y="6"/>
                      <a:pt x="0" y="0"/>
                    </a:cubicBezTo>
                    <a:cubicBezTo>
                      <a:pt x="6" y="0"/>
                      <a:pt x="13" y="0"/>
                      <a:pt x="1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6" name="Freeform 76"/>
              <p:cNvSpPr>
                <a:spLocks/>
              </p:cNvSpPr>
              <p:nvPr/>
            </p:nvSpPr>
            <p:spPr bwMode="auto">
              <a:xfrm>
                <a:off x="2776538" y="1062038"/>
                <a:ext cx="184150" cy="123825"/>
              </a:xfrm>
              <a:custGeom>
                <a:avLst/>
                <a:gdLst/>
                <a:ahLst/>
                <a:cxnLst>
                  <a:cxn ang="0">
                    <a:pos x="92" y="37"/>
                  </a:cxn>
                  <a:cxn ang="0">
                    <a:pos x="97" y="37"/>
                  </a:cxn>
                  <a:cxn ang="0">
                    <a:pos x="97" y="32"/>
                  </a:cxn>
                  <a:cxn ang="0">
                    <a:pos x="95" y="28"/>
                  </a:cxn>
                  <a:cxn ang="0">
                    <a:pos x="100" y="28"/>
                  </a:cxn>
                  <a:cxn ang="0">
                    <a:pos x="105" y="36"/>
                  </a:cxn>
                  <a:cxn ang="0">
                    <a:pos x="111" y="43"/>
                  </a:cxn>
                  <a:cxn ang="0">
                    <a:pos x="108" y="49"/>
                  </a:cxn>
                  <a:cxn ang="0">
                    <a:pos x="115" y="49"/>
                  </a:cxn>
                  <a:cxn ang="0">
                    <a:pos x="137" y="55"/>
                  </a:cxn>
                  <a:cxn ang="0">
                    <a:pos x="136" y="61"/>
                  </a:cxn>
                  <a:cxn ang="0">
                    <a:pos x="126" y="64"/>
                  </a:cxn>
                  <a:cxn ang="0">
                    <a:pos x="105" y="78"/>
                  </a:cxn>
                  <a:cxn ang="0">
                    <a:pos x="98" y="69"/>
                  </a:cxn>
                  <a:cxn ang="0">
                    <a:pos x="93" y="76"/>
                  </a:cxn>
                  <a:cxn ang="0">
                    <a:pos x="99" y="84"/>
                  </a:cxn>
                  <a:cxn ang="0">
                    <a:pos x="91" y="84"/>
                  </a:cxn>
                  <a:cxn ang="0">
                    <a:pos x="91" y="90"/>
                  </a:cxn>
                  <a:cxn ang="0">
                    <a:pos x="75" y="82"/>
                  </a:cxn>
                  <a:cxn ang="0">
                    <a:pos x="64" y="92"/>
                  </a:cxn>
                  <a:cxn ang="0">
                    <a:pos x="47" y="84"/>
                  </a:cxn>
                  <a:cxn ang="0">
                    <a:pos x="53" y="81"/>
                  </a:cxn>
                  <a:cxn ang="0">
                    <a:pos x="33" y="70"/>
                  </a:cxn>
                  <a:cxn ang="0">
                    <a:pos x="66" y="61"/>
                  </a:cxn>
                  <a:cxn ang="0">
                    <a:pos x="48" y="58"/>
                  </a:cxn>
                  <a:cxn ang="0">
                    <a:pos x="35" y="61"/>
                  </a:cxn>
                  <a:cxn ang="0">
                    <a:pos x="29" y="56"/>
                  </a:cxn>
                  <a:cxn ang="0">
                    <a:pos x="19" y="59"/>
                  </a:cxn>
                  <a:cxn ang="0">
                    <a:pos x="16" y="55"/>
                  </a:cxn>
                  <a:cxn ang="0">
                    <a:pos x="26" y="49"/>
                  </a:cxn>
                  <a:cxn ang="0">
                    <a:pos x="0" y="35"/>
                  </a:cxn>
                  <a:cxn ang="0">
                    <a:pos x="7" y="35"/>
                  </a:cxn>
                  <a:cxn ang="0">
                    <a:pos x="20" y="39"/>
                  </a:cxn>
                  <a:cxn ang="0">
                    <a:pos x="24" y="36"/>
                  </a:cxn>
                  <a:cxn ang="0">
                    <a:pos x="5" y="26"/>
                  </a:cxn>
                  <a:cxn ang="0">
                    <a:pos x="15" y="22"/>
                  </a:cxn>
                  <a:cxn ang="0">
                    <a:pos x="27" y="25"/>
                  </a:cxn>
                  <a:cxn ang="0">
                    <a:pos x="32" y="20"/>
                  </a:cxn>
                  <a:cxn ang="0">
                    <a:pos x="19" y="20"/>
                  </a:cxn>
                  <a:cxn ang="0">
                    <a:pos x="14" y="13"/>
                  </a:cxn>
                  <a:cxn ang="0">
                    <a:pos x="30" y="9"/>
                  </a:cxn>
                  <a:cxn ang="0">
                    <a:pos x="38" y="9"/>
                  </a:cxn>
                  <a:cxn ang="0">
                    <a:pos x="25" y="0"/>
                  </a:cxn>
                  <a:cxn ang="0">
                    <a:pos x="53" y="5"/>
                  </a:cxn>
                  <a:cxn ang="0">
                    <a:pos x="67" y="24"/>
                  </a:cxn>
                  <a:cxn ang="0">
                    <a:pos x="84" y="25"/>
                  </a:cxn>
                  <a:cxn ang="0">
                    <a:pos x="92" y="37"/>
                  </a:cxn>
                </a:cxnLst>
                <a:rect l="0" t="0" r="r" b="b"/>
                <a:pathLst>
                  <a:path w="138" h="92">
                    <a:moveTo>
                      <a:pt x="92" y="37"/>
                    </a:moveTo>
                    <a:cubicBezTo>
                      <a:pt x="97" y="37"/>
                      <a:pt x="97" y="37"/>
                      <a:pt x="97" y="37"/>
                    </a:cubicBezTo>
                    <a:cubicBezTo>
                      <a:pt x="97" y="32"/>
                      <a:pt x="97" y="32"/>
                      <a:pt x="97" y="32"/>
                    </a:cubicBezTo>
                    <a:cubicBezTo>
                      <a:pt x="95" y="28"/>
                      <a:pt x="95" y="28"/>
                      <a:pt x="95" y="28"/>
                    </a:cubicBezTo>
                    <a:cubicBezTo>
                      <a:pt x="97" y="28"/>
                      <a:pt x="98" y="28"/>
                      <a:pt x="100" y="28"/>
                    </a:cubicBezTo>
                    <a:cubicBezTo>
                      <a:pt x="106" y="28"/>
                      <a:pt x="105" y="31"/>
                      <a:pt x="105" y="36"/>
                    </a:cubicBezTo>
                    <a:cubicBezTo>
                      <a:pt x="105" y="39"/>
                      <a:pt x="111" y="39"/>
                      <a:pt x="111" y="43"/>
                    </a:cubicBezTo>
                    <a:cubicBezTo>
                      <a:pt x="111" y="46"/>
                      <a:pt x="108" y="46"/>
                      <a:pt x="108" y="49"/>
                    </a:cubicBezTo>
                    <a:cubicBezTo>
                      <a:pt x="108" y="53"/>
                      <a:pt x="114" y="49"/>
                      <a:pt x="115" y="49"/>
                    </a:cubicBezTo>
                    <a:cubicBezTo>
                      <a:pt x="120" y="49"/>
                      <a:pt x="131" y="54"/>
                      <a:pt x="137" y="55"/>
                    </a:cubicBezTo>
                    <a:cubicBezTo>
                      <a:pt x="137" y="58"/>
                      <a:pt x="138" y="60"/>
                      <a:pt x="136" y="61"/>
                    </a:cubicBezTo>
                    <a:cubicBezTo>
                      <a:pt x="135" y="64"/>
                      <a:pt x="130" y="63"/>
                      <a:pt x="126" y="64"/>
                    </a:cubicBezTo>
                    <a:cubicBezTo>
                      <a:pt x="117" y="65"/>
                      <a:pt x="111" y="78"/>
                      <a:pt x="105" y="78"/>
                    </a:cubicBezTo>
                    <a:cubicBezTo>
                      <a:pt x="100" y="78"/>
                      <a:pt x="100" y="74"/>
                      <a:pt x="98" y="69"/>
                    </a:cubicBezTo>
                    <a:cubicBezTo>
                      <a:pt x="96" y="71"/>
                      <a:pt x="95" y="73"/>
                      <a:pt x="93" y="76"/>
                    </a:cubicBezTo>
                    <a:cubicBezTo>
                      <a:pt x="96" y="80"/>
                      <a:pt x="97" y="81"/>
                      <a:pt x="99" y="84"/>
                    </a:cubicBezTo>
                    <a:cubicBezTo>
                      <a:pt x="91" y="84"/>
                      <a:pt x="91" y="84"/>
                      <a:pt x="91" y="84"/>
                    </a:cubicBezTo>
                    <a:cubicBezTo>
                      <a:pt x="91" y="90"/>
                      <a:pt x="91" y="90"/>
                      <a:pt x="91" y="90"/>
                    </a:cubicBezTo>
                    <a:cubicBezTo>
                      <a:pt x="87" y="91"/>
                      <a:pt x="79" y="85"/>
                      <a:pt x="75" y="82"/>
                    </a:cubicBezTo>
                    <a:cubicBezTo>
                      <a:pt x="75" y="90"/>
                      <a:pt x="71" y="92"/>
                      <a:pt x="64" y="92"/>
                    </a:cubicBezTo>
                    <a:cubicBezTo>
                      <a:pt x="57" y="92"/>
                      <a:pt x="48" y="91"/>
                      <a:pt x="47" y="84"/>
                    </a:cubicBezTo>
                    <a:cubicBezTo>
                      <a:pt x="50" y="84"/>
                      <a:pt x="51" y="83"/>
                      <a:pt x="53" y="81"/>
                    </a:cubicBezTo>
                    <a:cubicBezTo>
                      <a:pt x="45" y="81"/>
                      <a:pt x="33" y="77"/>
                      <a:pt x="33" y="70"/>
                    </a:cubicBezTo>
                    <a:cubicBezTo>
                      <a:pt x="33" y="62"/>
                      <a:pt x="60" y="63"/>
                      <a:pt x="66" y="61"/>
                    </a:cubicBezTo>
                    <a:cubicBezTo>
                      <a:pt x="60" y="60"/>
                      <a:pt x="55" y="58"/>
                      <a:pt x="48" y="58"/>
                    </a:cubicBezTo>
                    <a:cubicBezTo>
                      <a:pt x="41" y="58"/>
                      <a:pt x="40" y="61"/>
                      <a:pt x="35" y="61"/>
                    </a:cubicBezTo>
                    <a:cubicBezTo>
                      <a:pt x="30" y="61"/>
                      <a:pt x="30" y="58"/>
                      <a:pt x="29" y="56"/>
                    </a:cubicBezTo>
                    <a:cubicBezTo>
                      <a:pt x="24" y="58"/>
                      <a:pt x="23" y="59"/>
                      <a:pt x="19" y="59"/>
                    </a:cubicBezTo>
                    <a:cubicBezTo>
                      <a:pt x="16" y="59"/>
                      <a:pt x="16" y="58"/>
                      <a:pt x="16" y="55"/>
                    </a:cubicBezTo>
                    <a:cubicBezTo>
                      <a:pt x="20" y="53"/>
                      <a:pt x="23" y="53"/>
                      <a:pt x="26" y="49"/>
                    </a:cubicBezTo>
                    <a:cubicBezTo>
                      <a:pt x="11" y="49"/>
                      <a:pt x="2" y="48"/>
                      <a:pt x="0" y="35"/>
                    </a:cubicBezTo>
                    <a:cubicBezTo>
                      <a:pt x="7" y="35"/>
                      <a:pt x="7" y="35"/>
                      <a:pt x="7" y="35"/>
                    </a:cubicBezTo>
                    <a:cubicBezTo>
                      <a:pt x="9" y="37"/>
                      <a:pt x="16" y="39"/>
                      <a:pt x="20" y="39"/>
                    </a:cubicBezTo>
                    <a:cubicBezTo>
                      <a:pt x="22" y="39"/>
                      <a:pt x="24" y="36"/>
                      <a:pt x="24" y="36"/>
                    </a:cubicBezTo>
                    <a:cubicBezTo>
                      <a:pt x="19" y="34"/>
                      <a:pt x="5" y="31"/>
                      <a:pt x="5" y="26"/>
                    </a:cubicBezTo>
                    <a:cubicBezTo>
                      <a:pt x="5" y="21"/>
                      <a:pt x="11" y="22"/>
                      <a:pt x="15" y="22"/>
                    </a:cubicBezTo>
                    <a:cubicBezTo>
                      <a:pt x="21" y="22"/>
                      <a:pt x="23" y="25"/>
                      <a:pt x="27" y="25"/>
                    </a:cubicBezTo>
                    <a:cubicBezTo>
                      <a:pt x="30" y="25"/>
                      <a:pt x="30" y="22"/>
                      <a:pt x="32" y="20"/>
                    </a:cubicBezTo>
                    <a:cubicBezTo>
                      <a:pt x="27" y="18"/>
                      <a:pt x="22" y="20"/>
                      <a:pt x="19" y="20"/>
                    </a:cubicBezTo>
                    <a:cubicBezTo>
                      <a:pt x="18" y="20"/>
                      <a:pt x="14" y="14"/>
                      <a:pt x="14" y="13"/>
                    </a:cubicBezTo>
                    <a:cubicBezTo>
                      <a:pt x="19" y="10"/>
                      <a:pt x="23" y="8"/>
                      <a:pt x="30" y="9"/>
                    </a:cubicBezTo>
                    <a:cubicBezTo>
                      <a:pt x="38" y="9"/>
                      <a:pt x="38" y="9"/>
                      <a:pt x="38" y="9"/>
                    </a:cubicBezTo>
                    <a:cubicBezTo>
                      <a:pt x="33" y="7"/>
                      <a:pt x="25" y="6"/>
                      <a:pt x="25" y="0"/>
                    </a:cubicBezTo>
                    <a:cubicBezTo>
                      <a:pt x="36" y="1"/>
                      <a:pt x="45" y="2"/>
                      <a:pt x="53" y="5"/>
                    </a:cubicBezTo>
                    <a:cubicBezTo>
                      <a:pt x="61" y="9"/>
                      <a:pt x="60" y="21"/>
                      <a:pt x="67" y="24"/>
                    </a:cubicBezTo>
                    <a:cubicBezTo>
                      <a:pt x="73" y="27"/>
                      <a:pt x="78" y="22"/>
                      <a:pt x="84" y="25"/>
                    </a:cubicBezTo>
                    <a:cubicBezTo>
                      <a:pt x="91" y="28"/>
                      <a:pt x="88" y="33"/>
                      <a:pt x="92"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7" name="Freeform 77"/>
              <p:cNvSpPr>
                <a:spLocks/>
              </p:cNvSpPr>
              <p:nvPr/>
            </p:nvSpPr>
            <p:spPr bwMode="auto">
              <a:xfrm>
                <a:off x="2925763" y="1574800"/>
                <a:ext cx="117475" cy="74613"/>
              </a:xfrm>
              <a:custGeom>
                <a:avLst/>
                <a:gdLst/>
                <a:ahLst/>
                <a:cxnLst>
                  <a:cxn ang="0">
                    <a:pos x="6" y="39"/>
                  </a:cxn>
                  <a:cxn ang="0">
                    <a:pos x="11" y="33"/>
                  </a:cxn>
                  <a:cxn ang="0">
                    <a:pos x="11" y="27"/>
                  </a:cxn>
                  <a:cxn ang="0">
                    <a:pos x="25" y="0"/>
                  </a:cxn>
                  <a:cxn ang="0">
                    <a:pos x="32" y="13"/>
                  </a:cxn>
                  <a:cxn ang="0">
                    <a:pos x="36" y="9"/>
                  </a:cxn>
                  <a:cxn ang="0">
                    <a:pos x="67" y="27"/>
                  </a:cxn>
                  <a:cxn ang="0">
                    <a:pos x="70" y="35"/>
                  </a:cxn>
                  <a:cxn ang="0">
                    <a:pos x="89" y="43"/>
                  </a:cxn>
                  <a:cxn ang="0">
                    <a:pos x="75" y="48"/>
                  </a:cxn>
                  <a:cxn ang="0">
                    <a:pos x="63" y="48"/>
                  </a:cxn>
                  <a:cxn ang="0">
                    <a:pos x="46" y="37"/>
                  </a:cxn>
                  <a:cxn ang="0">
                    <a:pos x="25" y="53"/>
                  </a:cxn>
                  <a:cxn ang="0">
                    <a:pos x="22" y="57"/>
                  </a:cxn>
                  <a:cxn ang="0">
                    <a:pos x="19" y="48"/>
                  </a:cxn>
                  <a:cxn ang="0">
                    <a:pos x="0" y="48"/>
                  </a:cxn>
                  <a:cxn ang="0">
                    <a:pos x="6" y="39"/>
                  </a:cxn>
                </a:cxnLst>
                <a:rect l="0" t="0" r="r" b="b"/>
                <a:pathLst>
                  <a:path w="89" h="57">
                    <a:moveTo>
                      <a:pt x="6" y="39"/>
                    </a:moveTo>
                    <a:cubicBezTo>
                      <a:pt x="9" y="37"/>
                      <a:pt x="11" y="36"/>
                      <a:pt x="11" y="33"/>
                    </a:cubicBezTo>
                    <a:cubicBezTo>
                      <a:pt x="11" y="29"/>
                      <a:pt x="11" y="31"/>
                      <a:pt x="11" y="27"/>
                    </a:cubicBezTo>
                    <a:cubicBezTo>
                      <a:pt x="11" y="19"/>
                      <a:pt x="13" y="2"/>
                      <a:pt x="25" y="0"/>
                    </a:cubicBezTo>
                    <a:cubicBezTo>
                      <a:pt x="28" y="7"/>
                      <a:pt x="30" y="8"/>
                      <a:pt x="32" y="13"/>
                    </a:cubicBezTo>
                    <a:cubicBezTo>
                      <a:pt x="33" y="11"/>
                      <a:pt x="35" y="10"/>
                      <a:pt x="36" y="9"/>
                    </a:cubicBezTo>
                    <a:cubicBezTo>
                      <a:pt x="45" y="21"/>
                      <a:pt x="59" y="16"/>
                      <a:pt x="67" y="27"/>
                    </a:cubicBezTo>
                    <a:cubicBezTo>
                      <a:pt x="69" y="30"/>
                      <a:pt x="68" y="33"/>
                      <a:pt x="70" y="35"/>
                    </a:cubicBezTo>
                    <a:cubicBezTo>
                      <a:pt x="77" y="40"/>
                      <a:pt x="85" y="38"/>
                      <a:pt x="89" y="43"/>
                    </a:cubicBezTo>
                    <a:cubicBezTo>
                      <a:pt x="84" y="46"/>
                      <a:pt x="80" y="48"/>
                      <a:pt x="75" y="48"/>
                    </a:cubicBezTo>
                    <a:cubicBezTo>
                      <a:pt x="69" y="48"/>
                      <a:pt x="67" y="48"/>
                      <a:pt x="63" y="48"/>
                    </a:cubicBezTo>
                    <a:cubicBezTo>
                      <a:pt x="63" y="48"/>
                      <a:pt x="49" y="38"/>
                      <a:pt x="46" y="37"/>
                    </a:cubicBezTo>
                    <a:cubicBezTo>
                      <a:pt x="46" y="47"/>
                      <a:pt x="31" y="56"/>
                      <a:pt x="25" y="53"/>
                    </a:cubicBezTo>
                    <a:cubicBezTo>
                      <a:pt x="24" y="55"/>
                      <a:pt x="24" y="57"/>
                      <a:pt x="22" y="57"/>
                    </a:cubicBezTo>
                    <a:cubicBezTo>
                      <a:pt x="16" y="57"/>
                      <a:pt x="18" y="52"/>
                      <a:pt x="19" y="48"/>
                    </a:cubicBezTo>
                    <a:cubicBezTo>
                      <a:pt x="12" y="46"/>
                      <a:pt x="3" y="48"/>
                      <a:pt x="0" y="48"/>
                    </a:cubicBezTo>
                    <a:cubicBezTo>
                      <a:pt x="0" y="40"/>
                      <a:pt x="5" y="41"/>
                      <a:pt x="6"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8" name="Freeform 78"/>
              <p:cNvSpPr>
                <a:spLocks/>
              </p:cNvSpPr>
              <p:nvPr/>
            </p:nvSpPr>
            <p:spPr bwMode="auto">
              <a:xfrm>
                <a:off x="3094038" y="1500188"/>
                <a:ext cx="36513" cy="36513"/>
              </a:xfrm>
              <a:custGeom>
                <a:avLst/>
                <a:gdLst/>
                <a:ahLst/>
                <a:cxnLst>
                  <a:cxn ang="0">
                    <a:pos x="27" y="18"/>
                  </a:cxn>
                  <a:cxn ang="0">
                    <a:pos x="11" y="28"/>
                  </a:cxn>
                  <a:cxn ang="0">
                    <a:pos x="0" y="18"/>
                  </a:cxn>
                  <a:cxn ang="0">
                    <a:pos x="27" y="18"/>
                  </a:cxn>
                </a:cxnLst>
                <a:rect l="0" t="0" r="r" b="b"/>
                <a:pathLst>
                  <a:path w="27" h="28">
                    <a:moveTo>
                      <a:pt x="27" y="18"/>
                    </a:moveTo>
                    <a:cubicBezTo>
                      <a:pt x="27" y="24"/>
                      <a:pt x="16" y="28"/>
                      <a:pt x="11" y="28"/>
                    </a:cubicBezTo>
                    <a:cubicBezTo>
                      <a:pt x="4" y="28"/>
                      <a:pt x="0" y="23"/>
                      <a:pt x="0" y="18"/>
                    </a:cubicBezTo>
                    <a:cubicBezTo>
                      <a:pt x="0" y="0"/>
                      <a:pt x="27" y="3"/>
                      <a:pt x="27"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59" name="Freeform 79"/>
              <p:cNvSpPr>
                <a:spLocks/>
              </p:cNvSpPr>
              <p:nvPr/>
            </p:nvSpPr>
            <p:spPr bwMode="auto">
              <a:xfrm>
                <a:off x="2984500" y="1652588"/>
                <a:ext cx="30163" cy="23813"/>
              </a:xfrm>
              <a:custGeom>
                <a:avLst/>
                <a:gdLst/>
                <a:ahLst/>
                <a:cxnLst>
                  <a:cxn ang="0">
                    <a:pos x="10" y="1"/>
                  </a:cxn>
                  <a:cxn ang="0">
                    <a:pos x="22" y="3"/>
                  </a:cxn>
                  <a:cxn ang="0">
                    <a:pos x="0" y="18"/>
                  </a:cxn>
                  <a:cxn ang="0">
                    <a:pos x="0" y="12"/>
                  </a:cxn>
                  <a:cxn ang="0">
                    <a:pos x="10" y="1"/>
                  </a:cxn>
                </a:cxnLst>
                <a:rect l="0" t="0" r="r" b="b"/>
                <a:pathLst>
                  <a:path w="22" h="18">
                    <a:moveTo>
                      <a:pt x="10" y="1"/>
                    </a:moveTo>
                    <a:cubicBezTo>
                      <a:pt x="19" y="0"/>
                      <a:pt x="17" y="0"/>
                      <a:pt x="22" y="3"/>
                    </a:cubicBezTo>
                    <a:cubicBezTo>
                      <a:pt x="18" y="8"/>
                      <a:pt x="7" y="17"/>
                      <a:pt x="0" y="18"/>
                    </a:cubicBezTo>
                    <a:cubicBezTo>
                      <a:pt x="0" y="12"/>
                      <a:pt x="0" y="12"/>
                      <a:pt x="0" y="12"/>
                    </a:cubicBezTo>
                    <a:cubicBezTo>
                      <a:pt x="4" y="7"/>
                      <a:pt x="9" y="4"/>
                      <a:pt x="10"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0" name="Freeform 80"/>
              <p:cNvSpPr>
                <a:spLocks/>
              </p:cNvSpPr>
              <p:nvPr/>
            </p:nvSpPr>
            <p:spPr bwMode="auto">
              <a:xfrm>
                <a:off x="3032125" y="1336675"/>
                <a:ext cx="79375" cy="33338"/>
              </a:xfrm>
              <a:custGeom>
                <a:avLst/>
                <a:gdLst/>
                <a:ahLst/>
                <a:cxnLst>
                  <a:cxn ang="0">
                    <a:pos x="22" y="25"/>
                  </a:cxn>
                  <a:cxn ang="0">
                    <a:pos x="9" y="16"/>
                  </a:cxn>
                  <a:cxn ang="0">
                    <a:pos x="0" y="6"/>
                  </a:cxn>
                  <a:cxn ang="0">
                    <a:pos x="8" y="0"/>
                  </a:cxn>
                  <a:cxn ang="0">
                    <a:pos x="30" y="3"/>
                  </a:cxn>
                  <a:cxn ang="0">
                    <a:pos x="60" y="17"/>
                  </a:cxn>
                  <a:cxn ang="0">
                    <a:pos x="52" y="24"/>
                  </a:cxn>
                  <a:cxn ang="0">
                    <a:pos x="39" y="21"/>
                  </a:cxn>
                  <a:cxn ang="0">
                    <a:pos x="22" y="25"/>
                  </a:cxn>
                </a:cxnLst>
                <a:rect l="0" t="0" r="r" b="b"/>
                <a:pathLst>
                  <a:path w="60" h="25">
                    <a:moveTo>
                      <a:pt x="22" y="25"/>
                    </a:moveTo>
                    <a:cubicBezTo>
                      <a:pt x="14" y="25"/>
                      <a:pt x="6" y="23"/>
                      <a:pt x="9" y="16"/>
                    </a:cubicBezTo>
                    <a:cubicBezTo>
                      <a:pt x="5" y="13"/>
                      <a:pt x="0" y="11"/>
                      <a:pt x="0" y="6"/>
                    </a:cubicBezTo>
                    <a:cubicBezTo>
                      <a:pt x="0" y="2"/>
                      <a:pt x="4" y="0"/>
                      <a:pt x="8" y="0"/>
                    </a:cubicBezTo>
                    <a:cubicBezTo>
                      <a:pt x="18" y="0"/>
                      <a:pt x="21" y="3"/>
                      <a:pt x="30" y="3"/>
                    </a:cubicBezTo>
                    <a:cubicBezTo>
                      <a:pt x="42" y="3"/>
                      <a:pt x="52" y="13"/>
                      <a:pt x="60" y="17"/>
                    </a:cubicBezTo>
                    <a:cubicBezTo>
                      <a:pt x="59" y="21"/>
                      <a:pt x="56" y="24"/>
                      <a:pt x="52" y="24"/>
                    </a:cubicBezTo>
                    <a:cubicBezTo>
                      <a:pt x="46" y="24"/>
                      <a:pt x="44" y="21"/>
                      <a:pt x="39" y="21"/>
                    </a:cubicBezTo>
                    <a:cubicBezTo>
                      <a:pt x="34" y="21"/>
                      <a:pt x="30" y="25"/>
                      <a:pt x="22"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1" name="Freeform 81"/>
              <p:cNvSpPr>
                <a:spLocks/>
              </p:cNvSpPr>
              <p:nvPr/>
            </p:nvSpPr>
            <p:spPr bwMode="auto">
              <a:xfrm>
                <a:off x="3040063" y="1666875"/>
                <a:ext cx="17463" cy="20638"/>
              </a:xfrm>
              <a:custGeom>
                <a:avLst/>
                <a:gdLst/>
                <a:ahLst/>
                <a:cxnLst>
                  <a:cxn ang="0">
                    <a:pos x="14" y="6"/>
                  </a:cxn>
                  <a:cxn ang="0">
                    <a:pos x="6" y="15"/>
                  </a:cxn>
                  <a:cxn ang="0">
                    <a:pos x="0" y="9"/>
                  </a:cxn>
                  <a:cxn ang="0">
                    <a:pos x="14" y="6"/>
                  </a:cxn>
                </a:cxnLst>
                <a:rect l="0" t="0" r="r" b="b"/>
                <a:pathLst>
                  <a:path w="14" h="15">
                    <a:moveTo>
                      <a:pt x="14" y="6"/>
                    </a:moveTo>
                    <a:cubicBezTo>
                      <a:pt x="12" y="9"/>
                      <a:pt x="11" y="15"/>
                      <a:pt x="6" y="15"/>
                    </a:cubicBezTo>
                    <a:cubicBezTo>
                      <a:pt x="5" y="15"/>
                      <a:pt x="0" y="9"/>
                      <a:pt x="0" y="9"/>
                    </a:cubicBezTo>
                    <a:cubicBezTo>
                      <a:pt x="0" y="1"/>
                      <a:pt x="10" y="0"/>
                      <a:pt x="14"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2" name="Freeform 82"/>
              <p:cNvSpPr>
                <a:spLocks/>
              </p:cNvSpPr>
              <p:nvPr/>
            </p:nvSpPr>
            <p:spPr bwMode="auto">
              <a:xfrm>
                <a:off x="3136900" y="1509713"/>
                <a:ext cx="19050" cy="11113"/>
              </a:xfrm>
              <a:custGeom>
                <a:avLst/>
                <a:gdLst/>
                <a:ahLst/>
                <a:cxnLst>
                  <a:cxn ang="0">
                    <a:pos x="5" y="8"/>
                  </a:cxn>
                  <a:cxn ang="0">
                    <a:pos x="0" y="4"/>
                  </a:cxn>
                  <a:cxn ang="0">
                    <a:pos x="5" y="0"/>
                  </a:cxn>
                  <a:cxn ang="0">
                    <a:pos x="14" y="7"/>
                  </a:cxn>
                  <a:cxn ang="0">
                    <a:pos x="5" y="8"/>
                  </a:cxn>
                </a:cxnLst>
                <a:rect l="0" t="0" r="r" b="b"/>
                <a:pathLst>
                  <a:path w="14" h="8">
                    <a:moveTo>
                      <a:pt x="5" y="8"/>
                    </a:moveTo>
                    <a:cubicBezTo>
                      <a:pt x="2" y="8"/>
                      <a:pt x="0" y="7"/>
                      <a:pt x="0" y="4"/>
                    </a:cubicBezTo>
                    <a:cubicBezTo>
                      <a:pt x="0" y="3"/>
                      <a:pt x="4" y="0"/>
                      <a:pt x="5" y="0"/>
                    </a:cubicBezTo>
                    <a:cubicBezTo>
                      <a:pt x="9" y="0"/>
                      <a:pt x="13" y="5"/>
                      <a:pt x="14" y="7"/>
                    </a:cubicBezTo>
                    <a:cubicBezTo>
                      <a:pt x="8" y="8"/>
                      <a:pt x="10" y="8"/>
                      <a:pt x="5"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3" name="Freeform 83"/>
              <p:cNvSpPr>
                <a:spLocks/>
              </p:cNvSpPr>
              <p:nvPr/>
            </p:nvSpPr>
            <p:spPr bwMode="auto">
              <a:xfrm>
                <a:off x="3052763" y="1476375"/>
                <a:ext cx="20638" cy="12700"/>
              </a:xfrm>
              <a:custGeom>
                <a:avLst/>
                <a:gdLst/>
                <a:ahLst/>
                <a:cxnLst>
                  <a:cxn ang="0">
                    <a:pos x="5" y="10"/>
                  </a:cxn>
                  <a:cxn ang="0">
                    <a:pos x="15" y="0"/>
                  </a:cxn>
                  <a:cxn ang="0">
                    <a:pos x="5" y="10"/>
                  </a:cxn>
                </a:cxnLst>
                <a:rect l="0" t="0" r="r" b="b"/>
                <a:pathLst>
                  <a:path w="15" h="10">
                    <a:moveTo>
                      <a:pt x="5" y="10"/>
                    </a:moveTo>
                    <a:cubicBezTo>
                      <a:pt x="0" y="10"/>
                      <a:pt x="10" y="0"/>
                      <a:pt x="15" y="0"/>
                    </a:cubicBezTo>
                    <a:cubicBezTo>
                      <a:pt x="14" y="6"/>
                      <a:pt x="10" y="10"/>
                      <a:pt x="5"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4" name="Freeform 84"/>
              <p:cNvSpPr>
                <a:spLocks/>
              </p:cNvSpPr>
              <p:nvPr/>
            </p:nvSpPr>
            <p:spPr bwMode="auto">
              <a:xfrm>
                <a:off x="2876550" y="1335088"/>
                <a:ext cx="482600" cy="347663"/>
              </a:xfrm>
              <a:custGeom>
                <a:avLst/>
                <a:gdLst/>
                <a:ahLst/>
                <a:cxnLst>
                  <a:cxn ang="0">
                    <a:pos x="333" y="196"/>
                  </a:cxn>
                  <a:cxn ang="0">
                    <a:pos x="281" y="171"/>
                  </a:cxn>
                  <a:cxn ang="0">
                    <a:pos x="289" y="177"/>
                  </a:cxn>
                  <a:cxn ang="0">
                    <a:pos x="283" y="184"/>
                  </a:cxn>
                  <a:cxn ang="0">
                    <a:pos x="298" y="201"/>
                  </a:cxn>
                  <a:cxn ang="0">
                    <a:pos x="318" y="206"/>
                  </a:cxn>
                  <a:cxn ang="0">
                    <a:pos x="326" y="225"/>
                  </a:cxn>
                  <a:cxn ang="0">
                    <a:pos x="278" y="225"/>
                  </a:cxn>
                  <a:cxn ang="0">
                    <a:pos x="304" y="256"/>
                  </a:cxn>
                  <a:cxn ang="0">
                    <a:pos x="295" y="256"/>
                  </a:cxn>
                  <a:cxn ang="0">
                    <a:pos x="233" y="226"/>
                  </a:cxn>
                  <a:cxn ang="0">
                    <a:pos x="190" y="210"/>
                  </a:cxn>
                  <a:cxn ang="0">
                    <a:pos x="169" y="214"/>
                  </a:cxn>
                  <a:cxn ang="0">
                    <a:pos x="168" y="189"/>
                  </a:cxn>
                  <a:cxn ang="0">
                    <a:pos x="207" y="183"/>
                  </a:cxn>
                  <a:cxn ang="0">
                    <a:pos x="210" y="167"/>
                  </a:cxn>
                  <a:cxn ang="0">
                    <a:pos x="186" y="115"/>
                  </a:cxn>
                  <a:cxn ang="0">
                    <a:pos x="168" y="115"/>
                  </a:cxn>
                  <a:cxn ang="0">
                    <a:pos x="146" y="85"/>
                  </a:cxn>
                  <a:cxn ang="0">
                    <a:pos x="122" y="91"/>
                  </a:cxn>
                  <a:cxn ang="0">
                    <a:pos x="41" y="82"/>
                  </a:cxn>
                  <a:cxn ang="0">
                    <a:pos x="11" y="69"/>
                  </a:cxn>
                  <a:cxn ang="0">
                    <a:pos x="30" y="65"/>
                  </a:cxn>
                  <a:cxn ang="0">
                    <a:pos x="0" y="48"/>
                  </a:cxn>
                  <a:cxn ang="0">
                    <a:pos x="11" y="16"/>
                  </a:cxn>
                  <a:cxn ang="0">
                    <a:pos x="61" y="4"/>
                  </a:cxn>
                  <a:cxn ang="0">
                    <a:pos x="46" y="32"/>
                  </a:cxn>
                  <a:cxn ang="0">
                    <a:pos x="50" y="47"/>
                  </a:cxn>
                  <a:cxn ang="0">
                    <a:pos x="55" y="26"/>
                  </a:cxn>
                  <a:cxn ang="0">
                    <a:pos x="120" y="29"/>
                  </a:cxn>
                  <a:cxn ang="0">
                    <a:pos x="128" y="34"/>
                  </a:cxn>
                  <a:cxn ang="0">
                    <a:pos x="156" y="27"/>
                  </a:cxn>
                  <a:cxn ang="0">
                    <a:pos x="217" y="56"/>
                  </a:cxn>
                  <a:cxn ang="0">
                    <a:pos x="242" y="65"/>
                  </a:cxn>
                  <a:cxn ang="0">
                    <a:pos x="273" y="85"/>
                  </a:cxn>
                  <a:cxn ang="0">
                    <a:pos x="293" y="95"/>
                  </a:cxn>
                  <a:cxn ang="0">
                    <a:pos x="291" y="102"/>
                  </a:cxn>
                  <a:cxn ang="0">
                    <a:pos x="283" y="116"/>
                  </a:cxn>
                  <a:cxn ang="0">
                    <a:pos x="317" y="135"/>
                  </a:cxn>
                  <a:cxn ang="0">
                    <a:pos x="342" y="153"/>
                  </a:cxn>
                  <a:cxn ang="0">
                    <a:pos x="362" y="165"/>
                  </a:cxn>
                  <a:cxn ang="0">
                    <a:pos x="349" y="178"/>
                  </a:cxn>
                </a:cxnLst>
                <a:rect l="0" t="0" r="r" b="b"/>
                <a:pathLst>
                  <a:path w="362" h="261">
                    <a:moveTo>
                      <a:pt x="339" y="184"/>
                    </a:moveTo>
                    <a:cubicBezTo>
                      <a:pt x="339" y="189"/>
                      <a:pt x="338" y="196"/>
                      <a:pt x="333" y="196"/>
                    </a:cubicBezTo>
                    <a:cubicBezTo>
                      <a:pt x="311" y="196"/>
                      <a:pt x="311" y="166"/>
                      <a:pt x="289" y="166"/>
                    </a:cubicBezTo>
                    <a:cubicBezTo>
                      <a:pt x="287" y="166"/>
                      <a:pt x="281" y="171"/>
                      <a:pt x="281" y="171"/>
                    </a:cubicBezTo>
                    <a:cubicBezTo>
                      <a:pt x="284" y="173"/>
                      <a:pt x="285" y="173"/>
                      <a:pt x="289" y="172"/>
                    </a:cubicBezTo>
                    <a:cubicBezTo>
                      <a:pt x="289" y="177"/>
                      <a:pt x="289" y="177"/>
                      <a:pt x="289" y="177"/>
                    </a:cubicBezTo>
                    <a:cubicBezTo>
                      <a:pt x="287" y="178"/>
                      <a:pt x="284" y="178"/>
                      <a:pt x="283" y="177"/>
                    </a:cubicBezTo>
                    <a:cubicBezTo>
                      <a:pt x="283" y="184"/>
                      <a:pt x="283" y="184"/>
                      <a:pt x="283" y="184"/>
                    </a:cubicBezTo>
                    <a:cubicBezTo>
                      <a:pt x="288" y="184"/>
                      <a:pt x="288" y="184"/>
                      <a:pt x="288" y="184"/>
                    </a:cubicBezTo>
                    <a:cubicBezTo>
                      <a:pt x="289" y="189"/>
                      <a:pt x="295" y="199"/>
                      <a:pt x="298" y="201"/>
                    </a:cubicBezTo>
                    <a:cubicBezTo>
                      <a:pt x="307" y="204"/>
                      <a:pt x="310" y="198"/>
                      <a:pt x="311" y="206"/>
                    </a:cubicBezTo>
                    <a:cubicBezTo>
                      <a:pt x="315" y="206"/>
                      <a:pt x="315" y="206"/>
                      <a:pt x="318" y="206"/>
                    </a:cubicBezTo>
                    <a:cubicBezTo>
                      <a:pt x="318" y="213"/>
                      <a:pt x="318" y="213"/>
                      <a:pt x="318" y="215"/>
                    </a:cubicBezTo>
                    <a:cubicBezTo>
                      <a:pt x="318" y="218"/>
                      <a:pt x="326" y="220"/>
                      <a:pt x="326" y="225"/>
                    </a:cubicBezTo>
                    <a:cubicBezTo>
                      <a:pt x="326" y="229"/>
                      <a:pt x="321" y="238"/>
                      <a:pt x="319" y="242"/>
                    </a:cubicBezTo>
                    <a:cubicBezTo>
                      <a:pt x="311" y="242"/>
                      <a:pt x="283" y="231"/>
                      <a:pt x="278" y="225"/>
                    </a:cubicBezTo>
                    <a:cubicBezTo>
                      <a:pt x="272" y="225"/>
                      <a:pt x="272" y="225"/>
                      <a:pt x="272" y="225"/>
                    </a:cubicBezTo>
                    <a:cubicBezTo>
                      <a:pt x="279" y="234"/>
                      <a:pt x="304" y="243"/>
                      <a:pt x="304" y="256"/>
                    </a:cubicBezTo>
                    <a:cubicBezTo>
                      <a:pt x="304" y="259"/>
                      <a:pt x="301" y="261"/>
                      <a:pt x="299" y="261"/>
                    </a:cubicBezTo>
                    <a:cubicBezTo>
                      <a:pt x="297" y="261"/>
                      <a:pt x="296" y="256"/>
                      <a:pt x="295" y="256"/>
                    </a:cubicBezTo>
                    <a:cubicBezTo>
                      <a:pt x="282" y="249"/>
                      <a:pt x="274" y="252"/>
                      <a:pt x="263" y="245"/>
                    </a:cubicBezTo>
                    <a:cubicBezTo>
                      <a:pt x="252" y="239"/>
                      <a:pt x="226" y="240"/>
                      <a:pt x="233" y="226"/>
                    </a:cubicBezTo>
                    <a:cubicBezTo>
                      <a:pt x="219" y="219"/>
                      <a:pt x="212" y="211"/>
                      <a:pt x="199" y="204"/>
                    </a:cubicBezTo>
                    <a:cubicBezTo>
                      <a:pt x="197" y="207"/>
                      <a:pt x="194" y="210"/>
                      <a:pt x="190" y="210"/>
                    </a:cubicBezTo>
                    <a:cubicBezTo>
                      <a:pt x="186" y="210"/>
                      <a:pt x="187" y="207"/>
                      <a:pt x="183" y="207"/>
                    </a:cubicBezTo>
                    <a:cubicBezTo>
                      <a:pt x="177" y="207"/>
                      <a:pt x="175" y="214"/>
                      <a:pt x="169" y="214"/>
                    </a:cubicBezTo>
                    <a:cubicBezTo>
                      <a:pt x="165" y="214"/>
                      <a:pt x="150" y="208"/>
                      <a:pt x="150" y="201"/>
                    </a:cubicBezTo>
                    <a:cubicBezTo>
                      <a:pt x="150" y="197"/>
                      <a:pt x="162" y="189"/>
                      <a:pt x="168" y="189"/>
                    </a:cubicBezTo>
                    <a:cubicBezTo>
                      <a:pt x="176" y="189"/>
                      <a:pt x="183" y="189"/>
                      <a:pt x="187" y="189"/>
                    </a:cubicBezTo>
                    <a:cubicBezTo>
                      <a:pt x="191" y="189"/>
                      <a:pt x="202" y="187"/>
                      <a:pt x="207" y="183"/>
                    </a:cubicBezTo>
                    <a:cubicBezTo>
                      <a:pt x="205" y="182"/>
                      <a:pt x="199" y="178"/>
                      <a:pt x="199" y="174"/>
                    </a:cubicBezTo>
                    <a:cubicBezTo>
                      <a:pt x="199" y="167"/>
                      <a:pt x="207" y="171"/>
                      <a:pt x="210" y="167"/>
                    </a:cubicBezTo>
                    <a:cubicBezTo>
                      <a:pt x="214" y="163"/>
                      <a:pt x="223" y="154"/>
                      <a:pt x="223" y="148"/>
                    </a:cubicBezTo>
                    <a:cubicBezTo>
                      <a:pt x="223" y="136"/>
                      <a:pt x="195" y="115"/>
                      <a:pt x="186" y="115"/>
                    </a:cubicBezTo>
                    <a:cubicBezTo>
                      <a:pt x="180" y="115"/>
                      <a:pt x="177" y="120"/>
                      <a:pt x="172" y="120"/>
                    </a:cubicBezTo>
                    <a:cubicBezTo>
                      <a:pt x="170" y="120"/>
                      <a:pt x="168" y="115"/>
                      <a:pt x="168" y="115"/>
                    </a:cubicBezTo>
                    <a:cubicBezTo>
                      <a:pt x="168" y="110"/>
                      <a:pt x="176" y="109"/>
                      <a:pt x="179" y="109"/>
                    </a:cubicBezTo>
                    <a:cubicBezTo>
                      <a:pt x="175" y="105"/>
                      <a:pt x="151" y="85"/>
                      <a:pt x="146" y="85"/>
                    </a:cubicBezTo>
                    <a:cubicBezTo>
                      <a:pt x="140" y="85"/>
                      <a:pt x="133" y="101"/>
                      <a:pt x="125" y="101"/>
                    </a:cubicBezTo>
                    <a:cubicBezTo>
                      <a:pt x="120" y="101"/>
                      <a:pt x="121" y="94"/>
                      <a:pt x="122" y="91"/>
                    </a:cubicBezTo>
                    <a:cubicBezTo>
                      <a:pt x="108" y="90"/>
                      <a:pt x="75" y="91"/>
                      <a:pt x="55" y="91"/>
                    </a:cubicBezTo>
                    <a:cubicBezTo>
                      <a:pt x="51" y="91"/>
                      <a:pt x="44" y="86"/>
                      <a:pt x="41" y="82"/>
                    </a:cubicBezTo>
                    <a:cubicBezTo>
                      <a:pt x="20" y="82"/>
                      <a:pt x="20" y="82"/>
                      <a:pt x="20" y="82"/>
                    </a:cubicBezTo>
                    <a:cubicBezTo>
                      <a:pt x="18" y="76"/>
                      <a:pt x="11" y="75"/>
                      <a:pt x="11" y="69"/>
                    </a:cubicBezTo>
                    <a:cubicBezTo>
                      <a:pt x="16" y="67"/>
                      <a:pt x="23" y="70"/>
                      <a:pt x="30" y="70"/>
                    </a:cubicBezTo>
                    <a:cubicBezTo>
                      <a:pt x="30" y="65"/>
                      <a:pt x="30" y="65"/>
                      <a:pt x="30" y="65"/>
                    </a:cubicBezTo>
                    <a:cubicBezTo>
                      <a:pt x="26" y="62"/>
                      <a:pt x="6" y="60"/>
                      <a:pt x="6" y="60"/>
                    </a:cubicBezTo>
                    <a:cubicBezTo>
                      <a:pt x="6" y="60"/>
                      <a:pt x="0" y="52"/>
                      <a:pt x="0" y="48"/>
                    </a:cubicBezTo>
                    <a:cubicBezTo>
                      <a:pt x="0" y="36"/>
                      <a:pt x="2" y="33"/>
                      <a:pt x="8" y="29"/>
                    </a:cubicBezTo>
                    <a:cubicBezTo>
                      <a:pt x="12" y="26"/>
                      <a:pt x="10" y="18"/>
                      <a:pt x="11" y="16"/>
                    </a:cubicBezTo>
                    <a:cubicBezTo>
                      <a:pt x="20" y="7"/>
                      <a:pt x="32" y="0"/>
                      <a:pt x="47" y="0"/>
                    </a:cubicBezTo>
                    <a:cubicBezTo>
                      <a:pt x="47" y="0"/>
                      <a:pt x="61" y="4"/>
                      <a:pt x="61" y="4"/>
                    </a:cubicBezTo>
                    <a:cubicBezTo>
                      <a:pt x="57" y="14"/>
                      <a:pt x="42" y="14"/>
                      <a:pt x="42" y="27"/>
                    </a:cubicBezTo>
                    <a:cubicBezTo>
                      <a:pt x="42" y="30"/>
                      <a:pt x="44" y="32"/>
                      <a:pt x="46" y="32"/>
                    </a:cubicBezTo>
                    <a:cubicBezTo>
                      <a:pt x="45" y="35"/>
                      <a:pt x="46" y="40"/>
                      <a:pt x="46" y="40"/>
                    </a:cubicBezTo>
                    <a:cubicBezTo>
                      <a:pt x="46" y="43"/>
                      <a:pt x="45" y="47"/>
                      <a:pt x="50" y="47"/>
                    </a:cubicBezTo>
                    <a:cubicBezTo>
                      <a:pt x="53" y="47"/>
                      <a:pt x="59" y="42"/>
                      <a:pt x="59" y="38"/>
                    </a:cubicBezTo>
                    <a:cubicBezTo>
                      <a:pt x="59" y="34"/>
                      <a:pt x="55" y="31"/>
                      <a:pt x="55" y="26"/>
                    </a:cubicBezTo>
                    <a:cubicBezTo>
                      <a:pt x="55" y="10"/>
                      <a:pt x="84" y="4"/>
                      <a:pt x="102" y="4"/>
                    </a:cubicBezTo>
                    <a:cubicBezTo>
                      <a:pt x="113" y="4"/>
                      <a:pt x="120" y="20"/>
                      <a:pt x="120" y="29"/>
                    </a:cubicBezTo>
                    <a:cubicBezTo>
                      <a:pt x="120" y="31"/>
                      <a:pt x="117" y="38"/>
                      <a:pt x="120" y="38"/>
                    </a:cubicBezTo>
                    <a:cubicBezTo>
                      <a:pt x="122" y="38"/>
                      <a:pt x="124" y="34"/>
                      <a:pt x="128" y="34"/>
                    </a:cubicBezTo>
                    <a:cubicBezTo>
                      <a:pt x="133" y="34"/>
                      <a:pt x="135" y="38"/>
                      <a:pt x="138" y="38"/>
                    </a:cubicBezTo>
                    <a:cubicBezTo>
                      <a:pt x="146" y="38"/>
                      <a:pt x="148" y="27"/>
                      <a:pt x="156" y="27"/>
                    </a:cubicBezTo>
                    <a:cubicBezTo>
                      <a:pt x="165" y="27"/>
                      <a:pt x="183" y="30"/>
                      <a:pt x="189" y="34"/>
                    </a:cubicBezTo>
                    <a:cubicBezTo>
                      <a:pt x="199" y="41"/>
                      <a:pt x="202" y="56"/>
                      <a:pt x="217" y="56"/>
                    </a:cubicBezTo>
                    <a:cubicBezTo>
                      <a:pt x="223" y="56"/>
                      <a:pt x="224" y="56"/>
                      <a:pt x="228" y="56"/>
                    </a:cubicBezTo>
                    <a:cubicBezTo>
                      <a:pt x="232" y="56"/>
                      <a:pt x="243" y="57"/>
                      <a:pt x="242" y="65"/>
                    </a:cubicBezTo>
                    <a:cubicBezTo>
                      <a:pt x="254" y="69"/>
                      <a:pt x="261" y="76"/>
                      <a:pt x="273" y="77"/>
                    </a:cubicBezTo>
                    <a:cubicBezTo>
                      <a:pt x="273" y="85"/>
                      <a:pt x="273" y="85"/>
                      <a:pt x="273" y="85"/>
                    </a:cubicBezTo>
                    <a:cubicBezTo>
                      <a:pt x="276" y="85"/>
                      <a:pt x="281" y="85"/>
                      <a:pt x="281" y="85"/>
                    </a:cubicBezTo>
                    <a:cubicBezTo>
                      <a:pt x="287" y="85"/>
                      <a:pt x="290" y="89"/>
                      <a:pt x="293" y="95"/>
                    </a:cubicBezTo>
                    <a:cubicBezTo>
                      <a:pt x="287" y="96"/>
                      <a:pt x="281" y="96"/>
                      <a:pt x="277" y="101"/>
                    </a:cubicBezTo>
                    <a:cubicBezTo>
                      <a:pt x="285" y="102"/>
                      <a:pt x="287" y="102"/>
                      <a:pt x="291" y="102"/>
                    </a:cubicBezTo>
                    <a:cubicBezTo>
                      <a:pt x="293" y="102"/>
                      <a:pt x="296" y="103"/>
                      <a:pt x="297" y="106"/>
                    </a:cubicBezTo>
                    <a:cubicBezTo>
                      <a:pt x="290" y="110"/>
                      <a:pt x="287" y="110"/>
                      <a:pt x="283" y="116"/>
                    </a:cubicBezTo>
                    <a:cubicBezTo>
                      <a:pt x="287" y="118"/>
                      <a:pt x="289" y="120"/>
                      <a:pt x="295" y="120"/>
                    </a:cubicBezTo>
                    <a:cubicBezTo>
                      <a:pt x="296" y="130"/>
                      <a:pt x="308" y="134"/>
                      <a:pt x="317" y="135"/>
                    </a:cubicBezTo>
                    <a:cubicBezTo>
                      <a:pt x="318" y="143"/>
                      <a:pt x="320" y="151"/>
                      <a:pt x="327" y="151"/>
                    </a:cubicBezTo>
                    <a:cubicBezTo>
                      <a:pt x="337" y="151"/>
                      <a:pt x="339" y="145"/>
                      <a:pt x="342" y="153"/>
                    </a:cubicBezTo>
                    <a:cubicBezTo>
                      <a:pt x="344" y="155"/>
                      <a:pt x="348" y="155"/>
                      <a:pt x="350" y="155"/>
                    </a:cubicBezTo>
                    <a:cubicBezTo>
                      <a:pt x="359" y="155"/>
                      <a:pt x="362" y="158"/>
                      <a:pt x="362" y="165"/>
                    </a:cubicBezTo>
                    <a:cubicBezTo>
                      <a:pt x="362" y="171"/>
                      <a:pt x="355" y="173"/>
                      <a:pt x="349" y="173"/>
                    </a:cubicBezTo>
                    <a:cubicBezTo>
                      <a:pt x="349" y="178"/>
                      <a:pt x="349" y="176"/>
                      <a:pt x="349" y="178"/>
                    </a:cubicBezTo>
                    <a:cubicBezTo>
                      <a:pt x="349" y="180"/>
                      <a:pt x="348" y="184"/>
                      <a:pt x="339"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5" name="Freeform 85"/>
              <p:cNvSpPr>
                <a:spLocks/>
              </p:cNvSpPr>
              <p:nvPr/>
            </p:nvSpPr>
            <p:spPr bwMode="auto">
              <a:xfrm>
                <a:off x="3073400" y="1635125"/>
                <a:ext cx="14288" cy="12700"/>
              </a:xfrm>
              <a:custGeom>
                <a:avLst/>
                <a:gdLst/>
                <a:ahLst/>
                <a:cxnLst>
                  <a:cxn ang="0">
                    <a:pos x="10" y="6"/>
                  </a:cxn>
                  <a:cxn ang="0">
                    <a:pos x="0" y="6"/>
                  </a:cxn>
                  <a:cxn ang="0">
                    <a:pos x="10" y="6"/>
                  </a:cxn>
                </a:cxnLst>
                <a:rect l="0" t="0" r="r" b="b"/>
                <a:pathLst>
                  <a:path w="10" h="9">
                    <a:moveTo>
                      <a:pt x="10" y="6"/>
                    </a:moveTo>
                    <a:cubicBezTo>
                      <a:pt x="6" y="9"/>
                      <a:pt x="5" y="9"/>
                      <a:pt x="0" y="6"/>
                    </a:cubicBezTo>
                    <a:cubicBezTo>
                      <a:pt x="5" y="0"/>
                      <a:pt x="5" y="3"/>
                      <a:pt x="10"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6" name="Freeform 86"/>
              <p:cNvSpPr>
                <a:spLocks/>
              </p:cNvSpPr>
              <p:nvPr/>
            </p:nvSpPr>
            <p:spPr bwMode="auto">
              <a:xfrm>
                <a:off x="2974975" y="1568450"/>
                <a:ext cx="12700" cy="12700"/>
              </a:xfrm>
              <a:custGeom>
                <a:avLst/>
                <a:gdLst/>
                <a:ahLst/>
                <a:cxnLst>
                  <a:cxn ang="0">
                    <a:pos x="1" y="2"/>
                  </a:cxn>
                  <a:cxn ang="0">
                    <a:pos x="9" y="9"/>
                  </a:cxn>
                  <a:cxn ang="0">
                    <a:pos x="1" y="2"/>
                  </a:cxn>
                </a:cxnLst>
                <a:rect l="0" t="0" r="r" b="b"/>
                <a:pathLst>
                  <a:path w="9" h="9">
                    <a:moveTo>
                      <a:pt x="1" y="2"/>
                    </a:moveTo>
                    <a:cubicBezTo>
                      <a:pt x="6" y="0"/>
                      <a:pt x="6" y="5"/>
                      <a:pt x="9" y="9"/>
                    </a:cubicBezTo>
                    <a:cubicBezTo>
                      <a:pt x="4" y="9"/>
                      <a:pt x="0" y="5"/>
                      <a:pt x="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7" name="Freeform 87"/>
              <p:cNvSpPr>
                <a:spLocks/>
              </p:cNvSpPr>
              <p:nvPr/>
            </p:nvSpPr>
            <p:spPr bwMode="auto">
              <a:xfrm>
                <a:off x="2847975" y="985838"/>
                <a:ext cx="514350" cy="269875"/>
              </a:xfrm>
              <a:custGeom>
                <a:avLst/>
                <a:gdLst/>
                <a:ahLst/>
                <a:cxnLst>
                  <a:cxn ang="0">
                    <a:pos x="307" y="16"/>
                  </a:cxn>
                  <a:cxn ang="0">
                    <a:pos x="350" y="9"/>
                  </a:cxn>
                  <a:cxn ang="0">
                    <a:pos x="386" y="28"/>
                  </a:cxn>
                  <a:cxn ang="0">
                    <a:pos x="313" y="51"/>
                  </a:cxn>
                  <a:cxn ang="0">
                    <a:pos x="295" y="74"/>
                  </a:cxn>
                  <a:cxn ang="0">
                    <a:pos x="231" y="108"/>
                  </a:cxn>
                  <a:cxn ang="0">
                    <a:pos x="216" y="118"/>
                  </a:cxn>
                  <a:cxn ang="0">
                    <a:pos x="216" y="137"/>
                  </a:cxn>
                  <a:cxn ang="0">
                    <a:pos x="174" y="157"/>
                  </a:cxn>
                  <a:cxn ang="0">
                    <a:pos x="158" y="184"/>
                  </a:cxn>
                  <a:cxn ang="0">
                    <a:pos x="176" y="188"/>
                  </a:cxn>
                  <a:cxn ang="0">
                    <a:pos x="126" y="197"/>
                  </a:cxn>
                  <a:cxn ang="0">
                    <a:pos x="80" y="201"/>
                  </a:cxn>
                  <a:cxn ang="0">
                    <a:pos x="33" y="197"/>
                  </a:cxn>
                  <a:cxn ang="0">
                    <a:pos x="60" y="176"/>
                  </a:cxn>
                  <a:cxn ang="0">
                    <a:pos x="57" y="158"/>
                  </a:cxn>
                  <a:cxn ang="0">
                    <a:pos x="92" y="170"/>
                  </a:cxn>
                  <a:cxn ang="0">
                    <a:pos x="66" y="148"/>
                  </a:cxn>
                  <a:cxn ang="0">
                    <a:pos x="55" y="151"/>
                  </a:cxn>
                  <a:cxn ang="0">
                    <a:pos x="68" y="131"/>
                  </a:cxn>
                  <a:cxn ang="0">
                    <a:pos x="62" y="97"/>
                  </a:cxn>
                  <a:cxn ang="0">
                    <a:pos x="67" y="89"/>
                  </a:cxn>
                  <a:cxn ang="0">
                    <a:pos x="97" y="90"/>
                  </a:cxn>
                  <a:cxn ang="0">
                    <a:pos x="108" y="91"/>
                  </a:cxn>
                  <a:cxn ang="0">
                    <a:pos x="133" y="86"/>
                  </a:cxn>
                  <a:cxn ang="0">
                    <a:pos x="147" y="74"/>
                  </a:cxn>
                  <a:cxn ang="0">
                    <a:pos x="99" y="81"/>
                  </a:cxn>
                  <a:cxn ang="0">
                    <a:pos x="72" y="76"/>
                  </a:cxn>
                  <a:cxn ang="0">
                    <a:pos x="57" y="81"/>
                  </a:cxn>
                  <a:cxn ang="0">
                    <a:pos x="44" y="67"/>
                  </a:cxn>
                  <a:cxn ang="0">
                    <a:pos x="51" y="53"/>
                  </a:cxn>
                  <a:cxn ang="0">
                    <a:pos x="25" y="60"/>
                  </a:cxn>
                  <a:cxn ang="0">
                    <a:pos x="29" y="49"/>
                  </a:cxn>
                  <a:cxn ang="0">
                    <a:pos x="9" y="52"/>
                  </a:cxn>
                  <a:cxn ang="0">
                    <a:pos x="44" y="36"/>
                  </a:cxn>
                  <a:cxn ang="0">
                    <a:pos x="57" y="32"/>
                  </a:cxn>
                  <a:cxn ang="0">
                    <a:pos x="104" y="32"/>
                  </a:cxn>
                  <a:cxn ang="0">
                    <a:pos x="135" y="11"/>
                  </a:cxn>
                  <a:cxn ang="0">
                    <a:pos x="196" y="6"/>
                  </a:cxn>
                  <a:cxn ang="0">
                    <a:pos x="218" y="8"/>
                  </a:cxn>
                  <a:cxn ang="0">
                    <a:pos x="245" y="3"/>
                  </a:cxn>
                  <a:cxn ang="0">
                    <a:pos x="315" y="11"/>
                  </a:cxn>
                </a:cxnLst>
                <a:rect l="0" t="0" r="r" b="b"/>
                <a:pathLst>
                  <a:path w="386" h="203">
                    <a:moveTo>
                      <a:pt x="315" y="11"/>
                    </a:moveTo>
                    <a:cubicBezTo>
                      <a:pt x="312" y="14"/>
                      <a:pt x="310" y="15"/>
                      <a:pt x="307" y="16"/>
                    </a:cubicBezTo>
                    <a:cubicBezTo>
                      <a:pt x="342" y="6"/>
                      <a:pt x="342" y="6"/>
                      <a:pt x="342" y="6"/>
                    </a:cubicBezTo>
                    <a:cubicBezTo>
                      <a:pt x="345" y="7"/>
                      <a:pt x="347" y="8"/>
                      <a:pt x="350" y="9"/>
                    </a:cubicBezTo>
                    <a:cubicBezTo>
                      <a:pt x="355" y="11"/>
                      <a:pt x="355" y="14"/>
                      <a:pt x="358" y="17"/>
                    </a:cubicBezTo>
                    <a:cubicBezTo>
                      <a:pt x="363" y="22"/>
                      <a:pt x="386" y="20"/>
                      <a:pt x="386" y="28"/>
                    </a:cubicBezTo>
                    <a:cubicBezTo>
                      <a:pt x="386" y="33"/>
                      <a:pt x="378" y="32"/>
                      <a:pt x="375" y="34"/>
                    </a:cubicBezTo>
                    <a:cubicBezTo>
                      <a:pt x="358" y="48"/>
                      <a:pt x="336" y="40"/>
                      <a:pt x="313" y="51"/>
                    </a:cubicBezTo>
                    <a:cubicBezTo>
                      <a:pt x="317" y="56"/>
                      <a:pt x="335" y="52"/>
                      <a:pt x="346" y="52"/>
                    </a:cubicBezTo>
                    <a:cubicBezTo>
                      <a:pt x="336" y="63"/>
                      <a:pt x="311" y="69"/>
                      <a:pt x="295" y="74"/>
                    </a:cubicBezTo>
                    <a:cubicBezTo>
                      <a:pt x="277" y="80"/>
                      <a:pt x="267" y="97"/>
                      <a:pt x="254" y="107"/>
                    </a:cubicBezTo>
                    <a:cubicBezTo>
                      <a:pt x="248" y="112"/>
                      <a:pt x="238" y="106"/>
                      <a:pt x="231" y="108"/>
                    </a:cubicBezTo>
                    <a:cubicBezTo>
                      <a:pt x="221" y="112"/>
                      <a:pt x="210" y="112"/>
                      <a:pt x="203" y="118"/>
                    </a:cubicBezTo>
                    <a:cubicBezTo>
                      <a:pt x="216" y="118"/>
                      <a:pt x="216" y="118"/>
                      <a:pt x="216" y="118"/>
                    </a:cubicBezTo>
                    <a:cubicBezTo>
                      <a:pt x="217" y="128"/>
                      <a:pt x="211" y="127"/>
                      <a:pt x="203" y="126"/>
                    </a:cubicBezTo>
                    <a:cubicBezTo>
                      <a:pt x="208" y="129"/>
                      <a:pt x="213" y="131"/>
                      <a:pt x="216" y="137"/>
                    </a:cubicBezTo>
                    <a:cubicBezTo>
                      <a:pt x="206" y="141"/>
                      <a:pt x="203" y="152"/>
                      <a:pt x="196" y="157"/>
                    </a:cubicBezTo>
                    <a:cubicBezTo>
                      <a:pt x="177" y="157"/>
                      <a:pt x="177" y="157"/>
                      <a:pt x="174" y="157"/>
                    </a:cubicBezTo>
                    <a:cubicBezTo>
                      <a:pt x="175" y="160"/>
                      <a:pt x="177" y="161"/>
                      <a:pt x="177" y="164"/>
                    </a:cubicBezTo>
                    <a:cubicBezTo>
                      <a:pt x="177" y="178"/>
                      <a:pt x="158" y="169"/>
                      <a:pt x="158" y="184"/>
                    </a:cubicBezTo>
                    <a:cubicBezTo>
                      <a:pt x="165" y="184"/>
                      <a:pt x="166" y="184"/>
                      <a:pt x="169" y="184"/>
                    </a:cubicBezTo>
                    <a:cubicBezTo>
                      <a:pt x="171" y="184"/>
                      <a:pt x="176" y="184"/>
                      <a:pt x="176" y="188"/>
                    </a:cubicBezTo>
                    <a:cubicBezTo>
                      <a:pt x="176" y="195"/>
                      <a:pt x="151" y="203"/>
                      <a:pt x="141" y="203"/>
                    </a:cubicBezTo>
                    <a:cubicBezTo>
                      <a:pt x="131" y="203"/>
                      <a:pt x="135" y="197"/>
                      <a:pt x="126" y="197"/>
                    </a:cubicBezTo>
                    <a:cubicBezTo>
                      <a:pt x="113" y="197"/>
                      <a:pt x="104" y="197"/>
                      <a:pt x="93" y="197"/>
                    </a:cubicBezTo>
                    <a:cubicBezTo>
                      <a:pt x="89" y="197"/>
                      <a:pt x="86" y="201"/>
                      <a:pt x="80" y="201"/>
                    </a:cubicBezTo>
                    <a:cubicBezTo>
                      <a:pt x="65" y="201"/>
                      <a:pt x="53" y="197"/>
                      <a:pt x="38" y="192"/>
                    </a:cubicBezTo>
                    <a:cubicBezTo>
                      <a:pt x="37" y="194"/>
                      <a:pt x="35" y="197"/>
                      <a:pt x="33" y="197"/>
                    </a:cubicBezTo>
                    <a:cubicBezTo>
                      <a:pt x="29" y="197"/>
                      <a:pt x="28" y="194"/>
                      <a:pt x="28" y="193"/>
                    </a:cubicBezTo>
                    <a:cubicBezTo>
                      <a:pt x="28" y="176"/>
                      <a:pt x="51" y="182"/>
                      <a:pt x="60" y="176"/>
                    </a:cubicBezTo>
                    <a:cubicBezTo>
                      <a:pt x="55" y="172"/>
                      <a:pt x="46" y="170"/>
                      <a:pt x="46" y="162"/>
                    </a:cubicBezTo>
                    <a:cubicBezTo>
                      <a:pt x="46" y="156"/>
                      <a:pt x="52" y="158"/>
                      <a:pt x="57" y="158"/>
                    </a:cubicBezTo>
                    <a:cubicBezTo>
                      <a:pt x="71" y="158"/>
                      <a:pt x="76" y="165"/>
                      <a:pt x="84" y="170"/>
                    </a:cubicBezTo>
                    <a:cubicBezTo>
                      <a:pt x="92" y="170"/>
                      <a:pt x="92" y="170"/>
                      <a:pt x="92" y="170"/>
                    </a:cubicBezTo>
                    <a:cubicBezTo>
                      <a:pt x="86" y="164"/>
                      <a:pt x="72" y="159"/>
                      <a:pt x="72" y="148"/>
                    </a:cubicBezTo>
                    <a:cubicBezTo>
                      <a:pt x="66" y="148"/>
                      <a:pt x="66" y="148"/>
                      <a:pt x="66" y="148"/>
                    </a:cubicBezTo>
                    <a:cubicBezTo>
                      <a:pt x="63" y="149"/>
                      <a:pt x="63" y="149"/>
                      <a:pt x="61" y="151"/>
                    </a:cubicBezTo>
                    <a:cubicBezTo>
                      <a:pt x="55" y="151"/>
                      <a:pt x="55" y="151"/>
                      <a:pt x="55" y="151"/>
                    </a:cubicBezTo>
                    <a:cubicBezTo>
                      <a:pt x="55" y="146"/>
                      <a:pt x="55" y="146"/>
                      <a:pt x="55" y="146"/>
                    </a:cubicBezTo>
                    <a:cubicBezTo>
                      <a:pt x="58" y="138"/>
                      <a:pt x="61" y="134"/>
                      <a:pt x="68" y="131"/>
                    </a:cubicBezTo>
                    <a:cubicBezTo>
                      <a:pt x="79" y="128"/>
                      <a:pt x="92" y="132"/>
                      <a:pt x="92" y="119"/>
                    </a:cubicBezTo>
                    <a:cubicBezTo>
                      <a:pt x="92" y="105"/>
                      <a:pt x="62" y="105"/>
                      <a:pt x="62" y="97"/>
                    </a:cubicBezTo>
                    <a:cubicBezTo>
                      <a:pt x="62" y="93"/>
                      <a:pt x="69" y="94"/>
                      <a:pt x="73" y="94"/>
                    </a:cubicBezTo>
                    <a:cubicBezTo>
                      <a:pt x="68" y="94"/>
                      <a:pt x="67" y="92"/>
                      <a:pt x="67" y="89"/>
                    </a:cubicBezTo>
                    <a:cubicBezTo>
                      <a:pt x="69" y="88"/>
                      <a:pt x="71" y="89"/>
                      <a:pt x="73" y="89"/>
                    </a:cubicBezTo>
                    <a:cubicBezTo>
                      <a:pt x="78" y="89"/>
                      <a:pt x="88" y="87"/>
                      <a:pt x="97" y="90"/>
                    </a:cubicBezTo>
                    <a:cubicBezTo>
                      <a:pt x="108" y="93"/>
                      <a:pt x="112" y="106"/>
                      <a:pt x="124" y="104"/>
                    </a:cubicBezTo>
                    <a:cubicBezTo>
                      <a:pt x="122" y="102"/>
                      <a:pt x="108" y="93"/>
                      <a:pt x="108" y="91"/>
                    </a:cubicBezTo>
                    <a:cubicBezTo>
                      <a:pt x="108" y="89"/>
                      <a:pt x="110" y="88"/>
                      <a:pt x="111" y="86"/>
                    </a:cubicBezTo>
                    <a:cubicBezTo>
                      <a:pt x="133" y="86"/>
                      <a:pt x="133" y="86"/>
                      <a:pt x="133" y="86"/>
                    </a:cubicBezTo>
                    <a:cubicBezTo>
                      <a:pt x="141" y="83"/>
                      <a:pt x="149" y="81"/>
                      <a:pt x="154" y="74"/>
                    </a:cubicBezTo>
                    <a:cubicBezTo>
                      <a:pt x="147" y="74"/>
                      <a:pt x="147" y="74"/>
                      <a:pt x="147" y="74"/>
                    </a:cubicBezTo>
                    <a:cubicBezTo>
                      <a:pt x="138" y="81"/>
                      <a:pt x="128" y="84"/>
                      <a:pt x="114" y="84"/>
                    </a:cubicBezTo>
                    <a:cubicBezTo>
                      <a:pt x="106" y="84"/>
                      <a:pt x="103" y="81"/>
                      <a:pt x="99" y="81"/>
                    </a:cubicBezTo>
                    <a:cubicBezTo>
                      <a:pt x="95" y="81"/>
                      <a:pt x="93" y="85"/>
                      <a:pt x="90" y="85"/>
                    </a:cubicBezTo>
                    <a:cubicBezTo>
                      <a:pt x="81" y="85"/>
                      <a:pt x="70" y="82"/>
                      <a:pt x="72" y="76"/>
                    </a:cubicBezTo>
                    <a:cubicBezTo>
                      <a:pt x="67" y="76"/>
                      <a:pt x="67" y="76"/>
                      <a:pt x="67" y="76"/>
                    </a:cubicBezTo>
                    <a:cubicBezTo>
                      <a:pt x="63" y="78"/>
                      <a:pt x="61" y="81"/>
                      <a:pt x="57" y="81"/>
                    </a:cubicBezTo>
                    <a:cubicBezTo>
                      <a:pt x="48" y="81"/>
                      <a:pt x="36" y="75"/>
                      <a:pt x="33" y="71"/>
                    </a:cubicBezTo>
                    <a:cubicBezTo>
                      <a:pt x="36" y="69"/>
                      <a:pt x="39" y="67"/>
                      <a:pt x="44" y="67"/>
                    </a:cubicBezTo>
                    <a:cubicBezTo>
                      <a:pt x="36" y="67"/>
                      <a:pt x="27" y="66"/>
                      <a:pt x="24" y="67"/>
                    </a:cubicBezTo>
                    <a:cubicBezTo>
                      <a:pt x="29" y="55"/>
                      <a:pt x="40" y="56"/>
                      <a:pt x="51" y="53"/>
                    </a:cubicBezTo>
                    <a:cubicBezTo>
                      <a:pt x="47" y="52"/>
                      <a:pt x="46" y="52"/>
                      <a:pt x="42" y="52"/>
                    </a:cubicBezTo>
                    <a:cubicBezTo>
                      <a:pt x="33" y="52"/>
                      <a:pt x="33" y="60"/>
                      <a:pt x="25" y="60"/>
                    </a:cubicBezTo>
                    <a:cubicBezTo>
                      <a:pt x="22" y="60"/>
                      <a:pt x="18" y="57"/>
                      <a:pt x="17" y="56"/>
                    </a:cubicBezTo>
                    <a:cubicBezTo>
                      <a:pt x="21" y="52"/>
                      <a:pt x="24" y="51"/>
                      <a:pt x="29" y="49"/>
                    </a:cubicBezTo>
                    <a:cubicBezTo>
                      <a:pt x="16" y="49"/>
                      <a:pt x="16" y="49"/>
                      <a:pt x="16" y="49"/>
                    </a:cubicBezTo>
                    <a:cubicBezTo>
                      <a:pt x="13" y="50"/>
                      <a:pt x="11" y="51"/>
                      <a:pt x="9" y="52"/>
                    </a:cubicBezTo>
                    <a:cubicBezTo>
                      <a:pt x="7" y="52"/>
                      <a:pt x="2" y="52"/>
                      <a:pt x="0" y="52"/>
                    </a:cubicBezTo>
                    <a:cubicBezTo>
                      <a:pt x="2" y="41"/>
                      <a:pt x="31" y="36"/>
                      <a:pt x="44" y="36"/>
                    </a:cubicBezTo>
                    <a:cubicBezTo>
                      <a:pt x="49" y="36"/>
                      <a:pt x="52" y="36"/>
                      <a:pt x="53" y="36"/>
                    </a:cubicBezTo>
                    <a:cubicBezTo>
                      <a:pt x="55" y="36"/>
                      <a:pt x="57" y="34"/>
                      <a:pt x="57" y="32"/>
                    </a:cubicBezTo>
                    <a:cubicBezTo>
                      <a:pt x="71" y="32"/>
                      <a:pt x="65" y="22"/>
                      <a:pt x="74" y="22"/>
                    </a:cubicBezTo>
                    <a:cubicBezTo>
                      <a:pt x="83" y="22"/>
                      <a:pt x="100" y="31"/>
                      <a:pt x="104" y="32"/>
                    </a:cubicBezTo>
                    <a:cubicBezTo>
                      <a:pt x="108" y="22"/>
                      <a:pt x="113" y="12"/>
                      <a:pt x="126" y="12"/>
                    </a:cubicBezTo>
                    <a:cubicBezTo>
                      <a:pt x="134" y="12"/>
                      <a:pt x="129" y="16"/>
                      <a:pt x="135" y="11"/>
                    </a:cubicBezTo>
                    <a:cubicBezTo>
                      <a:pt x="137" y="7"/>
                      <a:pt x="141" y="6"/>
                      <a:pt x="145" y="6"/>
                    </a:cubicBezTo>
                    <a:cubicBezTo>
                      <a:pt x="168" y="6"/>
                      <a:pt x="173" y="6"/>
                      <a:pt x="196" y="6"/>
                    </a:cubicBezTo>
                    <a:cubicBezTo>
                      <a:pt x="197" y="4"/>
                      <a:pt x="199" y="3"/>
                      <a:pt x="201" y="3"/>
                    </a:cubicBezTo>
                    <a:cubicBezTo>
                      <a:pt x="209" y="3"/>
                      <a:pt x="211" y="8"/>
                      <a:pt x="218" y="8"/>
                    </a:cubicBezTo>
                    <a:cubicBezTo>
                      <a:pt x="224" y="8"/>
                      <a:pt x="226" y="0"/>
                      <a:pt x="232" y="0"/>
                    </a:cubicBezTo>
                    <a:cubicBezTo>
                      <a:pt x="239" y="0"/>
                      <a:pt x="241" y="3"/>
                      <a:pt x="245" y="3"/>
                    </a:cubicBezTo>
                    <a:cubicBezTo>
                      <a:pt x="250" y="3"/>
                      <a:pt x="253" y="3"/>
                      <a:pt x="258" y="3"/>
                    </a:cubicBezTo>
                    <a:cubicBezTo>
                      <a:pt x="268" y="3"/>
                      <a:pt x="306" y="2"/>
                      <a:pt x="315"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8" name="Freeform 88"/>
              <p:cNvSpPr>
                <a:spLocks/>
              </p:cNvSpPr>
              <p:nvPr/>
            </p:nvSpPr>
            <p:spPr bwMode="auto">
              <a:xfrm>
                <a:off x="3170238" y="960438"/>
                <a:ext cx="1006475" cy="765175"/>
              </a:xfrm>
              <a:custGeom>
                <a:avLst/>
                <a:gdLst/>
                <a:ahLst/>
                <a:cxnLst>
                  <a:cxn ang="0">
                    <a:pos x="280" y="372"/>
                  </a:cxn>
                  <a:cxn ang="0">
                    <a:pos x="267" y="360"/>
                  </a:cxn>
                  <a:cxn ang="0">
                    <a:pos x="228" y="336"/>
                  </a:cxn>
                  <a:cxn ang="0">
                    <a:pos x="215" y="302"/>
                  </a:cxn>
                  <a:cxn ang="0">
                    <a:pos x="109" y="219"/>
                  </a:cxn>
                  <a:cxn ang="0">
                    <a:pos x="73" y="223"/>
                  </a:cxn>
                  <a:cxn ang="0">
                    <a:pos x="43" y="217"/>
                  </a:cxn>
                  <a:cxn ang="0">
                    <a:pos x="19" y="202"/>
                  </a:cxn>
                  <a:cxn ang="0">
                    <a:pos x="51" y="190"/>
                  </a:cxn>
                  <a:cxn ang="0">
                    <a:pos x="64" y="180"/>
                  </a:cxn>
                  <a:cxn ang="0">
                    <a:pos x="0" y="166"/>
                  </a:cxn>
                  <a:cxn ang="0">
                    <a:pos x="84" y="141"/>
                  </a:cxn>
                  <a:cxn ang="0">
                    <a:pos x="72" y="102"/>
                  </a:cxn>
                  <a:cxn ang="0">
                    <a:pos x="144" y="59"/>
                  </a:cxn>
                  <a:cxn ang="0">
                    <a:pos x="237" y="56"/>
                  </a:cxn>
                  <a:cxn ang="0">
                    <a:pos x="260" y="53"/>
                  </a:cxn>
                  <a:cxn ang="0">
                    <a:pos x="274" y="38"/>
                  </a:cxn>
                  <a:cxn ang="0">
                    <a:pos x="309" y="36"/>
                  </a:cxn>
                  <a:cxn ang="0">
                    <a:pos x="355" y="15"/>
                  </a:cxn>
                  <a:cxn ang="0">
                    <a:pos x="391" y="13"/>
                  </a:cxn>
                  <a:cxn ang="0">
                    <a:pos x="534" y="0"/>
                  </a:cxn>
                  <a:cxn ang="0">
                    <a:pos x="594" y="48"/>
                  </a:cxn>
                  <a:cxn ang="0">
                    <a:pos x="570" y="75"/>
                  </a:cxn>
                  <a:cxn ang="0">
                    <a:pos x="603" y="102"/>
                  </a:cxn>
                  <a:cxn ang="0">
                    <a:pos x="684" y="66"/>
                  </a:cxn>
                  <a:cxn ang="0">
                    <a:pos x="730" y="51"/>
                  </a:cxn>
                  <a:cxn ang="0">
                    <a:pos x="702" y="94"/>
                  </a:cxn>
                  <a:cxn ang="0">
                    <a:pos x="691" y="114"/>
                  </a:cxn>
                  <a:cxn ang="0">
                    <a:pos x="654" y="150"/>
                  </a:cxn>
                  <a:cxn ang="0">
                    <a:pos x="677" y="178"/>
                  </a:cxn>
                  <a:cxn ang="0">
                    <a:pos x="657" y="202"/>
                  </a:cxn>
                  <a:cxn ang="0">
                    <a:pos x="669" y="236"/>
                  </a:cxn>
                  <a:cxn ang="0">
                    <a:pos x="673" y="260"/>
                  </a:cxn>
                  <a:cxn ang="0">
                    <a:pos x="633" y="295"/>
                  </a:cxn>
                  <a:cxn ang="0">
                    <a:pos x="637" y="305"/>
                  </a:cxn>
                  <a:cxn ang="0">
                    <a:pos x="601" y="297"/>
                  </a:cxn>
                  <a:cxn ang="0">
                    <a:pos x="633" y="358"/>
                  </a:cxn>
                  <a:cxn ang="0">
                    <a:pos x="596" y="347"/>
                  </a:cxn>
                  <a:cxn ang="0">
                    <a:pos x="616" y="375"/>
                  </a:cxn>
                  <a:cxn ang="0">
                    <a:pos x="518" y="408"/>
                  </a:cxn>
                  <a:cxn ang="0">
                    <a:pos x="483" y="445"/>
                  </a:cxn>
                  <a:cxn ang="0">
                    <a:pos x="443" y="449"/>
                  </a:cxn>
                  <a:cxn ang="0">
                    <a:pos x="402" y="485"/>
                  </a:cxn>
                  <a:cxn ang="0">
                    <a:pos x="384" y="523"/>
                  </a:cxn>
                  <a:cxn ang="0">
                    <a:pos x="362" y="571"/>
                  </a:cxn>
                  <a:cxn ang="0">
                    <a:pos x="313" y="560"/>
                  </a:cxn>
                  <a:cxn ang="0">
                    <a:pos x="270" y="499"/>
                  </a:cxn>
                  <a:cxn ang="0">
                    <a:pos x="256" y="475"/>
                  </a:cxn>
                  <a:cxn ang="0">
                    <a:pos x="237" y="438"/>
                  </a:cxn>
                  <a:cxn ang="0">
                    <a:pos x="255" y="403"/>
                  </a:cxn>
                </a:cxnLst>
                <a:rect l="0" t="0" r="r" b="b"/>
                <a:pathLst>
                  <a:path w="756" h="575">
                    <a:moveTo>
                      <a:pt x="255" y="403"/>
                    </a:moveTo>
                    <a:cubicBezTo>
                      <a:pt x="261" y="400"/>
                      <a:pt x="261" y="400"/>
                      <a:pt x="267" y="402"/>
                    </a:cubicBezTo>
                    <a:cubicBezTo>
                      <a:pt x="270" y="389"/>
                      <a:pt x="276" y="385"/>
                      <a:pt x="280" y="372"/>
                    </a:cubicBezTo>
                    <a:cubicBezTo>
                      <a:pt x="266" y="368"/>
                      <a:pt x="234" y="366"/>
                      <a:pt x="233" y="353"/>
                    </a:cubicBezTo>
                    <a:cubicBezTo>
                      <a:pt x="237" y="352"/>
                      <a:pt x="236" y="353"/>
                      <a:pt x="240" y="353"/>
                    </a:cubicBezTo>
                    <a:cubicBezTo>
                      <a:pt x="250" y="353"/>
                      <a:pt x="256" y="360"/>
                      <a:pt x="267" y="360"/>
                    </a:cubicBezTo>
                    <a:cubicBezTo>
                      <a:pt x="271" y="360"/>
                      <a:pt x="271" y="356"/>
                      <a:pt x="271" y="353"/>
                    </a:cubicBezTo>
                    <a:cubicBezTo>
                      <a:pt x="258" y="349"/>
                      <a:pt x="254" y="328"/>
                      <a:pt x="239" y="328"/>
                    </a:cubicBezTo>
                    <a:cubicBezTo>
                      <a:pt x="235" y="328"/>
                      <a:pt x="234" y="336"/>
                      <a:pt x="228" y="336"/>
                    </a:cubicBezTo>
                    <a:cubicBezTo>
                      <a:pt x="220" y="336"/>
                      <a:pt x="216" y="335"/>
                      <a:pt x="216" y="328"/>
                    </a:cubicBezTo>
                    <a:cubicBezTo>
                      <a:pt x="216" y="318"/>
                      <a:pt x="226" y="319"/>
                      <a:pt x="226" y="309"/>
                    </a:cubicBezTo>
                    <a:cubicBezTo>
                      <a:pt x="226" y="303"/>
                      <a:pt x="219" y="302"/>
                      <a:pt x="215" y="302"/>
                    </a:cubicBezTo>
                    <a:cubicBezTo>
                      <a:pt x="215" y="295"/>
                      <a:pt x="215" y="295"/>
                      <a:pt x="215" y="295"/>
                    </a:cubicBezTo>
                    <a:cubicBezTo>
                      <a:pt x="203" y="257"/>
                      <a:pt x="172" y="219"/>
                      <a:pt x="122" y="219"/>
                    </a:cubicBezTo>
                    <a:cubicBezTo>
                      <a:pt x="115" y="219"/>
                      <a:pt x="113" y="219"/>
                      <a:pt x="109" y="219"/>
                    </a:cubicBezTo>
                    <a:cubicBezTo>
                      <a:pt x="103" y="219"/>
                      <a:pt x="101" y="224"/>
                      <a:pt x="95" y="224"/>
                    </a:cubicBezTo>
                    <a:cubicBezTo>
                      <a:pt x="91" y="224"/>
                      <a:pt x="87" y="221"/>
                      <a:pt x="82" y="221"/>
                    </a:cubicBezTo>
                    <a:cubicBezTo>
                      <a:pt x="77" y="221"/>
                      <a:pt x="75" y="222"/>
                      <a:pt x="73" y="223"/>
                    </a:cubicBezTo>
                    <a:cubicBezTo>
                      <a:pt x="74" y="224"/>
                      <a:pt x="76" y="226"/>
                      <a:pt x="77" y="226"/>
                    </a:cubicBezTo>
                    <a:cubicBezTo>
                      <a:pt x="75" y="229"/>
                      <a:pt x="75" y="228"/>
                      <a:pt x="72" y="228"/>
                    </a:cubicBezTo>
                    <a:cubicBezTo>
                      <a:pt x="62" y="228"/>
                      <a:pt x="48" y="224"/>
                      <a:pt x="43" y="217"/>
                    </a:cubicBezTo>
                    <a:cubicBezTo>
                      <a:pt x="47" y="214"/>
                      <a:pt x="50" y="214"/>
                      <a:pt x="52" y="210"/>
                    </a:cubicBezTo>
                    <a:cubicBezTo>
                      <a:pt x="45" y="207"/>
                      <a:pt x="39" y="202"/>
                      <a:pt x="34" y="202"/>
                    </a:cubicBezTo>
                    <a:cubicBezTo>
                      <a:pt x="24" y="202"/>
                      <a:pt x="27" y="206"/>
                      <a:pt x="19" y="202"/>
                    </a:cubicBezTo>
                    <a:cubicBezTo>
                      <a:pt x="19" y="196"/>
                      <a:pt x="28" y="194"/>
                      <a:pt x="32" y="194"/>
                    </a:cubicBezTo>
                    <a:cubicBezTo>
                      <a:pt x="37" y="194"/>
                      <a:pt x="40" y="194"/>
                      <a:pt x="43" y="194"/>
                    </a:cubicBezTo>
                    <a:cubicBezTo>
                      <a:pt x="47" y="194"/>
                      <a:pt x="49" y="193"/>
                      <a:pt x="51" y="190"/>
                    </a:cubicBezTo>
                    <a:cubicBezTo>
                      <a:pt x="76" y="190"/>
                      <a:pt x="76" y="190"/>
                      <a:pt x="76" y="190"/>
                    </a:cubicBezTo>
                    <a:cubicBezTo>
                      <a:pt x="80" y="187"/>
                      <a:pt x="80" y="185"/>
                      <a:pt x="82" y="180"/>
                    </a:cubicBezTo>
                    <a:cubicBezTo>
                      <a:pt x="64" y="180"/>
                      <a:pt x="64" y="180"/>
                      <a:pt x="64" y="180"/>
                    </a:cubicBezTo>
                    <a:cubicBezTo>
                      <a:pt x="63" y="183"/>
                      <a:pt x="62" y="185"/>
                      <a:pt x="60" y="185"/>
                    </a:cubicBezTo>
                    <a:cubicBezTo>
                      <a:pt x="53" y="185"/>
                      <a:pt x="50" y="185"/>
                      <a:pt x="44" y="185"/>
                    </a:cubicBezTo>
                    <a:cubicBezTo>
                      <a:pt x="42" y="185"/>
                      <a:pt x="0" y="173"/>
                      <a:pt x="0" y="166"/>
                    </a:cubicBezTo>
                    <a:cubicBezTo>
                      <a:pt x="0" y="152"/>
                      <a:pt x="16" y="157"/>
                      <a:pt x="25" y="154"/>
                    </a:cubicBezTo>
                    <a:cubicBezTo>
                      <a:pt x="33" y="151"/>
                      <a:pt x="38" y="146"/>
                      <a:pt x="46" y="144"/>
                    </a:cubicBezTo>
                    <a:cubicBezTo>
                      <a:pt x="58" y="140"/>
                      <a:pt x="74" y="146"/>
                      <a:pt x="84" y="141"/>
                    </a:cubicBezTo>
                    <a:cubicBezTo>
                      <a:pt x="91" y="136"/>
                      <a:pt x="96" y="128"/>
                      <a:pt x="96" y="117"/>
                    </a:cubicBezTo>
                    <a:cubicBezTo>
                      <a:pt x="88" y="116"/>
                      <a:pt x="63" y="117"/>
                      <a:pt x="63" y="109"/>
                    </a:cubicBezTo>
                    <a:cubicBezTo>
                      <a:pt x="63" y="105"/>
                      <a:pt x="69" y="102"/>
                      <a:pt x="72" y="102"/>
                    </a:cubicBezTo>
                    <a:cubicBezTo>
                      <a:pt x="87" y="97"/>
                      <a:pt x="106" y="86"/>
                      <a:pt x="115" y="78"/>
                    </a:cubicBezTo>
                    <a:cubicBezTo>
                      <a:pt x="119" y="80"/>
                      <a:pt x="122" y="81"/>
                      <a:pt x="127" y="81"/>
                    </a:cubicBezTo>
                    <a:cubicBezTo>
                      <a:pt x="142" y="81"/>
                      <a:pt x="130" y="61"/>
                      <a:pt x="144" y="59"/>
                    </a:cubicBezTo>
                    <a:cubicBezTo>
                      <a:pt x="162" y="57"/>
                      <a:pt x="169" y="52"/>
                      <a:pt x="185" y="52"/>
                    </a:cubicBezTo>
                    <a:cubicBezTo>
                      <a:pt x="198" y="49"/>
                      <a:pt x="206" y="42"/>
                      <a:pt x="218" y="42"/>
                    </a:cubicBezTo>
                    <a:cubicBezTo>
                      <a:pt x="226" y="42"/>
                      <a:pt x="229" y="56"/>
                      <a:pt x="237" y="56"/>
                    </a:cubicBezTo>
                    <a:cubicBezTo>
                      <a:pt x="237" y="52"/>
                      <a:pt x="235" y="50"/>
                      <a:pt x="235" y="47"/>
                    </a:cubicBezTo>
                    <a:cubicBezTo>
                      <a:pt x="239" y="42"/>
                      <a:pt x="239" y="42"/>
                      <a:pt x="239" y="42"/>
                    </a:cubicBezTo>
                    <a:cubicBezTo>
                      <a:pt x="244" y="51"/>
                      <a:pt x="252" y="50"/>
                      <a:pt x="260" y="53"/>
                    </a:cubicBezTo>
                    <a:cubicBezTo>
                      <a:pt x="262" y="53"/>
                      <a:pt x="267" y="53"/>
                      <a:pt x="267" y="53"/>
                    </a:cubicBezTo>
                    <a:cubicBezTo>
                      <a:pt x="266" y="50"/>
                      <a:pt x="263" y="47"/>
                      <a:pt x="263" y="44"/>
                    </a:cubicBezTo>
                    <a:cubicBezTo>
                      <a:pt x="263" y="38"/>
                      <a:pt x="270" y="38"/>
                      <a:pt x="274" y="38"/>
                    </a:cubicBezTo>
                    <a:cubicBezTo>
                      <a:pt x="293" y="38"/>
                      <a:pt x="303" y="48"/>
                      <a:pt x="314" y="53"/>
                    </a:cubicBezTo>
                    <a:cubicBezTo>
                      <a:pt x="334" y="53"/>
                      <a:pt x="334" y="53"/>
                      <a:pt x="334" y="53"/>
                    </a:cubicBezTo>
                    <a:cubicBezTo>
                      <a:pt x="327" y="50"/>
                      <a:pt x="309" y="44"/>
                      <a:pt x="309" y="36"/>
                    </a:cubicBezTo>
                    <a:cubicBezTo>
                      <a:pt x="309" y="29"/>
                      <a:pt x="322" y="31"/>
                      <a:pt x="326" y="30"/>
                    </a:cubicBezTo>
                    <a:cubicBezTo>
                      <a:pt x="323" y="27"/>
                      <a:pt x="320" y="27"/>
                      <a:pt x="318" y="24"/>
                    </a:cubicBezTo>
                    <a:cubicBezTo>
                      <a:pt x="330" y="18"/>
                      <a:pt x="341" y="15"/>
                      <a:pt x="355" y="15"/>
                    </a:cubicBezTo>
                    <a:cubicBezTo>
                      <a:pt x="366" y="15"/>
                      <a:pt x="373" y="15"/>
                      <a:pt x="382" y="18"/>
                    </a:cubicBezTo>
                    <a:cubicBezTo>
                      <a:pt x="391" y="18"/>
                      <a:pt x="391" y="18"/>
                      <a:pt x="391" y="18"/>
                    </a:cubicBezTo>
                    <a:cubicBezTo>
                      <a:pt x="391" y="13"/>
                      <a:pt x="391" y="13"/>
                      <a:pt x="391" y="13"/>
                    </a:cubicBezTo>
                    <a:cubicBezTo>
                      <a:pt x="398" y="12"/>
                      <a:pt x="402" y="13"/>
                      <a:pt x="409" y="13"/>
                    </a:cubicBezTo>
                    <a:cubicBezTo>
                      <a:pt x="430" y="13"/>
                      <a:pt x="447" y="0"/>
                      <a:pt x="470" y="0"/>
                    </a:cubicBezTo>
                    <a:cubicBezTo>
                      <a:pt x="495" y="0"/>
                      <a:pt x="512" y="0"/>
                      <a:pt x="534" y="0"/>
                    </a:cubicBezTo>
                    <a:cubicBezTo>
                      <a:pt x="560" y="0"/>
                      <a:pt x="579" y="17"/>
                      <a:pt x="600" y="26"/>
                    </a:cubicBezTo>
                    <a:cubicBezTo>
                      <a:pt x="612" y="31"/>
                      <a:pt x="627" y="28"/>
                      <a:pt x="638" y="30"/>
                    </a:cubicBezTo>
                    <a:cubicBezTo>
                      <a:pt x="636" y="46"/>
                      <a:pt x="606" y="44"/>
                      <a:pt x="594" y="48"/>
                    </a:cubicBezTo>
                    <a:cubicBezTo>
                      <a:pt x="497" y="53"/>
                      <a:pt x="497" y="53"/>
                      <a:pt x="497" y="53"/>
                    </a:cubicBezTo>
                    <a:cubicBezTo>
                      <a:pt x="505" y="59"/>
                      <a:pt x="579" y="50"/>
                      <a:pt x="587" y="53"/>
                    </a:cubicBezTo>
                    <a:cubicBezTo>
                      <a:pt x="586" y="57"/>
                      <a:pt x="567" y="75"/>
                      <a:pt x="570" y="75"/>
                    </a:cubicBezTo>
                    <a:cubicBezTo>
                      <a:pt x="581" y="75"/>
                      <a:pt x="607" y="50"/>
                      <a:pt x="622" y="50"/>
                    </a:cubicBezTo>
                    <a:cubicBezTo>
                      <a:pt x="630" y="50"/>
                      <a:pt x="633" y="57"/>
                      <a:pt x="633" y="64"/>
                    </a:cubicBezTo>
                    <a:cubicBezTo>
                      <a:pt x="633" y="67"/>
                      <a:pt x="605" y="97"/>
                      <a:pt x="603" y="102"/>
                    </a:cubicBezTo>
                    <a:cubicBezTo>
                      <a:pt x="615" y="99"/>
                      <a:pt x="637" y="70"/>
                      <a:pt x="644" y="64"/>
                    </a:cubicBezTo>
                    <a:cubicBezTo>
                      <a:pt x="655" y="64"/>
                      <a:pt x="674" y="64"/>
                      <a:pt x="674" y="64"/>
                    </a:cubicBezTo>
                    <a:cubicBezTo>
                      <a:pt x="674" y="64"/>
                      <a:pt x="682" y="66"/>
                      <a:pt x="684" y="66"/>
                    </a:cubicBezTo>
                    <a:cubicBezTo>
                      <a:pt x="692" y="63"/>
                      <a:pt x="693" y="60"/>
                      <a:pt x="700" y="57"/>
                    </a:cubicBezTo>
                    <a:cubicBezTo>
                      <a:pt x="721" y="57"/>
                      <a:pt x="721" y="57"/>
                      <a:pt x="721" y="57"/>
                    </a:cubicBezTo>
                    <a:cubicBezTo>
                      <a:pt x="723" y="52"/>
                      <a:pt x="726" y="51"/>
                      <a:pt x="730" y="51"/>
                    </a:cubicBezTo>
                    <a:cubicBezTo>
                      <a:pt x="736" y="51"/>
                      <a:pt x="756" y="61"/>
                      <a:pt x="756" y="67"/>
                    </a:cubicBezTo>
                    <a:cubicBezTo>
                      <a:pt x="756" y="72"/>
                      <a:pt x="748" y="76"/>
                      <a:pt x="745" y="77"/>
                    </a:cubicBezTo>
                    <a:cubicBezTo>
                      <a:pt x="731" y="82"/>
                      <a:pt x="722" y="94"/>
                      <a:pt x="702" y="94"/>
                    </a:cubicBezTo>
                    <a:cubicBezTo>
                      <a:pt x="707" y="97"/>
                      <a:pt x="708" y="97"/>
                      <a:pt x="711" y="94"/>
                    </a:cubicBezTo>
                    <a:cubicBezTo>
                      <a:pt x="711" y="107"/>
                      <a:pt x="699" y="107"/>
                      <a:pt x="691" y="109"/>
                    </a:cubicBezTo>
                    <a:cubicBezTo>
                      <a:pt x="694" y="115"/>
                      <a:pt x="691" y="110"/>
                      <a:pt x="691" y="114"/>
                    </a:cubicBezTo>
                    <a:cubicBezTo>
                      <a:pt x="691" y="121"/>
                      <a:pt x="680" y="123"/>
                      <a:pt x="671" y="125"/>
                    </a:cubicBezTo>
                    <a:cubicBezTo>
                      <a:pt x="672" y="130"/>
                      <a:pt x="671" y="130"/>
                      <a:pt x="671" y="132"/>
                    </a:cubicBezTo>
                    <a:cubicBezTo>
                      <a:pt x="671" y="141"/>
                      <a:pt x="662" y="144"/>
                      <a:pt x="654" y="150"/>
                    </a:cubicBezTo>
                    <a:cubicBezTo>
                      <a:pt x="648" y="154"/>
                      <a:pt x="649" y="165"/>
                      <a:pt x="646" y="169"/>
                    </a:cubicBezTo>
                    <a:cubicBezTo>
                      <a:pt x="651" y="172"/>
                      <a:pt x="655" y="169"/>
                      <a:pt x="659" y="169"/>
                    </a:cubicBezTo>
                    <a:cubicBezTo>
                      <a:pt x="667" y="169"/>
                      <a:pt x="673" y="174"/>
                      <a:pt x="677" y="178"/>
                    </a:cubicBezTo>
                    <a:cubicBezTo>
                      <a:pt x="675" y="179"/>
                      <a:pt x="672" y="180"/>
                      <a:pt x="669" y="180"/>
                    </a:cubicBezTo>
                    <a:cubicBezTo>
                      <a:pt x="671" y="187"/>
                      <a:pt x="688" y="185"/>
                      <a:pt x="688" y="196"/>
                    </a:cubicBezTo>
                    <a:cubicBezTo>
                      <a:pt x="688" y="206"/>
                      <a:pt x="665" y="202"/>
                      <a:pt x="657" y="202"/>
                    </a:cubicBezTo>
                    <a:cubicBezTo>
                      <a:pt x="652" y="202"/>
                      <a:pt x="648" y="206"/>
                      <a:pt x="648" y="209"/>
                    </a:cubicBezTo>
                    <a:cubicBezTo>
                      <a:pt x="648" y="217"/>
                      <a:pt x="656" y="217"/>
                      <a:pt x="663" y="217"/>
                    </a:cubicBezTo>
                    <a:cubicBezTo>
                      <a:pt x="663" y="226"/>
                      <a:pt x="669" y="229"/>
                      <a:pt x="669" y="236"/>
                    </a:cubicBezTo>
                    <a:cubicBezTo>
                      <a:pt x="669" y="239"/>
                      <a:pt x="667" y="243"/>
                      <a:pt x="669" y="245"/>
                    </a:cubicBezTo>
                    <a:cubicBezTo>
                      <a:pt x="662" y="245"/>
                      <a:pt x="655" y="245"/>
                      <a:pt x="655" y="251"/>
                    </a:cubicBezTo>
                    <a:cubicBezTo>
                      <a:pt x="655" y="258"/>
                      <a:pt x="667" y="258"/>
                      <a:pt x="673" y="260"/>
                    </a:cubicBezTo>
                    <a:cubicBezTo>
                      <a:pt x="670" y="267"/>
                      <a:pt x="661" y="271"/>
                      <a:pt x="653" y="272"/>
                    </a:cubicBezTo>
                    <a:cubicBezTo>
                      <a:pt x="653" y="275"/>
                      <a:pt x="655" y="277"/>
                      <a:pt x="657" y="278"/>
                    </a:cubicBezTo>
                    <a:cubicBezTo>
                      <a:pt x="654" y="292"/>
                      <a:pt x="637" y="286"/>
                      <a:pt x="633" y="295"/>
                    </a:cubicBezTo>
                    <a:cubicBezTo>
                      <a:pt x="628" y="292"/>
                      <a:pt x="623" y="290"/>
                      <a:pt x="620" y="285"/>
                    </a:cubicBezTo>
                    <a:cubicBezTo>
                      <a:pt x="613" y="285"/>
                      <a:pt x="613" y="285"/>
                      <a:pt x="613" y="285"/>
                    </a:cubicBezTo>
                    <a:cubicBezTo>
                      <a:pt x="618" y="297"/>
                      <a:pt x="637" y="293"/>
                      <a:pt x="637" y="305"/>
                    </a:cubicBezTo>
                    <a:cubicBezTo>
                      <a:pt x="637" y="310"/>
                      <a:pt x="636" y="317"/>
                      <a:pt x="631" y="317"/>
                    </a:cubicBezTo>
                    <a:cubicBezTo>
                      <a:pt x="623" y="317"/>
                      <a:pt x="609" y="306"/>
                      <a:pt x="607" y="297"/>
                    </a:cubicBezTo>
                    <a:cubicBezTo>
                      <a:pt x="603" y="298"/>
                      <a:pt x="602" y="297"/>
                      <a:pt x="601" y="297"/>
                    </a:cubicBezTo>
                    <a:cubicBezTo>
                      <a:pt x="601" y="304"/>
                      <a:pt x="601" y="304"/>
                      <a:pt x="601" y="304"/>
                    </a:cubicBezTo>
                    <a:cubicBezTo>
                      <a:pt x="617" y="320"/>
                      <a:pt x="645" y="327"/>
                      <a:pt x="645" y="352"/>
                    </a:cubicBezTo>
                    <a:cubicBezTo>
                      <a:pt x="645" y="357"/>
                      <a:pt x="638" y="358"/>
                      <a:pt x="633" y="358"/>
                    </a:cubicBezTo>
                    <a:cubicBezTo>
                      <a:pt x="612" y="358"/>
                      <a:pt x="617" y="336"/>
                      <a:pt x="599" y="336"/>
                    </a:cubicBezTo>
                    <a:cubicBezTo>
                      <a:pt x="596" y="336"/>
                      <a:pt x="594" y="337"/>
                      <a:pt x="592" y="336"/>
                    </a:cubicBezTo>
                    <a:cubicBezTo>
                      <a:pt x="592" y="342"/>
                      <a:pt x="596" y="343"/>
                      <a:pt x="596" y="347"/>
                    </a:cubicBezTo>
                    <a:cubicBezTo>
                      <a:pt x="596" y="351"/>
                      <a:pt x="589" y="352"/>
                      <a:pt x="587" y="352"/>
                    </a:cubicBezTo>
                    <a:cubicBezTo>
                      <a:pt x="587" y="366"/>
                      <a:pt x="626" y="364"/>
                      <a:pt x="635" y="367"/>
                    </a:cubicBezTo>
                    <a:cubicBezTo>
                      <a:pt x="629" y="372"/>
                      <a:pt x="624" y="373"/>
                      <a:pt x="616" y="375"/>
                    </a:cubicBezTo>
                    <a:cubicBezTo>
                      <a:pt x="602" y="380"/>
                      <a:pt x="597" y="393"/>
                      <a:pt x="584" y="397"/>
                    </a:cubicBezTo>
                    <a:cubicBezTo>
                      <a:pt x="569" y="402"/>
                      <a:pt x="556" y="400"/>
                      <a:pt x="539" y="408"/>
                    </a:cubicBezTo>
                    <a:cubicBezTo>
                      <a:pt x="518" y="408"/>
                      <a:pt x="518" y="408"/>
                      <a:pt x="518" y="408"/>
                    </a:cubicBezTo>
                    <a:cubicBezTo>
                      <a:pt x="514" y="410"/>
                      <a:pt x="510" y="412"/>
                      <a:pt x="510" y="415"/>
                    </a:cubicBezTo>
                    <a:cubicBezTo>
                      <a:pt x="498" y="423"/>
                      <a:pt x="498" y="423"/>
                      <a:pt x="498" y="423"/>
                    </a:cubicBezTo>
                    <a:cubicBezTo>
                      <a:pt x="490" y="430"/>
                      <a:pt x="490" y="438"/>
                      <a:pt x="483" y="445"/>
                    </a:cubicBezTo>
                    <a:cubicBezTo>
                      <a:pt x="474" y="454"/>
                      <a:pt x="459" y="452"/>
                      <a:pt x="450" y="458"/>
                    </a:cubicBezTo>
                    <a:cubicBezTo>
                      <a:pt x="443" y="458"/>
                      <a:pt x="443" y="458"/>
                      <a:pt x="443" y="458"/>
                    </a:cubicBezTo>
                    <a:cubicBezTo>
                      <a:pt x="443" y="449"/>
                      <a:pt x="443" y="449"/>
                      <a:pt x="443" y="449"/>
                    </a:cubicBezTo>
                    <a:cubicBezTo>
                      <a:pt x="437" y="452"/>
                      <a:pt x="438" y="457"/>
                      <a:pt x="435" y="460"/>
                    </a:cubicBezTo>
                    <a:cubicBezTo>
                      <a:pt x="425" y="470"/>
                      <a:pt x="401" y="466"/>
                      <a:pt x="401" y="480"/>
                    </a:cubicBezTo>
                    <a:cubicBezTo>
                      <a:pt x="401" y="482"/>
                      <a:pt x="402" y="483"/>
                      <a:pt x="402" y="485"/>
                    </a:cubicBezTo>
                    <a:cubicBezTo>
                      <a:pt x="401" y="486"/>
                      <a:pt x="399" y="488"/>
                      <a:pt x="399" y="490"/>
                    </a:cubicBezTo>
                    <a:cubicBezTo>
                      <a:pt x="399" y="493"/>
                      <a:pt x="405" y="495"/>
                      <a:pt x="405" y="500"/>
                    </a:cubicBezTo>
                    <a:cubicBezTo>
                      <a:pt x="405" y="515"/>
                      <a:pt x="384" y="510"/>
                      <a:pt x="384" y="523"/>
                    </a:cubicBezTo>
                    <a:cubicBezTo>
                      <a:pt x="384" y="531"/>
                      <a:pt x="383" y="543"/>
                      <a:pt x="384" y="547"/>
                    </a:cubicBezTo>
                    <a:cubicBezTo>
                      <a:pt x="374" y="552"/>
                      <a:pt x="379" y="575"/>
                      <a:pt x="367" y="575"/>
                    </a:cubicBezTo>
                    <a:cubicBezTo>
                      <a:pt x="364" y="575"/>
                      <a:pt x="363" y="573"/>
                      <a:pt x="362" y="571"/>
                    </a:cubicBezTo>
                    <a:cubicBezTo>
                      <a:pt x="356" y="571"/>
                      <a:pt x="356" y="574"/>
                      <a:pt x="353" y="574"/>
                    </a:cubicBezTo>
                    <a:cubicBezTo>
                      <a:pt x="342" y="574"/>
                      <a:pt x="343" y="554"/>
                      <a:pt x="332" y="554"/>
                    </a:cubicBezTo>
                    <a:cubicBezTo>
                      <a:pt x="326" y="554"/>
                      <a:pt x="319" y="559"/>
                      <a:pt x="313" y="560"/>
                    </a:cubicBezTo>
                    <a:cubicBezTo>
                      <a:pt x="310" y="550"/>
                      <a:pt x="306" y="553"/>
                      <a:pt x="299" y="547"/>
                    </a:cubicBezTo>
                    <a:cubicBezTo>
                      <a:pt x="296" y="546"/>
                      <a:pt x="297" y="539"/>
                      <a:pt x="296" y="539"/>
                    </a:cubicBezTo>
                    <a:cubicBezTo>
                      <a:pt x="287" y="531"/>
                      <a:pt x="270" y="512"/>
                      <a:pt x="270" y="499"/>
                    </a:cubicBezTo>
                    <a:cubicBezTo>
                      <a:pt x="270" y="493"/>
                      <a:pt x="274" y="494"/>
                      <a:pt x="277" y="490"/>
                    </a:cubicBezTo>
                    <a:cubicBezTo>
                      <a:pt x="270" y="482"/>
                      <a:pt x="268" y="493"/>
                      <a:pt x="260" y="489"/>
                    </a:cubicBezTo>
                    <a:cubicBezTo>
                      <a:pt x="259" y="487"/>
                      <a:pt x="257" y="479"/>
                      <a:pt x="256" y="475"/>
                    </a:cubicBezTo>
                    <a:cubicBezTo>
                      <a:pt x="253" y="466"/>
                      <a:pt x="241" y="461"/>
                      <a:pt x="241" y="449"/>
                    </a:cubicBezTo>
                    <a:cubicBezTo>
                      <a:pt x="241" y="445"/>
                      <a:pt x="244" y="443"/>
                      <a:pt x="246" y="438"/>
                    </a:cubicBezTo>
                    <a:cubicBezTo>
                      <a:pt x="243" y="437"/>
                      <a:pt x="240" y="436"/>
                      <a:pt x="237" y="438"/>
                    </a:cubicBezTo>
                    <a:cubicBezTo>
                      <a:pt x="237" y="428"/>
                      <a:pt x="237" y="428"/>
                      <a:pt x="237" y="428"/>
                    </a:cubicBezTo>
                    <a:cubicBezTo>
                      <a:pt x="243" y="420"/>
                      <a:pt x="246" y="411"/>
                      <a:pt x="255" y="404"/>
                    </a:cubicBezTo>
                    <a:lnTo>
                      <a:pt x="255" y="4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69" name="Freeform 89"/>
              <p:cNvSpPr>
                <a:spLocks/>
              </p:cNvSpPr>
              <p:nvPr/>
            </p:nvSpPr>
            <p:spPr bwMode="auto">
              <a:xfrm>
                <a:off x="3470275" y="1443038"/>
                <a:ext cx="47625" cy="31750"/>
              </a:xfrm>
              <a:custGeom>
                <a:avLst/>
                <a:gdLst/>
                <a:ahLst/>
                <a:cxnLst>
                  <a:cxn ang="0">
                    <a:pos x="9" y="24"/>
                  </a:cxn>
                  <a:cxn ang="0">
                    <a:pos x="0" y="9"/>
                  </a:cxn>
                  <a:cxn ang="0">
                    <a:pos x="10" y="0"/>
                  </a:cxn>
                  <a:cxn ang="0">
                    <a:pos x="36" y="16"/>
                  </a:cxn>
                  <a:cxn ang="0">
                    <a:pos x="19" y="24"/>
                  </a:cxn>
                  <a:cxn ang="0">
                    <a:pos x="9" y="24"/>
                  </a:cxn>
                </a:cxnLst>
                <a:rect l="0" t="0" r="r" b="b"/>
                <a:pathLst>
                  <a:path w="36" h="24">
                    <a:moveTo>
                      <a:pt x="9" y="24"/>
                    </a:moveTo>
                    <a:cubicBezTo>
                      <a:pt x="5" y="24"/>
                      <a:pt x="0" y="14"/>
                      <a:pt x="0" y="9"/>
                    </a:cubicBezTo>
                    <a:cubicBezTo>
                      <a:pt x="0" y="2"/>
                      <a:pt x="6" y="0"/>
                      <a:pt x="10" y="0"/>
                    </a:cubicBezTo>
                    <a:cubicBezTo>
                      <a:pt x="21" y="0"/>
                      <a:pt x="25" y="12"/>
                      <a:pt x="36" y="16"/>
                    </a:cubicBezTo>
                    <a:cubicBezTo>
                      <a:pt x="35" y="23"/>
                      <a:pt x="26" y="24"/>
                      <a:pt x="19" y="24"/>
                    </a:cubicBezTo>
                    <a:lnTo>
                      <a:pt x="9"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0" name="Freeform 90"/>
              <p:cNvSpPr>
                <a:spLocks/>
              </p:cNvSpPr>
              <p:nvPr/>
            </p:nvSpPr>
            <p:spPr bwMode="auto">
              <a:xfrm>
                <a:off x="4070350" y="1277938"/>
                <a:ext cx="26988" cy="15875"/>
              </a:xfrm>
              <a:custGeom>
                <a:avLst/>
                <a:gdLst/>
                <a:ahLst/>
                <a:cxnLst>
                  <a:cxn ang="0">
                    <a:pos x="6" y="12"/>
                  </a:cxn>
                  <a:cxn ang="0">
                    <a:pos x="0" y="5"/>
                  </a:cxn>
                  <a:cxn ang="0">
                    <a:pos x="4" y="0"/>
                  </a:cxn>
                  <a:cxn ang="0">
                    <a:pos x="12" y="0"/>
                  </a:cxn>
                  <a:cxn ang="0">
                    <a:pos x="12" y="5"/>
                  </a:cxn>
                  <a:cxn ang="0">
                    <a:pos x="20" y="5"/>
                  </a:cxn>
                  <a:cxn ang="0">
                    <a:pos x="6" y="12"/>
                  </a:cxn>
                </a:cxnLst>
                <a:rect l="0" t="0" r="r" b="b"/>
                <a:pathLst>
                  <a:path w="20" h="12">
                    <a:moveTo>
                      <a:pt x="6" y="12"/>
                    </a:moveTo>
                    <a:cubicBezTo>
                      <a:pt x="2" y="12"/>
                      <a:pt x="0" y="8"/>
                      <a:pt x="0" y="5"/>
                    </a:cubicBezTo>
                    <a:cubicBezTo>
                      <a:pt x="0" y="3"/>
                      <a:pt x="3" y="1"/>
                      <a:pt x="4" y="0"/>
                    </a:cubicBezTo>
                    <a:cubicBezTo>
                      <a:pt x="12" y="0"/>
                      <a:pt x="12" y="0"/>
                      <a:pt x="12" y="0"/>
                    </a:cubicBezTo>
                    <a:cubicBezTo>
                      <a:pt x="12" y="3"/>
                      <a:pt x="12" y="4"/>
                      <a:pt x="12" y="5"/>
                    </a:cubicBezTo>
                    <a:cubicBezTo>
                      <a:pt x="20" y="5"/>
                      <a:pt x="20" y="5"/>
                      <a:pt x="20" y="5"/>
                    </a:cubicBezTo>
                    <a:cubicBezTo>
                      <a:pt x="17" y="7"/>
                      <a:pt x="10" y="12"/>
                      <a:pt x="6"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1" name="Freeform 91"/>
              <p:cNvSpPr>
                <a:spLocks/>
              </p:cNvSpPr>
              <p:nvPr/>
            </p:nvSpPr>
            <p:spPr bwMode="auto">
              <a:xfrm>
                <a:off x="3397250" y="1928813"/>
                <a:ext cx="109538" cy="106363"/>
              </a:xfrm>
              <a:custGeom>
                <a:avLst/>
                <a:gdLst/>
                <a:ahLst/>
                <a:cxnLst>
                  <a:cxn ang="0">
                    <a:pos x="4" y="67"/>
                  </a:cxn>
                  <a:cxn ang="0">
                    <a:pos x="0" y="62"/>
                  </a:cxn>
                  <a:cxn ang="0">
                    <a:pos x="8" y="54"/>
                  </a:cxn>
                  <a:cxn ang="0">
                    <a:pos x="8" y="51"/>
                  </a:cxn>
                  <a:cxn ang="0">
                    <a:pos x="4" y="49"/>
                  </a:cxn>
                  <a:cxn ang="0">
                    <a:pos x="28" y="13"/>
                  </a:cxn>
                  <a:cxn ang="0">
                    <a:pos x="41" y="0"/>
                  </a:cxn>
                  <a:cxn ang="0">
                    <a:pos x="44" y="4"/>
                  </a:cxn>
                  <a:cxn ang="0">
                    <a:pos x="32" y="27"/>
                  </a:cxn>
                  <a:cxn ang="0">
                    <a:pos x="32" y="31"/>
                  </a:cxn>
                  <a:cxn ang="0">
                    <a:pos x="39" y="27"/>
                  </a:cxn>
                  <a:cxn ang="0">
                    <a:pos x="46" y="29"/>
                  </a:cxn>
                  <a:cxn ang="0">
                    <a:pos x="44" y="32"/>
                  </a:cxn>
                  <a:cxn ang="0">
                    <a:pos x="44" y="36"/>
                  </a:cxn>
                  <a:cxn ang="0">
                    <a:pos x="52" y="36"/>
                  </a:cxn>
                  <a:cxn ang="0">
                    <a:pos x="52" y="38"/>
                  </a:cxn>
                  <a:cxn ang="0">
                    <a:pos x="57" y="36"/>
                  </a:cxn>
                  <a:cxn ang="0">
                    <a:pos x="70" y="36"/>
                  </a:cxn>
                  <a:cxn ang="0">
                    <a:pos x="69" y="51"/>
                  </a:cxn>
                  <a:cxn ang="0">
                    <a:pos x="74" y="49"/>
                  </a:cxn>
                  <a:cxn ang="0">
                    <a:pos x="70" y="56"/>
                  </a:cxn>
                  <a:cxn ang="0">
                    <a:pos x="73" y="63"/>
                  </a:cxn>
                  <a:cxn ang="0">
                    <a:pos x="79" y="60"/>
                  </a:cxn>
                  <a:cxn ang="0">
                    <a:pos x="82" y="70"/>
                  </a:cxn>
                  <a:cxn ang="0">
                    <a:pos x="75" y="80"/>
                  </a:cxn>
                  <a:cxn ang="0">
                    <a:pos x="71" y="75"/>
                  </a:cxn>
                  <a:cxn ang="0">
                    <a:pos x="67" y="74"/>
                  </a:cxn>
                  <a:cxn ang="0">
                    <a:pos x="63" y="62"/>
                  </a:cxn>
                  <a:cxn ang="0">
                    <a:pos x="50" y="74"/>
                  </a:cxn>
                  <a:cxn ang="0">
                    <a:pos x="47" y="74"/>
                  </a:cxn>
                  <a:cxn ang="0">
                    <a:pos x="52" y="67"/>
                  </a:cxn>
                  <a:cxn ang="0">
                    <a:pos x="40" y="65"/>
                  </a:cxn>
                  <a:cxn ang="0">
                    <a:pos x="31" y="67"/>
                  </a:cxn>
                  <a:cxn ang="0">
                    <a:pos x="18" y="64"/>
                  </a:cxn>
                  <a:cxn ang="0">
                    <a:pos x="4" y="67"/>
                  </a:cxn>
                </a:cxnLst>
                <a:rect l="0" t="0" r="r" b="b"/>
                <a:pathLst>
                  <a:path w="82" h="80">
                    <a:moveTo>
                      <a:pt x="4" y="67"/>
                    </a:moveTo>
                    <a:cubicBezTo>
                      <a:pt x="2" y="67"/>
                      <a:pt x="0" y="64"/>
                      <a:pt x="0" y="62"/>
                    </a:cubicBezTo>
                    <a:cubicBezTo>
                      <a:pt x="0" y="61"/>
                      <a:pt x="8" y="55"/>
                      <a:pt x="8" y="54"/>
                    </a:cubicBezTo>
                    <a:cubicBezTo>
                      <a:pt x="8" y="51"/>
                      <a:pt x="8" y="51"/>
                      <a:pt x="8" y="51"/>
                    </a:cubicBezTo>
                    <a:cubicBezTo>
                      <a:pt x="6" y="51"/>
                      <a:pt x="5" y="51"/>
                      <a:pt x="4" y="49"/>
                    </a:cubicBezTo>
                    <a:cubicBezTo>
                      <a:pt x="17" y="43"/>
                      <a:pt x="21" y="23"/>
                      <a:pt x="28" y="13"/>
                    </a:cubicBezTo>
                    <a:cubicBezTo>
                      <a:pt x="32" y="7"/>
                      <a:pt x="34" y="0"/>
                      <a:pt x="41" y="0"/>
                    </a:cubicBezTo>
                    <a:cubicBezTo>
                      <a:pt x="43" y="0"/>
                      <a:pt x="44" y="3"/>
                      <a:pt x="44" y="4"/>
                    </a:cubicBezTo>
                    <a:cubicBezTo>
                      <a:pt x="44" y="14"/>
                      <a:pt x="35" y="19"/>
                      <a:pt x="32" y="27"/>
                    </a:cubicBezTo>
                    <a:cubicBezTo>
                      <a:pt x="32" y="31"/>
                      <a:pt x="32" y="31"/>
                      <a:pt x="32" y="31"/>
                    </a:cubicBezTo>
                    <a:cubicBezTo>
                      <a:pt x="36" y="30"/>
                      <a:pt x="36" y="27"/>
                      <a:pt x="39" y="27"/>
                    </a:cubicBezTo>
                    <a:cubicBezTo>
                      <a:pt x="42" y="27"/>
                      <a:pt x="44" y="28"/>
                      <a:pt x="46" y="29"/>
                    </a:cubicBezTo>
                    <a:cubicBezTo>
                      <a:pt x="44" y="32"/>
                      <a:pt x="44" y="32"/>
                      <a:pt x="44" y="32"/>
                    </a:cubicBezTo>
                    <a:cubicBezTo>
                      <a:pt x="44" y="36"/>
                      <a:pt x="44" y="36"/>
                      <a:pt x="44" y="36"/>
                    </a:cubicBezTo>
                    <a:cubicBezTo>
                      <a:pt x="52" y="36"/>
                      <a:pt x="52" y="36"/>
                      <a:pt x="52" y="36"/>
                    </a:cubicBezTo>
                    <a:cubicBezTo>
                      <a:pt x="52" y="36"/>
                      <a:pt x="52" y="38"/>
                      <a:pt x="52" y="38"/>
                    </a:cubicBezTo>
                    <a:cubicBezTo>
                      <a:pt x="57" y="36"/>
                      <a:pt x="57" y="36"/>
                      <a:pt x="57" y="36"/>
                    </a:cubicBezTo>
                    <a:cubicBezTo>
                      <a:pt x="62" y="37"/>
                      <a:pt x="68" y="37"/>
                      <a:pt x="70" y="36"/>
                    </a:cubicBezTo>
                    <a:cubicBezTo>
                      <a:pt x="70" y="40"/>
                      <a:pt x="69" y="44"/>
                      <a:pt x="69" y="51"/>
                    </a:cubicBezTo>
                    <a:cubicBezTo>
                      <a:pt x="70" y="50"/>
                      <a:pt x="73" y="49"/>
                      <a:pt x="74" y="49"/>
                    </a:cubicBezTo>
                    <a:cubicBezTo>
                      <a:pt x="74" y="53"/>
                      <a:pt x="70" y="54"/>
                      <a:pt x="70" y="56"/>
                    </a:cubicBezTo>
                    <a:cubicBezTo>
                      <a:pt x="70" y="58"/>
                      <a:pt x="73" y="60"/>
                      <a:pt x="73" y="63"/>
                    </a:cubicBezTo>
                    <a:cubicBezTo>
                      <a:pt x="77" y="63"/>
                      <a:pt x="76" y="62"/>
                      <a:pt x="79" y="60"/>
                    </a:cubicBezTo>
                    <a:cubicBezTo>
                      <a:pt x="79" y="66"/>
                      <a:pt x="82" y="65"/>
                      <a:pt x="82" y="70"/>
                    </a:cubicBezTo>
                    <a:cubicBezTo>
                      <a:pt x="82" y="75"/>
                      <a:pt x="79" y="80"/>
                      <a:pt x="75" y="80"/>
                    </a:cubicBezTo>
                    <a:cubicBezTo>
                      <a:pt x="72" y="80"/>
                      <a:pt x="71" y="77"/>
                      <a:pt x="71" y="75"/>
                    </a:cubicBezTo>
                    <a:cubicBezTo>
                      <a:pt x="69" y="75"/>
                      <a:pt x="69" y="74"/>
                      <a:pt x="67" y="74"/>
                    </a:cubicBezTo>
                    <a:cubicBezTo>
                      <a:pt x="64" y="74"/>
                      <a:pt x="66" y="66"/>
                      <a:pt x="63" y="62"/>
                    </a:cubicBezTo>
                    <a:cubicBezTo>
                      <a:pt x="59" y="67"/>
                      <a:pt x="55" y="74"/>
                      <a:pt x="50" y="74"/>
                    </a:cubicBezTo>
                    <a:cubicBezTo>
                      <a:pt x="49" y="74"/>
                      <a:pt x="47" y="75"/>
                      <a:pt x="47" y="74"/>
                    </a:cubicBezTo>
                    <a:cubicBezTo>
                      <a:pt x="47" y="70"/>
                      <a:pt x="51" y="70"/>
                      <a:pt x="52" y="67"/>
                    </a:cubicBezTo>
                    <a:cubicBezTo>
                      <a:pt x="48" y="67"/>
                      <a:pt x="42" y="70"/>
                      <a:pt x="40" y="65"/>
                    </a:cubicBezTo>
                    <a:cubicBezTo>
                      <a:pt x="37" y="66"/>
                      <a:pt x="34" y="67"/>
                      <a:pt x="31" y="67"/>
                    </a:cubicBezTo>
                    <a:cubicBezTo>
                      <a:pt x="25" y="67"/>
                      <a:pt x="23" y="64"/>
                      <a:pt x="18" y="64"/>
                    </a:cubicBezTo>
                    <a:cubicBezTo>
                      <a:pt x="11" y="64"/>
                      <a:pt x="9" y="67"/>
                      <a:pt x="4" y="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2" name="Freeform 92"/>
              <p:cNvSpPr>
                <a:spLocks/>
              </p:cNvSpPr>
              <p:nvPr/>
            </p:nvSpPr>
            <p:spPr bwMode="auto">
              <a:xfrm>
                <a:off x="2427288" y="2314575"/>
                <a:ext cx="671513" cy="450850"/>
              </a:xfrm>
              <a:custGeom>
                <a:avLst/>
                <a:gdLst/>
                <a:ahLst/>
                <a:cxnLst>
                  <a:cxn ang="0">
                    <a:pos x="250" y="98"/>
                  </a:cxn>
                  <a:cxn ang="0">
                    <a:pos x="246" y="141"/>
                  </a:cxn>
                  <a:cxn ang="0">
                    <a:pos x="251" y="160"/>
                  </a:cxn>
                  <a:cxn ang="0">
                    <a:pos x="281" y="192"/>
                  </a:cxn>
                  <a:cxn ang="0">
                    <a:pos x="312" y="191"/>
                  </a:cxn>
                  <a:cxn ang="0">
                    <a:pos x="327" y="187"/>
                  </a:cxn>
                  <a:cxn ang="0">
                    <a:pos x="363" y="152"/>
                  </a:cxn>
                  <a:cxn ang="0">
                    <a:pos x="382" y="154"/>
                  </a:cxn>
                  <a:cxn ang="0">
                    <a:pos x="374" y="180"/>
                  </a:cxn>
                  <a:cxn ang="0">
                    <a:pos x="369" y="192"/>
                  </a:cxn>
                  <a:cxn ang="0">
                    <a:pos x="365" y="213"/>
                  </a:cxn>
                  <a:cxn ang="0">
                    <a:pos x="357" y="224"/>
                  </a:cxn>
                  <a:cxn ang="0">
                    <a:pos x="405" y="226"/>
                  </a:cxn>
                  <a:cxn ang="0">
                    <a:pos x="426" y="242"/>
                  </a:cxn>
                  <a:cxn ang="0">
                    <a:pos x="423" y="289"/>
                  </a:cxn>
                  <a:cxn ang="0">
                    <a:pos x="451" y="316"/>
                  </a:cxn>
                  <a:cxn ang="0">
                    <a:pos x="504" y="322"/>
                  </a:cxn>
                  <a:cxn ang="0">
                    <a:pos x="488" y="329"/>
                  </a:cxn>
                  <a:cxn ang="0">
                    <a:pos x="480" y="316"/>
                  </a:cxn>
                  <a:cxn ang="0">
                    <a:pos x="468" y="332"/>
                  </a:cxn>
                  <a:cxn ang="0">
                    <a:pos x="446" y="326"/>
                  </a:cxn>
                  <a:cxn ang="0">
                    <a:pos x="431" y="323"/>
                  </a:cxn>
                  <a:cxn ang="0">
                    <a:pos x="406" y="302"/>
                  </a:cxn>
                  <a:cxn ang="0">
                    <a:pos x="402" y="306"/>
                  </a:cxn>
                  <a:cxn ang="0">
                    <a:pos x="391" y="281"/>
                  </a:cxn>
                  <a:cxn ang="0">
                    <a:pos x="372" y="260"/>
                  </a:cxn>
                  <a:cxn ang="0">
                    <a:pos x="345" y="255"/>
                  </a:cxn>
                  <a:cxn ang="0">
                    <a:pos x="294" y="226"/>
                  </a:cxn>
                  <a:cxn ang="0">
                    <a:pos x="282" y="222"/>
                  </a:cxn>
                  <a:cxn ang="0">
                    <a:pos x="256" y="227"/>
                  </a:cxn>
                  <a:cxn ang="0">
                    <a:pos x="221" y="214"/>
                  </a:cxn>
                  <a:cxn ang="0">
                    <a:pos x="195" y="203"/>
                  </a:cxn>
                  <a:cxn ang="0">
                    <a:pos x="175" y="195"/>
                  </a:cxn>
                  <a:cxn ang="0">
                    <a:pos x="148" y="172"/>
                  </a:cxn>
                  <a:cxn ang="0">
                    <a:pos x="148" y="150"/>
                  </a:cxn>
                  <a:cxn ang="0">
                    <a:pos x="102" y="101"/>
                  </a:cxn>
                  <a:cxn ang="0">
                    <a:pos x="82" y="68"/>
                  </a:cxn>
                  <a:cxn ang="0">
                    <a:pos x="62" y="53"/>
                  </a:cxn>
                  <a:cxn ang="0">
                    <a:pos x="49" y="22"/>
                  </a:cxn>
                  <a:cxn ang="0">
                    <a:pos x="28" y="19"/>
                  </a:cxn>
                  <a:cxn ang="0">
                    <a:pos x="49" y="53"/>
                  </a:cxn>
                  <a:cxn ang="0">
                    <a:pos x="73" y="95"/>
                  </a:cxn>
                  <a:cxn ang="0">
                    <a:pos x="96" y="130"/>
                  </a:cxn>
                  <a:cxn ang="0">
                    <a:pos x="86" y="127"/>
                  </a:cxn>
                  <a:cxn ang="0">
                    <a:pos x="65" y="109"/>
                  </a:cxn>
                  <a:cxn ang="0">
                    <a:pos x="52" y="84"/>
                  </a:cxn>
                  <a:cxn ang="0">
                    <a:pos x="40" y="69"/>
                  </a:cxn>
                  <a:cxn ang="0">
                    <a:pos x="11" y="24"/>
                  </a:cxn>
                  <a:cxn ang="0">
                    <a:pos x="0" y="0"/>
                  </a:cxn>
                  <a:cxn ang="0">
                    <a:pos x="76" y="16"/>
                  </a:cxn>
                  <a:cxn ang="0">
                    <a:pos x="113" y="10"/>
                  </a:cxn>
                  <a:cxn ang="0">
                    <a:pos x="152" y="29"/>
                  </a:cxn>
                  <a:cxn ang="0">
                    <a:pos x="188" y="38"/>
                  </a:cxn>
                  <a:cxn ang="0">
                    <a:pos x="249" y="90"/>
                  </a:cxn>
                  <a:cxn ang="0">
                    <a:pos x="247" y="86"/>
                  </a:cxn>
                </a:cxnLst>
                <a:rect l="0" t="0" r="r" b="b"/>
                <a:pathLst>
                  <a:path w="504" h="338">
                    <a:moveTo>
                      <a:pt x="248" y="91"/>
                    </a:moveTo>
                    <a:cubicBezTo>
                      <a:pt x="249" y="94"/>
                      <a:pt x="250" y="96"/>
                      <a:pt x="250" y="98"/>
                    </a:cubicBezTo>
                    <a:cubicBezTo>
                      <a:pt x="250" y="106"/>
                      <a:pt x="247" y="109"/>
                      <a:pt x="246" y="116"/>
                    </a:cubicBezTo>
                    <a:cubicBezTo>
                      <a:pt x="246" y="141"/>
                      <a:pt x="246" y="141"/>
                      <a:pt x="246" y="141"/>
                    </a:cubicBezTo>
                    <a:cubicBezTo>
                      <a:pt x="245" y="144"/>
                      <a:pt x="248" y="148"/>
                      <a:pt x="249" y="150"/>
                    </a:cubicBezTo>
                    <a:cubicBezTo>
                      <a:pt x="251" y="154"/>
                      <a:pt x="249" y="156"/>
                      <a:pt x="251" y="160"/>
                    </a:cubicBezTo>
                    <a:cubicBezTo>
                      <a:pt x="252" y="164"/>
                      <a:pt x="258" y="170"/>
                      <a:pt x="261" y="173"/>
                    </a:cubicBezTo>
                    <a:cubicBezTo>
                      <a:pt x="269" y="181"/>
                      <a:pt x="269" y="188"/>
                      <a:pt x="281" y="192"/>
                    </a:cubicBezTo>
                    <a:cubicBezTo>
                      <a:pt x="285" y="193"/>
                      <a:pt x="285" y="197"/>
                      <a:pt x="288" y="197"/>
                    </a:cubicBezTo>
                    <a:cubicBezTo>
                      <a:pt x="297" y="197"/>
                      <a:pt x="304" y="191"/>
                      <a:pt x="312" y="191"/>
                    </a:cubicBezTo>
                    <a:cubicBezTo>
                      <a:pt x="317" y="191"/>
                      <a:pt x="319" y="194"/>
                      <a:pt x="321" y="194"/>
                    </a:cubicBezTo>
                    <a:cubicBezTo>
                      <a:pt x="324" y="194"/>
                      <a:pt x="327" y="188"/>
                      <a:pt x="327" y="187"/>
                    </a:cubicBezTo>
                    <a:cubicBezTo>
                      <a:pt x="329" y="181"/>
                      <a:pt x="336" y="176"/>
                      <a:pt x="336" y="169"/>
                    </a:cubicBezTo>
                    <a:cubicBezTo>
                      <a:pt x="336" y="156"/>
                      <a:pt x="351" y="152"/>
                      <a:pt x="363" y="152"/>
                    </a:cubicBezTo>
                    <a:cubicBezTo>
                      <a:pt x="367" y="152"/>
                      <a:pt x="370" y="152"/>
                      <a:pt x="372" y="153"/>
                    </a:cubicBezTo>
                    <a:cubicBezTo>
                      <a:pt x="373" y="154"/>
                      <a:pt x="379" y="154"/>
                      <a:pt x="382" y="154"/>
                    </a:cubicBezTo>
                    <a:cubicBezTo>
                      <a:pt x="382" y="155"/>
                      <a:pt x="382" y="157"/>
                      <a:pt x="382" y="158"/>
                    </a:cubicBezTo>
                    <a:cubicBezTo>
                      <a:pt x="382" y="164"/>
                      <a:pt x="374" y="172"/>
                      <a:pt x="374" y="180"/>
                    </a:cubicBezTo>
                    <a:cubicBezTo>
                      <a:pt x="374" y="188"/>
                      <a:pt x="372" y="191"/>
                      <a:pt x="369" y="195"/>
                    </a:cubicBezTo>
                    <a:cubicBezTo>
                      <a:pt x="369" y="194"/>
                      <a:pt x="369" y="193"/>
                      <a:pt x="369" y="192"/>
                    </a:cubicBezTo>
                    <a:cubicBezTo>
                      <a:pt x="368" y="192"/>
                      <a:pt x="367" y="192"/>
                      <a:pt x="365" y="192"/>
                    </a:cubicBezTo>
                    <a:cubicBezTo>
                      <a:pt x="365" y="197"/>
                      <a:pt x="365" y="207"/>
                      <a:pt x="365" y="213"/>
                    </a:cubicBezTo>
                    <a:cubicBezTo>
                      <a:pt x="365" y="217"/>
                      <a:pt x="360" y="219"/>
                      <a:pt x="357" y="222"/>
                    </a:cubicBezTo>
                    <a:cubicBezTo>
                      <a:pt x="357" y="223"/>
                      <a:pt x="357" y="223"/>
                      <a:pt x="357" y="224"/>
                    </a:cubicBezTo>
                    <a:cubicBezTo>
                      <a:pt x="357" y="227"/>
                      <a:pt x="360" y="229"/>
                      <a:pt x="363" y="229"/>
                    </a:cubicBezTo>
                    <a:cubicBezTo>
                      <a:pt x="377" y="229"/>
                      <a:pt x="389" y="226"/>
                      <a:pt x="405" y="226"/>
                    </a:cubicBezTo>
                    <a:cubicBezTo>
                      <a:pt x="415" y="226"/>
                      <a:pt x="418" y="234"/>
                      <a:pt x="426" y="236"/>
                    </a:cubicBezTo>
                    <a:cubicBezTo>
                      <a:pt x="426" y="238"/>
                      <a:pt x="426" y="240"/>
                      <a:pt x="426" y="242"/>
                    </a:cubicBezTo>
                    <a:cubicBezTo>
                      <a:pt x="426" y="246"/>
                      <a:pt x="425" y="257"/>
                      <a:pt x="423" y="262"/>
                    </a:cubicBezTo>
                    <a:cubicBezTo>
                      <a:pt x="423" y="272"/>
                      <a:pt x="423" y="281"/>
                      <a:pt x="423" y="289"/>
                    </a:cubicBezTo>
                    <a:cubicBezTo>
                      <a:pt x="423" y="298"/>
                      <a:pt x="432" y="302"/>
                      <a:pt x="439" y="306"/>
                    </a:cubicBezTo>
                    <a:cubicBezTo>
                      <a:pt x="444" y="308"/>
                      <a:pt x="444" y="316"/>
                      <a:pt x="451" y="316"/>
                    </a:cubicBezTo>
                    <a:cubicBezTo>
                      <a:pt x="463" y="316"/>
                      <a:pt x="469" y="307"/>
                      <a:pt x="479" y="307"/>
                    </a:cubicBezTo>
                    <a:cubicBezTo>
                      <a:pt x="491" y="307"/>
                      <a:pt x="497" y="316"/>
                      <a:pt x="504" y="322"/>
                    </a:cubicBezTo>
                    <a:cubicBezTo>
                      <a:pt x="503" y="323"/>
                      <a:pt x="494" y="333"/>
                      <a:pt x="493" y="332"/>
                    </a:cubicBezTo>
                    <a:cubicBezTo>
                      <a:pt x="492" y="331"/>
                      <a:pt x="488" y="330"/>
                      <a:pt x="488" y="329"/>
                    </a:cubicBezTo>
                    <a:cubicBezTo>
                      <a:pt x="488" y="327"/>
                      <a:pt x="490" y="326"/>
                      <a:pt x="491" y="324"/>
                    </a:cubicBezTo>
                    <a:cubicBezTo>
                      <a:pt x="486" y="322"/>
                      <a:pt x="484" y="316"/>
                      <a:pt x="480" y="316"/>
                    </a:cubicBezTo>
                    <a:cubicBezTo>
                      <a:pt x="476" y="316"/>
                      <a:pt x="464" y="325"/>
                      <a:pt x="464" y="328"/>
                    </a:cubicBezTo>
                    <a:cubicBezTo>
                      <a:pt x="464" y="330"/>
                      <a:pt x="467" y="331"/>
                      <a:pt x="468" y="332"/>
                    </a:cubicBezTo>
                    <a:cubicBezTo>
                      <a:pt x="467" y="336"/>
                      <a:pt x="465" y="338"/>
                      <a:pt x="461" y="338"/>
                    </a:cubicBezTo>
                    <a:cubicBezTo>
                      <a:pt x="454" y="338"/>
                      <a:pt x="450" y="330"/>
                      <a:pt x="446" y="326"/>
                    </a:cubicBezTo>
                    <a:cubicBezTo>
                      <a:pt x="443" y="323"/>
                      <a:pt x="436" y="326"/>
                      <a:pt x="433" y="326"/>
                    </a:cubicBezTo>
                    <a:cubicBezTo>
                      <a:pt x="432" y="326"/>
                      <a:pt x="431" y="324"/>
                      <a:pt x="431" y="323"/>
                    </a:cubicBezTo>
                    <a:cubicBezTo>
                      <a:pt x="424" y="322"/>
                      <a:pt x="424" y="318"/>
                      <a:pt x="423" y="314"/>
                    </a:cubicBezTo>
                    <a:cubicBezTo>
                      <a:pt x="421" y="311"/>
                      <a:pt x="406" y="302"/>
                      <a:pt x="406" y="302"/>
                    </a:cubicBezTo>
                    <a:cubicBezTo>
                      <a:pt x="405" y="304"/>
                      <a:pt x="405" y="305"/>
                      <a:pt x="406" y="306"/>
                    </a:cubicBezTo>
                    <a:cubicBezTo>
                      <a:pt x="402" y="306"/>
                      <a:pt x="402" y="306"/>
                      <a:pt x="402" y="306"/>
                    </a:cubicBezTo>
                    <a:cubicBezTo>
                      <a:pt x="395" y="302"/>
                      <a:pt x="399" y="296"/>
                      <a:pt x="397" y="289"/>
                    </a:cubicBezTo>
                    <a:cubicBezTo>
                      <a:pt x="396" y="285"/>
                      <a:pt x="394" y="284"/>
                      <a:pt x="391" y="281"/>
                    </a:cubicBezTo>
                    <a:cubicBezTo>
                      <a:pt x="384" y="274"/>
                      <a:pt x="377" y="270"/>
                      <a:pt x="374" y="260"/>
                    </a:cubicBezTo>
                    <a:cubicBezTo>
                      <a:pt x="373" y="260"/>
                      <a:pt x="372" y="260"/>
                      <a:pt x="372" y="260"/>
                    </a:cubicBezTo>
                    <a:cubicBezTo>
                      <a:pt x="368" y="260"/>
                      <a:pt x="366" y="262"/>
                      <a:pt x="363" y="262"/>
                    </a:cubicBezTo>
                    <a:cubicBezTo>
                      <a:pt x="355" y="262"/>
                      <a:pt x="350" y="257"/>
                      <a:pt x="345" y="255"/>
                    </a:cubicBezTo>
                    <a:cubicBezTo>
                      <a:pt x="336" y="251"/>
                      <a:pt x="330" y="253"/>
                      <a:pt x="321" y="248"/>
                    </a:cubicBezTo>
                    <a:cubicBezTo>
                      <a:pt x="308" y="242"/>
                      <a:pt x="306" y="232"/>
                      <a:pt x="294" y="226"/>
                    </a:cubicBezTo>
                    <a:cubicBezTo>
                      <a:pt x="291" y="226"/>
                      <a:pt x="291" y="226"/>
                      <a:pt x="291" y="226"/>
                    </a:cubicBezTo>
                    <a:cubicBezTo>
                      <a:pt x="288" y="224"/>
                      <a:pt x="285" y="222"/>
                      <a:pt x="282" y="222"/>
                    </a:cubicBezTo>
                    <a:cubicBezTo>
                      <a:pt x="274" y="222"/>
                      <a:pt x="272" y="231"/>
                      <a:pt x="265" y="231"/>
                    </a:cubicBezTo>
                    <a:cubicBezTo>
                      <a:pt x="261" y="231"/>
                      <a:pt x="258" y="228"/>
                      <a:pt x="256" y="227"/>
                    </a:cubicBezTo>
                    <a:cubicBezTo>
                      <a:pt x="252" y="225"/>
                      <a:pt x="249" y="226"/>
                      <a:pt x="246" y="226"/>
                    </a:cubicBezTo>
                    <a:cubicBezTo>
                      <a:pt x="241" y="226"/>
                      <a:pt x="226" y="216"/>
                      <a:pt x="221" y="214"/>
                    </a:cubicBezTo>
                    <a:cubicBezTo>
                      <a:pt x="216" y="211"/>
                      <a:pt x="213" y="214"/>
                      <a:pt x="208" y="213"/>
                    </a:cubicBezTo>
                    <a:cubicBezTo>
                      <a:pt x="202" y="211"/>
                      <a:pt x="201" y="206"/>
                      <a:pt x="195" y="203"/>
                    </a:cubicBezTo>
                    <a:cubicBezTo>
                      <a:pt x="189" y="200"/>
                      <a:pt x="186" y="201"/>
                      <a:pt x="180" y="198"/>
                    </a:cubicBezTo>
                    <a:cubicBezTo>
                      <a:pt x="177" y="197"/>
                      <a:pt x="177" y="196"/>
                      <a:pt x="175" y="195"/>
                    </a:cubicBezTo>
                    <a:cubicBezTo>
                      <a:pt x="170" y="190"/>
                      <a:pt x="156" y="187"/>
                      <a:pt x="155" y="181"/>
                    </a:cubicBezTo>
                    <a:cubicBezTo>
                      <a:pt x="151" y="181"/>
                      <a:pt x="148" y="176"/>
                      <a:pt x="148" y="172"/>
                    </a:cubicBezTo>
                    <a:cubicBezTo>
                      <a:pt x="148" y="167"/>
                      <a:pt x="153" y="165"/>
                      <a:pt x="153" y="160"/>
                    </a:cubicBezTo>
                    <a:cubicBezTo>
                      <a:pt x="153" y="154"/>
                      <a:pt x="149" y="153"/>
                      <a:pt x="148" y="150"/>
                    </a:cubicBezTo>
                    <a:cubicBezTo>
                      <a:pt x="143" y="134"/>
                      <a:pt x="128" y="121"/>
                      <a:pt x="118" y="111"/>
                    </a:cubicBezTo>
                    <a:cubicBezTo>
                      <a:pt x="114" y="107"/>
                      <a:pt x="107" y="105"/>
                      <a:pt x="102" y="101"/>
                    </a:cubicBezTo>
                    <a:cubicBezTo>
                      <a:pt x="99" y="97"/>
                      <a:pt x="102" y="93"/>
                      <a:pt x="100" y="88"/>
                    </a:cubicBezTo>
                    <a:cubicBezTo>
                      <a:pt x="96" y="80"/>
                      <a:pt x="82" y="79"/>
                      <a:pt x="82" y="68"/>
                    </a:cubicBezTo>
                    <a:cubicBezTo>
                      <a:pt x="78" y="68"/>
                      <a:pt x="79" y="67"/>
                      <a:pt x="77" y="68"/>
                    </a:cubicBezTo>
                    <a:cubicBezTo>
                      <a:pt x="72" y="63"/>
                      <a:pt x="67" y="58"/>
                      <a:pt x="62" y="53"/>
                    </a:cubicBezTo>
                    <a:cubicBezTo>
                      <a:pt x="58" y="49"/>
                      <a:pt x="60" y="42"/>
                      <a:pt x="56" y="38"/>
                    </a:cubicBezTo>
                    <a:cubicBezTo>
                      <a:pt x="52" y="34"/>
                      <a:pt x="53" y="24"/>
                      <a:pt x="49" y="22"/>
                    </a:cubicBezTo>
                    <a:cubicBezTo>
                      <a:pt x="42" y="19"/>
                      <a:pt x="35" y="19"/>
                      <a:pt x="29" y="13"/>
                    </a:cubicBezTo>
                    <a:cubicBezTo>
                      <a:pt x="27" y="15"/>
                      <a:pt x="28" y="18"/>
                      <a:pt x="28" y="19"/>
                    </a:cubicBezTo>
                    <a:cubicBezTo>
                      <a:pt x="28" y="28"/>
                      <a:pt x="32" y="34"/>
                      <a:pt x="36" y="41"/>
                    </a:cubicBezTo>
                    <a:cubicBezTo>
                      <a:pt x="39" y="48"/>
                      <a:pt x="45" y="48"/>
                      <a:pt x="49" y="53"/>
                    </a:cubicBezTo>
                    <a:cubicBezTo>
                      <a:pt x="55" y="59"/>
                      <a:pt x="56" y="63"/>
                      <a:pt x="58" y="71"/>
                    </a:cubicBezTo>
                    <a:cubicBezTo>
                      <a:pt x="61" y="81"/>
                      <a:pt x="70" y="86"/>
                      <a:pt x="73" y="95"/>
                    </a:cubicBezTo>
                    <a:cubicBezTo>
                      <a:pt x="77" y="106"/>
                      <a:pt x="80" y="117"/>
                      <a:pt x="87" y="122"/>
                    </a:cubicBezTo>
                    <a:cubicBezTo>
                      <a:pt x="91" y="119"/>
                      <a:pt x="96" y="126"/>
                      <a:pt x="96" y="130"/>
                    </a:cubicBezTo>
                    <a:cubicBezTo>
                      <a:pt x="96" y="132"/>
                      <a:pt x="95" y="136"/>
                      <a:pt x="93" y="136"/>
                    </a:cubicBezTo>
                    <a:cubicBezTo>
                      <a:pt x="92" y="136"/>
                      <a:pt x="86" y="129"/>
                      <a:pt x="86" y="127"/>
                    </a:cubicBezTo>
                    <a:cubicBezTo>
                      <a:pt x="78" y="127"/>
                      <a:pt x="74" y="117"/>
                      <a:pt x="69" y="113"/>
                    </a:cubicBezTo>
                    <a:cubicBezTo>
                      <a:pt x="66" y="112"/>
                      <a:pt x="66" y="112"/>
                      <a:pt x="65" y="109"/>
                    </a:cubicBezTo>
                    <a:cubicBezTo>
                      <a:pt x="65" y="98"/>
                      <a:pt x="65" y="98"/>
                      <a:pt x="65" y="98"/>
                    </a:cubicBezTo>
                    <a:cubicBezTo>
                      <a:pt x="60" y="93"/>
                      <a:pt x="56" y="88"/>
                      <a:pt x="52" y="84"/>
                    </a:cubicBezTo>
                    <a:cubicBezTo>
                      <a:pt x="46" y="78"/>
                      <a:pt x="36" y="79"/>
                      <a:pt x="31" y="72"/>
                    </a:cubicBezTo>
                    <a:cubicBezTo>
                      <a:pt x="34" y="72"/>
                      <a:pt x="44" y="74"/>
                      <a:pt x="40" y="69"/>
                    </a:cubicBezTo>
                    <a:cubicBezTo>
                      <a:pt x="34" y="59"/>
                      <a:pt x="26" y="50"/>
                      <a:pt x="19" y="45"/>
                    </a:cubicBezTo>
                    <a:cubicBezTo>
                      <a:pt x="14" y="41"/>
                      <a:pt x="14" y="29"/>
                      <a:pt x="11" y="24"/>
                    </a:cubicBezTo>
                    <a:cubicBezTo>
                      <a:pt x="7" y="16"/>
                      <a:pt x="3" y="13"/>
                      <a:pt x="0" y="3"/>
                    </a:cubicBezTo>
                    <a:cubicBezTo>
                      <a:pt x="0" y="0"/>
                      <a:pt x="0" y="0"/>
                      <a:pt x="0" y="0"/>
                    </a:cubicBezTo>
                    <a:cubicBezTo>
                      <a:pt x="29" y="0"/>
                      <a:pt x="29" y="0"/>
                      <a:pt x="29" y="0"/>
                    </a:cubicBezTo>
                    <a:cubicBezTo>
                      <a:pt x="76" y="16"/>
                      <a:pt x="76" y="16"/>
                      <a:pt x="76" y="16"/>
                    </a:cubicBezTo>
                    <a:cubicBezTo>
                      <a:pt x="113" y="16"/>
                      <a:pt x="113" y="16"/>
                      <a:pt x="113" y="16"/>
                    </a:cubicBezTo>
                    <a:cubicBezTo>
                      <a:pt x="113" y="10"/>
                      <a:pt x="113" y="10"/>
                      <a:pt x="113" y="10"/>
                    </a:cubicBezTo>
                    <a:cubicBezTo>
                      <a:pt x="121" y="10"/>
                      <a:pt x="121" y="10"/>
                      <a:pt x="121" y="10"/>
                    </a:cubicBezTo>
                    <a:cubicBezTo>
                      <a:pt x="136" y="14"/>
                      <a:pt x="145" y="16"/>
                      <a:pt x="152" y="29"/>
                    </a:cubicBezTo>
                    <a:cubicBezTo>
                      <a:pt x="156" y="35"/>
                      <a:pt x="163" y="50"/>
                      <a:pt x="172" y="50"/>
                    </a:cubicBezTo>
                    <a:cubicBezTo>
                      <a:pt x="181" y="50"/>
                      <a:pt x="178" y="38"/>
                      <a:pt x="188" y="38"/>
                    </a:cubicBezTo>
                    <a:cubicBezTo>
                      <a:pt x="214" y="38"/>
                      <a:pt x="213" y="70"/>
                      <a:pt x="227" y="84"/>
                    </a:cubicBezTo>
                    <a:cubicBezTo>
                      <a:pt x="231" y="87"/>
                      <a:pt x="242" y="90"/>
                      <a:pt x="249" y="90"/>
                    </a:cubicBezTo>
                    <a:cubicBezTo>
                      <a:pt x="249" y="89"/>
                      <a:pt x="247" y="87"/>
                      <a:pt x="247" y="86"/>
                    </a:cubicBezTo>
                    <a:cubicBezTo>
                      <a:pt x="247" y="86"/>
                      <a:pt x="247" y="86"/>
                      <a:pt x="247" y="86"/>
                    </a:cubicBezTo>
                    <a:lnTo>
                      <a:pt x="248" y="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3" name="Freeform 93"/>
              <p:cNvSpPr>
                <a:spLocks/>
              </p:cNvSpPr>
              <p:nvPr/>
            </p:nvSpPr>
            <p:spPr bwMode="auto">
              <a:xfrm>
                <a:off x="3016250" y="1895475"/>
                <a:ext cx="20638" cy="9525"/>
              </a:xfrm>
              <a:custGeom>
                <a:avLst/>
                <a:gdLst/>
                <a:ahLst/>
                <a:cxnLst>
                  <a:cxn ang="0">
                    <a:pos x="0" y="0"/>
                  </a:cxn>
                  <a:cxn ang="0">
                    <a:pos x="15" y="7"/>
                  </a:cxn>
                  <a:cxn ang="0">
                    <a:pos x="12" y="7"/>
                  </a:cxn>
                  <a:cxn ang="0">
                    <a:pos x="0" y="3"/>
                  </a:cxn>
                  <a:cxn ang="0">
                    <a:pos x="0" y="0"/>
                  </a:cxn>
                </a:cxnLst>
                <a:rect l="0" t="0" r="r" b="b"/>
                <a:pathLst>
                  <a:path w="15" h="8">
                    <a:moveTo>
                      <a:pt x="0" y="0"/>
                    </a:moveTo>
                    <a:cubicBezTo>
                      <a:pt x="7" y="0"/>
                      <a:pt x="15" y="1"/>
                      <a:pt x="15" y="7"/>
                    </a:cubicBezTo>
                    <a:cubicBezTo>
                      <a:pt x="15" y="8"/>
                      <a:pt x="13" y="7"/>
                      <a:pt x="12" y="7"/>
                    </a:cubicBezTo>
                    <a:cubicBezTo>
                      <a:pt x="8" y="7"/>
                      <a:pt x="2" y="5"/>
                      <a:pt x="0" y="3"/>
                    </a:cubicBezTo>
                    <a:cubicBezTo>
                      <a:pt x="0" y="2"/>
                      <a:pt x="0" y="1"/>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4" name="Freeform 94"/>
              <p:cNvSpPr>
                <a:spLocks/>
              </p:cNvSpPr>
              <p:nvPr/>
            </p:nvSpPr>
            <p:spPr bwMode="auto">
              <a:xfrm>
                <a:off x="2239963" y="1951038"/>
                <a:ext cx="79375" cy="50800"/>
              </a:xfrm>
              <a:custGeom>
                <a:avLst/>
                <a:gdLst/>
                <a:ahLst/>
                <a:cxnLst>
                  <a:cxn ang="0">
                    <a:pos x="0" y="2"/>
                  </a:cxn>
                  <a:cxn ang="0">
                    <a:pos x="6" y="0"/>
                  </a:cxn>
                  <a:cxn ang="0">
                    <a:pos x="18" y="6"/>
                  </a:cxn>
                  <a:cxn ang="0">
                    <a:pos x="59" y="34"/>
                  </a:cxn>
                  <a:cxn ang="0">
                    <a:pos x="59" y="38"/>
                  </a:cxn>
                  <a:cxn ang="0">
                    <a:pos x="55" y="38"/>
                  </a:cxn>
                  <a:cxn ang="0">
                    <a:pos x="22" y="22"/>
                  </a:cxn>
                  <a:cxn ang="0">
                    <a:pos x="27" y="17"/>
                  </a:cxn>
                  <a:cxn ang="0">
                    <a:pos x="4" y="8"/>
                  </a:cxn>
                  <a:cxn ang="0">
                    <a:pos x="8" y="4"/>
                  </a:cxn>
                  <a:cxn ang="0">
                    <a:pos x="2" y="2"/>
                  </a:cxn>
                  <a:cxn ang="0">
                    <a:pos x="0" y="2"/>
                  </a:cxn>
                </a:cxnLst>
                <a:rect l="0" t="0" r="r" b="b"/>
                <a:pathLst>
                  <a:path w="59" h="38">
                    <a:moveTo>
                      <a:pt x="0" y="2"/>
                    </a:moveTo>
                    <a:cubicBezTo>
                      <a:pt x="2" y="1"/>
                      <a:pt x="4" y="0"/>
                      <a:pt x="6" y="0"/>
                    </a:cubicBezTo>
                    <a:cubicBezTo>
                      <a:pt x="11" y="0"/>
                      <a:pt x="15" y="5"/>
                      <a:pt x="18" y="6"/>
                    </a:cubicBezTo>
                    <a:cubicBezTo>
                      <a:pt x="37" y="12"/>
                      <a:pt x="48" y="23"/>
                      <a:pt x="59" y="34"/>
                    </a:cubicBezTo>
                    <a:cubicBezTo>
                      <a:pt x="59" y="38"/>
                      <a:pt x="59" y="38"/>
                      <a:pt x="59" y="38"/>
                    </a:cubicBezTo>
                    <a:cubicBezTo>
                      <a:pt x="58" y="38"/>
                      <a:pt x="56" y="38"/>
                      <a:pt x="55" y="38"/>
                    </a:cubicBezTo>
                    <a:cubicBezTo>
                      <a:pt x="45" y="38"/>
                      <a:pt x="29" y="26"/>
                      <a:pt x="22" y="22"/>
                    </a:cubicBezTo>
                    <a:cubicBezTo>
                      <a:pt x="23" y="19"/>
                      <a:pt x="25" y="19"/>
                      <a:pt x="27" y="17"/>
                    </a:cubicBezTo>
                    <a:cubicBezTo>
                      <a:pt x="18" y="17"/>
                      <a:pt x="6" y="13"/>
                      <a:pt x="4" y="8"/>
                    </a:cubicBezTo>
                    <a:cubicBezTo>
                      <a:pt x="6" y="7"/>
                      <a:pt x="8" y="5"/>
                      <a:pt x="8" y="4"/>
                    </a:cubicBezTo>
                    <a:cubicBezTo>
                      <a:pt x="6" y="3"/>
                      <a:pt x="2" y="2"/>
                      <a:pt x="2" y="2"/>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5" name="Freeform 95"/>
              <p:cNvSpPr>
                <a:spLocks/>
              </p:cNvSpPr>
              <p:nvPr/>
            </p:nvSpPr>
            <p:spPr bwMode="auto">
              <a:xfrm>
                <a:off x="2162175" y="1876425"/>
                <a:ext cx="28575" cy="39688"/>
              </a:xfrm>
              <a:custGeom>
                <a:avLst/>
                <a:gdLst/>
                <a:ahLst/>
                <a:cxnLst>
                  <a:cxn ang="0">
                    <a:pos x="5" y="12"/>
                  </a:cxn>
                  <a:cxn ang="0">
                    <a:pos x="0" y="4"/>
                  </a:cxn>
                  <a:cxn ang="0">
                    <a:pos x="0" y="0"/>
                  </a:cxn>
                  <a:cxn ang="0">
                    <a:pos x="10" y="3"/>
                  </a:cxn>
                  <a:cxn ang="0">
                    <a:pos x="7" y="8"/>
                  </a:cxn>
                  <a:cxn ang="0">
                    <a:pos x="13" y="3"/>
                  </a:cxn>
                  <a:cxn ang="0">
                    <a:pos x="13" y="12"/>
                  </a:cxn>
                  <a:cxn ang="0">
                    <a:pos x="15" y="18"/>
                  </a:cxn>
                  <a:cxn ang="0">
                    <a:pos x="13" y="22"/>
                  </a:cxn>
                  <a:cxn ang="0">
                    <a:pos x="17" y="30"/>
                  </a:cxn>
                  <a:cxn ang="0">
                    <a:pos x="10" y="22"/>
                  </a:cxn>
                  <a:cxn ang="0">
                    <a:pos x="12" y="17"/>
                  </a:cxn>
                  <a:cxn ang="0">
                    <a:pos x="5" y="12"/>
                  </a:cxn>
                </a:cxnLst>
                <a:rect l="0" t="0" r="r" b="b"/>
                <a:pathLst>
                  <a:path w="21" h="30">
                    <a:moveTo>
                      <a:pt x="5" y="12"/>
                    </a:moveTo>
                    <a:cubicBezTo>
                      <a:pt x="3" y="12"/>
                      <a:pt x="2" y="6"/>
                      <a:pt x="0" y="4"/>
                    </a:cubicBezTo>
                    <a:cubicBezTo>
                      <a:pt x="0" y="0"/>
                      <a:pt x="0" y="0"/>
                      <a:pt x="0" y="0"/>
                    </a:cubicBezTo>
                    <a:cubicBezTo>
                      <a:pt x="4" y="0"/>
                      <a:pt x="6" y="3"/>
                      <a:pt x="10" y="3"/>
                    </a:cubicBezTo>
                    <a:cubicBezTo>
                      <a:pt x="10" y="4"/>
                      <a:pt x="5" y="8"/>
                      <a:pt x="7" y="8"/>
                    </a:cubicBezTo>
                    <a:cubicBezTo>
                      <a:pt x="10" y="8"/>
                      <a:pt x="12" y="5"/>
                      <a:pt x="13" y="3"/>
                    </a:cubicBezTo>
                    <a:cubicBezTo>
                      <a:pt x="14" y="5"/>
                      <a:pt x="13" y="8"/>
                      <a:pt x="13" y="12"/>
                    </a:cubicBezTo>
                    <a:cubicBezTo>
                      <a:pt x="13" y="15"/>
                      <a:pt x="15" y="15"/>
                      <a:pt x="15" y="18"/>
                    </a:cubicBezTo>
                    <a:cubicBezTo>
                      <a:pt x="15" y="19"/>
                      <a:pt x="13" y="20"/>
                      <a:pt x="13" y="22"/>
                    </a:cubicBezTo>
                    <a:cubicBezTo>
                      <a:pt x="13" y="24"/>
                      <a:pt x="21" y="30"/>
                      <a:pt x="17" y="30"/>
                    </a:cubicBezTo>
                    <a:cubicBezTo>
                      <a:pt x="13" y="30"/>
                      <a:pt x="10" y="26"/>
                      <a:pt x="10" y="22"/>
                    </a:cubicBezTo>
                    <a:cubicBezTo>
                      <a:pt x="10" y="19"/>
                      <a:pt x="12" y="18"/>
                      <a:pt x="12" y="17"/>
                    </a:cubicBezTo>
                    <a:cubicBezTo>
                      <a:pt x="9" y="16"/>
                      <a:pt x="8" y="12"/>
                      <a:pt x="5"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6" name="Freeform 96"/>
              <p:cNvSpPr>
                <a:spLocks/>
              </p:cNvSpPr>
              <p:nvPr/>
            </p:nvSpPr>
            <p:spPr bwMode="auto">
              <a:xfrm>
                <a:off x="1803400" y="1787525"/>
                <a:ext cx="34925" cy="23813"/>
              </a:xfrm>
              <a:custGeom>
                <a:avLst/>
                <a:gdLst/>
                <a:ahLst/>
                <a:cxnLst>
                  <a:cxn ang="0">
                    <a:pos x="21" y="0"/>
                  </a:cxn>
                  <a:cxn ang="0">
                    <a:pos x="27" y="0"/>
                  </a:cxn>
                  <a:cxn ang="0">
                    <a:pos x="27" y="6"/>
                  </a:cxn>
                  <a:cxn ang="0">
                    <a:pos x="10" y="18"/>
                  </a:cxn>
                  <a:cxn ang="0">
                    <a:pos x="0" y="12"/>
                  </a:cxn>
                  <a:cxn ang="0">
                    <a:pos x="0" y="7"/>
                  </a:cxn>
                  <a:cxn ang="0">
                    <a:pos x="21" y="0"/>
                  </a:cxn>
                </a:cxnLst>
                <a:rect l="0" t="0" r="r" b="b"/>
                <a:pathLst>
                  <a:path w="27" h="18">
                    <a:moveTo>
                      <a:pt x="21" y="0"/>
                    </a:moveTo>
                    <a:cubicBezTo>
                      <a:pt x="25" y="0"/>
                      <a:pt x="25" y="0"/>
                      <a:pt x="27" y="0"/>
                    </a:cubicBezTo>
                    <a:cubicBezTo>
                      <a:pt x="27" y="6"/>
                      <a:pt x="27" y="6"/>
                      <a:pt x="27" y="6"/>
                    </a:cubicBezTo>
                    <a:cubicBezTo>
                      <a:pt x="19" y="10"/>
                      <a:pt x="16" y="13"/>
                      <a:pt x="10" y="18"/>
                    </a:cubicBezTo>
                    <a:cubicBezTo>
                      <a:pt x="6" y="15"/>
                      <a:pt x="3" y="15"/>
                      <a:pt x="0" y="12"/>
                    </a:cubicBezTo>
                    <a:cubicBezTo>
                      <a:pt x="0" y="7"/>
                      <a:pt x="0" y="7"/>
                      <a:pt x="0" y="7"/>
                    </a:cubicBezTo>
                    <a:cubicBezTo>
                      <a:pt x="8" y="5"/>
                      <a:pt x="14" y="0"/>
                      <a:pt x="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7" name="Freeform 97"/>
              <p:cNvSpPr>
                <a:spLocks/>
              </p:cNvSpPr>
              <p:nvPr/>
            </p:nvSpPr>
            <p:spPr bwMode="auto">
              <a:xfrm>
                <a:off x="3311525" y="1963738"/>
                <a:ext cx="42863" cy="22225"/>
              </a:xfrm>
              <a:custGeom>
                <a:avLst/>
                <a:gdLst/>
                <a:ahLst/>
                <a:cxnLst>
                  <a:cxn ang="0">
                    <a:pos x="26" y="17"/>
                  </a:cxn>
                  <a:cxn ang="0">
                    <a:pos x="32" y="14"/>
                  </a:cxn>
                  <a:cxn ang="0">
                    <a:pos x="0" y="3"/>
                  </a:cxn>
                  <a:cxn ang="0">
                    <a:pos x="26" y="17"/>
                  </a:cxn>
                </a:cxnLst>
                <a:rect l="0" t="0" r="r" b="b"/>
                <a:pathLst>
                  <a:path w="32" h="17">
                    <a:moveTo>
                      <a:pt x="26" y="17"/>
                    </a:moveTo>
                    <a:cubicBezTo>
                      <a:pt x="29" y="17"/>
                      <a:pt x="30" y="16"/>
                      <a:pt x="32" y="14"/>
                    </a:cubicBezTo>
                    <a:cubicBezTo>
                      <a:pt x="22" y="9"/>
                      <a:pt x="14" y="0"/>
                      <a:pt x="0" y="3"/>
                    </a:cubicBezTo>
                    <a:cubicBezTo>
                      <a:pt x="6" y="7"/>
                      <a:pt x="18" y="17"/>
                      <a:pt x="26"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8" name="Freeform 98"/>
              <p:cNvSpPr>
                <a:spLocks/>
              </p:cNvSpPr>
              <p:nvPr/>
            </p:nvSpPr>
            <p:spPr bwMode="auto">
              <a:xfrm>
                <a:off x="3314700" y="2030413"/>
                <a:ext cx="31750" cy="20638"/>
              </a:xfrm>
              <a:custGeom>
                <a:avLst/>
                <a:gdLst/>
                <a:ahLst/>
                <a:cxnLst>
                  <a:cxn ang="0">
                    <a:pos x="1" y="0"/>
                  </a:cxn>
                  <a:cxn ang="0">
                    <a:pos x="11" y="7"/>
                  </a:cxn>
                  <a:cxn ang="0">
                    <a:pos x="24" y="7"/>
                  </a:cxn>
                  <a:cxn ang="0">
                    <a:pos x="24" y="10"/>
                  </a:cxn>
                  <a:cxn ang="0">
                    <a:pos x="19" y="15"/>
                  </a:cxn>
                  <a:cxn ang="0">
                    <a:pos x="0" y="3"/>
                  </a:cxn>
                  <a:cxn ang="0">
                    <a:pos x="1" y="0"/>
                  </a:cxn>
                </a:cxnLst>
                <a:rect l="0" t="0" r="r" b="b"/>
                <a:pathLst>
                  <a:path w="24" h="15">
                    <a:moveTo>
                      <a:pt x="1" y="0"/>
                    </a:moveTo>
                    <a:cubicBezTo>
                      <a:pt x="4" y="4"/>
                      <a:pt x="7" y="6"/>
                      <a:pt x="11" y="7"/>
                    </a:cubicBezTo>
                    <a:cubicBezTo>
                      <a:pt x="24" y="7"/>
                      <a:pt x="24" y="7"/>
                      <a:pt x="24" y="7"/>
                    </a:cubicBezTo>
                    <a:cubicBezTo>
                      <a:pt x="24" y="8"/>
                      <a:pt x="24" y="9"/>
                      <a:pt x="24" y="10"/>
                    </a:cubicBezTo>
                    <a:cubicBezTo>
                      <a:pt x="24" y="12"/>
                      <a:pt x="20" y="15"/>
                      <a:pt x="19" y="15"/>
                    </a:cubicBezTo>
                    <a:cubicBezTo>
                      <a:pt x="16" y="15"/>
                      <a:pt x="0" y="6"/>
                      <a:pt x="0" y="3"/>
                    </a:cubicBezTo>
                    <a:cubicBezTo>
                      <a:pt x="0" y="2"/>
                      <a:pt x="0"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79" name="Freeform 99"/>
              <p:cNvSpPr>
                <a:spLocks/>
              </p:cNvSpPr>
              <p:nvPr/>
            </p:nvSpPr>
            <p:spPr bwMode="auto">
              <a:xfrm>
                <a:off x="3362325" y="2030413"/>
                <a:ext cx="22225" cy="26988"/>
              </a:xfrm>
              <a:custGeom>
                <a:avLst/>
                <a:gdLst/>
                <a:ahLst/>
                <a:cxnLst>
                  <a:cxn ang="0">
                    <a:pos x="17" y="12"/>
                  </a:cxn>
                  <a:cxn ang="0">
                    <a:pos x="17" y="15"/>
                  </a:cxn>
                  <a:cxn ang="0">
                    <a:pos x="7" y="20"/>
                  </a:cxn>
                  <a:cxn ang="0">
                    <a:pos x="0" y="15"/>
                  </a:cxn>
                  <a:cxn ang="0">
                    <a:pos x="10" y="0"/>
                  </a:cxn>
                  <a:cxn ang="0">
                    <a:pos x="14" y="5"/>
                  </a:cxn>
                  <a:cxn ang="0">
                    <a:pos x="17" y="12"/>
                  </a:cxn>
                </a:cxnLst>
                <a:rect l="0" t="0" r="r" b="b"/>
                <a:pathLst>
                  <a:path w="17" h="20">
                    <a:moveTo>
                      <a:pt x="17" y="12"/>
                    </a:moveTo>
                    <a:cubicBezTo>
                      <a:pt x="17" y="12"/>
                      <a:pt x="17" y="14"/>
                      <a:pt x="17" y="15"/>
                    </a:cubicBezTo>
                    <a:cubicBezTo>
                      <a:pt x="17" y="18"/>
                      <a:pt x="12" y="20"/>
                      <a:pt x="7" y="20"/>
                    </a:cubicBezTo>
                    <a:cubicBezTo>
                      <a:pt x="3" y="20"/>
                      <a:pt x="0" y="18"/>
                      <a:pt x="0" y="15"/>
                    </a:cubicBezTo>
                    <a:cubicBezTo>
                      <a:pt x="0" y="13"/>
                      <a:pt x="6" y="2"/>
                      <a:pt x="10" y="0"/>
                    </a:cubicBezTo>
                    <a:cubicBezTo>
                      <a:pt x="11" y="2"/>
                      <a:pt x="14" y="3"/>
                      <a:pt x="14" y="5"/>
                    </a:cubicBezTo>
                    <a:cubicBezTo>
                      <a:pt x="14" y="9"/>
                      <a:pt x="7" y="12"/>
                      <a:pt x="17"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80" name="Freeform 100"/>
              <p:cNvSpPr>
                <a:spLocks/>
              </p:cNvSpPr>
              <p:nvPr/>
            </p:nvSpPr>
            <p:spPr bwMode="auto">
              <a:xfrm>
                <a:off x="1593850" y="1724025"/>
                <a:ext cx="26988" cy="12700"/>
              </a:xfrm>
              <a:custGeom>
                <a:avLst/>
                <a:gdLst/>
                <a:ahLst/>
                <a:cxnLst>
                  <a:cxn ang="0">
                    <a:pos x="6" y="4"/>
                  </a:cxn>
                  <a:cxn ang="0">
                    <a:pos x="13" y="1"/>
                  </a:cxn>
                  <a:cxn ang="0">
                    <a:pos x="20" y="9"/>
                  </a:cxn>
                  <a:cxn ang="0">
                    <a:pos x="5" y="9"/>
                  </a:cxn>
                  <a:cxn ang="0">
                    <a:pos x="0" y="4"/>
                  </a:cxn>
                  <a:cxn ang="0">
                    <a:pos x="6" y="4"/>
                  </a:cxn>
                </a:cxnLst>
                <a:rect l="0" t="0" r="r" b="b"/>
                <a:pathLst>
                  <a:path w="20" h="9">
                    <a:moveTo>
                      <a:pt x="6" y="4"/>
                    </a:moveTo>
                    <a:cubicBezTo>
                      <a:pt x="8" y="0"/>
                      <a:pt x="10" y="1"/>
                      <a:pt x="13" y="1"/>
                    </a:cubicBezTo>
                    <a:cubicBezTo>
                      <a:pt x="18" y="1"/>
                      <a:pt x="19" y="4"/>
                      <a:pt x="20" y="9"/>
                    </a:cubicBezTo>
                    <a:cubicBezTo>
                      <a:pt x="5" y="9"/>
                      <a:pt x="5" y="9"/>
                      <a:pt x="5" y="9"/>
                    </a:cubicBezTo>
                    <a:cubicBezTo>
                      <a:pt x="3" y="7"/>
                      <a:pt x="1" y="6"/>
                      <a:pt x="0" y="4"/>
                    </a:cubicBezTo>
                    <a:lnTo>
                      <a:pt x="6"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grpSp>
        <p:grpSp>
          <p:nvGrpSpPr>
            <p:cNvPr id="15" name="Group 345"/>
            <p:cNvGrpSpPr/>
            <p:nvPr/>
          </p:nvGrpSpPr>
          <p:grpSpPr>
            <a:xfrm>
              <a:off x="3103551" y="1256797"/>
              <a:ext cx="669405" cy="1125467"/>
              <a:chOff x="4219575" y="1089025"/>
              <a:chExt cx="687388" cy="1155701"/>
            </a:xfrm>
            <a:grpFill/>
          </p:grpSpPr>
          <p:sp>
            <p:nvSpPr>
              <p:cNvPr id="103" name="Freeform 36"/>
              <p:cNvSpPr>
                <a:spLocks/>
              </p:cNvSpPr>
              <p:nvPr/>
            </p:nvSpPr>
            <p:spPr bwMode="auto">
              <a:xfrm>
                <a:off x="4568825" y="1816100"/>
                <a:ext cx="26988" cy="39688"/>
              </a:xfrm>
              <a:custGeom>
                <a:avLst/>
                <a:gdLst/>
                <a:ahLst/>
                <a:cxnLst>
                  <a:cxn ang="0">
                    <a:pos x="3" y="27"/>
                  </a:cxn>
                  <a:cxn ang="0">
                    <a:pos x="9" y="21"/>
                  </a:cxn>
                  <a:cxn ang="0">
                    <a:pos x="0" y="14"/>
                  </a:cxn>
                  <a:cxn ang="0">
                    <a:pos x="9" y="0"/>
                  </a:cxn>
                  <a:cxn ang="0">
                    <a:pos x="20" y="12"/>
                  </a:cxn>
                  <a:cxn ang="0">
                    <a:pos x="6" y="30"/>
                  </a:cxn>
                  <a:cxn ang="0">
                    <a:pos x="0" y="27"/>
                  </a:cxn>
                  <a:cxn ang="0">
                    <a:pos x="2" y="25"/>
                  </a:cxn>
                  <a:cxn ang="0">
                    <a:pos x="3" y="27"/>
                  </a:cxn>
                </a:cxnLst>
                <a:rect l="0" t="0" r="r" b="b"/>
                <a:pathLst>
                  <a:path w="20" h="30">
                    <a:moveTo>
                      <a:pt x="3" y="27"/>
                    </a:moveTo>
                    <a:cubicBezTo>
                      <a:pt x="6" y="26"/>
                      <a:pt x="9" y="23"/>
                      <a:pt x="9" y="21"/>
                    </a:cubicBezTo>
                    <a:cubicBezTo>
                      <a:pt x="5" y="20"/>
                      <a:pt x="0" y="16"/>
                      <a:pt x="0" y="14"/>
                    </a:cubicBezTo>
                    <a:cubicBezTo>
                      <a:pt x="0" y="12"/>
                      <a:pt x="5" y="0"/>
                      <a:pt x="9" y="0"/>
                    </a:cubicBezTo>
                    <a:cubicBezTo>
                      <a:pt x="17" y="0"/>
                      <a:pt x="18" y="4"/>
                      <a:pt x="20" y="12"/>
                    </a:cubicBezTo>
                    <a:cubicBezTo>
                      <a:pt x="12" y="14"/>
                      <a:pt x="16" y="30"/>
                      <a:pt x="6" y="30"/>
                    </a:cubicBezTo>
                    <a:cubicBezTo>
                      <a:pt x="3" y="30"/>
                      <a:pt x="1" y="27"/>
                      <a:pt x="0" y="27"/>
                    </a:cubicBezTo>
                    <a:cubicBezTo>
                      <a:pt x="1" y="26"/>
                      <a:pt x="2" y="25"/>
                      <a:pt x="2" y="25"/>
                    </a:cubicBezTo>
                    <a:lnTo>
                      <a:pt x="3"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grpSp>
            <p:nvGrpSpPr>
              <p:cNvPr id="104" name="Group 343"/>
              <p:cNvGrpSpPr/>
              <p:nvPr/>
            </p:nvGrpSpPr>
            <p:grpSpPr>
              <a:xfrm>
                <a:off x="4219575" y="1089025"/>
                <a:ext cx="687388" cy="1155701"/>
                <a:chOff x="4219575" y="1089025"/>
                <a:chExt cx="687388" cy="1155701"/>
              </a:xfrm>
              <a:grpFill/>
            </p:grpSpPr>
            <p:sp>
              <p:nvSpPr>
                <p:cNvPr id="105" name="Freeform 24"/>
                <p:cNvSpPr>
                  <a:spLocks/>
                </p:cNvSpPr>
                <p:nvPr/>
              </p:nvSpPr>
              <p:spPr bwMode="auto">
                <a:xfrm>
                  <a:off x="4230688" y="1782763"/>
                  <a:ext cx="646113" cy="461963"/>
                </a:xfrm>
                <a:custGeom>
                  <a:avLst/>
                  <a:gdLst/>
                  <a:ahLst/>
                  <a:cxnLst>
                    <a:cxn ang="0">
                      <a:pos x="473" y="233"/>
                    </a:cxn>
                    <a:cxn ang="0">
                      <a:pos x="470" y="273"/>
                    </a:cxn>
                    <a:cxn ang="0">
                      <a:pos x="427" y="274"/>
                    </a:cxn>
                    <a:cxn ang="0">
                      <a:pos x="401" y="283"/>
                    </a:cxn>
                    <a:cxn ang="0">
                      <a:pos x="403" y="303"/>
                    </a:cxn>
                    <a:cxn ang="0">
                      <a:pos x="413" y="322"/>
                    </a:cxn>
                    <a:cxn ang="0">
                      <a:pos x="401" y="319"/>
                    </a:cxn>
                    <a:cxn ang="0">
                      <a:pos x="397" y="336"/>
                    </a:cxn>
                    <a:cxn ang="0">
                      <a:pos x="382" y="315"/>
                    </a:cxn>
                    <a:cxn ang="0">
                      <a:pos x="358" y="278"/>
                    </a:cxn>
                    <a:cxn ang="0">
                      <a:pos x="329" y="238"/>
                    </a:cxn>
                    <a:cxn ang="0">
                      <a:pos x="289" y="213"/>
                    </a:cxn>
                    <a:cxn ang="0">
                      <a:pos x="270" y="212"/>
                    </a:cxn>
                    <a:cxn ang="0">
                      <a:pos x="289" y="244"/>
                    </a:cxn>
                    <a:cxn ang="0">
                      <a:pos x="315" y="264"/>
                    </a:cxn>
                    <a:cxn ang="0">
                      <a:pos x="330" y="283"/>
                    </a:cxn>
                    <a:cxn ang="0">
                      <a:pos x="323" y="305"/>
                    </a:cxn>
                    <a:cxn ang="0">
                      <a:pos x="316" y="303"/>
                    </a:cxn>
                    <a:cxn ang="0">
                      <a:pos x="291" y="273"/>
                    </a:cxn>
                    <a:cxn ang="0">
                      <a:pos x="229" y="223"/>
                    </a:cxn>
                    <a:cxn ang="0">
                      <a:pos x="168" y="237"/>
                    </a:cxn>
                    <a:cxn ang="0">
                      <a:pos x="135" y="272"/>
                    </a:cxn>
                    <a:cxn ang="0">
                      <a:pos x="101" y="326"/>
                    </a:cxn>
                    <a:cxn ang="0">
                      <a:pos x="72" y="338"/>
                    </a:cxn>
                    <a:cxn ang="0">
                      <a:pos x="10" y="334"/>
                    </a:cxn>
                    <a:cxn ang="0">
                      <a:pos x="0" y="306"/>
                    </a:cxn>
                    <a:cxn ang="0">
                      <a:pos x="4" y="246"/>
                    </a:cxn>
                    <a:cxn ang="0">
                      <a:pos x="48" y="235"/>
                    </a:cxn>
                    <a:cxn ang="0">
                      <a:pos x="89" y="240"/>
                    </a:cxn>
                    <a:cxn ang="0">
                      <a:pos x="105" y="206"/>
                    </a:cxn>
                    <a:cxn ang="0">
                      <a:pos x="103" y="193"/>
                    </a:cxn>
                    <a:cxn ang="0">
                      <a:pos x="60" y="163"/>
                    </a:cxn>
                    <a:cxn ang="0">
                      <a:pos x="88" y="157"/>
                    </a:cxn>
                    <a:cxn ang="0">
                      <a:pos x="96" y="143"/>
                    </a:cxn>
                    <a:cxn ang="0">
                      <a:pos x="114" y="145"/>
                    </a:cxn>
                    <a:cxn ang="0">
                      <a:pos x="147" y="118"/>
                    </a:cxn>
                    <a:cxn ang="0">
                      <a:pos x="176" y="89"/>
                    </a:cxn>
                    <a:cxn ang="0">
                      <a:pos x="208" y="73"/>
                    </a:cxn>
                    <a:cxn ang="0">
                      <a:pos x="225" y="54"/>
                    </a:cxn>
                    <a:cxn ang="0">
                      <a:pos x="245" y="5"/>
                    </a:cxn>
                    <a:cxn ang="0">
                      <a:pos x="251" y="25"/>
                    </a:cxn>
                    <a:cxn ang="0">
                      <a:pos x="240" y="54"/>
                    </a:cxn>
                    <a:cxn ang="0">
                      <a:pos x="254" y="66"/>
                    </a:cxn>
                    <a:cxn ang="0">
                      <a:pos x="289" y="68"/>
                    </a:cxn>
                    <a:cxn ang="0">
                      <a:pos x="333" y="50"/>
                    </a:cxn>
                    <a:cxn ang="0">
                      <a:pos x="378" y="55"/>
                    </a:cxn>
                    <a:cxn ang="0">
                      <a:pos x="408" y="95"/>
                    </a:cxn>
                    <a:cxn ang="0">
                      <a:pos x="399" y="153"/>
                    </a:cxn>
                    <a:cxn ang="0">
                      <a:pos x="470" y="180"/>
                    </a:cxn>
                    <a:cxn ang="0">
                      <a:pos x="474" y="204"/>
                    </a:cxn>
                    <a:cxn ang="0">
                      <a:pos x="476" y="216"/>
                    </a:cxn>
                  </a:cxnLst>
                  <a:rect l="0" t="0" r="r" b="b"/>
                  <a:pathLst>
                    <a:path w="485" h="347">
                      <a:moveTo>
                        <a:pt x="476" y="216"/>
                      </a:moveTo>
                      <a:cubicBezTo>
                        <a:pt x="474" y="223"/>
                        <a:pt x="475" y="219"/>
                        <a:pt x="473" y="222"/>
                      </a:cubicBezTo>
                      <a:cubicBezTo>
                        <a:pt x="473" y="233"/>
                        <a:pt x="473" y="233"/>
                        <a:pt x="473" y="233"/>
                      </a:cubicBezTo>
                      <a:cubicBezTo>
                        <a:pt x="469" y="238"/>
                        <a:pt x="461" y="246"/>
                        <a:pt x="461" y="253"/>
                      </a:cubicBezTo>
                      <a:cubicBezTo>
                        <a:pt x="461" y="261"/>
                        <a:pt x="473" y="268"/>
                        <a:pt x="476" y="272"/>
                      </a:cubicBezTo>
                      <a:cubicBezTo>
                        <a:pt x="474" y="273"/>
                        <a:pt x="472" y="273"/>
                        <a:pt x="470" y="273"/>
                      </a:cubicBezTo>
                      <a:cubicBezTo>
                        <a:pt x="466" y="275"/>
                        <a:pt x="463" y="273"/>
                        <a:pt x="459" y="275"/>
                      </a:cubicBezTo>
                      <a:cubicBezTo>
                        <a:pt x="453" y="277"/>
                        <a:pt x="452" y="283"/>
                        <a:pt x="446" y="283"/>
                      </a:cubicBezTo>
                      <a:cubicBezTo>
                        <a:pt x="439" y="283"/>
                        <a:pt x="435" y="274"/>
                        <a:pt x="427" y="274"/>
                      </a:cubicBezTo>
                      <a:cubicBezTo>
                        <a:pt x="420" y="274"/>
                        <a:pt x="419" y="278"/>
                        <a:pt x="413" y="280"/>
                      </a:cubicBezTo>
                      <a:cubicBezTo>
                        <a:pt x="414" y="284"/>
                        <a:pt x="414" y="286"/>
                        <a:pt x="413" y="290"/>
                      </a:cubicBezTo>
                      <a:cubicBezTo>
                        <a:pt x="406" y="290"/>
                        <a:pt x="405" y="283"/>
                        <a:pt x="401" y="283"/>
                      </a:cubicBezTo>
                      <a:cubicBezTo>
                        <a:pt x="399" y="283"/>
                        <a:pt x="397" y="286"/>
                        <a:pt x="397" y="288"/>
                      </a:cubicBezTo>
                      <a:cubicBezTo>
                        <a:pt x="405" y="298"/>
                        <a:pt x="405" y="298"/>
                        <a:pt x="405" y="298"/>
                      </a:cubicBezTo>
                      <a:cubicBezTo>
                        <a:pt x="405" y="300"/>
                        <a:pt x="403" y="302"/>
                        <a:pt x="403" y="303"/>
                      </a:cubicBezTo>
                      <a:cubicBezTo>
                        <a:pt x="403" y="304"/>
                        <a:pt x="415" y="315"/>
                        <a:pt x="419" y="315"/>
                      </a:cubicBezTo>
                      <a:cubicBezTo>
                        <a:pt x="419" y="317"/>
                        <a:pt x="420" y="318"/>
                        <a:pt x="420" y="319"/>
                      </a:cubicBezTo>
                      <a:cubicBezTo>
                        <a:pt x="418" y="321"/>
                        <a:pt x="414" y="319"/>
                        <a:pt x="413" y="322"/>
                      </a:cubicBezTo>
                      <a:cubicBezTo>
                        <a:pt x="412" y="322"/>
                        <a:pt x="412" y="322"/>
                        <a:pt x="412" y="322"/>
                      </a:cubicBezTo>
                      <a:cubicBezTo>
                        <a:pt x="407" y="321"/>
                        <a:pt x="403" y="317"/>
                        <a:pt x="401" y="315"/>
                      </a:cubicBezTo>
                      <a:cubicBezTo>
                        <a:pt x="401" y="319"/>
                        <a:pt x="401" y="319"/>
                        <a:pt x="401" y="319"/>
                      </a:cubicBezTo>
                      <a:cubicBezTo>
                        <a:pt x="402" y="321"/>
                        <a:pt x="403" y="323"/>
                        <a:pt x="403" y="326"/>
                      </a:cubicBezTo>
                      <a:cubicBezTo>
                        <a:pt x="403" y="329"/>
                        <a:pt x="399" y="334"/>
                        <a:pt x="403" y="336"/>
                      </a:cubicBezTo>
                      <a:cubicBezTo>
                        <a:pt x="401" y="336"/>
                        <a:pt x="397" y="336"/>
                        <a:pt x="397" y="336"/>
                      </a:cubicBezTo>
                      <a:cubicBezTo>
                        <a:pt x="390" y="336"/>
                        <a:pt x="384" y="329"/>
                        <a:pt x="384" y="322"/>
                      </a:cubicBezTo>
                      <a:cubicBezTo>
                        <a:pt x="384" y="319"/>
                        <a:pt x="388" y="317"/>
                        <a:pt x="390" y="315"/>
                      </a:cubicBezTo>
                      <a:cubicBezTo>
                        <a:pt x="387" y="315"/>
                        <a:pt x="385" y="315"/>
                        <a:pt x="382" y="315"/>
                      </a:cubicBezTo>
                      <a:cubicBezTo>
                        <a:pt x="380" y="315"/>
                        <a:pt x="379" y="311"/>
                        <a:pt x="379" y="310"/>
                      </a:cubicBezTo>
                      <a:cubicBezTo>
                        <a:pt x="378" y="304"/>
                        <a:pt x="374" y="300"/>
                        <a:pt x="370" y="296"/>
                      </a:cubicBezTo>
                      <a:cubicBezTo>
                        <a:pt x="365" y="291"/>
                        <a:pt x="358" y="287"/>
                        <a:pt x="358" y="278"/>
                      </a:cubicBezTo>
                      <a:cubicBezTo>
                        <a:pt x="358" y="272"/>
                        <a:pt x="358" y="270"/>
                        <a:pt x="358" y="266"/>
                      </a:cubicBezTo>
                      <a:cubicBezTo>
                        <a:pt x="358" y="260"/>
                        <a:pt x="348" y="251"/>
                        <a:pt x="342" y="248"/>
                      </a:cubicBezTo>
                      <a:cubicBezTo>
                        <a:pt x="336" y="245"/>
                        <a:pt x="329" y="244"/>
                        <a:pt x="329" y="238"/>
                      </a:cubicBezTo>
                      <a:cubicBezTo>
                        <a:pt x="326" y="238"/>
                        <a:pt x="325" y="238"/>
                        <a:pt x="323" y="238"/>
                      </a:cubicBezTo>
                      <a:cubicBezTo>
                        <a:pt x="313" y="238"/>
                        <a:pt x="302" y="223"/>
                        <a:pt x="302" y="213"/>
                      </a:cubicBezTo>
                      <a:cubicBezTo>
                        <a:pt x="297" y="213"/>
                        <a:pt x="293" y="213"/>
                        <a:pt x="289" y="213"/>
                      </a:cubicBezTo>
                      <a:cubicBezTo>
                        <a:pt x="283" y="213"/>
                        <a:pt x="285" y="204"/>
                        <a:pt x="283" y="201"/>
                      </a:cubicBezTo>
                      <a:cubicBezTo>
                        <a:pt x="278" y="204"/>
                        <a:pt x="268" y="204"/>
                        <a:pt x="268" y="209"/>
                      </a:cubicBezTo>
                      <a:cubicBezTo>
                        <a:pt x="268" y="210"/>
                        <a:pt x="270" y="212"/>
                        <a:pt x="270" y="212"/>
                      </a:cubicBezTo>
                      <a:cubicBezTo>
                        <a:pt x="270" y="214"/>
                        <a:pt x="269" y="217"/>
                        <a:pt x="269" y="220"/>
                      </a:cubicBezTo>
                      <a:cubicBezTo>
                        <a:pt x="269" y="226"/>
                        <a:pt x="273" y="229"/>
                        <a:pt x="278" y="231"/>
                      </a:cubicBezTo>
                      <a:cubicBezTo>
                        <a:pt x="285" y="233"/>
                        <a:pt x="288" y="240"/>
                        <a:pt x="289" y="244"/>
                      </a:cubicBezTo>
                      <a:cubicBezTo>
                        <a:pt x="291" y="250"/>
                        <a:pt x="294" y="257"/>
                        <a:pt x="298" y="259"/>
                      </a:cubicBezTo>
                      <a:cubicBezTo>
                        <a:pt x="304" y="262"/>
                        <a:pt x="309" y="260"/>
                        <a:pt x="315" y="260"/>
                      </a:cubicBezTo>
                      <a:cubicBezTo>
                        <a:pt x="315" y="261"/>
                        <a:pt x="315" y="263"/>
                        <a:pt x="315" y="264"/>
                      </a:cubicBezTo>
                      <a:cubicBezTo>
                        <a:pt x="313" y="269"/>
                        <a:pt x="323" y="271"/>
                        <a:pt x="326" y="272"/>
                      </a:cubicBezTo>
                      <a:cubicBezTo>
                        <a:pt x="335" y="277"/>
                        <a:pt x="345" y="280"/>
                        <a:pt x="344" y="290"/>
                      </a:cubicBezTo>
                      <a:cubicBezTo>
                        <a:pt x="340" y="289"/>
                        <a:pt x="337" y="283"/>
                        <a:pt x="330" y="283"/>
                      </a:cubicBezTo>
                      <a:cubicBezTo>
                        <a:pt x="325" y="283"/>
                        <a:pt x="320" y="286"/>
                        <a:pt x="320" y="290"/>
                      </a:cubicBezTo>
                      <a:cubicBezTo>
                        <a:pt x="320" y="296"/>
                        <a:pt x="328" y="297"/>
                        <a:pt x="328" y="303"/>
                      </a:cubicBezTo>
                      <a:cubicBezTo>
                        <a:pt x="328" y="305"/>
                        <a:pt x="323" y="305"/>
                        <a:pt x="323" y="305"/>
                      </a:cubicBezTo>
                      <a:cubicBezTo>
                        <a:pt x="319" y="309"/>
                        <a:pt x="319" y="318"/>
                        <a:pt x="313" y="318"/>
                      </a:cubicBezTo>
                      <a:cubicBezTo>
                        <a:pt x="310" y="318"/>
                        <a:pt x="308" y="317"/>
                        <a:pt x="308" y="315"/>
                      </a:cubicBezTo>
                      <a:cubicBezTo>
                        <a:pt x="314" y="315"/>
                        <a:pt x="316" y="309"/>
                        <a:pt x="316" y="303"/>
                      </a:cubicBezTo>
                      <a:cubicBezTo>
                        <a:pt x="316" y="297"/>
                        <a:pt x="312" y="295"/>
                        <a:pt x="311" y="291"/>
                      </a:cubicBezTo>
                      <a:cubicBezTo>
                        <a:pt x="310" y="291"/>
                        <a:pt x="300" y="281"/>
                        <a:pt x="299" y="278"/>
                      </a:cubicBezTo>
                      <a:cubicBezTo>
                        <a:pt x="297" y="278"/>
                        <a:pt x="291" y="276"/>
                        <a:pt x="291" y="273"/>
                      </a:cubicBezTo>
                      <a:cubicBezTo>
                        <a:pt x="277" y="270"/>
                        <a:pt x="274" y="266"/>
                        <a:pt x="266" y="259"/>
                      </a:cubicBezTo>
                      <a:cubicBezTo>
                        <a:pt x="263" y="256"/>
                        <a:pt x="257" y="254"/>
                        <a:pt x="256" y="251"/>
                      </a:cubicBezTo>
                      <a:cubicBezTo>
                        <a:pt x="248" y="241"/>
                        <a:pt x="245" y="223"/>
                        <a:pt x="229" y="223"/>
                      </a:cubicBezTo>
                      <a:cubicBezTo>
                        <a:pt x="221" y="223"/>
                        <a:pt x="220" y="228"/>
                        <a:pt x="216" y="230"/>
                      </a:cubicBezTo>
                      <a:cubicBezTo>
                        <a:pt x="208" y="234"/>
                        <a:pt x="202" y="242"/>
                        <a:pt x="192" y="242"/>
                      </a:cubicBezTo>
                      <a:cubicBezTo>
                        <a:pt x="183" y="242"/>
                        <a:pt x="177" y="237"/>
                        <a:pt x="168" y="237"/>
                      </a:cubicBezTo>
                      <a:cubicBezTo>
                        <a:pt x="161" y="237"/>
                        <a:pt x="154" y="242"/>
                        <a:pt x="154" y="248"/>
                      </a:cubicBezTo>
                      <a:cubicBezTo>
                        <a:pt x="157" y="258"/>
                        <a:pt x="157" y="258"/>
                        <a:pt x="157" y="258"/>
                      </a:cubicBezTo>
                      <a:cubicBezTo>
                        <a:pt x="154" y="267"/>
                        <a:pt x="144" y="270"/>
                        <a:pt x="135" y="272"/>
                      </a:cubicBezTo>
                      <a:cubicBezTo>
                        <a:pt x="127" y="274"/>
                        <a:pt x="114" y="292"/>
                        <a:pt x="114" y="302"/>
                      </a:cubicBezTo>
                      <a:cubicBezTo>
                        <a:pt x="114" y="305"/>
                        <a:pt x="117" y="306"/>
                        <a:pt x="119" y="307"/>
                      </a:cubicBezTo>
                      <a:cubicBezTo>
                        <a:pt x="113" y="316"/>
                        <a:pt x="110" y="321"/>
                        <a:pt x="101" y="326"/>
                      </a:cubicBezTo>
                      <a:cubicBezTo>
                        <a:pt x="96" y="328"/>
                        <a:pt x="95" y="340"/>
                        <a:pt x="86" y="337"/>
                      </a:cubicBezTo>
                      <a:cubicBezTo>
                        <a:pt x="86" y="337"/>
                        <a:pt x="86" y="337"/>
                        <a:pt x="86" y="337"/>
                      </a:cubicBezTo>
                      <a:cubicBezTo>
                        <a:pt x="82" y="336"/>
                        <a:pt x="75" y="338"/>
                        <a:pt x="72" y="338"/>
                      </a:cubicBezTo>
                      <a:cubicBezTo>
                        <a:pt x="62" y="338"/>
                        <a:pt x="56" y="347"/>
                        <a:pt x="46" y="347"/>
                      </a:cubicBezTo>
                      <a:cubicBezTo>
                        <a:pt x="40" y="347"/>
                        <a:pt x="39" y="331"/>
                        <a:pt x="29" y="331"/>
                      </a:cubicBezTo>
                      <a:cubicBezTo>
                        <a:pt x="22" y="331"/>
                        <a:pt x="17" y="334"/>
                        <a:pt x="10" y="334"/>
                      </a:cubicBezTo>
                      <a:cubicBezTo>
                        <a:pt x="8" y="334"/>
                        <a:pt x="7" y="332"/>
                        <a:pt x="7" y="330"/>
                      </a:cubicBezTo>
                      <a:cubicBezTo>
                        <a:pt x="7" y="321"/>
                        <a:pt x="7" y="318"/>
                        <a:pt x="7" y="313"/>
                      </a:cubicBezTo>
                      <a:cubicBezTo>
                        <a:pt x="3" y="313"/>
                        <a:pt x="0" y="310"/>
                        <a:pt x="0" y="306"/>
                      </a:cubicBezTo>
                      <a:cubicBezTo>
                        <a:pt x="0" y="301"/>
                        <a:pt x="4" y="299"/>
                        <a:pt x="4" y="296"/>
                      </a:cubicBezTo>
                      <a:cubicBezTo>
                        <a:pt x="4" y="285"/>
                        <a:pt x="8" y="274"/>
                        <a:pt x="8" y="262"/>
                      </a:cubicBezTo>
                      <a:cubicBezTo>
                        <a:pt x="8" y="256"/>
                        <a:pt x="4" y="250"/>
                        <a:pt x="4" y="246"/>
                      </a:cubicBezTo>
                      <a:cubicBezTo>
                        <a:pt x="4" y="243"/>
                        <a:pt x="19" y="234"/>
                        <a:pt x="21" y="234"/>
                      </a:cubicBezTo>
                      <a:cubicBezTo>
                        <a:pt x="23" y="234"/>
                        <a:pt x="25" y="236"/>
                        <a:pt x="28" y="235"/>
                      </a:cubicBezTo>
                      <a:cubicBezTo>
                        <a:pt x="48" y="235"/>
                        <a:pt x="48" y="235"/>
                        <a:pt x="48" y="235"/>
                      </a:cubicBezTo>
                      <a:cubicBezTo>
                        <a:pt x="49" y="237"/>
                        <a:pt x="53" y="238"/>
                        <a:pt x="55" y="238"/>
                      </a:cubicBezTo>
                      <a:cubicBezTo>
                        <a:pt x="76" y="238"/>
                        <a:pt x="76" y="238"/>
                        <a:pt x="76" y="238"/>
                      </a:cubicBezTo>
                      <a:cubicBezTo>
                        <a:pt x="82" y="237"/>
                        <a:pt x="84" y="240"/>
                        <a:pt x="89" y="240"/>
                      </a:cubicBezTo>
                      <a:cubicBezTo>
                        <a:pt x="92" y="240"/>
                        <a:pt x="98" y="238"/>
                        <a:pt x="100" y="238"/>
                      </a:cubicBezTo>
                      <a:cubicBezTo>
                        <a:pt x="100" y="229"/>
                        <a:pt x="105" y="226"/>
                        <a:pt x="105" y="218"/>
                      </a:cubicBezTo>
                      <a:cubicBezTo>
                        <a:pt x="105" y="216"/>
                        <a:pt x="105" y="208"/>
                        <a:pt x="105" y="206"/>
                      </a:cubicBezTo>
                      <a:cubicBezTo>
                        <a:pt x="104" y="206"/>
                        <a:pt x="104" y="206"/>
                        <a:pt x="104" y="206"/>
                      </a:cubicBezTo>
                      <a:cubicBezTo>
                        <a:pt x="105" y="205"/>
                        <a:pt x="106" y="201"/>
                        <a:pt x="106" y="200"/>
                      </a:cubicBezTo>
                      <a:cubicBezTo>
                        <a:pt x="106" y="196"/>
                        <a:pt x="103" y="197"/>
                        <a:pt x="103" y="193"/>
                      </a:cubicBezTo>
                      <a:cubicBezTo>
                        <a:pt x="94" y="193"/>
                        <a:pt x="92" y="185"/>
                        <a:pt x="92" y="178"/>
                      </a:cubicBezTo>
                      <a:cubicBezTo>
                        <a:pt x="89" y="178"/>
                        <a:pt x="89" y="175"/>
                        <a:pt x="87" y="175"/>
                      </a:cubicBezTo>
                      <a:cubicBezTo>
                        <a:pt x="79" y="173"/>
                        <a:pt x="60" y="169"/>
                        <a:pt x="60" y="163"/>
                      </a:cubicBezTo>
                      <a:cubicBezTo>
                        <a:pt x="60" y="163"/>
                        <a:pt x="60" y="161"/>
                        <a:pt x="60" y="161"/>
                      </a:cubicBezTo>
                      <a:cubicBezTo>
                        <a:pt x="60" y="157"/>
                        <a:pt x="72" y="154"/>
                        <a:pt x="76" y="153"/>
                      </a:cubicBezTo>
                      <a:cubicBezTo>
                        <a:pt x="78" y="156"/>
                        <a:pt x="85" y="157"/>
                        <a:pt x="88" y="157"/>
                      </a:cubicBezTo>
                      <a:cubicBezTo>
                        <a:pt x="92" y="157"/>
                        <a:pt x="97" y="156"/>
                        <a:pt x="98" y="155"/>
                      </a:cubicBezTo>
                      <a:cubicBezTo>
                        <a:pt x="98" y="152"/>
                        <a:pt x="98" y="152"/>
                        <a:pt x="98" y="152"/>
                      </a:cubicBezTo>
                      <a:cubicBezTo>
                        <a:pt x="95" y="151"/>
                        <a:pt x="97" y="145"/>
                        <a:pt x="96" y="143"/>
                      </a:cubicBezTo>
                      <a:cubicBezTo>
                        <a:pt x="96" y="140"/>
                        <a:pt x="96" y="140"/>
                        <a:pt x="96" y="140"/>
                      </a:cubicBezTo>
                      <a:cubicBezTo>
                        <a:pt x="101" y="140"/>
                        <a:pt x="101" y="140"/>
                        <a:pt x="101" y="140"/>
                      </a:cubicBezTo>
                      <a:cubicBezTo>
                        <a:pt x="104" y="143"/>
                        <a:pt x="109" y="145"/>
                        <a:pt x="114" y="145"/>
                      </a:cubicBezTo>
                      <a:cubicBezTo>
                        <a:pt x="117" y="145"/>
                        <a:pt x="120" y="142"/>
                        <a:pt x="121" y="139"/>
                      </a:cubicBezTo>
                      <a:cubicBezTo>
                        <a:pt x="135" y="139"/>
                        <a:pt x="138" y="129"/>
                        <a:pt x="141" y="119"/>
                      </a:cubicBezTo>
                      <a:cubicBezTo>
                        <a:pt x="143" y="119"/>
                        <a:pt x="145" y="118"/>
                        <a:pt x="147" y="118"/>
                      </a:cubicBezTo>
                      <a:cubicBezTo>
                        <a:pt x="150" y="117"/>
                        <a:pt x="167" y="110"/>
                        <a:pt x="169" y="108"/>
                      </a:cubicBezTo>
                      <a:cubicBezTo>
                        <a:pt x="173" y="104"/>
                        <a:pt x="171" y="99"/>
                        <a:pt x="171" y="94"/>
                      </a:cubicBezTo>
                      <a:cubicBezTo>
                        <a:pt x="171" y="92"/>
                        <a:pt x="175" y="89"/>
                        <a:pt x="176" y="89"/>
                      </a:cubicBezTo>
                      <a:cubicBezTo>
                        <a:pt x="182" y="83"/>
                        <a:pt x="188" y="76"/>
                        <a:pt x="198" y="76"/>
                      </a:cubicBezTo>
                      <a:cubicBezTo>
                        <a:pt x="204" y="76"/>
                        <a:pt x="201" y="77"/>
                        <a:pt x="204" y="76"/>
                      </a:cubicBezTo>
                      <a:cubicBezTo>
                        <a:pt x="206" y="77"/>
                        <a:pt x="207" y="74"/>
                        <a:pt x="208" y="73"/>
                      </a:cubicBezTo>
                      <a:cubicBezTo>
                        <a:pt x="211" y="70"/>
                        <a:pt x="215" y="72"/>
                        <a:pt x="219" y="72"/>
                      </a:cubicBezTo>
                      <a:cubicBezTo>
                        <a:pt x="221" y="72"/>
                        <a:pt x="229" y="68"/>
                        <a:pt x="229" y="65"/>
                      </a:cubicBezTo>
                      <a:cubicBezTo>
                        <a:pt x="229" y="63"/>
                        <a:pt x="225" y="54"/>
                        <a:pt x="225" y="54"/>
                      </a:cubicBezTo>
                      <a:cubicBezTo>
                        <a:pt x="224" y="42"/>
                        <a:pt x="217" y="38"/>
                        <a:pt x="217" y="28"/>
                      </a:cubicBezTo>
                      <a:cubicBezTo>
                        <a:pt x="217" y="9"/>
                        <a:pt x="234" y="8"/>
                        <a:pt x="245" y="0"/>
                      </a:cubicBezTo>
                      <a:cubicBezTo>
                        <a:pt x="245" y="5"/>
                        <a:pt x="245" y="5"/>
                        <a:pt x="245" y="5"/>
                      </a:cubicBezTo>
                      <a:cubicBezTo>
                        <a:pt x="243" y="10"/>
                        <a:pt x="242" y="12"/>
                        <a:pt x="242" y="17"/>
                      </a:cubicBezTo>
                      <a:cubicBezTo>
                        <a:pt x="242" y="21"/>
                        <a:pt x="247" y="22"/>
                        <a:pt x="251" y="22"/>
                      </a:cubicBezTo>
                      <a:cubicBezTo>
                        <a:pt x="251" y="23"/>
                        <a:pt x="251" y="24"/>
                        <a:pt x="251" y="25"/>
                      </a:cubicBezTo>
                      <a:cubicBezTo>
                        <a:pt x="251" y="27"/>
                        <a:pt x="247" y="28"/>
                        <a:pt x="245" y="29"/>
                      </a:cubicBezTo>
                      <a:cubicBezTo>
                        <a:pt x="241" y="34"/>
                        <a:pt x="236" y="38"/>
                        <a:pt x="236" y="46"/>
                      </a:cubicBezTo>
                      <a:cubicBezTo>
                        <a:pt x="236" y="50"/>
                        <a:pt x="238" y="53"/>
                        <a:pt x="240" y="54"/>
                      </a:cubicBezTo>
                      <a:cubicBezTo>
                        <a:pt x="240" y="56"/>
                        <a:pt x="241" y="57"/>
                        <a:pt x="240" y="59"/>
                      </a:cubicBezTo>
                      <a:cubicBezTo>
                        <a:pt x="245" y="59"/>
                        <a:pt x="247" y="60"/>
                        <a:pt x="251" y="60"/>
                      </a:cubicBezTo>
                      <a:cubicBezTo>
                        <a:pt x="252" y="63"/>
                        <a:pt x="253" y="66"/>
                        <a:pt x="254" y="66"/>
                      </a:cubicBezTo>
                      <a:cubicBezTo>
                        <a:pt x="266" y="66"/>
                        <a:pt x="274" y="56"/>
                        <a:pt x="285" y="57"/>
                      </a:cubicBezTo>
                      <a:cubicBezTo>
                        <a:pt x="284" y="59"/>
                        <a:pt x="282" y="60"/>
                        <a:pt x="282" y="62"/>
                      </a:cubicBezTo>
                      <a:cubicBezTo>
                        <a:pt x="282" y="63"/>
                        <a:pt x="289" y="68"/>
                        <a:pt x="289" y="68"/>
                      </a:cubicBezTo>
                      <a:cubicBezTo>
                        <a:pt x="294" y="68"/>
                        <a:pt x="295" y="65"/>
                        <a:pt x="297" y="64"/>
                      </a:cubicBezTo>
                      <a:cubicBezTo>
                        <a:pt x="304" y="60"/>
                        <a:pt x="310" y="62"/>
                        <a:pt x="317" y="59"/>
                      </a:cubicBezTo>
                      <a:cubicBezTo>
                        <a:pt x="321" y="57"/>
                        <a:pt x="328" y="50"/>
                        <a:pt x="333" y="50"/>
                      </a:cubicBezTo>
                      <a:cubicBezTo>
                        <a:pt x="339" y="50"/>
                        <a:pt x="345" y="51"/>
                        <a:pt x="348" y="52"/>
                      </a:cubicBezTo>
                      <a:cubicBezTo>
                        <a:pt x="347" y="54"/>
                        <a:pt x="346" y="56"/>
                        <a:pt x="346" y="57"/>
                      </a:cubicBezTo>
                      <a:cubicBezTo>
                        <a:pt x="358" y="57"/>
                        <a:pt x="370" y="55"/>
                        <a:pt x="378" y="55"/>
                      </a:cubicBezTo>
                      <a:cubicBezTo>
                        <a:pt x="386" y="55"/>
                        <a:pt x="392" y="54"/>
                        <a:pt x="401" y="54"/>
                      </a:cubicBezTo>
                      <a:cubicBezTo>
                        <a:pt x="410" y="54"/>
                        <a:pt x="414" y="70"/>
                        <a:pt x="414" y="80"/>
                      </a:cubicBezTo>
                      <a:cubicBezTo>
                        <a:pt x="414" y="86"/>
                        <a:pt x="408" y="89"/>
                        <a:pt x="408" y="95"/>
                      </a:cubicBezTo>
                      <a:cubicBezTo>
                        <a:pt x="408" y="104"/>
                        <a:pt x="416" y="110"/>
                        <a:pt x="416" y="118"/>
                      </a:cubicBezTo>
                      <a:cubicBezTo>
                        <a:pt x="416" y="123"/>
                        <a:pt x="408" y="125"/>
                        <a:pt x="406" y="128"/>
                      </a:cubicBezTo>
                      <a:cubicBezTo>
                        <a:pt x="401" y="136"/>
                        <a:pt x="399" y="143"/>
                        <a:pt x="399" y="153"/>
                      </a:cubicBezTo>
                      <a:cubicBezTo>
                        <a:pt x="399" y="166"/>
                        <a:pt x="408" y="163"/>
                        <a:pt x="418" y="163"/>
                      </a:cubicBezTo>
                      <a:cubicBezTo>
                        <a:pt x="432" y="163"/>
                        <a:pt x="439" y="157"/>
                        <a:pt x="450" y="157"/>
                      </a:cubicBezTo>
                      <a:cubicBezTo>
                        <a:pt x="461" y="157"/>
                        <a:pt x="459" y="180"/>
                        <a:pt x="470" y="180"/>
                      </a:cubicBezTo>
                      <a:cubicBezTo>
                        <a:pt x="470" y="198"/>
                        <a:pt x="470" y="198"/>
                        <a:pt x="470" y="198"/>
                      </a:cubicBezTo>
                      <a:cubicBezTo>
                        <a:pt x="470" y="200"/>
                        <a:pt x="471" y="201"/>
                        <a:pt x="472" y="201"/>
                      </a:cubicBezTo>
                      <a:cubicBezTo>
                        <a:pt x="474" y="204"/>
                        <a:pt x="474" y="204"/>
                        <a:pt x="474" y="204"/>
                      </a:cubicBezTo>
                      <a:cubicBezTo>
                        <a:pt x="476" y="204"/>
                        <a:pt x="482" y="202"/>
                        <a:pt x="485" y="201"/>
                      </a:cubicBezTo>
                      <a:cubicBezTo>
                        <a:pt x="485" y="204"/>
                        <a:pt x="485" y="206"/>
                        <a:pt x="485" y="208"/>
                      </a:cubicBezTo>
                      <a:cubicBezTo>
                        <a:pt x="481" y="209"/>
                        <a:pt x="476" y="211"/>
                        <a:pt x="476"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06" name="Freeform 25"/>
                <p:cNvSpPr>
                  <a:spLocks/>
                </p:cNvSpPr>
                <p:nvPr/>
              </p:nvSpPr>
              <p:spPr bwMode="auto">
                <a:xfrm>
                  <a:off x="4470400" y="1416050"/>
                  <a:ext cx="436563" cy="423863"/>
                </a:xfrm>
                <a:custGeom>
                  <a:avLst/>
                  <a:gdLst/>
                  <a:ahLst/>
                  <a:cxnLst>
                    <a:cxn ang="0">
                      <a:pos x="66" y="236"/>
                    </a:cxn>
                    <a:cxn ang="0">
                      <a:pos x="4" y="254"/>
                    </a:cxn>
                    <a:cxn ang="0">
                      <a:pos x="12" y="241"/>
                    </a:cxn>
                    <a:cxn ang="0">
                      <a:pos x="8" y="231"/>
                    </a:cxn>
                    <a:cxn ang="0">
                      <a:pos x="10" y="190"/>
                    </a:cxn>
                    <a:cxn ang="0">
                      <a:pos x="55" y="163"/>
                    </a:cxn>
                    <a:cxn ang="0">
                      <a:pos x="85" y="129"/>
                    </a:cxn>
                    <a:cxn ang="0">
                      <a:pos x="97" y="102"/>
                    </a:cxn>
                    <a:cxn ang="0">
                      <a:pos x="142" y="55"/>
                    </a:cxn>
                    <a:cxn ang="0">
                      <a:pos x="124" y="57"/>
                    </a:cxn>
                    <a:cxn ang="0">
                      <a:pos x="124" y="49"/>
                    </a:cxn>
                    <a:cxn ang="0">
                      <a:pos x="132" y="44"/>
                    </a:cxn>
                    <a:cxn ang="0">
                      <a:pos x="148" y="57"/>
                    </a:cxn>
                    <a:cxn ang="0">
                      <a:pos x="149" y="45"/>
                    </a:cxn>
                    <a:cxn ang="0">
                      <a:pos x="168" y="37"/>
                    </a:cxn>
                    <a:cxn ang="0">
                      <a:pos x="183" y="28"/>
                    </a:cxn>
                    <a:cxn ang="0">
                      <a:pos x="199" y="21"/>
                    </a:cxn>
                    <a:cxn ang="0">
                      <a:pos x="221" y="17"/>
                    </a:cxn>
                    <a:cxn ang="0">
                      <a:pos x="223" y="5"/>
                    </a:cxn>
                    <a:cxn ang="0">
                      <a:pos x="256" y="6"/>
                    </a:cxn>
                    <a:cxn ang="0">
                      <a:pos x="266" y="7"/>
                    </a:cxn>
                    <a:cxn ang="0">
                      <a:pos x="285" y="2"/>
                    </a:cxn>
                    <a:cxn ang="0">
                      <a:pos x="296" y="6"/>
                    </a:cxn>
                    <a:cxn ang="0">
                      <a:pos x="293" y="24"/>
                    </a:cxn>
                    <a:cxn ang="0">
                      <a:pos x="315" y="32"/>
                    </a:cxn>
                    <a:cxn ang="0">
                      <a:pos x="309" y="72"/>
                    </a:cxn>
                    <a:cxn ang="0">
                      <a:pos x="310" y="113"/>
                    </a:cxn>
                    <a:cxn ang="0">
                      <a:pos x="318" y="148"/>
                    </a:cxn>
                    <a:cxn ang="0">
                      <a:pos x="327" y="172"/>
                    </a:cxn>
                    <a:cxn ang="0">
                      <a:pos x="255" y="224"/>
                    </a:cxn>
                    <a:cxn ang="0">
                      <a:pos x="218" y="225"/>
                    </a:cxn>
                    <a:cxn ang="0">
                      <a:pos x="206" y="200"/>
                    </a:cxn>
                    <a:cxn ang="0">
                      <a:pos x="197" y="174"/>
                    </a:cxn>
                    <a:cxn ang="0">
                      <a:pos x="254" y="130"/>
                    </a:cxn>
                    <a:cxn ang="0">
                      <a:pos x="202" y="135"/>
                    </a:cxn>
                    <a:cxn ang="0">
                      <a:pos x="172" y="169"/>
                    </a:cxn>
                    <a:cxn ang="0">
                      <a:pos x="146" y="201"/>
                    </a:cxn>
                    <a:cxn ang="0">
                      <a:pos x="150" y="218"/>
                    </a:cxn>
                    <a:cxn ang="0">
                      <a:pos x="152" y="253"/>
                    </a:cxn>
                    <a:cxn ang="0">
                      <a:pos x="146" y="283"/>
                    </a:cxn>
                    <a:cxn ang="0">
                      <a:pos x="121" y="304"/>
                    </a:cxn>
                    <a:cxn ang="0">
                      <a:pos x="90" y="297"/>
                    </a:cxn>
                    <a:cxn ang="0">
                      <a:pos x="82" y="269"/>
                    </a:cxn>
                    <a:cxn ang="0">
                      <a:pos x="76" y="245"/>
                    </a:cxn>
                  </a:cxnLst>
                  <a:rect l="0" t="0" r="r" b="b"/>
                  <a:pathLst>
                    <a:path w="327" h="318">
                      <a:moveTo>
                        <a:pt x="76" y="247"/>
                      </a:moveTo>
                      <a:cubicBezTo>
                        <a:pt x="70" y="245"/>
                        <a:pt x="69" y="241"/>
                        <a:pt x="66" y="236"/>
                      </a:cubicBezTo>
                      <a:cubicBezTo>
                        <a:pt x="57" y="249"/>
                        <a:pt x="43" y="266"/>
                        <a:pt x="24" y="266"/>
                      </a:cubicBezTo>
                      <a:cubicBezTo>
                        <a:pt x="22" y="266"/>
                        <a:pt x="4" y="256"/>
                        <a:pt x="4" y="254"/>
                      </a:cubicBezTo>
                      <a:cubicBezTo>
                        <a:pt x="4" y="250"/>
                        <a:pt x="10" y="248"/>
                        <a:pt x="12" y="247"/>
                      </a:cubicBezTo>
                      <a:cubicBezTo>
                        <a:pt x="12" y="241"/>
                        <a:pt x="12" y="241"/>
                        <a:pt x="12" y="241"/>
                      </a:cubicBezTo>
                      <a:cubicBezTo>
                        <a:pt x="6" y="241"/>
                        <a:pt x="6" y="241"/>
                        <a:pt x="0" y="243"/>
                      </a:cubicBezTo>
                      <a:cubicBezTo>
                        <a:pt x="0" y="240"/>
                        <a:pt x="5" y="234"/>
                        <a:pt x="8" y="231"/>
                      </a:cubicBezTo>
                      <a:cubicBezTo>
                        <a:pt x="1" y="223"/>
                        <a:pt x="0" y="212"/>
                        <a:pt x="0" y="200"/>
                      </a:cubicBezTo>
                      <a:cubicBezTo>
                        <a:pt x="0" y="193"/>
                        <a:pt x="7" y="194"/>
                        <a:pt x="10" y="190"/>
                      </a:cubicBezTo>
                      <a:cubicBezTo>
                        <a:pt x="15" y="182"/>
                        <a:pt x="20" y="177"/>
                        <a:pt x="30" y="174"/>
                      </a:cubicBezTo>
                      <a:cubicBezTo>
                        <a:pt x="38" y="172"/>
                        <a:pt x="39" y="162"/>
                        <a:pt x="55" y="163"/>
                      </a:cubicBezTo>
                      <a:cubicBezTo>
                        <a:pt x="50" y="162"/>
                        <a:pt x="49" y="161"/>
                        <a:pt x="45" y="160"/>
                      </a:cubicBezTo>
                      <a:cubicBezTo>
                        <a:pt x="64" y="155"/>
                        <a:pt x="71" y="140"/>
                        <a:pt x="85" y="129"/>
                      </a:cubicBezTo>
                      <a:cubicBezTo>
                        <a:pt x="90" y="126"/>
                        <a:pt x="89" y="112"/>
                        <a:pt x="93" y="112"/>
                      </a:cubicBezTo>
                      <a:cubicBezTo>
                        <a:pt x="93" y="112"/>
                        <a:pt x="97" y="102"/>
                        <a:pt x="97" y="102"/>
                      </a:cubicBezTo>
                      <a:cubicBezTo>
                        <a:pt x="102" y="93"/>
                        <a:pt x="109" y="87"/>
                        <a:pt x="118" y="83"/>
                      </a:cubicBezTo>
                      <a:cubicBezTo>
                        <a:pt x="127" y="80"/>
                        <a:pt x="139" y="65"/>
                        <a:pt x="142" y="55"/>
                      </a:cubicBezTo>
                      <a:cubicBezTo>
                        <a:pt x="131" y="58"/>
                        <a:pt x="126" y="63"/>
                        <a:pt x="116" y="63"/>
                      </a:cubicBezTo>
                      <a:cubicBezTo>
                        <a:pt x="118" y="60"/>
                        <a:pt x="123" y="58"/>
                        <a:pt x="124" y="57"/>
                      </a:cubicBezTo>
                      <a:cubicBezTo>
                        <a:pt x="122" y="57"/>
                        <a:pt x="118" y="56"/>
                        <a:pt x="118" y="56"/>
                      </a:cubicBezTo>
                      <a:cubicBezTo>
                        <a:pt x="119" y="51"/>
                        <a:pt x="121" y="49"/>
                        <a:pt x="124" y="49"/>
                      </a:cubicBezTo>
                      <a:cubicBezTo>
                        <a:pt x="126" y="49"/>
                        <a:pt x="127" y="50"/>
                        <a:pt x="128" y="50"/>
                      </a:cubicBezTo>
                      <a:cubicBezTo>
                        <a:pt x="129" y="47"/>
                        <a:pt x="131" y="46"/>
                        <a:pt x="132" y="44"/>
                      </a:cubicBezTo>
                      <a:cubicBezTo>
                        <a:pt x="134" y="47"/>
                        <a:pt x="135" y="49"/>
                        <a:pt x="133" y="52"/>
                      </a:cubicBezTo>
                      <a:cubicBezTo>
                        <a:pt x="140" y="52"/>
                        <a:pt x="142" y="57"/>
                        <a:pt x="148" y="57"/>
                      </a:cubicBezTo>
                      <a:cubicBezTo>
                        <a:pt x="150" y="57"/>
                        <a:pt x="155" y="46"/>
                        <a:pt x="156" y="46"/>
                      </a:cubicBezTo>
                      <a:cubicBezTo>
                        <a:pt x="153" y="45"/>
                        <a:pt x="153" y="44"/>
                        <a:pt x="149" y="45"/>
                      </a:cubicBezTo>
                      <a:cubicBezTo>
                        <a:pt x="151" y="41"/>
                        <a:pt x="154" y="38"/>
                        <a:pt x="159" y="38"/>
                      </a:cubicBezTo>
                      <a:cubicBezTo>
                        <a:pt x="162" y="38"/>
                        <a:pt x="165" y="39"/>
                        <a:pt x="168" y="37"/>
                      </a:cubicBezTo>
                      <a:cubicBezTo>
                        <a:pt x="165" y="35"/>
                        <a:pt x="166" y="35"/>
                        <a:pt x="164" y="33"/>
                      </a:cubicBezTo>
                      <a:cubicBezTo>
                        <a:pt x="169" y="29"/>
                        <a:pt x="176" y="29"/>
                        <a:pt x="183" y="28"/>
                      </a:cubicBezTo>
                      <a:cubicBezTo>
                        <a:pt x="183" y="33"/>
                        <a:pt x="183" y="33"/>
                        <a:pt x="183" y="33"/>
                      </a:cubicBezTo>
                      <a:cubicBezTo>
                        <a:pt x="189" y="32"/>
                        <a:pt x="190" y="22"/>
                        <a:pt x="199" y="21"/>
                      </a:cubicBezTo>
                      <a:cubicBezTo>
                        <a:pt x="199" y="29"/>
                        <a:pt x="199" y="29"/>
                        <a:pt x="199" y="29"/>
                      </a:cubicBezTo>
                      <a:cubicBezTo>
                        <a:pt x="205" y="18"/>
                        <a:pt x="213" y="21"/>
                        <a:pt x="221" y="17"/>
                      </a:cubicBezTo>
                      <a:cubicBezTo>
                        <a:pt x="217" y="15"/>
                        <a:pt x="214" y="14"/>
                        <a:pt x="214" y="11"/>
                      </a:cubicBezTo>
                      <a:cubicBezTo>
                        <a:pt x="214" y="9"/>
                        <a:pt x="222" y="7"/>
                        <a:pt x="223" y="5"/>
                      </a:cubicBezTo>
                      <a:cubicBezTo>
                        <a:pt x="226" y="8"/>
                        <a:pt x="228" y="11"/>
                        <a:pt x="232" y="11"/>
                      </a:cubicBezTo>
                      <a:cubicBezTo>
                        <a:pt x="239" y="11"/>
                        <a:pt x="256" y="0"/>
                        <a:pt x="256" y="6"/>
                      </a:cubicBezTo>
                      <a:cubicBezTo>
                        <a:pt x="256" y="12"/>
                        <a:pt x="248" y="14"/>
                        <a:pt x="247" y="20"/>
                      </a:cubicBezTo>
                      <a:cubicBezTo>
                        <a:pt x="255" y="21"/>
                        <a:pt x="258" y="11"/>
                        <a:pt x="266" y="7"/>
                      </a:cubicBezTo>
                      <a:cubicBezTo>
                        <a:pt x="267" y="10"/>
                        <a:pt x="267" y="12"/>
                        <a:pt x="268" y="15"/>
                      </a:cubicBezTo>
                      <a:cubicBezTo>
                        <a:pt x="274" y="9"/>
                        <a:pt x="277" y="7"/>
                        <a:pt x="285" y="2"/>
                      </a:cubicBezTo>
                      <a:cubicBezTo>
                        <a:pt x="285" y="8"/>
                        <a:pt x="284" y="12"/>
                        <a:pt x="289" y="13"/>
                      </a:cubicBezTo>
                      <a:cubicBezTo>
                        <a:pt x="290" y="9"/>
                        <a:pt x="292" y="6"/>
                        <a:pt x="296" y="6"/>
                      </a:cubicBezTo>
                      <a:cubicBezTo>
                        <a:pt x="298" y="6"/>
                        <a:pt x="307" y="11"/>
                        <a:pt x="311" y="13"/>
                      </a:cubicBezTo>
                      <a:cubicBezTo>
                        <a:pt x="307" y="24"/>
                        <a:pt x="303" y="20"/>
                        <a:pt x="293" y="24"/>
                      </a:cubicBezTo>
                      <a:cubicBezTo>
                        <a:pt x="298" y="27"/>
                        <a:pt x="301" y="28"/>
                        <a:pt x="301" y="30"/>
                      </a:cubicBezTo>
                      <a:cubicBezTo>
                        <a:pt x="305" y="31"/>
                        <a:pt x="314" y="32"/>
                        <a:pt x="315" y="32"/>
                      </a:cubicBezTo>
                      <a:cubicBezTo>
                        <a:pt x="309" y="36"/>
                        <a:pt x="293" y="44"/>
                        <a:pt x="293" y="55"/>
                      </a:cubicBezTo>
                      <a:cubicBezTo>
                        <a:pt x="293" y="63"/>
                        <a:pt x="309" y="62"/>
                        <a:pt x="309" y="72"/>
                      </a:cubicBezTo>
                      <a:cubicBezTo>
                        <a:pt x="309" y="80"/>
                        <a:pt x="301" y="83"/>
                        <a:pt x="301" y="91"/>
                      </a:cubicBezTo>
                      <a:cubicBezTo>
                        <a:pt x="301" y="99"/>
                        <a:pt x="310" y="104"/>
                        <a:pt x="310" y="113"/>
                      </a:cubicBezTo>
                      <a:cubicBezTo>
                        <a:pt x="310" y="118"/>
                        <a:pt x="305" y="121"/>
                        <a:pt x="305" y="126"/>
                      </a:cubicBezTo>
                      <a:cubicBezTo>
                        <a:pt x="305" y="136"/>
                        <a:pt x="318" y="138"/>
                        <a:pt x="318" y="148"/>
                      </a:cubicBezTo>
                      <a:cubicBezTo>
                        <a:pt x="318" y="151"/>
                        <a:pt x="314" y="153"/>
                        <a:pt x="313" y="154"/>
                      </a:cubicBezTo>
                      <a:cubicBezTo>
                        <a:pt x="317" y="161"/>
                        <a:pt x="327" y="163"/>
                        <a:pt x="327" y="172"/>
                      </a:cubicBezTo>
                      <a:cubicBezTo>
                        <a:pt x="327" y="187"/>
                        <a:pt x="297" y="203"/>
                        <a:pt x="288" y="215"/>
                      </a:cubicBezTo>
                      <a:cubicBezTo>
                        <a:pt x="283" y="224"/>
                        <a:pt x="263" y="226"/>
                        <a:pt x="255" y="224"/>
                      </a:cubicBezTo>
                      <a:cubicBezTo>
                        <a:pt x="246" y="227"/>
                        <a:pt x="236" y="231"/>
                        <a:pt x="228" y="231"/>
                      </a:cubicBezTo>
                      <a:cubicBezTo>
                        <a:pt x="222" y="231"/>
                        <a:pt x="218" y="230"/>
                        <a:pt x="218" y="225"/>
                      </a:cubicBezTo>
                      <a:cubicBezTo>
                        <a:pt x="209" y="225"/>
                        <a:pt x="199" y="219"/>
                        <a:pt x="199" y="210"/>
                      </a:cubicBezTo>
                      <a:cubicBezTo>
                        <a:pt x="199" y="205"/>
                        <a:pt x="204" y="202"/>
                        <a:pt x="206" y="200"/>
                      </a:cubicBezTo>
                      <a:cubicBezTo>
                        <a:pt x="201" y="198"/>
                        <a:pt x="197" y="188"/>
                        <a:pt x="197" y="183"/>
                      </a:cubicBezTo>
                      <a:cubicBezTo>
                        <a:pt x="197" y="180"/>
                        <a:pt x="198" y="178"/>
                        <a:pt x="197" y="174"/>
                      </a:cubicBezTo>
                      <a:cubicBezTo>
                        <a:pt x="216" y="174"/>
                        <a:pt x="225" y="150"/>
                        <a:pt x="237" y="144"/>
                      </a:cubicBezTo>
                      <a:cubicBezTo>
                        <a:pt x="243" y="140"/>
                        <a:pt x="254" y="138"/>
                        <a:pt x="254" y="130"/>
                      </a:cubicBezTo>
                      <a:cubicBezTo>
                        <a:pt x="254" y="119"/>
                        <a:pt x="239" y="117"/>
                        <a:pt x="228" y="117"/>
                      </a:cubicBezTo>
                      <a:cubicBezTo>
                        <a:pt x="213" y="117"/>
                        <a:pt x="202" y="122"/>
                        <a:pt x="202" y="135"/>
                      </a:cubicBezTo>
                      <a:cubicBezTo>
                        <a:pt x="202" y="140"/>
                        <a:pt x="203" y="142"/>
                        <a:pt x="202" y="145"/>
                      </a:cubicBezTo>
                      <a:cubicBezTo>
                        <a:pt x="202" y="155"/>
                        <a:pt x="181" y="164"/>
                        <a:pt x="172" y="169"/>
                      </a:cubicBezTo>
                      <a:cubicBezTo>
                        <a:pt x="165" y="174"/>
                        <a:pt x="157" y="175"/>
                        <a:pt x="152" y="183"/>
                      </a:cubicBezTo>
                      <a:cubicBezTo>
                        <a:pt x="149" y="189"/>
                        <a:pt x="153" y="198"/>
                        <a:pt x="146" y="201"/>
                      </a:cubicBezTo>
                      <a:cubicBezTo>
                        <a:pt x="146" y="210"/>
                        <a:pt x="146" y="210"/>
                        <a:pt x="146" y="210"/>
                      </a:cubicBezTo>
                      <a:cubicBezTo>
                        <a:pt x="149" y="212"/>
                        <a:pt x="150" y="215"/>
                        <a:pt x="150" y="218"/>
                      </a:cubicBezTo>
                      <a:cubicBezTo>
                        <a:pt x="158" y="219"/>
                        <a:pt x="170" y="227"/>
                        <a:pt x="170" y="235"/>
                      </a:cubicBezTo>
                      <a:cubicBezTo>
                        <a:pt x="170" y="242"/>
                        <a:pt x="157" y="253"/>
                        <a:pt x="152" y="253"/>
                      </a:cubicBezTo>
                      <a:cubicBezTo>
                        <a:pt x="143" y="253"/>
                        <a:pt x="140" y="266"/>
                        <a:pt x="140" y="275"/>
                      </a:cubicBezTo>
                      <a:cubicBezTo>
                        <a:pt x="140" y="280"/>
                        <a:pt x="144" y="282"/>
                        <a:pt x="146" y="283"/>
                      </a:cubicBezTo>
                      <a:cubicBezTo>
                        <a:pt x="145" y="294"/>
                        <a:pt x="135" y="295"/>
                        <a:pt x="133" y="304"/>
                      </a:cubicBezTo>
                      <a:cubicBezTo>
                        <a:pt x="127" y="304"/>
                        <a:pt x="125" y="304"/>
                        <a:pt x="121" y="304"/>
                      </a:cubicBezTo>
                      <a:cubicBezTo>
                        <a:pt x="114" y="304"/>
                        <a:pt x="111" y="318"/>
                        <a:pt x="100" y="318"/>
                      </a:cubicBezTo>
                      <a:cubicBezTo>
                        <a:pt x="97" y="318"/>
                        <a:pt x="90" y="299"/>
                        <a:pt x="90" y="297"/>
                      </a:cubicBezTo>
                      <a:cubicBezTo>
                        <a:pt x="90" y="296"/>
                        <a:pt x="91" y="294"/>
                        <a:pt x="91" y="293"/>
                      </a:cubicBezTo>
                      <a:cubicBezTo>
                        <a:pt x="84" y="285"/>
                        <a:pt x="85" y="279"/>
                        <a:pt x="82" y="269"/>
                      </a:cubicBezTo>
                      <a:cubicBezTo>
                        <a:pt x="79" y="263"/>
                        <a:pt x="73" y="261"/>
                        <a:pt x="73" y="253"/>
                      </a:cubicBezTo>
                      <a:cubicBezTo>
                        <a:pt x="73" y="250"/>
                        <a:pt x="75" y="246"/>
                        <a:pt x="76" y="245"/>
                      </a:cubicBezTo>
                      <a:lnTo>
                        <a:pt x="76" y="2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07" name="Freeform 26"/>
                <p:cNvSpPr>
                  <a:spLocks/>
                </p:cNvSpPr>
                <p:nvPr/>
              </p:nvSpPr>
              <p:spPr bwMode="auto">
                <a:xfrm>
                  <a:off x="4559300" y="1109663"/>
                  <a:ext cx="234950" cy="128588"/>
                </a:xfrm>
                <a:custGeom>
                  <a:avLst/>
                  <a:gdLst/>
                  <a:ahLst/>
                  <a:cxnLst>
                    <a:cxn ang="0">
                      <a:pos x="148" y="79"/>
                    </a:cxn>
                    <a:cxn ang="0">
                      <a:pos x="148" y="71"/>
                    </a:cxn>
                    <a:cxn ang="0">
                      <a:pos x="128" y="71"/>
                    </a:cxn>
                    <a:cxn ang="0">
                      <a:pos x="135" y="58"/>
                    </a:cxn>
                    <a:cxn ang="0">
                      <a:pos x="126" y="46"/>
                    </a:cxn>
                    <a:cxn ang="0">
                      <a:pos x="132" y="45"/>
                    </a:cxn>
                    <a:cxn ang="0">
                      <a:pos x="121" y="38"/>
                    </a:cxn>
                    <a:cxn ang="0">
                      <a:pos x="97" y="69"/>
                    </a:cxn>
                    <a:cxn ang="0">
                      <a:pos x="90" y="73"/>
                    </a:cxn>
                    <a:cxn ang="0">
                      <a:pos x="78" y="97"/>
                    </a:cxn>
                    <a:cxn ang="0">
                      <a:pos x="43" y="69"/>
                    </a:cxn>
                    <a:cxn ang="0">
                      <a:pos x="60" y="70"/>
                    </a:cxn>
                    <a:cxn ang="0">
                      <a:pos x="74" y="66"/>
                    </a:cxn>
                    <a:cxn ang="0">
                      <a:pos x="54" y="64"/>
                    </a:cxn>
                    <a:cxn ang="0">
                      <a:pos x="38" y="58"/>
                    </a:cxn>
                    <a:cxn ang="0">
                      <a:pos x="50" y="54"/>
                    </a:cxn>
                    <a:cxn ang="0">
                      <a:pos x="72" y="43"/>
                    </a:cxn>
                    <a:cxn ang="0">
                      <a:pos x="61" y="43"/>
                    </a:cxn>
                    <a:cxn ang="0">
                      <a:pos x="54" y="39"/>
                    </a:cxn>
                    <a:cxn ang="0">
                      <a:pos x="51" y="39"/>
                    </a:cxn>
                    <a:cxn ang="0">
                      <a:pos x="38" y="51"/>
                    </a:cxn>
                    <a:cxn ang="0">
                      <a:pos x="23" y="44"/>
                    </a:cxn>
                    <a:cxn ang="0">
                      <a:pos x="27" y="43"/>
                    </a:cxn>
                    <a:cxn ang="0">
                      <a:pos x="15" y="28"/>
                    </a:cxn>
                    <a:cxn ang="0">
                      <a:pos x="11" y="26"/>
                    </a:cxn>
                    <a:cxn ang="0">
                      <a:pos x="0" y="16"/>
                    </a:cxn>
                    <a:cxn ang="0">
                      <a:pos x="16" y="5"/>
                    </a:cxn>
                    <a:cxn ang="0">
                      <a:pos x="38" y="7"/>
                    </a:cxn>
                    <a:cxn ang="0">
                      <a:pos x="32" y="13"/>
                    </a:cxn>
                    <a:cxn ang="0">
                      <a:pos x="44" y="20"/>
                    </a:cxn>
                    <a:cxn ang="0">
                      <a:pos x="41" y="14"/>
                    </a:cxn>
                    <a:cxn ang="0">
                      <a:pos x="49" y="7"/>
                    </a:cxn>
                    <a:cxn ang="0">
                      <a:pos x="68" y="26"/>
                    </a:cxn>
                    <a:cxn ang="0">
                      <a:pos x="63" y="7"/>
                    </a:cxn>
                    <a:cxn ang="0">
                      <a:pos x="72" y="0"/>
                    </a:cxn>
                    <a:cxn ang="0">
                      <a:pos x="90" y="9"/>
                    </a:cxn>
                    <a:cxn ang="0">
                      <a:pos x="88" y="18"/>
                    </a:cxn>
                    <a:cxn ang="0">
                      <a:pos x="96" y="12"/>
                    </a:cxn>
                    <a:cxn ang="0">
                      <a:pos x="102" y="23"/>
                    </a:cxn>
                    <a:cxn ang="0">
                      <a:pos x="106" y="23"/>
                    </a:cxn>
                    <a:cxn ang="0">
                      <a:pos x="141" y="41"/>
                    </a:cxn>
                    <a:cxn ang="0">
                      <a:pos x="137" y="42"/>
                    </a:cxn>
                    <a:cxn ang="0">
                      <a:pos x="145" y="42"/>
                    </a:cxn>
                    <a:cxn ang="0">
                      <a:pos x="145" y="49"/>
                    </a:cxn>
                    <a:cxn ang="0">
                      <a:pos x="159" y="49"/>
                    </a:cxn>
                    <a:cxn ang="0">
                      <a:pos x="176" y="64"/>
                    </a:cxn>
                    <a:cxn ang="0">
                      <a:pos x="148" y="79"/>
                    </a:cxn>
                  </a:cxnLst>
                  <a:rect l="0" t="0" r="r" b="b"/>
                  <a:pathLst>
                    <a:path w="176" h="97">
                      <a:moveTo>
                        <a:pt x="148" y="79"/>
                      </a:moveTo>
                      <a:cubicBezTo>
                        <a:pt x="147" y="76"/>
                        <a:pt x="147" y="74"/>
                        <a:pt x="148" y="71"/>
                      </a:cubicBezTo>
                      <a:cubicBezTo>
                        <a:pt x="143" y="71"/>
                        <a:pt x="134" y="71"/>
                        <a:pt x="128" y="71"/>
                      </a:cubicBezTo>
                      <a:cubicBezTo>
                        <a:pt x="129" y="63"/>
                        <a:pt x="134" y="65"/>
                        <a:pt x="135" y="58"/>
                      </a:cubicBezTo>
                      <a:cubicBezTo>
                        <a:pt x="132" y="57"/>
                        <a:pt x="128" y="49"/>
                        <a:pt x="126" y="46"/>
                      </a:cubicBezTo>
                      <a:cubicBezTo>
                        <a:pt x="128" y="45"/>
                        <a:pt x="130" y="45"/>
                        <a:pt x="132" y="45"/>
                      </a:cubicBezTo>
                      <a:cubicBezTo>
                        <a:pt x="125" y="44"/>
                        <a:pt x="121" y="38"/>
                        <a:pt x="121" y="38"/>
                      </a:cubicBezTo>
                      <a:cubicBezTo>
                        <a:pt x="106" y="38"/>
                        <a:pt x="102" y="58"/>
                        <a:pt x="97" y="69"/>
                      </a:cubicBezTo>
                      <a:cubicBezTo>
                        <a:pt x="96" y="72"/>
                        <a:pt x="93" y="71"/>
                        <a:pt x="90" y="73"/>
                      </a:cubicBezTo>
                      <a:cubicBezTo>
                        <a:pt x="83" y="79"/>
                        <a:pt x="84" y="91"/>
                        <a:pt x="78" y="97"/>
                      </a:cubicBezTo>
                      <a:cubicBezTo>
                        <a:pt x="67" y="90"/>
                        <a:pt x="43" y="84"/>
                        <a:pt x="43" y="69"/>
                      </a:cubicBezTo>
                      <a:cubicBezTo>
                        <a:pt x="49" y="68"/>
                        <a:pt x="60" y="70"/>
                        <a:pt x="60" y="70"/>
                      </a:cubicBezTo>
                      <a:cubicBezTo>
                        <a:pt x="64" y="66"/>
                        <a:pt x="69" y="67"/>
                        <a:pt x="74" y="66"/>
                      </a:cubicBezTo>
                      <a:cubicBezTo>
                        <a:pt x="72" y="64"/>
                        <a:pt x="57" y="64"/>
                        <a:pt x="54" y="64"/>
                      </a:cubicBezTo>
                      <a:cubicBezTo>
                        <a:pt x="49" y="64"/>
                        <a:pt x="38" y="69"/>
                        <a:pt x="38" y="58"/>
                      </a:cubicBezTo>
                      <a:cubicBezTo>
                        <a:pt x="38" y="54"/>
                        <a:pt x="48" y="54"/>
                        <a:pt x="50" y="54"/>
                      </a:cubicBezTo>
                      <a:cubicBezTo>
                        <a:pt x="56" y="52"/>
                        <a:pt x="68" y="47"/>
                        <a:pt x="72" y="43"/>
                      </a:cubicBezTo>
                      <a:cubicBezTo>
                        <a:pt x="66" y="43"/>
                        <a:pt x="63" y="43"/>
                        <a:pt x="61" y="43"/>
                      </a:cubicBezTo>
                      <a:cubicBezTo>
                        <a:pt x="60" y="43"/>
                        <a:pt x="56" y="40"/>
                        <a:pt x="54" y="39"/>
                      </a:cubicBezTo>
                      <a:cubicBezTo>
                        <a:pt x="53" y="39"/>
                        <a:pt x="52" y="39"/>
                        <a:pt x="51" y="39"/>
                      </a:cubicBezTo>
                      <a:cubicBezTo>
                        <a:pt x="47" y="41"/>
                        <a:pt x="47" y="51"/>
                        <a:pt x="38" y="51"/>
                      </a:cubicBezTo>
                      <a:cubicBezTo>
                        <a:pt x="31" y="51"/>
                        <a:pt x="26" y="48"/>
                        <a:pt x="23" y="44"/>
                      </a:cubicBezTo>
                      <a:cubicBezTo>
                        <a:pt x="25" y="43"/>
                        <a:pt x="26" y="43"/>
                        <a:pt x="27" y="43"/>
                      </a:cubicBezTo>
                      <a:cubicBezTo>
                        <a:pt x="19" y="39"/>
                        <a:pt x="13" y="35"/>
                        <a:pt x="15" y="28"/>
                      </a:cubicBezTo>
                      <a:cubicBezTo>
                        <a:pt x="13" y="28"/>
                        <a:pt x="12" y="26"/>
                        <a:pt x="11" y="26"/>
                      </a:cubicBezTo>
                      <a:cubicBezTo>
                        <a:pt x="8" y="26"/>
                        <a:pt x="3" y="19"/>
                        <a:pt x="0" y="16"/>
                      </a:cubicBezTo>
                      <a:cubicBezTo>
                        <a:pt x="2" y="14"/>
                        <a:pt x="11" y="5"/>
                        <a:pt x="16" y="5"/>
                      </a:cubicBezTo>
                      <a:cubicBezTo>
                        <a:pt x="23" y="5"/>
                        <a:pt x="27" y="5"/>
                        <a:pt x="38" y="7"/>
                      </a:cubicBezTo>
                      <a:cubicBezTo>
                        <a:pt x="35" y="10"/>
                        <a:pt x="34" y="11"/>
                        <a:pt x="32" y="13"/>
                      </a:cubicBezTo>
                      <a:cubicBezTo>
                        <a:pt x="37" y="17"/>
                        <a:pt x="41" y="17"/>
                        <a:pt x="44" y="20"/>
                      </a:cubicBezTo>
                      <a:cubicBezTo>
                        <a:pt x="42" y="19"/>
                        <a:pt x="41" y="17"/>
                        <a:pt x="41" y="14"/>
                      </a:cubicBezTo>
                      <a:cubicBezTo>
                        <a:pt x="41" y="10"/>
                        <a:pt x="45" y="7"/>
                        <a:pt x="49" y="7"/>
                      </a:cubicBezTo>
                      <a:cubicBezTo>
                        <a:pt x="60" y="7"/>
                        <a:pt x="57" y="22"/>
                        <a:pt x="68" y="26"/>
                      </a:cubicBezTo>
                      <a:cubicBezTo>
                        <a:pt x="66" y="19"/>
                        <a:pt x="63" y="15"/>
                        <a:pt x="63" y="7"/>
                      </a:cubicBezTo>
                      <a:cubicBezTo>
                        <a:pt x="63" y="0"/>
                        <a:pt x="66" y="0"/>
                        <a:pt x="72" y="0"/>
                      </a:cubicBezTo>
                      <a:cubicBezTo>
                        <a:pt x="78" y="0"/>
                        <a:pt x="90" y="4"/>
                        <a:pt x="90" y="9"/>
                      </a:cubicBezTo>
                      <a:cubicBezTo>
                        <a:pt x="90" y="12"/>
                        <a:pt x="88" y="15"/>
                        <a:pt x="88" y="18"/>
                      </a:cubicBezTo>
                      <a:cubicBezTo>
                        <a:pt x="92" y="16"/>
                        <a:pt x="93" y="12"/>
                        <a:pt x="96" y="12"/>
                      </a:cubicBezTo>
                      <a:cubicBezTo>
                        <a:pt x="103" y="12"/>
                        <a:pt x="102" y="19"/>
                        <a:pt x="102" y="23"/>
                      </a:cubicBezTo>
                      <a:cubicBezTo>
                        <a:pt x="103" y="23"/>
                        <a:pt x="105" y="23"/>
                        <a:pt x="106" y="23"/>
                      </a:cubicBezTo>
                      <a:cubicBezTo>
                        <a:pt x="113" y="23"/>
                        <a:pt x="137" y="36"/>
                        <a:pt x="141" y="41"/>
                      </a:cubicBezTo>
                      <a:cubicBezTo>
                        <a:pt x="140" y="42"/>
                        <a:pt x="138" y="42"/>
                        <a:pt x="137" y="42"/>
                      </a:cubicBezTo>
                      <a:cubicBezTo>
                        <a:pt x="140" y="43"/>
                        <a:pt x="142" y="42"/>
                        <a:pt x="145" y="42"/>
                      </a:cubicBezTo>
                      <a:cubicBezTo>
                        <a:pt x="146" y="44"/>
                        <a:pt x="146" y="47"/>
                        <a:pt x="145" y="49"/>
                      </a:cubicBezTo>
                      <a:cubicBezTo>
                        <a:pt x="151" y="49"/>
                        <a:pt x="154" y="49"/>
                        <a:pt x="159" y="49"/>
                      </a:cubicBezTo>
                      <a:cubicBezTo>
                        <a:pt x="159" y="62"/>
                        <a:pt x="172" y="59"/>
                        <a:pt x="176" y="64"/>
                      </a:cubicBezTo>
                      <a:cubicBezTo>
                        <a:pt x="164" y="68"/>
                        <a:pt x="159" y="76"/>
                        <a:pt x="148" y="7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08" name="Freeform 27"/>
                <p:cNvSpPr>
                  <a:spLocks/>
                </p:cNvSpPr>
                <p:nvPr/>
              </p:nvSpPr>
              <p:spPr bwMode="auto">
                <a:xfrm>
                  <a:off x="4683125" y="1089025"/>
                  <a:ext cx="150813" cy="55563"/>
                </a:xfrm>
                <a:custGeom>
                  <a:avLst/>
                  <a:gdLst/>
                  <a:ahLst/>
                  <a:cxnLst>
                    <a:cxn ang="0">
                      <a:pos x="114" y="19"/>
                    </a:cxn>
                    <a:cxn ang="0">
                      <a:pos x="69" y="41"/>
                    </a:cxn>
                    <a:cxn ang="0">
                      <a:pos x="54" y="34"/>
                    </a:cxn>
                    <a:cxn ang="0">
                      <a:pos x="28" y="34"/>
                    </a:cxn>
                    <a:cxn ang="0">
                      <a:pos x="23" y="26"/>
                    </a:cxn>
                    <a:cxn ang="0">
                      <a:pos x="32" y="26"/>
                    </a:cxn>
                    <a:cxn ang="0">
                      <a:pos x="43" y="24"/>
                    </a:cxn>
                    <a:cxn ang="0">
                      <a:pos x="22" y="23"/>
                    </a:cxn>
                    <a:cxn ang="0">
                      <a:pos x="6" y="18"/>
                    </a:cxn>
                    <a:cxn ang="0">
                      <a:pos x="0" y="7"/>
                    </a:cxn>
                    <a:cxn ang="0">
                      <a:pos x="6" y="7"/>
                    </a:cxn>
                    <a:cxn ang="0">
                      <a:pos x="15" y="8"/>
                    </a:cxn>
                    <a:cxn ang="0">
                      <a:pos x="15" y="6"/>
                    </a:cxn>
                    <a:cxn ang="0">
                      <a:pos x="23" y="6"/>
                    </a:cxn>
                    <a:cxn ang="0">
                      <a:pos x="21" y="2"/>
                    </a:cxn>
                    <a:cxn ang="0">
                      <a:pos x="33" y="2"/>
                    </a:cxn>
                    <a:cxn ang="0">
                      <a:pos x="51" y="11"/>
                    </a:cxn>
                    <a:cxn ang="0">
                      <a:pos x="62" y="0"/>
                    </a:cxn>
                    <a:cxn ang="0">
                      <a:pos x="67" y="0"/>
                    </a:cxn>
                    <a:cxn ang="0">
                      <a:pos x="67" y="12"/>
                    </a:cxn>
                    <a:cxn ang="0">
                      <a:pos x="80" y="7"/>
                    </a:cxn>
                    <a:cxn ang="0">
                      <a:pos x="95" y="7"/>
                    </a:cxn>
                    <a:cxn ang="0">
                      <a:pos x="114" y="19"/>
                    </a:cxn>
                  </a:cxnLst>
                  <a:rect l="0" t="0" r="r" b="b"/>
                  <a:pathLst>
                    <a:path w="114" h="41">
                      <a:moveTo>
                        <a:pt x="114" y="19"/>
                      </a:moveTo>
                      <a:cubicBezTo>
                        <a:pt x="104" y="26"/>
                        <a:pt x="82" y="41"/>
                        <a:pt x="69" y="41"/>
                      </a:cubicBezTo>
                      <a:cubicBezTo>
                        <a:pt x="61" y="41"/>
                        <a:pt x="57" y="39"/>
                        <a:pt x="54" y="34"/>
                      </a:cubicBezTo>
                      <a:cubicBezTo>
                        <a:pt x="28" y="34"/>
                        <a:pt x="28" y="34"/>
                        <a:pt x="28" y="34"/>
                      </a:cubicBezTo>
                      <a:cubicBezTo>
                        <a:pt x="25" y="32"/>
                        <a:pt x="23" y="30"/>
                        <a:pt x="23" y="26"/>
                      </a:cubicBezTo>
                      <a:cubicBezTo>
                        <a:pt x="26" y="26"/>
                        <a:pt x="31" y="26"/>
                        <a:pt x="32" y="26"/>
                      </a:cubicBezTo>
                      <a:cubicBezTo>
                        <a:pt x="36" y="25"/>
                        <a:pt x="40" y="25"/>
                        <a:pt x="43" y="24"/>
                      </a:cubicBezTo>
                      <a:cubicBezTo>
                        <a:pt x="41" y="24"/>
                        <a:pt x="23" y="23"/>
                        <a:pt x="22" y="23"/>
                      </a:cubicBezTo>
                      <a:cubicBezTo>
                        <a:pt x="14" y="23"/>
                        <a:pt x="6" y="28"/>
                        <a:pt x="6" y="18"/>
                      </a:cubicBezTo>
                      <a:cubicBezTo>
                        <a:pt x="3" y="15"/>
                        <a:pt x="0" y="12"/>
                        <a:pt x="0" y="7"/>
                      </a:cubicBezTo>
                      <a:cubicBezTo>
                        <a:pt x="6" y="7"/>
                        <a:pt x="6" y="7"/>
                        <a:pt x="6" y="7"/>
                      </a:cubicBezTo>
                      <a:cubicBezTo>
                        <a:pt x="9" y="9"/>
                        <a:pt x="13" y="10"/>
                        <a:pt x="15" y="8"/>
                      </a:cubicBezTo>
                      <a:cubicBezTo>
                        <a:pt x="15" y="6"/>
                        <a:pt x="15" y="6"/>
                        <a:pt x="15" y="6"/>
                      </a:cubicBezTo>
                      <a:cubicBezTo>
                        <a:pt x="23" y="6"/>
                        <a:pt x="23" y="6"/>
                        <a:pt x="23" y="6"/>
                      </a:cubicBezTo>
                      <a:cubicBezTo>
                        <a:pt x="21" y="2"/>
                        <a:pt x="21" y="2"/>
                        <a:pt x="21" y="2"/>
                      </a:cubicBezTo>
                      <a:cubicBezTo>
                        <a:pt x="33" y="2"/>
                        <a:pt x="33" y="2"/>
                        <a:pt x="33" y="2"/>
                      </a:cubicBezTo>
                      <a:cubicBezTo>
                        <a:pt x="36" y="4"/>
                        <a:pt x="48" y="11"/>
                        <a:pt x="51" y="11"/>
                      </a:cubicBezTo>
                      <a:cubicBezTo>
                        <a:pt x="56" y="11"/>
                        <a:pt x="59" y="2"/>
                        <a:pt x="62" y="0"/>
                      </a:cubicBezTo>
                      <a:cubicBezTo>
                        <a:pt x="67" y="0"/>
                        <a:pt x="67" y="0"/>
                        <a:pt x="67" y="0"/>
                      </a:cubicBezTo>
                      <a:cubicBezTo>
                        <a:pt x="67" y="6"/>
                        <a:pt x="66" y="8"/>
                        <a:pt x="67" y="12"/>
                      </a:cubicBezTo>
                      <a:cubicBezTo>
                        <a:pt x="71" y="12"/>
                        <a:pt x="73" y="7"/>
                        <a:pt x="80" y="7"/>
                      </a:cubicBezTo>
                      <a:cubicBezTo>
                        <a:pt x="91" y="7"/>
                        <a:pt x="88" y="7"/>
                        <a:pt x="95" y="7"/>
                      </a:cubicBezTo>
                      <a:cubicBezTo>
                        <a:pt x="103" y="7"/>
                        <a:pt x="112" y="14"/>
                        <a:pt x="11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09" name="Freeform 28"/>
                <p:cNvSpPr>
                  <a:spLocks/>
                </p:cNvSpPr>
                <p:nvPr/>
              </p:nvSpPr>
              <p:spPr bwMode="auto">
                <a:xfrm>
                  <a:off x="4219575" y="1841500"/>
                  <a:ext cx="73025" cy="87313"/>
                </a:xfrm>
                <a:custGeom>
                  <a:avLst/>
                  <a:gdLst/>
                  <a:ahLst/>
                  <a:cxnLst>
                    <a:cxn ang="0">
                      <a:pos x="9" y="19"/>
                    </a:cxn>
                    <a:cxn ang="0">
                      <a:pos x="22" y="14"/>
                    </a:cxn>
                    <a:cxn ang="0">
                      <a:pos x="19" y="8"/>
                    </a:cxn>
                    <a:cxn ang="0">
                      <a:pos x="32" y="0"/>
                    </a:cxn>
                    <a:cxn ang="0">
                      <a:pos x="40" y="0"/>
                    </a:cxn>
                    <a:cxn ang="0">
                      <a:pos x="55" y="18"/>
                    </a:cxn>
                    <a:cxn ang="0">
                      <a:pos x="47" y="24"/>
                    </a:cxn>
                    <a:cxn ang="0">
                      <a:pos x="47" y="39"/>
                    </a:cxn>
                    <a:cxn ang="0">
                      <a:pos x="47" y="52"/>
                    </a:cxn>
                    <a:cxn ang="0">
                      <a:pos x="35" y="54"/>
                    </a:cxn>
                    <a:cxn ang="0">
                      <a:pos x="19" y="64"/>
                    </a:cxn>
                    <a:cxn ang="0">
                      <a:pos x="11" y="65"/>
                    </a:cxn>
                    <a:cxn ang="0">
                      <a:pos x="0" y="55"/>
                    </a:cxn>
                    <a:cxn ang="0">
                      <a:pos x="13" y="33"/>
                    </a:cxn>
                    <a:cxn ang="0">
                      <a:pos x="4" y="23"/>
                    </a:cxn>
                    <a:cxn ang="0">
                      <a:pos x="9" y="19"/>
                    </a:cxn>
                  </a:cxnLst>
                  <a:rect l="0" t="0" r="r" b="b"/>
                  <a:pathLst>
                    <a:path w="55" h="65">
                      <a:moveTo>
                        <a:pt x="9" y="19"/>
                      </a:moveTo>
                      <a:cubicBezTo>
                        <a:pt x="12" y="19"/>
                        <a:pt x="19" y="16"/>
                        <a:pt x="22" y="14"/>
                      </a:cubicBezTo>
                      <a:cubicBezTo>
                        <a:pt x="20" y="11"/>
                        <a:pt x="19" y="10"/>
                        <a:pt x="19" y="8"/>
                      </a:cubicBezTo>
                      <a:cubicBezTo>
                        <a:pt x="19" y="5"/>
                        <a:pt x="28" y="0"/>
                        <a:pt x="32" y="0"/>
                      </a:cubicBezTo>
                      <a:cubicBezTo>
                        <a:pt x="35" y="0"/>
                        <a:pt x="37" y="0"/>
                        <a:pt x="40" y="0"/>
                      </a:cubicBezTo>
                      <a:cubicBezTo>
                        <a:pt x="50" y="0"/>
                        <a:pt x="55" y="10"/>
                        <a:pt x="55" y="18"/>
                      </a:cubicBezTo>
                      <a:cubicBezTo>
                        <a:pt x="55" y="21"/>
                        <a:pt x="47" y="21"/>
                        <a:pt x="47" y="24"/>
                      </a:cubicBezTo>
                      <a:cubicBezTo>
                        <a:pt x="47" y="27"/>
                        <a:pt x="47" y="39"/>
                        <a:pt x="47" y="39"/>
                      </a:cubicBezTo>
                      <a:cubicBezTo>
                        <a:pt x="47" y="43"/>
                        <a:pt x="50" y="48"/>
                        <a:pt x="47" y="52"/>
                      </a:cubicBezTo>
                      <a:cubicBezTo>
                        <a:pt x="44" y="54"/>
                        <a:pt x="40" y="54"/>
                        <a:pt x="35" y="54"/>
                      </a:cubicBezTo>
                      <a:cubicBezTo>
                        <a:pt x="28" y="54"/>
                        <a:pt x="23" y="61"/>
                        <a:pt x="19" y="64"/>
                      </a:cubicBezTo>
                      <a:cubicBezTo>
                        <a:pt x="17" y="65"/>
                        <a:pt x="13" y="65"/>
                        <a:pt x="11" y="65"/>
                      </a:cubicBezTo>
                      <a:cubicBezTo>
                        <a:pt x="6" y="65"/>
                        <a:pt x="0" y="60"/>
                        <a:pt x="0" y="55"/>
                      </a:cubicBezTo>
                      <a:cubicBezTo>
                        <a:pt x="0" y="44"/>
                        <a:pt x="11" y="43"/>
                        <a:pt x="13" y="33"/>
                      </a:cubicBezTo>
                      <a:cubicBezTo>
                        <a:pt x="8" y="30"/>
                        <a:pt x="4" y="28"/>
                        <a:pt x="4" y="23"/>
                      </a:cubicBezTo>
                      <a:cubicBezTo>
                        <a:pt x="4" y="18"/>
                        <a:pt x="8" y="19"/>
                        <a:pt x="9"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10" name="Freeform 29"/>
                <p:cNvSpPr>
                  <a:spLocks/>
                </p:cNvSpPr>
                <p:nvPr/>
              </p:nvSpPr>
              <p:spPr bwMode="auto">
                <a:xfrm>
                  <a:off x="4276725" y="1758950"/>
                  <a:ext cx="139700" cy="203200"/>
                </a:xfrm>
                <a:custGeom>
                  <a:avLst/>
                  <a:gdLst/>
                  <a:ahLst/>
                  <a:cxnLst>
                    <a:cxn ang="0">
                      <a:pos x="96" y="102"/>
                    </a:cxn>
                    <a:cxn ang="0">
                      <a:pos x="91" y="128"/>
                    </a:cxn>
                    <a:cxn ang="0">
                      <a:pos x="100" y="133"/>
                    </a:cxn>
                    <a:cxn ang="0">
                      <a:pos x="70" y="139"/>
                    </a:cxn>
                    <a:cxn ang="0">
                      <a:pos x="39" y="141"/>
                    </a:cxn>
                    <a:cxn ang="0">
                      <a:pos x="26" y="148"/>
                    </a:cxn>
                    <a:cxn ang="0">
                      <a:pos x="16" y="152"/>
                    </a:cxn>
                    <a:cxn ang="0">
                      <a:pos x="32" y="133"/>
                    </a:cxn>
                    <a:cxn ang="0">
                      <a:pos x="46" y="124"/>
                    </a:cxn>
                    <a:cxn ang="0">
                      <a:pos x="26" y="123"/>
                    </a:cxn>
                    <a:cxn ang="0">
                      <a:pos x="19" y="123"/>
                    </a:cxn>
                    <a:cxn ang="0">
                      <a:pos x="28" y="96"/>
                    </a:cxn>
                    <a:cxn ang="0">
                      <a:pos x="48" y="81"/>
                    </a:cxn>
                    <a:cxn ang="0">
                      <a:pos x="40" y="70"/>
                    </a:cxn>
                    <a:cxn ang="0">
                      <a:pos x="26" y="72"/>
                    </a:cxn>
                    <a:cxn ang="0">
                      <a:pos x="23" y="59"/>
                    </a:cxn>
                    <a:cxn ang="0">
                      <a:pos x="16" y="49"/>
                    </a:cxn>
                    <a:cxn ang="0">
                      <a:pos x="12" y="55"/>
                    </a:cxn>
                    <a:cxn ang="0">
                      <a:pos x="14" y="45"/>
                    </a:cxn>
                    <a:cxn ang="0">
                      <a:pos x="8" y="38"/>
                    </a:cxn>
                    <a:cxn ang="0">
                      <a:pos x="11" y="29"/>
                    </a:cxn>
                    <a:cxn ang="0">
                      <a:pos x="8" y="20"/>
                    </a:cxn>
                    <a:cxn ang="0">
                      <a:pos x="12" y="21"/>
                    </a:cxn>
                    <a:cxn ang="0">
                      <a:pos x="16" y="14"/>
                    </a:cxn>
                    <a:cxn ang="0">
                      <a:pos x="25" y="0"/>
                    </a:cxn>
                    <a:cxn ang="0">
                      <a:pos x="42" y="4"/>
                    </a:cxn>
                    <a:cxn ang="0">
                      <a:pos x="33" y="19"/>
                    </a:cxn>
                    <a:cxn ang="0">
                      <a:pos x="47" y="46"/>
                    </a:cxn>
                    <a:cxn ang="0">
                      <a:pos x="53" y="50"/>
                    </a:cxn>
                    <a:cxn ang="0">
                      <a:pos x="84" y="89"/>
                    </a:cxn>
                    <a:cxn ang="0">
                      <a:pos x="87" y="102"/>
                    </a:cxn>
                    <a:cxn ang="0">
                      <a:pos x="92" y="102"/>
                    </a:cxn>
                  </a:cxnLst>
                  <a:rect l="0" t="0" r="r" b="b"/>
                  <a:pathLst>
                    <a:path w="105" h="152">
                      <a:moveTo>
                        <a:pt x="90" y="103"/>
                      </a:moveTo>
                      <a:cubicBezTo>
                        <a:pt x="93" y="101"/>
                        <a:pt x="92" y="102"/>
                        <a:pt x="96" y="102"/>
                      </a:cubicBezTo>
                      <a:cubicBezTo>
                        <a:pt x="101" y="102"/>
                        <a:pt x="105" y="106"/>
                        <a:pt x="105" y="110"/>
                      </a:cubicBezTo>
                      <a:cubicBezTo>
                        <a:pt x="105" y="118"/>
                        <a:pt x="94" y="122"/>
                        <a:pt x="91" y="128"/>
                      </a:cubicBezTo>
                      <a:cubicBezTo>
                        <a:pt x="95" y="129"/>
                        <a:pt x="97" y="130"/>
                        <a:pt x="100" y="130"/>
                      </a:cubicBezTo>
                      <a:cubicBezTo>
                        <a:pt x="100" y="133"/>
                        <a:pt x="100" y="133"/>
                        <a:pt x="100" y="133"/>
                      </a:cubicBezTo>
                      <a:cubicBezTo>
                        <a:pt x="96" y="137"/>
                        <a:pt x="93" y="139"/>
                        <a:pt x="87" y="139"/>
                      </a:cubicBezTo>
                      <a:cubicBezTo>
                        <a:pt x="82" y="139"/>
                        <a:pt x="72" y="139"/>
                        <a:pt x="70" y="139"/>
                      </a:cubicBezTo>
                      <a:cubicBezTo>
                        <a:pt x="65" y="139"/>
                        <a:pt x="53" y="143"/>
                        <a:pt x="47" y="143"/>
                      </a:cubicBezTo>
                      <a:cubicBezTo>
                        <a:pt x="44" y="143"/>
                        <a:pt x="42" y="141"/>
                        <a:pt x="39" y="141"/>
                      </a:cubicBezTo>
                      <a:cubicBezTo>
                        <a:pt x="34" y="141"/>
                        <a:pt x="32" y="144"/>
                        <a:pt x="32" y="148"/>
                      </a:cubicBezTo>
                      <a:cubicBezTo>
                        <a:pt x="26" y="148"/>
                        <a:pt x="26" y="148"/>
                        <a:pt x="26" y="148"/>
                      </a:cubicBezTo>
                      <a:cubicBezTo>
                        <a:pt x="23" y="148"/>
                        <a:pt x="21" y="150"/>
                        <a:pt x="19" y="152"/>
                      </a:cubicBezTo>
                      <a:cubicBezTo>
                        <a:pt x="16" y="152"/>
                        <a:pt x="16" y="152"/>
                        <a:pt x="16" y="152"/>
                      </a:cubicBezTo>
                      <a:cubicBezTo>
                        <a:pt x="16" y="149"/>
                        <a:pt x="16" y="149"/>
                        <a:pt x="16" y="149"/>
                      </a:cubicBezTo>
                      <a:cubicBezTo>
                        <a:pt x="17" y="147"/>
                        <a:pt x="30" y="133"/>
                        <a:pt x="32" y="133"/>
                      </a:cubicBezTo>
                      <a:cubicBezTo>
                        <a:pt x="38" y="131"/>
                        <a:pt x="47" y="133"/>
                        <a:pt x="47" y="127"/>
                      </a:cubicBezTo>
                      <a:cubicBezTo>
                        <a:pt x="47" y="126"/>
                        <a:pt x="46" y="125"/>
                        <a:pt x="46" y="124"/>
                      </a:cubicBezTo>
                      <a:cubicBezTo>
                        <a:pt x="44" y="126"/>
                        <a:pt x="41" y="128"/>
                        <a:pt x="38" y="128"/>
                      </a:cubicBezTo>
                      <a:cubicBezTo>
                        <a:pt x="32" y="128"/>
                        <a:pt x="30" y="123"/>
                        <a:pt x="26" y="123"/>
                      </a:cubicBezTo>
                      <a:cubicBezTo>
                        <a:pt x="23" y="123"/>
                        <a:pt x="23" y="125"/>
                        <a:pt x="21" y="125"/>
                      </a:cubicBezTo>
                      <a:cubicBezTo>
                        <a:pt x="20" y="125"/>
                        <a:pt x="19" y="124"/>
                        <a:pt x="19" y="123"/>
                      </a:cubicBezTo>
                      <a:cubicBezTo>
                        <a:pt x="19" y="116"/>
                        <a:pt x="31" y="116"/>
                        <a:pt x="31" y="109"/>
                      </a:cubicBezTo>
                      <a:cubicBezTo>
                        <a:pt x="31" y="103"/>
                        <a:pt x="28" y="101"/>
                        <a:pt x="28" y="96"/>
                      </a:cubicBezTo>
                      <a:cubicBezTo>
                        <a:pt x="36" y="96"/>
                        <a:pt x="45" y="92"/>
                        <a:pt x="48" y="88"/>
                      </a:cubicBezTo>
                      <a:cubicBezTo>
                        <a:pt x="48" y="81"/>
                        <a:pt x="48" y="81"/>
                        <a:pt x="48" y="81"/>
                      </a:cubicBezTo>
                      <a:cubicBezTo>
                        <a:pt x="43" y="82"/>
                        <a:pt x="37" y="81"/>
                        <a:pt x="37" y="77"/>
                      </a:cubicBezTo>
                      <a:cubicBezTo>
                        <a:pt x="37" y="73"/>
                        <a:pt x="39" y="72"/>
                        <a:pt x="40" y="70"/>
                      </a:cubicBezTo>
                      <a:cubicBezTo>
                        <a:pt x="39" y="70"/>
                        <a:pt x="38" y="70"/>
                        <a:pt x="36" y="70"/>
                      </a:cubicBezTo>
                      <a:cubicBezTo>
                        <a:pt x="32" y="70"/>
                        <a:pt x="30" y="72"/>
                        <a:pt x="26" y="72"/>
                      </a:cubicBezTo>
                      <a:cubicBezTo>
                        <a:pt x="22" y="72"/>
                        <a:pt x="19" y="72"/>
                        <a:pt x="19" y="69"/>
                      </a:cubicBezTo>
                      <a:cubicBezTo>
                        <a:pt x="19" y="65"/>
                        <a:pt x="23" y="63"/>
                        <a:pt x="23" y="59"/>
                      </a:cubicBezTo>
                      <a:cubicBezTo>
                        <a:pt x="23" y="55"/>
                        <a:pt x="22" y="55"/>
                        <a:pt x="23" y="51"/>
                      </a:cubicBezTo>
                      <a:cubicBezTo>
                        <a:pt x="20" y="51"/>
                        <a:pt x="17" y="50"/>
                        <a:pt x="16" y="49"/>
                      </a:cubicBezTo>
                      <a:cubicBezTo>
                        <a:pt x="14" y="52"/>
                        <a:pt x="15" y="54"/>
                        <a:pt x="16" y="55"/>
                      </a:cubicBezTo>
                      <a:cubicBezTo>
                        <a:pt x="12" y="55"/>
                        <a:pt x="12" y="55"/>
                        <a:pt x="12" y="55"/>
                      </a:cubicBezTo>
                      <a:cubicBezTo>
                        <a:pt x="12" y="52"/>
                        <a:pt x="12" y="51"/>
                        <a:pt x="12" y="48"/>
                      </a:cubicBezTo>
                      <a:cubicBezTo>
                        <a:pt x="12" y="47"/>
                        <a:pt x="13" y="46"/>
                        <a:pt x="14" y="45"/>
                      </a:cubicBezTo>
                      <a:cubicBezTo>
                        <a:pt x="14" y="41"/>
                        <a:pt x="14" y="41"/>
                        <a:pt x="14" y="41"/>
                      </a:cubicBezTo>
                      <a:cubicBezTo>
                        <a:pt x="12" y="41"/>
                        <a:pt x="8" y="40"/>
                        <a:pt x="8" y="38"/>
                      </a:cubicBezTo>
                      <a:cubicBezTo>
                        <a:pt x="8" y="36"/>
                        <a:pt x="11" y="32"/>
                        <a:pt x="11" y="32"/>
                      </a:cubicBezTo>
                      <a:cubicBezTo>
                        <a:pt x="11" y="29"/>
                        <a:pt x="11" y="29"/>
                        <a:pt x="11" y="29"/>
                      </a:cubicBezTo>
                      <a:cubicBezTo>
                        <a:pt x="4" y="27"/>
                        <a:pt x="0" y="26"/>
                        <a:pt x="0" y="20"/>
                      </a:cubicBezTo>
                      <a:cubicBezTo>
                        <a:pt x="8" y="20"/>
                        <a:pt x="8" y="20"/>
                        <a:pt x="8" y="20"/>
                      </a:cubicBezTo>
                      <a:cubicBezTo>
                        <a:pt x="8" y="23"/>
                        <a:pt x="10" y="24"/>
                        <a:pt x="11" y="24"/>
                      </a:cubicBezTo>
                      <a:cubicBezTo>
                        <a:pt x="12" y="24"/>
                        <a:pt x="12" y="22"/>
                        <a:pt x="12" y="21"/>
                      </a:cubicBezTo>
                      <a:cubicBezTo>
                        <a:pt x="12" y="21"/>
                        <a:pt x="10" y="20"/>
                        <a:pt x="10" y="19"/>
                      </a:cubicBezTo>
                      <a:cubicBezTo>
                        <a:pt x="10" y="15"/>
                        <a:pt x="13" y="14"/>
                        <a:pt x="16" y="14"/>
                      </a:cubicBezTo>
                      <a:cubicBezTo>
                        <a:pt x="16" y="10"/>
                        <a:pt x="18" y="8"/>
                        <a:pt x="18" y="6"/>
                      </a:cubicBezTo>
                      <a:cubicBezTo>
                        <a:pt x="18" y="4"/>
                        <a:pt x="23" y="0"/>
                        <a:pt x="25" y="0"/>
                      </a:cubicBezTo>
                      <a:cubicBezTo>
                        <a:pt x="30" y="0"/>
                        <a:pt x="35" y="0"/>
                        <a:pt x="38" y="0"/>
                      </a:cubicBezTo>
                      <a:cubicBezTo>
                        <a:pt x="40" y="0"/>
                        <a:pt x="42" y="3"/>
                        <a:pt x="42" y="4"/>
                      </a:cubicBezTo>
                      <a:cubicBezTo>
                        <a:pt x="42" y="10"/>
                        <a:pt x="33" y="10"/>
                        <a:pt x="31" y="16"/>
                      </a:cubicBezTo>
                      <a:cubicBezTo>
                        <a:pt x="31" y="17"/>
                        <a:pt x="32" y="18"/>
                        <a:pt x="33" y="19"/>
                      </a:cubicBezTo>
                      <a:cubicBezTo>
                        <a:pt x="59" y="19"/>
                        <a:pt x="59" y="19"/>
                        <a:pt x="59" y="19"/>
                      </a:cubicBezTo>
                      <a:cubicBezTo>
                        <a:pt x="60" y="32"/>
                        <a:pt x="47" y="37"/>
                        <a:pt x="47" y="46"/>
                      </a:cubicBezTo>
                      <a:cubicBezTo>
                        <a:pt x="45" y="47"/>
                        <a:pt x="44" y="48"/>
                        <a:pt x="43" y="50"/>
                      </a:cubicBezTo>
                      <a:cubicBezTo>
                        <a:pt x="48" y="51"/>
                        <a:pt x="50" y="49"/>
                        <a:pt x="53" y="50"/>
                      </a:cubicBezTo>
                      <a:cubicBezTo>
                        <a:pt x="62" y="53"/>
                        <a:pt x="60" y="63"/>
                        <a:pt x="66" y="69"/>
                      </a:cubicBezTo>
                      <a:cubicBezTo>
                        <a:pt x="73" y="76"/>
                        <a:pt x="84" y="79"/>
                        <a:pt x="84" y="89"/>
                      </a:cubicBezTo>
                      <a:cubicBezTo>
                        <a:pt x="84" y="93"/>
                        <a:pt x="89" y="95"/>
                        <a:pt x="89" y="99"/>
                      </a:cubicBezTo>
                      <a:cubicBezTo>
                        <a:pt x="89" y="100"/>
                        <a:pt x="88" y="101"/>
                        <a:pt x="87" y="102"/>
                      </a:cubicBezTo>
                      <a:cubicBezTo>
                        <a:pt x="87" y="105"/>
                        <a:pt x="87" y="105"/>
                        <a:pt x="87" y="105"/>
                      </a:cubicBezTo>
                      <a:cubicBezTo>
                        <a:pt x="90" y="104"/>
                        <a:pt x="90" y="103"/>
                        <a:pt x="92" y="102"/>
                      </a:cubicBezTo>
                      <a:lnTo>
                        <a:pt x="90" y="1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11" name="Freeform 31"/>
                <p:cNvSpPr>
                  <a:spLocks/>
                </p:cNvSpPr>
                <p:nvPr/>
              </p:nvSpPr>
              <p:spPr bwMode="auto">
                <a:xfrm>
                  <a:off x="4592638" y="2203450"/>
                  <a:ext cx="46038" cy="30163"/>
                </a:xfrm>
                <a:custGeom>
                  <a:avLst/>
                  <a:gdLst/>
                  <a:ahLst/>
                  <a:cxnLst>
                    <a:cxn ang="0">
                      <a:pos x="0" y="5"/>
                    </a:cxn>
                    <a:cxn ang="0">
                      <a:pos x="0" y="8"/>
                    </a:cxn>
                    <a:cxn ang="0">
                      <a:pos x="7" y="10"/>
                    </a:cxn>
                    <a:cxn ang="0">
                      <a:pos x="27" y="21"/>
                    </a:cxn>
                    <a:cxn ang="0">
                      <a:pos x="30" y="23"/>
                    </a:cxn>
                    <a:cxn ang="0">
                      <a:pos x="33" y="20"/>
                    </a:cxn>
                    <a:cxn ang="0">
                      <a:pos x="31" y="13"/>
                    </a:cxn>
                    <a:cxn ang="0">
                      <a:pos x="33" y="8"/>
                    </a:cxn>
                    <a:cxn ang="0">
                      <a:pos x="35" y="3"/>
                    </a:cxn>
                    <a:cxn ang="0">
                      <a:pos x="20" y="6"/>
                    </a:cxn>
                    <a:cxn ang="0">
                      <a:pos x="0" y="5"/>
                    </a:cxn>
                  </a:cxnLst>
                  <a:rect l="0" t="0" r="r" b="b"/>
                  <a:pathLst>
                    <a:path w="35" h="23">
                      <a:moveTo>
                        <a:pt x="0" y="5"/>
                      </a:moveTo>
                      <a:cubicBezTo>
                        <a:pt x="0" y="8"/>
                        <a:pt x="0" y="8"/>
                        <a:pt x="0" y="8"/>
                      </a:cubicBezTo>
                      <a:cubicBezTo>
                        <a:pt x="2" y="10"/>
                        <a:pt x="5" y="10"/>
                        <a:pt x="7" y="10"/>
                      </a:cubicBezTo>
                      <a:cubicBezTo>
                        <a:pt x="14" y="12"/>
                        <a:pt x="19" y="20"/>
                        <a:pt x="27" y="21"/>
                      </a:cubicBezTo>
                      <a:cubicBezTo>
                        <a:pt x="27" y="23"/>
                        <a:pt x="29" y="23"/>
                        <a:pt x="30" y="23"/>
                      </a:cubicBezTo>
                      <a:cubicBezTo>
                        <a:pt x="32" y="23"/>
                        <a:pt x="33" y="21"/>
                        <a:pt x="33" y="20"/>
                      </a:cubicBezTo>
                      <a:cubicBezTo>
                        <a:pt x="33" y="17"/>
                        <a:pt x="31" y="16"/>
                        <a:pt x="31" y="13"/>
                      </a:cubicBezTo>
                      <a:cubicBezTo>
                        <a:pt x="31" y="11"/>
                        <a:pt x="33" y="8"/>
                        <a:pt x="33" y="8"/>
                      </a:cubicBezTo>
                      <a:cubicBezTo>
                        <a:pt x="35" y="3"/>
                        <a:pt x="35" y="3"/>
                        <a:pt x="35" y="3"/>
                      </a:cubicBezTo>
                      <a:cubicBezTo>
                        <a:pt x="28" y="2"/>
                        <a:pt x="25" y="6"/>
                        <a:pt x="20" y="6"/>
                      </a:cubicBezTo>
                      <a:cubicBezTo>
                        <a:pt x="14" y="6"/>
                        <a:pt x="10" y="0"/>
                        <a:pt x="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12" name="Freeform 32"/>
                <p:cNvSpPr>
                  <a:spLocks/>
                </p:cNvSpPr>
                <p:nvPr/>
              </p:nvSpPr>
              <p:spPr bwMode="auto">
                <a:xfrm>
                  <a:off x="4527550" y="2111375"/>
                  <a:ext cx="15875" cy="30163"/>
                </a:xfrm>
                <a:custGeom>
                  <a:avLst/>
                  <a:gdLst/>
                  <a:ahLst/>
                  <a:cxnLst>
                    <a:cxn ang="0">
                      <a:pos x="3" y="5"/>
                    </a:cxn>
                    <a:cxn ang="0">
                      <a:pos x="10" y="0"/>
                    </a:cxn>
                    <a:cxn ang="0">
                      <a:pos x="12" y="5"/>
                    </a:cxn>
                    <a:cxn ang="0">
                      <a:pos x="8" y="23"/>
                    </a:cxn>
                    <a:cxn ang="0">
                      <a:pos x="0" y="6"/>
                    </a:cxn>
                    <a:cxn ang="0">
                      <a:pos x="3" y="5"/>
                    </a:cxn>
                  </a:cxnLst>
                  <a:rect l="0" t="0" r="r" b="b"/>
                  <a:pathLst>
                    <a:path w="12" h="23">
                      <a:moveTo>
                        <a:pt x="3" y="5"/>
                      </a:moveTo>
                      <a:cubicBezTo>
                        <a:pt x="6" y="5"/>
                        <a:pt x="8" y="1"/>
                        <a:pt x="10" y="0"/>
                      </a:cubicBezTo>
                      <a:cubicBezTo>
                        <a:pt x="10" y="3"/>
                        <a:pt x="11" y="5"/>
                        <a:pt x="12" y="5"/>
                      </a:cubicBezTo>
                      <a:cubicBezTo>
                        <a:pt x="11" y="11"/>
                        <a:pt x="10" y="20"/>
                        <a:pt x="8" y="23"/>
                      </a:cubicBezTo>
                      <a:cubicBezTo>
                        <a:pt x="4" y="22"/>
                        <a:pt x="2" y="9"/>
                        <a:pt x="0" y="6"/>
                      </a:cubicBezTo>
                      <a:cubicBezTo>
                        <a:pt x="1" y="6"/>
                        <a:pt x="2" y="5"/>
                        <a:pt x="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13" name="Freeform 33"/>
                <p:cNvSpPr>
                  <a:spLocks/>
                </p:cNvSpPr>
                <p:nvPr/>
              </p:nvSpPr>
              <p:spPr bwMode="auto">
                <a:xfrm>
                  <a:off x="4524375" y="2144713"/>
                  <a:ext cx="25400" cy="44450"/>
                </a:xfrm>
                <a:custGeom>
                  <a:avLst/>
                  <a:gdLst/>
                  <a:ahLst/>
                  <a:cxnLst>
                    <a:cxn ang="0">
                      <a:pos x="5" y="15"/>
                    </a:cxn>
                    <a:cxn ang="0">
                      <a:pos x="0" y="6"/>
                    </a:cxn>
                    <a:cxn ang="0">
                      <a:pos x="9" y="0"/>
                    </a:cxn>
                    <a:cxn ang="0">
                      <a:pos x="15" y="3"/>
                    </a:cxn>
                    <a:cxn ang="0">
                      <a:pos x="18" y="21"/>
                    </a:cxn>
                    <a:cxn ang="0">
                      <a:pos x="6" y="33"/>
                    </a:cxn>
                    <a:cxn ang="0">
                      <a:pos x="2" y="24"/>
                    </a:cxn>
                    <a:cxn ang="0">
                      <a:pos x="5" y="15"/>
                    </a:cxn>
                  </a:cxnLst>
                  <a:rect l="0" t="0" r="r" b="b"/>
                  <a:pathLst>
                    <a:path w="19" h="33">
                      <a:moveTo>
                        <a:pt x="5" y="15"/>
                      </a:moveTo>
                      <a:cubicBezTo>
                        <a:pt x="5" y="12"/>
                        <a:pt x="1" y="9"/>
                        <a:pt x="0" y="6"/>
                      </a:cubicBezTo>
                      <a:cubicBezTo>
                        <a:pt x="5" y="4"/>
                        <a:pt x="5" y="0"/>
                        <a:pt x="9" y="0"/>
                      </a:cubicBezTo>
                      <a:cubicBezTo>
                        <a:pt x="13" y="0"/>
                        <a:pt x="14" y="3"/>
                        <a:pt x="15" y="3"/>
                      </a:cubicBezTo>
                      <a:cubicBezTo>
                        <a:pt x="19" y="10"/>
                        <a:pt x="18" y="14"/>
                        <a:pt x="18" y="21"/>
                      </a:cubicBezTo>
                      <a:cubicBezTo>
                        <a:pt x="18" y="27"/>
                        <a:pt x="10" y="33"/>
                        <a:pt x="6" y="33"/>
                      </a:cubicBezTo>
                      <a:cubicBezTo>
                        <a:pt x="2" y="33"/>
                        <a:pt x="2" y="27"/>
                        <a:pt x="2" y="24"/>
                      </a:cubicBezTo>
                      <a:cubicBezTo>
                        <a:pt x="2" y="20"/>
                        <a:pt x="5" y="18"/>
                        <a:pt x="5"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14" name="Freeform 34"/>
                <p:cNvSpPr>
                  <a:spLocks/>
                </p:cNvSpPr>
                <p:nvPr/>
              </p:nvSpPr>
              <p:spPr bwMode="auto">
                <a:xfrm>
                  <a:off x="4429125" y="2171700"/>
                  <a:ext cx="12700" cy="9525"/>
                </a:xfrm>
                <a:custGeom>
                  <a:avLst/>
                  <a:gdLst/>
                  <a:ahLst/>
                  <a:cxnLst>
                    <a:cxn ang="0">
                      <a:pos x="9" y="5"/>
                    </a:cxn>
                    <a:cxn ang="0">
                      <a:pos x="6" y="7"/>
                    </a:cxn>
                    <a:cxn ang="0">
                      <a:pos x="0" y="3"/>
                    </a:cxn>
                    <a:cxn ang="0">
                      <a:pos x="7" y="0"/>
                    </a:cxn>
                    <a:cxn ang="0">
                      <a:pos x="9" y="5"/>
                    </a:cxn>
                  </a:cxnLst>
                  <a:rect l="0" t="0" r="r" b="b"/>
                  <a:pathLst>
                    <a:path w="9" h="7">
                      <a:moveTo>
                        <a:pt x="9" y="5"/>
                      </a:moveTo>
                      <a:cubicBezTo>
                        <a:pt x="9" y="6"/>
                        <a:pt x="7" y="7"/>
                        <a:pt x="6" y="7"/>
                      </a:cubicBezTo>
                      <a:cubicBezTo>
                        <a:pt x="4" y="7"/>
                        <a:pt x="1" y="3"/>
                        <a:pt x="0" y="3"/>
                      </a:cubicBezTo>
                      <a:cubicBezTo>
                        <a:pt x="3" y="2"/>
                        <a:pt x="5" y="0"/>
                        <a:pt x="7" y="0"/>
                      </a:cubicBezTo>
                      <a:cubicBezTo>
                        <a:pt x="7" y="1"/>
                        <a:pt x="9" y="3"/>
                        <a:pt x="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15" name="Freeform 35"/>
                <p:cNvSpPr>
                  <a:spLocks/>
                </p:cNvSpPr>
                <p:nvPr/>
              </p:nvSpPr>
              <p:spPr bwMode="auto">
                <a:xfrm>
                  <a:off x="4551363" y="1833563"/>
                  <a:ext cx="15875" cy="19050"/>
                </a:xfrm>
                <a:custGeom>
                  <a:avLst/>
                  <a:gdLst/>
                  <a:ahLst/>
                  <a:cxnLst>
                    <a:cxn ang="0">
                      <a:pos x="11" y="10"/>
                    </a:cxn>
                    <a:cxn ang="0">
                      <a:pos x="0" y="5"/>
                    </a:cxn>
                    <a:cxn ang="0">
                      <a:pos x="0" y="0"/>
                    </a:cxn>
                    <a:cxn ang="0">
                      <a:pos x="9" y="0"/>
                    </a:cxn>
                    <a:cxn ang="0">
                      <a:pos x="12" y="9"/>
                    </a:cxn>
                    <a:cxn ang="0">
                      <a:pos x="11" y="14"/>
                    </a:cxn>
                    <a:cxn ang="0">
                      <a:pos x="11" y="10"/>
                    </a:cxn>
                  </a:cxnLst>
                  <a:rect l="0" t="0" r="r" b="b"/>
                  <a:pathLst>
                    <a:path w="12" h="14">
                      <a:moveTo>
                        <a:pt x="11" y="10"/>
                      </a:moveTo>
                      <a:cubicBezTo>
                        <a:pt x="5" y="10"/>
                        <a:pt x="0" y="9"/>
                        <a:pt x="0" y="5"/>
                      </a:cubicBezTo>
                      <a:cubicBezTo>
                        <a:pt x="0" y="3"/>
                        <a:pt x="0" y="2"/>
                        <a:pt x="0" y="0"/>
                      </a:cubicBezTo>
                      <a:cubicBezTo>
                        <a:pt x="9" y="0"/>
                        <a:pt x="9" y="0"/>
                        <a:pt x="9" y="0"/>
                      </a:cubicBezTo>
                      <a:cubicBezTo>
                        <a:pt x="9" y="6"/>
                        <a:pt x="12" y="5"/>
                        <a:pt x="12" y="9"/>
                      </a:cubicBezTo>
                      <a:cubicBezTo>
                        <a:pt x="12" y="13"/>
                        <a:pt x="11" y="12"/>
                        <a:pt x="11" y="14"/>
                      </a:cubicBezTo>
                      <a:cubicBezTo>
                        <a:pt x="11" y="13"/>
                        <a:pt x="11" y="12"/>
                        <a:pt x="11"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16" name="Freeform 37"/>
                <p:cNvSpPr>
                  <a:spLocks/>
                </p:cNvSpPr>
                <p:nvPr/>
              </p:nvSpPr>
              <p:spPr bwMode="auto">
                <a:xfrm>
                  <a:off x="4684713" y="1773238"/>
                  <a:ext cx="15875" cy="23813"/>
                </a:xfrm>
                <a:custGeom>
                  <a:avLst/>
                  <a:gdLst/>
                  <a:ahLst/>
                  <a:cxnLst>
                    <a:cxn ang="0">
                      <a:pos x="8" y="6"/>
                    </a:cxn>
                    <a:cxn ang="0">
                      <a:pos x="1" y="17"/>
                    </a:cxn>
                    <a:cxn ang="0">
                      <a:pos x="1" y="11"/>
                    </a:cxn>
                    <a:cxn ang="0">
                      <a:pos x="11" y="0"/>
                    </a:cxn>
                    <a:cxn ang="0">
                      <a:pos x="8" y="6"/>
                    </a:cxn>
                  </a:cxnLst>
                  <a:rect l="0" t="0" r="r" b="b"/>
                  <a:pathLst>
                    <a:path w="11" h="17">
                      <a:moveTo>
                        <a:pt x="8" y="6"/>
                      </a:moveTo>
                      <a:cubicBezTo>
                        <a:pt x="8" y="11"/>
                        <a:pt x="4" y="13"/>
                        <a:pt x="1" y="17"/>
                      </a:cubicBezTo>
                      <a:cubicBezTo>
                        <a:pt x="0" y="15"/>
                        <a:pt x="1" y="14"/>
                        <a:pt x="1" y="11"/>
                      </a:cubicBezTo>
                      <a:cubicBezTo>
                        <a:pt x="1" y="9"/>
                        <a:pt x="3" y="1"/>
                        <a:pt x="11" y="0"/>
                      </a:cubicBezTo>
                      <a:cubicBezTo>
                        <a:pt x="10" y="2"/>
                        <a:pt x="8" y="4"/>
                        <a:pt x="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17" name="Freeform 38"/>
                <p:cNvSpPr>
                  <a:spLocks/>
                </p:cNvSpPr>
                <p:nvPr/>
              </p:nvSpPr>
              <p:spPr bwMode="auto">
                <a:xfrm>
                  <a:off x="4746625" y="1744663"/>
                  <a:ext cx="20638" cy="26988"/>
                </a:xfrm>
                <a:custGeom>
                  <a:avLst/>
                  <a:gdLst/>
                  <a:ahLst/>
                  <a:cxnLst>
                    <a:cxn ang="0">
                      <a:pos x="12" y="10"/>
                    </a:cxn>
                    <a:cxn ang="0">
                      <a:pos x="12" y="16"/>
                    </a:cxn>
                    <a:cxn ang="0">
                      <a:pos x="5" y="20"/>
                    </a:cxn>
                    <a:cxn ang="0">
                      <a:pos x="0" y="13"/>
                    </a:cxn>
                    <a:cxn ang="0">
                      <a:pos x="10" y="10"/>
                    </a:cxn>
                    <a:cxn ang="0">
                      <a:pos x="7" y="5"/>
                    </a:cxn>
                    <a:cxn ang="0">
                      <a:pos x="11" y="0"/>
                    </a:cxn>
                    <a:cxn ang="0">
                      <a:pos x="16" y="5"/>
                    </a:cxn>
                    <a:cxn ang="0">
                      <a:pos x="12" y="10"/>
                    </a:cxn>
                  </a:cxnLst>
                  <a:rect l="0" t="0" r="r" b="b"/>
                  <a:pathLst>
                    <a:path w="16" h="20">
                      <a:moveTo>
                        <a:pt x="12" y="10"/>
                      </a:moveTo>
                      <a:cubicBezTo>
                        <a:pt x="12" y="12"/>
                        <a:pt x="12" y="14"/>
                        <a:pt x="12" y="16"/>
                      </a:cubicBezTo>
                      <a:cubicBezTo>
                        <a:pt x="12" y="17"/>
                        <a:pt x="6" y="20"/>
                        <a:pt x="5" y="20"/>
                      </a:cubicBezTo>
                      <a:cubicBezTo>
                        <a:pt x="1" y="20"/>
                        <a:pt x="0" y="16"/>
                        <a:pt x="0" y="13"/>
                      </a:cubicBezTo>
                      <a:cubicBezTo>
                        <a:pt x="4" y="13"/>
                        <a:pt x="6" y="10"/>
                        <a:pt x="10" y="10"/>
                      </a:cubicBezTo>
                      <a:cubicBezTo>
                        <a:pt x="9" y="8"/>
                        <a:pt x="7" y="7"/>
                        <a:pt x="7" y="5"/>
                      </a:cubicBezTo>
                      <a:cubicBezTo>
                        <a:pt x="7" y="2"/>
                        <a:pt x="11" y="0"/>
                        <a:pt x="11" y="0"/>
                      </a:cubicBezTo>
                      <a:cubicBezTo>
                        <a:pt x="13" y="3"/>
                        <a:pt x="14" y="4"/>
                        <a:pt x="16" y="5"/>
                      </a:cubicBezTo>
                      <a:cubicBezTo>
                        <a:pt x="15" y="7"/>
                        <a:pt x="13" y="10"/>
                        <a:pt x="12"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grpSp>
        </p:grpSp>
        <p:grpSp>
          <p:nvGrpSpPr>
            <p:cNvPr id="16" name="Group 363"/>
            <p:cNvGrpSpPr/>
            <p:nvPr/>
          </p:nvGrpSpPr>
          <p:grpSpPr>
            <a:xfrm>
              <a:off x="5105582" y="3000650"/>
              <a:ext cx="941496" cy="822457"/>
              <a:chOff x="6275388" y="2879725"/>
              <a:chExt cx="966788" cy="844551"/>
            </a:xfrm>
            <a:grpFill/>
          </p:grpSpPr>
          <p:sp>
            <p:nvSpPr>
              <p:cNvPr id="85" name="Freeform 9"/>
              <p:cNvSpPr>
                <a:spLocks/>
              </p:cNvSpPr>
              <p:nvPr/>
            </p:nvSpPr>
            <p:spPr bwMode="auto">
              <a:xfrm>
                <a:off x="6567488" y="2879725"/>
                <a:ext cx="339725" cy="176213"/>
              </a:xfrm>
              <a:custGeom>
                <a:avLst/>
                <a:gdLst/>
                <a:ahLst/>
                <a:cxnLst>
                  <a:cxn ang="0">
                    <a:pos x="128" y="28"/>
                  </a:cxn>
                  <a:cxn ang="0">
                    <a:pos x="160" y="39"/>
                  </a:cxn>
                  <a:cxn ang="0">
                    <a:pos x="173" y="45"/>
                  </a:cxn>
                  <a:cxn ang="0">
                    <a:pos x="179" y="49"/>
                  </a:cxn>
                  <a:cxn ang="0">
                    <a:pos x="203" y="71"/>
                  </a:cxn>
                  <a:cxn ang="0">
                    <a:pos x="217" y="78"/>
                  </a:cxn>
                  <a:cxn ang="0">
                    <a:pos x="208" y="85"/>
                  </a:cxn>
                  <a:cxn ang="0">
                    <a:pos x="217" y="96"/>
                  </a:cxn>
                  <a:cxn ang="0">
                    <a:pos x="224" y="108"/>
                  </a:cxn>
                  <a:cxn ang="0">
                    <a:pos x="233" y="113"/>
                  </a:cxn>
                  <a:cxn ang="0">
                    <a:pos x="237" y="118"/>
                  </a:cxn>
                  <a:cxn ang="0">
                    <a:pos x="242" y="119"/>
                  </a:cxn>
                  <a:cxn ang="0">
                    <a:pos x="247" y="124"/>
                  </a:cxn>
                  <a:cxn ang="0">
                    <a:pos x="255" y="126"/>
                  </a:cxn>
                  <a:cxn ang="0">
                    <a:pos x="250" y="133"/>
                  </a:cxn>
                  <a:cxn ang="0">
                    <a:pos x="247" y="133"/>
                  </a:cxn>
                  <a:cxn ang="0">
                    <a:pos x="239" y="127"/>
                  </a:cxn>
                  <a:cxn ang="0">
                    <a:pos x="227" y="127"/>
                  </a:cxn>
                  <a:cxn ang="0">
                    <a:pos x="210" y="116"/>
                  </a:cxn>
                  <a:cxn ang="0">
                    <a:pos x="206" y="113"/>
                  </a:cxn>
                  <a:cxn ang="0">
                    <a:pos x="175" y="92"/>
                  </a:cxn>
                  <a:cxn ang="0">
                    <a:pos x="158" y="103"/>
                  </a:cxn>
                  <a:cxn ang="0">
                    <a:pos x="156" y="113"/>
                  </a:cxn>
                  <a:cxn ang="0">
                    <a:pos x="139" y="113"/>
                  </a:cxn>
                  <a:cxn ang="0">
                    <a:pos x="113" y="100"/>
                  </a:cxn>
                  <a:cxn ang="0">
                    <a:pos x="107" y="102"/>
                  </a:cxn>
                  <a:cxn ang="0">
                    <a:pos x="98" y="102"/>
                  </a:cxn>
                  <a:cxn ang="0">
                    <a:pos x="90" y="99"/>
                  </a:cxn>
                  <a:cxn ang="0">
                    <a:pos x="101" y="90"/>
                  </a:cxn>
                  <a:cxn ang="0">
                    <a:pos x="96" y="71"/>
                  </a:cxn>
                  <a:cxn ang="0">
                    <a:pos x="77" y="59"/>
                  </a:cxn>
                  <a:cxn ang="0">
                    <a:pos x="53" y="54"/>
                  </a:cxn>
                  <a:cxn ang="0">
                    <a:pos x="37" y="45"/>
                  </a:cxn>
                  <a:cxn ang="0">
                    <a:pos x="37" y="41"/>
                  </a:cxn>
                  <a:cxn ang="0">
                    <a:pos x="30" y="49"/>
                  </a:cxn>
                  <a:cxn ang="0">
                    <a:pos x="26" y="48"/>
                  </a:cxn>
                  <a:cxn ang="0">
                    <a:pos x="24" y="38"/>
                  </a:cxn>
                  <a:cxn ang="0">
                    <a:pos x="16" y="33"/>
                  </a:cxn>
                  <a:cxn ang="0">
                    <a:pos x="38" y="25"/>
                  </a:cxn>
                  <a:cxn ang="0">
                    <a:pos x="35" y="25"/>
                  </a:cxn>
                  <a:cxn ang="0">
                    <a:pos x="23" y="27"/>
                  </a:cxn>
                  <a:cxn ang="0">
                    <a:pos x="16" y="26"/>
                  </a:cxn>
                  <a:cxn ang="0">
                    <a:pos x="14" y="22"/>
                  </a:cxn>
                  <a:cxn ang="0">
                    <a:pos x="0" y="12"/>
                  </a:cxn>
                  <a:cxn ang="0">
                    <a:pos x="6" y="8"/>
                  </a:cxn>
                  <a:cxn ang="0">
                    <a:pos x="23" y="0"/>
                  </a:cxn>
                  <a:cxn ang="0">
                    <a:pos x="44" y="9"/>
                  </a:cxn>
                  <a:cxn ang="0">
                    <a:pos x="44" y="25"/>
                  </a:cxn>
                  <a:cxn ang="0">
                    <a:pos x="50" y="29"/>
                  </a:cxn>
                  <a:cxn ang="0">
                    <a:pos x="59" y="38"/>
                  </a:cxn>
                  <a:cxn ang="0">
                    <a:pos x="67" y="30"/>
                  </a:cxn>
                  <a:cxn ang="0">
                    <a:pos x="78" y="25"/>
                  </a:cxn>
                  <a:cxn ang="0">
                    <a:pos x="92" y="14"/>
                  </a:cxn>
                  <a:cxn ang="0">
                    <a:pos x="98" y="17"/>
                  </a:cxn>
                  <a:cxn ang="0">
                    <a:pos x="109" y="25"/>
                  </a:cxn>
                  <a:cxn ang="0">
                    <a:pos x="121" y="25"/>
                  </a:cxn>
                  <a:cxn ang="0">
                    <a:pos x="130" y="29"/>
                  </a:cxn>
                  <a:cxn ang="0">
                    <a:pos x="130" y="30"/>
                  </a:cxn>
                  <a:cxn ang="0">
                    <a:pos x="128" y="28"/>
                  </a:cxn>
                </a:cxnLst>
                <a:rect l="0" t="0" r="r" b="b"/>
                <a:pathLst>
                  <a:path w="255" h="133">
                    <a:moveTo>
                      <a:pt x="128" y="28"/>
                    </a:moveTo>
                    <a:cubicBezTo>
                      <a:pt x="133" y="33"/>
                      <a:pt x="149" y="39"/>
                      <a:pt x="160" y="39"/>
                    </a:cubicBezTo>
                    <a:cubicBezTo>
                      <a:pt x="165" y="39"/>
                      <a:pt x="168" y="45"/>
                      <a:pt x="173" y="45"/>
                    </a:cubicBezTo>
                    <a:cubicBezTo>
                      <a:pt x="173" y="48"/>
                      <a:pt x="176" y="49"/>
                      <a:pt x="179" y="49"/>
                    </a:cubicBezTo>
                    <a:cubicBezTo>
                      <a:pt x="193" y="54"/>
                      <a:pt x="192" y="66"/>
                      <a:pt x="203" y="71"/>
                    </a:cubicBezTo>
                    <a:cubicBezTo>
                      <a:pt x="207" y="73"/>
                      <a:pt x="217" y="68"/>
                      <a:pt x="217" y="78"/>
                    </a:cubicBezTo>
                    <a:cubicBezTo>
                      <a:pt x="217" y="83"/>
                      <a:pt x="208" y="81"/>
                      <a:pt x="208" y="85"/>
                    </a:cubicBezTo>
                    <a:cubicBezTo>
                      <a:pt x="208" y="87"/>
                      <a:pt x="216" y="95"/>
                      <a:pt x="217" y="96"/>
                    </a:cubicBezTo>
                    <a:cubicBezTo>
                      <a:pt x="221" y="100"/>
                      <a:pt x="220" y="103"/>
                      <a:pt x="224" y="108"/>
                    </a:cubicBezTo>
                    <a:cubicBezTo>
                      <a:pt x="225" y="111"/>
                      <a:pt x="230" y="113"/>
                      <a:pt x="233" y="113"/>
                    </a:cubicBezTo>
                    <a:cubicBezTo>
                      <a:pt x="235" y="113"/>
                      <a:pt x="236" y="116"/>
                      <a:pt x="237" y="118"/>
                    </a:cubicBezTo>
                    <a:cubicBezTo>
                      <a:pt x="238" y="120"/>
                      <a:pt x="240" y="118"/>
                      <a:pt x="242" y="119"/>
                    </a:cubicBezTo>
                    <a:cubicBezTo>
                      <a:pt x="245" y="119"/>
                      <a:pt x="246" y="122"/>
                      <a:pt x="247" y="124"/>
                    </a:cubicBezTo>
                    <a:cubicBezTo>
                      <a:pt x="247" y="126"/>
                      <a:pt x="254" y="125"/>
                      <a:pt x="255" y="126"/>
                    </a:cubicBezTo>
                    <a:cubicBezTo>
                      <a:pt x="253" y="127"/>
                      <a:pt x="250" y="130"/>
                      <a:pt x="250" y="133"/>
                    </a:cubicBezTo>
                    <a:cubicBezTo>
                      <a:pt x="249" y="133"/>
                      <a:pt x="248" y="133"/>
                      <a:pt x="247" y="133"/>
                    </a:cubicBezTo>
                    <a:cubicBezTo>
                      <a:pt x="246" y="133"/>
                      <a:pt x="240" y="128"/>
                      <a:pt x="239" y="127"/>
                    </a:cubicBezTo>
                    <a:cubicBezTo>
                      <a:pt x="227" y="127"/>
                      <a:pt x="227" y="127"/>
                      <a:pt x="227" y="127"/>
                    </a:cubicBezTo>
                    <a:cubicBezTo>
                      <a:pt x="221" y="126"/>
                      <a:pt x="210" y="121"/>
                      <a:pt x="210" y="116"/>
                    </a:cubicBezTo>
                    <a:cubicBezTo>
                      <a:pt x="210" y="115"/>
                      <a:pt x="207" y="114"/>
                      <a:pt x="206" y="113"/>
                    </a:cubicBezTo>
                    <a:cubicBezTo>
                      <a:pt x="197" y="104"/>
                      <a:pt x="189" y="92"/>
                      <a:pt x="175" y="92"/>
                    </a:cubicBezTo>
                    <a:cubicBezTo>
                      <a:pt x="164" y="92"/>
                      <a:pt x="165" y="100"/>
                      <a:pt x="158" y="103"/>
                    </a:cubicBezTo>
                    <a:cubicBezTo>
                      <a:pt x="160" y="108"/>
                      <a:pt x="156" y="110"/>
                      <a:pt x="156" y="113"/>
                    </a:cubicBezTo>
                    <a:cubicBezTo>
                      <a:pt x="146" y="113"/>
                      <a:pt x="144" y="113"/>
                      <a:pt x="139" y="113"/>
                    </a:cubicBezTo>
                    <a:cubicBezTo>
                      <a:pt x="128" y="113"/>
                      <a:pt x="125" y="100"/>
                      <a:pt x="113" y="100"/>
                    </a:cubicBezTo>
                    <a:cubicBezTo>
                      <a:pt x="112" y="100"/>
                      <a:pt x="107" y="100"/>
                      <a:pt x="107" y="102"/>
                    </a:cubicBezTo>
                    <a:cubicBezTo>
                      <a:pt x="98" y="102"/>
                      <a:pt x="98" y="102"/>
                      <a:pt x="98" y="102"/>
                    </a:cubicBezTo>
                    <a:cubicBezTo>
                      <a:pt x="94" y="102"/>
                      <a:pt x="90" y="102"/>
                      <a:pt x="90" y="99"/>
                    </a:cubicBezTo>
                    <a:cubicBezTo>
                      <a:pt x="90" y="93"/>
                      <a:pt x="99" y="91"/>
                      <a:pt x="101" y="90"/>
                    </a:cubicBezTo>
                    <a:cubicBezTo>
                      <a:pt x="95" y="84"/>
                      <a:pt x="98" y="78"/>
                      <a:pt x="96" y="71"/>
                    </a:cubicBezTo>
                    <a:cubicBezTo>
                      <a:pt x="94" y="66"/>
                      <a:pt x="82" y="61"/>
                      <a:pt x="77" y="59"/>
                    </a:cubicBezTo>
                    <a:cubicBezTo>
                      <a:pt x="72" y="56"/>
                      <a:pt x="60" y="54"/>
                      <a:pt x="53" y="54"/>
                    </a:cubicBezTo>
                    <a:cubicBezTo>
                      <a:pt x="47" y="54"/>
                      <a:pt x="44" y="43"/>
                      <a:pt x="37" y="45"/>
                    </a:cubicBezTo>
                    <a:cubicBezTo>
                      <a:pt x="37" y="41"/>
                      <a:pt x="37" y="41"/>
                      <a:pt x="37" y="41"/>
                    </a:cubicBezTo>
                    <a:cubicBezTo>
                      <a:pt x="36" y="44"/>
                      <a:pt x="34" y="49"/>
                      <a:pt x="30" y="49"/>
                    </a:cubicBezTo>
                    <a:cubicBezTo>
                      <a:pt x="29" y="49"/>
                      <a:pt x="26" y="49"/>
                      <a:pt x="26" y="48"/>
                    </a:cubicBezTo>
                    <a:cubicBezTo>
                      <a:pt x="24" y="43"/>
                      <a:pt x="26" y="41"/>
                      <a:pt x="24" y="38"/>
                    </a:cubicBezTo>
                    <a:cubicBezTo>
                      <a:pt x="22" y="34"/>
                      <a:pt x="17" y="36"/>
                      <a:pt x="16" y="33"/>
                    </a:cubicBezTo>
                    <a:cubicBezTo>
                      <a:pt x="22" y="29"/>
                      <a:pt x="35" y="30"/>
                      <a:pt x="38" y="25"/>
                    </a:cubicBezTo>
                    <a:cubicBezTo>
                      <a:pt x="35" y="25"/>
                      <a:pt x="35" y="25"/>
                      <a:pt x="35" y="25"/>
                    </a:cubicBezTo>
                    <a:cubicBezTo>
                      <a:pt x="30" y="26"/>
                      <a:pt x="27" y="27"/>
                      <a:pt x="23" y="27"/>
                    </a:cubicBezTo>
                    <a:cubicBezTo>
                      <a:pt x="20" y="27"/>
                      <a:pt x="19" y="26"/>
                      <a:pt x="16" y="26"/>
                    </a:cubicBezTo>
                    <a:cubicBezTo>
                      <a:pt x="15" y="25"/>
                      <a:pt x="14" y="23"/>
                      <a:pt x="14" y="22"/>
                    </a:cubicBezTo>
                    <a:cubicBezTo>
                      <a:pt x="11" y="15"/>
                      <a:pt x="0" y="18"/>
                      <a:pt x="0" y="12"/>
                    </a:cubicBezTo>
                    <a:cubicBezTo>
                      <a:pt x="0" y="9"/>
                      <a:pt x="4" y="8"/>
                      <a:pt x="6" y="8"/>
                    </a:cubicBezTo>
                    <a:cubicBezTo>
                      <a:pt x="12" y="8"/>
                      <a:pt x="15" y="0"/>
                      <a:pt x="23" y="0"/>
                    </a:cubicBezTo>
                    <a:cubicBezTo>
                      <a:pt x="30" y="0"/>
                      <a:pt x="36" y="7"/>
                      <a:pt x="44" y="9"/>
                    </a:cubicBezTo>
                    <a:cubicBezTo>
                      <a:pt x="44" y="15"/>
                      <a:pt x="44" y="22"/>
                      <a:pt x="44" y="25"/>
                    </a:cubicBezTo>
                    <a:cubicBezTo>
                      <a:pt x="44" y="27"/>
                      <a:pt x="46" y="29"/>
                      <a:pt x="50" y="29"/>
                    </a:cubicBezTo>
                    <a:cubicBezTo>
                      <a:pt x="50" y="31"/>
                      <a:pt x="56" y="38"/>
                      <a:pt x="59" y="38"/>
                    </a:cubicBezTo>
                    <a:cubicBezTo>
                      <a:pt x="62" y="38"/>
                      <a:pt x="66" y="31"/>
                      <a:pt x="67" y="30"/>
                    </a:cubicBezTo>
                    <a:cubicBezTo>
                      <a:pt x="71" y="27"/>
                      <a:pt x="71" y="26"/>
                      <a:pt x="78" y="25"/>
                    </a:cubicBezTo>
                    <a:cubicBezTo>
                      <a:pt x="82" y="23"/>
                      <a:pt x="87" y="15"/>
                      <a:pt x="92" y="14"/>
                    </a:cubicBezTo>
                    <a:cubicBezTo>
                      <a:pt x="93" y="17"/>
                      <a:pt x="96" y="16"/>
                      <a:pt x="98" y="17"/>
                    </a:cubicBezTo>
                    <a:cubicBezTo>
                      <a:pt x="103" y="18"/>
                      <a:pt x="106" y="24"/>
                      <a:pt x="109" y="25"/>
                    </a:cubicBezTo>
                    <a:cubicBezTo>
                      <a:pt x="121" y="25"/>
                      <a:pt x="121" y="25"/>
                      <a:pt x="121" y="25"/>
                    </a:cubicBezTo>
                    <a:cubicBezTo>
                      <a:pt x="123" y="27"/>
                      <a:pt x="128" y="29"/>
                      <a:pt x="130" y="29"/>
                    </a:cubicBezTo>
                    <a:cubicBezTo>
                      <a:pt x="130" y="30"/>
                      <a:pt x="130" y="30"/>
                      <a:pt x="130" y="30"/>
                    </a:cubicBezTo>
                    <a:lnTo>
                      <a:pt x="128"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grpSp>
            <p:nvGrpSpPr>
              <p:cNvPr id="86" name="Group 361"/>
              <p:cNvGrpSpPr/>
              <p:nvPr/>
            </p:nvGrpSpPr>
            <p:grpSpPr>
              <a:xfrm>
                <a:off x="6275388" y="2917825"/>
                <a:ext cx="966788" cy="806451"/>
                <a:chOff x="6275388" y="2917825"/>
                <a:chExt cx="966788" cy="806451"/>
              </a:xfrm>
              <a:grpFill/>
            </p:grpSpPr>
            <p:sp>
              <p:nvSpPr>
                <p:cNvPr id="87" name="Freeform 7"/>
                <p:cNvSpPr>
                  <a:spLocks/>
                </p:cNvSpPr>
                <p:nvPr/>
              </p:nvSpPr>
              <p:spPr bwMode="auto">
                <a:xfrm>
                  <a:off x="6623050" y="2968625"/>
                  <a:ext cx="11113" cy="25400"/>
                </a:xfrm>
                <a:custGeom>
                  <a:avLst/>
                  <a:gdLst/>
                  <a:ahLst/>
                  <a:cxnLst>
                    <a:cxn ang="0">
                      <a:pos x="7" y="0"/>
                    </a:cxn>
                    <a:cxn ang="0">
                      <a:pos x="8" y="5"/>
                    </a:cxn>
                    <a:cxn ang="0">
                      <a:pos x="5" y="9"/>
                    </a:cxn>
                    <a:cxn ang="0">
                      <a:pos x="2" y="19"/>
                    </a:cxn>
                    <a:cxn ang="0">
                      <a:pos x="0" y="15"/>
                    </a:cxn>
                    <a:cxn ang="0">
                      <a:pos x="4" y="8"/>
                    </a:cxn>
                    <a:cxn ang="0">
                      <a:pos x="7" y="0"/>
                    </a:cxn>
                  </a:cxnLst>
                  <a:rect l="0" t="0" r="r" b="b"/>
                  <a:pathLst>
                    <a:path w="8" h="19">
                      <a:moveTo>
                        <a:pt x="7" y="0"/>
                      </a:moveTo>
                      <a:cubicBezTo>
                        <a:pt x="7" y="4"/>
                        <a:pt x="8" y="2"/>
                        <a:pt x="8" y="5"/>
                      </a:cubicBezTo>
                      <a:cubicBezTo>
                        <a:pt x="8" y="8"/>
                        <a:pt x="7" y="9"/>
                        <a:pt x="5" y="9"/>
                      </a:cubicBezTo>
                      <a:cubicBezTo>
                        <a:pt x="5" y="14"/>
                        <a:pt x="6" y="19"/>
                        <a:pt x="2" y="19"/>
                      </a:cubicBezTo>
                      <a:cubicBezTo>
                        <a:pt x="1" y="19"/>
                        <a:pt x="0" y="16"/>
                        <a:pt x="0" y="15"/>
                      </a:cubicBezTo>
                      <a:cubicBezTo>
                        <a:pt x="0" y="11"/>
                        <a:pt x="4" y="10"/>
                        <a:pt x="4" y="8"/>
                      </a:cubicBezTo>
                      <a:cubicBezTo>
                        <a:pt x="4" y="4"/>
                        <a:pt x="3" y="0"/>
                        <a:pt x="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88" name="Freeform 8"/>
                <p:cNvSpPr>
                  <a:spLocks/>
                </p:cNvSpPr>
                <p:nvPr/>
              </p:nvSpPr>
              <p:spPr bwMode="auto">
                <a:xfrm>
                  <a:off x="6867525" y="2944813"/>
                  <a:ext cx="65088" cy="38100"/>
                </a:xfrm>
                <a:custGeom>
                  <a:avLst/>
                  <a:gdLst/>
                  <a:ahLst/>
                  <a:cxnLst>
                    <a:cxn ang="0">
                      <a:pos x="13" y="27"/>
                    </a:cxn>
                    <a:cxn ang="0">
                      <a:pos x="0" y="18"/>
                    </a:cxn>
                    <a:cxn ang="0">
                      <a:pos x="13" y="18"/>
                    </a:cxn>
                    <a:cxn ang="0">
                      <a:pos x="18" y="17"/>
                    </a:cxn>
                    <a:cxn ang="0">
                      <a:pos x="35" y="13"/>
                    </a:cxn>
                    <a:cxn ang="0">
                      <a:pos x="45" y="0"/>
                    </a:cxn>
                    <a:cxn ang="0">
                      <a:pos x="49" y="7"/>
                    </a:cxn>
                    <a:cxn ang="0">
                      <a:pos x="40" y="22"/>
                    </a:cxn>
                    <a:cxn ang="0">
                      <a:pos x="19" y="29"/>
                    </a:cxn>
                    <a:cxn ang="0">
                      <a:pos x="11" y="25"/>
                    </a:cxn>
                    <a:cxn ang="0">
                      <a:pos x="13" y="27"/>
                    </a:cxn>
                  </a:cxnLst>
                  <a:rect l="0" t="0" r="r" b="b"/>
                  <a:pathLst>
                    <a:path w="49" h="29">
                      <a:moveTo>
                        <a:pt x="13" y="27"/>
                      </a:moveTo>
                      <a:cubicBezTo>
                        <a:pt x="9" y="22"/>
                        <a:pt x="1" y="24"/>
                        <a:pt x="0" y="18"/>
                      </a:cubicBezTo>
                      <a:cubicBezTo>
                        <a:pt x="13" y="18"/>
                        <a:pt x="13" y="18"/>
                        <a:pt x="13" y="18"/>
                      </a:cubicBezTo>
                      <a:cubicBezTo>
                        <a:pt x="14" y="18"/>
                        <a:pt x="18" y="17"/>
                        <a:pt x="18" y="17"/>
                      </a:cubicBezTo>
                      <a:cubicBezTo>
                        <a:pt x="25" y="14"/>
                        <a:pt x="31" y="15"/>
                        <a:pt x="35" y="13"/>
                      </a:cubicBezTo>
                      <a:cubicBezTo>
                        <a:pt x="41" y="10"/>
                        <a:pt x="39" y="0"/>
                        <a:pt x="45" y="0"/>
                      </a:cubicBezTo>
                      <a:cubicBezTo>
                        <a:pt x="48" y="0"/>
                        <a:pt x="49" y="4"/>
                        <a:pt x="49" y="7"/>
                      </a:cubicBezTo>
                      <a:cubicBezTo>
                        <a:pt x="49" y="16"/>
                        <a:pt x="40" y="14"/>
                        <a:pt x="40" y="22"/>
                      </a:cubicBezTo>
                      <a:cubicBezTo>
                        <a:pt x="32" y="24"/>
                        <a:pt x="28" y="29"/>
                        <a:pt x="19" y="29"/>
                      </a:cubicBezTo>
                      <a:cubicBezTo>
                        <a:pt x="17" y="29"/>
                        <a:pt x="11" y="26"/>
                        <a:pt x="11" y="25"/>
                      </a:cubicBezTo>
                      <a:lnTo>
                        <a:pt x="13"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89" name="Freeform 10"/>
                <p:cNvSpPr>
                  <a:spLocks/>
                </p:cNvSpPr>
                <p:nvPr/>
              </p:nvSpPr>
              <p:spPr bwMode="auto">
                <a:xfrm>
                  <a:off x="6911975" y="2917825"/>
                  <a:ext cx="34925" cy="34925"/>
                </a:xfrm>
                <a:custGeom>
                  <a:avLst/>
                  <a:gdLst/>
                  <a:ahLst/>
                  <a:cxnLst>
                    <a:cxn ang="0">
                      <a:pos x="23" y="25"/>
                    </a:cxn>
                    <a:cxn ang="0">
                      <a:pos x="19" y="17"/>
                    </a:cxn>
                    <a:cxn ang="0">
                      <a:pos x="8" y="6"/>
                    </a:cxn>
                    <a:cxn ang="0">
                      <a:pos x="0" y="0"/>
                    </a:cxn>
                    <a:cxn ang="0">
                      <a:pos x="18" y="13"/>
                    </a:cxn>
                    <a:cxn ang="0">
                      <a:pos x="26" y="22"/>
                    </a:cxn>
                    <a:cxn ang="0">
                      <a:pos x="26" y="25"/>
                    </a:cxn>
                    <a:cxn ang="0">
                      <a:pos x="23" y="25"/>
                    </a:cxn>
                  </a:cxnLst>
                  <a:rect l="0" t="0" r="r" b="b"/>
                  <a:pathLst>
                    <a:path w="26" h="26">
                      <a:moveTo>
                        <a:pt x="23" y="25"/>
                      </a:moveTo>
                      <a:cubicBezTo>
                        <a:pt x="18" y="24"/>
                        <a:pt x="18" y="21"/>
                        <a:pt x="19" y="17"/>
                      </a:cubicBezTo>
                      <a:cubicBezTo>
                        <a:pt x="13" y="14"/>
                        <a:pt x="14" y="9"/>
                        <a:pt x="8" y="6"/>
                      </a:cubicBezTo>
                      <a:cubicBezTo>
                        <a:pt x="5" y="4"/>
                        <a:pt x="2" y="4"/>
                        <a:pt x="0" y="0"/>
                      </a:cubicBezTo>
                      <a:cubicBezTo>
                        <a:pt x="9" y="3"/>
                        <a:pt x="13" y="8"/>
                        <a:pt x="18" y="13"/>
                      </a:cubicBezTo>
                      <a:cubicBezTo>
                        <a:pt x="21" y="17"/>
                        <a:pt x="26" y="16"/>
                        <a:pt x="26" y="22"/>
                      </a:cubicBezTo>
                      <a:cubicBezTo>
                        <a:pt x="26" y="23"/>
                        <a:pt x="26" y="24"/>
                        <a:pt x="26" y="25"/>
                      </a:cubicBezTo>
                      <a:cubicBezTo>
                        <a:pt x="25" y="25"/>
                        <a:pt x="24" y="26"/>
                        <a:pt x="23"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0" name="Freeform 11"/>
                <p:cNvSpPr>
                  <a:spLocks/>
                </p:cNvSpPr>
                <p:nvPr/>
              </p:nvSpPr>
              <p:spPr bwMode="auto">
                <a:xfrm>
                  <a:off x="6972300" y="2967038"/>
                  <a:ext cx="17463" cy="20638"/>
                </a:xfrm>
                <a:custGeom>
                  <a:avLst/>
                  <a:gdLst/>
                  <a:ahLst/>
                  <a:cxnLst>
                    <a:cxn ang="0">
                      <a:pos x="7" y="9"/>
                    </a:cxn>
                    <a:cxn ang="0">
                      <a:pos x="1" y="0"/>
                    </a:cxn>
                    <a:cxn ang="0">
                      <a:pos x="13" y="12"/>
                    </a:cxn>
                    <a:cxn ang="0">
                      <a:pos x="10" y="16"/>
                    </a:cxn>
                    <a:cxn ang="0">
                      <a:pos x="7" y="13"/>
                    </a:cxn>
                    <a:cxn ang="0">
                      <a:pos x="7" y="9"/>
                    </a:cxn>
                  </a:cxnLst>
                  <a:rect l="0" t="0" r="r" b="b"/>
                  <a:pathLst>
                    <a:path w="13" h="16">
                      <a:moveTo>
                        <a:pt x="7" y="9"/>
                      </a:moveTo>
                      <a:cubicBezTo>
                        <a:pt x="2" y="9"/>
                        <a:pt x="0" y="4"/>
                        <a:pt x="1" y="0"/>
                      </a:cubicBezTo>
                      <a:cubicBezTo>
                        <a:pt x="4" y="1"/>
                        <a:pt x="13" y="11"/>
                        <a:pt x="13" y="12"/>
                      </a:cubicBezTo>
                      <a:cubicBezTo>
                        <a:pt x="13" y="14"/>
                        <a:pt x="11" y="16"/>
                        <a:pt x="10" y="16"/>
                      </a:cubicBezTo>
                      <a:cubicBezTo>
                        <a:pt x="9" y="16"/>
                        <a:pt x="7" y="14"/>
                        <a:pt x="7" y="13"/>
                      </a:cubicBezTo>
                      <a:cubicBezTo>
                        <a:pt x="7" y="12"/>
                        <a:pt x="7" y="11"/>
                        <a:pt x="7"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1" name="Freeform 12"/>
                <p:cNvSpPr>
                  <a:spLocks/>
                </p:cNvSpPr>
                <p:nvPr/>
              </p:nvSpPr>
              <p:spPr bwMode="auto">
                <a:xfrm>
                  <a:off x="7086600" y="3046413"/>
                  <a:ext cx="9525" cy="11113"/>
                </a:xfrm>
                <a:custGeom>
                  <a:avLst/>
                  <a:gdLst/>
                  <a:ahLst/>
                  <a:cxnLst>
                    <a:cxn ang="0">
                      <a:pos x="7" y="6"/>
                    </a:cxn>
                    <a:cxn ang="0">
                      <a:pos x="7" y="9"/>
                    </a:cxn>
                    <a:cxn ang="0">
                      <a:pos x="0" y="0"/>
                    </a:cxn>
                    <a:cxn ang="0">
                      <a:pos x="7" y="6"/>
                    </a:cxn>
                  </a:cxnLst>
                  <a:rect l="0" t="0" r="r" b="b"/>
                  <a:pathLst>
                    <a:path w="7" h="9">
                      <a:moveTo>
                        <a:pt x="7" y="6"/>
                      </a:moveTo>
                      <a:cubicBezTo>
                        <a:pt x="7" y="7"/>
                        <a:pt x="7" y="8"/>
                        <a:pt x="7" y="9"/>
                      </a:cubicBezTo>
                      <a:cubicBezTo>
                        <a:pt x="3" y="9"/>
                        <a:pt x="0" y="2"/>
                        <a:pt x="0" y="0"/>
                      </a:cubicBezTo>
                      <a:cubicBezTo>
                        <a:pt x="4" y="2"/>
                        <a:pt x="7" y="3"/>
                        <a:pt x="7"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2" name="Freeform 13"/>
                <p:cNvSpPr>
                  <a:spLocks/>
                </p:cNvSpPr>
                <p:nvPr/>
              </p:nvSpPr>
              <p:spPr bwMode="auto">
                <a:xfrm>
                  <a:off x="7061200" y="3036888"/>
                  <a:ext cx="20638" cy="9525"/>
                </a:xfrm>
                <a:custGeom>
                  <a:avLst/>
                  <a:gdLst/>
                  <a:ahLst/>
                  <a:cxnLst>
                    <a:cxn ang="0">
                      <a:pos x="15" y="6"/>
                    </a:cxn>
                    <a:cxn ang="0">
                      <a:pos x="12" y="7"/>
                    </a:cxn>
                    <a:cxn ang="0">
                      <a:pos x="0" y="0"/>
                    </a:cxn>
                    <a:cxn ang="0">
                      <a:pos x="15" y="6"/>
                    </a:cxn>
                  </a:cxnLst>
                  <a:rect l="0" t="0" r="r" b="b"/>
                  <a:pathLst>
                    <a:path w="15" h="7">
                      <a:moveTo>
                        <a:pt x="15" y="6"/>
                      </a:moveTo>
                      <a:cubicBezTo>
                        <a:pt x="14" y="6"/>
                        <a:pt x="13" y="7"/>
                        <a:pt x="12" y="7"/>
                      </a:cubicBezTo>
                      <a:cubicBezTo>
                        <a:pt x="7" y="7"/>
                        <a:pt x="0" y="5"/>
                        <a:pt x="0" y="0"/>
                      </a:cubicBezTo>
                      <a:cubicBezTo>
                        <a:pt x="7" y="0"/>
                        <a:pt x="11" y="1"/>
                        <a:pt x="15"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3" name="Freeform 14"/>
                <p:cNvSpPr>
                  <a:spLocks/>
                </p:cNvSpPr>
                <p:nvPr/>
              </p:nvSpPr>
              <p:spPr bwMode="auto">
                <a:xfrm>
                  <a:off x="7064375" y="3013075"/>
                  <a:ext cx="17463" cy="19050"/>
                </a:xfrm>
                <a:custGeom>
                  <a:avLst/>
                  <a:gdLst/>
                  <a:ahLst/>
                  <a:cxnLst>
                    <a:cxn ang="0">
                      <a:pos x="13" y="14"/>
                    </a:cxn>
                    <a:cxn ang="0">
                      <a:pos x="0" y="0"/>
                    </a:cxn>
                    <a:cxn ang="0">
                      <a:pos x="13" y="14"/>
                    </a:cxn>
                  </a:cxnLst>
                  <a:rect l="0" t="0" r="r" b="b"/>
                  <a:pathLst>
                    <a:path w="13" h="14">
                      <a:moveTo>
                        <a:pt x="13" y="14"/>
                      </a:moveTo>
                      <a:cubicBezTo>
                        <a:pt x="9" y="14"/>
                        <a:pt x="1" y="3"/>
                        <a:pt x="0" y="0"/>
                      </a:cubicBezTo>
                      <a:cubicBezTo>
                        <a:pt x="6" y="3"/>
                        <a:pt x="11" y="7"/>
                        <a:pt x="13"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4" name="Freeform 15"/>
                <p:cNvSpPr>
                  <a:spLocks/>
                </p:cNvSpPr>
                <p:nvPr/>
              </p:nvSpPr>
              <p:spPr bwMode="auto">
                <a:xfrm>
                  <a:off x="7027863" y="2998788"/>
                  <a:ext cx="23813" cy="14288"/>
                </a:xfrm>
                <a:custGeom>
                  <a:avLst/>
                  <a:gdLst/>
                  <a:ahLst/>
                  <a:cxnLst>
                    <a:cxn ang="0">
                      <a:pos x="2" y="0"/>
                    </a:cxn>
                    <a:cxn ang="0">
                      <a:pos x="17" y="9"/>
                    </a:cxn>
                    <a:cxn ang="0">
                      <a:pos x="14" y="10"/>
                    </a:cxn>
                    <a:cxn ang="0">
                      <a:pos x="0" y="1"/>
                    </a:cxn>
                    <a:cxn ang="0">
                      <a:pos x="1" y="1"/>
                    </a:cxn>
                    <a:cxn ang="0">
                      <a:pos x="2" y="0"/>
                    </a:cxn>
                  </a:cxnLst>
                  <a:rect l="0" t="0" r="r" b="b"/>
                  <a:pathLst>
                    <a:path w="17" h="10">
                      <a:moveTo>
                        <a:pt x="2" y="0"/>
                      </a:moveTo>
                      <a:cubicBezTo>
                        <a:pt x="6" y="2"/>
                        <a:pt x="15" y="5"/>
                        <a:pt x="17" y="9"/>
                      </a:cubicBezTo>
                      <a:cubicBezTo>
                        <a:pt x="17" y="9"/>
                        <a:pt x="15" y="10"/>
                        <a:pt x="14" y="10"/>
                      </a:cubicBezTo>
                      <a:cubicBezTo>
                        <a:pt x="10" y="10"/>
                        <a:pt x="0" y="6"/>
                        <a:pt x="0" y="1"/>
                      </a:cubicBezTo>
                      <a:cubicBezTo>
                        <a:pt x="1" y="1"/>
                        <a:pt x="1" y="1"/>
                        <a:pt x="1" y="1"/>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5" name="Freeform 16"/>
                <p:cNvSpPr>
                  <a:spLocks/>
                </p:cNvSpPr>
                <p:nvPr/>
              </p:nvSpPr>
              <p:spPr bwMode="auto">
                <a:xfrm>
                  <a:off x="7002463" y="2984500"/>
                  <a:ext cx="14288" cy="7938"/>
                </a:xfrm>
                <a:custGeom>
                  <a:avLst/>
                  <a:gdLst/>
                  <a:ahLst/>
                  <a:cxnLst>
                    <a:cxn ang="0">
                      <a:pos x="0" y="0"/>
                    </a:cxn>
                    <a:cxn ang="0">
                      <a:pos x="11" y="6"/>
                    </a:cxn>
                    <a:cxn ang="0">
                      <a:pos x="7" y="6"/>
                    </a:cxn>
                    <a:cxn ang="0">
                      <a:pos x="0" y="2"/>
                    </a:cxn>
                    <a:cxn ang="0">
                      <a:pos x="3" y="1"/>
                    </a:cxn>
                    <a:cxn ang="0">
                      <a:pos x="0" y="0"/>
                    </a:cxn>
                  </a:cxnLst>
                  <a:rect l="0" t="0" r="r" b="b"/>
                  <a:pathLst>
                    <a:path w="11" h="6">
                      <a:moveTo>
                        <a:pt x="0" y="0"/>
                      </a:moveTo>
                      <a:cubicBezTo>
                        <a:pt x="5" y="3"/>
                        <a:pt x="8" y="2"/>
                        <a:pt x="11" y="6"/>
                      </a:cubicBezTo>
                      <a:cubicBezTo>
                        <a:pt x="7" y="6"/>
                        <a:pt x="7" y="6"/>
                        <a:pt x="7" y="6"/>
                      </a:cubicBezTo>
                      <a:cubicBezTo>
                        <a:pt x="0" y="2"/>
                        <a:pt x="0" y="2"/>
                        <a:pt x="0" y="2"/>
                      </a:cubicBezTo>
                      <a:cubicBezTo>
                        <a:pt x="1" y="2"/>
                        <a:pt x="3" y="2"/>
                        <a:pt x="3" y="1"/>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6" name="Freeform 17"/>
                <p:cNvSpPr>
                  <a:spLocks/>
                </p:cNvSpPr>
                <p:nvPr/>
              </p:nvSpPr>
              <p:spPr bwMode="auto">
                <a:xfrm>
                  <a:off x="6800850" y="3594100"/>
                  <a:ext cx="63500" cy="65088"/>
                </a:xfrm>
                <a:custGeom>
                  <a:avLst/>
                  <a:gdLst/>
                  <a:ahLst/>
                  <a:cxnLst>
                    <a:cxn ang="0">
                      <a:pos x="24" y="7"/>
                    </a:cxn>
                    <a:cxn ang="0">
                      <a:pos x="43" y="3"/>
                    </a:cxn>
                    <a:cxn ang="0">
                      <a:pos x="48" y="16"/>
                    </a:cxn>
                    <a:cxn ang="0">
                      <a:pos x="27" y="49"/>
                    </a:cxn>
                    <a:cxn ang="0">
                      <a:pos x="0" y="7"/>
                    </a:cxn>
                    <a:cxn ang="0">
                      <a:pos x="24" y="7"/>
                    </a:cxn>
                  </a:cxnLst>
                  <a:rect l="0" t="0" r="r" b="b"/>
                  <a:pathLst>
                    <a:path w="48" h="49">
                      <a:moveTo>
                        <a:pt x="24" y="7"/>
                      </a:moveTo>
                      <a:cubicBezTo>
                        <a:pt x="30" y="7"/>
                        <a:pt x="37" y="5"/>
                        <a:pt x="43" y="3"/>
                      </a:cubicBezTo>
                      <a:cubicBezTo>
                        <a:pt x="45" y="8"/>
                        <a:pt x="48" y="11"/>
                        <a:pt x="48" y="16"/>
                      </a:cubicBezTo>
                      <a:cubicBezTo>
                        <a:pt x="48" y="26"/>
                        <a:pt x="36" y="49"/>
                        <a:pt x="27" y="49"/>
                      </a:cubicBezTo>
                      <a:cubicBezTo>
                        <a:pt x="14" y="49"/>
                        <a:pt x="0" y="16"/>
                        <a:pt x="0" y="7"/>
                      </a:cubicBezTo>
                      <a:cubicBezTo>
                        <a:pt x="0" y="0"/>
                        <a:pt x="24" y="7"/>
                        <a:pt x="24"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7" name="Freeform 18"/>
                <p:cNvSpPr>
                  <a:spLocks/>
                </p:cNvSpPr>
                <p:nvPr/>
              </p:nvSpPr>
              <p:spPr bwMode="auto">
                <a:xfrm>
                  <a:off x="6275388" y="3057525"/>
                  <a:ext cx="676275" cy="509588"/>
                </a:xfrm>
                <a:custGeom>
                  <a:avLst/>
                  <a:gdLst/>
                  <a:ahLst/>
                  <a:cxnLst>
                    <a:cxn ang="0">
                      <a:pos x="508" y="232"/>
                    </a:cxn>
                    <a:cxn ang="0">
                      <a:pos x="501" y="272"/>
                    </a:cxn>
                    <a:cxn ang="0">
                      <a:pos x="478" y="312"/>
                    </a:cxn>
                    <a:cxn ang="0">
                      <a:pos x="465" y="351"/>
                    </a:cxn>
                    <a:cxn ang="0">
                      <a:pos x="398" y="370"/>
                    </a:cxn>
                    <a:cxn ang="0">
                      <a:pos x="335" y="350"/>
                    </a:cxn>
                    <a:cxn ang="0">
                      <a:pos x="329" y="330"/>
                    </a:cxn>
                    <a:cxn ang="0">
                      <a:pos x="314" y="333"/>
                    </a:cxn>
                    <a:cxn ang="0">
                      <a:pos x="313" y="315"/>
                    </a:cxn>
                    <a:cxn ang="0">
                      <a:pos x="301" y="329"/>
                    </a:cxn>
                    <a:cxn ang="0">
                      <a:pos x="310" y="292"/>
                    </a:cxn>
                    <a:cxn ang="0">
                      <a:pos x="278" y="315"/>
                    </a:cxn>
                    <a:cxn ang="0">
                      <a:pos x="214" y="276"/>
                    </a:cxn>
                    <a:cxn ang="0">
                      <a:pos x="131" y="308"/>
                    </a:cxn>
                    <a:cxn ang="0">
                      <a:pos x="93" y="311"/>
                    </a:cxn>
                    <a:cxn ang="0">
                      <a:pos x="22" y="310"/>
                    </a:cxn>
                    <a:cxn ang="0">
                      <a:pos x="23" y="262"/>
                    </a:cxn>
                    <a:cxn ang="0">
                      <a:pos x="2" y="204"/>
                    </a:cxn>
                    <a:cxn ang="0">
                      <a:pos x="9" y="204"/>
                    </a:cxn>
                    <a:cxn ang="0">
                      <a:pos x="3" y="176"/>
                    </a:cxn>
                    <a:cxn ang="0">
                      <a:pos x="8" y="145"/>
                    </a:cxn>
                    <a:cxn ang="0">
                      <a:pos x="32" y="132"/>
                    </a:cxn>
                    <a:cxn ang="0">
                      <a:pos x="114" y="95"/>
                    </a:cxn>
                    <a:cxn ang="0">
                      <a:pos x="119" y="76"/>
                    </a:cxn>
                    <a:cxn ang="0">
                      <a:pos x="131" y="71"/>
                    </a:cxn>
                    <a:cxn ang="0">
                      <a:pos x="150" y="50"/>
                    </a:cxn>
                    <a:cxn ang="0">
                      <a:pos x="187" y="58"/>
                    </a:cxn>
                    <a:cxn ang="0">
                      <a:pos x="203" y="56"/>
                    </a:cxn>
                    <a:cxn ang="0">
                      <a:pos x="211" y="30"/>
                    </a:cxn>
                    <a:cxn ang="0">
                      <a:pos x="244" y="17"/>
                    </a:cxn>
                    <a:cxn ang="0">
                      <a:pos x="276" y="19"/>
                    </a:cxn>
                    <a:cxn ang="0">
                      <a:pos x="297" y="23"/>
                    </a:cxn>
                    <a:cxn ang="0">
                      <a:pos x="281" y="54"/>
                    </a:cxn>
                    <a:cxn ang="0">
                      <a:pos x="295" y="68"/>
                    </a:cxn>
                    <a:cxn ang="0">
                      <a:pos x="341" y="90"/>
                    </a:cxn>
                    <a:cxn ang="0">
                      <a:pos x="359" y="15"/>
                    </a:cxn>
                    <a:cxn ang="0">
                      <a:pos x="381" y="28"/>
                    </a:cxn>
                    <a:cxn ang="0">
                      <a:pos x="400" y="50"/>
                    </a:cxn>
                    <a:cxn ang="0">
                      <a:pos x="419" y="104"/>
                    </a:cxn>
                    <a:cxn ang="0">
                      <a:pos x="457" y="146"/>
                    </a:cxn>
                    <a:cxn ang="0">
                      <a:pos x="497" y="185"/>
                    </a:cxn>
                  </a:cxnLst>
                  <a:rect l="0" t="0" r="r" b="b"/>
                  <a:pathLst>
                    <a:path w="508" h="383">
                      <a:moveTo>
                        <a:pt x="496" y="186"/>
                      </a:moveTo>
                      <a:cubicBezTo>
                        <a:pt x="503" y="195"/>
                        <a:pt x="508" y="219"/>
                        <a:pt x="508" y="232"/>
                      </a:cubicBezTo>
                      <a:cubicBezTo>
                        <a:pt x="508" y="242"/>
                        <a:pt x="505" y="256"/>
                        <a:pt x="501" y="260"/>
                      </a:cubicBezTo>
                      <a:cubicBezTo>
                        <a:pt x="501" y="272"/>
                        <a:pt x="501" y="272"/>
                        <a:pt x="501" y="272"/>
                      </a:cubicBezTo>
                      <a:cubicBezTo>
                        <a:pt x="499" y="276"/>
                        <a:pt x="500" y="277"/>
                        <a:pt x="498" y="281"/>
                      </a:cubicBezTo>
                      <a:cubicBezTo>
                        <a:pt x="490" y="293"/>
                        <a:pt x="482" y="298"/>
                        <a:pt x="478" y="312"/>
                      </a:cubicBezTo>
                      <a:cubicBezTo>
                        <a:pt x="474" y="322"/>
                        <a:pt x="465" y="336"/>
                        <a:pt x="465" y="352"/>
                      </a:cubicBezTo>
                      <a:cubicBezTo>
                        <a:pt x="465" y="351"/>
                        <a:pt x="465" y="351"/>
                        <a:pt x="465" y="351"/>
                      </a:cubicBezTo>
                      <a:cubicBezTo>
                        <a:pt x="460" y="371"/>
                        <a:pt x="424" y="362"/>
                        <a:pt x="420" y="383"/>
                      </a:cubicBezTo>
                      <a:cubicBezTo>
                        <a:pt x="417" y="382"/>
                        <a:pt x="399" y="372"/>
                        <a:pt x="398" y="370"/>
                      </a:cubicBezTo>
                      <a:cubicBezTo>
                        <a:pt x="388" y="371"/>
                        <a:pt x="392" y="379"/>
                        <a:pt x="381" y="379"/>
                      </a:cubicBezTo>
                      <a:cubicBezTo>
                        <a:pt x="363" y="379"/>
                        <a:pt x="335" y="368"/>
                        <a:pt x="335" y="350"/>
                      </a:cubicBezTo>
                      <a:cubicBezTo>
                        <a:pt x="335" y="343"/>
                        <a:pt x="329" y="338"/>
                        <a:pt x="329" y="332"/>
                      </a:cubicBezTo>
                      <a:cubicBezTo>
                        <a:pt x="329" y="332"/>
                        <a:pt x="329" y="330"/>
                        <a:pt x="329" y="330"/>
                      </a:cubicBezTo>
                      <a:cubicBezTo>
                        <a:pt x="325" y="332"/>
                        <a:pt x="323" y="332"/>
                        <a:pt x="320" y="333"/>
                      </a:cubicBezTo>
                      <a:cubicBezTo>
                        <a:pt x="314" y="333"/>
                        <a:pt x="314" y="333"/>
                        <a:pt x="314" y="333"/>
                      </a:cubicBezTo>
                      <a:cubicBezTo>
                        <a:pt x="316" y="330"/>
                        <a:pt x="318" y="328"/>
                        <a:pt x="318" y="323"/>
                      </a:cubicBezTo>
                      <a:cubicBezTo>
                        <a:pt x="318" y="318"/>
                        <a:pt x="315" y="316"/>
                        <a:pt x="313" y="315"/>
                      </a:cubicBezTo>
                      <a:cubicBezTo>
                        <a:pt x="313" y="316"/>
                        <a:pt x="312" y="318"/>
                        <a:pt x="312" y="319"/>
                      </a:cubicBezTo>
                      <a:cubicBezTo>
                        <a:pt x="308" y="321"/>
                        <a:pt x="308" y="329"/>
                        <a:pt x="301" y="329"/>
                      </a:cubicBezTo>
                      <a:cubicBezTo>
                        <a:pt x="299" y="329"/>
                        <a:pt x="297" y="326"/>
                        <a:pt x="297" y="324"/>
                      </a:cubicBezTo>
                      <a:cubicBezTo>
                        <a:pt x="308" y="322"/>
                        <a:pt x="310" y="299"/>
                        <a:pt x="310" y="292"/>
                      </a:cubicBezTo>
                      <a:cubicBezTo>
                        <a:pt x="302" y="300"/>
                        <a:pt x="291" y="323"/>
                        <a:pt x="281" y="323"/>
                      </a:cubicBezTo>
                      <a:cubicBezTo>
                        <a:pt x="276" y="323"/>
                        <a:pt x="278" y="315"/>
                        <a:pt x="278" y="315"/>
                      </a:cubicBezTo>
                      <a:cubicBezTo>
                        <a:pt x="275" y="315"/>
                        <a:pt x="265" y="294"/>
                        <a:pt x="262" y="289"/>
                      </a:cubicBezTo>
                      <a:cubicBezTo>
                        <a:pt x="254" y="280"/>
                        <a:pt x="228" y="276"/>
                        <a:pt x="214" y="276"/>
                      </a:cubicBezTo>
                      <a:cubicBezTo>
                        <a:pt x="198" y="276"/>
                        <a:pt x="195" y="283"/>
                        <a:pt x="185" y="286"/>
                      </a:cubicBezTo>
                      <a:cubicBezTo>
                        <a:pt x="163" y="293"/>
                        <a:pt x="135" y="285"/>
                        <a:pt x="131" y="308"/>
                      </a:cubicBezTo>
                      <a:cubicBezTo>
                        <a:pt x="122" y="309"/>
                        <a:pt x="115" y="311"/>
                        <a:pt x="105" y="311"/>
                      </a:cubicBezTo>
                      <a:cubicBezTo>
                        <a:pt x="98" y="307"/>
                        <a:pt x="98" y="311"/>
                        <a:pt x="93" y="311"/>
                      </a:cubicBezTo>
                      <a:cubicBezTo>
                        <a:pt x="77" y="311"/>
                        <a:pt x="71" y="326"/>
                        <a:pt x="51" y="326"/>
                      </a:cubicBezTo>
                      <a:cubicBezTo>
                        <a:pt x="43" y="326"/>
                        <a:pt x="22" y="316"/>
                        <a:pt x="22" y="310"/>
                      </a:cubicBezTo>
                      <a:cubicBezTo>
                        <a:pt x="22" y="303"/>
                        <a:pt x="32" y="300"/>
                        <a:pt x="32" y="290"/>
                      </a:cubicBezTo>
                      <a:cubicBezTo>
                        <a:pt x="32" y="277"/>
                        <a:pt x="26" y="270"/>
                        <a:pt x="23" y="262"/>
                      </a:cubicBezTo>
                      <a:cubicBezTo>
                        <a:pt x="18" y="243"/>
                        <a:pt x="17" y="237"/>
                        <a:pt x="11" y="220"/>
                      </a:cubicBezTo>
                      <a:cubicBezTo>
                        <a:pt x="9" y="213"/>
                        <a:pt x="0" y="211"/>
                        <a:pt x="2" y="204"/>
                      </a:cubicBezTo>
                      <a:cubicBezTo>
                        <a:pt x="3" y="202"/>
                        <a:pt x="3" y="201"/>
                        <a:pt x="5" y="198"/>
                      </a:cubicBezTo>
                      <a:cubicBezTo>
                        <a:pt x="6" y="201"/>
                        <a:pt x="7" y="203"/>
                        <a:pt x="9" y="204"/>
                      </a:cubicBezTo>
                      <a:cubicBezTo>
                        <a:pt x="10" y="202"/>
                        <a:pt x="9" y="201"/>
                        <a:pt x="9" y="198"/>
                      </a:cubicBezTo>
                      <a:cubicBezTo>
                        <a:pt x="9" y="192"/>
                        <a:pt x="3" y="187"/>
                        <a:pt x="3" y="176"/>
                      </a:cubicBezTo>
                      <a:cubicBezTo>
                        <a:pt x="3" y="162"/>
                        <a:pt x="3" y="161"/>
                        <a:pt x="3" y="150"/>
                      </a:cubicBezTo>
                      <a:cubicBezTo>
                        <a:pt x="3" y="146"/>
                        <a:pt x="7" y="146"/>
                        <a:pt x="8" y="145"/>
                      </a:cubicBezTo>
                      <a:cubicBezTo>
                        <a:pt x="9" y="146"/>
                        <a:pt x="9" y="148"/>
                        <a:pt x="9" y="149"/>
                      </a:cubicBezTo>
                      <a:cubicBezTo>
                        <a:pt x="17" y="148"/>
                        <a:pt x="27" y="137"/>
                        <a:pt x="32" y="132"/>
                      </a:cubicBezTo>
                      <a:cubicBezTo>
                        <a:pt x="37" y="127"/>
                        <a:pt x="53" y="126"/>
                        <a:pt x="62" y="125"/>
                      </a:cubicBezTo>
                      <a:cubicBezTo>
                        <a:pt x="78" y="122"/>
                        <a:pt x="114" y="110"/>
                        <a:pt x="114" y="95"/>
                      </a:cubicBezTo>
                      <a:cubicBezTo>
                        <a:pt x="114" y="92"/>
                        <a:pt x="114" y="90"/>
                        <a:pt x="114" y="87"/>
                      </a:cubicBezTo>
                      <a:cubicBezTo>
                        <a:pt x="114" y="83"/>
                        <a:pt x="115" y="79"/>
                        <a:pt x="119" y="76"/>
                      </a:cubicBezTo>
                      <a:cubicBezTo>
                        <a:pt x="122" y="80"/>
                        <a:pt x="124" y="82"/>
                        <a:pt x="126" y="85"/>
                      </a:cubicBezTo>
                      <a:cubicBezTo>
                        <a:pt x="131" y="82"/>
                        <a:pt x="129" y="75"/>
                        <a:pt x="131" y="71"/>
                      </a:cubicBezTo>
                      <a:cubicBezTo>
                        <a:pt x="134" y="72"/>
                        <a:pt x="137" y="74"/>
                        <a:pt x="140" y="74"/>
                      </a:cubicBezTo>
                      <a:cubicBezTo>
                        <a:pt x="140" y="62"/>
                        <a:pt x="149" y="60"/>
                        <a:pt x="150" y="50"/>
                      </a:cubicBezTo>
                      <a:cubicBezTo>
                        <a:pt x="162" y="50"/>
                        <a:pt x="164" y="41"/>
                        <a:pt x="173" y="41"/>
                      </a:cubicBezTo>
                      <a:cubicBezTo>
                        <a:pt x="181" y="41"/>
                        <a:pt x="186" y="50"/>
                        <a:pt x="187" y="58"/>
                      </a:cubicBezTo>
                      <a:cubicBezTo>
                        <a:pt x="189" y="55"/>
                        <a:pt x="192" y="53"/>
                        <a:pt x="196" y="53"/>
                      </a:cubicBezTo>
                      <a:cubicBezTo>
                        <a:pt x="198" y="53"/>
                        <a:pt x="202" y="56"/>
                        <a:pt x="203" y="56"/>
                      </a:cubicBezTo>
                      <a:cubicBezTo>
                        <a:pt x="205" y="52"/>
                        <a:pt x="204" y="49"/>
                        <a:pt x="204" y="45"/>
                      </a:cubicBezTo>
                      <a:cubicBezTo>
                        <a:pt x="204" y="39"/>
                        <a:pt x="211" y="36"/>
                        <a:pt x="211" y="30"/>
                      </a:cubicBezTo>
                      <a:cubicBezTo>
                        <a:pt x="211" y="24"/>
                        <a:pt x="228" y="20"/>
                        <a:pt x="236" y="20"/>
                      </a:cubicBezTo>
                      <a:cubicBezTo>
                        <a:pt x="239" y="20"/>
                        <a:pt x="243" y="17"/>
                        <a:pt x="244" y="17"/>
                      </a:cubicBezTo>
                      <a:cubicBezTo>
                        <a:pt x="241" y="13"/>
                        <a:pt x="237" y="11"/>
                        <a:pt x="236" y="7"/>
                      </a:cubicBezTo>
                      <a:cubicBezTo>
                        <a:pt x="251" y="13"/>
                        <a:pt x="260" y="19"/>
                        <a:pt x="276" y="19"/>
                      </a:cubicBezTo>
                      <a:cubicBezTo>
                        <a:pt x="281" y="19"/>
                        <a:pt x="283" y="15"/>
                        <a:pt x="288" y="15"/>
                      </a:cubicBezTo>
                      <a:cubicBezTo>
                        <a:pt x="291" y="15"/>
                        <a:pt x="297" y="20"/>
                        <a:pt x="297" y="23"/>
                      </a:cubicBezTo>
                      <a:cubicBezTo>
                        <a:pt x="297" y="29"/>
                        <a:pt x="290" y="30"/>
                        <a:pt x="287" y="32"/>
                      </a:cubicBezTo>
                      <a:cubicBezTo>
                        <a:pt x="281" y="54"/>
                        <a:pt x="281" y="54"/>
                        <a:pt x="281" y="54"/>
                      </a:cubicBezTo>
                      <a:cubicBezTo>
                        <a:pt x="281" y="58"/>
                        <a:pt x="288" y="57"/>
                        <a:pt x="290" y="59"/>
                      </a:cubicBezTo>
                      <a:cubicBezTo>
                        <a:pt x="293" y="60"/>
                        <a:pt x="293" y="67"/>
                        <a:pt x="295" y="68"/>
                      </a:cubicBezTo>
                      <a:cubicBezTo>
                        <a:pt x="306" y="72"/>
                        <a:pt x="313" y="74"/>
                        <a:pt x="324" y="79"/>
                      </a:cubicBezTo>
                      <a:cubicBezTo>
                        <a:pt x="330" y="81"/>
                        <a:pt x="333" y="90"/>
                        <a:pt x="341" y="90"/>
                      </a:cubicBezTo>
                      <a:cubicBezTo>
                        <a:pt x="355" y="90"/>
                        <a:pt x="357" y="64"/>
                        <a:pt x="359" y="54"/>
                      </a:cubicBezTo>
                      <a:cubicBezTo>
                        <a:pt x="359" y="15"/>
                        <a:pt x="359" y="15"/>
                        <a:pt x="359" y="15"/>
                      </a:cubicBezTo>
                      <a:cubicBezTo>
                        <a:pt x="366" y="9"/>
                        <a:pt x="364" y="4"/>
                        <a:pt x="372" y="0"/>
                      </a:cubicBezTo>
                      <a:cubicBezTo>
                        <a:pt x="373" y="11"/>
                        <a:pt x="379" y="19"/>
                        <a:pt x="381" y="28"/>
                      </a:cubicBezTo>
                      <a:cubicBezTo>
                        <a:pt x="383" y="34"/>
                        <a:pt x="381" y="42"/>
                        <a:pt x="386" y="45"/>
                      </a:cubicBezTo>
                      <a:cubicBezTo>
                        <a:pt x="390" y="47"/>
                        <a:pt x="399" y="49"/>
                        <a:pt x="400" y="50"/>
                      </a:cubicBezTo>
                      <a:cubicBezTo>
                        <a:pt x="406" y="54"/>
                        <a:pt x="406" y="68"/>
                        <a:pt x="408" y="75"/>
                      </a:cubicBezTo>
                      <a:cubicBezTo>
                        <a:pt x="412" y="87"/>
                        <a:pt x="415" y="93"/>
                        <a:pt x="419" y="104"/>
                      </a:cubicBezTo>
                      <a:cubicBezTo>
                        <a:pt x="422" y="114"/>
                        <a:pt x="441" y="118"/>
                        <a:pt x="449" y="126"/>
                      </a:cubicBezTo>
                      <a:cubicBezTo>
                        <a:pt x="454" y="131"/>
                        <a:pt x="455" y="139"/>
                        <a:pt x="457" y="146"/>
                      </a:cubicBezTo>
                      <a:cubicBezTo>
                        <a:pt x="459" y="151"/>
                        <a:pt x="466" y="151"/>
                        <a:pt x="471" y="151"/>
                      </a:cubicBezTo>
                      <a:cubicBezTo>
                        <a:pt x="471" y="169"/>
                        <a:pt x="488" y="176"/>
                        <a:pt x="497" y="185"/>
                      </a:cubicBezTo>
                      <a:lnTo>
                        <a:pt x="496" y="1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8" name="Freeform 19"/>
                <p:cNvSpPr>
                  <a:spLocks/>
                </p:cNvSpPr>
                <p:nvPr/>
              </p:nvSpPr>
              <p:spPr bwMode="auto">
                <a:xfrm>
                  <a:off x="7043738" y="3598863"/>
                  <a:ext cx="127000" cy="125413"/>
                </a:xfrm>
                <a:custGeom>
                  <a:avLst/>
                  <a:gdLst/>
                  <a:ahLst/>
                  <a:cxnLst>
                    <a:cxn ang="0">
                      <a:pos x="58" y="26"/>
                    </a:cxn>
                    <a:cxn ang="0">
                      <a:pos x="59" y="22"/>
                    </a:cxn>
                    <a:cxn ang="0">
                      <a:pos x="67" y="17"/>
                    </a:cxn>
                    <a:cxn ang="0">
                      <a:pos x="67" y="14"/>
                    </a:cxn>
                    <a:cxn ang="0">
                      <a:pos x="78" y="0"/>
                    </a:cxn>
                    <a:cxn ang="0">
                      <a:pos x="81" y="4"/>
                    </a:cxn>
                    <a:cxn ang="0">
                      <a:pos x="83" y="10"/>
                    </a:cxn>
                    <a:cxn ang="0">
                      <a:pos x="90" y="6"/>
                    </a:cxn>
                    <a:cxn ang="0">
                      <a:pos x="94" y="8"/>
                    </a:cxn>
                    <a:cxn ang="0">
                      <a:pos x="96" y="15"/>
                    </a:cxn>
                    <a:cxn ang="0">
                      <a:pos x="79" y="37"/>
                    </a:cxn>
                    <a:cxn ang="0">
                      <a:pos x="79" y="50"/>
                    </a:cxn>
                    <a:cxn ang="0">
                      <a:pos x="63" y="53"/>
                    </a:cxn>
                    <a:cxn ang="0">
                      <a:pos x="49" y="84"/>
                    </a:cxn>
                    <a:cxn ang="0">
                      <a:pos x="32" y="94"/>
                    </a:cxn>
                    <a:cxn ang="0">
                      <a:pos x="23" y="92"/>
                    </a:cxn>
                    <a:cxn ang="0">
                      <a:pos x="3" y="83"/>
                    </a:cxn>
                    <a:cxn ang="0">
                      <a:pos x="0" y="81"/>
                    </a:cxn>
                    <a:cxn ang="0">
                      <a:pos x="18" y="57"/>
                    </a:cxn>
                    <a:cxn ang="0">
                      <a:pos x="25" y="51"/>
                    </a:cxn>
                    <a:cxn ang="0">
                      <a:pos x="50" y="37"/>
                    </a:cxn>
                    <a:cxn ang="0">
                      <a:pos x="58" y="26"/>
                    </a:cxn>
                  </a:cxnLst>
                  <a:rect l="0" t="0" r="r" b="b"/>
                  <a:pathLst>
                    <a:path w="96" h="94">
                      <a:moveTo>
                        <a:pt x="58" y="26"/>
                      </a:moveTo>
                      <a:cubicBezTo>
                        <a:pt x="58" y="26"/>
                        <a:pt x="58" y="23"/>
                        <a:pt x="59" y="22"/>
                      </a:cubicBezTo>
                      <a:cubicBezTo>
                        <a:pt x="60" y="18"/>
                        <a:pt x="63" y="17"/>
                        <a:pt x="67" y="17"/>
                      </a:cubicBezTo>
                      <a:cubicBezTo>
                        <a:pt x="67" y="16"/>
                        <a:pt x="67" y="15"/>
                        <a:pt x="67" y="14"/>
                      </a:cubicBezTo>
                      <a:cubicBezTo>
                        <a:pt x="67" y="8"/>
                        <a:pt x="74" y="2"/>
                        <a:pt x="78" y="0"/>
                      </a:cubicBezTo>
                      <a:cubicBezTo>
                        <a:pt x="78" y="3"/>
                        <a:pt x="79" y="4"/>
                        <a:pt x="81" y="4"/>
                      </a:cubicBezTo>
                      <a:cubicBezTo>
                        <a:pt x="81" y="7"/>
                        <a:pt x="80" y="10"/>
                        <a:pt x="83" y="10"/>
                      </a:cubicBezTo>
                      <a:cubicBezTo>
                        <a:pt x="86" y="10"/>
                        <a:pt x="88" y="7"/>
                        <a:pt x="90" y="6"/>
                      </a:cubicBezTo>
                      <a:cubicBezTo>
                        <a:pt x="91" y="8"/>
                        <a:pt x="92" y="8"/>
                        <a:pt x="94" y="8"/>
                      </a:cubicBezTo>
                      <a:cubicBezTo>
                        <a:pt x="94" y="12"/>
                        <a:pt x="94" y="14"/>
                        <a:pt x="96" y="15"/>
                      </a:cubicBezTo>
                      <a:cubicBezTo>
                        <a:pt x="95" y="21"/>
                        <a:pt x="86" y="37"/>
                        <a:pt x="79" y="37"/>
                      </a:cubicBezTo>
                      <a:cubicBezTo>
                        <a:pt x="78" y="43"/>
                        <a:pt x="80" y="45"/>
                        <a:pt x="79" y="50"/>
                      </a:cubicBezTo>
                      <a:cubicBezTo>
                        <a:pt x="77" y="50"/>
                        <a:pt x="66" y="53"/>
                        <a:pt x="63" y="53"/>
                      </a:cubicBezTo>
                      <a:cubicBezTo>
                        <a:pt x="61" y="58"/>
                        <a:pt x="49" y="84"/>
                        <a:pt x="49" y="84"/>
                      </a:cubicBezTo>
                      <a:cubicBezTo>
                        <a:pt x="45" y="88"/>
                        <a:pt x="37" y="94"/>
                        <a:pt x="32" y="94"/>
                      </a:cubicBezTo>
                      <a:cubicBezTo>
                        <a:pt x="30" y="94"/>
                        <a:pt x="25" y="92"/>
                        <a:pt x="23" y="92"/>
                      </a:cubicBezTo>
                      <a:cubicBezTo>
                        <a:pt x="20" y="92"/>
                        <a:pt x="3" y="85"/>
                        <a:pt x="3" y="83"/>
                      </a:cubicBezTo>
                      <a:cubicBezTo>
                        <a:pt x="2" y="83"/>
                        <a:pt x="0" y="82"/>
                        <a:pt x="0" y="81"/>
                      </a:cubicBezTo>
                      <a:cubicBezTo>
                        <a:pt x="0" y="70"/>
                        <a:pt x="14" y="64"/>
                        <a:pt x="18" y="57"/>
                      </a:cubicBezTo>
                      <a:cubicBezTo>
                        <a:pt x="20" y="54"/>
                        <a:pt x="22" y="51"/>
                        <a:pt x="25" y="51"/>
                      </a:cubicBezTo>
                      <a:cubicBezTo>
                        <a:pt x="36" y="51"/>
                        <a:pt x="42" y="40"/>
                        <a:pt x="50" y="37"/>
                      </a:cubicBezTo>
                      <a:cubicBezTo>
                        <a:pt x="52" y="36"/>
                        <a:pt x="58" y="26"/>
                        <a:pt x="58" y="2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99" name="Freeform 20"/>
                <p:cNvSpPr>
                  <a:spLocks/>
                </p:cNvSpPr>
                <p:nvPr/>
              </p:nvSpPr>
              <p:spPr bwMode="auto">
                <a:xfrm>
                  <a:off x="7148513" y="3476625"/>
                  <a:ext cx="93663" cy="139700"/>
                </a:xfrm>
                <a:custGeom>
                  <a:avLst/>
                  <a:gdLst/>
                  <a:ahLst/>
                  <a:cxnLst>
                    <a:cxn ang="0">
                      <a:pos x="22" y="40"/>
                    </a:cxn>
                    <a:cxn ang="0">
                      <a:pos x="17" y="31"/>
                    </a:cxn>
                    <a:cxn ang="0">
                      <a:pos x="19" y="27"/>
                    </a:cxn>
                    <a:cxn ang="0">
                      <a:pos x="0" y="0"/>
                    </a:cxn>
                    <a:cxn ang="0">
                      <a:pos x="16" y="12"/>
                    </a:cxn>
                    <a:cxn ang="0">
                      <a:pos x="22" y="19"/>
                    </a:cxn>
                    <a:cxn ang="0">
                      <a:pos x="20" y="22"/>
                    </a:cxn>
                    <a:cxn ang="0">
                      <a:pos x="27" y="37"/>
                    </a:cxn>
                    <a:cxn ang="0">
                      <a:pos x="30" y="37"/>
                    </a:cxn>
                    <a:cxn ang="0">
                      <a:pos x="34" y="32"/>
                    </a:cxn>
                    <a:cxn ang="0">
                      <a:pos x="37" y="32"/>
                    </a:cxn>
                    <a:cxn ang="0">
                      <a:pos x="53" y="50"/>
                    </a:cxn>
                    <a:cxn ang="0">
                      <a:pos x="68" y="46"/>
                    </a:cxn>
                    <a:cxn ang="0">
                      <a:pos x="71" y="48"/>
                    </a:cxn>
                    <a:cxn ang="0">
                      <a:pos x="63" y="71"/>
                    </a:cxn>
                    <a:cxn ang="0">
                      <a:pos x="61" y="68"/>
                    </a:cxn>
                    <a:cxn ang="0">
                      <a:pos x="60" y="70"/>
                    </a:cxn>
                    <a:cxn ang="0">
                      <a:pos x="51" y="75"/>
                    </a:cxn>
                    <a:cxn ang="0">
                      <a:pos x="52" y="80"/>
                    </a:cxn>
                    <a:cxn ang="0">
                      <a:pos x="46" y="89"/>
                    </a:cxn>
                    <a:cxn ang="0">
                      <a:pos x="30" y="104"/>
                    </a:cxn>
                    <a:cxn ang="0">
                      <a:pos x="23" y="98"/>
                    </a:cxn>
                    <a:cxn ang="0">
                      <a:pos x="29" y="86"/>
                    </a:cxn>
                    <a:cxn ang="0">
                      <a:pos x="12" y="72"/>
                    </a:cxn>
                    <a:cxn ang="0">
                      <a:pos x="19" y="65"/>
                    </a:cxn>
                    <a:cxn ang="0">
                      <a:pos x="24" y="48"/>
                    </a:cxn>
                    <a:cxn ang="0">
                      <a:pos x="22" y="38"/>
                    </a:cxn>
                    <a:cxn ang="0">
                      <a:pos x="22" y="38"/>
                    </a:cxn>
                    <a:cxn ang="0">
                      <a:pos x="22" y="40"/>
                    </a:cxn>
                  </a:cxnLst>
                  <a:rect l="0" t="0" r="r" b="b"/>
                  <a:pathLst>
                    <a:path w="71" h="104">
                      <a:moveTo>
                        <a:pt x="22" y="40"/>
                      </a:moveTo>
                      <a:cubicBezTo>
                        <a:pt x="21" y="36"/>
                        <a:pt x="17" y="35"/>
                        <a:pt x="17" y="31"/>
                      </a:cubicBezTo>
                      <a:cubicBezTo>
                        <a:pt x="17" y="30"/>
                        <a:pt x="18" y="28"/>
                        <a:pt x="19" y="27"/>
                      </a:cubicBezTo>
                      <a:cubicBezTo>
                        <a:pt x="8" y="25"/>
                        <a:pt x="2" y="11"/>
                        <a:pt x="0" y="0"/>
                      </a:cubicBezTo>
                      <a:cubicBezTo>
                        <a:pt x="4" y="7"/>
                        <a:pt x="12" y="8"/>
                        <a:pt x="16" y="12"/>
                      </a:cubicBezTo>
                      <a:cubicBezTo>
                        <a:pt x="19" y="15"/>
                        <a:pt x="19" y="18"/>
                        <a:pt x="22" y="19"/>
                      </a:cubicBezTo>
                      <a:cubicBezTo>
                        <a:pt x="21" y="21"/>
                        <a:pt x="20" y="21"/>
                        <a:pt x="20" y="22"/>
                      </a:cubicBezTo>
                      <a:cubicBezTo>
                        <a:pt x="20" y="25"/>
                        <a:pt x="25" y="34"/>
                        <a:pt x="27" y="37"/>
                      </a:cubicBezTo>
                      <a:cubicBezTo>
                        <a:pt x="30" y="37"/>
                        <a:pt x="30" y="37"/>
                        <a:pt x="30" y="37"/>
                      </a:cubicBezTo>
                      <a:cubicBezTo>
                        <a:pt x="30" y="34"/>
                        <a:pt x="32" y="32"/>
                        <a:pt x="34" y="32"/>
                      </a:cubicBezTo>
                      <a:cubicBezTo>
                        <a:pt x="35" y="32"/>
                        <a:pt x="36" y="32"/>
                        <a:pt x="37" y="32"/>
                      </a:cubicBezTo>
                      <a:cubicBezTo>
                        <a:pt x="37" y="44"/>
                        <a:pt x="42" y="50"/>
                        <a:pt x="53" y="50"/>
                      </a:cubicBezTo>
                      <a:cubicBezTo>
                        <a:pt x="61" y="50"/>
                        <a:pt x="61" y="46"/>
                        <a:pt x="68" y="46"/>
                      </a:cubicBezTo>
                      <a:cubicBezTo>
                        <a:pt x="69" y="46"/>
                        <a:pt x="71" y="47"/>
                        <a:pt x="71" y="48"/>
                      </a:cubicBezTo>
                      <a:cubicBezTo>
                        <a:pt x="65" y="55"/>
                        <a:pt x="67" y="64"/>
                        <a:pt x="63" y="71"/>
                      </a:cubicBezTo>
                      <a:cubicBezTo>
                        <a:pt x="61" y="68"/>
                        <a:pt x="61" y="68"/>
                        <a:pt x="61" y="68"/>
                      </a:cubicBezTo>
                      <a:cubicBezTo>
                        <a:pt x="60" y="68"/>
                        <a:pt x="60" y="70"/>
                        <a:pt x="60" y="70"/>
                      </a:cubicBezTo>
                      <a:cubicBezTo>
                        <a:pt x="55" y="71"/>
                        <a:pt x="51" y="72"/>
                        <a:pt x="51" y="75"/>
                      </a:cubicBezTo>
                      <a:cubicBezTo>
                        <a:pt x="51" y="77"/>
                        <a:pt x="52" y="78"/>
                        <a:pt x="52" y="80"/>
                      </a:cubicBezTo>
                      <a:cubicBezTo>
                        <a:pt x="52" y="83"/>
                        <a:pt x="47" y="87"/>
                        <a:pt x="46" y="89"/>
                      </a:cubicBezTo>
                      <a:cubicBezTo>
                        <a:pt x="42" y="95"/>
                        <a:pt x="39" y="104"/>
                        <a:pt x="30" y="104"/>
                      </a:cubicBezTo>
                      <a:cubicBezTo>
                        <a:pt x="26" y="104"/>
                        <a:pt x="23" y="102"/>
                        <a:pt x="23" y="98"/>
                      </a:cubicBezTo>
                      <a:cubicBezTo>
                        <a:pt x="23" y="93"/>
                        <a:pt x="29" y="91"/>
                        <a:pt x="29" y="86"/>
                      </a:cubicBezTo>
                      <a:cubicBezTo>
                        <a:pt x="29" y="77"/>
                        <a:pt x="12" y="80"/>
                        <a:pt x="12" y="72"/>
                      </a:cubicBezTo>
                      <a:cubicBezTo>
                        <a:pt x="12" y="68"/>
                        <a:pt x="16" y="67"/>
                        <a:pt x="19" y="65"/>
                      </a:cubicBezTo>
                      <a:cubicBezTo>
                        <a:pt x="23" y="61"/>
                        <a:pt x="24" y="55"/>
                        <a:pt x="24" y="48"/>
                      </a:cubicBezTo>
                      <a:cubicBezTo>
                        <a:pt x="24" y="44"/>
                        <a:pt x="22" y="40"/>
                        <a:pt x="22" y="38"/>
                      </a:cubicBezTo>
                      <a:cubicBezTo>
                        <a:pt x="22" y="38"/>
                        <a:pt x="22" y="38"/>
                        <a:pt x="22" y="38"/>
                      </a:cubicBezTo>
                      <a:lnTo>
                        <a:pt x="22"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00" name="Freeform 116"/>
                <p:cNvSpPr>
                  <a:spLocks/>
                </p:cNvSpPr>
                <p:nvPr/>
              </p:nvSpPr>
              <p:spPr bwMode="auto">
                <a:xfrm>
                  <a:off x="6856413" y="3582988"/>
                  <a:ext cx="6350" cy="9525"/>
                </a:xfrm>
                <a:custGeom>
                  <a:avLst/>
                  <a:gdLst/>
                  <a:ahLst/>
                  <a:cxnLst>
                    <a:cxn ang="0">
                      <a:pos x="5" y="0"/>
                    </a:cxn>
                    <a:cxn ang="0">
                      <a:pos x="4" y="7"/>
                    </a:cxn>
                    <a:cxn ang="0">
                      <a:pos x="0" y="0"/>
                    </a:cxn>
                    <a:cxn ang="0">
                      <a:pos x="5" y="0"/>
                    </a:cxn>
                  </a:cxnLst>
                  <a:rect l="0" t="0" r="r" b="b"/>
                  <a:pathLst>
                    <a:path w="5" h="7">
                      <a:moveTo>
                        <a:pt x="5" y="0"/>
                      </a:moveTo>
                      <a:cubicBezTo>
                        <a:pt x="5" y="4"/>
                        <a:pt x="4" y="5"/>
                        <a:pt x="4" y="7"/>
                      </a:cubicBezTo>
                      <a:cubicBezTo>
                        <a:pt x="0" y="6"/>
                        <a:pt x="0" y="3"/>
                        <a:pt x="0" y="0"/>
                      </a:cubicBezTo>
                      <a:cubicBezTo>
                        <a:pt x="2" y="0"/>
                        <a:pt x="4" y="0"/>
                        <a:pt x="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01" name="Freeform 117"/>
                <p:cNvSpPr>
                  <a:spLocks/>
                </p:cNvSpPr>
                <p:nvPr/>
              </p:nvSpPr>
              <p:spPr bwMode="auto">
                <a:xfrm>
                  <a:off x="6664325" y="3500438"/>
                  <a:ext cx="22225" cy="11113"/>
                </a:xfrm>
                <a:custGeom>
                  <a:avLst/>
                  <a:gdLst/>
                  <a:ahLst/>
                  <a:cxnLst>
                    <a:cxn ang="0">
                      <a:pos x="16" y="4"/>
                    </a:cxn>
                    <a:cxn ang="0">
                      <a:pos x="0" y="4"/>
                    </a:cxn>
                    <a:cxn ang="0">
                      <a:pos x="16" y="4"/>
                    </a:cxn>
                  </a:cxnLst>
                  <a:rect l="0" t="0" r="r" b="b"/>
                  <a:pathLst>
                    <a:path w="16" h="8">
                      <a:moveTo>
                        <a:pt x="16" y="4"/>
                      </a:moveTo>
                      <a:cubicBezTo>
                        <a:pt x="11" y="7"/>
                        <a:pt x="4" y="8"/>
                        <a:pt x="0" y="4"/>
                      </a:cubicBezTo>
                      <a:cubicBezTo>
                        <a:pt x="9" y="0"/>
                        <a:pt x="10" y="0"/>
                        <a:pt x="1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02" name="Freeform 118"/>
                <p:cNvSpPr>
                  <a:spLocks/>
                </p:cNvSpPr>
                <p:nvPr/>
              </p:nvSpPr>
              <p:spPr bwMode="auto">
                <a:xfrm>
                  <a:off x="6556375" y="3065463"/>
                  <a:ext cx="22225" cy="9525"/>
                </a:xfrm>
                <a:custGeom>
                  <a:avLst/>
                  <a:gdLst/>
                  <a:ahLst/>
                  <a:cxnLst>
                    <a:cxn ang="0">
                      <a:pos x="17" y="1"/>
                    </a:cxn>
                    <a:cxn ang="0">
                      <a:pos x="17" y="7"/>
                    </a:cxn>
                    <a:cxn ang="0">
                      <a:pos x="13" y="7"/>
                    </a:cxn>
                    <a:cxn ang="0">
                      <a:pos x="0" y="3"/>
                    </a:cxn>
                    <a:cxn ang="0">
                      <a:pos x="17" y="1"/>
                    </a:cxn>
                  </a:cxnLst>
                  <a:rect l="0" t="0" r="r" b="b"/>
                  <a:pathLst>
                    <a:path w="17" h="7">
                      <a:moveTo>
                        <a:pt x="17" y="1"/>
                      </a:moveTo>
                      <a:cubicBezTo>
                        <a:pt x="17" y="7"/>
                        <a:pt x="17" y="7"/>
                        <a:pt x="17" y="7"/>
                      </a:cubicBezTo>
                      <a:cubicBezTo>
                        <a:pt x="16" y="7"/>
                        <a:pt x="14" y="7"/>
                        <a:pt x="13" y="7"/>
                      </a:cubicBezTo>
                      <a:cubicBezTo>
                        <a:pt x="8" y="7"/>
                        <a:pt x="2" y="5"/>
                        <a:pt x="0" y="3"/>
                      </a:cubicBezTo>
                      <a:cubicBezTo>
                        <a:pt x="8" y="1"/>
                        <a:pt x="11" y="0"/>
                        <a:pt x="17"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grpSp>
        </p:grpSp>
        <p:grpSp>
          <p:nvGrpSpPr>
            <p:cNvPr id="17" name="Group 383"/>
            <p:cNvGrpSpPr/>
            <p:nvPr/>
          </p:nvGrpSpPr>
          <p:grpSpPr>
            <a:xfrm>
              <a:off x="3584348" y="1207327"/>
              <a:ext cx="2773469" cy="1960289"/>
              <a:chOff x="4713288" y="1038225"/>
              <a:chExt cx="2847975" cy="2012950"/>
            </a:xfrm>
            <a:grpFill/>
          </p:grpSpPr>
          <p:sp>
            <p:nvSpPr>
              <p:cNvPr id="18" name="Freeform 101"/>
              <p:cNvSpPr>
                <a:spLocks/>
              </p:cNvSpPr>
              <p:nvPr/>
            </p:nvSpPr>
            <p:spPr bwMode="auto">
              <a:xfrm>
                <a:off x="4818063" y="2127250"/>
                <a:ext cx="622300" cy="538163"/>
              </a:xfrm>
              <a:custGeom>
                <a:avLst/>
                <a:gdLst/>
                <a:ahLst/>
                <a:cxnLst>
                  <a:cxn ang="0">
                    <a:pos x="102" y="154"/>
                  </a:cxn>
                  <a:cxn ang="0">
                    <a:pos x="113" y="126"/>
                  </a:cxn>
                  <a:cxn ang="0">
                    <a:pos x="122" y="86"/>
                  </a:cxn>
                  <a:cxn ang="0">
                    <a:pos x="125" y="77"/>
                  </a:cxn>
                  <a:cxn ang="0">
                    <a:pos x="108" y="77"/>
                  </a:cxn>
                  <a:cxn ang="0">
                    <a:pos x="64" y="77"/>
                  </a:cxn>
                  <a:cxn ang="0">
                    <a:pos x="27" y="79"/>
                  </a:cxn>
                  <a:cxn ang="0">
                    <a:pos x="26" y="77"/>
                  </a:cxn>
                  <a:cxn ang="0">
                    <a:pos x="0" y="55"/>
                  </a:cxn>
                  <a:cxn ang="0">
                    <a:pos x="9" y="37"/>
                  </a:cxn>
                  <a:cxn ang="0">
                    <a:pos x="41" y="20"/>
                  </a:cxn>
                  <a:cxn ang="0">
                    <a:pos x="48" y="13"/>
                  </a:cxn>
                  <a:cxn ang="0">
                    <a:pos x="80" y="4"/>
                  </a:cxn>
                  <a:cxn ang="0">
                    <a:pos x="127" y="7"/>
                  </a:cxn>
                  <a:cxn ang="0">
                    <a:pos x="174" y="15"/>
                  </a:cxn>
                  <a:cxn ang="0">
                    <a:pos x="223" y="21"/>
                  </a:cxn>
                  <a:cxn ang="0">
                    <a:pos x="256" y="44"/>
                  </a:cxn>
                  <a:cxn ang="0">
                    <a:pos x="278" y="33"/>
                  </a:cxn>
                  <a:cxn ang="0">
                    <a:pos x="281" y="43"/>
                  </a:cxn>
                  <a:cxn ang="0">
                    <a:pos x="289" y="65"/>
                  </a:cxn>
                  <a:cxn ang="0">
                    <a:pos x="309" y="76"/>
                  </a:cxn>
                  <a:cxn ang="0">
                    <a:pos x="350" y="76"/>
                  </a:cxn>
                  <a:cxn ang="0">
                    <a:pos x="359" y="63"/>
                  </a:cxn>
                  <a:cxn ang="0">
                    <a:pos x="387" y="51"/>
                  </a:cxn>
                  <a:cxn ang="0">
                    <a:pos x="439" y="74"/>
                  </a:cxn>
                  <a:cxn ang="0">
                    <a:pos x="445" y="96"/>
                  </a:cxn>
                  <a:cxn ang="0">
                    <a:pos x="435" y="119"/>
                  </a:cxn>
                  <a:cxn ang="0">
                    <a:pos x="436" y="138"/>
                  </a:cxn>
                  <a:cxn ang="0">
                    <a:pos x="449" y="156"/>
                  </a:cxn>
                  <a:cxn ang="0">
                    <a:pos x="445" y="179"/>
                  </a:cxn>
                  <a:cxn ang="0">
                    <a:pos x="448" y="232"/>
                  </a:cxn>
                  <a:cxn ang="0">
                    <a:pos x="448" y="240"/>
                  </a:cxn>
                  <a:cxn ang="0">
                    <a:pos x="393" y="231"/>
                  </a:cxn>
                  <a:cxn ang="0">
                    <a:pos x="370" y="220"/>
                  </a:cxn>
                  <a:cxn ang="0">
                    <a:pos x="333" y="207"/>
                  </a:cxn>
                  <a:cxn ang="0">
                    <a:pos x="313" y="192"/>
                  </a:cxn>
                  <a:cxn ang="0">
                    <a:pos x="278" y="183"/>
                  </a:cxn>
                  <a:cxn ang="0">
                    <a:pos x="304" y="224"/>
                  </a:cxn>
                  <a:cxn ang="0">
                    <a:pos x="315" y="227"/>
                  </a:cxn>
                  <a:cxn ang="0">
                    <a:pos x="313" y="246"/>
                  </a:cxn>
                  <a:cxn ang="0">
                    <a:pos x="379" y="225"/>
                  </a:cxn>
                  <a:cxn ang="0">
                    <a:pos x="406" y="260"/>
                  </a:cxn>
                  <a:cxn ang="0">
                    <a:pos x="414" y="270"/>
                  </a:cxn>
                  <a:cxn ang="0">
                    <a:pos x="410" y="302"/>
                  </a:cxn>
                  <a:cxn ang="0">
                    <a:pos x="390" y="321"/>
                  </a:cxn>
                  <a:cxn ang="0">
                    <a:pos x="365" y="347"/>
                  </a:cxn>
                  <a:cxn ang="0">
                    <a:pos x="328" y="368"/>
                  </a:cxn>
                  <a:cxn ang="0">
                    <a:pos x="265" y="395"/>
                  </a:cxn>
                  <a:cxn ang="0">
                    <a:pos x="234" y="404"/>
                  </a:cxn>
                  <a:cxn ang="0">
                    <a:pos x="217" y="399"/>
                  </a:cxn>
                  <a:cxn ang="0">
                    <a:pos x="209" y="372"/>
                  </a:cxn>
                  <a:cxn ang="0">
                    <a:pos x="198" y="340"/>
                  </a:cxn>
                  <a:cxn ang="0">
                    <a:pos x="162" y="280"/>
                  </a:cxn>
                  <a:cxn ang="0">
                    <a:pos x="154" y="259"/>
                  </a:cxn>
                  <a:cxn ang="0">
                    <a:pos x="140" y="251"/>
                  </a:cxn>
                  <a:cxn ang="0">
                    <a:pos x="131" y="229"/>
                  </a:cxn>
                  <a:cxn ang="0">
                    <a:pos x="109" y="196"/>
                  </a:cxn>
                  <a:cxn ang="0">
                    <a:pos x="112" y="177"/>
                  </a:cxn>
                </a:cxnLst>
                <a:rect l="0" t="0" r="r" b="b"/>
                <a:pathLst>
                  <a:path w="467" h="405">
                    <a:moveTo>
                      <a:pt x="112" y="177"/>
                    </a:moveTo>
                    <a:cubicBezTo>
                      <a:pt x="102" y="154"/>
                      <a:pt x="102" y="154"/>
                      <a:pt x="102" y="154"/>
                    </a:cubicBezTo>
                    <a:cubicBezTo>
                      <a:pt x="102" y="151"/>
                      <a:pt x="105" y="151"/>
                      <a:pt x="106" y="149"/>
                    </a:cubicBezTo>
                    <a:cubicBezTo>
                      <a:pt x="109" y="139"/>
                      <a:pt x="110" y="134"/>
                      <a:pt x="113" y="126"/>
                    </a:cubicBezTo>
                    <a:cubicBezTo>
                      <a:pt x="115" y="117"/>
                      <a:pt x="124" y="115"/>
                      <a:pt x="124" y="104"/>
                    </a:cubicBezTo>
                    <a:cubicBezTo>
                      <a:pt x="124" y="97"/>
                      <a:pt x="122" y="91"/>
                      <a:pt x="122" y="86"/>
                    </a:cubicBezTo>
                    <a:cubicBezTo>
                      <a:pt x="122" y="83"/>
                      <a:pt x="124" y="82"/>
                      <a:pt x="125" y="81"/>
                    </a:cubicBezTo>
                    <a:cubicBezTo>
                      <a:pt x="125" y="77"/>
                      <a:pt x="125" y="77"/>
                      <a:pt x="125" y="77"/>
                    </a:cubicBezTo>
                    <a:cubicBezTo>
                      <a:pt x="121" y="78"/>
                      <a:pt x="120" y="81"/>
                      <a:pt x="117" y="81"/>
                    </a:cubicBezTo>
                    <a:cubicBezTo>
                      <a:pt x="112" y="81"/>
                      <a:pt x="110" y="79"/>
                      <a:pt x="108" y="77"/>
                    </a:cubicBezTo>
                    <a:cubicBezTo>
                      <a:pt x="101" y="82"/>
                      <a:pt x="98" y="88"/>
                      <a:pt x="86" y="88"/>
                    </a:cubicBezTo>
                    <a:cubicBezTo>
                      <a:pt x="76" y="88"/>
                      <a:pt x="73" y="77"/>
                      <a:pt x="64" y="77"/>
                    </a:cubicBezTo>
                    <a:cubicBezTo>
                      <a:pt x="54" y="77"/>
                      <a:pt x="56" y="87"/>
                      <a:pt x="48" y="87"/>
                    </a:cubicBezTo>
                    <a:cubicBezTo>
                      <a:pt x="40" y="87"/>
                      <a:pt x="35" y="75"/>
                      <a:pt x="27" y="79"/>
                    </a:cubicBezTo>
                    <a:cubicBezTo>
                      <a:pt x="22" y="79"/>
                      <a:pt x="22" y="79"/>
                      <a:pt x="22" y="79"/>
                    </a:cubicBezTo>
                    <a:cubicBezTo>
                      <a:pt x="24" y="79"/>
                      <a:pt x="25" y="78"/>
                      <a:pt x="26" y="77"/>
                    </a:cubicBezTo>
                    <a:cubicBezTo>
                      <a:pt x="23" y="74"/>
                      <a:pt x="10" y="67"/>
                      <a:pt x="15" y="63"/>
                    </a:cubicBezTo>
                    <a:cubicBezTo>
                      <a:pt x="11" y="57"/>
                      <a:pt x="6" y="58"/>
                      <a:pt x="0" y="55"/>
                    </a:cubicBezTo>
                    <a:cubicBezTo>
                      <a:pt x="4" y="50"/>
                      <a:pt x="9" y="51"/>
                      <a:pt x="9" y="43"/>
                    </a:cubicBezTo>
                    <a:cubicBezTo>
                      <a:pt x="9" y="40"/>
                      <a:pt x="8" y="40"/>
                      <a:pt x="9" y="37"/>
                    </a:cubicBezTo>
                    <a:cubicBezTo>
                      <a:pt x="6" y="37"/>
                      <a:pt x="1" y="38"/>
                      <a:pt x="1" y="35"/>
                    </a:cubicBezTo>
                    <a:cubicBezTo>
                      <a:pt x="1" y="22"/>
                      <a:pt x="33" y="24"/>
                      <a:pt x="41" y="20"/>
                    </a:cubicBezTo>
                    <a:cubicBezTo>
                      <a:pt x="40" y="17"/>
                      <a:pt x="38" y="18"/>
                      <a:pt x="38" y="15"/>
                    </a:cubicBezTo>
                    <a:cubicBezTo>
                      <a:pt x="38" y="11"/>
                      <a:pt x="46" y="13"/>
                      <a:pt x="48" y="13"/>
                    </a:cubicBezTo>
                    <a:cubicBezTo>
                      <a:pt x="53" y="13"/>
                      <a:pt x="62" y="13"/>
                      <a:pt x="62" y="13"/>
                    </a:cubicBezTo>
                    <a:cubicBezTo>
                      <a:pt x="67" y="13"/>
                      <a:pt x="75" y="7"/>
                      <a:pt x="80" y="4"/>
                    </a:cubicBezTo>
                    <a:cubicBezTo>
                      <a:pt x="86" y="0"/>
                      <a:pt x="98" y="0"/>
                      <a:pt x="106" y="0"/>
                    </a:cubicBezTo>
                    <a:cubicBezTo>
                      <a:pt x="117" y="0"/>
                      <a:pt x="117" y="7"/>
                      <a:pt x="127" y="7"/>
                    </a:cubicBezTo>
                    <a:cubicBezTo>
                      <a:pt x="127" y="12"/>
                      <a:pt x="144" y="15"/>
                      <a:pt x="149" y="15"/>
                    </a:cubicBezTo>
                    <a:cubicBezTo>
                      <a:pt x="162" y="15"/>
                      <a:pt x="170" y="15"/>
                      <a:pt x="174" y="15"/>
                    </a:cubicBezTo>
                    <a:cubicBezTo>
                      <a:pt x="186" y="15"/>
                      <a:pt x="192" y="3"/>
                      <a:pt x="205" y="3"/>
                    </a:cubicBezTo>
                    <a:cubicBezTo>
                      <a:pt x="219" y="3"/>
                      <a:pt x="218" y="12"/>
                      <a:pt x="223" y="21"/>
                    </a:cubicBezTo>
                    <a:cubicBezTo>
                      <a:pt x="224" y="23"/>
                      <a:pt x="233" y="28"/>
                      <a:pt x="233" y="28"/>
                    </a:cubicBezTo>
                    <a:cubicBezTo>
                      <a:pt x="241" y="31"/>
                      <a:pt x="243" y="44"/>
                      <a:pt x="256" y="44"/>
                    </a:cubicBezTo>
                    <a:cubicBezTo>
                      <a:pt x="265" y="44"/>
                      <a:pt x="265" y="36"/>
                      <a:pt x="271" y="34"/>
                    </a:cubicBezTo>
                    <a:cubicBezTo>
                      <a:pt x="275" y="33"/>
                      <a:pt x="274" y="33"/>
                      <a:pt x="278" y="33"/>
                    </a:cubicBezTo>
                    <a:cubicBezTo>
                      <a:pt x="279" y="35"/>
                      <a:pt x="279" y="39"/>
                      <a:pt x="281" y="41"/>
                    </a:cubicBezTo>
                    <a:cubicBezTo>
                      <a:pt x="280" y="41"/>
                      <a:pt x="281" y="42"/>
                      <a:pt x="281" y="43"/>
                    </a:cubicBezTo>
                    <a:cubicBezTo>
                      <a:pt x="281" y="48"/>
                      <a:pt x="284" y="47"/>
                      <a:pt x="286" y="51"/>
                    </a:cubicBezTo>
                    <a:cubicBezTo>
                      <a:pt x="290" y="56"/>
                      <a:pt x="286" y="59"/>
                      <a:pt x="289" y="65"/>
                    </a:cubicBezTo>
                    <a:cubicBezTo>
                      <a:pt x="291" y="70"/>
                      <a:pt x="297" y="67"/>
                      <a:pt x="301" y="68"/>
                    </a:cubicBezTo>
                    <a:cubicBezTo>
                      <a:pt x="305" y="69"/>
                      <a:pt x="306" y="73"/>
                      <a:pt x="309" y="76"/>
                    </a:cubicBezTo>
                    <a:cubicBezTo>
                      <a:pt x="312" y="79"/>
                      <a:pt x="323" y="78"/>
                      <a:pt x="329" y="78"/>
                    </a:cubicBezTo>
                    <a:cubicBezTo>
                      <a:pt x="337" y="78"/>
                      <a:pt x="345" y="77"/>
                      <a:pt x="350" y="76"/>
                    </a:cubicBezTo>
                    <a:cubicBezTo>
                      <a:pt x="350" y="72"/>
                      <a:pt x="350" y="71"/>
                      <a:pt x="350" y="68"/>
                    </a:cubicBezTo>
                    <a:cubicBezTo>
                      <a:pt x="350" y="64"/>
                      <a:pt x="355" y="64"/>
                      <a:pt x="359" y="63"/>
                    </a:cubicBezTo>
                    <a:cubicBezTo>
                      <a:pt x="364" y="61"/>
                      <a:pt x="363" y="59"/>
                      <a:pt x="368" y="57"/>
                    </a:cubicBezTo>
                    <a:cubicBezTo>
                      <a:pt x="376" y="54"/>
                      <a:pt x="381" y="56"/>
                      <a:pt x="387" y="51"/>
                    </a:cubicBezTo>
                    <a:cubicBezTo>
                      <a:pt x="397" y="57"/>
                      <a:pt x="403" y="57"/>
                      <a:pt x="412" y="60"/>
                    </a:cubicBezTo>
                    <a:cubicBezTo>
                      <a:pt x="423" y="64"/>
                      <a:pt x="426" y="74"/>
                      <a:pt x="439" y="74"/>
                    </a:cubicBezTo>
                    <a:cubicBezTo>
                      <a:pt x="439" y="76"/>
                      <a:pt x="442" y="77"/>
                      <a:pt x="443" y="79"/>
                    </a:cubicBezTo>
                    <a:cubicBezTo>
                      <a:pt x="445" y="86"/>
                      <a:pt x="442" y="92"/>
                      <a:pt x="445" y="96"/>
                    </a:cubicBezTo>
                    <a:cubicBezTo>
                      <a:pt x="442" y="98"/>
                      <a:pt x="435" y="114"/>
                      <a:pt x="435" y="115"/>
                    </a:cubicBezTo>
                    <a:cubicBezTo>
                      <a:pt x="435" y="116"/>
                      <a:pt x="436" y="118"/>
                      <a:pt x="435" y="119"/>
                    </a:cubicBezTo>
                    <a:cubicBezTo>
                      <a:pt x="436" y="121"/>
                      <a:pt x="435" y="122"/>
                      <a:pt x="436" y="124"/>
                    </a:cubicBezTo>
                    <a:cubicBezTo>
                      <a:pt x="436" y="138"/>
                      <a:pt x="436" y="138"/>
                      <a:pt x="436" y="138"/>
                    </a:cubicBezTo>
                    <a:cubicBezTo>
                      <a:pt x="438" y="142"/>
                      <a:pt x="437" y="145"/>
                      <a:pt x="439" y="149"/>
                    </a:cubicBezTo>
                    <a:cubicBezTo>
                      <a:pt x="440" y="153"/>
                      <a:pt x="449" y="149"/>
                      <a:pt x="449" y="156"/>
                    </a:cubicBezTo>
                    <a:cubicBezTo>
                      <a:pt x="449" y="165"/>
                      <a:pt x="439" y="164"/>
                      <a:pt x="439" y="171"/>
                    </a:cubicBezTo>
                    <a:cubicBezTo>
                      <a:pt x="439" y="177"/>
                      <a:pt x="443" y="177"/>
                      <a:pt x="445" y="179"/>
                    </a:cubicBezTo>
                    <a:cubicBezTo>
                      <a:pt x="452" y="194"/>
                      <a:pt x="467" y="196"/>
                      <a:pt x="467" y="215"/>
                    </a:cubicBezTo>
                    <a:cubicBezTo>
                      <a:pt x="456" y="218"/>
                      <a:pt x="448" y="220"/>
                      <a:pt x="448" y="232"/>
                    </a:cubicBezTo>
                    <a:cubicBezTo>
                      <a:pt x="448" y="235"/>
                      <a:pt x="450" y="238"/>
                      <a:pt x="450" y="240"/>
                    </a:cubicBezTo>
                    <a:cubicBezTo>
                      <a:pt x="450" y="240"/>
                      <a:pt x="448" y="240"/>
                      <a:pt x="448" y="240"/>
                    </a:cubicBezTo>
                    <a:cubicBezTo>
                      <a:pt x="439" y="240"/>
                      <a:pt x="420" y="235"/>
                      <a:pt x="408" y="235"/>
                    </a:cubicBezTo>
                    <a:cubicBezTo>
                      <a:pt x="406" y="235"/>
                      <a:pt x="393" y="231"/>
                      <a:pt x="393" y="231"/>
                    </a:cubicBezTo>
                    <a:cubicBezTo>
                      <a:pt x="388" y="226"/>
                      <a:pt x="388" y="213"/>
                      <a:pt x="379" y="213"/>
                    </a:cubicBezTo>
                    <a:cubicBezTo>
                      <a:pt x="374" y="213"/>
                      <a:pt x="372" y="217"/>
                      <a:pt x="370" y="220"/>
                    </a:cubicBezTo>
                    <a:cubicBezTo>
                      <a:pt x="348" y="220"/>
                      <a:pt x="348" y="220"/>
                      <a:pt x="348" y="220"/>
                    </a:cubicBezTo>
                    <a:cubicBezTo>
                      <a:pt x="341" y="217"/>
                      <a:pt x="337" y="212"/>
                      <a:pt x="333" y="207"/>
                    </a:cubicBezTo>
                    <a:cubicBezTo>
                      <a:pt x="327" y="202"/>
                      <a:pt x="320" y="205"/>
                      <a:pt x="315" y="200"/>
                    </a:cubicBezTo>
                    <a:cubicBezTo>
                      <a:pt x="313" y="197"/>
                      <a:pt x="314" y="194"/>
                      <a:pt x="313" y="192"/>
                    </a:cubicBezTo>
                    <a:cubicBezTo>
                      <a:pt x="308" y="182"/>
                      <a:pt x="299" y="168"/>
                      <a:pt x="286" y="168"/>
                    </a:cubicBezTo>
                    <a:cubicBezTo>
                      <a:pt x="280" y="168"/>
                      <a:pt x="278" y="176"/>
                      <a:pt x="278" y="183"/>
                    </a:cubicBezTo>
                    <a:cubicBezTo>
                      <a:pt x="278" y="187"/>
                      <a:pt x="278" y="189"/>
                      <a:pt x="278" y="193"/>
                    </a:cubicBezTo>
                    <a:cubicBezTo>
                      <a:pt x="281" y="203"/>
                      <a:pt x="293" y="222"/>
                      <a:pt x="304" y="224"/>
                    </a:cubicBezTo>
                    <a:cubicBezTo>
                      <a:pt x="304" y="229"/>
                      <a:pt x="306" y="231"/>
                      <a:pt x="307" y="235"/>
                    </a:cubicBezTo>
                    <a:cubicBezTo>
                      <a:pt x="312" y="233"/>
                      <a:pt x="311" y="228"/>
                      <a:pt x="315" y="227"/>
                    </a:cubicBezTo>
                    <a:cubicBezTo>
                      <a:pt x="316" y="228"/>
                      <a:pt x="316" y="230"/>
                      <a:pt x="316" y="231"/>
                    </a:cubicBezTo>
                    <a:cubicBezTo>
                      <a:pt x="316" y="237"/>
                      <a:pt x="313" y="240"/>
                      <a:pt x="313" y="246"/>
                    </a:cubicBezTo>
                    <a:cubicBezTo>
                      <a:pt x="313" y="252"/>
                      <a:pt x="324" y="255"/>
                      <a:pt x="331" y="255"/>
                    </a:cubicBezTo>
                    <a:cubicBezTo>
                      <a:pt x="360" y="255"/>
                      <a:pt x="363" y="237"/>
                      <a:pt x="379" y="225"/>
                    </a:cubicBezTo>
                    <a:cubicBezTo>
                      <a:pt x="379" y="241"/>
                      <a:pt x="379" y="241"/>
                      <a:pt x="379" y="241"/>
                    </a:cubicBezTo>
                    <a:cubicBezTo>
                      <a:pt x="385" y="254"/>
                      <a:pt x="393" y="256"/>
                      <a:pt x="406" y="260"/>
                    </a:cubicBezTo>
                    <a:cubicBezTo>
                      <a:pt x="411" y="261"/>
                      <a:pt x="411" y="269"/>
                      <a:pt x="414" y="271"/>
                    </a:cubicBezTo>
                    <a:cubicBezTo>
                      <a:pt x="414" y="270"/>
                      <a:pt x="414" y="270"/>
                      <a:pt x="414" y="270"/>
                    </a:cubicBezTo>
                    <a:cubicBezTo>
                      <a:pt x="416" y="274"/>
                      <a:pt x="423" y="273"/>
                      <a:pt x="423" y="277"/>
                    </a:cubicBezTo>
                    <a:cubicBezTo>
                      <a:pt x="423" y="288"/>
                      <a:pt x="410" y="291"/>
                      <a:pt x="410" y="302"/>
                    </a:cubicBezTo>
                    <a:cubicBezTo>
                      <a:pt x="403" y="302"/>
                      <a:pt x="399" y="303"/>
                      <a:pt x="397" y="309"/>
                    </a:cubicBezTo>
                    <a:cubicBezTo>
                      <a:pt x="395" y="314"/>
                      <a:pt x="396" y="321"/>
                      <a:pt x="390" y="321"/>
                    </a:cubicBezTo>
                    <a:cubicBezTo>
                      <a:pt x="384" y="321"/>
                      <a:pt x="384" y="334"/>
                      <a:pt x="378" y="334"/>
                    </a:cubicBezTo>
                    <a:cubicBezTo>
                      <a:pt x="374" y="334"/>
                      <a:pt x="365" y="342"/>
                      <a:pt x="365" y="347"/>
                    </a:cubicBezTo>
                    <a:cubicBezTo>
                      <a:pt x="353" y="349"/>
                      <a:pt x="327" y="354"/>
                      <a:pt x="327" y="364"/>
                    </a:cubicBezTo>
                    <a:cubicBezTo>
                      <a:pt x="327" y="365"/>
                      <a:pt x="327" y="367"/>
                      <a:pt x="328" y="368"/>
                    </a:cubicBezTo>
                    <a:cubicBezTo>
                      <a:pt x="318" y="373"/>
                      <a:pt x="304" y="376"/>
                      <a:pt x="294" y="378"/>
                    </a:cubicBezTo>
                    <a:cubicBezTo>
                      <a:pt x="289" y="380"/>
                      <a:pt x="271" y="392"/>
                      <a:pt x="265" y="395"/>
                    </a:cubicBezTo>
                    <a:cubicBezTo>
                      <a:pt x="252" y="395"/>
                      <a:pt x="252" y="395"/>
                      <a:pt x="252" y="395"/>
                    </a:cubicBezTo>
                    <a:cubicBezTo>
                      <a:pt x="244" y="400"/>
                      <a:pt x="243" y="404"/>
                      <a:pt x="234" y="404"/>
                    </a:cubicBezTo>
                    <a:cubicBezTo>
                      <a:pt x="231" y="405"/>
                      <a:pt x="231" y="405"/>
                      <a:pt x="231" y="405"/>
                    </a:cubicBezTo>
                    <a:cubicBezTo>
                      <a:pt x="229" y="405"/>
                      <a:pt x="218" y="400"/>
                      <a:pt x="217" y="399"/>
                    </a:cubicBezTo>
                    <a:cubicBezTo>
                      <a:pt x="216" y="399"/>
                      <a:pt x="219" y="399"/>
                      <a:pt x="217" y="394"/>
                    </a:cubicBezTo>
                    <a:cubicBezTo>
                      <a:pt x="212" y="387"/>
                      <a:pt x="209" y="380"/>
                      <a:pt x="209" y="372"/>
                    </a:cubicBezTo>
                    <a:cubicBezTo>
                      <a:pt x="204" y="371"/>
                      <a:pt x="207" y="363"/>
                      <a:pt x="208" y="359"/>
                    </a:cubicBezTo>
                    <a:cubicBezTo>
                      <a:pt x="210" y="349"/>
                      <a:pt x="203" y="345"/>
                      <a:pt x="198" y="340"/>
                    </a:cubicBezTo>
                    <a:cubicBezTo>
                      <a:pt x="193" y="335"/>
                      <a:pt x="181" y="320"/>
                      <a:pt x="181" y="309"/>
                    </a:cubicBezTo>
                    <a:cubicBezTo>
                      <a:pt x="165" y="306"/>
                      <a:pt x="162" y="297"/>
                      <a:pt x="162" y="280"/>
                    </a:cubicBezTo>
                    <a:cubicBezTo>
                      <a:pt x="162" y="270"/>
                      <a:pt x="156" y="268"/>
                      <a:pt x="154" y="259"/>
                    </a:cubicBezTo>
                    <a:cubicBezTo>
                      <a:pt x="154" y="259"/>
                      <a:pt x="154" y="259"/>
                      <a:pt x="154" y="259"/>
                    </a:cubicBezTo>
                    <a:cubicBezTo>
                      <a:pt x="152" y="258"/>
                      <a:pt x="150" y="255"/>
                      <a:pt x="148" y="254"/>
                    </a:cubicBezTo>
                    <a:cubicBezTo>
                      <a:pt x="147" y="252"/>
                      <a:pt x="141" y="253"/>
                      <a:pt x="140" y="251"/>
                    </a:cubicBezTo>
                    <a:cubicBezTo>
                      <a:pt x="137" y="249"/>
                      <a:pt x="138" y="242"/>
                      <a:pt x="137" y="239"/>
                    </a:cubicBezTo>
                    <a:cubicBezTo>
                      <a:pt x="136" y="235"/>
                      <a:pt x="132" y="231"/>
                      <a:pt x="131" y="229"/>
                    </a:cubicBezTo>
                    <a:cubicBezTo>
                      <a:pt x="125" y="221"/>
                      <a:pt x="121" y="214"/>
                      <a:pt x="116" y="207"/>
                    </a:cubicBezTo>
                    <a:cubicBezTo>
                      <a:pt x="115" y="205"/>
                      <a:pt x="109" y="198"/>
                      <a:pt x="109" y="196"/>
                    </a:cubicBezTo>
                    <a:cubicBezTo>
                      <a:pt x="109" y="192"/>
                      <a:pt x="112" y="182"/>
                      <a:pt x="112" y="175"/>
                    </a:cubicBezTo>
                    <a:lnTo>
                      <a:pt x="112"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9" name="Freeform 102"/>
              <p:cNvSpPr>
                <a:spLocks/>
              </p:cNvSpPr>
              <p:nvPr/>
            </p:nvSpPr>
            <p:spPr bwMode="auto">
              <a:xfrm>
                <a:off x="5713413" y="2714625"/>
                <a:ext cx="33338" cy="63500"/>
              </a:xfrm>
              <a:custGeom>
                <a:avLst/>
                <a:gdLst/>
                <a:ahLst/>
                <a:cxnLst>
                  <a:cxn ang="0">
                    <a:pos x="25" y="30"/>
                  </a:cxn>
                  <a:cxn ang="0">
                    <a:pos x="11" y="48"/>
                  </a:cxn>
                  <a:cxn ang="0">
                    <a:pos x="0" y="35"/>
                  </a:cxn>
                  <a:cxn ang="0">
                    <a:pos x="6" y="0"/>
                  </a:cxn>
                  <a:cxn ang="0">
                    <a:pos x="25" y="30"/>
                  </a:cxn>
                </a:cxnLst>
                <a:rect l="0" t="0" r="r" b="b"/>
                <a:pathLst>
                  <a:path w="25" h="48">
                    <a:moveTo>
                      <a:pt x="25" y="30"/>
                    </a:moveTo>
                    <a:cubicBezTo>
                      <a:pt x="25" y="37"/>
                      <a:pt x="20" y="48"/>
                      <a:pt x="11" y="48"/>
                    </a:cubicBezTo>
                    <a:cubicBezTo>
                      <a:pt x="5" y="48"/>
                      <a:pt x="0" y="41"/>
                      <a:pt x="0" y="35"/>
                    </a:cubicBezTo>
                    <a:cubicBezTo>
                      <a:pt x="0" y="22"/>
                      <a:pt x="6" y="13"/>
                      <a:pt x="6" y="0"/>
                    </a:cubicBezTo>
                    <a:cubicBezTo>
                      <a:pt x="13" y="10"/>
                      <a:pt x="25" y="15"/>
                      <a:pt x="25"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0" name="Freeform 103"/>
              <p:cNvSpPr>
                <a:spLocks/>
              </p:cNvSpPr>
              <p:nvPr/>
            </p:nvSpPr>
            <p:spPr bwMode="auto">
              <a:xfrm>
                <a:off x="5397500" y="2195513"/>
                <a:ext cx="677863" cy="544513"/>
              </a:xfrm>
              <a:custGeom>
                <a:avLst/>
                <a:gdLst/>
                <a:ahLst/>
                <a:cxnLst>
                  <a:cxn ang="0">
                    <a:pos x="148" y="270"/>
                  </a:cxn>
                  <a:cxn ang="0">
                    <a:pos x="174" y="340"/>
                  </a:cxn>
                  <a:cxn ang="0">
                    <a:pos x="200" y="401"/>
                  </a:cxn>
                  <a:cxn ang="0">
                    <a:pos x="216" y="401"/>
                  </a:cxn>
                  <a:cxn ang="0">
                    <a:pos x="237" y="379"/>
                  </a:cxn>
                  <a:cxn ang="0">
                    <a:pos x="243" y="341"/>
                  </a:cxn>
                  <a:cxn ang="0">
                    <a:pos x="268" y="298"/>
                  </a:cxn>
                  <a:cxn ang="0">
                    <a:pos x="326" y="240"/>
                  </a:cxn>
                  <a:cxn ang="0">
                    <a:pos x="374" y="218"/>
                  </a:cxn>
                  <a:cxn ang="0">
                    <a:pos x="409" y="259"/>
                  </a:cxn>
                  <a:cxn ang="0">
                    <a:pos x="423" y="302"/>
                  </a:cxn>
                  <a:cxn ang="0">
                    <a:pos x="457" y="300"/>
                  </a:cxn>
                  <a:cxn ang="0">
                    <a:pos x="476" y="367"/>
                  </a:cxn>
                  <a:cxn ang="0">
                    <a:pos x="489" y="358"/>
                  </a:cxn>
                  <a:cxn ang="0">
                    <a:pos x="472" y="316"/>
                  </a:cxn>
                  <a:cxn ang="0">
                    <a:pos x="473" y="288"/>
                  </a:cxn>
                  <a:cxn ang="0">
                    <a:pos x="483" y="254"/>
                  </a:cxn>
                  <a:cxn ang="0">
                    <a:pos x="487" y="213"/>
                  </a:cxn>
                  <a:cxn ang="0">
                    <a:pos x="467" y="197"/>
                  </a:cxn>
                  <a:cxn ang="0">
                    <a:pos x="445" y="125"/>
                  </a:cxn>
                  <a:cxn ang="0">
                    <a:pos x="423" y="130"/>
                  </a:cxn>
                  <a:cxn ang="0">
                    <a:pos x="373" y="144"/>
                  </a:cxn>
                  <a:cxn ang="0">
                    <a:pos x="341" y="147"/>
                  </a:cxn>
                  <a:cxn ang="0">
                    <a:pos x="295" y="136"/>
                  </a:cxn>
                  <a:cxn ang="0">
                    <a:pos x="254" y="116"/>
                  </a:cxn>
                  <a:cxn ang="0">
                    <a:pos x="226" y="89"/>
                  </a:cxn>
                  <a:cxn ang="0">
                    <a:pos x="229" y="69"/>
                  </a:cxn>
                  <a:cxn ang="0">
                    <a:pos x="213" y="43"/>
                  </a:cxn>
                  <a:cxn ang="0">
                    <a:pos x="178" y="16"/>
                  </a:cxn>
                  <a:cxn ang="0">
                    <a:pos x="131" y="0"/>
                  </a:cxn>
                  <a:cxn ang="0">
                    <a:pos x="94" y="21"/>
                  </a:cxn>
                  <a:cxn ang="0">
                    <a:pos x="65" y="13"/>
                  </a:cxn>
                  <a:cxn ang="0">
                    <a:pos x="23" y="46"/>
                  </a:cxn>
                  <a:cxn ang="0">
                    <a:pos x="0" y="64"/>
                  </a:cxn>
                  <a:cxn ang="0">
                    <a:pos x="1" y="87"/>
                  </a:cxn>
                  <a:cxn ang="0">
                    <a:pos x="4" y="120"/>
                  </a:cxn>
                  <a:cxn ang="0">
                    <a:pos x="13" y="181"/>
                  </a:cxn>
                  <a:cxn ang="0">
                    <a:pos x="34" y="185"/>
                  </a:cxn>
                  <a:cxn ang="0">
                    <a:pos x="70" y="185"/>
                  </a:cxn>
                  <a:cxn ang="0">
                    <a:pos x="118" y="219"/>
                  </a:cxn>
                  <a:cxn ang="0">
                    <a:pos x="127" y="248"/>
                  </a:cxn>
                  <a:cxn ang="0">
                    <a:pos x="145" y="233"/>
                  </a:cxn>
                  <a:cxn ang="0">
                    <a:pos x="149" y="265"/>
                  </a:cxn>
                </a:cxnLst>
                <a:rect l="0" t="0" r="r" b="b"/>
                <a:pathLst>
                  <a:path w="509" h="410">
                    <a:moveTo>
                      <a:pt x="149" y="265"/>
                    </a:moveTo>
                    <a:cubicBezTo>
                      <a:pt x="147" y="263"/>
                      <a:pt x="147" y="263"/>
                      <a:pt x="147" y="263"/>
                    </a:cubicBezTo>
                    <a:cubicBezTo>
                      <a:pt x="147" y="265"/>
                      <a:pt x="148" y="268"/>
                      <a:pt x="148" y="270"/>
                    </a:cubicBezTo>
                    <a:cubicBezTo>
                      <a:pt x="148" y="278"/>
                      <a:pt x="153" y="286"/>
                      <a:pt x="155" y="295"/>
                    </a:cubicBezTo>
                    <a:cubicBezTo>
                      <a:pt x="158" y="305"/>
                      <a:pt x="166" y="319"/>
                      <a:pt x="168" y="326"/>
                    </a:cubicBezTo>
                    <a:cubicBezTo>
                      <a:pt x="170" y="332"/>
                      <a:pt x="170" y="334"/>
                      <a:pt x="174" y="340"/>
                    </a:cubicBezTo>
                    <a:cubicBezTo>
                      <a:pt x="177" y="345"/>
                      <a:pt x="175" y="351"/>
                      <a:pt x="179" y="358"/>
                    </a:cubicBezTo>
                    <a:cubicBezTo>
                      <a:pt x="180" y="362"/>
                      <a:pt x="187" y="366"/>
                      <a:pt x="188" y="372"/>
                    </a:cubicBezTo>
                    <a:cubicBezTo>
                      <a:pt x="191" y="382"/>
                      <a:pt x="196" y="390"/>
                      <a:pt x="200" y="401"/>
                    </a:cubicBezTo>
                    <a:cubicBezTo>
                      <a:pt x="200" y="402"/>
                      <a:pt x="202" y="405"/>
                      <a:pt x="204" y="405"/>
                    </a:cubicBezTo>
                    <a:cubicBezTo>
                      <a:pt x="204" y="409"/>
                      <a:pt x="207" y="410"/>
                      <a:pt x="210" y="410"/>
                    </a:cubicBezTo>
                    <a:cubicBezTo>
                      <a:pt x="214" y="410"/>
                      <a:pt x="214" y="405"/>
                      <a:pt x="216" y="401"/>
                    </a:cubicBezTo>
                    <a:cubicBezTo>
                      <a:pt x="218" y="397"/>
                      <a:pt x="219" y="398"/>
                      <a:pt x="224" y="396"/>
                    </a:cubicBezTo>
                    <a:cubicBezTo>
                      <a:pt x="228" y="394"/>
                      <a:pt x="227" y="382"/>
                      <a:pt x="233" y="381"/>
                    </a:cubicBezTo>
                    <a:cubicBezTo>
                      <a:pt x="234" y="380"/>
                      <a:pt x="237" y="380"/>
                      <a:pt x="237" y="379"/>
                    </a:cubicBezTo>
                    <a:cubicBezTo>
                      <a:pt x="240" y="379"/>
                      <a:pt x="240" y="379"/>
                      <a:pt x="240" y="379"/>
                    </a:cubicBezTo>
                    <a:cubicBezTo>
                      <a:pt x="237" y="367"/>
                      <a:pt x="237" y="367"/>
                      <a:pt x="237" y="367"/>
                    </a:cubicBezTo>
                    <a:cubicBezTo>
                      <a:pt x="237" y="359"/>
                      <a:pt x="243" y="352"/>
                      <a:pt x="243" y="341"/>
                    </a:cubicBezTo>
                    <a:cubicBezTo>
                      <a:pt x="243" y="334"/>
                      <a:pt x="240" y="329"/>
                      <a:pt x="240" y="321"/>
                    </a:cubicBezTo>
                    <a:cubicBezTo>
                      <a:pt x="240" y="312"/>
                      <a:pt x="249" y="311"/>
                      <a:pt x="257" y="308"/>
                    </a:cubicBezTo>
                    <a:cubicBezTo>
                      <a:pt x="260" y="307"/>
                      <a:pt x="265" y="302"/>
                      <a:pt x="268" y="298"/>
                    </a:cubicBezTo>
                    <a:cubicBezTo>
                      <a:pt x="277" y="290"/>
                      <a:pt x="284" y="281"/>
                      <a:pt x="293" y="272"/>
                    </a:cubicBezTo>
                    <a:cubicBezTo>
                      <a:pt x="300" y="265"/>
                      <a:pt x="313" y="263"/>
                      <a:pt x="321" y="255"/>
                    </a:cubicBezTo>
                    <a:cubicBezTo>
                      <a:pt x="325" y="251"/>
                      <a:pt x="325" y="246"/>
                      <a:pt x="326" y="240"/>
                    </a:cubicBezTo>
                    <a:cubicBezTo>
                      <a:pt x="328" y="236"/>
                      <a:pt x="337" y="236"/>
                      <a:pt x="340" y="229"/>
                    </a:cubicBezTo>
                    <a:cubicBezTo>
                      <a:pt x="344" y="231"/>
                      <a:pt x="344" y="233"/>
                      <a:pt x="351" y="233"/>
                    </a:cubicBezTo>
                    <a:cubicBezTo>
                      <a:pt x="362" y="233"/>
                      <a:pt x="374" y="231"/>
                      <a:pt x="374" y="218"/>
                    </a:cubicBezTo>
                    <a:cubicBezTo>
                      <a:pt x="381" y="219"/>
                      <a:pt x="389" y="222"/>
                      <a:pt x="390" y="228"/>
                    </a:cubicBezTo>
                    <a:cubicBezTo>
                      <a:pt x="392" y="233"/>
                      <a:pt x="391" y="240"/>
                      <a:pt x="395" y="245"/>
                    </a:cubicBezTo>
                    <a:cubicBezTo>
                      <a:pt x="398" y="251"/>
                      <a:pt x="403" y="255"/>
                      <a:pt x="409" y="259"/>
                    </a:cubicBezTo>
                    <a:cubicBezTo>
                      <a:pt x="414" y="267"/>
                      <a:pt x="419" y="274"/>
                      <a:pt x="422" y="283"/>
                    </a:cubicBezTo>
                    <a:cubicBezTo>
                      <a:pt x="423" y="285"/>
                      <a:pt x="425" y="286"/>
                      <a:pt x="425" y="289"/>
                    </a:cubicBezTo>
                    <a:cubicBezTo>
                      <a:pt x="425" y="293"/>
                      <a:pt x="423" y="296"/>
                      <a:pt x="423" y="302"/>
                    </a:cubicBezTo>
                    <a:cubicBezTo>
                      <a:pt x="423" y="307"/>
                      <a:pt x="423" y="313"/>
                      <a:pt x="430" y="313"/>
                    </a:cubicBezTo>
                    <a:cubicBezTo>
                      <a:pt x="442" y="313"/>
                      <a:pt x="445" y="300"/>
                      <a:pt x="453" y="293"/>
                    </a:cubicBezTo>
                    <a:cubicBezTo>
                      <a:pt x="455" y="295"/>
                      <a:pt x="454" y="297"/>
                      <a:pt x="457" y="300"/>
                    </a:cubicBezTo>
                    <a:cubicBezTo>
                      <a:pt x="457" y="300"/>
                      <a:pt x="461" y="300"/>
                      <a:pt x="462" y="302"/>
                    </a:cubicBezTo>
                    <a:cubicBezTo>
                      <a:pt x="467" y="308"/>
                      <a:pt x="459" y="322"/>
                      <a:pt x="465" y="322"/>
                    </a:cubicBezTo>
                    <a:cubicBezTo>
                      <a:pt x="465" y="336"/>
                      <a:pt x="476" y="347"/>
                      <a:pt x="476" y="367"/>
                    </a:cubicBezTo>
                    <a:cubicBezTo>
                      <a:pt x="476" y="371"/>
                      <a:pt x="473" y="382"/>
                      <a:pt x="476" y="383"/>
                    </a:cubicBezTo>
                    <a:cubicBezTo>
                      <a:pt x="480" y="376"/>
                      <a:pt x="481" y="371"/>
                      <a:pt x="485" y="363"/>
                    </a:cubicBezTo>
                    <a:cubicBezTo>
                      <a:pt x="486" y="361"/>
                      <a:pt x="489" y="360"/>
                      <a:pt x="489" y="358"/>
                    </a:cubicBezTo>
                    <a:cubicBezTo>
                      <a:pt x="489" y="354"/>
                      <a:pt x="483" y="334"/>
                      <a:pt x="479" y="330"/>
                    </a:cubicBezTo>
                    <a:cubicBezTo>
                      <a:pt x="476" y="327"/>
                      <a:pt x="472" y="325"/>
                      <a:pt x="472" y="320"/>
                    </a:cubicBezTo>
                    <a:cubicBezTo>
                      <a:pt x="472" y="319"/>
                      <a:pt x="472" y="318"/>
                      <a:pt x="472" y="316"/>
                    </a:cubicBezTo>
                    <a:cubicBezTo>
                      <a:pt x="472" y="317"/>
                      <a:pt x="472" y="317"/>
                      <a:pt x="472" y="317"/>
                    </a:cubicBezTo>
                    <a:cubicBezTo>
                      <a:pt x="473" y="316"/>
                      <a:pt x="476" y="311"/>
                      <a:pt x="476" y="307"/>
                    </a:cubicBezTo>
                    <a:cubicBezTo>
                      <a:pt x="476" y="302"/>
                      <a:pt x="476" y="293"/>
                      <a:pt x="473" y="288"/>
                    </a:cubicBezTo>
                    <a:cubicBezTo>
                      <a:pt x="470" y="284"/>
                      <a:pt x="464" y="284"/>
                      <a:pt x="464" y="276"/>
                    </a:cubicBezTo>
                    <a:cubicBezTo>
                      <a:pt x="464" y="268"/>
                      <a:pt x="467" y="262"/>
                      <a:pt x="472" y="258"/>
                    </a:cubicBezTo>
                    <a:cubicBezTo>
                      <a:pt x="474" y="255"/>
                      <a:pt x="479" y="256"/>
                      <a:pt x="483" y="254"/>
                    </a:cubicBezTo>
                    <a:cubicBezTo>
                      <a:pt x="493" y="247"/>
                      <a:pt x="500" y="244"/>
                      <a:pt x="509" y="230"/>
                    </a:cubicBezTo>
                    <a:cubicBezTo>
                      <a:pt x="506" y="230"/>
                      <a:pt x="505" y="231"/>
                      <a:pt x="501" y="231"/>
                    </a:cubicBezTo>
                    <a:cubicBezTo>
                      <a:pt x="493" y="231"/>
                      <a:pt x="487" y="222"/>
                      <a:pt x="487" y="213"/>
                    </a:cubicBezTo>
                    <a:cubicBezTo>
                      <a:pt x="483" y="212"/>
                      <a:pt x="482" y="199"/>
                      <a:pt x="478" y="199"/>
                    </a:cubicBezTo>
                    <a:cubicBezTo>
                      <a:pt x="475" y="199"/>
                      <a:pt x="472" y="202"/>
                      <a:pt x="469" y="202"/>
                    </a:cubicBezTo>
                    <a:cubicBezTo>
                      <a:pt x="468" y="202"/>
                      <a:pt x="467" y="199"/>
                      <a:pt x="467" y="197"/>
                    </a:cubicBezTo>
                    <a:cubicBezTo>
                      <a:pt x="467" y="181"/>
                      <a:pt x="479" y="180"/>
                      <a:pt x="479" y="163"/>
                    </a:cubicBezTo>
                    <a:cubicBezTo>
                      <a:pt x="479" y="154"/>
                      <a:pt x="472" y="151"/>
                      <a:pt x="468" y="144"/>
                    </a:cubicBezTo>
                    <a:cubicBezTo>
                      <a:pt x="457" y="139"/>
                      <a:pt x="448" y="140"/>
                      <a:pt x="445" y="125"/>
                    </a:cubicBezTo>
                    <a:cubicBezTo>
                      <a:pt x="442" y="125"/>
                      <a:pt x="442" y="125"/>
                      <a:pt x="442" y="125"/>
                    </a:cubicBezTo>
                    <a:cubicBezTo>
                      <a:pt x="438" y="129"/>
                      <a:pt x="438" y="129"/>
                      <a:pt x="438" y="129"/>
                    </a:cubicBezTo>
                    <a:cubicBezTo>
                      <a:pt x="433" y="131"/>
                      <a:pt x="427" y="126"/>
                      <a:pt x="423" y="130"/>
                    </a:cubicBezTo>
                    <a:cubicBezTo>
                      <a:pt x="422" y="132"/>
                      <a:pt x="421" y="133"/>
                      <a:pt x="418" y="135"/>
                    </a:cubicBezTo>
                    <a:cubicBezTo>
                      <a:pt x="415" y="137"/>
                      <a:pt x="401" y="149"/>
                      <a:pt x="394" y="149"/>
                    </a:cubicBezTo>
                    <a:cubicBezTo>
                      <a:pt x="387" y="149"/>
                      <a:pt x="382" y="144"/>
                      <a:pt x="373" y="144"/>
                    </a:cubicBezTo>
                    <a:cubicBezTo>
                      <a:pt x="362" y="144"/>
                      <a:pt x="360" y="152"/>
                      <a:pt x="354" y="155"/>
                    </a:cubicBezTo>
                    <a:cubicBezTo>
                      <a:pt x="353" y="152"/>
                      <a:pt x="352" y="145"/>
                      <a:pt x="349" y="145"/>
                    </a:cubicBezTo>
                    <a:cubicBezTo>
                      <a:pt x="347" y="145"/>
                      <a:pt x="345" y="147"/>
                      <a:pt x="341" y="147"/>
                    </a:cubicBezTo>
                    <a:cubicBezTo>
                      <a:pt x="335" y="147"/>
                      <a:pt x="329" y="147"/>
                      <a:pt x="323" y="147"/>
                    </a:cubicBezTo>
                    <a:cubicBezTo>
                      <a:pt x="313" y="147"/>
                      <a:pt x="309" y="141"/>
                      <a:pt x="302" y="136"/>
                    </a:cubicBezTo>
                    <a:cubicBezTo>
                      <a:pt x="300" y="135"/>
                      <a:pt x="296" y="139"/>
                      <a:pt x="295" y="136"/>
                    </a:cubicBezTo>
                    <a:cubicBezTo>
                      <a:pt x="293" y="132"/>
                      <a:pt x="293" y="129"/>
                      <a:pt x="290" y="127"/>
                    </a:cubicBezTo>
                    <a:cubicBezTo>
                      <a:pt x="283" y="124"/>
                      <a:pt x="279" y="126"/>
                      <a:pt x="273" y="120"/>
                    </a:cubicBezTo>
                    <a:cubicBezTo>
                      <a:pt x="268" y="115"/>
                      <a:pt x="263" y="118"/>
                      <a:pt x="254" y="116"/>
                    </a:cubicBezTo>
                    <a:cubicBezTo>
                      <a:pt x="246" y="114"/>
                      <a:pt x="243" y="108"/>
                      <a:pt x="236" y="106"/>
                    </a:cubicBezTo>
                    <a:cubicBezTo>
                      <a:pt x="234" y="105"/>
                      <a:pt x="229" y="106"/>
                      <a:pt x="228" y="103"/>
                    </a:cubicBezTo>
                    <a:cubicBezTo>
                      <a:pt x="227" y="98"/>
                      <a:pt x="227" y="94"/>
                      <a:pt x="226" y="89"/>
                    </a:cubicBezTo>
                    <a:cubicBezTo>
                      <a:pt x="226" y="85"/>
                      <a:pt x="226" y="85"/>
                      <a:pt x="226" y="85"/>
                    </a:cubicBezTo>
                    <a:cubicBezTo>
                      <a:pt x="231" y="85"/>
                      <a:pt x="236" y="86"/>
                      <a:pt x="236" y="80"/>
                    </a:cubicBezTo>
                    <a:cubicBezTo>
                      <a:pt x="236" y="75"/>
                      <a:pt x="229" y="74"/>
                      <a:pt x="229" y="69"/>
                    </a:cubicBezTo>
                    <a:cubicBezTo>
                      <a:pt x="229" y="57"/>
                      <a:pt x="246" y="59"/>
                      <a:pt x="246" y="47"/>
                    </a:cubicBezTo>
                    <a:cubicBezTo>
                      <a:pt x="246" y="43"/>
                      <a:pt x="236" y="35"/>
                      <a:pt x="232" y="35"/>
                    </a:cubicBezTo>
                    <a:cubicBezTo>
                      <a:pt x="224" y="35"/>
                      <a:pt x="221" y="42"/>
                      <a:pt x="213" y="43"/>
                    </a:cubicBezTo>
                    <a:cubicBezTo>
                      <a:pt x="205" y="40"/>
                      <a:pt x="200" y="40"/>
                      <a:pt x="194" y="34"/>
                    </a:cubicBezTo>
                    <a:cubicBezTo>
                      <a:pt x="191" y="31"/>
                      <a:pt x="193" y="25"/>
                      <a:pt x="188" y="24"/>
                    </a:cubicBezTo>
                    <a:cubicBezTo>
                      <a:pt x="182" y="22"/>
                      <a:pt x="178" y="24"/>
                      <a:pt x="178" y="16"/>
                    </a:cubicBezTo>
                    <a:cubicBezTo>
                      <a:pt x="172" y="15"/>
                      <a:pt x="168" y="15"/>
                      <a:pt x="163" y="15"/>
                    </a:cubicBezTo>
                    <a:cubicBezTo>
                      <a:pt x="154" y="15"/>
                      <a:pt x="150" y="23"/>
                      <a:pt x="140" y="23"/>
                    </a:cubicBezTo>
                    <a:cubicBezTo>
                      <a:pt x="130" y="23"/>
                      <a:pt x="140" y="0"/>
                      <a:pt x="131" y="0"/>
                    </a:cubicBezTo>
                    <a:cubicBezTo>
                      <a:pt x="122" y="0"/>
                      <a:pt x="120" y="10"/>
                      <a:pt x="116" y="10"/>
                    </a:cubicBezTo>
                    <a:cubicBezTo>
                      <a:pt x="115" y="10"/>
                      <a:pt x="114" y="11"/>
                      <a:pt x="113" y="10"/>
                    </a:cubicBezTo>
                    <a:cubicBezTo>
                      <a:pt x="110" y="16"/>
                      <a:pt x="103" y="21"/>
                      <a:pt x="94" y="21"/>
                    </a:cubicBezTo>
                    <a:cubicBezTo>
                      <a:pt x="91" y="21"/>
                      <a:pt x="90" y="16"/>
                      <a:pt x="86" y="16"/>
                    </a:cubicBezTo>
                    <a:cubicBezTo>
                      <a:pt x="83" y="16"/>
                      <a:pt x="73" y="20"/>
                      <a:pt x="72" y="15"/>
                    </a:cubicBezTo>
                    <a:cubicBezTo>
                      <a:pt x="68" y="15"/>
                      <a:pt x="69" y="13"/>
                      <a:pt x="65" y="13"/>
                    </a:cubicBezTo>
                    <a:cubicBezTo>
                      <a:pt x="54" y="13"/>
                      <a:pt x="53" y="24"/>
                      <a:pt x="45" y="32"/>
                    </a:cubicBezTo>
                    <a:cubicBezTo>
                      <a:pt x="42" y="35"/>
                      <a:pt x="37" y="35"/>
                      <a:pt x="33" y="39"/>
                    </a:cubicBezTo>
                    <a:cubicBezTo>
                      <a:pt x="30" y="42"/>
                      <a:pt x="28" y="46"/>
                      <a:pt x="23" y="46"/>
                    </a:cubicBezTo>
                    <a:cubicBezTo>
                      <a:pt x="19" y="46"/>
                      <a:pt x="16" y="42"/>
                      <a:pt x="12" y="42"/>
                    </a:cubicBezTo>
                    <a:cubicBezTo>
                      <a:pt x="11" y="42"/>
                      <a:pt x="11" y="45"/>
                      <a:pt x="10" y="45"/>
                    </a:cubicBezTo>
                    <a:cubicBezTo>
                      <a:pt x="7" y="47"/>
                      <a:pt x="0" y="63"/>
                      <a:pt x="0" y="64"/>
                    </a:cubicBezTo>
                    <a:cubicBezTo>
                      <a:pt x="0" y="65"/>
                      <a:pt x="1" y="67"/>
                      <a:pt x="0" y="68"/>
                    </a:cubicBezTo>
                    <a:cubicBezTo>
                      <a:pt x="1" y="70"/>
                      <a:pt x="0" y="71"/>
                      <a:pt x="1" y="73"/>
                    </a:cubicBezTo>
                    <a:cubicBezTo>
                      <a:pt x="1" y="87"/>
                      <a:pt x="1" y="87"/>
                      <a:pt x="1" y="87"/>
                    </a:cubicBezTo>
                    <a:cubicBezTo>
                      <a:pt x="3" y="91"/>
                      <a:pt x="2" y="94"/>
                      <a:pt x="4" y="98"/>
                    </a:cubicBezTo>
                    <a:cubicBezTo>
                      <a:pt x="5" y="102"/>
                      <a:pt x="14" y="98"/>
                      <a:pt x="14" y="105"/>
                    </a:cubicBezTo>
                    <a:cubicBezTo>
                      <a:pt x="14" y="114"/>
                      <a:pt x="4" y="113"/>
                      <a:pt x="4" y="120"/>
                    </a:cubicBezTo>
                    <a:cubicBezTo>
                      <a:pt x="4" y="126"/>
                      <a:pt x="8" y="126"/>
                      <a:pt x="10" y="128"/>
                    </a:cubicBezTo>
                    <a:cubicBezTo>
                      <a:pt x="17" y="143"/>
                      <a:pt x="32" y="145"/>
                      <a:pt x="32" y="164"/>
                    </a:cubicBezTo>
                    <a:cubicBezTo>
                      <a:pt x="21" y="167"/>
                      <a:pt x="13" y="169"/>
                      <a:pt x="13" y="181"/>
                    </a:cubicBezTo>
                    <a:cubicBezTo>
                      <a:pt x="13" y="184"/>
                      <a:pt x="15" y="187"/>
                      <a:pt x="15" y="189"/>
                    </a:cubicBezTo>
                    <a:cubicBezTo>
                      <a:pt x="30" y="188"/>
                      <a:pt x="30" y="188"/>
                      <a:pt x="30" y="188"/>
                    </a:cubicBezTo>
                    <a:cubicBezTo>
                      <a:pt x="31" y="187"/>
                      <a:pt x="33" y="186"/>
                      <a:pt x="34" y="185"/>
                    </a:cubicBezTo>
                    <a:cubicBezTo>
                      <a:pt x="46" y="188"/>
                      <a:pt x="46" y="188"/>
                      <a:pt x="46" y="188"/>
                    </a:cubicBezTo>
                    <a:cubicBezTo>
                      <a:pt x="50" y="188"/>
                      <a:pt x="52" y="184"/>
                      <a:pt x="57" y="184"/>
                    </a:cubicBezTo>
                    <a:cubicBezTo>
                      <a:pt x="62" y="184"/>
                      <a:pt x="65" y="184"/>
                      <a:pt x="70" y="185"/>
                    </a:cubicBezTo>
                    <a:cubicBezTo>
                      <a:pt x="75" y="187"/>
                      <a:pt x="78" y="197"/>
                      <a:pt x="82" y="203"/>
                    </a:cubicBezTo>
                    <a:cubicBezTo>
                      <a:pt x="86" y="209"/>
                      <a:pt x="99" y="218"/>
                      <a:pt x="108" y="218"/>
                    </a:cubicBezTo>
                    <a:cubicBezTo>
                      <a:pt x="111" y="218"/>
                      <a:pt x="114" y="218"/>
                      <a:pt x="118" y="219"/>
                    </a:cubicBezTo>
                    <a:cubicBezTo>
                      <a:pt x="116" y="221"/>
                      <a:pt x="116" y="225"/>
                      <a:pt x="112" y="225"/>
                    </a:cubicBezTo>
                    <a:cubicBezTo>
                      <a:pt x="108" y="227"/>
                      <a:pt x="105" y="225"/>
                      <a:pt x="101" y="227"/>
                    </a:cubicBezTo>
                    <a:cubicBezTo>
                      <a:pt x="108" y="234"/>
                      <a:pt x="113" y="248"/>
                      <a:pt x="127" y="248"/>
                    </a:cubicBezTo>
                    <a:cubicBezTo>
                      <a:pt x="138" y="248"/>
                      <a:pt x="139" y="233"/>
                      <a:pt x="144" y="227"/>
                    </a:cubicBezTo>
                    <a:cubicBezTo>
                      <a:pt x="148" y="227"/>
                      <a:pt x="148" y="227"/>
                      <a:pt x="148" y="227"/>
                    </a:cubicBezTo>
                    <a:cubicBezTo>
                      <a:pt x="148" y="229"/>
                      <a:pt x="145" y="232"/>
                      <a:pt x="145" y="233"/>
                    </a:cubicBezTo>
                    <a:cubicBezTo>
                      <a:pt x="145" y="239"/>
                      <a:pt x="150" y="244"/>
                      <a:pt x="150" y="251"/>
                    </a:cubicBezTo>
                    <a:cubicBezTo>
                      <a:pt x="150" y="257"/>
                      <a:pt x="147" y="258"/>
                      <a:pt x="147" y="264"/>
                    </a:cubicBezTo>
                    <a:lnTo>
                      <a:pt x="149" y="2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1" name="Freeform 104"/>
              <p:cNvSpPr>
                <a:spLocks/>
              </p:cNvSpPr>
              <p:nvPr/>
            </p:nvSpPr>
            <p:spPr bwMode="auto">
              <a:xfrm>
                <a:off x="5975350" y="2781300"/>
                <a:ext cx="177800" cy="192088"/>
              </a:xfrm>
              <a:custGeom>
                <a:avLst/>
                <a:gdLst/>
                <a:ahLst/>
                <a:cxnLst>
                  <a:cxn ang="0">
                    <a:pos x="59" y="74"/>
                  </a:cxn>
                  <a:cxn ang="0">
                    <a:pos x="58" y="70"/>
                  </a:cxn>
                  <a:cxn ang="0">
                    <a:pos x="51" y="68"/>
                  </a:cxn>
                  <a:cxn ang="0">
                    <a:pos x="45" y="53"/>
                  </a:cxn>
                  <a:cxn ang="0">
                    <a:pos x="28" y="38"/>
                  </a:cxn>
                  <a:cxn ang="0">
                    <a:pos x="22" y="25"/>
                  </a:cxn>
                  <a:cxn ang="0">
                    <a:pos x="11" y="21"/>
                  </a:cxn>
                  <a:cxn ang="0">
                    <a:pos x="0" y="3"/>
                  </a:cxn>
                  <a:cxn ang="0">
                    <a:pos x="0" y="0"/>
                  </a:cxn>
                  <a:cxn ang="0">
                    <a:pos x="2" y="0"/>
                  </a:cxn>
                  <a:cxn ang="0">
                    <a:pos x="11" y="4"/>
                  </a:cxn>
                  <a:cxn ang="0">
                    <a:pos x="26" y="4"/>
                  </a:cxn>
                  <a:cxn ang="0">
                    <a:pos x="42" y="20"/>
                  </a:cxn>
                  <a:cxn ang="0">
                    <a:pos x="47" y="23"/>
                  </a:cxn>
                  <a:cxn ang="0">
                    <a:pos x="61" y="35"/>
                  </a:cxn>
                  <a:cxn ang="0">
                    <a:pos x="86" y="53"/>
                  </a:cxn>
                  <a:cxn ang="0">
                    <a:pos x="101" y="64"/>
                  </a:cxn>
                  <a:cxn ang="0">
                    <a:pos x="100" y="66"/>
                  </a:cxn>
                  <a:cxn ang="0">
                    <a:pos x="103" y="66"/>
                  </a:cxn>
                  <a:cxn ang="0">
                    <a:pos x="107" y="70"/>
                  </a:cxn>
                  <a:cxn ang="0">
                    <a:pos x="105" y="74"/>
                  </a:cxn>
                  <a:cxn ang="0">
                    <a:pos x="114" y="81"/>
                  </a:cxn>
                  <a:cxn ang="0">
                    <a:pos x="124" y="98"/>
                  </a:cxn>
                  <a:cxn ang="0">
                    <a:pos x="133" y="106"/>
                  </a:cxn>
                  <a:cxn ang="0">
                    <a:pos x="133" y="125"/>
                  </a:cxn>
                  <a:cxn ang="0">
                    <a:pos x="131" y="138"/>
                  </a:cxn>
                  <a:cxn ang="0">
                    <a:pos x="119" y="144"/>
                  </a:cxn>
                  <a:cxn ang="0">
                    <a:pos x="108" y="132"/>
                  </a:cxn>
                  <a:cxn ang="0">
                    <a:pos x="84" y="112"/>
                  </a:cxn>
                  <a:cxn ang="0">
                    <a:pos x="67" y="85"/>
                  </a:cxn>
                  <a:cxn ang="0">
                    <a:pos x="59" y="74"/>
                  </a:cxn>
                </a:cxnLst>
                <a:rect l="0" t="0" r="r" b="b"/>
                <a:pathLst>
                  <a:path w="133" h="144">
                    <a:moveTo>
                      <a:pt x="59" y="74"/>
                    </a:moveTo>
                    <a:cubicBezTo>
                      <a:pt x="58" y="74"/>
                      <a:pt x="59" y="72"/>
                      <a:pt x="58" y="70"/>
                    </a:cubicBezTo>
                    <a:cubicBezTo>
                      <a:pt x="57" y="69"/>
                      <a:pt x="52" y="69"/>
                      <a:pt x="51" y="68"/>
                    </a:cubicBezTo>
                    <a:cubicBezTo>
                      <a:pt x="49" y="67"/>
                      <a:pt x="45" y="56"/>
                      <a:pt x="45" y="53"/>
                    </a:cubicBezTo>
                    <a:cubicBezTo>
                      <a:pt x="41" y="43"/>
                      <a:pt x="31" y="44"/>
                      <a:pt x="28" y="38"/>
                    </a:cubicBezTo>
                    <a:cubicBezTo>
                      <a:pt x="26" y="33"/>
                      <a:pt x="24" y="30"/>
                      <a:pt x="22" y="25"/>
                    </a:cubicBezTo>
                    <a:cubicBezTo>
                      <a:pt x="20" y="21"/>
                      <a:pt x="15" y="22"/>
                      <a:pt x="11" y="21"/>
                    </a:cubicBezTo>
                    <a:cubicBezTo>
                      <a:pt x="8" y="20"/>
                      <a:pt x="1" y="8"/>
                      <a:pt x="0" y="3"/>
                    </a:cubicBezTo>
                    <a:cubicBezTo>
                      <a:pt x="0" y="0"/>
                      <a:pt x="0" y="0"/>
                      <a:pt x="0" y="0"/>
                    </a:cubicBezTo>
                    <a:cubicBezTo>
                      <a:pt x="0" y="0"/>
                      <a:pt x="1" y="0"/>
                      <a:pt x="2" y="0"/>
                    </a:cubicBezTo>
                    <a:cubicBezTo>
                      <a:pt x="7" y="0"/>
                      <a:pt x="8" y="2"/>
                      <a:pt x="11" y="4"/>
                    </a:cubicBezTo>
                    <a:cubicBezTo>
                      <a:pt x="26" y="4"/>
                      <a:pt x="26" y="4"/>
                      <a:pt x="26" y="4"/>
                    </a:cubicBezTo>
                    <a:cubicBezTo>
                      <a:pt x="35" y="7"/>
                      <a:pt x="38" y="13"/>
                      <a:pt x="42" y="20"/>
                    </a:cubicBezTo>
                    <a:cubicBezTo>
                      <a:pt x="43" y="23"/>
                      <a:pt x="45" y="22"/>
                      <a:pt x="47" y="23"/>
                    </a:cubicBezTo>
                    <a:cubicBezTo>
                      <a:pt x="53" y="25"/>
                      <a:pt x="56" y="30"/>
                      <a:pt x="61" y="35"/>
                    </a:cubicBezTo>
                    <a:cubicBezTo>
                      <a:pt x="69" y="43"/>
                      <a:pt x="74" y="49"/>
                      <a:pt x="86" y="53"/>
                    </a:cubicBezTo>
                    <a:cubicBezTo>
                      <a:pt x="93" y="55"/>
                      <a:pt x="101" y="57"/>
                      <a:pt x="101" y="64"/>
                    </a:cubicBezTo>
                    <a:cubicBezTo>
                      <a:pt x="101" y="64"/>
                      <a:pt x="100" y="65"/>
                      <a:pt x="100" y="66"/>
                    </a:cubicBezTo>
                    <a:cubicBezTo>
                      <a:pt x="101" y="66"/>
                      <a:pt x="102" y="66"/>
                      <a:pt x="103" y="66"/>
                    </a:cubicBezTo>
                    <a:cubicBezTo>
                      <a:pt x="105" y="66"/>
                      <a:pt x="106" y="68"/>
                      <a:pt x="107" y="70"/>
                    </a:cubicBezTo>
                    <a:cubicBezTo>
                      <a:pt x="105" y="74"/>
                      <a:pt x="105" y="74"/>
                      <a:pt x="105" y="74"/>
                    </a:cubicBezTo>
                    <a:cubicBezTo>
                      <a:pt x="105" y="80"/>
                      <a:pt x="109" y="81"/>
                      <a:pt x="114" y="81"/>
                    </a:cubicBezTo>
                    <a:cubicBezTo>
                      <a:pt x="114" y="91"/>
                      <a:pt x="119" y="93"/>
                      <a:pt x="124" y="98"/>
                    </a:cubicBezTo>
                    <a:cubicBezTo>
                      <a:pt x="127" y="101"/>
                      <a:pt x="133" y="102"/>
                      <a:pt x="133" y="106"/>
                    </a:cubicBezTo>
                    <a:cubicBezTo>
                      <a:pt x="133" y="112"/>
                      <a:pt x="133" y="116"/>
                      <a:pt x="133" y="125"/>
                    </a:cubicBezTo>
                    <a:cubicBezTo>
                      <a:pt x="128" y="127"/>
                      <a:pt x="131" y="133"/>
                      <a:pt x="131" y="138"/>
                    </a:cubicBezTo>
                    <a:cubicBezTo>
                      <a:pt x="131" y="143"/>
                      <a:pt x="122" y="144"/>
                      <a:pt x="119" y="144"/>
                    </a:cubicBezTo>
                    <a:cubicBezTo>
                      <a:pt x="116" y="144"/>
                      <a:pt x="109" y="132"/>
                      <a:pt x="108" y="132"/>
                    </a:cubicBezTo>
                    <a:cubicBezTo>
                      <a:pt x="100" y="124"/>
                      <a:pt x="92" y="120"/>
                      <a:pt x="84" y="112"/>
                    </a:cubicBezTo>
                    <a:cubicBezTo>
                      <a:pt x="75" y="103"/>
                      <a:pt x="71" y="95"/>
                      <a:pt x="67" y="85"/>
                    </a:cubicBezTo>
                    <a:cubicBezTo>
                      <a:pt x="66" y="83"/>
                      <a:pt x="60" y="74"/>
                      <a:pt x="59"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2" name="Freeform 105"/>
              <p:cNvSpPr>
                <a:spLocks/>
              </p:cNvSpPr>
              <p:nvPr/>
            </p:nvSpPr>
            <p:spPr bwMode="auto">
              <a:xfrm>
                <a:off x="6203950" y="2757488"/>
                <a:ext cx="169863" cy="188913"/>
              </a:xfrm>
              <a:custGeom>
                <a:avLst/>
                <a:gdLst/>
                <a:ahLst/>
                <a:cxnLst>
                  <a:cxn ang="0">
                    <a:pos x="37" y="130"/>
                  </a:cxn>
                  <a:cxn ang="0">
                    <a:pos x="36" y="124"/>
                  </a:cxn>
                  <a:cxn ang="0">
                    <a:pos x="27" y="126"/>
                  </a:cxn>
                  <a:cxn ang="0">
                    <a:pos x="11" y="102"/>
                  </a:cxn>
                  <a:cxn ang="0">
                    <a:pos x="12" y="99"/>
                  </a:cxn>
                  <a:cxn ang="0">
                    <a:pos x="6" y="97"/>
                  </a:cxn>
                  <a:cxn ang="0">
                    <a:pos x="0" y="78"/>
                  </a:cxn>
                  <a:cxn ang="0">
                    <a:pos x="15" y="74"/>
                  </a:cxn>
                  <a:cxn ang="0">
                    <a:pos x="33" y="54"/>
                  </a:cxn>
                  <a:cxn ang="0">
                    <a:pos x="45" y="50"/>
                  </a:cxn>
                  <a:cxn ang="0">
                    <a:pos x="56" y="41"/>
                  </a:cxn>
                  <a:cxn ang="0">
                    <a:pos x="59" y="35"/>
                  </a:cxn>
                  <a:cxn ang="0">
                    <a:pos x="63" y="32"/>
                  </a:cxn>
                  <a:cxn ang="0">
                    <a:pos x="66" y="29"/>
                  </a:cxn>
                  <a:cxn ang="0">
                    <a:pos x="82" y="23"/>
                  </a:cxn>
                  <a:cxn ang="0">
                    <a:pos x="102" y="0"/>
                  </a:cxn>
                  <a:cxn ang="0">
                    <a:pos x="109" y="11"/>
                  </a:cxn>
                  <a:cxn ang="0">
                    <a:pos x="127" y="23"/>
                  </a:cxn>
                  <a:cxn ang="0">
                    <a:pos x="117" y="29"/>
                  </a:cxn>
                  <a:cxn ang="0">
                    <a:pos x="119" y="31"/>
                  </a:cxn>
                  <a:cxn ang="0">
                    <a:pos x="106" y="37"/>
                  </a:cxn>
                  <a:cxn ang="0">
                    <a:pos x="108" y="41"/>
                  </a:cxn>
                  <a:cxn ang="0">
                    <a:pos x="105" y="44"/>
                  </a:cxn>
                  <a:cxn ang="0">
                    <a:pos x="125" y="73"/>
                  </a:cxn>
                  <a:cxn ang="0">
                    <a:pos x="115" y="77"/>
                  </a:cxn>
                  <a:cxn ang="0">
                    <a:pos x="111" y="78"/>
                  </a:cxn>
                  <a:cxn ang="0">
                    <a:pos x="109" y="83"/>
                  </a:cxn>
                  <a:cxn ang="0">
                    <a:pos x="103" y="102"/>
                  </a:cxn>
                  <a:cxn ang="0">
                    <a:pos x="93" y="113"/>
                  </a:cxn>
                  <a:cxn ang="0">
                    <a:pos x="95" y="119"/>
                  </a:cxn>
                  <a:cxn ang="0">
                    <a:pos x="90" y="134"/>
                  </a:cxn>
                  <a:cxn ang="0">
                    <a:pos x="76" y="141"/>
                  </a:cxn>
                  <a:cxn ang="0">
                    <a:pos x="71" y="135"/>
                  </a:cxn>
                  <a:cxn ang="0">
                    <a:pos x="51" y="128"/>
                  </a:cxn>
                  <a:cxn ang="0">
                    <a:pos x="40" y="132"/>
                  </a:cxn>
                  <a:cxn ang="0">
                    <a:pos x="37" y="130"/>
                  </a:cxn>
                </a:cxnLst>
                <a:rect l="0" t="0" r="r" b="b"/>
                <a:pathLst>
                  <a:path w="127" h="141">
                    <a:moveTo>
                      <a:pt x="37" y="130"/>
                    </a:moveTo>
                    <a:cubicBezTo>
                      <a:pt x="36" y="130"/>
                      <a:pt x="36" y="125"/>
                      <a:pt x="36" y="124"/>
                    </a:cubicBezTo>
                    <a:cubicBezTo>
                      <a:pt x="32" y="123"/>
                      <a:pt x="30" y="126"/>
                      <a:pt x="27" y="126"/>
                    </a:cubicBezTo>
                    <a:cubicBezTo>
                      <a:pt x="10" y="126"/>
                      <a:pt x="17" y="110"/>
                      <a:pt x="11" y="102"/>
                    </a:cubicBezTo>
                    <a:cubicBezTo>
                      <a:pt x="11" y="101"/>
                      <a:pt x="12" y="100"/>
                      <a:pt x="12" y="99"/>
                    </a:cubicBezTo>
                    <a:cubicBezTo>
                      <a:pt x="11" y="97"/>
                      <a:pt x="8" y="97"/>
                      <a:pt x="6" y="97"/>
                    </a:cubicBezTo>
                    <a:cubicBezTo>
                      <a:pt x="4" y="96"/>
                      <a:pt x="0" y="80"/>
                      <a:pt x="0" y="78"/>
                    </a:cubicBezTo>
                    <a:cubicBezTo>
                      <a:pt x="0" y="71"/>
                      <a:pt x="9" y="74"/>
                      <a:pt x="15" y="74"/>
                    </a:cubicBezTo>
                    <a:cubicBezTo>
                      <a:pt x="29" y="74"/>
                      <a:pt x="27" y="60"/>
                      <a:pt x="33" y="54"/>
                    </a:cubicBezTo>
                    <a:cubicBezTo>
                      <a:pt x="36" y="51"/>
                      <a:pt x="41" y="51"/>
                      <a:pt x="45" y="50"/>
                    </a:cubicBezTo>
                    <a:cubicBezTo>
                      <a:pt x="52" y="49"/>
                      <a:pt x="52" y="44"/>
                      <a:pt x="56" y="41"/>
                    </a:cubicBezTo>
                    <a:cubicBezTo>
                      <a:pt x="54" y="39"/>
                      <a:pt x="59" y="35"/>
                      <a:pt x="59" y="35"/>
                    </a:cubicBezTo>
                    <a:cubicBezTo>
                      <a:pt x="61" y="34"/>
                      <a:pt x="61" y="33"/>
                      <a:pt x="63" y="32"/>
                    </a:cubicBezTo>
                    <a:cubicBezTo>
                      <a:pt x="64" y="32"/>
                      <a:pt x="65" y="30"/>
                      <a:pt x="66" y="29"/>
                    </a:cubicBezTo>
                    <a:cubicBezTo>
                      <a:pt x="70" y="25"/>
                      <a:pt x="80" y="27"/>
                      <a:pt x="82" y="23"/>
                    </a:cubicBezTo>
                    <a:cubicBezTo>
                      <a:pt x="85" y="16"/>
                      <a:pt x="95" y="0"/>
                      <a:pt x="102" y="0"/>
                    </a:cubicBezTo>
                    <a:cubicBezTo>
                      <a:pt x="109" y="0"/>
                      <a:pt x="109" y="4"/>
                      <a:pt x="109" y="11"/>
                    </a:cubicBezTo>
                    <a:cubicBezTo>
                      <a:pt x="109" y="20"/>
                      <a:pt x="127" y="15"/>
                      <a:pt x="127" y="23"/>
                    </a:cubicBezTo>
                    <a:cubicBezTo>
                      <a:pt x="127" y="27"/>
                      <a:pt x="117" y="25"/>
                      <a:pt x="117" y="29"/>
                    </a:cubicBezTo>
                    <a:cubicBezTo>
                      <a:pt x="117" y="30"/>
                      <a:pt x="118" y="31"/>
                      <a:pt x="119" y="31"/>
                    </a:cubicBezTo>
                    <a:cubicBezTo>
                      <a:pt x="118" y="32"/>
                      <a:pt x="106" y="37"/>
                      <a:pt x="106" y="37"/>
                    </a:cubicBezTo>
                    <a:cubicBezTo>
                      <a:pt x="107" y="38"/>
                      <a:pt x="108" y="40"/>
                      <a:pt x="108" y="41"/>
                    </a:cubicBezTo>
                    <a:cubicBezTo>
                      <a:pt x="107" y="42"/>
                      <a:pt x="105" y="43"/>
                      <a:pt x="105" y="44"/>
                    </a:cubicBezTo>
                    <a:cubicBezTo>
                      <a:pt x="105" y="51"/>
                      <a:pt x="117" y="73"/>
                      <a:pt x="125" y="73"/>
                    </a:cubicBezTo>
                    <a:cubicBezTo>
                      <a:pt x="124" y="79"/>
                      <a:pt x="120" y="77"/>
                      <a:pt x="115" y="77"/>
                    </a:cubicBezTo>
                    <a:cubicBezTo>
                      <a:pt x="114" y="77"/>
                      <a:pt x="112" y="78"/>
                      <a:pt x="111" y="78"/>
                    </a:cubicBezTo>
                    <a:cubicBezTo>
                      <a:pt x="109" y="83"/>
                      <a:pt x="109" y="83"/>
                      <a:pt x="109" y="83"/>
                    </a:cubicBezTo>
                    <a:cubicBezTo>
                      <a:pt x="106" y="92"/>
                      <a:pt x="103" y="95"/>
                      <a:pt x="103" y="102"/>
                    </a:cubicBezTo>
                    <a:cubicBezTo>
                      <a:pt x="98" y="103"/>
                      <a:pt x="93" y="110"/>
                      <a:pt x="93" y="113"/>
                    </a:cubicBezTo>
                    <a:cubicBezTo>
                      <a:pt x="93" y="116"/>
                      <a:pt x="95" y="117"/>
                      <a:pt x="95" y="119"/>
                    </a:cubicBezTo>
                    <a:cubicBezTo>
                      <a:pt x="95" y="122"/>
                      <a:pt x="90" y="129"/>
                      <a:pt x="90" y="134"/>
                    </a:cubicBezTo>
                    <a:cubicBezTo>
                      <a:pt x="83" y="135"/>
                      <a:pt x="82" y="141"/>
                      <a:pt x="76" y="141"/>
                    </a:cubicBezTo>
                    <a:cubicBezTo>
                      <a:pt x="72" y="141"/>
                      <a:pt x="71" y="137"/>
                      <a:pt x="71" y="135"/>
                    </a:cubicBezTo>
                    <a:cubicBezTo>
                      <a:pt x="64" y="133"/>
                      <a:pt x="59" y="128"/>
                      <a:pt x="51" y="128"/>
                    </a:cubicBezTo>
                    <a:cubicBezTo>
                      <a:pt x="48" y="128"/>
                      <a:pt x="45" y="132"/>
                      <a:pt x="40" y="132"/>
                    </a:cubicBezTo>
                    <a:cubicBezTo>
                      <a:pt x="39" y="132"/>
                      <a:pt x="38" y="130"/>
                      <a:pt x="37" y="1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3" name="Freeform 106"/>
              <p:cNvSpPr>
                <a:spLocks/>
              </p:cNvSpPr>
              <p:nvPr/>
            </p:nvSpPr>
            <p:spPr bwMode="auto">
              <a:xfrm>
                <a:off x="6367463" y="2847975"/>
                <a:ext cx="106363" cy="123825"/>
              </a:xfrm>
              <a:custGeom>
                <a:avLst/>
                <a:gdLst/>
                <a:ahLst/>
                <a:cxnLst>
                  <a:cxn ang="0">
                    <a:pos x="31" y="34"/>
                  </a:cxn>
                  <a:cxn ang="0">
                    <a:pos x="27" y="38"/>
                  </a:cxn>
                  <a:cxn ang="0">
                    <a:pos x="17" y="24"/>
                  </a:cxn>
                  <a:cxn ang="0">
                    <a:pos x="32" y="16"/>
                  </a:cxn>
                  <a:cxn ang="0">
                    <a:pos x="49" y="15"/>
                  </a:cxn>
                  <a:cxn ang="0">
                    <a:pos x="64" y="18"/>
                  </a:cxn>
                  <a:cxn ang="0">
                    <a:pos x="77" y="4"/>
                  </a:cxn>
                  <a:cxn ang="0">
                    <a:pos x="79" y="0"/>
                  </a:cxn>
                  <a:cxn ang="0">
                    <a:pos x="77" y="0"/>
                  </a:cxn>
                  <a:cxn ang="0">
                    <a:pos x="63" y="10"/>
                  </a:cxn>
                  <a:cxn ang="0">
                    <a:pos x="59" y="10"/>
                  </a:cxn>
                  <a:cxn ang="0">
                    <a:pos x="28" y="5"/>
                  </a:cxn>
                  <a:cxn ang="0">
                    <a:pos x="12" y="30"/>
                  </a:cxn>
                  <a:cxn ang="0">
                    <a:pos x="8" y="37"/>
                  </a:cxn>
                  <a:cxn ang="0">
                    <a:pos x="0" y="61"/>
                  </a:cxn>
                  <a:cxn ang="0">
                    <a:pos x="8" y="66"/>
                  </a:cxn>
                  <a:cxn ang="0">
                    <a:pos x="8" y="87"/>
                  </a:cxn>
                  <a:cxn ang="0">
                    <a:pos x="16" y="93"/>
                  </a:cxn>
                  <a:cxn ang="0">
                    <a:pos x="22" y="76"/>
                  </a:cxn>
                  <a:cxn ang="0">
                    <a:pos x="18" y="61"/>
                  </a:cxn>
                  <a:cxn ang="0">
                    <a:pos x="25" y="56"/>
                  </a:cxn>
                  <a:cxn ang="0">
                    <a:pos x="28" y="56"/>
                  </a:cxn>
                  <a:cxn ang="0">
                    <a:pos x="27" y="65"/>
                  </a:cxn>
                  <a:cxn ang="0">
                    <a:pos x="34" y="79"/>
                  </a:cxn>
                  <a:cxn ang="0">
                    <a:pos x="34" y="83"/>
                  </a:cxn>
                  <a:cxn ang="0">
                    <a:pos x="39" y="83"/>
                  </a:cxn>
                  <a:cxn ang="0">
                    <a:pos x="49" y="73"/>
                  </a:cxn>
                  <a:cxn ang="0">
                    <a:pos x="43" y="65"/>
                  </a:cxn>
                  <a:cxn ang="0">
                    <a:pos x="45" y="63"/>
                  </a:cxn>
                  <a:cxn ang="0">
                    <a:pos x="34" y="44"/>
                  </a:cxn>
                  <a:cxn ang="0">
                    <a:pos x="57" y="31"/>
                  </a:cxn>
                  <a:cxn ang="0">
                    <a:pos x="57" y="28"/>
                  </a:cxn>
                  <a:cxn ang="0">
                    <a:pos x="31" y="36"/>
                  </a:cxn>
                  <a:cxn ang="0">
                    <a:pos x="31" y="34"/>
                  </a:cxn>
                </a:cxnLst>
                <a:rect l="0" t="0" r="r" b="b"/>
                <a:pathLst>
                  <a:path w="79" h="93">
                    <a:moveTo>
                      <a:pt x="31" y="34"/>
                    </a:moveTo>
                    <a:cubicBezTo>
                      <a:pt x="30" y="36"/>
                      <a:pt x="29" y="38"/>
                      <a:pt x="27" y="38"/>
                    </a:cubicBezTo>
                    <a:cubicBezTo>
                      <a:pt x="20" y="38"/>
                      <a:pt x="17" y="30"/>
                      <a:pt x="17" y="24"/>
                    </a:cubicBezTo>
                    <a:cubicBezTo>
                      <a:pt x="17" y="15"/>
                      <a:pt x="24" y="16"/>
                      <a:pt x="32" y="16"/>
                    </a:cubicBezTo>
                    <a:cubicBezTo>
                      <a:pt x="39" y="16"/>
                      <a:pt x="42" y="15"/>
                      <a:pt x="49" y="15"/>
                    </a:cubicBezTo>
                    <a:cubicBezTo>
                      <a:pt x="54" y="15"/>
                      <a:pt x="58" y="18"/>
                      <a:pt x="64" y="18"/>
                    </a:cubicBezTo>
                    <a:cubicBezTo>
                      <a:pt x="73" y="18"/>
                      <a:pt x="76" y="10"/>
                      <a:pt x="77" y="4"/>
                    </a:cubicBezTo>
                    <a:cubicBezTo>
                      <a:pt x="79" y="4"/>
                      <a:pt x="79" y="1"/>
                      <a:pt x="79" y="0"/>
                    </a:cubicBezTo>
                    <a:cubicBezTo>
                      <a:pt x="77" y="0"/>
                      <a:pt x="77" y="0"/>
                      <a:pt x="77" y="0"/>
                    </a:cubicBezTo>
                    <a:cubicBezTo>
                      <a:pt x="72" y="4"/>
                      <a:pt x="65" y="8"/>
                      <a:pt x="63" y="10"/>
                    </a:cubicBezTo>
                    <a:cubicBezTo>
                      <a:pt x="59" y="10"/>
                      <a:pt x="59" y="10"/>
                      <a:pt x="59" y="10"/>
                    </a:cubicBezTo>
                    <a:cubicBezTo>
                      <a:pt x="28" y="5"/>
                      <a:pt x="28" y="5"/>
                      <a:pt x="28" y="5"/>
                    </a:cubicBezTo>
                    <a:cubicBezTo>
                      <a:pt x="17" y="5"/>
                      <a:pt x="12" y="20"/>
                      <a:pt x="12" y="30"/>
                    </a:cubicBezTo>
                    <a:cubicBezTo>
                      <a:pt x="12" y="33"/>
                      <a:pt x="8" y="35"/>
                      <a:pt x="8" y="37"/>
                    </a:cubicBezTo>
                    <a:cubicBezTo>
                      <a:pt x="4" y="47"/>
                      <a:pt x="0" y="51"/>
                      <a:pt x="0" y="61"/>
                    </a:cubicBezTo>
                    <a:cubicBezTo>
                      <a:pt x="0" y="66"/>
                      <a:pt x="6" y="66"/>
                      <a:pt x="8" y="66"/>
                    </a:cubicBezTo>
                    <a:cubicBezTo>
                      <a:pt x="8" y="73"/>
                      <a:pt x="8" y="83"/>
                      <a:pt x="8" y="87"/>
                    </a:cubicBezTo>
                    <a:cubicBezTo>
                      <a:pt x="8" y="90"/>
                      <a:pt x="12" y="93"/>
                      <a:pt x="16" y="93"/>
                    </a:cubicBezTo>
                    <a:cubicBezTo>
                      <a:pt x="20" y="93"/>
                      <a:pt x="22" y="78"/>
                      <a:pt x="22" y="76"/>
                    </a:cubicBezTo>
                    <a:cubicBezTo>
                      <a:pt x="22" y="70"/>
                      <a:pt x="18" y="67"/>
                      <a:pt x="18" y="61"/>
                    </a:cubicBezTo>
                    <a:cubicBezTo>
                      <a:pt x="18" y="58"/>
                      <a:pt x="22" y="56"/>
                      <a:pt x="25" y="56"/>
                    </a:cubicBezTo>
                    <a:cubicBezTo>
                      <a:pt x="26" y="56"/>
                      <a:pt x="27" y="56"/>
                      <a:pt x="28" y="56"/>
                    </a:cubicBezTo>
                    <a:cubicBezTo>
                      <a:pt x="27" y="65"/>
                      <a:pt x="27" y="65"/>
                      <a:pt x="27" y="65"/>
                    </a:cubicBezTo>
                    <a:cubicBezTo>
                      <a:pt x="27" y="71"/>
                      <a:pt x="34" y="73"/>
                      <a:pt x="34" y="79"/>
                    </a:cubicBezTo>
                    <a:cubicBezTo>
                      <a:pt x="34" y="80"/>
                      <a:pt x="34" y="81"/>
                      <a:pt x="34" y="83"/>
                    </a:cubicBezTo>
                    <a:cubicBezTo>
                      <a:pt x="39" y="83"/>
                      <a:pt x="39" y="83"/>
                      <a:pt x="39" y="83"/>
                    </a:cubicBezTo>
                    <a:cubicBezTo>
                      <a:pt x="39" y="78"/>
                      <a:pt x="49" y="78"/>
                      <a:pt x="49" y="73"/>
                    </a:cubicBezTo>
                    <a:cubicBezTo>
                      <a:pt x="47" y="73"/>
                      <a:pt x="43" y="68"/>
                      <a:pt x="43" y="65"/>
                    </a:cubicBezTo>
                    <a:cubicBezTo>
                      <a:pt x="43" y="65"/>
                      <a:pt x="44" y="64"/>
                      <a:pt x="45" y="63"/>
                    </a:cubicBezTo>
                    <a:cubicBezTo>
                      <a:pt x="42" y="61"/>
                      <a:pt x="34" y="46"/>
                      <a:pt x="34" y="44"/>
                    </a:cubicBezTo>
                    <a:cubicBezTo>
                      <a:pt x="46" y="44"/>
                      <a:pt x="47" y="35"/>
                      <a:pt x="57" y="31"/>
                    </a:cubicBezTo>
                    <a:cubicBezTo>
                      <a:pt x="57" y="28"/>
                      <a:pt x="57" y="28"/>
                      <a:pt x="57" y="28"/>
                    </a:cubicBezTo>
                    <a:cubicBezTo>
                      <a:pt x="54" y="27"/>
                      <a:pt x="31" y="35"/>
                      <a:pt x="31" y="36"/>
                    </a:cubicBezTo>
                    <a:lnTo>
                      <a:pt x="31" y="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4" name="Freeform 107"/>
              <p:cNvSpPr>
                <a:spLocks/>
              </p:cNvSpPr>
              <p:nvPr/>
            </p:nvSpPr>
            <p:spPr bwMode="auto">
              <a:xfrm>
                <a:off x="6145213" y="2973388"/>
                <a:ext cx="171450" cy="49213"/>
              </a:xfrm>
              <a:custGeom>
                <a:avLst/>
                <a:gdLst/>
                <a:ahLst/>
                <a:cxnLst>
                  <a:cxn ang="0">
                    <a:pos x="123" y="36"/>
                  </a:cxn>
                  <a:cxn ang="0">
                    <a:pos x="114" y="33"/>
                  </a:cxn>
                  <a:cxn ang="0">
                    <a:pos x="114" y="37"/>
                  </a:cxn>
                  <a:cxn ang="0">
                    <a:pos x="67" y="31"/>
                  </a:cxn>
                  <a:cxn ang="0">
                    <a:pos x="56" y="25"/>
                  </a:cxn>
                  <a:cxn ang="0">
                    <a:pos x="32" y="22"/>
                  </a:cxn>
                  <a:cxn ang="0">
                    <a:pos x="14" y="20"/>
                  </a:cxn>
                  <a:cxn ang="0">
                    <a:pos x="0" y="10"/>
                  </a:cxn>
                  <a:cxn ang="0">
                    <a:pos x="11" y="1"/>
                  </a:cxn>
                  <a:cxn ang="0">
                    <a:pos x="14" y="3"/>
                  </a:cxn>
                  <a:cxn ang="0">
                    <a:pos x="22" y="0"/>
                  </a:cxn>
                  <a:cxn ang="0">
                    <a:pos x="55" y="14"/>
                  </a:cxn>
                  <a:cxn ang="0">
                    <a:pos x="68" y="7"/>
                  </a:cxn>
                  <a:cxn ang="0">
                    <a:pos x="88" y="15"/>
                  </a:cxn>
                  <a:cxn ang="0">
                    <a:pos x="101" y="14"/>
                  </a:cxn>
                  <a:cxn ang="0">
                    <a:pos x="105" y="14"/>
                  </a:cxn>
                  <a:cxn ang="0">
                    <a:pos x="89" y="17"/>
                  </a:cxn>
                  <a:cxn ang="0">
                    <a:pos x="107" y="22"/>
                  </a:cxn>
                  <a:cxn ang="0">
                    <a:pos x="111" y="26"/>
                  </a:cxn>
                  <a:cxn ang="0">
                    <a:pos x="121" y="27"/>
                  </a:cxn>
                  <a:cxn ang="0">
                    <a:pos x="128" y="31"/>
                  </a:cxn>
                  <a:cxn ang="0">
                    <a:pos x="123" y="36"/>
                  </a:cxn>
                </a:cxnLst>
                <a:rect l="0" t="0" r="r" b="b"/>
                <a:pathLst>
                  <a:path w="128" h="37">
                    <a:moveTo>
                      <a:pt x="123" y="36"/>
                    </a:moveTo>
                    <a:cubicBezTo>
                      <a:pt x="119" y="36"/>
                      <a:pt x="119" y="33"/>
                      <a:pt x="114" y="33"/>
                    </a:cubicBezTo>
                    <a:cubicBezTo>
                      <a:pt x="113" y="33"/>
                      <a:pt x="114" y="36"/>
                      <a:pt x="114" y="37"/>
                    </a:cubicBezTo>
                    <a:cubicBezTo>
                      <a:pt x="100" y="32"/>
                      <a:pt x="85" y="31"/>
                      <a:pt x="67" y="31"/>
                    </a:cubicBezTo>
                    <a:cubicBezTo>
                      <a:pt x="62" y="31"/>
                      <a:pt x="61" y="25"/>
                      <a:pt x="56" y="25"/>
                    </a:cubicBezTo>
                    <a:cubicBezTo>
                      <a:pt x="48" y="25"/>
                      <a:pt x="41" y="25"/>
                      <a:pt x="32" y="22"/>
                    </a:cubicBezTo>
                    <a:cubicBezTo>
                      <a:pt x="25" y="20"/>
                      <a:pt x="19" y="24"/>
                      <a:pt x="14" y="20"/>
                    </a:cubicBezTo>
                    <a:cubicBezTo>
                      <a:pt x="10" y="15"/>
                      <a:pt x="7" y="10"/>
                      <a:pt x="0" y="10"/>
                    </a:cubicBezTo>
                    <a:cubicBezTo>
                      <a:pt x="0" y="9"/>
                      <a:pt x="8" y="1"/>
                      <a:pt x="11" y="1"/>
                    </a:cubicBezTo>
                    <a:cubicBezTo>
                      <a:pt x="12" y="1"/>
                      <a:pt x="13" y="3"/>
                      <a:pt x="14" y="3"/>
                    </a:cubicBezTo>
                    <a:cubicBezTo>
                      <a:pt x="17" y="3"/>
                      <a:pt x="19" y="0"/>
                      <a:pt x="22" y="0"/>
                    </a:cubicBezTo>
                    <a:cubicBezTo>
                      <a:pt x="35" y="0"/>
                      <a:pt x="41" y="14"/>
                      <a:pt x="55" y="14"/>
                    </a:cubicBezTo>
                    <a:cubicBezTo>
                      <a:pt x="62" y="14"/>
                      <a:pt x="63" y="7"/>
                      <a:pt x="68" y="7"/>
                    </a:cubicBezTo>
                    <a:cubicBezTo>
                      <a:pt x="77" y="7"/>
                      <a:pt x="80" y="15"/>
                      <a:pt x="88" y="15"/>
                    </a:cubicBezTo>
                    <a:cubicBezTo>
                      <a:pt x="101" y="14"/>
                      <a:pt x="101" y="14"/>
                      <a:pt x="101" y="14"/>
                    </a:cubicBezTo>
                    <a:cubicBezTo>
                      <a:pt x="105" y="14"/>
                      <a:pt x="105" y="14"/>
                      <a:pt x="105" y="14"/>
                    </a:cubicBezTo>
                    <a:cubicBezTo>
                      <a:pt x="104" y="16"/>
                      <a:pt x="89" y="17"/>
                      <a:pt x="89" y="17"/>
                    </a:cubicBezTo>
                    <a:cubicBezTo>
                      <a:pt x="93" y="22"/>
                      <a:pt x="99" y="22"/>
                      <a:pt x="107" y="22"/>
                    </a:cubicBezTo>
                    <a:cubicBezTo>
                      <a:pt x="110" y="22"/>
                      <a:pt x="110" y="26"/>
                      <a:pt x="111" y="26"/>
                    </a:cubicBezTo>
                    <a:cubicBezTo>
                      <a:pt x="114" y="30"/>
                      <a:pt x="117" y="26"/>
                      <a:pt x="121" y="27"/>
                    </a:cubicBezTo>
                    <a:cubicBezTo>
                      <a:pt x="125" y="29"/>
                      <a:pt x="125" y="30"/>
                      <a:pt x="128" y="31"/>
                    </a:cubicBezTo>
                    <a:cubicBezTo>
                      <a:pt x="127" y="33"/>
                      <a:pt x="124" y="36"/>
                      <a:pt x="123"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5" name="Freeform 108"/>
              <p:cNvSpPr>
                <a:spLocks/>
              </p:cNvSpPr>
              <p:nvPr/>
            </p:nvSpPr>
            <p:spPr bwMode="auto">
              <a:xfrm>
                <a:off x="6386513" y="3013075"/>
                <a:ext cx="52388" cy="12700"/>
              </a:xfrm>
              <a:custGeom>
                <a:avLst/>
                <a:gdLst/>
                <a:ahLst/>
                <a:cxnLst>
                  <a:cxn ang="0">
                    <a:pos x="26" y="9"/>
                  </a:cxn>
                  <a:cxn ang="0">
                    <a:pos x="10" y="9"/>
                  </a:cxn>
                  <a:cxn ang="0">
                    <a:pos x="0" y="4"/>
                  </a:cxn>
                  <a:cxn ang="0">
                    <a:pos x="8" y="1"/>
                  </a:cxn>
                  <a:cxn ang="0">
                    <a:pos x="26" y="4"/>
                  </a:cxn>
                  <a:cxn ang="0">
                    <a:pos x="39" y="0"/>
                  </a:cxn>
                  <a:cxn ang="0">
                    <a:pos x="26" y="9"/>
                  </a:cxn>
                </a:cxnLst>
                <a:rect l="0" t="0" r="r" b="b"/>
                <a:pathLst>
                  <a:path w="39" h="9">
                    <a:moveTo>
                      <a:pt x="26" y="9"/>
                    </a:moveTo>
                    <a:cubicBezTo>
                      <a:pt x="20" y="9"/>
                      <a:pt x="13" y="9"/>
                      <a:pt x="10" y="9"/>
                    </a:cubicBezTo>
                    <a:cubicBezTo>
                      <a:pt x="7" y="9"/>
                      <a:pt x="0" y="9"/>
                      <a:pt x="0" y="4"/>
                    </a:cubicBezTo>
                    <a:cubicBezTo>
                      <a:pt x="0" y="1"/>
                      <a:pt x="5" y="1"/>
                      <a:pt x="8" y="1"/>
                    </a:cubicBezTo>
                    <a:cubicBezTo>
                      <a:pt x="16" y="1"/>
                      <a:pt x="19" y="4"/>
                      <a:pt x="26" y="4"/>
                    </a:cubicBezTo>
                    <a:cubicBezTo>
                      <a:pt x="32" y="4"/>
                      <a:pt x="35" y="2"/>
                      <a:pt x="39" y="0"/>
                    </a:cubicBezTo>
                    <a:cubicBezTo>
                      <a:pt x="35" y="6"/>
                      <a:pt x="32" y="7"/>
                      <a:pt x="26"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6" name="Freeform 109"/>
              <p:cNvSpPr>
                <a:spLocks/>
              </p:cNvSpPr>
              <p:nvPr/>
            </p:nvSpPr>
            <p:spPr bwMode="auto">
              <a:xfrm>
                <a:off x="6335713" y="3016250"/>
                <a:ext cx="36513" cy="12700"/>
              </a:xfrm>
              <a:custGeom>
                <a:avLst/>
                <a:gdLst/>
                <a:ahLst/>
                <a:cxnLst>
                  <a:cxn ang="0">
                    <a:pos x="27" y="6"/>
                  </a:cxn>
                  <a:cxn ang="0">
                    <a:pos x="23" y="6"/>
                  </a:cxn>
                  <a:cxn ang="0">
                    <a:pos x="19" y="5"/>
                  </a:cxn>
                  <a:cxn ang="0">
                    <a:pos x="9" y="9"/>
                  </a:cxn>
                  <a:cxn ang="0">
                    <a:pos x="0" y="6"/>
                  </a:cxn>
                  <a:cxn ang="0">
                    <a:pos x="7" y="1"/>
                  </a:cxn>
                  <a:cxn ang="0">
                    <a:pos x="16" y="3"/>
                  </a:cxn>
                  <a:cxn ang="0">
                    <a:pos x="16" y="0"/>
                  </a:cxn>
                  <a:cxn ang="0">
                    <a:pos x="27" y="0"/>
                  </a:cxn>
                  <a:cxn ang="0">
                    <a:pos x="27" y="6"/>
                  </a:cxn>
                </a:cxnLst>
                <a:rect l="0" t="0" r="r" b="b"/>
                <a:pathLst>
                  <a:path w="27" h="9">
                    <a:moveTo>
                      <a:pt x="27" y="6"/>
                    </a:moveTo>
                    <a:cubicBezTo>
                      <a:pt x="23" y="6"/>
                      <a:pt x="23" y="6"/>
                      <a:pt x="23" y="6"/>
                    </a:cubicBezTo>
                    <a:cubicBezTo>
                      <a:pt x="19" y="5"/>
                      <a:pt x="19" y="5"/>
                      <a:pt x="19" y="5"/>
                    </a:cubicBezTo>
                    <a:cubicBezTo>
                      <a:pt x="15" y="6"/>
                      <a:pt x="13" y="9"/>
                      <a:pt x="9" y="9"/>
                    </a:cubicBezTo>
                    <a:cubicBezTo>
                      <a:pt x="5" y="9"/>
                      <a:pt x="0" y="8"/>
                      <a:pt x="0" y="6"/>
                    </a:cubicBezTo>
                    <a:cubicBezTo>
                      <a:pt x="0" y="1"/>
                      <a:pt x="3" y="1"/>
                      <a:pt x="7" y="1"/>
                    </a:cubicBezTo>
                    <a:cubicBezTo>
                      <a:pt x="11" y="1"/>
                      <a:pt x="13" y="2"/>
                      <a:pt x="16" y="3"/>
                    </a:cubicBezTo>
                    <a:cubicBezTo>
                      <a:pt x="16" y="2"/>
                      <a:pt x="16" y="1"/>
                      <a:pt x="16" y="0"/>
                    </a:cubicBezTo>
                    <a:cubicBezTo>
                      <a:pt x="27" y="0"/>
                      <a:pt x="27" y="0"/>
                      <a:pt x="27" y="0"/>
                    </a:cubicBezTo>
                    <a:cubicBezTo>
                      <a:pt x="27" y="3"/>
                      <a:pt x="26" y="5"/>
                      <a:pt x="27"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7" name="Freeform 110"/>
              <p:cNvSpPr>
                <a:spLocks/>
              </p:cNvSpPr>
              <p:nvPr/>
            </p:nvSpPr>
            <p:spPr bwMode="auto">
              <a:xfrm>
                <a:off x="6373813" y="3030538"/>
                <a:ext cx="26988" cy="19050"/>
              </a:xfrm>
              <a:custGeom>
                <a:avLst/>
                <a:gdLst/>
                <a:ahLst/>
                <a:cxnLst>
                  <a:cxn ang="0">
                    <a:pos x="15" y="14"/>
                  </a:cxn>
                  <a:cxn ang="0">
                    <a:pos x="12" y="9"/>
                  </a:cxn>
                  <a:cxn ang="0">
                    <a:pos x="0" y="4"/>
                  </a:cxn>
                  <a:cxn ang="0">
                    <a:pos x="9" y="1"/>
                  </a:cxn>
                  <a:cxn ang="0">
                    <a:pos x="13" y="1"/>
                  </a:cxn>
                  <a:cxn ang="0">
                    <a:pos x="20" y="11"/>
                  </a:cxn>
                  <a:cxn ang="0">
                    <a:pos x="16" y="14"/>
                  </a:cxn>
                  <a:cxn ang="0">
                    <a:pos x="15" y="14"/>
                  </a:cxn>
                </a:cxnLst>
                <a:rect l="0" t="0" r="r" b="b"/>
                <a:pathLst>
                  <a:path w="20" h="14">
                    <a:moveTo>
                      <a:pt x="15" y="14"/>
                    </a:moveTo>
                    <a:cubicBezTo>
                      <a:pt x="12" y="14"/>
                      <a:pt x="12" y="10"/>
                      <a:pt x="12" y="9"/>
                    </a:cubicBezTo>
                    <a:cubicBezTo>
                      <a:pt x="8" y="9"/>
                      <a:pt x="0" y="8"/>
                      <a:pt x="0" y="4"/>
                    </a:cubicBezTo>
                    <a:cubicBezTo>
                      <a:pt x="0" y="0"/>
                      <a:pt x="6" y="1"/>
                      <a:pt x="9" y="1"/>
                    </a:cubicBezTo>
                    <a:cubicBezTo>
                      <a:pt x="10" y="1"/>
                      <a:pt x="12" y="1"/>
                      <a:pt x="13" y="1"/>
                    </a:cubicBezTo>
                    <a:cubicBezTo>
                      <a:pt x="13" y="7"/>
                      <a:pt x="20" y="6"/>
                      <a:pt x="20" y="11"/>
                    </a:cubicBezTo>
                    <a:cubicBezTo>
                      <a:pt x="20" y="13"/>
                      <a:pt x="18" y="14"/>
                      <a:pt x="16" y="14"/>
                    </a:cubicBezTo>
                    <a:cubicBezTo>
                      <a:pt x="16" y="14"/>
                      <a:pt x="15" y="14"/>
                      <a:pt x="1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8" name="Freeform 111"/>
              <p:cNvSpPr>
                <a:spLocks/>
              </p:cNvSpPr>
              <p:nvPr/>
            </p:nvSpPr>
            <p:spPr bwMode="auto">
              <a:xfrm>
                <a:off x="6323013" y="3014663"/>
                <a:ext cx="11113" cy="11113"/>
              </a:xfrm>
              <a:custGeom>
                <a:avLst/>
                <a:gdLst/>
                <a:ahLst/>
                <a:cxnLst>
                  <a:cxn ang="0">
                    <a:pos x="0" y="0"/>
                  </a:cxn>
                  <a:cxn ang="0">
                    <a:pos x="4" y="0"/>
                  </a:cxn>
                  <a:cxn ang="0">
                    <a:pos x="8" y="3"/>
                  </a:cxn>
                  <a:cxn ang="0">
                    <a:pos x="3" y="8"/>
                  </a:cxn>
                  <a:cxn ang="0">
                    <a:pos x="0" y="5"/>
                  </a:cxn>
                  <a:cxn ang="0">
                    <a:pos x="0" y="0"/>
                  </a:cxn>
                </a:cxnLst>
                <a:rect l="0" t="0" r="r" b="b"/>
                <a:pathLst>
                  <a:path w="8" h="8">
                    <a:moveTo>
                      <a:pt x="0" y="0"/>
                    </a:moveTo>
                    <a:cubicBezTo>
                      <a:pt x="1" y="0"/>
                      <a:pt x="2" y="0"/>
                      <a:pt x="4" y="0"/>
                    </a:cubicBezTo>
                    <a:cubicBezTo>
                      <a:pt x="6" y="0"/>
                      <a:pt x="6" y="2"/>
                      <a:pt x="8" y="3"/>
                    </a:cubicBezTo>
                    <a:cubicBezTo>
                      <a:pt x="7" y="6"/>
                      <a:pt x="5" y="8"/>
                      <a:pt x="3" y="8"/>
                    </a:cubicBezTo>
                    <a:cubicBezTo>
                      <a:pt x="2" y="8"/>
                      <a:pt x="0" y="6"/>
                      <a:pt x="0" y="5"/>
                    </a:cubicBezTo>
                    <a:cubicBezTo>
                      <a:pt x="0" y="3"/>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29" name="Freeform 112"/>
              <p:cNvSpPr>
                <a:spLocks/>
              </p:cNvSpPr>
              <p:nvPr/>
            </p:nvSpPr>
            <p:spPr bwMode="auto">
              <a:xfrm>
                <a:off x="6448425" y="3016250"/>
                <a:ext cx="58738" cy="34925"/>
              </a:xfrm>
              <a:custGeom>
                <a:avLst/>
                <a:gdLst/>
                <a:ahLst/>
                <a:cxnLst>
                  <a:cxn ang="0">
                    <a:pos x="19" y="13"/>
                  </a:cxn>
                  <a:cxn ang="0">
                    <a:pos x="17" y="19"/>
                  </a:cxn>
                  <a:cxn ang="0">
                    <a:pos x="3" y="26"/>
                  </a:cxn>
                  <a:cxn ang="0">
                    <a:pos x="0" y="22"/>
                  </a:cxn>
                  <a:cxn ang="0">
                    <a:pos x="15" y="10"/>
                  </a:cxn>
                  <a:cxn ang="0">
                    <a:pos x="17" y="6"/>
                  </a:cxn>
                  <a:cxn ang="0">
                    <a:pos x="45" y="3"/>
                  </a:cxn>
                  <a:cxn ang="0">
                    <a:pos x="19" y="13"/>
                  </a:cxn>
                </a:cxnLst>
                <a:rect l="0" t="0" r="r" b="b"/>
                <a:pathLst>
                  <a:path w="45" h="26">
                    <a:moveTo>
                      <a:pt x="19" y="13"/>
                    </a:moveTo>
                    <a:cubicBezTo>
                      <a:pt x="16" y="13"/>
                      <a:pt x="19" y="17"/>
                      <a:pt x="17" y="19"/>
                    </a:cubicBezTo>
                    <a:cubicBezTo>
                      <a:pt x="15" y="21"/>
                      <a:pt x="8" y="26"/>
                      <a:pt x="3" y="26"/>
                    </a:cubicBezTo>
                    <a:cubicBezTo>
                      <a:pt x="1" y="26"/>
                      <a:pt x="0" y="24"/>
                      <a:pt x="0" y="22"/>
                    </a:cubicBezTo>
                    <a:cubicBezTo>
                      <a:pt x="0" y="12"/>
                      <a:pt x="8" y="12"/>
                      <a:pt x="15" y="10"/>
                    </a:cubicBezTo>
                    <a:cubicBezTo>
                      <a:pt x="16" y="10"/>
                      <a:pt x="16" y="7"/>
                      <a:pt x="17" y="6"/>
                    </a:cubicBezTo>
                    <a:cubicBezTo>
                      <a:pt x="21" y="2"/>
                      <a:pt x="41" y="0"/>
                      <a:pt x="45" y="3"/>
                    </a:cubicBezTo>
                    <a:cubicBezTo>
                      <a:pt x="40" y="9"/>
                      <a:pt x="26" y="13"/>
                      <a:pt x="19"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0" name="Freeform 113"/>
              <p:cNvSpPr>
                <a:spLocks/>
              </p:cNvSpPr>
              <p:nvPr/>
            </p:nvSpPr>
            <p:spPr bwMode="auto">
              <a:xfrm>
                <a:off x="6489700" y="2922588"/>
                <a:ext cx="17463" cy="19050"/>
              </a:xfrm>
              <a:custGeom>
                <a:avLst/>
                <a:gdLst/>
                <a:ahLst/>
                <a:cxnLst>
                  <a:cxn ang="0">
                    <a:pos x="13" y="8"/>
                  </a:cxn>
                  <a:cxn ang="0">
                    <a:pos x="8" y="14"/>
                  </a:cxn>
                  <a:cxn ang="0">
                    <a:pos x="0" y="5"/>
                  </a:cxn>
                  <a:cxn ang="0">
                    <a:pos x="13" y="8"/>
                  </a:cxn>
                </a:cxnLst>
                <a:rect l="0" t="0" r="r" b="b"/>
                <a:pathLst>
                  <a:path w="13" h="14">
                    <a:moveTo>
                      <a:pt x="13" y="8"/>
                    </a:moveTo>
                    <a:cubicBezTo>
                      <a:pt x="13" y="9"/>
                      <a:pt x="10" y="14"/>
                      <a:pt x="8" y="14"/>
                    </a:cubicBezTo>
                    <a:cubicBezTo>
                      <a:pt x="6" y="14"/>
                      <a:pt x="0" y="9"/>
                      <a:pt x="0" y="5"/>
                    </a:cubicBezTo>
                    <a:cubicBezTo>
                      <a:pt x="0" y="0"/>
                      <a:pt x="13" y="4"/>
                      <a:pt x="13"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1" name="Freeform 114"/>
              <p:cNvSpPr>
                <a:spLocks/>
              </p:cNvSpPr>
              <p:nvPr/>
            </p:nvSpPr>
            <p:spPr bwMode="auto">
              <a:xfrm>
                <a:off x="6519863" y="2924175"/>
                <a:ext cx="47625" cy="14288"/>
              </a:xfrm>
              <a:custGeom>
                <a:avLst/>
                <a:gdLst/>
                <a:ahLst/>
                <a:cxnLst>
                  <a:cxn ang="0">
                    <a:pos x="31" y="2"/>
                  </a:cxn>
                  <a:cxn ang="0">
                    <a:pos x="36" y="10"/>
                  </a:cxn>
                  <a:cxn ang="0">
                    <a:pos x="34" y="10"/>
                  </a:cxn>
                  <a:cxn ang="0">
                    <a:pos x="18" y="6"/>
                  </a:cxn>
                  <a:cxn ang="0">
                    <a:pos x="8" y="6"/>
                  </a:cxn>
                  <a:cxn ang="0">
                    <a:pos x="0" y="4"/>
                  </a:cxn>
                  <a:cxn ang="0">
                    <a:pos x="3" y="0"/>
                  </a:cxn>
                  <a:cxn ang="0">
                    <a:pos x="23" y="0"/>
                  </a:cxn>
                  <a:cxn ang="0">
                    <a:pos x="30" y="2"/>
                  </a:cxn>
                  <a:cxn ang="0">
                    <a:pos x="31" y="2"/>
                  </a:cxn>
                </a:cxnLst>
                <a:rect l="0" t="0" r="r" b="b"/>
                <a:pathLst>
                  <a:path w="36" h="10">
                    <a:moveTo>
                      <a:pt x="31" y="2"/>
                    </a:moveTo>
                    <a:cubicBezTo>
                      <a:pt x="32" y="5"/>
                      <a:pt x="36" y="6"/>
                      <a:pt x="36" y="10"/>
                    </a:cubicBezTo>
                    <a:cubicBezTo>
                      <a:pt x="36" y="10"/>
                      <a:pt x="35" y="10"/>
                      <a:pt x="34" y="10"/>
                    </a:cubicBezTo>
                    <a:cubicBezTo>
                      <a:pt x="28" y="10"/>
                      <a:pt x="25" y="6"/>
                      <a:pt x="18" y="6"/>
                    </a:cubicBezTo>
                    <a:cubicBezTo>
                      <a:pt x="14" y="6"/>
                      <a:pt x="12" y="6"/>
                      <a:pt x="8" y="6"/>
                    </a:cubicBezTo>
                    <a:cubicBezTo>
                      <a:pt x="6" y="6"/>
                      <a:pt x="0" y="4"/>
                      <a:pt x="0" y="4"/>
                    </a:cubicBezTo>
                    <a:cubicBezTo>
                      <a:pt x="0" y="2"/>
                      <a:pt x="3" y="1"/>
                      <a:pt x="3" y="0"/>
                    </a:cubicBezTo>
                    <a:cubicBezTo>
                      <a:pt x="23" y="0"/>
                      <a:pt x="23" y="0"/>
                      <a:pt x="23" y="0"/>
                    </a:cubicBezTo>
                    <a:cubicBezTo>
                      <a:pt x="24" y="3"/>
                      <a:pt x="27" y="2"/>
                      <a:pt x="30" y="2"/>
                    </a:cubicBezTo>
                    <a:lnTo>
                      <a:pt x="3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2" name="Freeform 115"/>
              <p:cNvSpPr>
                <a:spLocks/>
              </p:cNvSpPr>
              <p:nvPr/>
            </p:nvSpPr>
            <p:spPr bwMode="auto">
              <a:xfrm>
                <a:off x="6513513" y="2836863"/>
                <a:ext cx="19050" cy="46038"/>
              </a:xfrm>
              <a:custGeom>
                <a:avLst/>
                <a:gdLst/>
                <a:ahLst/>
                <a:cxnLst>
                  <a:cxn ang="0">
                    <a:pos x="4" y="28"/>
                  </a:cxn>
                  <a:cxn ang="0">
                    <a:pos x="4" y="25"/>
                  </a:cxn>
                  <a:cxn ang="0">
                    <a:pos x="14" y="24"/>
                  </a:cxn>
                  <a:cxn ang="0">
                    <a:pos x="11" y="17"/>
                  </a:cxn>
                  <a:cxn ang="0">
                    <a:pos x="15" y="12"/>
                  </a:cxn>
                  <a:cxn ang="0">
                    <a:pos x="4" y="0"/>
                  </a:cxn>
                  <a:cxn ang="0">
                    <a:pos x="0" y="9"/>
                  </a:cxn>
                  <a:cxn ang="0">
                    <a:pos x="3" y="21"/>
                  </a:cxn>
                  <a:cxn ang="0">
                    <a:pos x="3" y="27"/>
                  </a:cxn>
                  <a:cxn ang="0">
                    <a:pos x="9" y="35"/>
                  </a:cxn>
                  <a:cxn ang="0">
                    <a:pos x="4" y="28"/>
                  </a:cxn>
                </a:cxnLst>
                <a:rect l="0" t="0" r="r" b="b"/>
                <a:pathLst>
                  <a:path w="15" h="35">
                    <a:moveTo>
                      <a:pt x="4" y="28"/>
                    </a:moveTo>
                    <a:cubicBezTo>
                      <a:pt x="4" y="25"/>
                      <a:pt x="4" y="25"/>
                      <a:pt x="4" y="25"/>
                    </a:cubicBezTo>
                    <a:cubicBezTo>
                      <a:pt x="8" y="25"/>
                      <a:pt x="12" y="24"/>
                      <a:pt x="14" y="24"/>
                    </a:cubicBezTo>
                    <a:cubicBezTo>
                      <a:pt x="14" y="20"/>
                      <a:pt x="11" y="20"/>
                      <a:pt x="11" y="17"/>
                    </a:cubicBezTo>
                    <a:cubicBezTo>
                      <a:pt x="11" y="15"/>
                      <a:pt x="15" y="14"/>
                      <a:pt x="15" y="12"/>
                    </a:cubicBezTo>
                    <a:cubicBezTo>
                      <a:pt x="8" y="10"/>
                      <a:pt x="4" y="6"/>
                      <a:pt x="4" y="0"/>
                    </a:cubicBezTo>
                    <a:cubicBezTo>
                      <a:pt x="0" y="2"/>
                      <a:pt x="0" y="5"/>
                      <a:pt x="0" y="9"/>
                    </a:cubicBezTo>
                    <a:cubicBezTo>
                      <a:pt x="0" y="15"/>
                      <a:pt x="3" y="16"/>
                      <a:pt x="3" y="21"/>
                    </a:cubicBezTo>
                    <a:cubicBezTo>
                      <a:pt x="3" y="26"/>
                      <a:pt x="3" y="24"/>
                      <a:pt x="3" y="27"/>
                    </a:cubicBezTo>
                    <a:cubicBezTo>
                      <a:pt x="3" y="30"/>
                      <a:pt x="4" y="35"/>
                      <a:pt x="9" y="35"/>
                    </a:cubicBezTo>
                    <a:cubicBezTo>
                      <a:pt x="7" y="32"/>
                      <a:pt x="6" y="31"/>
                      <a:pt x="4"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3" name="Freeform 119"/>
              <p:cNvSpPr>
                <a:spLocks/>
              </p:cNvSpPr>
              <p:nvPr/>
            </p:nvSpPr>
            <p:spPr bwMode="auto">
              <a:xfrm>
                <a:off x="6424613" y="2709863"/>
                <a:ext cx="76200" cy="71438"/>
              </a:xfrm>
              <a:custGeom>
                <a:avLst/>
                <a:gdLst/>
                <a:ahLst/>
                <a:cxnLst>
                  <a:cxn ang="0">
                    <a:pos x="48" y="38"/>
                  </a:cxn>
                  <a:cxn ang="0">
                    <a:pos x="46" y="35"/>
                  </a:cxn>
                  <a:cxn ang="0">
                    <a:pos x="42" y="40"/>
                  </a:cxn>
                  <a:cxn ang="0">
                    <a:pos x="47" y="48"/>
                  </a:cxn>
                  <a:cxn ang="0">
                    <a:pos x="42" y="53"/>
                  </a:cxn>
                  <a:cxn ang="0">
                    <a:pos x="40" y="50"/>
                  </a:cxn>
                  <a:cxn ang="0">
                    <a:pos x="36" y="51"/>
                  </a:cxn>
                  <a:cxn ang="0">
                    <a:pos x="26" y="37"/>
                  </a:cxn>
                  <a:cxn ang="0">
                    <a:pos x="28" y="32"/>
                  </a:cxn>
                  <a:cxn ang="0">
                    <a:pos x="27" y="29"/>
                  </a:cxn>
                  <a:cxn ang="0">
                    <a:pos x="21" y="28"/>
                  </a:cxn>
                  <a:cxn ang="0">
                    <a:pos x="21" y="32"/>
                  </a:cxn>
                  <a:cxn ang="0">
                    <a:pos x="17" y="30"/>
                  </a:cxn>
                  <a:cxn ang="0">
                    <a:pos x="16" y="32"/>
                  </a:cxn>
                  <a:cxn ang="0">
                    <a:pos x="12" y="28"/>
                  </a:cxn>
                  <a:cxn ang="0">
                    <a:pos x="4" y="45"/>
                  </a:cxn>
                  <a:cxn ang="0">
                    <a:pos x="4" y="36"/>
                  </a:cxn>
                  <a:cxn ang="0">
                    <a:pos x="2" y="32"/>
                  </a:cxn>
                  <a:cxn ang="0">
                    <a:pos x="5" y="22"/>
                  </a:cxn>
                  <a:cxn ang="0">
                    <a:pos x="19" y="14"/>
                  </a:cxn>
                  <a:cxn ang="0">
                    <a:pos x="26" y="20"/>
                  </a:cxn>
                  <a:cxn ang="0">
                    <a:pos x="28" y="20"/>
                  </a:cxn>
                  <a:cxn ang="0">
                    <a:pos x="32" y="15"/>
                  </a:cxn>
                  <a:cxn ang="0">
                    <a:pos x="41" y="9"/>
                  </a:cxn>
                  <a:cxn ang="0">
                    <a:pos x="42" y="0"/>
                  </a:cxn>
                  <a:cxn ang="0">
                    <a:pos x="48" y="4"/>
                  </a:cxn>
                  <a:cxn ang="0">
                    <a:pos x="58" y="33"/>
                  </a:cxn>
                  <a:cxn ang="0">
                    <a:pos x="53" y="46"/>
                  </a:cxn>
                  <a:cxn ang="0">
                    <a:pos x="48" y="36"/>
                  </a:cxn>
                  <a:cxn ang="0">
                    <a:pos x="48" y="38"/>
                  </a:cxn>
                </a:cxnLst>
                <a:rect l="0" t="0" r="r" b="b"/>
                <a:pathLst>
                  <a:path w="58" h="53">
                    <a:moveTo>
                      <a:pt x="48" y="38"/>
                    </a:moveTo>
                    <a:cubicBezTo>
                      <a:pt x="48" y="37"/>
                      <a:pt x="47" y="36"/>
                      <a:pt x="46" y="35"/>
                    </a:cubicBezTo>
                    <a:cubicBezTo>
                      <a:pt x="44" y="37"/>
                      <a:pt x="42" y="38"/>
                      <a:pt x="42" y="40"/>
                    </a:cubicBezTo>
                    <a:cubicBezTo>
                      <a:pt x="42" y="43"/>
                      <a:pt x="47" y="44"/>
                      <a:pt x="47" y="48"/>
                    </a:cubicBezTo>
                    <a:cubicBezTo>
                      <a:pt x="47" y="51"/>
                      <a:pt x="45" y="53"/>
                      <a:pt x="42" y="53"/>
                    </a:cubicBezTo>
                    <a:cubicBezTo>
                      <a:pt x="41" y="53"/>
                      <a:pt x="40" y="51"/>
                      <a:pt x="40" y="50"/>
                    </a:cubicBezTo>
                    <a:cubicBezTo>
                      <a:pt x="39" y="51"/>
                      <a:pt x="37" y="51"/>
                      <a:pt x="36" y="51"/>
                    </a:cubicBezTo>
                    <a:cubicBezTo>
                      <a:pt x="31" y="51"/>
                      <a:pt x="26" y="44"/>
                      <a:pt x="26" y="37"/>
                    </a:cubicBezTo>
                    <a:cubicBezTo>
                      <a:pt x="26" y="34"/>
                      <a:pt x="27" y="33"/>
                      <a:pt x="28" y="32"/>
                    </a:cubicBezTo>
                    <a:cubicBezTo>
                      <a:pt x="28" y="31"/>
                      <a:pt x="27" y="30"/>
                      <a:pt x="27" y="29"/>
                    </a:cubicBezTo>
                    <a:cubicBezTo>
                      <a:pt x="21" y="28"/>
                      <a:pt x="21" y="28"/>
                      <a:pt x="21" y="28"/>
                    </a:cubicBezTo>
                    <a:cubicBezTo>
                      <a:pt x="21" y="30"/>
                      <a:pt x="20" y="31"/>
                      <a:pt x="21" y="32"/>
                    </a:cubicBezTo>
                    <a:cubicBezTo>
                      <a:pt x="18" y="32"/>
                      <a:pt x="18" y="31"/>
                      <a:pt x="17" y="30"/>
                    </a:cubicBezTo>
                    <a:cubicBezTo>
                      <a:pt x="17" y="30"/>
                      <a:pt x="16" y="31"/>
                      <a:pt x="16" y="32"/>
                    </a:cubicBezTo>
                    <a:cubicBezTo>
                      <a:pt x="14" y="31"/>
                      <a:pt x="12" y="28"/>
                      <a:pt x="12" y="28"/>
                    </a:cubicBezTo>
                    <a:cubicBezTo>
                      <a:pt x="8" y="32"/>
                      <a:pt x="8" y="45"/>
                      <a:pt x="4" y="45"/>
                    </a:cubicBezTo>
                    <a:cubicBezTo>
                      <a:pt x="0" y="45"/>
                      <a:pt x="4" y="37"/>
                      <a:pt x="4" y="36"/>
                    </a:cubicBezTo>
                    <a:cubicBezTo>
                      <a:pt x="4" y="35"/>
                      <a:pt x="2" y="33"/>
                      <a:pt x="2" y="32"/>
                    </a:cubicBezTo>
                    <a:cubicBezTo>
                      <a:pt x="2" y="28"/>
                      <a:pt x="4" y="26"/>
                      <a:pt x="5" y="22"/>
                    </a:cubicBezTo>
                    <a:cubicBezTo>
                      <a:pt x="13" y="22"/>
                      <a:pt x="11" y="14"/>
                      <a:pt x="19" y="14"/>
                    </a:cubicBezTo>
                    <a:cubicBezTo>
                      <a:pt x="24" y="14"/>
                      <a:pt x="23" y="20"/>
                      <a:pt x="26" y="20"/>
                    </a:cubicBezTo>
                    <a:cubicBezTo>
                      <a:pt x="27" y="20"/>
                      <a:pt x="27" y="20"/>
                      <a:pt x="28" y="20"/>
                    </a:cubicBezTo>
                    <a:cubicBezTo>
                      <a:pt x="28" y="18"/>
                      <a:pt x="30" y="16"/>
                      <a:pt x="32" y="15"/>
                    </a:cubicBezTo>
                    <a:cubicBezTo>
                      <a:pt x="32" y="10"/>
                      <a:pt x="39" y="12"/>
                      <a:pt x="41" y="9"/>
                    </a:cubicBezTo>
                    <a:cubicBezTo>
                      <a:pt x="42" y="7"/>
                      <a:pt x="42" y="1"/>
                      <a:pt x="42" y="0"/>
                    </a:cubicBezTo>
                    <a:cubicBezTo>
                      <a:pt x="45" y="0"/>
                      <a:pt x="47" y="2"/>
                      <a:pt x="48" y="4"/>
                    </a:cubicBezTo>
                    <a:cubicBezTo>
                      <a:pt x="51" y="7"/>
                      <a:pt x="58" y="30"/>
                      <a:pt x="58" y="33"/>
                    </a:cubicBezTo>
                    <a:cubicBezTo>
                      <a:pt x="58" y="37"/>
                      <a:pt x="53" y="39"/>
                      <a:pt x="53" y="46"/>
                    </a:cubicBezTo>
                    <a:cubicBezTo>
                      <a:pt x="51" y="46"/>
                      <a:pt x="48" y="37"/>
                      <a:pt x="48" y="36"/>
                    </a:cubicBezTo>
                    <a:lnTo>
                      <a:pt x="48"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4" name="Freeform 120"/>
              <p:cNvSpPr>
                <a:spLocks/>
              </p:cNvSpPr>
              <p:nvPr/>
            </p:nvSpPr>
            <p:spPr bwMode="auto">
              <a:xfrm>
                <a:off x="6354763" y="2690813"/>
                <a:ext cx="36513" cy="39688"/>
              </a:xfrm>
              <a:custGeom>
                <a:avLst/>
                <a:gdLst/>
                <a:ahLst/>
                <a:cxnLst>
                  <a:cxn ang="0">
                    <a:pos x="3" y="29"/>
                  </a:cxn>
                  <a:cxn ang="0">
                    <a:pos x="0" y="29"/>
                  </a:cxn>
                  <a:cxn ang="0">
                    <a:pos x="22" y="5"/>
                  </a:cxn>
                  <a:cxn ang="0">
                    <a:pos x="25" y="0"/>
                  </a:cxn>
                  <a:cxn ang="0">
                    <a:pos x="28" y="6"/>
                  </a:cxn>
                  <a:cxn ang="0">
                    <a:pos x="24" y="9"/>
                  </a:cxn>
                  <a:cxn ang="0">
                    <a:pos x="17" y="13"/>
                  </a:cxn>
                  <a:cxn ang="0">
                    <a:pos x="3" y="29"/>
                  </a:cxn>
                </a:cxnLst>
                <a:rect l="0" t="0" r="r" b="b"/>
                <a:pathLst>
                  <a:path w="28" h="29">
                    <a:moveTo>
                      <a:pt x="3" y="29"/>
                    </a:moveTo>
                    <a:cubicBezTo>
                      <a:pt x="0" y="29"/>
                      <a:pt x="0" y="29"/>
                      <a:pt x="0" y="29"/>
                    </a:cubicBezTo>
                    <a:cubicBezTo>
                      <a:pt x="4" y="18"/>
                      <a:pt x="18" y="13"/>
                      <a:pt x="22" y="5"/>
                    </a:cubicBezTo>
                    <a:cubicBezTo>
                      <a:pt x="23" y="3"/>
                      <a:pt x="23" y="1"/>
                      <a:pt x="25" y="0"/>
                    </a:cubicBezTo>
                    <a:cubicBezTo>
                      <a:pt x="24" y="4"/>
                      <a:pt x="26" y="5"/>
                      <a:pt x="28" y="6"/>
                    </a:cubicBezTo>
                    <a:cubicBezTo>
                      <a:pt x="26" y="8"/>
                      <a:pt x="26" y="9"/>
                      <a:pt x="24" y="9"/>
                    </a:cubicBezTo>
                    <a:cubicBezTo>
                      <a:pt x="23" y="12"/>
                      <a:pt x="20" y="13"/>
                      <a:pt x="17" y="13"/>
                    </a:cubicBezTo>
                    <a:cubicBezTo>
                      <a:pt x="15" y="22"/>
                      <a:pt x="8" y="26"/>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5" name="Freeform 121"/>
              <p:cNvSpPr>
                <a:spLocks/>
              </p:cNvSpPr>
              <p:nvPr/>
            </p:nvSpPr>
            <p:spPr bwMode="auto">
              <a:xfrm>
                <a:off x="6383338" y="2563813"/>
                <a:ext cx="71438" cy="101600"/>
              </a:xfrm>
              <a:custGeom>
                <a:avLst/>
                <a:gdLst/>
                <a:ahLst/>
                <a:cxnLst>
                  <a:cxn ang="0">
                    <a:pos x="4" y="31"/>
                  </a:cxn>
                  <a:cxn ang="0">
                    <a:pos x="6" y="20"/>
                  </a:cxn>
                  <a:cxn ang="0">
                    <a:pos x="5" y="7"/>
                  </a:cxn>
                  <a:cxn ang="0">
                    <a:pos x="9" y="0"/>
                  </a:cxn>
                  <a:cxn ang="0">
                    <a:pos x="16" y="7"/>
                  </a:cxn>
                  <a:cxn ang="0">
                    <a:pos x="21" y="3"/>
                  </a:cxn>
                  <a:cxn ang="0">
                    <a:pos x="22" y="5"/>
                  </a:cxn>
                  <a:cxn ang="0">
                    <a:pos x="23" y="8"/>
                  </a:cxn>
                  <a:cxn ang="0">
                    <a:pos x="28" y="25"/>
                  </a:cxn>
                  <a:cxn ang="0">
                    <a:pos x="20" y="42"/>
                  </a:cxn>
                  <a:cxn ang="0">
                    <a:pos x="30" y="59"/>
                  </a:cxn>
                  <a:cxn ang="0">
                    <a:pos x="30" y="58"/>
                  </a:cxn>
                  <a:cxn ang="0">
                    <a:pos x="34" y="55"/>
                  </a:cxn>
                  <a:cxn ang="0">
                    <a:pos x="43" y="64"/>
                  </a:cxn>
                  <a:cxn ang="0">
                    <a:pos x="46" y="61"/>
                  </a:cxn>
                  <a:cxn ang="0">
                    <a:pos x="49" y="62"/>
                  </a:cxn>
                  <a:cxn ang="0">
                    <a:pos x="46" y="66"/>
                  </a:cxn>
                  <a:cxn ang="0">
                    <a:pos x="49" y="66"/>
                  </a:cxn>
                  <a:cxn ang="0">
                    <a:pos x="54" y="71"/>
                  </a:cxn>
                  <a:cxn ang="0">
                    <a:pos x="54" y="74"/>
                  </a:cxn>
                  <a:cxn ang="0">
                    <a:pos x="53" y="76"/>
                  </a:cxn>
                  <a:cxn ang="0">
                    <a:pos x="51" y="73"/>
                  </a:cxn>
                  <a:cxn ang="0">
                    <a:pos x="36" y="61"/>
                  </a:cxn>
                  <a:cxn ang="0">
                    <a:pos x="37" y="69"/>
                  </a:cxn>
                  <a:cxn ang="0">
                    <a:pos x="25" y="60"/>
                  </a:cxn>
                  <a:cxn ang="0">
                    <a:pos x="19" y="62"/>
                  </a:cxn>
                  <a:cxn ang="0">
                    <a:pos x="13" y="57"/>
                  </a:cxn>
                  <a:cxn ang="0">
                    <a:pos x="15" y="53"/>
                  </a:cxn>
                  <a:cxn ang="0">
                    <a:pos x="15" y="49"/>
                  </a:cxn>
                  <a:cxn ang="0">
                    <a:pos x="13" y="49"/>
                  </a:cxn>
                  <a:cxn ang="0">
                    <a:pos x="10" y="51"/>
                  </a:cxn>
                  <a:cxn ang="0">
                    <a:pos x="1" y="44"/>
                  </a:cxn>
                  <a:cxn ang="0">
                    <a:pos x="4" y="31"/>
                  </a:cxn>
                </a:cxnLst>
                <a:rect l="0" t="0" r="r" b="b"/>
                <a:pathLst>
                  <a:path w="54" h="76">
                    <a:moveTo>
                      <a:pt x="4" y="31"/>
                    </a:moveTo>
                    <a:cubicBezTo>
                      <a:pt x="6" y="28"/>
                      <a:pt x="6" y="23"/>
                      <a:pt x="6" y="20"/>
                    </a:cubicBezTo>
                    <a:cubicBezTo>
                      <a:pt x="7" y="15"/>
                      <a:pt x="5" y="12"/>
                      <a:pt x="5" y="7"/>
                    </a:cubicBezTo>
                    <a:cubicBezTo>
                      <a:pt x="5" y="3"/>
                      <a:pt x="6" y="0"/>
                      <a:pt x="9" y="0"/>
                    </a:cubicBezTo>
                    <a:cubicBezTo>
                      <a:pt x="13" y="0"/>
                      <a:pt x="12" y="7"/>
                      <a:pt x="16" y="7"/>
                    </a:cubicBezTo>
                    <a:cubicBezTo>
                      <a:pt x="18" y="7"/>
                      <a:pt x="20" y="4"/>
                      <a:pt x="21" y="3"/>
                    </a:cubicBezTo>
                    <a:cubicBezTo>
                      <a:pt x="21" y="3"/>
                      <a:pt x="22" y="4"/>
                      <a:pt x="22" y="5"/>
                    </a:cubicBezTo>
                    <a:cubicBezTo>
                      <a:pt x="22" y="6"/>
                      <a:pt x="23" y="7"/>
                      <a:pt x="23" y="8"/>
                    </a:cubicBezTo>
                    <a:cubicBezTo>
                      <a:pt x="23" y="13"/>
                      <a:pt x="28" y="18"/>
                      <a:pt x="28" y="25"/>
                    </a:cubicBezTo>
                    <a:cubicBezTo>
                      <a:pt x="28" y="33"/>
                      <a:pt x="20" y="34"/>
                      <a:pt x="20" y="42"/>
                    </a:cubicBezTo>
                    <a:cubicBezTo>
                      <a:pt x="20" y="48"/>
                      <a:pt x="26" y="57"/>
                      <a:pt x="30" y="59"/>
                    </a:cubicBezTo>
                    <a:cubicBezTo>
                      <a:pt x="30" y="59"/>
                      <a:pt x="30" y="58"/>
                      <a:pt x="30" y="58"/>
                    </a:cubicBezTo>
                    <a:cubicBezTo>
                      <a:pt x="30" y="56"/>
                      <a:pt x="32" y="54"/>
                      <a:pt x="34" y="55"/>
                    </a:cubicBezTo>
                    <a:cubicBezTo>
                      <a:pt x="39" y="55"/>
                      <a:pt x="40" y="63"/>
                      <a:pt x="43" y="64"/>
                    </a:cubicBezTo>
                    <a:cubicBezTo>
                      <a:pt x="44" y="64"/>
                      <a:pt x="45" y="61"/>
                      <a:pt x="46" y="61"/>
                    </a:cubicBezTo>
                    <a:cubicBezTo>
                      <a:pt x="47" y="61"/>
                      <a:pt x="48" y="62"/>
                      <a:pt x="49" y="62"/>
                    </a:cubicBezTo>
                    <a:cubicBezTo>
                      <a:pt x="48" y="64"/>
                      <a:pt x="46" y="64"/>
                      <a:pt x="46" y="66"/>
                    </a:cubicBezTo>
                    <a:cubicBezTo>
                      <a:pt x="46" y="67"/>
                      <a:pt x="48" y="67"/>
                      <a:pt x="49" y="66"/>
                    </a:cubicBezTo>
                    <a:cubicBezTo>
                      <a:pt x="49" y="69"/>
                      <a:pt x="51" y="71"/>
                      <a:pt x="54" y="71"/>
                    </a:cubicBezTo>
                    <a:cubicBezTo>
                      <a:pt x="54" y="72"/>
                      <a:pt x="54" y="73"/>
                      <a:pt x="54" y="74"/>
                    </a:cubicBezTo>
                    <a:cubicBezTo>
                      <a:pt x="54" y="75"/>
                      <a:pt x="53" y="76"/>
                      <a:pt x="53" y="76"/>
                    </a:cubicBezTo>
                    <a:cubicBezTo>
                      <a:pt x="51" y="76"/>
                      <a:pt x="51" y="74"/>
                      <a:pt x="51" y="73"/>
                    </a:cubicBezTo>
                    <a:cubicBezTo>
                      <a:pt x="48" y="69"/>
                      <a:pt x="39" y="65"/>
                      <a:pt x="36" y="61"/>
                    </a:cubicBezTo>
                    <a:cubicBezTo>
                      <a:pt x="34" y="64"/>
                      <a:pt x="35" y="66"/>
                      <a:pt x="37" y="69"/>
                    </a:cubicBezTo>
                    <a:cubicBezTo>
                      <a:pt x="31" y="69"/>
                      <a:pt x="31" y="60"/>
                      <a:pt x="25" y="60"/>
                    </a:cubicBezTo>
                    <a:cubicBezTo>
                      <a:pt x="23" y="60"/>
                      <a:pt x="21" y="62"/>
                      <a:pt x="19" y="62"/>
                    </a:cubicBezTo>
                    <a:cubicBezTo>
                      <a:pt x="16" y="62"/>
                      <a:pt x="13" y="59"/>
                      <a:pt x="13" y="57"/>
                    </a:cubicBezTo>
                    <a:cubicBezTo>
                      <a:pt x="13" y="55"/>
                      <a:pt x="14" y="53"/>
                      <a:pt x="15" y="53"/>
                    </a:cubicBezTo>
                    <a:cubicBezTo>
                      <a:pt x="15" y="49"/>
                      <a:pt x="15" y="49"/>
                      <a:pt x="15" y="49"/>
                    </a:cubicBezTo>
                    <a:cubicBezTo>
                      <a:pt x="13" y="49"/>
                      <a:pt x="13" y="49"/>
                      <a:pt x="13" y="49"/>
                    </a:cubicBezTo>
                    <a:cubicBezTo>
                      <a:pt x="12" y="50"/>
                      <a:pt x="11" y="51"/>
                      <a:pt x="10" y="51"/>
                    </a:cubicBezTo>
                    <a:cubicBezTo>
                      <a:pt x="8" y="51"/>
                      <a:pt x="1" y="47"/>
                      <a:pt x="1" y="44"/>
                    </a:cubicBezTo>
                    <a:cubicBezTo>
                      <a:pt x="1" y="38"/>
                      <a:pt x="0" y="30"/>
                      <a:pt x="4"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6" name="Freeform 122"/>
              <p:cNvSpPr>
                <a:spLocks/>
              </p:cNvSpPr>
              <p:nvPr/>
            </p:nvSpPr>
            <p:spPr bwMode="auto">
              <a:xfrm>
                <a:off x="6457950" y="2665413"/>
                <a:ext cx="23813" cy="41275"/>
              </a:xfrm>
              <a:custGeom>
                <a:avLst/>
                <a:gdLst/>
                <a:ahLst/>
                <a:cxnLst>
                  <a:cxn ang="0">
                    <a:pos x="16" y="20"/>
                  </a:cxn>
                  <a:cxn ang="0">
                    <a:pos x="10" y="20"/>
                  </a:cxn>
                  <a:cxn ang="0">
                    <a:pos x="14" y="28"/>
                  </a:cxn>
                  <a:cxn ang="0">
                    <a:pos x="14" y="30"/>
                  </a:cxn>
                  <a:cxn ang="0">
                    <a:pos x="10" y="30"/>
                  </a:cxn>
                  <a:cxn ang="0">
                    <a:pos x="8" y="25"/>
                  </a:cxn>
                  <a:cxn ang="0">
                    <a:pos x="8" y="23"/>
                  </a:cxn>
                  <a:cxn ang="0">
                    <a:pos x="2" y="17"/>
                  </a:cxn>
                  <a:cxn ang="0">
                    <a:pos x="2" y="15"/>
                  </a:cxn>
                  <a:cxn ang="0">
                    <a:pos x="8" y="15"/>
                  </a:cxn>
                  <a:cxn ang="0">
                    <a:pos x="10" y="13"/>
                  </a:cxn>
                  <a:cxn ang="0">
                    <a:pos x="0" y="2"/>
                  </a:cxn>
                  <a:cxn ang="0">
                    <a:pos x="4" y="0"/>
                  </a:cxn>
                  <a:cxn ang="0">
                    <a:pos x="13" y="2"/>
                  </a:cxn>
                  <a:cxn ang="0">
                    <a:pos x="13" y="6"/>
                  </a:cxn>
                  <a:cxn ang="0">
                    <a:pos x="15" y="6"/>
                  </a:cxn>
                  <a:cxn ang="0">
                    <a:pos x="15" y="12"/>
                  </a:cxn>
                  <a:cxn ang="0">
                    <a:pos x="18" y="15"/>
                  </a:cxn>
                  <a:cxn ang="0">
                    <a:pos x="16" y="20"/>
                  </a:cxn>
                </a:cxnLst>
                <a:rect l="0" t="0" r="r" b="b"/>
                <a:pathLst>
                  <a:path w="18" h="30">
                    <a:moveTo>
                      <a:pt x="16" y="20"/>
                    </a:moveTo>
                    <a:cubicBezTo>
                      <a:pt x="10" y="20"/>
                      <a:pt x="10" y="20"/>
                      <a:pt x="10" y="20"/>
                    </a:cubicBezTo>
                    <a:cubicBezTo>
                      <a:pt x="11" y="23"/>
                      <a:pt x="12" y="27"/>
                      <a:pt x="14" y="28"/>
                    </a:cubicBezTo>
                    <a:cubicBezTo>
                      <a:pt x="14" y="30"/>
                      <a:pt x="14" y="30"/>
                      <a:pt x="14" y="30"/>
                    </a:cubicBezTo>
                    <a:cubicBezTo>
                      <a:pt x="13" y="30"/>
                      <a:pt x="11" y="30"/>
                      <a:pt x="10" y="30"/>
                    </a:cubicBezTo>
                    <a:cubicBezTo>
                      <a:pt x="7" y="30"/>
                      <a:pt x="7" y="27"/>
                      <a:pt x="8" y="25"/>
                    </a:cubicBezTo>
                    <a:cubicBezTo>
                      <a:pt x="8" y="23"/>
                      <a:pt x="8" y="23"/>
                      <a:pt x="8" y="23"/>
                    </a:cubicBezTo>
                    <a:cubicBezTo>
                      <a:pt x="5" y="23"/>
                      <a:pt x="3" y="19"/>
                      <a:pt x="2" y="17"/>
                    </a:cubicBezTo>
                    <a:cubicBezTo>
                      <a:pt x="2" y="15"/>
                      <a:pt x="2" y="15"/>
                      <a:pt x="2" y="15"/>
                    </a:cubicBezTo>
                    <a:cubicBezTo>
                      <a:pt x="4" y="15"/>
                      <a:pt x="7" y="15"/>
                      <a:pt x="8" y="15"/>
                    </a:cubicBezTo>
                    <a:cubicBezTo>
                      <a:pt x="8" y="15"/>
                      <a:pt x="10" y="14"/>
                      <a:pt x="10" y="13"/>
                    </a:cubicBezTo>
                    <a:cubicBezTo>
                      <a:pt x="10" y="8"/>
                      <a:pt x="1" y="5"/>
                      <a:pt x="0" y="2"/>
                    </a:cubicBezTo>
                    <a:cubicBezTo>
                      <a:pt x="1" y="1"/>
                      <a:pt x="3" y="0"/>
                      <a:pt x="4" y="0"/>
                    </a:cubicBezTo>
                    <a:cubicBezTo>
                      <a:pt x="7" y="0"/>
                      <a:pt x="9" y="2"/>
                      <a:pt x="13" y="2"/>
                    </a:cubicBezTo>
                    <a:cubicBezTo>
                      <a:pt x="13" y="3"/>
                      <a:pt x="13" y="5"/>
                      <a:pt x="13" y="6"/>
                    </a:cubicBezTo>
                    <a:cubicBezTo>
                      <a:pt x="13" y="6"/>
                      <a:pt x="14" y="6"/>
                      <a:pt x="15" y="6"/>
                    </a:cubicBezTo>
                    <a:cubicBezTo>
                      <a:pt x="15" y="8"/>
                      <a:pt x="15" y="12"/>
                      <a:pt x="15" y="12"/>
                    </a:cubicBezTo>
                    <a:cubicBezTo>
                      <a:pt x="15" y="12"/>
                      <a:pt x="18" y="15"/>
                      <a:pt x="18" y="15"/>
                    </a:cubicBezTo>
                    <a:cubicBezTo>
                      <a:pt x="18" y="18"/>
                      <a:pt x="17" y="19"/>
                      <a:pt x="16"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7" name="Freeform 123"/>
              <p:cNvSpPr>
                <a:spLocks/>
              </p:cNvSpPr>
              <p:nvPr/>
            </p:nvSpPr>
            <p:spPr bwMode="auto">
              <a:xfrm>
                <a:off x="6423025" y="2676525"/>
                <a:ext cx="19050" cy="25400"/>
              </a:xfrm>
              <a:custGeom>
                <a:avLst/>
                <a:gdLst/>
                <a:ahLst/>
                <a:cxnLst>
                  <a:cxn ang="0">
                    <a:pos x="3" y="1"/>
                  </a:cxn>
                  <a:cxn ang="0">
                    <a:pos x="14" y="7"/>
                  </a:cxn>
                  <a:cxn ang="0">
                    <a:pos x="1" y="19"/>
                  </a:cxn>
                  <a:cxn ang="0">
                    <a:pos x="0" y="2"/>
                  </a:cxn>
                  <a:cxn ang="0">
                    <a:pos x="2" y="0"/>
                  </a:cxn>
                  <a:cxn ang="0">
                    <a:pos x="5" y="2"/>
                  </a:cxn>
                  <a:cxn ang="0">
                    <a:pos x="3" y="1"/>
                  </a:cxn>
                </a:cxnLst>
                <a:rect l="0" t="0" r="r" b="b"/>
                <a:pathLst>
                  <a:path w="14" h="19">
                    <a:moveTo>
                      <a:pt x="3" y="1"/>
                    </a:moveTo>
                    <a:cubicBezTo>
                      <a:pt x="4" y="3"/>
                      <a:pt x="14" y="4"/>
                      <a:pt x="14" y="7"/>
                    </a:cubicBezTo>
                    <a:cubicBezTo>
                      <a:pt x="14" y="14"/>
                      <a:pt x="5" y="17"/>
                      <a:pt x="1" y="19"/>
                    </a:cubicBezTo>
                    <a:cubicBezTo>
                      <a:pt x="1" y="13"/>
                      <a:pt x="0" y="6"/>
                      <a:pt x="0" y="2"/>
                    </a:cubicBezTo>
                    <a:cubicBezTo>
                      <a:pt x="0" y="1"/>
                      <a:pt x="2" y="0"/>
                      <a:pt x="2" y="0"/>
                    </a:cubicBezTo>
                    <a:cubicBezTo>
                      <a:pt x="3" y="0"/>
                      <a:pt x="4" y="2"/>
                      <a:pt x="5" y="2"/>
                    </a:cubicBez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8" name="Freeform 124"/>
              <p:cNvSpPr>
                <a:spLocks/>
              </p:cNvSpPr>
              <p:nvPr/>
            </p:nvSpPr>
            <p:spPr bwMode="auto">
              <a:xfrm>
                <a:off x="6432550" y="2692400"/>
                <a:ext cx="19050" cy="31750"/>
              </a:xfrm>
              <a:custGeom>
                <a:avLst/>
                <a:gdLst/>
                <a:ahLst/>
                <a:cxnLst>
                  <a:cxn ang="0">
                    <a:pos x="14" y="5"/>
                  </a:cxn>
                  <a:cxn ang="0">
                    <a:pos x="9" y="17"/>
                  </a:cxn>
                  <a:cxn ang="0">
                    <a:pos x="11" y="22"/>
                  </a:cxn>
                  <a:cxn ang="0">
                    <a:pos x="9" y="24"/>
                  </a:cxn>
                  <a:cxn ang="0">
                    <a:pos x="0" y="14"/>
                  </a:cxn>
                  <a:cxn ang="0">
                    <a:pos x="4" y="12"/>
                  </a:cxn>
                  <a:cxn ang="0">
                    <a:pos x="8" y="1"/>
                  </a:cxn>
                  <a:cxn ang="0">
                    <a:pos x="14" y="5"/>
                  </a:cxn>
                </a:cxnLst>
                <a:rect l="0" t="0" r="r" b="b"/>
                <a:pathLst>
                  <a:path w="14" h="24">
                    <a:moveTo>
                      <a:pt x="14" y="5"/>
                    </a:moveTo>
                    <a:cubicBezTo>
                      <a:pt x="14" y="10"/>
                      <a:pt x="10" y="13"/>
                      <a:pt x="9" y="17"/>
                    </a:cubicBezTo>
                    <a:cubicBezTo>
                      <a:pt x="9" y="21"/>
                      <a:pt x="11" y="20"/>
                      <a:pt x="11" y="22"/>
                    </a:cubicBezTo>
                    <a:cubicBezTo>
                      <a:pt x="11" y="23"/>
                      <a:pt x="10" y="24"/>
                      <a:pt x="9" y="24"/>
                    </a:cubicBezTo>
                    <a:cubicBezTo>
                      <a:pt x="7" y="24"/>
                      <a:pt x="0" y="17"/>
                      <a:pt x="0" y="14"/>
                    </a:cubicBezTo>
                    <a:cubicBezTo>
                      <a:pt x="0" y="13"/>
                      <a:pt x="3" y="12"/>
                      <a:pt x="4" y="12"/>
                    </a:cubicBezTo>
                    <a:cubicBezTo>
                      <a:pt x="4" y="11"/>
                      <a:pt x="6" y="1"/>
                      <a:pt x="8" y="1"/>
                    </a:cubicBezTo>
                    <a:cubicBezTo>
                      <a:pt x="12" y="0"/>
                      <a:pt x="14" y="3"/>
                      <a:pt x="14"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39" name="Freeform 125"/>
              <p:cNvSpPr>
                <a:spLocks/>
              </p:cNvSpPr>
              <p:nvPr/>
            </p:nvSpPr>
            <p:spPr bwMode="auto">
              <a:xfrm>
                <a:off x="6450013" y="2693988"/>
                <a:ext cx="7938" cy="20638"/>
              </a:xfrm>
              <a:custGeom>
                <a:avLst/>
                <a:gdLst/>
                <a:ahLst/>
                <a:cxnLst>
                  <a:cxn ang="0">
                    <a:pos x="7" y="0"/>
                  </a:cxn>
                  <a:cxn ang="0">
                    <a:pos x="2" y="15"/>
                  </a:cxn>
                  <a:cxn ang="0">
                    <a:pos x="0" y="15"/>
                  </a:cxn>
                  <a:cxn ang="0">
                    <a:pos x="4" y="0"/>
                  </a:cxn>
                  <a:cxn ang="0">
                    <a:pos x="7" y="0"/>
                  </a:cxn>
                </a:cxnLst>
                <a:rect l="0" t="0" r="r" b="b"/>
                <a:pathLst>
                  <a:path w="7" h="15">
                    <a:moveTo>
                      <a:pt x="7" y="0"/>
                    </a:moveTo>
                    <a:cubicBezTo>
                      <a:pt x="7" y="7"/>
                      <a:pt x="2" y="9"/>
                      <a:pt x="2" y="15"/>
                    </a:cubicBezTo>
                    <a:cubicBezTo>
                      <a:pt x="2" y="15"/>
                      <a:pt x="0" y="15"/>
                      <a:pt x="0" y="15"/>
                    </a:cubicBezTo>
                    <a:cubicBezTo>
                      <a:pt x="1" y="10"/>
                      <a:pt x="4" y="7"/>
                      <a:pt x="4" y="0"/>
                    </a:cubicBezTo>
                    <a:cubicBezTo>
                      <a:pt x="5" y="0"/>
                      <a:pt x="6" y="0"/>
                      <a:pt x="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0" name="Freeform 126"/>
              <p:cNvSpPr>
                <a:spLocks/>
              </p:cNvSpPr>
              <p:nvPr/>
            </p:nvSpPr>
            <p:spPr bwMode="auto">
              <a:xfrm>
                <a:off x="6454775" y="2706688"/>
                <a:ext cx="11113" cy="11113"/>
              </a:xfrm>
              <a:custGeom>
                <a:avLst/>
                <a:gdLst/>
                <a:ahLst/>
                <a:cxnLst>
                  <a:cxn ang="0">
                    <a:pos x="8" y="0"/>
                  </a:cxn>
                  <a:cxn ang="0">
                    <a:pos x="2" y="8"/>
                  </a:cxn>
                  <a:cxn ang="0">
                    <a:pos x="0" y="6"/>
                  </a:cxn>
                  <a:cxn ang="0">
                    <a:pos x="3" y="0"/>
                  </a:cxn>
                  <a:cxn ang="0">
                    <a:pos x="8" y="0"/>
                  </a:cxn>
                </a:cxnLst>
                <a:rect l="0" t="0" r="r" b="b"/>
                <a:pathLst>
                  <a:path w="8" h="8">
                    <a:moveTo>
                      <a:pt x="8" y="0"/>
                    </a:moveTo>
                    <a:cubicBezTo>
                      <a:pt x="8" y="4"/>
                      <a:pt x="6" y="8"/>
                      <a:pt x="2" y="8"/>
                    </a:cubicBezTo>
                    <a:cubicBezTo>
                      <a:pt x="1" y="8"/>
                      <a:pt x="0" y="6"/>
                      <a:pt x="0" y="6"/>
                    </a:cubicBezTo>
                    <a:cubicBezTo>
                      <a:pt x="0" y="3"/>
                      <a:pt x="2" y="2"/>
                      <a:pt x="3" y="0"/>
                    </a:cubicBezTo>
                    <a:cubicBezTo>
                      <a:pt x="5" y="1"/>
                      <a:pt x="7" y="1"/>
                      <a:pt x="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1" name="Freeform 127"/>
              <p:cNvSpPr>
                <a:spLocks/>
              </p:cNvSpPr>
              <p:nvPr/>
            </p:nvSpPr>
            <p:spPr bwMode="auto">
              <a:xfrm>
                <a:off x="6442075" y="2665413"/>
                <a:ext cx="12700" cy="17463"/>
              </a:xfrm>
              <a:custGeom>
                <a:avLst/>
                <a:gdLst/>
                <a:ahLst/>
                <a:cxnLst>
                  <a:cxn ang="0">
                    <a:pos x="0" y="6"/>
                  </a:cxn>
                  <a:cxn ang="0">
                    <a:pos x="0" y="0"/>
                  </a:cxn>
                  <a:cxn ang="0">
                    <a:pos x="4" y="0"/>
                  </a:cxn>
                  <a:cxn ang="0">
                    <a:pos x="10" y="10"/>
                  </a:cxn>
                  <a:cxn ang="0">
                    <a:pos x="6" y="6"/>
                  </a:cxn>
                  <a:cxn ang="0">
                    <a:pos x="0" y="6"/>
                  </a:cxn>
                </a:cxnLst>
                <a:rect l="0" t="0" r="r" b="b"/>
                <a:pathLst>
                  <a:path w="10" h="12">
                    <a:moveTo>
                      <a:pt x="0" y="6"/>
                    </a:moveTo>
                    <a:cubicBezTo>
                      <a:pt x="0" y="3"/>
                      <a:pt x="0" y="2"/>
                      <a:pt x="0" y="0"/>
                    </a:cubicBezTo>
                    <a:cubicBezTo>
                      <a:pt x="4" y="0"/>
                      <a:pt x="4" y="0"/>
                      <a:pt x="4" y="0"/>
                    </a:cubicBezTo>
                    <a:cubicBezTo>
                      <a:pt x="5" y="4"/>
                      <a:pt x="10" y="5"/>
                      <a:pt x="10" y="10"/>
                    </a:cubicBezTo>
                    <a:cubicBezTo>
                      <a:pt x="10" y="12"/>
                      <a:pt x="6" y="8"/>
                      <a:pt x="6" y="6"/>
                    </a:cubicBezTo>
                    <a:cubicBezTo>
                      <a:pt x="4" y="5"/>
                      <a:pt x="2" y="6"/>
                      <a:pt x="0"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2" name="Freeform 128"/>
              <p:cNvSpPr>
                <a:spLocks/>
              </p:cNvSpPr>
              <p:nvPr/>
            </p:nvSpPr>
            <p:spPr bwMode="auto">
              <a:xfrm>
                <a:off x="6397625" y="2649538"/>
                <a:ext cx="19050" cy="20638"/>
              </a:xfrm>
              <a:custGeom>
                <a:avLst/>
                <a:gdLst/>
                <a:ahLst/>
                <a:cxnLst>
                  <a:cxn ang="0">
                    <a:pos x="11" y="15"/>
                  </a:cxn>
                  <a:cxn ang="0">
                    <a:pos x="0" y="0"/>
                  </a:cxn>
                  <a:cxn ang="0">
                    <a:pos x="4" y="0"/>
                  </a:cxn>
                  <a:cxn ang="0">
                    <a:pos x="14" y="7"/>
                  </a:cxn>
                  <a:cxn ang="0">
                    <a:pos x="11" y="15"/>
                  </a:cxn>
                </a:cxnLst>
                <a:rect l="0" t="0" r="r" b="b"/>
                <a:pathLst>
                  <a:path w="15" h="15">
                    <a:moveTo>
                      <a:pt x="11" y="15"/>
                    </a:moveTo>
                    <a:cubicBezTo>
                      <a:pt x="9" y="15"/>
                      <a:pt x="0" y="0"/>
                      <a:pt x="0" y="0"/>
                    </a:cubicBezTo>
                    <a:cubicBezTo>
                      <a:pt x="4" y="0"/>
                      <a:pt x="4" y="0"/>
                      <a:pt x="4" y="0"/>
                    </a:cubicBezTo>
                    <a:cubicBezTo>
                      <a:pt x="8" y="3"/>
                      <a:pt x="13" y="2"/>
                      <a:pt x="14" y="7"/>
                    </a:cubicBezTo>
                    <a:cubicBezTo>
                      <a:pt x="15" y="10"/>
                      <a:pt x="13" y="15"/>
                      <a:pt x="11"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3" name="Freeform 129"/>
              <p:cNvSpPr>
                <a:spLocks/>
              </p:cNvSpPr>
              <p:nvPr/>
            </p:nvSpPr>
            <p:spPr bwMode="auto">
              <a:xfrm>
                <a:off x="6416675" y="2652713"/>
                <a:ext cx="6350" cy="1588"/>
              </a:xfrm>
              <a:custGeom>
                <a:avLst/>
                <a:gdLst/>
                <a:ahLst/>
                <a:cxnLst>
                  <a:cxn ang="0">
                    <a:pos x="0" y="0"/>
                  </a:cxn>
                  <a:cxn ang="0">
                    <a:pos x="4" y="1"/>
                  </a:cxn>
                  <a:cxn ang="0">
                    <a:pos x="0" y="0"/>
                  </a:cxn>
                </a:cxnLst>
                <a:rect l="0" t="0" r="r" b="b"/>
                <a:pathLst>
                  <a:path w="4" h="1">
                    <a:moveTo>
                      <a:pt x="0" y="0"/>
                    </a:moveTo>
                    <a:cubicBezTo>
                      <a:pt x="1" y="1"/>
                      <a:pt x="3" y="1"/>
                      <a:pt x="4" y="1"/>
                    </a:cubicBezTo>
                    <a:cubicBezTo>
                      <a:pt x="3" y="0"/>
                      <a:pt x="1"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4" name="Freeform 130"/>
              <p:cNvSpPr>
                <a:spLocks/>
              </p:cNvSpPr>
              <p:nvPr/>
            </p:nvSpPr>
            <p:spPr bwMode="auto">
              <a:xfrm>
                <a:off x="6388100" y="2441575"/>
                <a:ext cx="36513" cy="50800"/>
              </a:xfrm>
              <a:custGeom>
                <a:avLst/>
                <a:gdLst/>
                <a:ahLst/>
                <a:cxnLst>
                  <a:cxn ang="0">
                    <a:pos x="8" y="39"/>
                  </a:cxn>
                  <a:cxn ang="0">
                    <a:pos x="1" y="26"/>
                  </a:cxn>
                  <a:cxn ang="0">
                    <a:pos x="16" y="0"/>
                  </a:cxn>
                  <a:cxn ang="0">
                    <a:pos x="8" y="39"/>
                  </a:cxn>
                </a:cxnLst>
                <a:rect l="0" t="0" r="r" b="b"/>
                <a:pathLst>
                  <a:path w="27" h="39">
                    <a:moveTo>
                      <a:pt x="8" y="39"/>
                    </a:moveTo>
                    <a:cubicBezTo>
                      <a:pt x="0" y="39"/>
                      <a:pt x="1" y="33"/>
                      <a:pt x="1" y="26"/>
                    </a:cubicBezTo>
                    <a:cubicBezTo>
                      <a:pt x="1" y="17"/>
                      <a:pt x="10" y="0"/>
                      <a:pt x="16" y="0"/>
                    </a:cubicBezTo>
                    <a:cubicBezTo>
                      <a:pt x="27" y="0"/>
                      <a:pt x="18" y="39"/>
                      <a:pt x="8"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5" name="Freeform 131"/>
              <p:cNvSpPr>
                <a:spLocks/>
              </p:cNvSpPr>
              <p:nvPr/>
            </p:nvSpPr>
            <p:spPr bwMode="auto">
              <a:xfrm>
                <a:off x="6194425" y="2532063"/>
                <a:ext cx="41275" cy="34925"/>
              </a:xfrm>
              <a:custGeom>
                <a:avLst/>
                <a:gdLst/>
                <a:ahLst/>
                <a:cxnLst>
                  <a:cxn ang="0">
                    <a:pos x="2" y="11"/>
                  </a:cxn>
                  <a:cxn ang="0">
                    <a:pos x="26" y="0"/>
                  </a:cxn>
                  <a:cxn ang="0">
                    <a:pos x="31" y="7"/>
                  </a:cxn>
                  <a:cxn ang="0">
                    <a:pos x="11" y="27"/>
                  </a:cxn>
                  <a:cxn ang="0">
                    <a:pos x="2" y="18"/>
                  </a:cxn>
                  <a:cxn ang="0">
                    <a:pos x="2" y="11"/>
                  </a:cxn>
                </a:cxnLst>
                <a:rect l="0" t="0" r="r" b="b"/>
                <a:pathLst>
                  <a:path w="31" h="27">
                    <a:moveTo>
                      <a:pt x="2" y="11"/>
                    </a:moveTo>
                    <a:cubicBezTo>
                      <a:pt x="5" y="11"/>
                      <a:pt x="20" y="0"/>
                      <a:pt x="26" y="0"/>
                    </a:cubicBezTo>
                    <a:cubicBezTo>
                      <a:pt x="28" y="0"/>
                      <a:pt x="31" y="4"/>
                      <a:pt x="31" y="7"/>
                    </a:cubicBezTo>
                    <a:cubicBezTo>
                      <a:pt x="31" y="13"/>
                      <a:pt x="18" y="27"/>
                      <a:pt x="11" y="27"/>
                    </a:cubicBezTo>
                    <a:cubicBezTo>
                      <a:pt x="5" y="27"/>
                      <a:pt x="2" y="24"/>
                      <a:pt x="2" y="18"/>
                    </a:cubicBezTo>
                    <a:cubicBezTo>
                      <a:pt x="2" y="15"/>
                      <a:pt x="0" y="11"/>
                      <a:pt x="2"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6" name="Freeform 132"/>
              <p:cNvSpPr>
                <a:spLocks/>
              </p:cNvSpPr>
              <p:nvPr/>
            </p:nvSpPr>
            <p:spPr bwMode="auto">
              <a:xfrm>
                <a:off x="6015038" y="2476500"/>
                <a:ext cx="195263" cy="374650"/>
              </a:xfrm>
              <a:custGeom>
                <a:avLst/>
                <a:gdLst/>
                <a:ahLst/>
                <a:cxnLst>
                  <a:cxn ang="0">
                    <a:pos x="12" y="172"/>
                  </a:cxn>
                  <a:cxn ang="0">
                    <a:pos x="21" y="152"/>
                  </a:cxn>
                  <a:cxn ang="0">
                    <a:pos x="25" y="147"/>
                  </a:cxn>
                  <a:cxn ang="0">
                    <a:pos x="15" y="119"/>
                  </a:cxn>
                  <a:cxn ang="0">
                    <a:pos x="8" y="109"/>
                  </a:cxn>
                  <a:cxn ang="0">
                    <a:pos x="8" y="105"/>
                  </a:cxn>
                  <a:cxn ang="0">
                    <a:pos x="8" y="106"/>
                  </a:cxn>
                  <a:cxn ang="0">
                    <a:pos x="12" y="96"/>
                  </a:cxn>
                  <a:cxn ang="0">
                    <a:pos x="9" y="77"/>
                  </a:cxn>
                  <a:cxn ang="0">
                    <a:pos x="0" y="65"/>
                  </a:cxn>
                  <a:cxn ang="0">
                    <a:pos x="8" y="47"/>
                  </a:cxn>
                  <a:cxn ang="0">
                    <a:pos x="19" y="43"/>
                  </a:cxn>
                  <a:cxn ang="0">
                    <a:pos x="45" y="19"/>
                  </a:cxn>
                  <a:cxn ang="0">
                    <a:pos x="47" y="19"/>
                  </a:cxn>
                  <a:cxn ang="0">
                    <a:pos x="50" y="24"/>
                  </a:cxn>
                  <a:cxn ang="0">
                    <a:pos x="52" y="20"/>
                  </a:cxn>
                  <a:cxn ang="0">
                    <a:pos x="52" y="9"/>
                  </a:cxn>
                  <a:cxn ang="0">
                    <a:pos x="64" y="6"/>
                  </a:cxn>
                  <a:cxn ang="0">
                    <a:pos x="78" y="6"/>
                  </a:cxn>
                  <a:cxn ang="0">
                    <a:pos x="96" y="0"/>
                  </a:cxn>
                  <a:cxn ang="0">
                    <a:pos x="115" y="5"/>
                  </a:cxn>
                  <a:cxn ang="0">
                    <a:pos x="130" y="22"/>
                  </a:cxn>
                  <a:cxn ang="0">
                    <a:pos x="100" y="58"/>
                  </a:cxn>
                  <a:cxn ang="0">
                    <a:pos x="104" y="64"/>
                  </a:cxn>
                  <a:cxn ang="0">
                    <a:pos x="129" y="93"/>
                  </a:cxn>
                  <a:cxn ang="0">
                    <a:pos x="147" y="134"/>
                  </a:cxn>
                  <a:cxn ang="0">
                    <a:pos x="142" y="156"/>
                  </a:cxn>
                  <a:cxn ang="0">
                    <a:pos x="115" y="170"/>
                  </a:cxn>
                  <a:cxn ang="0">
                    <a:pos x="105" y="180"/>
                  </a:cxn>
                  <a:cxn ang="0">
                    <a:pos x="104" y="176"/>
                  </a:cxn>
                  <a:cxn ang="0">
                    <a:pos x="104" y="181"/>
                  </a:cxn>
                  <a:cxn ang="0">
                    <a:pos x="93" y="192"/>
                  </a:cxn>
                  <a:cxn ang="0">
                    <a:pos x="90" y="183"/>
                  </a:cxn>
                  <a:cxn ang="0">
                    <a:pos x="91" y="177"/>
                  </a:cxn>
                  <a:cxn ang="0">
                    <a:pos x="88" y="170"/>
                  </a:cxn>
                  <a:cxn ang="0">
                    <a:pos x="73" y="161"/>
                  </a:cxn>
                  <a:cxn ang="0">
                    <a:pos x="63" y="149"/>
                  </a:cxn>
                  <a:cxn ang="0">
                    <a:pos x="43" y="141"/>
                  </a:cxn>
                  <a:cxn ang="0">
                    <a:pos x="41" y="135"/>
                  </a:cxn>
                  <a:cxn ang="0">
                    <a:pos x="30" y="129"/>
                  </a:cxn>
                  <a:cxn ang="0">
                    <a:pos x="27" y="134"/>
                  </a:cxn>
                  <a:cxn ang="0">
                    <a:pos x="29" y="142"/>
                  </a:cxn>
                  <a:cxn ang="0">
                    <a:pos x="16" y="171"/>
                  </a:cxn>
                  <a:cxn ang="0">
                    <a:pos x="31" y="192"/>
                  </a:cxn>
                  <a:cxn ang="0">
                    <a:pos x="30" y="192"/>
                  </a:cxn>
                  <a:cxn ang="0">
                    <a:pos x="35" y="206"/>
                  </a:cxn>
                  <a:cxn ang="0">
                    <a:pos x="73" y="243"/>
                  </a:cxn>
                  <a:cxn ang="0">
                    <a:pos x="71" y="251"/>
                  </a:cxn>
                  <a:cxn ang="0">
                    <a:pos x="80" y="267"/>
                  </a:cxn>
                  <a:cxn ang="0">
                    <a:pos x="84" y="280"/>
                  </a:cxn>
                  <a:cxn ang="0">
                    <a:pos x="78" y="280"/>
                  </a:cxn>
                  <a:cxn ang="0">
                    <a:pos x="75" y="282"/>
                  </a:cxn>
                  <a:cxn ang="0">
                    <a:pos x="68" y="278"/>
                  </a:cxn>
                  <a:cxn ang="0">
                    <a:pos x="37" y="246"/>
                  </a:cxn>
                  <a:cxn ang="0">
                    <a:pos x="27" y="214"/>
                  </a:cxn>
                  <a:cxn ang="0">
                    <a:pos x="14" y="192"/>
                  </a:cxn>
                  <a:cxn ang="0">
                    <a:pos x="8" y="192"/>
                  </a:cxn>
                  <a:cxn ang="0">
                    <a:pos x="8" y="189"/>
                  </a:cxn>
                  <a:cxn ang="0">
                    <a:pos x="10" y="172"/>
                  </a:cxn>
                  <a:cxn ang="0">
                    <a:pos x="11" y="172"/>
                  </a:cxn>
                  <a:cxn ang="0">
                    <a:pos x="12" y="172"/>
                  </a:cxn>
                </a:cxnLst>
                <a:rect l="0" t="0" r="r" b="b"/>
                <a:pathLst>
                  <a:path w="147" h="282">
                    <a:moveTo>
                      <a:pt x="12" y="172"/>
                    </a:moveTo>
                    <a:cubicBezTo>
                      <a:pt x="16" y="165"/>
                      <a:pt x="17" y="160"/>
                      <a:pt x="21" y="152"/>
                    </a:cubicBezTo>
                    <a:cubicBezTo>
                      <a:pt x="22" y="150"/>
                      <a:pt x="25" y="149"/>
                      <a:pt x="25" y="147"/>
                    </a:cubicBezTo>
                    <a:cubicBezTo>
                      <a:pt x="25" y="143"/>
                      <a:pt x="19" y="123"/>
                      <a:pt x="15" y="119"/>
                    </a:cubicBezTo>
                    <a:cubicBezTo>
                      <a:pt x="12" y="116"/>
                      <a:pt x="8" y="114"/>
                      <a:pt x="8" y="109"/>
                    </a:cubicBezTo>
                    <a:cubicBezTo>
                      <a:pt x="8" y="108"/>
                      <a:pt x="8" y="107"/>
                      <a:pt x="8" y="105"/>
                    </a:cubicBezTo>
                    <a:cubicBezTo>
                      <a:pt x="8" y="106"/>
                      <a:pt x="8" y="106"/>
                      <a:pt x="8" y="106"/>
                    </a:cubicBezTo>
                    <a:cubicBezTo>
                      <a:pt x="9" y="105"/>
                      <a:pt x="12" y="100"/>
                      <a:pt x="12" y="96"/>
                    </a:cubicBezTo>
                    <a:cubicBezTo>
                      <a:pt x="12" y="91"/>
                      <a:pt x="12" y="82"/>
                      <a:pt x="9" y="77"/>
                    </a:cubicBezTo>
                    <a:cubicBezTo>
                      <a:pt x="6" y="73"/>
                      <a:pt x="0" y="73"/>
                      <a:pt x="0" y="65"/>
                    </a:cubicBezTo>
                    <a:cubicBezTo>
                      <a:pt x="0" y="57"/>
                      <a:pt x="3" y="51"/>
                      <a:pt x="8" y="47"/>
                    </a:cubicBezTo>
                    <a:cubicBezTo>
                      <a:pt x="10" y="44"/>
                      <a:pt x="15" y="45"/>
                      <a:pt x="19" y="43"/>
                    </a:cubicBezTo>
                    <a:cubicBezTo>
                      <a:pt x="29" y="36"/>
                      <a:pt x="36" y="33"/>
                      <a:pt x="45" y="19"/>
                    </a:cubicBezTo>
                    <a:cubicBezTo>
                      <a:pt x="47" y="19"/>
                      <a:pt x="47" y="19"/>
                      <a:pt x="47" y="19"/>
                    </a:cubicBezTo>
                    <a:cubicBezTo>
                      <a:pt x="47" y="23"/>
                      <a:pt x="49" y="24"/>
                      <a:pt x="50" y="24"/>
                    </a:cubicBezTo>
                    <a:cubicBezTo>
                      <a:pt x="51" y="24"/>
                      <a:pt x="52" y="22"/>
                      <a:pt x="52" y="20"/>
                    </a:cubicBezTo>
                    <a:cubicBezTo>
                      <a:pt x="52" y="16"/>
                      <a:pt x="52" y="13"/>
                      <a:pt x="52" y="9"/>
                    </a:cubicBezTo>
                    <a:cubicBezTo>
                      <a:pt x="52" y="9"/>
                      <a:pt x="62" y="6"/>
                      <a:pt x="64" y="6"/>
                    </a:cubicBezTo>
                    <a:cubicBezTo>
                      <a:pt x="78" y="6"/>
                      <a:pt x="78" y="6"/>
                      <a:pt x="78" y="6"/>
                    </a:cubicBezTo>
                    <a:cubicBezTo>
                      <a:pt x="84" y="9"/>
                      <a:pt x="89" y="0"/>
                      <a:pt x="96" y="0"/>
                    </a:cubicBezTo>
                    <a:cubicBezTo>
                      <a:pt x="103" y="0"/>
                      <a:pt x="107" y="5"/>
                      <a:pt x="115" y="5"/>
                    </a:cubicBezTo>
                    <a:cubicBezTo>
                      <a:pt x="115" y="16"/>
                      <a:pt x="123" y="20"/>
                      <a:pt x="130" y="22"/>
                    </a:cubicBezTo>
                    <a:cubicBezTo>
                      <a:pt x="121" y="36"/>
                      <a:pt x="100" y="39"/>
                      <a:pt x="100" y="58"/>
                    </a:cubicBezTo>
                    <a:cubicBezTo>
                      <a:pt x="100" y="62"/>
                      <a:pt x="102" y="63"/>
                      <a:pt x="104" y="64"/>
                    </a:cubicBezTo>
                    <a:cubicBezTo>
                      <a:pt x="114" y="74"/>
                      <a:pt x="118" y="86"/>
                      <a:pt x="129" y="93"/>
                    </a:cubicBezTo>
                    <a:cubicBezTo>
                      <a:pt x="140" y="100"/>
                      <a:pt x="147" y="119"/>
                      <a:pt x="147" y="134"/>
                    </a:cubicBezTo>
                    <a:cubicBezTo>
                      <a:pt x="147" y="144"/>
                      <a:pt x="142" y="148"/>
                      <a:pt x="142" y="156"/>
                    </a:cubicBezTo>
                    <a:cubicBezTo>
                      <a:pt x="127" y="160"/>
                      <a:pt x="126" y="164"/>
                      <a:pt x="115" y="170"/>
                    </a:cubicBezTo>
                    <a:cubicBezTo>
                      <a:pt x="109" y="173"/>
                      <a:pt x="110" y="180"/>
                      <a:pt x="105" y="180"/>
                    </a:cubicBezTo>
                    <a:cubicBezTo>
                      <a:pt x="104" y="180"/>
                      <a:pt x="104" y="177"/>
                      <a:pt x="104" y="176"/>
                    </a:cubicBezTo>
                    <a:cubicBezTo>
                      <a:pt x="104" y="179"/>
                      <a:pt x="104" y="180"/>
                      <a:pt x="104" y="181"/>
                    </a:cubicBezTo>
                    <a:cubicBezTo>
                      <a:pt x="104" y="185"/>
                      <a:pt x="95" y="192"/>
                      <a:pt x="93" y="192"/>
                    </a:cubicBezTo>
                    <a:cubicBezTo>
                      <a:pt x="91" y="192"/>
                      <a:pt x="90" y="186"/>
                      <a:pt x="90" y="183"/>
                    </a:cubicBezTo>
                    <a:cubicBezTo>
                      <a:pt x="90" y="179"/>
                      <a:pt x="90" y="178"/>
                      <a:pt x="91" y="177"/>
                    </a:cubicBezTo>
                    <a:cubicBezTo>
                      <a:pt x="90" y="176"/>
                      <a:pt x="89" y="172"/>
                      <a:pt x="88" y="170"/>
                    </a:cubicBezTo>
                    <a:cubicBezTo>
                      <a:pt x="82" y="170"/>
                      <a:pt x="73" y="168"/>
                      <a:pt x="73" y="161"/>
                    </a:cubicBezTo>
                    <a:cubicBezTo>
                      <a:pt x="63" y="161"/>
                      <a:pt x="68" y="155"/>
                      <a:pt x="63" y="149"/>
                    </a:cubicBezTo>
                    <a:cubicBezTo>
                      <a:pt x="56" y="143"/>
                      <a:pt x="50" y="143"/>
                      <a:pt x="43" y="141"/>
                    </a:cubicBezTo>
                    <a:cubicBezTo>
                      <a:pt x="42" y="141"/>
                      <a:pt x="41" y="135"/>
                      <a:pt x="41" y="135"/>
                    </a:cubicBezTo>
                    <a:cubicBezTo>
                      <a:pt x="40" y="130"/>
                      <a:pt x="34" y="129"/>
                      <a:pt x="30" y="129"/>
                    </a:cubicBezTo>
                    <a:cubicBezTo>
                      <a:pt x="26" y="129"/>
                      <a:pt x="27" y="132"/>
                      <a:pt x="27" y="134"/>
                    </a:cubicBezTo>
                    <a:cubicBezTo>
                      <a:pt x="27" y="138"/>
                      <a:pt x="29" y="139"/>
                      <a:pt x="29" y="142"/>
                    </a:cubicBezTo>
                    <a:cubicBezTo>
                      <a:pt x="29" y="156"/>
                      <a:pt x="16" y="159"/>
                      <a:pt x="16" y="171"/>
                    </a:cubicBezTo>
                    <a:cubicBezTo>
                      <a:pt x="16" y="185"/>
                      <a:pt x="31" y="179"/>
                      <a:pt x="31" y="192"/>
                    </a:cubicBezTo>
                    <a:cubicBezTo>
                      <a:pt x="30" y="192"/>
                      <a:pt x="30" y="192"/>
                      <a:pt x="30" y="192"/>
                    </a:cubicBezTo>
                    <a:cubicBezTo>
                      <a:pt x="32" y="195"/>
                      <a:pt x="32" y="203"/>
                      <a:pt x="35" y="206"/>
                    </a:cubicBezTo>
                    <a:cubicBezTo>
                      <a:pt x="47" y="218"/>
                      <a:pt x="73" y="221"/>
                      <a:pt x="73" y="243"/>
                    </a:cubicBezTo>
                    <a:cubicBezTo>
                      <a:pt x="73" y="247"/>
                      <a:pt x="71" y="247"/>
                      <a:pt x="71" y="251"/>
                    </a:cubicBezTo>
                    <a:cubicBezTo>
                      <a:pt x="71" y="259"/>
                      <a:pt x="78" y="262"/>
                      <a:pt x="80" y="267"/>
                    </a:cubicBezTo>
                    <a:cubicBezTo>
                      <a:pt x="82" y="273"/>
                      <a:pt x="82" y="275"/>
                      <a:pt x="84" y="280"/>
                    </a:cubicBezTo>
                    <a:cubicBezTo>
                      <a:pt x="80" y="280"/>
                      <a:pt x="80" y="280"/>
                      <a:pt x="78" y="280"/>
                    </a:cubicBezTo>
                    <a:cubicBezTo>
                      <a:pt x="77" y="280"/>
                      <a:pt x="76" y="282"/>
                      <a:pt x="75" y="282"/>
                    </a:cubicBezTo>
                    <a:cubicBezTo>
                      <a:pt x="71" y="282"/>
                      <a:pt x="70" y="279"/>
                      <a:pt x="68" y="278"/>
                    </a:cubicBezTo>
                    <a:cubicBezTo>
                      <a:pt x="54" y="274"/>
                      <a:pt x="41" y="261"/>
                      <a:pt x="37" y="246"/>
                    </a:cubicBezTo>
                    <a:cubicBezTo>
                      <a:pt x="33" y="233"/>
                      <a:pt x="32" y="224"/>
                      <a:pt x="27" y="214"/>
                    </a:cubicBezTo>
                    <a:cubicBezTo>
                      <a:pt x="24" y="208"/>
                      <a:pt x="21" y="192"/>
                      <a:pt x="14" y="192"/>
                    </a:cubicBezTo>
                    <a:cubicBezTo>
                      <a:pt x="9" y="192"/>
                      <a:pt x="12" y="194"/>
                      <a:pt x="8" y="192"/>
                    </a:cubicBezTo>
                    <a:cubicBezTo>
                      <a:pt x="7" y="192"/>
                      <a:pt x="8" y="190"/>
                      <a:pt x="8" y="189"/>
                    </a:cubicBezTo>
                    <a:cubicBezTo>
                      <a:pt x="8" y="183"/>
                      <a:pt x="9" y="179"/>
                      <a:pt x="10" y="172"/>
                    </a:cubicBezTo>
                    <a:cubicBezTo>
                      <a:pt x="11" y="172"/>
                      <a:pt x="11" y="172"/>
                      <a:pt x="11" y="172"/>
                    </a:cubicBezTo>
                    <a:lnTo>
                      <a:pt x="12" y="1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7" name="Freeform 133"/>
              <p:cNvSpPr>
                <a:spLocks/>
              </p:cNvSpPr>
              <p:nvPr/>
            </p:nvSpPr>
            <p:spPr bwMode="auto">
              <a:xfrm>
                <a:off x="6142038" y="2898775"/>
                <a:ext cx="26988" cy="25400"/>
              </a:xfrm>
              <a:custGeom>
                <a:avLst/>
                <a:gdLst/>
                <a:ahLst/>
                <a:cxnLst>
                  <a:cxn ang="0">
                    <a:pos x="12" y="17"/>
                  </a:cxn>
                  <a:cxn ang="0">
                    <a:pos x="9" y="11"/>
                  </a:cxn>
                  <a:cxn ang="0">
                    <a:pos x="0" y="6"/>
                  </a:cxn>
                  <a:cxn ang="0">
                    <a:pos x="9" y="0"/>
                  </a:cxn>
                  <a:cxn ang="0">
                    <a:pos x="20" y="15"/>
                  </a:cxn>
                  <a:cxn ang="0">
                    <a:pos x="21" y="19"/>
                  </a:cxn>
                  <a:cxn ang="0">
                    <a:pos x="17" y="19"/>
                  </a:cxn>
                  <a:cxn ang="0">
                    <a:pos x="12" y="17"/>
                  </a:cxn>
                </a:cxnLst>
                <a:rect l="0" t="0" r="r" b="b"/>
                <a:pathLst>
                  <a:path w="21" h="19">
                    <a:moveTo>
                      <a:pt x="12" y="17"/>
                    </a:moveTo>
                    <a:cubicBezTo>
                      <a:pt x="11" y="17"/>
                      <a:pt x="9" y="12"/>
                      <a:pt x="9" y="11"/>
                    </a:cubicBezTo>
                    <a:cubicBezTo>
                      <a:pt x="7" y="7"/>
                      <a:pt x="0" y="9"/>
                      <a:pt x="0" y="6"/>
                    </a:cubicBezTo>
                    <a:cubicBezTo>
                      <a:pt x="0" y="3"/>
                      <a:pt x="6" y="0"/>
                      <a:pt x="9" y="0"/>
                    </a:cubicBezTo>
                    <a:cubicBezTo>
                      <a:pt x="11" y="7"/>
                      <a:pt x="14" y="15"/>
                      <a:pt x="20" y="15"/>
                    </a:cubicBezTo>
                    <a:cubicBezTo>
                      <a:pt x="20" y="16"/>
                      <a:pt x="20" y="18"/>
                      <a:pt x="21" y="19"/>
                    </a:cubicBezTo>
                    <a:cubicBezTo>
                      <a:pt x="20" y="19"/>
                      <a:pt x="18" y="19"/>
                      <a:pt x="17" y="19"/>
                    </a:cubicBezTo>
                    <a:cubicBezTo>
                      <a:pt x="15" y="19"/>
                      <a:pt x="14" y="17"/>
                      <a:pt x="12"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8" name="Freeform 134"/>
              <p:cNvSpPr>
                <a:spLocks/>
              </p:cNvSpPr>
              <p:nvPr/>
            </p:nvSpPr>
            <p:spPr bwMode="auto">
              <a:xfrm>
                <a:off x="6183313" y="2917825"/>
                <a:ext cx="11113" cy="11113"/>
              </a:xfrm>
              <a:custGeom>
                <a:avLst/>
                <a:gdLst/>
                <a:ahLst/>
                <a:cxnLst>
                  <a:cxn ang="0">
                    <a:pos x="1" y="0"/>
                  </a:cxn>
                  <a:cxn ang="0">
                    <a:pos x="5" y="0"/>
                  </a:cxn>
                  <a:cxn ang="0">
                    <a:pos x="9" y="3"/>
                  </a:cxn>
                  <a:cxn ang="0">
                    <a:pos x="4" y="8"/>
                  </a:cxn>
                  <a:cxn ang="0">
                    <a:pos x="1" y="3"/>
                  </a:cxn>
                  <a:cxn ang="0">
                    <a:pos x="1" y="0"/>
                  </a:cxn>
                </a:cxnLst>
                <a:rect l="0" t="0" r="r" b="b"/>
                <a:pathLst>
                  <a:path w="9" h="8">
                    <a:moveTo>
                      <a:pt x="1" y="0"/>
                    </a:moveTo>
                    <a:cubicBezTo>
                      <a:pt x="2" y="0"/>
                      <a:pt x="4" y="0"/>
                      <a:pt x="5" y="0"/>
                    </a:cubicBezTo>
                    <a:cubicBezTo>
                      <a:pt x="6" y="0"/>
                      <a:pt x="8" y="2"/>
                      <a:pt x="9" y="3"/>
                    </a:cubicBezTo>
                    <a:cubicBezTo>
                      <a:pt x="9" y="5"/>
                      <a:pt x="7" y="8"/>
                      <a:pt x="4" y="8"/>
                    </a:cubicBezTo>
                    <a:cubicBezTo>
                      <a:pt x="1" y="8"/>
                      <a:pt x="1" y="5"/>
                      <a:pt x="1" y="3"/>
                    </a:cubicBezTo>
                    <a:cubicBezTo>
                      <a:pt x="1" y="2"/>
                      <a:pt x="0"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49" name="Freeform 135"/>
              <p:cNvSpPr>
                <a:spLocks/>
              </p:cNvSpPr>
              <p:nvPr/>
            </p:nvSpPr>
            <p:spPr bwMode="auto">
              <a:xfrm>
                <a:off x="6035675" y="2892425"/>
                <a:ext cx="9525" cy="15875"/>
              </a:xfrm>
              <a:custGeom>
                <a:avLst/>
                <a:gdLst/>
                <a:ahLst/>
                <a:cxnLst>
                  <a:cxn ang="0">
                    <a:pos x="1" y="0"/>
                  </a:cxn>
                  <a:cxn ang="0">
                    <a:pos x="8" y="12"/>
                  </a:cxn>
                  <a:cxn ang="0">
                    <a:pos x="0" y="2"/>
                  </a:cxn>
                  <a:cxn ang="0">
                    <a:pos x="0" y="0"/>
                  </a:cxn>
                  <a:cxn ang="0">
                    <a:pos x="3" y="0"/>
                  </a:cxn>
                  <a:cxn ang="0">
                    <a:pos x="3" y="2"/>
                  </a:cxn>
                  <a:cxn ang="0">
                    <a:pos x="1" y="0"/>
                  </a:cxn>
                </a:cxnLst>
                <a:rect l="0" t="0" r="r" b="b"/>
                <a:pathLst>
                  <a:path w="8" h="12">
                    <a:moveTo>
                      <a:pt x="1" y="0"/>
                    </a:moveTo>
                    <a:cubicBezTo>
                      <a:pt x="5" y="4"/>
                      <a:pt x="8" y="7"/>
                      <a:pt x="8" y="12"/>
                    </a:cubicBezTo>
                    <a:cubicBezTo>
                      <a:pt x="5" y="12"/>
                      <a:pt x="0" y="5"/>
                      <a:pt x="0" y="2"/>
                    </a:cubicBezTo>
                    <a:cubicBezTo>
                      <a:pt x="0" y="1"/>
                      <a:pt x="0" y="1"/>
                      <a:pt x="0" y="0"/>
                    </a:cubicBezTo>
                    <a:cubicBezTo>
                      <a:pt x="3" y="0"/>
                      <a:pt x="3" y="0"/>
                      <a:pt x="3" y="0"/>
                    </a:cubicBezTo>
                    <a:cubicBezTo>
                      <a:pt x="3" y="1"/>
                      <a:pt x="3" y="2"/>
                      <a:pt x="3" y="2"/>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0" name="Freeform 136"/>
              <p:cNvSpPr>
                <a:spLocks/>
              </p:cNvSpPr>
              <p:nvPr/>
            </p:nvSpPr>
            <p:spPr bwMode="auto">
              <a:xfrm>
                <a:off x="6013450" y="2855913"/>
                <a:ext cx="15875" cy="15875"/>
              </a:xfrm>
              <a:custGeom>
                <a:avLst/>
                <a:gdLst/>
                <a:ahLst/>
                <a:cxnLst>
                  <a:cxn ang="0">
                    <a:pos x="2" y="0"/>
                  </a:cxn>
                  <a:cxn ang="0">
                    <a:pos x="8" y="11"/>
                  </a:cxn>
                  <a:cxn ang="0">
                    <a:pos x="0" y="1"/>
                  </a:cxn>
                  <a:cxn ang="0">
                    <a:pos x="0" y="1"/>
                  </a:cxn>
                  <a:cxn ang="0">
                    <a:pos x="2" y="0"/>
                  </a:cxn>
                </a:cxnLst>
                <a:rect l="0" t="0" r="r" b="b"/>
                <a:pathLst>
                  <a:path w="12" h="11">
                    <a:moveTo>
                      <a:pt x="2" y="0"/>
                    </a:moveTo>
                    <a:cubicBezTo>
                      <a:pt x="5" y="2"/>
                      <a:pt x="12" y="11"/>
                      <a:pt x="8" y="11"/>
                    </a:cubicBezTo>
                    <a:cubicBezTo>
                      <a:pt x="6" y="11"/>
                      <a:pt x="1" y="4"/>
                      <a:pt x="0" y="1"/>
                    </a:cubicBezTo>
                    <a:cubicBezTo>
                      <a:pt x="0" y="1"/>
                      <a:pt x="0" y="1"/>
                      <a:pt x="0" y="1"/>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1" name="Freeform 137"/>
              <p:cNvSpPr>
                <a:spLocks/>
              </p:cNvSpPr>
              <p:nvPr/>
            </p:nvSpPr>
            <p:spPr bwMode="auto">
              <a:xfrm>
                <a:off x="6548438" y="2284413"/>
                <a:ext cx="41275" cy="49213"/>
              </a:xfrm>
              <a:custGeom>
                <a:avLst/>
                <a:gdLst/>
                <a:ahLst/>
                <a:cxnLst>
                  <a:cxn ang="0">
                    <a:pos x="12" y="22"/>
                  </a:cxn>
                  <a:cxn ang="0">
                    <a:pos x="14" y="16"/>
                  </a:cxn>
                  <a:cxn ang="0">
                    <a:pos x="10" y="10"/>
                  </a:cxn>
                  <a:cxn ang="0">
                    <a:pos x="10" y="14"/>
                  </a:cxn>
                  <a:cxn ang="0">
                    <a:pos x="5" y="16"/>
                  </a:cxn>
                  <a:cxn ang="0">
                    <a:pos x="0" y="11"/>
                  </a:cxn>
                  <a:cxn ang="0">
                    <a:pos x="14" y="0"/>
                  </a:cxn>
                  <a:cxn ang="0">
                    <a:pos x="26" y="3"/>
                  </a:cxn>
                  <a:cxn ang="0">
                    <a:pos x="26" y="8"/>
                  </a:cxn>
                  <a:cxn ang="0">
                    <a:pos x="30" y="11"/>
                  </a:cxn>
                  <a:cxn ang="0">
                    <a:pos x="30" y="16"/>
                  </a:cxn>
                  <a:cxn ang="0">
                    <a:pos x="26" y="16"/>
                  </a:cxn>
                  <a:cxn ang="0">
                    <a:pos x="15" y="37"/>
                  </a:cxn>
                  <a:cxn ang="0">
                    <a:pos x="14" y="33"/>
                  </a:cxn>
                  <a:cxn ang="0">
                    <a:pos x="14" y="36"/>
                  </a:cxn>
                  <a:cxn ang="0">
                    <a:pos x="7" y="29"/>
                  </a:cxn>
                  <a:cxn ang="0">
                    <a:pos x="12" y="22"/>
                  </a:cxn>
                </a:cxnLst>
                <a:rect l="0" t="0" r="r" b="b"/>
                <a:pathLst>
                  <a:path w="30" h="37">
                    <a:moveTo>
                      <a:pt x="12" y="22"/>
                    </a:moveTo>
                    <a:cubicBezTo>
                      <a:pt x="14" y="16"/>
                      <a:pt x="14" y="16"/>
                      <a:pt x="14" y="16"/>
                    </a:cubicBezTo>
                    <a:cubicBezTo>
                      <a:pt x="11" y="15"/>
                      <a:pt x="11" y="12"/>
                      <a:pt x="10" y="10"/>
                    </a:cubicBezTo>
                    <a:cubicBezTo>
                      <a:pt x="10" y="11"/>
                      <a:pt x="9" y="13"/>
                      <a:pt x="10" y="14"/>
                    </a:cubicBezTo>
                    <a:cubicBezTo>
                      <a:pt x="8" y="14"/>
                      <a:pt x="6" y="16"/>
                      <a:pt x="5" y="16"/>
                    </a:cubicBezTo>
                    <a:cubicBezTo>
                      <a:pt x="3" y="16"/>
                      <a:pt x="0" y="13"/>
                      <a:pt x="0" y="11"/>
                    </a:cubicBezTo>
                    <a:cubicBezTo>
                      <a:pt x="0" y="8"/>
                      <a:pt x="13" y="0"/>
                      <a:pt x="14" y="0"/>
                    </a:cubicBezTo>
                    <a:cubicBezTo>
                      <a:pt x="18" y="0"/>
                      <a:pt x="20" y="3"/>
                      <a:pt x="26" y="3"/>
                    </a:cubicBezTo>
                    <a:cubicBezTo>
                      <a:pt x="26" y="5"/>
                      <a:pt x="25" y="8"/>
                      <a:pt x="26" y="8"/>
                    </a:cubicBezTo>
                    <a:cubicBezTo>
                      <a:pt x="30" y="11"/>
                      <a:pt x="30" y="11"/>
                      <a:pt x="30" y="11"/>
                    </a:cubicBezTo>
                    <a:cubicBezTo>
                      <a:pt x="30" y="13"/>
                      <a:pt x="29" y="14"/>
                      <a:pt x="30" y="16"/>
                    </a:cubicBezTo>
                    <a:cubicBezTo>
                      <a:pt x="29" y="16"/>
                      <a:pt x="27" y="16"/>
                      <a:pt x="26" y="16"/>
                    </a:cubicBezTo>
                    <a:cubicBezTo>
                      <a:pt x="25" y="24"/>
                      <a:pt x="21" y="37"/>
                      <a:pt x="15" y="37"/>
                    </a:cubicBezTo>
                    <a:cubicBezTo>
                      <a:pt x="14" y="37"/>
                      <a:pt x="14" y="35"/>
                      <a:pt x="14" y="33"/>
                    </a:cubicBezTo>
                    <a:cubicBezTo>
                      <a:pt x="14" y="36"/>
                      <a:pt x="14" y="36"/>
                      <a:pt x="14" y="36"/>
                    </a:cubicBezTo>
                    <a:cubicBezTo>
                      <a:pt x="10" y="36"/>
                      <a:pt x="7" y="31"/>
                      <a:pt x="7" y="29"/>
                    </a:cubicBezTo>
                    <a:cubicBezTo>
                      <a:pt x="7" y="28"/>
                      <a:pt x="12" y="22"/>
                      <a:pt x="12"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2" name="Freeform 138"/>
              <p:cNvSpPr>
                <a:spLocks/>
              </p:cNvSpPr>
              <p:nvPr/>
            </p:nvSpPr>
            <p:spPr bwMode="auto">
              <a:xfrm>
                <a:off x="6596063" y="2271713"/>
                <a:ext cx="42863" cy="30163"/>
              </a:xfrm>
              <a:custGeom>
                <a:avLst/>
                <a:gdLst/>
                <a:ahLst/>
                <a:cxnLst>
                  <a:cxn ang="0">
                    <a:pos x="23" y="15"/>
                  </a:cxn>
                  <a:cxn ang="0">
                    <a:pos x="17" y="12"/>
                  </a:cxn>
                  <a:cxn ang="0">
                    <a:pos x="6" y="23"/>
                  </a:cxn>
                  <a:cxn ang="0">
                    <a:pos x="3" y="17"/>
                  </a:cxn>
                  <a:cxn ang="0">
                    <a:pos x="0" y="12"/>
                  </a:cxn>
                  <a:cxn ang="0">
                    <a:pos x="8" y="5"/>
                  </a:cxn>
                  <a:cxn ang="0">
                    <a:pos x="23" y="0"/>
                  </a:cxn>
                  <a:cxn ang="0">
                    <a:pos x="23" y="15"/>
                  </a:cxn>
                </a:cxnLst>
                <a:rect l="0" t="0" r="r" b="b"/>
                <a:pathLst>
                  <a:path w="33" h="23">
                    <a:moveTo>
                      <a:pt x="23" y="15"/>
                    </a:moveTo>
                    <a:cubicBezTo>
                      <a:pt x="20" y="15"/>
                      <a:pt x="18" y="13"/>
                      <a:pt x="17" y="12"/>
                    </a:cubicBezTo>
                    <a:cubicBezTo>
                      <a:pt x="13" y="16"/>
                      <a:pt x="12" y="23"/>
                      <a:pt x="6" y="23"/>
                    </a:cubicBezTo>
                    <a:cubicBezTo>
                      <a:pt x="4" y="23"/>
                      <a:pt x="3" y="19"/>
                      <a:pt x="3" y="17"/>
                    </a:cubicBezTo>
                    <a:cubicBezTo>
                      <a:pt x="1" y="15"/>
                      <a:pt x="0" y="14"/>
                      <a:pt x="0" y="12"/>
                    </a:cubicBezTo>
                    <a:cubicBezTo>
                      <a:pt x="0" y="12"/>
                      <a:pt x="8" y="6"/>
                      <a:pt x="8" y="5"/>
                    </a:cubicBezTo>
                    <a:cubicBezTo>
                      <a:pt x="16" y="7"/>
                      <a:pt x="17" y="0"/>
                      <a:pt x="23" y="0"/>
                    </a:cubicBezTo>
                    <a:cubicBezTo>
                      <a:pt x="33" y="0"/>
                      <a:pt x="28" y="15"/>
                      <a:pt x="23"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3" name="Freeform 139"/>
              <p:cNvSpPr>
                <a:spLocks/>
              </p:cNvSpPr>
              <p:nvPr/>
            </p:nvSpPr>
            <p:spPr bwMode="auto">
              <a:xfrm>
                <a:off x="6572250" y="2136775"/>
                <a:ext cx="185738" cy="153988"/>
              </a:xfrm>
              <a:custGeom>
                <a:avLst/>
                <a:gdLst/>
                <a:ahLst/>
                <a:cxnLst>
                  <a:cxn ang="0">
                    <a:pos x="55" y="110"/>
                  </a:cxn>
                  <a:cxn ang="0">
                    <a:pos x="55" y="107"/>
                  </a:cxn>
                  <a:cxn ang="0">
                    <a:pos x="56" y="99"/>
                  </a:cxn>
                  <a:cxn ang="0">
                    <a:pos x="43" y="95"/>
                  </a:cxn>
                  <a:cxn ang="0">
                    <a:pos x="39" y="99"/>
                  </a:cxn>
                  <a:cxn ang="0">
                    <a:pos x="29" y="100"/>
                  </a:cxn>
                  <a:cxn ang="0">
                    <a:pos x="6" y="106"/>
                  </a:cxn>
                  <a:cxn ang="0">
                    <a:pos x="0" y="104"/>
                  </a:cxn>
                  <a:cxn ang="0">
                    <a:pos x="5" y="101"/>
                  </a:cxn>
                  <a:cxn ang="0">
                    <a:pos x="30" y="84"/>
                  </a:cxn>
                  <a:cxn ang="0">
                    <a:pos x="57" y="84"/>
                  </a:cxn>
                  <a:cxn ang="0">
                    <a:pos x="72" y="70"/>
                  </a:cxn>
                  <a:cxn ang="0">
                    <a:pos x="79" y="59"/>
                  </a:cxn>
                  <a:cxn ang="0">
                    <a:pos x="77" y="64"/>
                  </a:cxn>
                  <a:cxn ang="0">
                    <a:pos x="79" y="66"/>
                  </a:cxn>
                  <a:cxn ang="0">
                    <a:pos x="92" y="60"/>
                  </a:cxn>
                  <a:cxn ang="0">
                    <a:pos x="116" y="25"/>
                  </a:cxn>
                  <a:cxn ang="0">
                    <a:pos x="114" y="19"/>
                  </a:cxn>
                  <a:cxn ang="0">
                    <a:pos x="125" y="3"/>
                  </a:cxn>
                  <a:cxn ang="0">
                    <a:pos x="130" y="4"/>
                  </a:cxn>
                  <a:cxn ang="0">
                    <a:pos x="129" y="4"/>
                  </a:cxn>
                  <a:cxn ang="0">
                    <a:pos x="128" y="0"/>
                  </a:cxn>
                  <a:cxn ang="0">
                    <a:pos x="133" y="2"/>
                  </a:cxn>
                  <a:cxn ang="0">
                    <a:pos x="134" y="11"/>
                  </a:cxn>
                  <a:cxn ang="0">
                    <a:pos x="140" y="26"/>
                  </a:cxn>
                  <a:cxn ang="0">
                    <a:pos x="134" y="40"/>
                  </a:cxn>
                  <a:cxn ang="0">
                    <a:pos x="134" y="43"/>
                  </a:cxn>
                  <a:cxn ang="0">
                    <a:pos x="130" y="44"/>
                  </a:cxn>
                  <a:cxn ang="0">
                    <a:pos x="127" y="63"/>
                  </a:cxn>
                  <a:cxn ang="0">
                    <a:pos x="122" y="76"/>
                  </a:cxn>
                  <a:cxn ang="0">
                    <a:pos x="125" y="84"/>
                  </a:cxn>
                  <a:cxn ang="0">
                    <a:pos x="114" y="93"/>
                  </a:cxn>
                  <a:cxn ang="0">
                    <a:pos x="114" y="86"/>
                  </a:cxn>
                  <a:cxn ang="0">
                    <a:pos x="102" y="96"/>
                  </a:cxn>
                  <a:cxn ang="0">
                    <a:pos x="100" y="94"/>
                  </a:cxn>
                  <a:cxn ang="0">
                    <a:pos x="96" y="94"/>
                  </a:cxn>
                  <a:cxn ang="0">
                    <a:pos x="87" y="100"/>
                  </a:cxn>
                  <a:cxn ang="0">
                    <a:pos x="74" y="92"/>
                  </a:cxn>
                  <a:cxn ang="0">
                    <a:pos x="72" y="96"/>
                  </a:cxn>
                  <a:cxn ang="0">
                    <a:pos x="76" y="103"/>
                  </a:cxn>
                  <a:cxn ang="0">
                    <a:pos x="72" y="103"/>
                  </a:cxn>
                  <a:cxn ang="0">
                    <a:pos x="61" y="115"/>
                  </a:cxn>
                  <a:cxn ang="0">
                    <a:pos x="55" y="110"/>
                  </a:cxn>
                </a:cxnLst>
                <a:rect l="0" t="0" r="r" b="b"/>
                <a:pathLst>
                  <a:path w="140" h="115">
                    <a:moveTo>
                      <a:pt x="55" y="110"/>
                    </a:moveTo>
                    <a:cubicBezTo>
                      <a:pt x="53" y="110"/>
                      <a:pt x="55" y="108"/>
                      <a:pt x="55" y="107"/>
                    </a:cubicBezTo>
                    <a:cubicBezTo>
                      <a:pt x="55" y="104"/>
                      <a:pt x="56" y="101"/>
                      <a:pt x="56" y="99"/>
                    </a:cubicBezTo>
                    <a:cubicBezTo>
                      <a:pt x="51" y="98"/>
                      <a:pt x="48" y="95"/>
                      <a:pt x="43" y="95"/>
                    </a:cubicBezTo>
                    <a:cubicBezTo>
                      <a:pt x="40" y="95"/>
                      <a:pt x="40" y="98"/>
                      <a:pt x="39" y="99"/>
                    </a:cubicBezTo>
                    <a:cubicBezTo>
                      <a:pt x="35" y="100"/>
                      <a:pt x="32" y="98"/>
                      <a:pt x="29" y="100"/>
                    </a:cubicBezTo>
                    <a:cubicBezTo>
                      <a:pt x="23" y="103"/>
                      <a:pt x="15" y="106"/>
                      <a:pt x="6" y="106"/>
                    </a:cubicBezTo>
                    <a:cubicBezTo>
                      <a:pt x="3" y="106"/>
                      <a:pt x="0" y="106"/>
                      <a:pt x="0" y="104"/>
                    </a:cubicBezTo>
                    <a:cubicBezTo>
                      <a:pt x="0" y="103"/>
                      <a:pt x="4" y="102"/>
                      <a:pt x="5" y="101"/>
                    </a:cubicBezTo>
                    <a:cubicBezTo>
                      <a:pt x="15" y="95"/>
                      <a:pt x="19" y="84"/>
                      <a:pt x="30" y="84"/>
                    </a:cubicBezTo>
                    <a:cubicBezTo>
                      <a:pt x="43" y="84"/>
                      <a:pt x="47" y="84"/>
                      <a:pt x="57" y="84"/>
                    </a:cubicBezTo>
                    <a:cubicBezTo>
                      <a:pt x="65" y="84"/>
                      <a:pt x="68" y="70"/>
                      <a:pt x="72" y="70"/>
                    </a:cubicBezTo>
                    <a:cubicBezTo>
                      <a:pt x="72" y="70"/>
                      <a:pt x="78" y="60"/>
                      <a:pt x="79" y="59"/>
                    </a:cubicBezTo>
                    <a:cubicBezTo>
                      <a:pt x="78" y="61"/>
                      <a:pt x="77" y="62"/>
                      <a:pt x="77" y="64"/>
                    </a:cubicBezTo>
                    <a:cubicBezTo>
                      <a:pt x="77" y="65"/>
                      <a:pt x="78" y="66"/>
                      <a:pt x="79" y="66"/>
                    </a:cubicBezTo>
                    <a:cubicBezTo>
                      <a:pt x="86" y="66"/>
                      <a:pt x="87" y="62"/>
                      <a:pt x="92" y="60"/>
                    </a:cubicBezTo>
                    <a:cubicBezTo>
                      <a:pt x="101" y="57"/>
                      <a:pt x="116" y="39"/>
                      <a:pt x="116" y="25"/>
                    </a:cubicBezTo>
                    <a:cubicBezTo>
                      <a:pt x="116" y="22"/>
                      <a:pt x="114" y="22"/>
                      <a:pt x="114" y="19"/>
                    </a:cubicBezTo>
                    <a:cubicBezTo>
                      <a:pt x="114" y="14"/>
                      <a:pt x="119" y="3"/>
                      <a:pt x="125" y="3"/>
                    </a:cubicBezTo>
                    <a:cubicBezTo>
                      <a:pt x="125" y="3"/>
                      <a:pt x="125" y="9"/>
                      <a:pt x="130" y="4"/>
                    </a:cubicBezTo>
                    <a:cubicBezTo>
                      <a:pt x="130" y="4"/>
                      <a:pt x="129" y="4"/>
                      <a:pt x="129" y="4"/>
                    </a:cubicBezTo>
                    <a:cubicBezTo>
                      <a:pt x="128" y="4"/>
                      <a:pt x="127" y="0"/>
                      <a:pt x="128" y="0"/>
                    </a:cubicBezTo>
                    <a:cubicBezTo>
                      <a:pt x="131" y="0"/>
                      <a:pt x="133" y="1"/>
                      <a:pt x="133" y="2"/>
                    </a:cubicBezTo>
                    <a:cubicBezTo>
                      <a:pt x="135" y="5"/>
                      <a:pt x="134" y="8"/>
                      <a:pt x="134" y="11"/>
                    </a:cubicBezTo>
                    <a:cubicBezTo>
                      <a:pt x="134" y="17"/>
                      <a:pt x="140" y="20"/>
                      <a:pt x="140" y="26"/>
                    </a:cubicBezTo>
                    <a:cubicBezTo>
                      <a:pt x="140" y="33"/>
                      <a:pt x="134" y="34"/>
                      <a:pt x="134" y="40"/>
                    </a:cubicBezTo>
                    <a:cubicBezTo>
                      <a:pt x="134" y="41"/>
                      <a:pt x="134" y="42"/>
                      <a:pt x="134" y="43"/>
                    </a:cubicBezTo>
                    <a:cubicBezTo>
                      <a:pt x="133" y="44"/>
                      <a:pt x="132" y="43"/>
                      <a:pt x="130" y="44"/>
                    </a:cubicBezTo>
                    <a:cubicBezTo>
                      <a:pt x="126" y="45"/>
                      <a:pt x="127" y="59"/>
                      <a:pt x="127" y="63"/>
                    </a:cubicBezTo>
                    <a:cubicBezTo>
                      <a:pt x="127" y="67"/>
                      <a:pt x="122" y="70"/>
                      <a:pt x="122" y="76"/>
                    </a:cubicBezTo>
                    <a:cubicBezTo>
                      <a:pt x="122" y="80"/>
                      <a:pt x="124" y="81"/>
                      <a:pt x="125" y="84"/>
                    </a:cubicBezTo>
                    <a:cubicBezTo>
                      <a:pt x="119" y="87"/>
                      <a:pt x="119" y="91"/>
                      <a:pt x="114" y="93"/>
                    </a:cubicBezTo>
                    <a:cubicBezTo>
                      <a:pt x="112" y="89"/>
                      <a:pt x="114" y="89"/>
                      <a:pt x="114" y="86"/>
                    </a:cubicBezTo>
                    <a:cubicBezTo>
                      <a:pt x="108" y="90"/>
                      <a:pt x="104" y="90"/>
                      <a:pt x="102" y="96"/>
                    </a:cubicBezTo>
                    <a:cubicBezTo>
                      <a:pt x="102" y="96"/>
                      <a:pt x="100" y="95"/>
                      <a:pt x="100" y="94"/>
                    </a:cubicBezTo>
                    <a:cubicBezTo>
                      <a:pt x="96" y="94"/>
                      <a:pt x="96" y="94"/>
                      <a:pt x="96" y="94"/>
                    </a:cubicBezTo>
                    <a:cubicBezTo>
                      <a:pt x="93" y="97"/>
                      <a:pt x="91" y="100"/>
                      <a:pt x="87" y="100"/>
                    </a:cubicBezTo>
                    <a:cubicBezTo>
                      <a:pt x="78" y="100"/>
                      <a:pt x="78" y="92"/>
                      <a:pt x="74" y="92"/>
                    </a:cubicBezTo>
                    <a:cubicBezTo>
                      <a:pt x="73" y="92"/>
                      <a:pt x="72" y="94"/>
                      <a:pt x="72" y="96"/>
                    </a:cubicBezTo>
                    <a:cubicBezTo>
                      <a:pt x="72" y="97"/>
                      <a:pt x="76" y="103"/>
                      <a:pt x="76" y="103"/>
                    </a:cubicBezTo>
                    <a:cubicBezTo>
                      <a:pt x="75" y="103"/>
                      <a:pt x="73" y="103"/>
                      <a:pt x="72" y="103"/>
                    </a:cubicBezTo>
                    <a:cubicBezTo>
                      <a:pt x="68" y="103"/>
                      <a:pt x="63" y="110"/>
                      <a:pt x="61" y="115"/>
                    </a:cubicBezTo>
                    <a:cubicBezTo>
                      <a:pt x="57" y="114"/>
                      <a:pt x="58" y="110"/>
                      <a:pt x="55" y="1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4" name="Freeform 140"/>
              <p:cNvSpPr>
                <a:spLocks/>
              </p:cNvSpPr>
              <p:nvPr/>
            </p:nvSpPr>
            <p:spPr bwMode="auto">
              <a:xfrm>
                <a:off x="6721475" y="2054225"/>
                <a:ext cx="96838" cy="80963"/>
              </a:xfrm>
              <a:custGeom>
                <a:avLst/>
                <a:gdLst/>
                <a:ahLst/>
                <a:cxnLst>
                  <a:cxn ang="0">
                    <a:pos x="11" y="33"/>
                  </a:cxn>
                  <a:cxn ang="0">
                    <a:pos x="15" y="33"/>
                  </a:cxn>
                  <a:cxn ang="0">
                    <a:pos x="26" y="10"/>
                  </a:cxn>
                  <a:cxn ang="0">
                    <a:pos x="23" y="6"/>
                  </a:cxn>
                  <a:cxn ang="0">
                    <a:pos x="26" y="0"/>
                  </a:cxn>
                  <a:cxn ang="0">
                    <a:pos x="60" y="22"/>
                  </a:cxn>
                  <a:cxn ang="0">
                    <a:pos x="70" y="21"/>
                  </a:cxn>
                  <a:cxn ang="0">
                    <a:pos x="67" y="26"/>
                  </a:cxn>
                  <a:cxn ang="0">
                    <a:pos x="72" y="32"/>
                  </a:cxn>
                  <a:cxn ang="0">
                    <a:pos x="59" y="36"/>
                  </a:cxn>
                  <a:cxn ang="0">
                    <a:pos x="43" y="51"/>
                  </a:cxn>
                  <a:cxn ang="0">
                    <a:pos x="24" y="41"/>
                  </a:cxn>
                  <a:cxn ang="0">
                    <a:pos x="21" y="45"/>
                  </a:cxn>
                  <a:cxn ang="0">
                    <a:pos x="8" y="48"/>
                  </a:cxn>
                  <a:cxn ang="0">
                    <a:pos x="16" y="54"/>
                  </a:cxn>
                  <a:cxn ang="0">
                    <a:pos x="5" y="61"/>
                  </a:cxn>
                  <a:cxn ang="0">
                    <a:pos x="3" y="61"/>
                  </a:cxn>
                  <a:cxn ang="0">
                    <a:pos x="3" y="51"/>
                  </a:cxn>
                  <a:cxn ang="0">
                    <a:pos x="0" y="46"/>
                  </a:cxn>
                  <a:cxn ang="0">
                    <a:pos x="8" y="35"/>
                  </a:cxn>
                  <a:cxn ang="0">
                    <a:pos x="8" y="32"/>
                  </a:cxn>
                  <a:cxn ang="0">
                    <a:pos x="12" y="34"/>
                  </a:cxn>
                  <a:cxn ang="0">
                    <a:pos x="11" y="33"/>
                  </a:cxn>
                </a:cxnLst>
                <a:rect l="0" t="0" r="r" b="b"/>
                <a:pathLst>
                  <a:path w="72" h="61">
                    <a:moveTo>
                      <a:pt x="11" y="33"/>
                    </a:moveTo>
                    <a:cubicBezTo>
                      <a:pt x="12" y="33"/>
                      <a:pt x="14" y="33"/>
                      <a:pt x="15" y="33"/>
                    </a:cubicBezTo>
                    <a:cubicBezTo>
                      <a:pt x="23" y="33"/>
                      <a:pt x="26" y="16"/>
                      <a:pt x="26" y="10"/>
                    </a:cubicBezTo>
                    <a:cubicBezTo>
                      <a:pt x="26" y="8"/>
                      <a:pt x="23" y="7"/>
                      <a:pt x="23" y="6"/>
                    </a:cubicBezTo>
                    <a:cubicBezTo>
                      <a:pt x="23" y="2"/>
                      <a:pt x="25" y="1"/>
                      <a:pt x="26" y="0"/>
                    </a:cubicBezTo>
                    <a:cubicBezTo>
                      <a:pt x="38" y="8"/>
                      <a:pt x="43" y="22"/>
                      <a:pt x="60" y="22"/>
                    </a:cubicBezTo>
                    <a:cubicBezTo>
                      <a:pt x="64" y="22"/>
                      <a:pt x="67" y="19"/>
                      <a:pt x="70" y="21"/>
                    </a:cubicBezTo>
                    <a:cubicBezTo>
                      <a:pt x="69" y="23"/>
                      <a:pt x="67" y="24"/>
                      <a:pt x="67" y="26"/>
                    </a:cubicBezTo>
                    <a:cubicBezTo>
                      <a:pt x="67" y="29"/>
                      <a:pt x="71" y="32"/>
                      <a:pt x="72" y="32"/>
                    </a:cubicBezTo>
                    <a:cubicBezTo>
                      <a:pt x="68" y="35"/>
                      <a:pt x="65" y="36"/>
                      <a:pt x="59" y="36"/>
                    </a:cubicBezTo>
                    <a:cubicBezTo>
                      <a:pt x="49" y="36"/>
                      <a:pt x="46" y="46"/>
                      <a:pt x="43" y="51"/>
                    </a:cubicBezTo>
                    <a:cubicBezTo>
                      <a:pt x="36" y="47"/>
                      <a:pt x="31" y="46"/>
                      <a:pt x="24" y="41"/>
                    </a:cubicBezTo>
                    <a:cubicBezTo>
                      <a:pt x="23" y="42"/>
                      <a:pt x="21" y="43"/>
                      <a:pt x="21" y="45"/>
                    </a:cubicBezTo>
                    <a:cubicBezTo>
                      <a:pt x="15" y="45"/>
                      <a:pt x="8" y="40"/>
                      <a:pt x="8" y="48"/>
                    </a:cubicBezTo>
                    <a:cubicBezTo>
                      <a:pt x="8" y="52"/>
                      <a:pt x="14" y="52"/>
                      <a:pt x="16" y="54"/>
                    </a:cubicBezTo>
                    <a:cubicBezTo>
                      <a:pt x="12" y="59"/>
                      <a:pt x="9" y="57"/>
                      <a:pt x="5" y="61"/>
                    </a:cubicBezTo>
                    <a:cubicBezTo>
                      <a:pt x="3" y="61"/>
                      <a:pt x="3" y="61"/>
                      <a:pt x="3" y="61"/>
                    </a:cubicBezTo>
                    <a:cubicBezTo>
                      <a:pt x="3" y="58"/>
                      <a:pt x="3" y="51"/>
                      <a:pt x="3" y="51"/>
                    </a:cubicBezTo>
                    <a:cubicBezTo>
                      <a:pt x="3" y="49"/>
                      <a:pt x="0" y="48"/>
                      <a:pt x="0" y="46"/>
                    </a:cubicBezTo>
                    <a:cubicBezTo>
                      <a:pt x="0" y="41"/>
                      <a:pt x="8" y="38"/>
                      <a:pt x="8" y="35"/>
                    </a:cubicBezTo>
                    <a:cubicBezTo>
                      <a:pt x="8" y="32"/>
                      <a:pt x="8" y="32"/>
                      <a:pt x="8" y="32"/>
                    </a:cubicBezTo>
                    <a:cubicBezTo>
                      <a:pt x="9" y="32"/>
                      <a:pt x="10" y="33"/>
                      <a:pt x="12" y="34"/>
                    </a:cubicBezTo>
                    <a:lnTo>
                      <a:pt x="11"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5" name="Freeform 141"/>
              <p:cNvSpPr>
                <a:spLocks/>
              </p:cNvSpPr>
              <p:nvPr/>
            </p:nvSpPr>
            <p:spPr bwMode="auto">
              <a:xfrm>
                <a:off x="6816725" y="2073275"/>
                <a:ext cx="15875" cy="14288"/>
              </a:xfrm>
              <a:custGeom>
                <a:avLst/>
                <a:gdLst/>
                <a:ahLst/>
                <a:cxnLst>
                  <a:cxn ang="0">
                    <a:pos x="10" y="0"/>
                  </a:cxn>
                  <a:cxn ang="0">
                    <a:pos x="12" y="2"/>
                  </a:cxn>
                  <a:cxn ang="0">
                    <a:pos x="1" y="11"/>
                  </a:cxn>
                  <a:cxn ang="0">
                    <a:pos x="1" y="7"/>
                  </a:cxn>
                  <a:cxn ang="0">
                    <a:pos x="11" y="0"/>
                  </a:cxn>
                  <a:cxn ang="0">
                    <a:pos x="10" y="0"/>
                  </a:cxn>
                </a:cxnLst>
                <a:rect l="0" t="0" r="r" b="b"/>
                <a:pathLst>
                  <a:path w="12" h="11">
                    <a:moveTo>
                      <a:pt x="10" y="0"/>
                    </a:moveTo>
                    <a:cubicBezTo>
                      <a:pt x="12" y="2"/>
                      <a:pt x="12" y="2"/>
                      <a:pt x="12" y="2"/>
                    </a:cubicBezTo>
                    <a:cubicBezTo>
                      <a:pt x="10" y="4"/>
                      <a:pt x="5" y="11"/>
                      <a:pt x="1" y="11"/>
                    </a:cubicBezTo>
                    <a:cubicBezTo>
                      <a:pt x="0" y="11"/>
                      <a:pt x="0" y="8"/>
                      <a:pt x="1" y="7"/>
                    </a:cubicBezTo>
                    <a:cubicBezTo>
                      <a:pt x="3" y="4"/>
                      <a:pt x="8" y="0"/>
                      <a:pt x="11" y="0"/>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6" name="Freeform 142"/>
              <p:cNvSpPr>
                <a:spLocks/>
              </p:cNvSpPr>
              <p:nvPr/>
            </p:nvSpPr>
            <p:spPr bwMode="auto">
              <a:xfrm>
                <a:off x="6848475" y="2052638"/>
                <a:ext cx="22225" cy="15875"/>
              </a:xfrm>
              <a:custGeom>
                <a:avLst/>
                <a:gdLst/>
                <a:ahLst/>
                <a:cxnLst>
                  <a:cxn ang="0">
                    <a:pos x="17" y="3"/>
                  </a:cxn>
                  <a:cxn ang="0">
                    <a:pos x="1" y="12"/>
                  </a:cxn>
                  <a:cxn ang="0">
                    <a:pos x="1" y="10"/>
                  </a:cxn>
                  <a:cxn ang="0">
                    <a:pos x="10" y="0"/>
                  </a:cxn>
                  <a:cxn ang="0">
                    <a:pos x="17" y="0"/>
                  </a:cxn>
                  <a:cxn ang="0">
                    <a:pos x="17" y="3"/>
                  </a:cxn>
                </a:cxnLst>
                <a:rect l="0" t="0" r="r" b="b"/>
                <a:pathLst>
                  <a:path w="17" h="12">
                    <a:moveTo>
                      <a:pt x="17" y="3"/>
                    </a:moveTo>
                    <a:cubicBezTo>
                      <a:pt x="7" y="3"/>
                      <a:pt x="7" y="12"/>
                      <a:pt x="1" y="12"/>
                    </a:cubicBezTo>
                    <a:cubicBezTo>
                      <a:pt x="0" y="12"/>
                      <a:pt x="1" y="10"/>
                      <a:pt x="1" y="10"/>
                    </a:cubicBezTo>
                    <a:cubicBezTo>
                      <a:pt x="1" y="10"/>
                      <a:pt x="5" y="0"/>
                      <a:pt x="10" y="0"/>
                    </a:cubicBezTo>
                    <a:cubicBezTo>
                      <a:pt x="13" y="0"/>
                      <a:pt x="15" y="0"/>
                      <a:pt x="17" y="0"/>
                    </a:cubicBezTo>
                    <a:lnTo>
                      <a:pt x="17"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7" name="Freeform 143"/>
              <p:cNvSpPr>
                <a:spLocks/>
              </p:cNvSpPr>
              <p:nvPr/>
            </p:nvSpPr>
            <p:spPr bwMode="auto">
              <a:xfrm>
                <a:off x="6888163" y="2035175"/>
                <a:ext cx="12700" cy="11113"/>
              </a:xfrm>
              <a:custGeom>
                <a:avLst/>
                <a:gdLst/>
                <a:ahLst/>
                <a:cxnLst>
                  <a:cxn ang="0">
                    <a:pos x="1" y="6"/>
                  </a:cxn>
                  <a:cxn ang="0">
                    <a:pos x="2" y="3"/>
                  </a:cxn>
                  <a:cxn ang="0">
                    <a:pos x="9" y="0"/>
                  </a:cxn>
                  <a:cxn ang="0">
                    <a:pos x="1" y="9"/>
                  </a:cxn>
                  <a:cxn ang="0">
                    <a:pos x="1" y="6"/>
                  </a:cxn>
                </a:cxnLst>
                <a:rect l="0" t="0" r="r" b="b"/>
                <a:pathLst>
                  <a:path w="9" h="9">
                    <a:moveTo>
                      <a:pt x="1" y="6"/>
                    </a:moveTo>
                    <a:cubicBezTo>
                      <a:pt x="3" y="6"/>
                      <a:pt x="1" y="4"/>
                      <a:pt x="2" y="3"/>
                    </a:cubicBezTo>
                    <a:cubicBezTo>
                      <a:pt x="3" y="0"/>
                      <a:pt x="8" y="0"/>
                      <a:pt x="9" y="0"/>
                    </a:cubicBezTo>
                    <a:cubicBezTo>
                      <a:pt x="8" y="3"/>
                      <a:pt x="5" y="9"/>
                      <a:pt x="1" y="9"/>
                    </a:cubicBezTo>
                    <a:cubicBezTo>
                      <a:pt x="0" y="9"/>
                      <a:pt x="0" y="6"/>
                      <a:pt x="1"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8" name="Freeform 144"/>
              <p:cNvSpPr>
                <a:spLocks/>
              </p:cNvSpPr>
              <p:nvPr/>
            </p:nvSpPr>
            <p:spPr bwMode="auto">
              <a:xfrm>
                <a:off x="6753225" y="1855788"/>
                <a:ext cx="47625" cy="184150"/>
              </a:xfrm>
              <a:custGeom>
                <a:avLst/>
                <a:gdLst/>
                <a:ahLst/>
                <a:cxnLst>
                  <a:cxn ang="0">
                    <a:pos x="26" y="84"/>
                  </a:cxn>
                  <a:cxn ang="0">
                    <a:pos x="13" y="109"/>
                  </a:cxn>
                  <a:cxn ang="0">
                    <a:pos x="26" y="132"/>
                  </a:cxn>
                  <a:cxn ang="0">
                    <a:pos x="25" y="132"/>
                  </a:cxn>
                  <a:cxn ang="0">
                    <a:pos x="20" y="128"/>
                  </a:cxn>
                  <a:cxn ang="0">
                    <a:pos x="16" y="128"/>
                  </a:cxn>
                  <a:cxn ang="0">
                    <a:pos x="5" y="138"/>
                  </a:cxn>
                  <a:cxn ang="0">
                    <a:pos x="5" y="125"/>
                  </a:cxn>
                  <a:cxn ang="0">
                    <a:pos x="7" y="105"/>
                  </a:cxn>
                  <a:cxn ang="0">
                    <a:pos x="4" y="93"/>
                  </a:cxn>
                  <a:cxn ang="0">
                    <a:pos x="7" y="79"/>
                  </a:cxn>
                  <a:cxn ang="0">
                    <a:pos x="7" y="53"/>
                  </a:cxn>
                  <a:cxn ang="0">
                    <a:pos x="0" y="37"/>
                  </a:cxn>
                  <a:cxn ang="0">
                    <a:pos x="9" y="15"/>
                  </a:cxn>
                  <a:cxn ang="0">
                    <a:pos x="11" y="9"/>
                  </a:cxn>
                  <a:cxn ang="0">
                    <a:pos x="11" y="0"/>
                  </a:cxn>
                  <a:cxn ang="0">
                    <a:pos x="14" y="0"/>
                  </a:cxn>
                  <a:cxn ang="0">
                    <a:pos x="19" y="20"/>
                  </a:cxn>
                  <a:cxn ang="0">
                    <a:pos x="21" y="37"/>
                  </a:cxn>
                  <a:cxn ang="0">
                    <a:pos x="21" y="47"/>
                  </a:cxn>
                  <a:cxn ang="0">
                    <a:pos x="24" y="59"/>
                  </a:cxn>
                  <a:cxn ang="0">
                    <a:pos x="36" y="90"/>
                  </a:cxn>
                  <a:cxn ang="0">
                    <a:pos x="26" y="84"/>
                  </a:cxn>
                </a:cxnLst>
                <a:rect l="0" t="0" r="r" b="b"/>
                <a:pathLst>
                  <a:path w="36" h="138">
                    <a:moveTo>
                      <a:pt x="26" y="84"/>
                    </a:moveTo>
                    <a:cubicBezTo>
                      <a:pt x="15" y="84"/>
                      <a:pt x="13" y="98"/>
                      <a:pt x="13" y="109"/>
                    </a:cubicBezTo>
                    <a:cubicBezTo>
                      <a:pt x="13" y="120"/>
                      <a:pt x="22" y="124"/>
                      <a:pt x="26" y="132"/>
                    </a:cubicBezTo>
                    <a:cubicBezTo>
                      <a:pt x="26" y="132"/>
                      <a:pt x="25" y="132"/>
                      <a:pt x="25" y="132"/>
                    </a:cubicBezTo>
                    <a:cubicBezTo>
                      <a:pt x="23" y="133"/>
                      <a:pt x="21" y="130"/>
                      <a:pt x="20" y="128"/>
                    </a:cubicBezTo>
                    <a:cubicBezTo>
                      <a:pt x="19" y="128"/>
                      <a:pt x="17" y="128"/>
                      <a:pt x="16" y="128"/>
                    </a:cubicBezTo>
                    <a:cubicBezTo>
                      <a:pt x="11" y="128"/>
                      <a:pt x="11" y="138"/>
                      <a:pt x="5" y="138"/>
                    </a:cubicBezTo>
                    <a:cubicBezTo>
                      <a:pt x="4" y="138"/>
                      <a:pt x="5" y="127"/>
                      <a:pt x="5" y="125"/>
                    </a:cubicBezTo>
                    <a:cubicBezTo>
                      <a:pt x="5" y="117"/>
                      <a:pt x="7" y="112"/>
                      <a:pt x="7" y="105"/>
                    </a:cubicBezTo>
                    <a:cubicBezTo>
                      <a:pt x="7" y="99"/>
                      <a:pt x="4" y="98"/>
                      <a:pt x="4" y="93"/>
                    </a:cubicBezTo>
                    <a:cubicBezTo>
                      <a:pt x="4" y="86"/>
                      <a:pt x="7" y="84"/>
                      <a:pt x="7" y="79"/>
                    </a:cubicBezTo>
                    <a:cubicBezTo>
                      <a:pt x="7" y="68"/>
                      <a:pt x="7" y="64"/>
                      <a:pt x="7" y="53"/>
                    </a:cubicBezTo>
                    <a:cubicBezTo>
                      <a:pt x="7" y="46"/>
                      <a:pt x="0" y="44"/>
                      <a:pt x="0" y="37"/>
                    </a:cubicBezTo>
                    <a:cubicBezTo>
                      <a:pt x="0" y="28"/>
                      <a:pt x="3" y="16"/>
                      <a:pt x="9" y="15"/>
                    </a:cubicBezTo>
                    <a:cubicBezTo>
                      <a:pt x="9" y="12"/>
                      <a:pt x="11" y="11"/>
                      <a:pt x="11" y="9"/>
                    </a:cubicBezTo>
                    <a:cubicBezTo>
                      <a:pt x="11" y="4"/>
                      <a:pt x="11" y="3"/>
                      <a:pt x="11" y="0"/>
                    </a:cubicBezTo>
                    <a:cubicBezTo>
                      <a:pt x="12" y="0"/>
                      <a:pt x="13" y="0"/>
                      <a:pt x="14" y="0"/>
                    </a:cubicBezTo>
                    <a:cubicBezTo>
                      <a:pt x="14" y="8"/>
                      <a:pt x="18" y="14"/>
                      <a:pt x="19" y="20"/>
                    </a:cubicBezTo>
                    <a:cubicBezTo>
                      <a:pt x="21" y="26"/>
                      <a:pt x="18" y="30"/>
                      <a:pt x="21" y="37"/>
                    </a:cubicBezTo>
                    <a:cubicBezTo>
                      <a:pt x="21" y="47"/>
                      <a:pt x="21" y="47"/>
                      <a:pt x="21" y="47"/>
                    </a:cubicBezTo>
                    <a:cubicBezTo>
                      <a:pt x="20" y="52"/>
                      <a:pt x="23" y="57"/>
                      <a:pt x="24" y="59"/>
                    </a:cubicBezTo>
                    <a:cubicBezTo>
                      <a:pt x="27" y="70"/>
                      <a:pt x="33" y="79"/>
                      <a:pt x="36" y="90"/>
                    </a:cubicBezTo>
                    <a:cubicBezTo>
                      <a:pt x="34" y="86"/>
                      <a:pt x="30" y="84"/>
                      <a:pt x="26" y="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59" name="Freeform 145"/>
              <p:cNvSpPr>
                <a:spLocks/>
              </p:cNvSpPr>
              <p:nvPr/>
            </p:nvSpPr>
            <p:spPr bwMode="auto">
              <a:xfrm>
                <a:off x="5241925" y="1219200"/>
                <a:ext cx="292100" cy="214313"/>
              </a:xfrm>
              <a:custGeom>
                <a:avLst/>
                <a:gdLst/>
                <a:ahLst/>
                <a:cxnLst>
                  <a:cxn ang="0">
                    <a:pos x="76" y="161"/>
                  </a:cxn>
                  <a:cxn ang="0">
                    <a:pos x="50" y="131"/>
                  </a:cxn>
                  <a:cxn ang="0">
                    <a:pos x="103" y="67"/>
                  </a:cxn>
                  <a:cxn ang="0">
                    <a:pos x="125" y="55"/>
                  </a:cxn>
                  <a:cxn ang="0">
                    <a:pos x="134" y="45"/>
                  </a:cxn>
                  <a:cxn ang="0">
                    <a:pos x="175" y="34"/>
                  </a:cxn>
                  <a:cxn ang="0">
                    <a:pos x="220" y="11"/>
                  </a:cxn>
                  <a:cxn ang="0">
                    <a:pos x="203" y="0"/>
                  </a:cxn>
                  <a:cxn ang="0">
                    <a:pos x="136" y="25"/>
                  </a:cxn>
                  <a:cxn ang="0">
                    <a:pos x="123" y="19"/>
                  </a:cxn>
                  <a:cxn ang="0">
                    <a:pos x="109" y="25"/>
                  </a:cxn>
                  <a:cxn ang="0">
                    <a:pos x="69" y="46"/>
                  </a:cxn>
                  <a:cxn ang="0">
                    <a:pos x="52" y="49"/>
                  </a:cxn>
                  <a:cxn ang="0">
                    <a:pos x="47" y="53"/>
                  </a:cxn>
                  <a:cxn ang="0">
                    <a:pos x="50" y="61"/>
                  </a:cxn>
                  <a:cxn ang="0">
                    <a:pos x="27" y="88"/>
                  </a:cxn>
                  <a:cxn ang="0">
                    <a:pos x="34" y="98"/>
                  </a:cxn>
                  <a:cxn ang="0">
                    <a:pos x="13" y="110"/>
                  </a:cxn>
                  <a:cxn ang="0">
                    <a:pos x="13" y="117"/>
                  </a:cxn>
                  <a:cxn ang="0">
                    <a:pos x="0" y="134"/>
                  </a:cxn>
                  <a:cxn ang="0">
                    <a:pos x="8" y="143"/>
                  </a:cxn>
                  <a:cxn ang="0">
                    <a:pos x="21" y="143"/>
                  </a:cxn>
                  <a:cxn ang="0">
                    <a:pos x="27" y="158"/>
                  </a:cxn>
                  <a:cxn ang="0">
                    <a:pos x="39" y="158"/>
                  </a:cxn>
                  <a:cxn ang="0">
                    <a:pos x="42" y="161"/>
                  </a:cxn>
                  <a:cxn ang="0">
                    <a:pos x="76" y="161"/>
                  </a:cxn>
                  <a:cxn ang="0">
                    <a:pos x="72" y="156"/>
                  </a:cxn>
                  <a:cxn ang="0">
                    <a:pos x="76" y="161"/>
                  </a:cxn>
                </a:cxnLst>
                <a:rect l="0" t="0" r="r" b="b"/>
                <a:pathLst>
                  <a:path w="220" h="161">
                    <a:moveTo>
                      <a:pt x="76" y="161"/>
                    </a:moveTo>
                    <a:cubicBezTo>
                      <a:pt x="66" y="151"/>
                      <a:pt x="50" y="147"/>
                      <a:pt x="50" y="131"/>
                    </a:cubicBezTo>
                    <a:cubicBezTo>
                      <a:pt x="50" y="102"/>
                      <a:pt x="81" y="73"/>
                      <a:pt x="103" y="67"/>
                    </a:cubicBezTo>
                    <a:cubicBezTo>
                      <a:pt x="111" y="64"/>
                      <a:pt x="113" y="55"/>
                      <a:pt x="125" y="55"/>
                    </a:cubicBezTo>
                    <a:cubicBezTo>
                      <a:pt x="130" y="55"/>
                      <a:pt x="132" y="46"/>
                      <a:pt x="134" y="45"/>
                    </a:cubicBezTo>
                    <a:cubicBezTo>
                      <a:pt x="149" y="38"/>
                      <a:pt x="160" y="41"/>
                      <a:pt x="175" y="34"/>
                    </a:cubicBezTo>
                    <a:cubicBezTo>
                      <a:pt x="186" y="28"/>
                      <a:pt x="220" y="26"/>
                      <a:pt x="220" y="11"/>
                    </a:cubicBezTo>
                    <a:cubicBezTo>
                      <a:pt x="220" y="6"/>
                      <a:pt x="208" y="0"/>
                      <a:pt x="203" y="0"/>
                    </a:cubicBezTo>
                    <a:cubicBezTo>
                      <a:pt x="181" y="0"/>
                      <a:pt x="160" y="25"/>
                      <a:pt x="136" y="25"/>
                    </a:cubicBezTo>
                    <a:cubicBezTo>
                      <a:pt x="131" y="25"/>
                      <a:pt x="128" y="19"/>
                      <a:pt x="123" y="19"/>
                    </a:cubicBezTo>
                    <a:cubicBezTo>
                      <a:pt x="115" y="19"/>
                      <a:pt x="115" y="25"/>
                      <a:pt x="109" y="25"/>
                    </a:cubicBezTo>
                    <a:cubicBezTo>
                      <a:pt x="93" y="25"/>
                      <a:pt x="80" y="46"/>
                      <a:pt x="69" y="46"/>
                    </a:cubicBezTo>
                    <a:cubicBezTo>
                      <a:pt x="63" y="46"/>
                      <a:pt x="58" y="49"/>
                      <a:pt x="52" y="49"/>
                    </a:cubicBezTo>
                    <a:cubicBezTo>
                      <a:pt x="49" y="49"/>
                      <a:pt x="47" y="52"/>
                      <a:pt x="47" y="53"/>
                    </a:cubicBezTo>
                    <a:cubicBezTo>
                      <a:pt x="47" y="56"/>
                      <a:pt x="50" y="58"/>
                      <a:pt x="50" y="61"/>
                    </a:cubicBezTo>
                    <a:cubicBezTo>
                      <a:pt x="50" y="74"/>
                      <a:pt x="27" y="80"/>
                      <a:pt x="27" y="88"/>
                    </a:cubicBezTo>
                    <a:cubicBezTo>
                      <a:pt x="27" y="91"/>
                      <a:pt x="34" y="92"/>
                      <a:pt x="34" y="98"/>
                    </a:cubicBezTo>
                    <a:cubicBezTo>
                      <a:pt x="27" y="99"/>
                      <a:pt x="13" y="102"/>
                      <a:pt x="13" y="110"/>
                    </a:cubicBezTo>
                    <a:cubicBezTo>
                      <a:pt x="13" y="115"/>
                      <a:pt x="13" y="117"/>
                      <a:pt x="13" y="117"/>
                    </a:cubicBezTo>
                    <a:cubicBezTo>
                      <a:pt x="13" y="124"/>
                      <a:pt x="0" y="124"/>
                      <a:pt x="0" y="134"/>
                    </a:cubicBezTo>
                    <a:cubicBezTo>
                      <a:pt x="0" y="139"/>
                      <a:pt x="8" y="143"/>
                      <a:pt x="8" y="143"/>
                    </a:cubicBezTo>
                    <a:cubicBezTo>
                      <a:pt x="8" y="143"/>
                      <a:pt x="20" y="143"/>
                      <a:pt x="21" y="143"/>
                    </a:cubicBezTo>
                    <a:cubicBezTo>
                      <a:pt x="28" y="145"/>
                      <a:pt x="24" y="152"/>
                      <a:pt x="27" y="158"/>
                    </a:cubicBezTo>
                    <a:cubicBezTo>
                      <a:pt x="28" y="161"/>
                      <a:pt x="35" y="158"/>
                      <a:pt x="39" y="158"/>
                    </a:cubicBezTo>
                    <a:cubicBezTo>
                      <a:pt x="40" y="158"/>
                      <a:pt x="41" y="161"/>
                      <a:pt x="42" y="161"/>
                    </a:cubicBezTo>
                    <a:cubicBezTo>
                      <a:pt x="76" y="161"/>
                      <a:pt x="76" y="161"/>
                      <a:pt x="76" y="161"/>
                    </a:cubicBezTo>
                    <a:cubicBezTo>
                      <a:pt x="75" y="159"/>
                      <a:pt x="73" y="157"/>
                      <a:pt x="72" y="156"/>
                    </a:cubicBezTo>
                    <a:lnTo>
                      <a:pt x="76"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0" name="Freeform 146"/>
              <p:cNvSpPr>
                <a:spLocks/>
              </p:cNvSpPr>
              <p:nvPr/>
            </p:nvSpPr>
            <p:spPr bwMode="auto">
              <a:xfrm>
                <a:off x="4713288" y="1196975"/>
                <a:ext cx="2847975" cy="1058863"/>
              </a:xfrm>
              <a:custGeom>
                <a:avLst/>
                <a:gdLst/>
                <a:ahLst/>
                <a:cxnLst>
                  <a:cxn ang="0">
                    <a:pos x="1515" y="585"/>
                  </a:cxn>
                  <a:cxn ang="0">
                    <a:pos x="1460" y="485"/>
                  </a:cxn>
                  <a:cxn ang="0">
                    <a:pos x="1665" y="408"/>
                  </a:cxn>
                  <a:cxn ang="0">
                    <a:pos x="1804" y="346"/>
                  </a:cxn>
                  <a:cxn ang="0">
                    <a:pos x="1709" y="465"/>
                  </a:cxn>
                  <a:cxn ang="0">
                    <a:pos x="1793" y="452"/>
                  </a:cxn>
                  <a:cxn ang="0">
                    <a:pos x="1989" y="313"/>
                  </a:cxn>
                  <a:cxn ang="0">
                    <a:pos x="2112" y="287"/>
                  </a:cxn>
                  <a:cxn ang="0">
                    <a:pos x="1892" y="194"/>
                  </a:cxn>
                  <a:cxn ang="0">
                    <a:pos x="1660" y="159"/>
                  </a:cxn>
                  <a:cxn ang="0">
                    <a:pos x="1435" y="157"/>
                  </a:cxn>
                  <a:cxn ang="0">
                    <a:pos x="1314" y="97"/>
                  </a:cxn>
                  <a:cxn ang="0">
                    <a:pos x="1102" y="104"/>
                  </a:cxn>
                  <a:cxn ang="0">
                    <a:pos x="1016" y="27"/>
                  </a:cxn>
                  <a:cxn ang="0">
                    <a:pos x="758" y="117"/>
                  </a:cxn>
                  <a:cxn ang="0">
                    <a:pos x="668" y="148"/>
                  </a:cxn>
                  <a:cxn ang="0">
                    <a:pos x="644" y="121"/>
                  </a:cxn>
                  <a:cxn ang="0">
                    <a:pos x="511" y="207"/>
                  </a:cxn>
                  <a:cxn ang="0">
                    <a:pos x="322" y="247"/>
                  </a:cxn>
                  <a:cxn ang="0">
                    <a:pos x="214" y="296"/>
                  </a:cxn>
                  <a:cxn ang="0">
                    <a:pos x="229" y="227"/>
                  </a:cxn>
                  <a:cxn ang="0">
                    <a:pos x="127" y="236"/>
                  </a:cxn>
                  <a:cxn ang="0">
                    <a:pos x="136" y="312"/>
                  </a:cxn>
                  <a:cxn ang="0">
                    <a:pos x="117" y="395"/>
                  </a:cxn>
                  <a:cxn ang="0">
                    <a:pos x="50" y="446"/>
                  </a:cxn>
                  <a:cxn ang="0">
                    <a:pos x="16" y="495"/>
                  </a:cxn>
                  <a:cxn ang="0">
                    <a:pos x="54" y="558"/>
                  </a:cxn>
                  <a:cxn ang="0">
                    <a:pos x="88" y="597"/>
                  </a:cxn>
                  <a:cxn ang="0">
                    <a:pos x="112" y="644"/>
                  </a:cxn>
                  <a:cxn ang="0">
                    <a:pos x="208" y="647"/>
                  </a:cxn>
                  <a:cxn ang="0">
                    <a:pos x="225" y="626"/>
                  </a:cxn>
                  <a:cxn ang="0">
                    <a:pos x="284" y="701"/>
                  </a:cxn>
                  <a:cxn ang="0">
                    <a:pos x="350" y="732"/>
                  </a:cxn>
                  <a:cxn ang="0">
                    <a:pos x="366" y="742"/>
                  </a:cxn>
                  <a:cxn ang="0">
                    <a:pos x="349" y="634"/>
                  </a:cxn>
                  <a:cxn ang="0">
                    <a:pos x="412" y="645"/>
                  </a:cxn>
                  <a:cxn ang="0">
                    <a:pos x="427" y="700"/>
                  </a:cxn>
                  <a:cxn ang="0">
                    <a:pos x="428" y="746"/>
                  </a:cxn>
                  <a:cxn ang="0">
                    <a:pos x="447" y="755"/>
                  </a:cxn>
                  <a:cxn ang="0">
                    <a:pos x="522" y="777"/>
                  </a:cxn>
                  <a:cxn ang="0">
                    <a:pos x="559" y="781"/>
                  </a:cxn>
                  <a:cxn ang="0">
                    <a:pos x="608" y="770"/>
                  </a:cxn>
                  <a:cxn ang="0">
                    <a:pos x="654" y="772"/>
                  </a:cxn>
                  <a:cxn ang="0">
                    <a:pos x="677" y="748"/>
                  </a:cxn>
                  <a:cxn ang="0">
                    <a:pos x="829" y="593"/>
                  </a:cxn>
                  <a:cxn ang="0">
                    <a:pos x="994" y="534"/>
                  </a:cxn>
                  <a:cxn ang="0">
                    <a:pos x="1224" y="569"/>
                  </a:cxn>
                  <a:cxn ang="0">
                    <a:pos x="1411" y="607"/>
                  </a:cxn>
                  <a:cxn ang="0">
                    <a:pos x="1400" y="655"/>
                  </a:cxn>
                </a:cxnLst>
                <a:rect l="0" t="0" r="r" b="b"/>
                <a:pathLst>
                  <a:path w="2139" h="795">
                    <a:moveTo>
                      <a:pt x="1398" y="684"/>
                    </a:moveTo>
                    <a:cubicBezTo>
                      <a:pt x="1398" y="684"/>
                      <a:pt x="1415" y="688"/>
                      <a:pt x="1429" y="688"/>
                    </a:cubicBezTo>
                    <a:cubicBezTo>
                      <a:pt x="1454" y="688"/>
                      <a:pt x="1478" y="635"/>
                      <a:pt x="1495" y="618"/>
                    </a:cubicBezTo>
                    <a:cubicBezTo>
                      <a:pt x="1502" y="610"/>
                      <a:pt x="1512" y="596"/>
                      <a:pt x="1515" y="585"/>
                    </a:cubicBezTo>
                    <a:cubicBezTo>
                      <a:pt x="1518" y="572"/>
                      <a:pt x="1513" y="564"/>
                      <a:pt x="1520" y="551"/>
                    </a:cubicBezTo>
                    <a:cubicBezTo>
                      <a:pt x="1522" y="547"/>
                      <a:pt x="1527" y="537"/>
                      <a:pt x="1527" y="527"/>
                    </a:cubicBezTo>
                    <a:cubicBezTo>
                      <a:pt x="1527" y="515"/>
                      <a:pt x="1508" y="492"/>
                      <a:pt x="1499" y="499"/>
                    </a:cubicBezTo>
                    <a:cubicBezTo>
                      <a:pt x="1473" y="518"/>
                      <a:pt x="1460" y="488"/>
                      <a:pt x="1460" y="485"/>
                    </a:cubicBezTo>
                    <a:cubicBezTo>
                      <a:pt x="1460" y="473"/>
                      <a:pt x="1483" y="459"/>
                      <a:pt x="1493" y="450"/>
                    </a:cubicBezTo>
                    <a:cubicBezTo>
                      <a:pt x="1506" y="436"/>
                      <a:pt x="1524" y="413"/>
                      <a:pt x="1543" y="408"/>
                    </a:cubicBezTo>
                    <a:cubicBezTo>
                      <a:pt x="1560" y="404"/>
                      <a:pt x="1613" y="399"/>
                      <a:pt x="1627" y="399"/>
                    </a:cubicBezTo>
                    <a:cubicBezTo>
                      <a:pt x="1645" y="399"/>
                      <a:pt x="1654" y="408"/>
                      <a:pt x="1665" y="408"/>
                    </a:cubicBezTo>
                    <a:cubicBezTo>
                      <a:pt x="1671" y="408"/>
                      <a:pt x="1675" y="408"/>
                      <a:pt x="1689" y="408"/>
                    </a:cubicBezTo>
                    <a:cubicBezTo>
                      <a:pt x="1696" y="379"/>
                      <a:pt x="1709" y="362"/>
                      <a:pt x="1740" y="362"/>
                    </a:cubicBezTo>
                    <a:cubicBezTo>
                      <a:pt x="1748" y="362"/>
                      <a:pt x="1751" y="360"/>
                      <a:pt x="1766" y="362"/>
                    </a:cubicBezTo>
                    <a:cubicBezTo>
                      <a:pt x="1759" y="368"/>
                      <a:pt x="1756" y="406"/>
                      <a:pt x="1804" y="346"/>
                    </a:cubicBezTo>
                    <a:cubicBezTo>
                      <a:pt x="1809" y="346"/>
                      <a:pt x="1832" y="355"/>
                      <a:pt x="1797" y="377"/>
                    </a:cubicBezTo>
                    <a:cubicBezTo>
                      <a:pt x="1785" y="385"/>
                      <a:pt x="1774" y="381"/>
                      <a:pt x="1766" y="393"/>
                    </a:cubicBezTo>
                    <a:cubicBezTo>
                      <a:pt x="1757" y="406"/>
                      <a:pt x="1749" y="423"/>
                      <a:pt x="1735" y="430"/>
                    </a:cubicBezTo>
                    <a:cubicBezTo>
                      <a:pt x="1724" y="436"/>
                      <a:pt x="1709" y="447"/>
                      <a:pt x="1709" y="465"/>
                    </a:cubicBezTo>
                    <a:cubicBezTo>
                      <a:pt x="1709" y="482"/>
                      <a:pt x="1714" y="535"/>
                      <a:pt x="1726" y="545"/>
                    </a:cubicBezTo>
                    <a:cubicBezTo>
                      <a:pt x="1735" y="532"/>
                      <a:pt x="1741" y="507"/>
                      <a:pt x="1760" y="503"/>
                    </a:cubicBezTo>
                    <a:cubicBezTo>
                      <a:pt x="1757" y="491"/>
                      <a:pt x="1777" y="488"/>
                      <a:pt x="1777" y="479"/>
                    </a:cubicBezTo>
                    <a:cubicBezTo>
                      <a:pt x="1777" y="464"/>
                      <a:pt x="1793" y="460"/>
                      <a:pt x="1793" y="452"/>
                    </a:cubicBezTo>
                    <a:cubicBezTo>
                      <a:pt x="1793" y="447"/>
                      <a:pt x="1788" y="442"/>
                      <a:pt x="1793" y="432"/>
                    </a:cubicBezTo>
                    <a:cubicBezTo>
                      <a:pt x="1828" y="356"/>
                      <a:pt x="1861" y="397"/>
                      <a:pt x="1874" y="397"/>
                    </a:cubicBezTo>
                    <a:cubicBezTo>
                      <a:pt x="1914" y="397"/>
                      <a:pt x="1941" y="347"/>
                      <a:pt x="1976" y="346"/>
                    </a:cubicBezTo>
                    <a:cubicBezTo>
                      <a:pt x="2041" y="345"/>
                      <a:pt x="1989" y="320"/>
                      <a:pt x="1989" y="313"/>
                    </a:cubicBezTo>
                    <a:cubicBezTo>
                      <a:pt x="1989" y="294"/>
                      <a:pt x="2015" y="297"/>
                      <a:pt x="2020" y="287"/>
                    </a:cubicBezTo>
                    <a:cubicBezTo>
                      <a:pt x="2022" y="282"/>
                      <a:pt x="2018" y="271"/>
                      <a:pt x="2026" y="271"/>
                    </a:cubicBezTo>
                    <a:cubicBezTo>
                      <a:pt x="2054" y="271"/>
                      <a:pt x="2077" y="309"/>
                      <a:pt x="2097" y="309"/>
                    </a:cubicBezTo>
                    <a:cubicBezTo>
                      <a:pt x="2106" y="309"/>
                      <a:pt x="2108" y="293"/>
                      <a:pt x="2112" y="287"/>
                    </a:cubicBezTo>
                    <a:cubicBezTo>
                      <a:pt x="2120" y="278"/>
                      <a:pt x="2127" y="279"/>
                      <a:pt x="2139" y="275"/>
                    </a:cubicBezTo>
                    <a:cubicBezTo>
                      <a:pt x="2123" y="254"/>
                      <a:pt x="2071" y="242"/>
                      <a:pt x="2046" y="227"/>
                    </a:cubicBezTo>
                    <a:cubicBezTo>
                      <a:pt x="2011" y="207"/>
                      <a:pt x="1965" y="185"/>
                      <a:pt x="1914" y="185"/>
                    </a:cubicBezTo>
                    <a:cubicBezTo>
                      <a:pt x="1900" y="185"/>
                      <a:pt x="1890" y="188"/>
                      <a:pt x="1892" y="194"/>
                    </a:cubicBezTo>
                    <a:cubicBezTo>
                      <a:pt x="1906" y="237"/>
                      <a:pt x="1872" y="194"/>
                      <a:pt x="1863" y="194"/>
                    </a:cubicBezTo>
                    <a:cubicBezTo>
                      <a:pt x="1762" y="192"/>
                      <a:pt x="1762" y="192"/>
                      <a:pt x="1762" y="192"/>
                    </a:cubicBezTo>
                    <a:cubicBezTo>
                      <a:pt x="1756" y="169"/>
                      <a:pt x="1741" y="161"/>
                      <a:pt x="1711" y="161"/>
                    </a:cubicBezTo>
                    <a:cubicBezTo>
                      <a:pt x="1695" y="161"/>
                      <a:pt x="1670" y="167"/>
                      <a:pt x="1660" y="159"/>
                    </a:cubicBezTo>
                    <a:cubicBezTo>
                      <a:pt x="1652" y="151"/>
                      <a:pt x="1651" y="141"/>
                      <a:pt x="1638" y="137"/>
                    </a:cubicBezTo>
                    <a:cubicBezTo>
                      <a:pt x="1611" y="128"/>
                      <a:pt x="1582" y="121"/>
                      <a:pt x="1548" y="121"/>
                    </a:cubicBezTo>
                    <a:cubicBezTo>
                      <a:pt x="1513" y="121"/>
                      <a:pt x="1509" y="140"/>
                      <a:pt x="1506" y="157"/>
                    </a:cubicBezTo>
                    <a:cubicBezTo>
                      <a:pt x="1473" y="157"/>
                      <a:pt x="1457" y="157"/>
                      <a:pt x="1435" y="157"/>
                    </a:cubicBezTo>
                    <a:cubicBezTo>
                      <a:pt x="1423" y="157"/>
                      <a:pt x="1421" y="147"/>
                      <a:pt x="1407" y="146"/>
                    </a:cubicBezTo>
                    <a:cubicBezTo>
                      <a:pt x="1405" y="152"/>
                      <a:pt x="1403" y="166"/>
                      <a:pt x="1396" y="166"/>
                    </a:cubicBezTo>
                    <a:cubicBezTo>
                      <a:pt x="1377" y="166"/>
                      <a:pt x="1369" y="143"/>
                      <a:pt x="1369" y="130"/>
                    </a:cubicBezTo>
                    <a:cubicBezTo>
                      <a:pt x="1369" y="127"/>
                      <a:pt x="1405" y="105"/>
                      <a:pt x="1314" y="97"/>
                    </a:cubicBezTo>
                    <a:cubicBezTo>
                      <a:pt x="1303" y="96"/>
                      <a:pt x="1296" y="101"/>
                      <a:pt x="1296" y="115"/>
                    </a:cubicBezTo>
                    <a:cubicBezTo>
                      <a:pt x="1248" y="115"/>
                      <a:pt x="1248" y="115"/>
                      <a:pt x="1248" y="115"/>
                    </a:cubicBezTo>
                    <a:cubicBezTo>
                      <a:pt x="1233" y="111"/>
                      <a:pt x="1157" y="102"/>
                      <a:pt x="1147" y="86"/>
                    </a:cubicBezTo>
                    <a:cubicBezTo>
                      <a:pt x="1089" y="133"/>
                      <a:pt x="1102" y="104"/>
                      <a:pt x="1102" y="104"/>
                    </a:cubicBezTo>
                    <a:cubicBezTo>
                      <a:pt x="1116" y="87"/>
                      <a:pt x="1249" y="51"/>
                      <a:pt x="1140" y="24"/>
                    </a:cubicBezTo>
                    <a:cubicBezTo>
                      <a:pt x="1094" y="24"/>
                      <a:pt x="1094" y="24"/>
                      <a:pt x="1094" y="24"/>
                    </a:cubicBezTo>
                    <a:cubicBezTo>
                      <a:pt x="1089" y="12"/>
                      <a:pt x="1079" y="0"/>
                      <a:pt x="1060" y="0"/>
                    </a:cubicBezTo>
                    <a:cubicBezTo>
                      <a:pt x="1038" y="0"/>
                      <a:pt x="1028" y="17"/>
                      <a:pt x="1016" y="27"/>
                    </a:cubicBezTo>
                    <a:cubicBezTo>
                      <a:pt x="1008" y="33"/>
                      <a:pt x="951" y="56"/>
                      <a:pt x="956" y="35"/>
                    </a:cubicBezTo>
                    <a:cubicBezTo>
                      <a:pt x="941" y="40"/>
                      <a:pt x="879" y="44"/>
                      <a:pt x="847" y="73"/>
                    </a:cubicBezTo>
                    <a:cubicBezTo>
                      <a:pt x="840" y="79"/>
                      <a:pt x="838" y="97"/>
                      <a:pt x="828" y="97"/>
                    </a:cubicBezTo>
                    <a:cubicBezTo>
                      <a:pt x="813" y="97"/>
                      <a:pt x="758" y="92"/>
                      <a:pt x="758" y="117"/>
                    </a:cubicBezTo>
                    <a:cubicBezTo>
                      <a:pt x="758" y="122"/>
                      <a:pt x="763" y="128"/>
                      <a:pt x="765" y="135"/>
                    </a:cubicBezTo>
                    <a:cubicBezTo>
                      <a:pt x="755" y="141"/>
                      <a:pt x="752" y="135"/>
                      <a:pt x="721" y="135"/>
                    </a:cubicBezTo>
                    <a:cubicBezTo>
                      <a:pt x="695" y="170"/>
                      <a:pt x="697" y="129"/>
                      <a:pt x="691" y="121"/>
                    </a:cubicBezTo>
                    <a:cubicBezTo>
                      <a:pt x="689" y="136"/>
                      <a:pt x="679" y="142"/>
                      <a:pt x="668" y="148"/>
                    </a:cubicBezTo>
                    <a:cubicBezTo>
                      <a:pt x="671" y="160"/>
                      <a:pt x="690" y="173"/>
                      <a:pt x="677" y="188"/>
                    </a:cubicBezTo>
                    <a:cubicBezTo>
                      <a:pt x="667" y="198"/>
                      <a:pt x="695" y="230"/>
                      <a:pt x="680" y="230"/>
                    </a:cubicBezTo>
                    <a:cubicBezTo>
                      <a:pt x="662" y="230"/>
                      <a:pt x="657" y="164"/>
                      <a:pt x="657" y="150"/>
                    </a:cubicBezTo>
                    <a:cubicBezTo>
                      <a:pt x="657" y="135"/>
                      <a:pt x="681" y="129"/>
                      <a:pt x="644" y="121"/>
                    </a:cubicBezTo>
                    <a:cubicBezTo>
                      <a:pt x="625" y="118"/>
                      <a:pt x="589" y="149"/>
                      <a:pt x="589" y="166"/>
                    </a:cubicBezTo>
                    <a:cubicBezTo>
                      <a:pt x="589" y="186"/>
                      <a:pt x="598" y="199"/>
                      <a:pt x="608" y="210"/>
                    </a:cubicBezTo>
                    <a:cubicBezTo>
                      <a:pt x="633" y="248"/>
                      <a:pt x="574" y="205"/>
                      <a:pt x="552" y="200"/>
                    </a:cubicBezTo>
                    <a:cubicBezTo>
                      <a:pt x="492" y="184"/>
                      <a:pt x="512" y="204"/>
                      <a:pt x="511" y="207"/>
                    </a:cubicBezTo>
                    <a:cubicBezTo>
                      <a:pt x="509" y="241"/>
                      <a:pt x="495" y="214"/>
                      <a:pt x="487" y="214"/>
                    </a:cubicBezTo>
                    <a:cubicBezTo>
                      <a:pt x="473" y="214"/>
                      <a:pt x="445" y="233"/>
                      <a:pt x="425" y="223"/>
                    </a:cubicBezTo>
                    <a:cubicBezTo>
                      <a:pt x="415" y="197"/>
                      <a:pt x="349" y="256"/>
                      <a:pt x="333" y="256"/>
                    </a:cubicBezTo>
                    <a:cubicBezTo>
                      <a:pt x="327" y="256"/>
                      <a:pt x="320" y="252"/>
                      <a:pt x="322" y="247"/>
                    </a:cubicBezTo>
                    <a:cubicBezTo>
                      <a:pt x="329" y="229"/>
                      <a:pt x="319" y="191"/>
                      <a:pt x="300" y="249"/>
                    </a:cubicBezTo>
                    <a:cubicBezTo>
                      <a:pt x="298" y="253"/>
                      <a:pt x="306" y="255"/>
                      <a:pt x="306" y="263"/>
                    </a:cubicBezTo>
                    <a:cubicBezTo>
                      <a:pt x="306" y="278"/>
                      <a:pt x="283" y="267"/>
                      <a:pt x="271" y="271"/>
                    </a:cubicBezTo>
                    <a:cubicBezTo>
                      <a:pt x="259" y="275"/>
                      <a:pt x="265" y="318"/>
                      <a:pt x="214" y="296"/>
                    </a:cubicBezTo>
                    <a:cubicBezTo>
                      <a:pt x="214" y="313"/>
                      <a:pt x="214" y="313"/>
                      <a:pt x="214" y="313"/>
                    </a:cubicBezTo>
                    <a:cubicBezTo>
                      <a:pt x="189" y="311"/>
                      <a:pt x="192" y="284"/>
                      <a:pt x="183" y="271"/>
                    </a:cubicBezTo>
                    <a:cubicBezTo>
                      <a:pt x="202" y="271"/>
                      <a:pt x="212" y="271"/>
                      <a:pt x="230" y="276"/>
                    </a:cubicBezTo>
                    <a:cubicBezTo>
                      <a:pt x="255" y="282"/>
                      <a:pt x="304" y="251"/>
                      <a:pt x="229" y="227"/>
                    </a:cubicBezTo>
                    <a:cubicBezTo>
                      <a:pt x="208" y="220"/>
                      <a:pt x="160" y="196"/>
                      <a:pt x="145" y="196"/>
                    </a:cubicBezTo>
                    <a:cubicBezTo>
                      <a:pt x="144" y="196"/>
                      <a:pt x="144" y="195"/>
                      <a:pt x="133" y="196"/>
                    </a:cubicBezTo>
                    <a:cubicBezTo>
                      <a:pt x="127" y="200"/>
                      <a:pt x="111" y="208"/>
                      <a:pt x="111" y="219"/>
                    </a:cubicBezTo>
                    <a:cubicBezTo>
                      <a:pt x="111" y="227"/>
                      <a:pt x="127" y="226"/>
                      <a:pt x="127" y="236"/>
                    </a:cubicBezTo>
                    <a:cubicBezTo>
                      <a:pt x="127" y="244"/>
                      <a:pt x="119" y="247"/>
                      <a:pt x="119" y="255"/>
                    </a:cubicBezTo>
                    <a:cubicBezTo>
                      <a:pt x="119" y="263"/>
                      <a:pt x="128" y="268"/>
                      <a:pt x="128" y="277"/>
                    </a:cubicBezTo>
                    <a:cubicBezTo>
                      <a:pt x="128" y="282"/>
                      <a:pt x="123" y="285"/>
                      <a:pt x="123" y="290"/>
                    </a:cubicBezTo>
                    <a:cubicBezTo>
                      <a:pt x="123" y="300"/>
                      <a:pt x="136" y="302"/>
                      <a:pt x="136" y="312"/>
                    </a:cubicBezTo>
                    <a:cubicBezTo>
                      <a:pt x="136" y="315"/>
                      <a:pt x="132" y="317"/>
                      <a:pt x="131" y="318"/>
                    </a:cubicBezTo>
                    <a:cubicBezTo>
                      <a:pt x="135" y="325"/>
                      <a:pt x="145" y="327"/>
                      <a:pt x="145" y="336"/>
                    </a:cubicBezTo>
                    <a:cubicBezTo>
                      <a:pt x="145" y="351"/>
                      <a:pt x="115" y="367"/>
                      <a:pt x="106" y="379"/>
                    </a:cubicBezTo>
                    <a:cubicBezTo>
                      <a:pt x="109" y="384"/>
                      <a:pt x="114" y="387"/>
                      <a:pt x="117" y="395"/>
                    </a:cubicBezTo>
                    <a:cubicBezTo>
                      <a:pt x="111" y="398"/>
                      <a:pt x="98" y="405"/>
                      <a:pt x="92" y="405"/>
                    </a:cubicBezTo>
                    <a:cubicBezTo>
                      <a:pt x="85" y="405"/>
                      <a:pt x="80" y="402"/>
                      <a:pt x="70" y="402"/>
                    </a:cubicBezTo>
                    <a:cubicBezTo>
                      <a:pt x="61" y="402"/>
                      <a:pt x="38" y="410"/>
                      <a:pt x="45" y="417"/>
                    </a:cubicBezTo>
                    <a:cubicBezTo>
                      <a:pt x="67" y="438"/>
                      <a:pt x="56" y="446"/>
                      <a:pt x="50" y="446"/>
                    </a:cubicBezTo>
                    <a:cubicBezTo>
                      <a:pt x="42" y="446"/>
                      <a:pt x="40" y="435"/>
                      <a:pt x="33" y="435"/>
                    </a:cubicBezTo>
                    <a:cubicBezTo>
                      <a:pt x="25" y="435"/>
                      <a:pt x="15" y="455"/>
                      <a:pt x="15" y="465"/>
                    </a:cubicBezTo>
                    <a:cubicBezTo>
                      <a:pt x="15" y="483"/>
                      <a:pt x="1" y="480"/>
                      <a:pt x="0" y="496"/>
                    </a:cubicBezTo>
                    <a:cubicBezTo>
                      <a:pt x="6" y="495"/>
                      <a:pt x="11" y="495"/>
                      <a:pt x="16" y="495"/>
                    </a:cubicBezTo>
                    <a:cubicBezTo>
                      <a:pt x="24" y="495"/>
                      <a:pt x="30" y="494"/>
                      <a:pt x="39" y="494"/>
                    </a:cubicBezTo>
                    <a:cubicBezTo>
                      <a:pt x="48" y="494"/>
                      <a:pt x="52" y="510"/>
                      <a:pt x="52" y="520"/>
                    </a:cubicBezTo>
                    <a:cubicBezTo>
                      <a:pt x="52" y="526"/>
                      <a:pt x="46" y="529"/>
                      <a:pt x="46" y="535"/>
                    </a:cubicBezTo>
                    <a:cubicBezTo>
                      <a:pt x="46" y="544"/>
                      <a:pt x="54" y="550"/>
                      <a:pt x="54" y="558"/>
                    </a:cubicBezTo>
                    <a:cubicBezTo>
                      <a:pt x="54" y="563"/>
                      <a:pt x="46" y="565"/>
                      <a:pt x="44" y="568"/>
                    </a:cubicBezTo>
                    <a:cubicBezTo>
                      <a:pt x="39" y="576"/>
                      <a:pt x="37" y="583"/>
                      <a:pt x="37" y="593"/>
                    </a:cubicBezTo>
                    <a:cubicBezTo>
                      <a:pt x="37" y="606"/>
                      <a:pt x="46" y="603"/>
                      <a:pt x="56" y="603"/>
                    </a:cubicBezTo>
                    <a:cubicBezTo>
                      <a:pt x="70" y="603"/>
                      <a:pt x="77" y="597"/>
                      <a:pt x="88" y="597"/>
                    </a:cubicBezTo>
                    <a:cubicBezTo>
                      <a:pt x="99" y="597"/>
                      <a:pt x="97" y="620"/>
                      <a:pt x="108" y="620"/>
                    </a:cubicBezTo>
                    <a:cubicBezTo>
                      <a:pt x="108" y="638"/>
                      <a:pt x="108" y="638"/>
                      <a:pt x="108" y="638"/>
                    </a:cubicBezTo>
                    <a:cubicBezTo>
                      <a:pt x="108" y="640"/>
                      <a:pt x="109" y="641"/>
                      <a:pt x="110" y="641"/>
                    </a:cubicBezTo>
                    <a:cubicBezTo>
                      <a:pt x="112" y="644"/>
                      <a:pt x="112" y="644"/>
                      <a:pt x="112" y="644"/>
                    </a:cubicBezTo>
                    <a:cubicBezTo>
                      <a:pt x="114" y="644"/>
                      <a:pt x="120" y="642"/>
                      <a:pt x="123" y="641"/>
                    </a:cubicBezTo>
                    <a:cubicBezTo>
                      <a:pt x="132" y="639"/>
                      <a:pt x="133" y="627"/>
                      <a:pt x="143" y="627"/>
                    </a:cubicBezTo>
                    <a:cubicBezTo>
                      <a:pt x="151" y="627"/>
                      <a:pt x="171" y="660"/>
                      <a:pt x="177" y="660"/>
                    </a:cubicBezTo>
                    <a:cubicBezTo>
                      <a:pt x="184" y="660"/>
                      <a:pt x="205" y="651"/>
                      <a:pt x="208" y="647"/>
                    </a:cubicBezTo>
                    <a:cubicBezTo>
                      <a:pt x="207" y="647"/>
                      <a:pt x="196" y="645"/>
                      <a:pt x="196" y="645"/>
                    </a:cubicBezTo>
                    <a:cubicBezTo>
                      <a:pt x="194" y="645"/>
                      <a:pt x="189" y="644"/>
                      <a:pt x="189" y="638"/>
                    </a:cubicBezTo>
                    <a:cubicBezTo>
                      <a:pt x="189" y="635"/>
                      <a:pt x="221" y="623"/>
                      <a:pt x="233" y="619"/>
                    </a:cubicBezTo>
                    <a:cubicBezTo>
                      <a:pt x="233" y="619"/>
                      <a:pt x="227" y="625"/>
                      <a:pt x="225" y="626"/>
                    </a:cubicBezTo>
                    <a:cubicBezTo>
                      <a:pt x="226" y="629"/>
                      <a:pt x="237" y="641"/>
                      <a:pt x="211" y="647"/>
                    </a:cubicBezTo>
                    <a:cubicBezTo>
                      <a:pt x="223" y="673"/>
                      <a:pt x="273" y="669"/>
                      <a:pt x="273" y="704"/>
                    </a:cubicBezTo>
                    <a:cubicBezTo>
                      <a:pt x="275" y="703"/>
                      <a:pt x="275" y="703"/>
                      <a:pt x="275" y="703"/>
                    </a:cubicBezTo>
                    <a:cubicBezTo>
                      <a:pt x="278" y="702"/>
                      <a:pt x="280" y="701"/>
                      <a:pt x="284" y="701"/>
                    </a:cubicBezTo>
                    <a:cubicBezTo>
                      <a:pt x="298" y="701"/>
                      <a:pt x="297" y="710"/>
                      <a:pt x="302" y="719"/>
                    </a:cubicBezTo>
                    <a:cubicBezTo>
                      <a:pt x="303" y="721"/>
                      <a:pt x="312" y="726"/>
                      <a:pt x="312" y="726"/>
                    </a:cubicBezTo>
                    <a:cubicBezTo>
                      <a:pt x="320" y="729"/>
                      <a:pt x="322" y="742"/>
                      <a:pt x="335" y="742"/>
                    </a:cubicBezTo>
                    <a:cubicBezTo>
                      <a:pt x="344" y="742"/>
                      <a:pt x="344" y="734"/>
                      <a:pt x="350" y="732"/>
                    </a:cubicBezTo>
                    <a:cubicBezTo>
                      <a:pt x="354" y="731"/>
                      <a:pt x="353" y="731"/>
                      <a:pt x="357" y="731"/>
                    </a:cubicBezTo>
                    <a:cubicBezTo>
                      <a:pt x="358" y="733"/>
                      <a:pt x="358" y="737"/>
                      <a:pt x="360" y="739"/>
                    </a:cubicBezTo>
                    <a:cubicBezTo>
                      <a:pt x="359" y="739"/>
                      <a:pt x="360" y="740"/>
                      <a:pt x="360" y="741"/>
                    </a:cubicBezTo>
                    <a:cubicBezTo>
                      <a:pt x="366" y="742"/>
                      <a:pt x="366" y="742"/>
                      <a:pt x="366" y="742"/>
                    </a:cubicBezTo>
                    <a:cubicBezTo>
                      <a:pt x="371" y="735"/>
                      <a:pt x="371" y="724"/>
                      <a:pt x="378" y="721"/>
                    </a:cubicBezTo>
                    <a:cubicBezTo>
                      <a:pt x="366" y="714"/>
                      <a:pt x="348" y="688"/>
                      <a:pt x="348" y="673"/>
                    </a:cubicBezTo>
                    <a:cubicBezTo>
                      <a:pt x="348" y="668"/>
                      <a:pt x="338" y="662"/>
                      <a:pt x="338" y="655"/>
                    </a:cubicBezTo>
                    <a:cubicBezTo>
                      <a:pt x="338" y="653"/>
                      <a:pt x="347" y="637"/>
                      <a:pt x="349" y="634"/>
                    </a:cubicBezTo>
                    <a:cubicBezTo>
                      <a:pt x="351" y="635"/>
                      <a:pt x="365" y="628"/>
                      <a:pt x="366" y="627"/>
                    </a:cubicBezTo>
                    <a:cubicBezTo>
                      <a:pt x="377" y="623"/>
                      <a:pt x="384" y="620"/>
                      <a:pt x="399" y="620"/>
                    </a:cubicBezTo>
                    <a:cubicBezTo>
                      <a:pt x="423" y="620"/>
                      <a:pt x="427" y="631"/>
                      <a:pt x="436" y="645"/>
                    </a:cubicBezTo>
                    <a:cubicBezTo>
                      <a:pt x="429" y="650"/>
                      <a:pt x="420" y="645"/>
                      <a:pt x="412" y="645"/>
                    </a:cubicBezTo>
                    <a:cubicBezTo>
                      <a:pt x="400" y="645"/>
                      <a:pt x="383" y="656"/>
                      <a:pt x="381" y="656"/>
                    </a:cubicBezTo>
                    <a:cubicBezTo>
                      <a:pt x="382" y="665"/>
                      <a:pt x="389" y="664"/>
                      <a:pt x="391" y="669"/>
                    </a:cubicBezTo>
                    <a:cubicBezTo>
                      <a:pt x="400" y="684"/>
                      <a:pt x="412" y="690"/>
                      <a:pt x="412" y="707"/>
                    </a:cubicBezTo>
                    <a:cubicBezTo>
                      <a:pt x="415" y="705"/>
                      <a:pt x="424" y="701"/>
                      <a:pt x="427" y="700"/>
                    </a:cubicBezTo>
                    <a:cubicBezTo>
                      <a:pt x="427" y="707"/>
                      <a:pt x="434" y="710"/>
                      <a:pt x="434" y="717"/>
                    </a:cubicBezTo>
                    <a:cubicBezTo>
                      <a:pt x="421" y="717"/>
                      <a:pt x="421" y="717"/>
                      <a:pt x="421" y="717"/>
                    </a:cubicBezTo>
                    <a:cubicBezTo>
                      <a:pt x="417" y="717"/>
                      <a:pt x="413" y="721"/>
                      <a:pt x="412" y="728"/>
                    </a:cubicBezTo>
                    <a:cubicBezTo>
                      <a:pt x="421" y="729"/>
                      <a:pt x="428" y="738"/>
                      <a:pt x="428" y="746"/>
                    </a:cubicBezTo>
                    <a:cubicBezTo>
                      <a:pt x="428" y="751"/>
                      <a:pt x="424" y="753"/>
                      <a:pt x="424" y="757"/>
                    </a:cubicBezTo>
                    <a:cubicBezTo>
                      <a:pt x="424" y="761"/>
                      <a:pt x="428" y="765"/>
                      <a:pt x="429" y="766"/>
                    </a:cubicBezTo>
                    <a:cubicBezTo>
                      <a:pt x="429" y="762"/>
                      <a:pt x="434" y="762"/>
                      <a:pt x="438" y="761"/>
                    </a:cubicBezTo>
                    <a:cubicBezTo>
                      <a:pt x="443" y="759"/>
                      <a:pt x="442" y="757"/>
                      <a:pt x="447" y="755"/>
                    </a:cubicBezTo>
                    <a:cubicBezTo>
                      <a:pt x="455" y="752"/>
                      <a:pt x="460" y="754"/>
                      <a:pt x="466" y="749"/>
                    </a:cubicBezTo>
                    <a:cubicBezTo>
                      <a:pt x="476" y="755"/>
                      <a:pt x="482" y="755"/>
                      <a:pt x="491" y="758"/>
                    </a:cubicBezTo>
                    <a:cubicBezTo>
                      <a:pt x="502" y="762"/>
                      <a:pt x="505" y="772"/>
                      <a:pt x="518" y="772"/>
                    </a:cubicBezTo>
                    <a:cubicBezTo>
                      <a:pt x="518" y="774"/>
                      <a:pt x="521" y="775"/>
                      <a:pt x="522" y="777"/>
                    </a:cubicBezTo>
                    <a:cubicBezTo>
                      <a:pt x="523" y="781"/>
                      <a:pt x="522" y="787"/>
                      <a:pt x="524" y="793"/>
                    </a:cubicBezTo>
                    <a:cubicBezTo>
                      <a:pt x="529" y="787"/>
                      <a:pt x="533" y="795"/>
                      <a:pt x="537" y="795"/>
                    </a:cubicBezTo>
                    <a:cubicBezTo>
                      <a:pt x="542" y="795"/>
                      <a:pt x="544" y="791"/>
                      <a:pt x="547" y="788"/>
                    </a:cubicBezTo>
                    <a:cubicBezTo>
                      <a:pt x="551" y="784"/>
                      <a:pt x="556" y="784"/>
                      <a:pt x="559" y="781"/>
                    </a:cubicBezTo>
                    <a:cubicBezTo>
                      <a:pt x="567" y="773"/>
                      <a:pt x="568" y="762"/>
                      <a:pt x="579" y="762"/>
                    </a:cubicBezTo>
                    <a:cubicBezTo>
                      <a:pt x="583" y="762"/>
                      <a:pt x="582" y="764"/>
                      <a:pt x="586" y="764"/>
                    </a:cubicBezTo>
                    <a:cubicBezTo>
                      <a:pt x="587" y="769"/>
                      <a:pt x="597" y="765"/>
                      <a:pt x="600" y="765"/>
                    </a:cubicBezTo>
                    <a:cubicBezTo>
                      <a:pt x="604" y="765"/>
                      <a:pt x="605" y="770"/>
                      <a:pt x="608" y="770"/>
                    </a:cubicBezTo>
                    <a:cubicBezTo>
                      <a:pt x="617" y="770"/>
                      <a:pt x="624" y="765"/>
                      <a:pt x="627" y="759"/>
                    </a:cubicBezTo>
                    <a:cubicBezTo>
                      <a:pt x="628" y="760"/>
                      <a:pt x="629" y="759"/>
                      <a:pt x="630" y="759"/>
                    </a:cubicBezTo>
                    <a:cubicBezTo>
                      <a:pt x="634" y="759"/>
                      <a:pt x="636" y="749"/>
                      <a:pt x="645" y="749"/>
                    </a:cubicBezTo>
                    <a:cubicBezTo>
                      <a:pt x="654" y="749"/>
                      <a:pt x="644" y="772"/>
                      <a:pt x="654" y="772"/>
                    </a:cubicBezTo>
                    <a:cubicBezTo>
                      <a:pt x="664" y="772"/>
                      <a:pt x="668" y="764"/>
                      <a:pt x="677" y="764"/>
                    </a:cubicBezTo>
                    <a:cubicBezTo>
                      <a:pt x="682" y="764"/>
                      <a:pt x="686" y="764"/>
                      <a:pt x="692" y="765"/>
                    </a:cubicBezTo>
                    <a:cubicBezTo>
                      <a:pt x="692" y="763"/>
                      <a:pt x="692" y="763"/>
                      <a:pt x="692" y="763"/>
                    </a:cubicBezTo>
                    <a:cubicBezTo>
                      <a:pt x="690" y="753"/>
                      <a:pt x="688" y="750"/>
                      <a:pt x="677" y="748"/>
                    </a:cubicBezTo>
                    <a:cubicBezTo>
                      <a:pt x="678" y="739"/>
                      <a:pt x="687" y="719"/>
                      <a:pt x="694" y="719"/>
                    </a:cubicBezTo>
                    <a:cubicBezTo>
                      <a:pt x="735" y="719"/>
                      <a:pt x="763" y="698"/>
                      <a:pt x="763" y="649"/>
                    </a:cubicBezTo>
                    <a:cubicBezTo>
                      <a:pt x="785" y="645"/>
                      <a:pt x="787" y="618"/>
                      <a:pt x="800" y="620"/>
                    </a:cubicBezTo>
                    <a:cubicBezTo>
                      <a:pt x="836" y="624"/>
                      <a:pt x="822" y="600"/>
                      <a:pt x="829" y="593"/>
                    </a:cubicBezTo>
                    <a:cubicBezTo>
                      <a:pt x="847" y="578"/>
                      <a:pt x="873" y="578"/>
                      <a:pt x="895" y="565"/>
                    </a:cubicBezTo>
                    <a:cubicBezTo>
                      <a:pt x="898" y="563"/>
                      <a:pt x="906" y="554"/>
                      <a:pt x="913" y="554"/>
                    </a:cubicBezTo>
                    <a:cubicBezTo>
                      <a:pt x="924" y="554"/>
                      <a:pt x="943" y="567"/>
                      <a:pt x="961" y="567"/>
                    </a:cubicBezTo>
                    <a:cubicBezTo>
                      <a:pt x="986" y="567"/>
                      <a:pt x="981" y="534"/>
                      <a:pt x="994" y="534"/>
                    </a:cubicBezTo>
                    <a:cubicBezTo>
                      <a:pt x="1002" y="534"/>
                      <a:pt x="1029" y="538"/>
                      <a:pt x="1032" y="545"/>
                    </a:cubicBezTo>
                    <a:cubicBezTo>
                      <a:pt x="1042" y="573"/>
                      <a:pt x="1060" y="558"/>
                      <a:pt x="1072" y="558"/>
                    </a:cubicBezTo>
                    <a:cubicBezTo>
                      <a:pt x="1099" y="558"/>
                      <a:pt x="1107" y="580"/>
                      <a:pt x="1135" y="580"/>
                    </a:cubicBezTo>
                    <a:cubicBezTo>
                      <a:pt x="1160" y="580"/>
                      <a:pt x="1192" y="557"/>
                      <a:pt x="1224" y="569"/>
                    </a:cubicBezTo>
                    <a:cubicBezTo>
                      <a:pt x="1266" y="586"/>
                      <a:pt x="1245" y="512"/>
                      <a:pt x="1301" y="512"/>
                    </a:cubicBezTo>
                    <a:cubicBezTo>
                      <a:pt x="1340" y="512"/>
                      <a:pt x="1339" y="543"/>
                      <a:pt x="1354" y="567"/>
                    </a:cubicBezTo>
                    <a:cubicBezTo>
                      <a:pt x="1360" y="576"/>
                      <a:pt x="1379" y="577"/>
                      <a:pt x="1387" y="585"/>
                    </a:cubicBezTo>
                    <a:cubicBezTo>
                      <a:pt x="1393" y="590"/>
                      <a:pt x="1398" y="607"/>
                      <a:pt x="1411" y="607"/>
                    </a:cubicBezTo>
                    <a:cubicBezTo>
                      <a:pt x="1426" y="607"/>
                      <a:pt x="1428" y="593"/>
                      <a:pt x="1446" y="593"/>
                    </a:cubicBezTo>
                    <a:cubicBezTo>
                      <a:pt x="1446" y="604"/>
                      <a:pt x="1446" y="604"/>
                      <a:pt x="1446" y="604"/>
                    </a:cubicBezTo>
                    <a:cubicBezTo>
                      <a:pt x="1437" y="614"/>
                      <a:pt x="1433" y="638"/>
                      <a:pt x="1422" y="644"/>
                    </a:cubicBezTo>
                    <a:cubicBezTo>
                      <a:pt x="1412" y="650"/>
                      <a:pt x="1394" y="651"/>
                      <a:pt x="1400" y="655"/>
                    </a:cubicBezTo>
                    <a:cubicBezTo>
                      <a:pt x="1415" y="665"/>
                      <a:pt x="1398" y="684"/>
                      <a:pt x="1398" y="6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1" name="Freeform 147"/>
              <p:cNvSpPr>
                <a:spLocks/>
              </p:cNvSpPr>
              <p:nvPr/>
            </p:nvSpPr>
            <p:spPr bwMode="auto">
              <a:xfrm>
                <a:off x="5614988" y="1879600"/>
                <a:ext cx="1023938" cy="646113"/>
              </a:xfrm>
              <a:custGeom>
                <a:avLst/>
                <a:gdLst/>
                <a:ahLst/>
                <a:cxnLst>
                  <a:cxn ang="0">
                    <a:pos x="585" y="307"/>
                  </a:cxn>
                  <a:cxn ang="0">
                    <a:pos x="573" y="287"/>
                  </a:cxn>
                  <a:cxn ang="0">
                    <a:pos x="614" y="256"/>
                  </a:cxn>
                  <a:cxn ang="0">
                    <a:pos x="588" y="246"/>
                  </a:cxn>
                  <a:cxn ang="0">
                    <a:pos x="570" y="255"/>
                  </a:cxn>
                  <a:cxn ang="0">
                    <a:pos x="552" y="236"/>
                  </a:cxn>
                  <a:cxn ang="0">
                    <a:pos x="590" y="209"/>
                  </a:cxn>
                  <a:cxn ang="0">
                    <a:pos x="606" y="212"/>
                  </a:cxn>
                  <a:cxn ang="0">
                    <a:pos x="634" y="216"/>
                  </a:cxn>
                  <a:cxn ang="0">
                    <a:pos x="648" y="231"/>
                  </a:cxn>
                  <a:cxn ang="0">
                    <a:pos x="648" y="248"/>
                  </a:cxn>
                  <a:cxn ang="0">
                    <a:pos x="666" y="254"/>
                  </a:cxn>
                  <a:cxn ang="0">
                    <a:pos x="659" y="264"/>
                  </a:cxn>
                  <a:cxn ang="0">
                    <a:pos x="665" y="275"/>
                  </a:cxn>
                  <a:cxn ang="0">
                    <a:pos x="664" y="290"/>
                  </a:cxn>
                  <a:cxn ang="0">
                    <a:pos x="668" y="295"/>
                  </a:cxn>
                  <a:cxn ang="0">
                    <a:pos x="690" y="286"/>
                  </a:cxn>
                  <a:cxn ang="0">
                    <a:pos x="683" y="232"/>
                  </a:cxn>
                  <a:cxn ang="0">
                    <a:pos x="688" y="210"/>
                  </a:cxn>
                  <a:cxn ang="0">
                    <a:pos x="721" y="172"/>
                  </a:cxn>
                  <a:cxn ang="0">
                    <a:pos x="745" y="132"/>
                  </a:cxn>
                  <a:cxn ang="0">
                    <a:pos x="769" y="81"/>
                  </a:cxn>
                  <a:cxn ang="0">
                    <a:pos x="710" y="73"/>
                  </a:cxn>
                  <a:cxn ang="0">
                    <a:pos x="624" y="0"/>
                  </a:cxn>
                  <a:cxn ang="0">
                    <a:pos x="458" y="68"/>
                  </a:cxn>
                  <a:cxn ang="0">
                    <a:pos x="355" y="33"/>
                  </a:cxn>
                  <a:cxn ang="0">
                    <a:pos x="284" y="55"/>
                  </a:cxn>
                  <a:cxn ang="0">
                    <a:pos x="218" y="53"/>
                  </a:cxn>
                  <a:cxn ang="0">
                    <a:pos x="123" y="108"/>
                  </a:cxn>
                  <a:cxn ang="0">
                    <a:pos x="17" y="207"/>
                  </a:cxn>
                  <a:cxn ang="0">
                    <a:pos x="15" y="251"/>
                  </a:cxn>
                  <a:cxn ang="0">
                    <a:pos x="25" y="261"/>
                  </a:cxn>
                  <a:cxn ang="0">
                    <a:pos x="50" y="280"/>
                  </a:cxn>
                  <a:cxn ang="0">
                    <a:pos x="83" y="284"/>
                  </a:cxn>
                  <a:cxn ang="0">
                    <a:pos x="73" y="317"/>
                  </a:cxn>
                  <a:cxn ang="0">
                    <a:pos x="63" y="326"/>
                  </a:cxn>
                  <a:cxn ang="0">
                    <a:pos x="73" y="343"/>
                  </a:cxn>
                  <a:cxn ang="0">
                    <a:pos x="110" y="357"/>
                  </a:cxn>
                  <a:cxn ang="0">
                    <a:pos x="132" y="373"/>
                  </a:cxn>
                  <a:cxn ang="0">
                    <a:pos x="160" y="384"/>
                  </a:cxn>
                  <a:cxn ang="0">
                    <a:pos x="186" y="382"/>
                  </a:cxn>
                  <a:cxn ang="0">
                    <a:pos x="210" y="381"/>
                  </a:cxn>
                  <a:cxn ang="0">
                    <a:pos x="255" y="372"/>
                  </a:cxn>
                  <a:cxn ang="0">
                    <a:pos x="275" y="366"/>
                  </a:cxn>
                  <a:cxn ang="0">
                    <a:pos x="282" y="362"/>
                  </a:cxn>
                  <a:cxn ang="0">
                    <a:pos x="316" y="400"/>
                  </a:cxn>
                  <a:cxn ang="0">
                    <a:pos x="306" y="439"/>
                  </a:cxn>
                  <a:cxn ang="0">
                    <a:pos x="324" y="450"/>
                  </a:cxn>
                  <a:cxn ang="0">
                    <a:pos x="346" y="467"/>
                  </a:cxn>
                  <a:cxn ang="0">
                    <a:pos x="351" y="472"/>
                  </a:cxn>
                  <a:cxn ang="0">
                    <a:pos x="353" y="457"/>
                  </a:cxn>
                  <a:cxn ang="0">
                    <a:pos x="379" y="454"/>
                  </a:cxn>
                  <a:cxn ang="0">
                    <a:pos x="416" y="453"/>
                  </a:cxn>
                  <a:cxn ang="0">
                    <a:pos x="431" y="470"/>
                  </a:cxn>
                  <a:cxn ang="0">
                    <a:pos x="454" y="486"/>
                  </a:cxn>
                  <a:cxn ang="0">
                    <a:pos x="476" y="470"/>
                  </a:cxn>
                  <a:cxn ang="0">
                    <a:pos x="503" y="455"/>
                  </a:cxn>
                  <a:cxn ang="0">
                    <a:pos x="552" y="439"/>
                  </a:cxn>
                  <a:cxn ang="0">
                    <a:pos x="576" y="406"/>
                  </a:cxn>
                  <a:cxn ang="0">
                    <a:pos x="604" y="355"/>
                  </a:cxn>
                  <a:cxn ang="0">
                    <a:pos x="586" y="307"/>
                  </a:cxn>
                </a:cxnLst>
                <a:rect l="0" t="0" r="r" b="b"/>
                <a:pathLst>
                  <a:path w="769" h="486">
                    <a:moveTo>
                      <a:pt x="586" y="307"/>
                    </a:moveTo>
                    <a:cubicBezTo>
                      <a:pt x="585" y="307"/>
                      <a:pt x="585" y="307"/>
                      <a:pt x="585" y="307"/>
                    </a:cubicBezTo>
                    <a:cubicBezTo>
                      <a:pt x="585" y="307"/>
                      <a:pt x="585" y="300"/>
                      <a:pt x="585" y="298"/>
                    </a:cubicBezTo>
                    <a:cubicBezTo>
                      <a:pt x="582" y="298"/>
                      <a:pt x="573" y="294"/>
                      <a:pt x="573" y="287"/>
                    </a:cubicBezTo>
                    <a:cubicBezTo>
                      <a:pt x="573" y="282"/>
                      <a:pt x="581" y="282"/>
                      <a:pt x="582" y="276"/>
                    </a:cubicBezTo>
                    <a:cubicBezTo>
                      <a:pt x="586" y="264"/>
                      <a:pt x="605" y="264"/>
                      <a:pt x="614" y="256"/>
                    </a:cubicBezTo>
                    <a:cubicBezTo>
                      <a:pt x="611" y="251"/>
                      <a:pt x="604" y="256"/>
                      <a:pt x="598" y="252"/>
                    </a:cubicBezTo>
                    <a:cubicBezTo>
                      <a:pt x="595" y="250"/>
                      <a:pt x="593" y="246"/>
                      <a:pt x="588" y="246"/>
                    </a:cubicBezTo>
                    <a:cubicBezTo>
                      <a:pt x="585" y="246"/>
                      <a:pt x="585" y="256"/>
                      <a:pt x="582" y="256"/>
                    </a:cubicBezTo>
                    <a:cubicBezTo>
                      <a:pt x="578" y="256"/>
                      <a:pt x="574" y="257"/>
                      <a:pt x="570" y="255"/>
                    </a:cubicBezTo>
                    <a:cubicBezTo>
                      <a:pt x="565" y="252"/>
                      <a:pt x="567" y="247"/>
                      <a:pt x="562" y="243"/>
                    </a:cubicBezTo>
                    <a:cubicBezTo>
                      <a:pt x="560" y="242"/>
                      <a:pt x="552" y="240"/>
                      <a:pt x="552" y="236"/>
                    </a:cubicBezTo>
                    <a:cubicBezTo>
                      <a:pt x="552" y="227"/>
                      <a:pt x="565" y="230"/>
                      <a:pt x="571" y="225"/>
                    </a:cubicBezTo>
                    <a:cubicBezTo>
                      <a:pt x="577" y="221"/>
                      <a:pt x="587" y="215"/>
                      <a:pt x="590" y="209"/>
                    </a:cubicBezTo>
                    <a:cubicBezTo>
                      <a:pt x="591" y="208"/>
                      <a:pt x="593" y="203"/>
                      <a:pt x="597" y="203"/>
                    </a:cubicBezTo>
                    <a:cubicBezTo>
                      <a:pt x="601" y="203"/>
                      <a:pt x="606" y="209"/>
                      <a:pt x="606" y="212"/>
                    </a:cubicBezTo>
                    <a:cubicBezTo>
                      <a:pt x="606" y="219"/>
                      <a:pt x="597" y="222"/>
                      <a:pt x="597" y="230"/>
                    </a:cubicBezTo>
                    <a:cubicBezTo>
                      <a:pt x="610" y="230"/>
                      <a:pt x="620" y="216"/>
                      <a:pt x="634" y="216"/>
                    </a:cubicBezTo>
                    <a:cubicBezTo>
                      <a:pt x="639" y="216"/>
                      <a:pt x="641" y="221"/>
                      <a:pt x="648" y="221"/>
                    </a:cubicBezTo>
                    <a:cubicBezTo>
                      <a:pt x="646" y="226"/>
                      <a:pt x="648" y="226"/>
                      <a:pt x="648" y="231"/>
                    </a:cubicBezTo>
                    <a:cubicBezTo>
                      <a:pt x="648" y="235"/>
                      <a:pt x="643" y="235"/>
                      <a:pt x="643" y="240"/>
                    </a:cubicBezTo>
                    <a:cubicBezTo>
                      <a:pt x="643" y="242"/>
                      <a:pt x="645" y="248"/>
                      <a:pt x="648" y="248"/>
                    </a:cubicBezTo>
                    <a:cubicBezTo>
                      <a:pt x="649" y="248"/>
                      <a:pt x="651" y="245"/>
                      <a:pt x="654" y="245"/>
                    </a:cubicBezTo>
                    <a:cubicBezTo>
                      <a:pt x="659" y="245"/>
                      <a:pt x="666" y="249"/>
                      <a:pt x="666" y="254"/>
                    </a:cubicBezTo>
                    <a:cubicBezTo>
                      <a:pt x="666" y="257"/>
                      <a:pt x="662" y="260"/>
                      <a:pt x="659" y="260"/>
                    </a:cubicBezTo>
                    <a:cubicBezTo>
                      <a:pt x="659" y="264"/>
                      <a:pt x="659" y="264"/>
                      <a:pt x="659" y="264"/>
                    </a:cubicBezTo>
                    <a:cubicBezTo>
                      <a:pt x="660" y="265"/>
                      <a:pt x="660" y="267"/>
                      <a:pt x="663" y="268"/>
                    </a:cubicBezTo>
                    <a:cubicBezTo>
                      <a:pt x="663" y="270"/>
                      <a:pt x="665" y="272"/>
                      <a:pt x="665" y="275"/>
                    </a:cubicBezTo>
                    <a:cubicBezTo>
                      <a:pt x="665" y="276"/>
                      <a:pt x="661" y="282"/>
                      <a:pt x="661" y="285"/>
                    </a:cubicBezTo>
                    <a:cubicBezTo>
                      <a:pt x="661" y="287"/>
                      <a:pt x="661" y="289"/>
                      <a:pt x="664" y="290"/>
                    </a:cubicBezTo>
                    <a:cubicBezTo>
                      <a:pt x="663" y="292"/>
                      <a:pt x="661" y="293"/>
                      <a:pt x="661" y="295"/>
                    </a:cubicBezTo>
                    <a:cubicBezTo>
                      <a:pt x="668" y="295"/>
                      <a:pt x="668" y="295"/>
                      <a:pt x="668" y="295"/>
                    </a:cubicBezTo>
                    <a:cubicBezTo>
                      <a:pt x="670" y="293"/>
                      <a:pt x="671" y="293"/>
                      <a:pt x="676" y="291"/>
                    </a:cubicBezTo>
                    <a:cubicBezTo>
                      <a:pt x="676" y="287"/>
                      <a:pt x="687" y="287"/>
                      <a:pt x="690" y="286"/>
                    </a:cubicBezTo>
                    <a:cubicBezTo>
                      <a:pt x="696" y="284"/>
                      <a:pt x="699" y="279"/>
                      <a:pt x="699" y="269"/>
                    </a:cubicBezTo>
                    <a:cubicBezTo>
                      <a:pt x="699" y="252"/>
                      <a:pt x="692" y="242"/>
                      <a:pt x="683" y="232"/>
                    </a:cubicBezTo>
                    <a:cubicBezTo>
                      <a:pt x="679" y="228"/>
                      <a:pt x="674" y="224"/>
                      <a:pt x="675" y="217"/>
                    </a:cubicBezTo>
                    <a:cubicBezTo>
                      <a:pt x="680" y="217"/>
                      <a:pt x="685" y="214"/>
                      <a:pt x="688" y="210"/>
                    </a:cubicBezTo>
                    <a:cubicBezTo>
                      <a:pt x="691" y="207"/>
                      <a:pt x="699" y="203"/>
                      <a:pt x="701" y="199"/>
                    </a:cubicBezTo>
                    <a:cubicBezTo>
                      <a:pt x="707" y="187"/>
                      <a:pt x="710" y="180"/>
                      <a:pt x="721" y="172"/>
                    </a:cubicBezTo>
                    <a:cubicBezTo>
                      <a:pt x="721" y="172"/>
                      <a:pt x="738" y="153"/>
                      <a:pt x="723" y="143"/>
                    </a:cubicBezTo>
                    <a:cubicBezTo>
                      <a:pt x="717" y="139"/>
                      <a:pt x="735" y="138"/>
                      <a:pt x="745" y="132"/>
                    </a:cubicBezTo>
                    <a:cubicBezTo>
                      <a:pt x="756" y="126"/>
                      <a:pt x="760" y="102"/>
                      <a:pt x="769" y="92"/>
                    </a:cubicBezTo>
                    <a:cubicBezTo>
                      <a:pt x="769" y="81"/>
                      <a:pt x="769" y="81"/>
                      <a:pt x="769" y="81"/>
                    </a:cubicBezTo>
                    <a:cubicBezTo>
                      <a:pt x="751" y="81"/>
                      <a:pt x="749" y="95"/>
                      <a:pt x="734" y="95"/>
                    </a:cubicBezTo>
                    <a:cubicBezTo>
                      <a:pt x="721" y="95"/>
                      <a:pt x="716" y="78"/>
                      <a:pt x="710" y="73"/>
                    </a:cubicBezTo>
                    <a:cubicBezTo>
                      <a:pt x="702" y="65"/>
                      <a:pt x="683" y="64"/>
                      <a:pt x="677" y="55"/>
                    </a:cubicBezTo>
                    <a:cubicBezTo>
                      <a:pt x="662" y="31"/>
                      <a:pt x="663" y="0"/>
                      <a:pt x="624" y="0"/>
                    </a:cubicBezTo>
                    <a:cubicBezTo>
                      <a:pt x="568" y="0"/>
                      <a:pt x="589" y="74"/>
                      <a:pt x="547" y="57"/>
                    </a:cubicBezTo>
                    <a:cubicBezTo>
                      <a:pt x="515" y="45"/>
                      <a:pt x="483" y="68"/>
                      <a:pt x="458" y="68"/>
                    </a:cubicBezTo>
                    <a:cubicBezTo>
                      <a:pt x="430" y="68"/>
                      <a:pt x="422" y="46"/>
                      <a:pt x="395" y="46"/>
                    </a:cubicBezTo>
                    <a:cubicBezTo>
                      <a:pt x="383" y="46"/>
                      <a:pt x="365" y="61"/>
                      <a:pt x="355" y="33"/>
                    </a:cubicBezTo>
                    <a:cubicBezTo>
                      <a:pt x="352" y="26"/>
                      <a:pt x="325" y="22"/>
                      <a:pt x="317" y="22"/>
                    </a:cubicBezTo>
                    <a:cubicBezTo>
                      <a:pt x="304" y="22"/>
                      <a:pt x="309" y="55"/>
                      <a:pt x="284" y="55"/>
                    </a:cubicBezTo>
                    <a:cubicBezTo>
                      <a:pt x="266" y="55"/>
                      <a:pt x="247" y="42"/>
                      <a:pt x="236" y="42"/>
                    </a:cubicBezTo>
                    <a:cubicBezTo>
                      <a:pt x="229" y="42"/>
                      <a:pt x="221" y="51"/>
                      <a:pt x="218" y="53"/>
                    </a:cubicBezTo>
                    <a:cubicBezTo>
                      <a:pt x="196" y="66"/>
                      <a:pt x="170" y="66"/>
                      <a:pt x="152" y="81"/>
                    </a:cubicBezTo>
                    <a:cubicBezTo>
                      <a:pt x="145" y="88"/>
                      <a:pt x="159" y="112"/>
                      <a:pt x="123" y="108"/>
                    </a:cubicBezTo>
                    <a:cubicBezTo>
                      <a:pt x="110" y="106"/>
                      <a:pt x="108" y="133"/>
                      <a:pt x="86" y="137"/>
                    </a:cubicBezTo>
                    <a:cubicBezTo>
                      <a:pt x="86" y="186"/>
                      <a:pt x="58" y="207"/>
                      <a:pt x="17" y="207"/>
                    </a:cubicBezTo>
                    <a:cubicBezTo>
                      <a:pt x="10" y="207"/>
                      <a:pt x="1" y="227"/>
                      <a:pt x="0" y="236"/>
                    </a:cubicBezTo>
                    <a:cubicBezTo>
                      <a:pt x="11" y="238"/>
                      <a:pt x="13" y="241"/>
                      <a:pt x="15" y="251"/>
                    </a:cubicBezTo>
                    <a:cubicBezTo>
                      <a:pt x="15" y="253"/>
                      <a:pt x="15" y="253"/>
                      <a:pt x="15" y="253"/>
                    </a:cubicBezTo>
                    <a:cubicBezTo>
                      <a:pt x="15" y="261"/>
                      <a:pt x="19" y="259"/>
                      <a:pt x="25" y="261"/>
                    </a:cubicBezTo>
                    <a:cubicBezTo>
                      <a:pt x="30" y="262"/>
                      <a:pt x="28" y="268"/>
                      <a:pt x="31" y="271"/>
                    </a:cubicBezTo>
                    <a:cubicBezTo>
                      <a:pt x="37" y="277"/>
                      <a:pt x="42" y="277"/>
                      <a:pt x="50" y="280"/>
                    </a:cubicBezTo>
                    <a:cubicBezTo>
                      <a:pt x="58" y="279"/>
                      <a:pt x="61" y="272"/>
                      <a:pt x="69" y="272"/>
                    </a:cubicBezTo>
                    <a:cubicBezTo>
                      <a:pt x="73" y="272"/>
                      <a:pt x="83" y="280"/>
                      <a:pt x="83" y="284"/>
                    </a:cubicBezTo>
                    <a:cubicBezTo>
                      <a:pt x="83" y="296"/>
                      <a:pt x="66" y="294"/>
                      <a:pt x="66" y="306"/>
                    </a:cubicBezTo>
                    <a:cubicBezTo>
                      <a:pt x="66" y="311"/>
                      <a:pt x="73" y="312"/>
                      <a:pt x="73" y="317"/>
                    </a:cubicBezTo>
                    <a:cubicBezTo>
                      <a:pt x="73" y="323"/>
                      <a:pt x="68" y="322"/>
                      <a:pt x="63" y="322"/>
                    </a:cubicBezTo>
                    <a:cubicBezTo>
                      <a:pt x="63" y="326"/>
                      <a:pt x="63" y="326"/>
                      <a:pt x="63" y="326"/>
                    </a:cubicBezTo>
                    <a:cubicBezTo>
                      <a:pt x="64" y="331"/>
                      <a:pt x="64" y="335"/>
                      <a:pt x="65" y="340"/>
                    </a:cubicBezTo>
                    <a:cubicBezTo>
                      <a:pt x="66" y="343"/>
                      <a:pt x="71" y="342"/>
                      <a:pt x="73" y="343"/>
                    </a:cubicBezTo>
                    <a:cubicBezTo>
                      <a:pt x="80" y="345"/>
                      <a:pt x="83" y="351"/>
                      <a:pt x="91" y="353"/>
                    </a:cubicBezTo>
                    <a:cubicBezTo>
                      <a:pt x="100" y="355"/>
                      <a:pt x="105" y="352"/>
                      <a:pt x="110" y="357"/>
                    </a:cubicBezTo>
                    <a:cubicBezTo>
                      <a:pt x="116" y="363"/>
                      <a:pt x="120" y="361"/>
                      <a:pt x="127" y="364"/>
                    </a:cubicBezTo>
                    <a:cubicBezTo>
                      <a:pt x="130" y="366"/>
                      <a:pt x="130" y="369"/>
                      <a:pt x="132" y="373"/>
                    </a:cubicBezTo>
                    <a:cubicBezTo>
                      <a:pt x="133" y="376"/>
                      <a:pt x="137" y="372"/>
                      <a:pt x="139" y="373"/>
                    </a:cubicBezTo>
                    <a:cubicBezTo>
                      <a:pt x="146" y="378"/>
                      <a:pt x="150" y="384"/>
                      <a:pt x="160" y="384"/>
                    </a:cubicBezTo>
                    <a:cubicBezTo>
                      <a:pt x="166" y="384"/>
                      <a:pt x="172" y="384"/>
                      <a:pt x="178" y="384"/>
                    </a:cubicBezTo>
                    <a:cubicBezTo>
                      <a:pt x="182" y="384"/>
                      <a:pt x="184" y="382"/>
                      <a:pt x="186" y="382"/>
                    </a:cubicBezTo>
                    <a:cubicBezTo>
                      <a:pt x="189" y="382"/>
                      <a:pt x="190" y="389"/>
                      <a:pt x="191" y="392"/>
                    </a:cubicBezTo>
                    <a:cubicBezTo>
                      <a:pt x="197" y="389"/>
                      <a:pt x="199" y="381"/>
                      <a:pt x="210" y="381"/>
                    </a:cubicBezTo>
                    <a:cubicBezTo>
                      <a:pt x="219" y="381"/>
                      <a:pt x="224" y="386"/>
                      <a:pt x="231" y="386"/>
                    </a:cubicBezTo>
                    <a:cubicBezTo>
                      <a:pt x="238" y="386"/>
                      <a:pt x="252" y="374"/>
                      <a:pt x="255" y="372"/>
                    </a:cubicBezTo>
                    <a:cubicBezTo>
                      <a:pt x="258" y="370"/>
                      <a:pt x="259" y="369"/>
                      <a:pt x="260" y="367"/>
                    </a:cubicBezTo>
                    <a:cubicBezTo>
                      <a:pt x="264" y="363"/>
                      <a:pt x="270" y="368"/>
                      <a:pt x="275" y="366"/>
                    </a:cubicBezTo>
                    <a:cubicBezTo>
                      <a:pt x="279" y="362"/>
                      <a:pt x="279" y="362"/>
                      <a:pt x="279" y="362"/>
                    </a:cubicBezTo>
                    <a:cubicBezTo>
                      <a:pt x="282" y="362"/>
                      <a:pt x="282" y="362"/>
                      <a:pt x="282" y="362"/>
                    </a:cubicBezTo>
                    <a:cubicBezTo>
                      <a:pt x="285" y="377"/>
                      <a:pt x="294" y="376"/>
                      <a:pt x="305" y="381"/>
                    </a:cubicBezTo>
                    <a:cubicBezTo>
                      <a:pt x="309" y="388"/>
                      <a:pt x="316" y="391"/>
                      <a:pt x="316" y="400"/>
                    </a:cubicBezTo>
                    <a:cubicBezTo>
                      <a:pt x="316" y="417"/>
                      <a:pt x="304" y="418"/>
                      <a:pt x="304" y="434"/>
                    </a:cubicBezTo>
                    <a:cubicBezTo>
                      <a:pt x="304" y="436"/>
                      <a:pt x="305" y="439"/>
                      <a:pt x="306" y="439"/>
                    </a:cubicBezTo>
                    <a:cubicBezTo>
                      <a:pt x="309" y="439"/>
                      <a:pt x="312" y="436"/>
                      <a:pt x="315" y="436"/>
                    </a:cubicBezTo>
                    <a:cubicBezTo>
                      <a:pt x="319" y="436"/>
                      <a:pt x="320" y="449"/>
                      <a:pt x="324" y="450"/>
                    </a:cubicBezTo>
                    <a:cubicBezTo>
                      <a:pt x="324" y="459"/>
                      <a:pt x="330" y="468"/>
                      <a:pt x="338" y="468"/>
                    </a:cubicBezTo>
                    <a:cubicBezTo>
                      <a:pt x="342" y="468"/>
                      <a:pt x="343" y="467"/>
                      <a:pt x="346" y="467"/>
                    </a:cubicBezTo>
                    <a:cubicBezTo>
                      <a:pt x="348" y="467"/>
                      <a:pt x="348" y="467"/>
                      <a:pt x="348" y="467"/>
                    </a:cubicBezTo>
                    <a:cubicBezTo>
                      <a:pt x="348" y="471"/>
                      <a:pt x="350" y="472"/>
                      <a:pt x="351" y="472"/>
                    </a:cubicBezTo>
                    <a:cubicBezTo>
                      <a:pt x="352" y="472"/>
                      <a:pt x="353" y="470"/>
                      <a:pt x="353" y="468"/>
                    </a:cubicBezTo>
                    <a:cubicBezTo>
                      <a:pt x="353" y="464"/>
                      <a:pt x="353" y="461"/>
                      <a:pt x="353" y="457"/>
                    </a:cubicBezTo>
                    <a:cubicBezTo>
                      <a:pt x="353" y="457"/>
                      <a:pt x="363" y="454"/>
                      <a:pt x="365" y="454"/>
                    </a:cubicBezTo>
                    <a:cubicBezTo>
                      <a:pt x="379" y="454"/>
                      <a:pt x="379" y="454"/>
                      <a:pt x="379" y="454"/>
                    </a:cubicBezTo>
                    <a:cubicBezTo>
                      <a:pt x="385" y="457"/>
                      <a:pt x="390" y="448"/>
                      <a:pt x="397" y="448"/>
                    </a:cubicBezTo>
                    <a:cubicBezTo>
                      <a:pt x="404" y="448"/>
                      <a:pt x="408" y="453"/>
                      <a:pt x="416" y="453"/>
                    </a:cubicBezTo>
                    <a:cubicBezTo>
                      <a:pt x="416" y="464"/>
                      <a:pt x="424" y="468"/>
                      <a:pt x="431" y="470"/>
                    </a:cubicBezTo>
                    <a:cubicBezTo>
                      <a:pt x="431" y="470"/>
                      <a:pt x="431" y="470"/>
                      <a:pt x="431" y="470"/>
                    </a:cubicBezTo>
                    <a:cubicBezTo>
                      <a:pt x="439" y="474"/>
                      <a:pt x="444" y="471"/>
                      <a:pt x="452" y="475"/>
                    </a:cubicBezTo>
                    <a:cubicBezTo>
                      <a:pt x="452" y="477"/>
                      <a:pt x="451" y="486"/>
                      <a:pt x="454" y="486"/>
                    </a:cubicBezTo>
                    <a:cubicBezTo>
                      <a:pt x="459" y="486"/>
                      <a:pt x="457" y="480"/>
                      <a:pt x="460" y="477"/>
                    </a:cubicBezTo>
                    <a:cubicBezTo>
                      <a:pt x="463" y="474"/>
                      <a:pt x="472" y="472"/>
                      <a:pt x="476" y="470"/>
                    </a:cubicBezTo>
                    <a:cubicBezTo>
                      <a:pt x="484" y="466"/>
                      <a:pt x="492" y="468"/>
                      <a:pt x="498" y="463"/>
                    </a:cubicBezTo>
                    <a:cubicBezTo>
                      <a:pt x="498" y="463"/>
                      <a:pt x="502" y="455"/>
                      <a:pt x="503" y="455"/>
                    </a:cubicBezTo>
                    <a:cubicBezTo>
                      <a:pt x="507" y="455"/>
                      <a:pt x="510" y="458"/>
                      <a:pt x="514" y="458"/>
                    </a:cubicBezTo>
                    <a:cubicBezTo>
                      <a:pt x="534" y="458"/>
                      <a:pt x="539" y="446"/>
                      <a:pt x="552" y="439"/>
                    </a:cubicBezTo>
                    <a:cubicBezTo>
                      <a:pt x="555" y="437"/>
                      <a:pt x="557" y="435"/>
                      <a:pt x="558" y="431"/>
                    </a:cubicBezTo>
                    <a:cubicBezTo>
                      <a:pt x="569" y="431"/>
                      <a:pt x="572" y="414"/>
                      <a:pt x="576" y="406"/>
                    </a:cubicBezTo>
                    <a:cubicBezTo>
                      <a:pt x="578" y="401"/>
                      <a:pt x="590" y="383"/>
                      <a:pt x="597" y="382"/>
                    </a:cubicBezTo>
                    <a:cubicBezTo>
                      <a:pt x="597" y="372"/>
                      <a:pt x="604" y="368"/>
                      <a:pt x="604" y="355"/>
                    </a:cubicBezTo>
                    <a:cubicBezTo>
                      <a:pt x="604" y="336"/>
                      <a:pt x="599" y="329"/>
                      <a:pt x="591" y="317"/>
                    </a:cubicBezTo>
                    <a:cubicBezTo>
                      <a:pt x="590" y="315"/>
                      <a:pt x="590" y="309"/>
                      <a:pt x="586" y="3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2" name="Freeform 148"/>
              <p:cNvSpPr>
                <a:spLocks/>
              </p:cNvSpPr>
              <p:nvPr/>
            </p:nvSpPr>
            <p:spPr bwMode="auto">
              <a:xfrm>
                <a:off x="7369175" y="1395413"/>
                <a:ext cx="58738" cy="25400"/>
              </a:xfrm>
              <a:custGeom>
                <a:avLst/>
                <a:gdLst/>
                <a:ahLst/>
                <a:cxnLst>
                  <a:cxn ang="0">
                    <a:pos x="4" y="19"/>
                  </a:cxn>
                  <a:cxn ang="0">
                    <a:pos x="0" y="14"/>
                  </a:cxn>
                  <a:cxn ang="0">
                    <a:pos x="20" y="0"/>
                  </a:cxn>
                  <a:cxn ang="0">
                    <a:pos x="44" y="11"/>
                  </a:cxn>
                  <a:cxn ang="0">
                    <a:pos x="4" y="19"/>
                  </a:cxn>
                </a:cxnLst>
                <a:rect l="0" t="0" r="r" b="b"/>
                <a:pathLst>
                  <a:path w="44" h="19">
                    <a:moveTo>
                      <a:pt x="4" y="19"/>
                    </a:moveTo>
                    <a:cubicBezTo>
                      <a:pt x="1" y="19"/>
                      <a:pt x="0" y="17"/>
                      <a:pt x="0" y="14"/>
                    </a:cubicBezTo>
                    <a:cubicBezTo>
                      <a:pt x="0" y="8"/>
                      <a:pt x="13" y="0"/>
                      <a:pt x="20" y="0"/>
                    </a:cubicBezTo>
                    <a:cubicBezTo>
                      <a:pt x="27" y="0"/>
                      <a:pt x="44" y="4"/>
                      <a:pt x="44" y="11"/>
                    </a:cubicBezTo>
                    <a:cubicBezTo>
                      <a:pt x="44" y="17"/>
                      <a:pt x="9" y="19"/>
                      <a:pt x="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3" name="Freeform 149"/>
              <p:cNvSpPr>
                <a:spLocks/>
              </p:cNvSpPr>
              <p:nvPr/>
            </p:nvSpPr>
            <p:spPr bwMode="auto">
              <a:xfrm>
                <a:off x="7191375" y="1443038"/>
                <a:ext cx="23813" cy="14288"/>
              </a:xfrm>
              <a:custGeom>
                <a:avLst/>
                <a:gdLst/>
                <a:ahLst/>
                <a:cxnLst>
                  <a:cxn ang="0">
                    <a:pos x="13" y="10"/>
                  </a:cxn>
                  <a:cxn ang="0">
                    <a:pos x="18" y="6"/>
                  </a:cxn>
                  <a:cxn ang="0">
                    <a:pos x="15" y="0"/>
                  </a:cxn>
                  <a:cxn ang="0">
                    <a:pos x="0" y="0"/>
                  </a:cxn>
                  <a:cxn ang="0">
                    <a:pos x="13" y="10"/>
                  </a:cxn>
                </a:cxnLst>
                <a:rect l="0" t="0" r="r" b="b"/>
                <a:pathLst>
                  <a:path w="18" h="10">
                    <a:moveTo>
                      <a:pt x="13" y="10"/>
                    </a:moveTo>
                    <a:cubicBezTo>
                      <a:pt x="15" y="10"/>
                      <a:pt x="18" y="8"/>
                      <a:pt x="18" y="6"/>
                    </a:cubicBezTo>
                    <a:cubicBezTo>
                      <a:pt x="18" y="3"/>
                      <a:pt x="15" y="2"/>
                      <a:pt x="15" y="0"/>
                    </a:cubicBezTo>
                    <a:cubicBezTo>
                      <a:pt x="0" y="0"/>
                      <a:pt x="0" y="0"/>
                      <a:pt x="0" y="0"/>
                    </a:cubicBezTo>
                    <a:cubicBezTo>
                      <a:pt x="3" y="6"/>
                      <a:pt x="7" y="10"/>
                      <a:pt x="13"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4" name="Freeform 150"/>
              <p:cNvSpPr>
                <a:spLocks/>
              </p:cNvSpPr>
              <p:nvPr/>
            </p:nvSpPr>
            <p:spPr bwMode="auto">
              <a:xfrm>
                <a:off x="6645275" y="1257300"/>
                <a:ext cx="11113" cy="12700"/>
              </a:xfrm>
              <a:custGeom>
                <a:avLst/>
                <a:gdLst/>
                <a:ahLst/>
                <a:cxnLst>
                  <a:cxn ang="0">
                    <a:pos x="8" y="5"/>
                  </a:cxn>
                  <a:cxn ang="0">
                    <a:pos x="3" y="0"/>
                  </a:cxn>
                  <a:cxn ang="0">
                    <a:pos x="0" y="7"/>
                  </a:cxn>
                  <a:cxn ang="0">
                    <a:pos x="3" y="10"/>
                  </a:cxn>
                  <a:cxn ang="0">
                    <a:pos x="8" y="4"/>
                  </a:cxn>
                  <a:cxn ang="0">
                    <a:pos x="6" y="4"/>
                  </a:cxn>
                  <a:cxn ang="0">
                    <a:pos x="8" y="5"/>
                  </a:cxn>
                </a:cxnLst>
                <a:rect l="0" t="0" r="r" b="b"/>
                <a:pathLst>
                  <a:path w="8" h="10">
                    <a:moveTo>
                      <a:pt x="8" y="5"/>
                    </a:moveTo>
                    <a:cubicBezTo>
                      <a:pt x="3" y="0"/>
                      <a:pt x="3" y="0"/>
                      <a:pt x="3" y="0"/>
                    </a:cubicBezTo>
                    <a:cubicBezTo>
                      <a:pt x="2" y="2"/>
                      <a:pt x="0" y="4"/>
                      <a:pt x="0" y="7"/>
                    </a:cubicBezTo>
                    <a:cubicBezTo>
                      <a:pt x="0" y="9"/>
                      <a:pt x="1" y="10"/>
                      <a:pt x="3" y="10"/>
                    </a:cubicBezTo>
                    <a:cubicBezTo>
                      <a:pt x="7" y="10"/>
                      <a:pt x="7" y="6"/>
                      <a:pt x="8" y="4"/>
                    </a:cubicBezTo>
                    <a:cubicBezTo>
                      <a:pt x="6" y="4"/>
                      <a:pt x="6" y="4"/>
                      <a:pt x="6" y="4"/>
                    </a:cubicBezTo>
                    <a:lnTo>
                      <a:pt x="8"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5" name="Freeform 151"/>
              <p:cNvSpPr>
                <a:spLocks/>
              </p:cNvSpPr>
              <p:nvPr/>
            </p:nvSpPr>
            <p:spPr bwMode="auto">
              <a:xfrm>
                <a:off x="6249988" y="1300163"/>
                <a:ext cx="26988" cy="15875"/>
              </a:xfrm>
              <a:custGeom>
                <a:avLst/>
                <a:gdLst/>
                <a:ahLst/>
                <a:cxnLst>
                  <a:cxn ang="0">
                    <a:pos x="20" y="9"/>
                  </a:cxn>
                  <a:cxn ang="0">
                    <a:pos x="10" y="12"/>
                  </a:cxn>
                  <a:cxn ang="0">
                    <a:pos x="0" y="7"/>
                  </a:cxn>
                  <a:cxn ang="0">
                    <a:pos x="10" y="0"/>
                  </a:cxn>
                  <a:cxn ang="0">
                    <a:pos x="20" y="7"/>
                  </a:cxn>
                  <a:cxn ang="0">
                    <a:pos x="17" y="12"/>
                  </a:cxn>
                  <a:cxn ang="0">
                    <a:pos x="20" y="9"/>
                  </a:cxn>
                </a:cxnLst>
                <a:rect l="0" t="0" r="r" b="b"/>
                <a:pathLst>
                  <a:path w="20" h="12">
                    <a:moveTo>
                      <a:pt x="20" y="9"/>
                    </a:moveTo>
                    <a:cubicBezTo>
                      <a:pt x="17" y="11"/>
                      <a:pt x="14" y="12"/>
                      <a:pt x="10" y="12"/>
                    </a:cubicBezTo>
                    <a:cubicBezTo>
                      <a:pt x="5" y="12"/>
                      <a:pt x="0" y="11"/>
                      <a:pt x="0" y="7"/>
                    </a:cubicBezTo>
                    <a:cubicBezTo>
                      <a:pt x="0" y="3"/>
                      <a:pt x="6" y="0"/>
                      <a:pt x="10" y="0"/>
                    </a:cubicBezTo>
                    <a:cubicBezTo>
                      <a:pt x="16" y="0"/>
                      <a:pt x="20" y="2"/>
                      <a:pt x="20" y="7"/>
                    </a:cubicBezTo>
                    <a:cubicBezTo>
                      <a:pt x="20" y="10"/>
                      <a:pt x="18" y="11"/>
                      <a:pt x="17" y="12"/>
                    </a:cubicBezTo>
                    <a:lnTo>
                      <a:pt x="20"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6" name="Freeform 152"/>
              <p:cNvSpPr>
                <a:spLocks/>
              </p:cNvSpPr>
              <p:nvPr/>
            </p:nvSpPr>
            <p:spPr bwMode="auto">
              <a:xfrm>
                <a:off x="6043613" y="1128713"/>
                <a:ext cx="100013" cy="57150"/>
              </a:xfrm>
              <a:custGeom>
                <a:avLst/>
                <a:gdLst/>
                <a:ahLst/>
                <a:cxnLst>
                  <a:cxn ang="0">
                    <a:pos x="6" y="43"/>
                  </a:cxn>
                  <a:cxn ang="0">
                    <a:pos x="0" y="37"/>
                  </a:cxn>
                  <a:cxn ang="0">
                    <a:pos x="8" y="27"/>
                  </a:cxn>
                  <a:cxn ang="0">
                    <a:pos x="39" y="0"/>
                  </a:cxn>
                  <a:cxn ang="0">
                    <a:pos x="45" y="0"/>
                  </a:cxn>
                  <a:cxn ang="0">
                    <a:pos x="44" y="10"/>
                  </a:cxn>
                  <a:cxn ang="0">
                    <a:pos x="52" y="6"/>
                  </a:cxn>
                  <a:cxn ang="0">
                    <a:pos x="76" y="23"/>
                  </a:cxn>
                  <a:cxn ang="0">
                    <a:pos x="45" y="34"/>
                  </a:cxn>
                  <a:cxn ang="0">
                    <a:pos x="30" y="37"/>
                  </a:cxn>
                  <a:cxn ang="0">
                    <a:pos x="6" y="43"/>
                  </a:cxn>
                </a:cxnLst>
                <a:rect l="0" t="0" r="r" b="b"/>
                <a:pathLst>
                  <a:path w="76" h="43">
                    <a:moveTo>
                      <a:pt x="6" y="43"/>
                    </a:moveTo>
                    <a:cubicBezTo>
                      <a:pt x="1" y="43"/>
                      <a:pt x="0" y="41"/>
                      <a:pt x="0" y="37"/>
                    </a:cubicBezTo>
                    <a:cubicBezTo>
                      <a:pt x="0" y="30"/>
                      <a:pt x="5" y="30"/>
                      <a:pt x="8" y="27"/>
                    </a:cubicBezTo>
                    <a:cubicBezTo>
                      <a:pt x="18" y="17"/>
                      <a:pt x="22" y="0"/>
                      <a:pt x="39" y="0"/>
                    </a:cubicBezTo>
                    <a:cubicBezTo>
                      <a:pt x="43" y="0"/>
                      <a:pt x="43" y="0"/>
                      <a:pt x="45" y="0"/>
                    </a:cubicBezTo>
                    <a:cubicBezTo>
                      <a:pt x="45" y="7"/>
                      <a:pt x="47" y="7"/>
                      <a:pt x="44" y="10"/>
                    </a:cubicBezTo>
                    <a:cubicBezTo>
                      <a:pt x="47" y="9"/>
                      <a:pt x="49" y="6"/>
                      <a:pt x="52" y="6"/>
                    </a:cubicBezTo>
                    <a:cubicBezTo>
                      <a:pt x="58" y="6"/>
                      <a:pt x="76" y="17"/>
                      <a:pt x="76" y="23"/>
                    </a:cubicBezTo>
                    <a:cubicBezTo>
                      <a:pt x="76" y="34"/>
                      <a:pt x="53" y="36"/>
                      <a:pt x="45" y="34"/>
                    </a:cubicBezTo>
                    <a:cubicBezTo>
                      <a:pt x="43" y="34"/>
                      <a:pt x="30" y="37"/>
                      <a:pt x="30" y="37"/>
                    </a:cubicBezTo>
                    <a:lnTo>
                      <a:pt x="6" y="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7" name="Freeform 153"/>
              <p:cNvSpPr>
                <a:spLocks/>
              </p:cNvSpPr>
              <p:nvPr/>
            </p:nvSpPr>
            <p:spPr bwMode="auto">
              <a:xfrm>
                <a:off x="5900738" y="1101725"/>
                <a:ext cx="39688" cy="20638"/>
              </a:xfrm>
              <a:custGeom>
                <a:avLst/>
                <a:gdLst/>
                <a:ahLst/>
                <a:cxnLst>
                  <a:cxn ang="0">
                    <a:pos x="12" y="0"/>
                  </a:cxn>
                  <a:cxn ang="0">
                    <a:pos x="30" y="7"/>
                  </a:cxn>
                  <a:cxn ang="0">
                    <a:pos x="9" y="16"/>
                  </a:cxn>
                  <a:cxn ang="0">
                    <a:pos x="0" y="5"/>
                  </a:cxn>
                  <a:cxn ang="0">
                    <a:pos x="12" y="0"/>
                  </a:cxn>
                </a:cxnLst>
                <a:rect l="0" t="0" r="r" b="b"/>
                <a:pathLst>
                  <a:path w="30" h="16">
                    <a:moveTo>
                      <a:pt x="12" y="0"/>
                    </a:moveTo>
                    <a:cubicBezTo>
                      <a:pt x="14" y="0"/>
                      <a:pt x="26" y="6"/>
                      <a:pt x="30" y="7"/>
                    </a:cubicBezTo>
                    <a:cubicBezTo>
                      <a:pt x="29" y="15"/>
                      <a:pt x="14" y="16"/>
                      <a:pt x="9" y="16"/>
                    </a:cubicBezTo>
                    <a:cubicBezTo>
                      <a:pt x="6" y="16"/>
                      <a:pt x="0" y="9"/>
                      <a:pt x="0" y="5"/>
                    </a:cubicBezTo>
                    <a:cubicBezTo>
                      <a:pt x="0" y="0"/>
                      <a:pt x="9" y="0"/>
                      <a:pt x="1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8" name="Freeform 154"/>
              <p:cNvSpPr>
                <a:spLocks/>
              </p:cNvSpPr>
              <p:nvPr/>
            </p:nvSpPr>
            <p:spPr bwMode="auto">
              <a:xfrm>
                <a:off x="5913438" y="1057275"/>
                <a:ext cx="139700" cy="98425"/>
              </a:xfrm>
              <a:custGeom>
                <a:avLst/>
                <a:gdLst/>
                <a:ahLst/>
                <a:cxnLst>
                  <a:cxn ang="0">
                    <a:pos x="99" y="68"/>
                  </a:cxn>
                  <a:cxn ang="0">
                    <a:pos x="90" y="74"/>
                  </a:cxn>
                  <a:cxn ang="0">
                    <a:pos x="41" y="66"/>
                  </a:cxn>
                  <a:cxn ang="0">
                    <a:pos x="17" y="50"/>
                  </a:cxn>
                  <a:cxn ang="0">
                    <a:pos x="50" y="36"/>
                  </a:cxn>
                  <a:cxn ang="0">
                    <a:pos x="32" y="36"/>
                  </a:cxn>
                  <a:cxn ang="0">
                    <a:pos x="0" y="26"/>
                  </a:cxn>
                  <a:cxn ang="0">
                    <a:pos x="46" y="0"/>
                  </a:cxn>
                  <a:cxn ang="0">
                    <a:pos x="72" y="17"/>
                  </a:cxn>
                  <a:cxn ang="0">
                    <a:pos x="67" y="18"/>
                  </a:cxn>
                  <a:cxn ang="0">
                    <a:pos x="67" y="27"/>
                  </a:cxn>
                  <a:cxn ang="0">
                    <a:pos x="59" y="35"/>
                  </a:cxn>
                  <a:cxn ang="0">
                    <a:pos x="68" y="35"/>
                  </a:cxn>
                  <a:cxn ang="0">
                    <a:pos x="81" y="39"/>
                  </a:cxn>
                  <a:cxn ang="0">
                    <a:pos x="90" y="39"/>
                  </a:cxn>
                  <a:cxn ang="0">
                    <a:pos x="105" y="48"/>
                  </a:cxn>
                  <a:cxn ang="0">
                    <a:pos x="101" y="57"/>
                  </a:cxn>
                  <a:cxn ang="0">
                    <a:pos x="92" y="62"/>
                  </a:cxn>
                  <a:cxn ang="0">
                    <a:pos x="99" y="68"/>
                  </a:cxn>
                </a:cxnLst>
                <a:rect l="0" t="0" r="r" b="b"/>
                <a:pathLst>
                  <a:path w="105" h="74">
                    <a:moveTo>
                      <a:pt x="99" y="68"/>
                    </a:moveTo>
                    <a:cubicBezTo>
                      <a:pt x="99" y="72"/>
                      <a:pt x="94" y="74"/>
                      <a:pt x="90" y="74"/>
                    </a:cubicBezTo>
                    <a:cubicBezTo>
                      <a:pt x="71" y="74"/>
                      <a:pt x="57" y="66"/>
                      <a:pt x="41" y="66"/>
                    </a:cubicBezTo>
                    <a:cubicBezTo>
                      <a:pt x="35" y="66"/>
                      <a:pt x="24" y="54"/>
                      <a:pt x="17" y="50"/>
                    </a:cubicBezTo>
                    <a:cubicBezTo>
                      <a:pt x="32" y="46"/>
                      <a:pt x="36" y="41"/>
                      <a:pt x="50" y="36"/>
                    </a:cubicBezTo>
                    <a:cubicBezTo>
                      <a:pt x="46" y="36"/>
                      <a:pt x="35" y="36"/>
                      <a:pt x="32" y="36"/>
                    </a:cubicBezTo>
                    <a:cubicBezTo>
                      <a:pt x="20" y="36"/>
                      <a:pt x="11" y="32"/>
                      <a:pt x="0" y="26"/>
                    </a:cubicBezTo>
                    <a:cubicBezTo>
                      <a:pt x="18" y="21"/>
                      <a:pt x="25" y="0"/>
                      <a:pt x="46" y="0"/>
                    </a:cubicBezTo>
                    <a:cubicBezTo>
                      <a:pt x="58" y="0"/>
                      <a:pt x="65" y="12"/>
                      <a:pt x="72" y="17"/>
                    </a:cubicBezTo>
                    <a:cubicBezTo>
                      <a:pt x="68" y="19"/>
                      <a:pt x="69" y="18"/>
                      <a:pt x="67" y="18"/>
                    </a:cubicBezTo>
                    <a:cubicBezTo>
                      <a:pt x="68" y="23"/>
                      <a:pt x="67" y="24"/>
                      <a:pt x="67" y="27"/>
                    </a:cubicBezTo>
                    <a:cubicBezTo>
                      <a:pt x="67" y="29"/>
                      <a:pt x="62" y="33"/>
                      <a:pt x="59" y="35"/>
                    </a:cubicBezTo>
                    <a:cubicBezTo>
                      <a:pt x="63" y="33"/>
                      <a:pt x="65" y="35"/>
                      <a:pt x="68" y="35"/>
                    </a:cubicBezTo>
                    <a:cubicBezTo>
                      <a:pt x="73" y="35"/>
                      <a:pt x="76" y="39"/>
                      <a:pt x="81" y="39"/>
                    </a:cubicBezTo>
                    <a:cubicBezTo>
                      <a:pt x="84" y="39"/>
                      <a:pt x="87" y="39"/>
                      <a:pt x="90" y="39"/>
                    </a:cubicBezTo>
                    <a:cubicBezTo>
                      <a:pt x="99" y="39"/>
                      <a:pt x="99" y="42"/>
                      <a:pt x="105" y="48"/>
                    </a:cubicBezTo>
                    <a:cubicBezTo>
                      <a:pt x="100" y="51"/>
                      <a:pt x="101" y="52"/>
                      <a:pt x="101" y="57"/>
                    </a:cubicBezTo>
                    <a:cubicBezTo>
                      <a:pt x="101" y="61"/>
                      <a:pt x="95" y="62"/>
                      <a:pt x="92" y="62"/>
                    </a:cubicBezTo>
                    <a:cubicBezTo>
                      <a:pt x="95" y="63"/>
                      <a:pt x="99" y="65"/>
                      <a:pt x="99"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69" name="Freeform 155"/>
              <p:cNvSpPr>
                <a:spLocks/>
              </p:cNvSpPr>
              <p:nvPr/>
            </p:nvSpPr>
            <p:spPr bwMode="auto">
              <a:xfrm>
                <a:off x="5973763" y="1212850"/>
                <a:ext cx="17463" cy="12700"/>
              </a:xfrm>
              <a:custGeom>
                <a:avLst/>
                <a:gdLst/>
                <a:ahLst/>
                <a:cxnLst>
                  <a:cxn ang="0">
                    <a:pos x="0" y="5"/>
                  </a:cxn>
                  <a:cxn ang="0">
                    <a:pos x="7" y="0"/>
                  </a:cxn>
                  <a:cxn ang="0">
                    <a:pos x="13" y="0"/>
                  </a:cxn>
                  <a:cxn ang="0">
                    <a:pos x="5" y="9"/>
                  </a:cxn>
                  <a:cxn ang="0">
                    <a:pos x="0" y="5"/>
                  </a:cxn>
                </a:cxnLst>
                <a:rect l="0" t="0" r="r" b="b"/>
                <a:pathLst>
                  <a:path w="13" h="9">
                    <a:moveTo>
                      <a:pt x="0" y="5"/>
                    </a:moveTo>
                    <a:cubicBezTo>
                      <a:pt x="3" y="3"/>
                      <a:pt x="5" y="1"/>
                      <a:pt x="7" y="0"/>
                    </a:cubicBezTo>
                    <a:cubicBezTo>
                      <a:pt x="13" y="0"/>
                      <a:pt x="13" y="0"/>
                      <a:pt x="13" y="0"/>
                    </a:cubicBezTo>
                    <a:cubicBezTo>
                      <a:pt x="12" y="6"/>
                      <a:pt x="10" y="9"/>
                      <a:pt x="5" y="9"/>
                    </a:cubicBezTo>
                    <a:cubicBezTo>
                      <a:pt x="2" y="9"/>
                      <a:pt x="1" y="7"/>
                      <a:pt x="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0" name="Freeform 156"/>
              <p:cNvSpPr>
                <a:spLocks/>
              </p:cNvSpPr>
              <p:nvPr/>
            </p:nvSpPr>
            <p:spPr bwMode="auto">
              <a:xfrm>
                <a:off x="5886450" y="1060450"/>
                <a:ext cx="23813" cy="7938"/>
              </a:xfrm>
              <a:custGeom>
                <a:avLst/>
                <a:gdLst/>
                <a:ahLst/>
                <a:cxnLst>
                  <a:cxn ang="0">
                    <a:pos x="18" y="4"/>
                  </a:cxn>
                  <a:cxn ang="0">
                    <a:pos x="0" y="0"/>
                  </a:cxn>
                  <a:cxn ang="0">
                    <a:pos x="16" y="0"/>
                  </a:cxn>
                  <a:cxn ang="0">
                    <a:pos x="18" y="4"/>
                  </a:cxn>
                </a:cxnLst>
                <a:rect l="0" t="0" r="r" b="b"/>
                <a:pathLst>
                  <a:path w="18" h="6">
                    <a:moveTo>
                      <a:pt x="18" y="4"/>
                    </a:moveTo>
                    <a:cubicBezTo>
                      <a:pt x="11" y="5"/>
                      <a:pt x="3" y="6"/>
                      <a:pt x="0" y="0"/>
                    </a:cubicBezTo>
                    <a:cubicBezTo>
                      <a:pt x="16" y="0"/>
                      <a:pt x="16" y="0"/>
                      <a:pt x="16" y="0"/>
                    </a:cubicBezTo>
                    <a:lnTo>
                      <a:pt x="18"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1" name="Freeform 157"/>
              <p:cNvSpPr>
                <a:spLocks/>
              </p:cNvSpPr>
              <p:nvPr/>
            </p:nvSpPr>
            <p:spPr bwMode="auto">
              <a:xfrm>
                <a:off x="6162675" y="1173163"/>
                <a:ext cx="20638" cy="9525"/>
              </a:xfrm>
              <a:custGeom>
                <a:avLst/>
                <a:gdLst/>
                <a:ahLst/>
                <a:cxnLst>
                  <a:cxn ang="0">
                    <a:pos x="15" y="1"/>
                  </a:cxn>
                  <a:cxn ang="0">
                    <a:pos x="9" y="7"/>
                  </a:cxn>
                  <a:cxn ang="0">
                    <a:pos x="0" y="2"/>
                  </a:cxn>
                  <a:cxn ang="0">
                    <a:pos x="15" y="1"/>
                  </a:cxn>
                </a:cxnLst>
                <a:rect l="0" t="0" r="r" b="b"/>
                <a:pathLst>
                  <a:path w="15" h="7">
                    <a:moveTo>
                      <a:pt x="15" y="1"/>
                    </a:moveTo>
                    <a:cubicBezTo>
                      <a:pt x="14" y="4"/>
                      <a:pt x="12" y="7"/>
                      <a:pt x="9" y="7"/>
                    </a:cubicBezTo>
                    <a:cubicBezTo>
                      <a:pt x="4" y="7"/>
                      <a:pt x="1" y="4"/>
                      <a:pt x="0" y="2"/>
                    </a:cubicBezTo>
                    <a:cubicBezTo>
                      <a:pt x="9" y="0"/>
                      <a:pt x="11" y="2"/>
                      <a:pt x="15"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2" name="Freeform 158"/>
              <p:cNvSpPr>
                <a:spLocks/>
              </p:cNvSpPr>
              <p:nvPr/>
            </p:nvSpPr>
            <p:spPr bwMode="auto">
              <a:xfrm>
                <a:off x="5119688" y="1074738"/>
                <a:ext cx="117475" cy="36513"/>
              </a:xfrm>
              <a:custGeom>
                <a:avLst/>
                <a:gdLst/>
                <a:ahLst/>
                <a:cxnLst>
                  <a:cxn ang="0">
                    <a:pos x="76" y="14"/>
                  </a:cxn>
                  <a:cxn ang="0">
                    <a:pos x="58" y="17"/>
                  </a:cxn>
                  <a:cxn ang="0">
                    <a:pos x="49" y="27"/>
                  </a:cxn>
                  <a:cxn ang="0">
                    <a:pos x="44" y="23"/>
                  </a:cxn>
                  <a:cxn ang="0">
                    <a:pos x="44" y="23"/>
                  </a:cxn>
                  <a:cxn ang="0">
                    <a:pos x="32" y="17"/>
                  </a:cxn>
                  <a:cxn ang="0">
                    <a:pos x="41" y="14"/>
                  </a:cxn>
                  <a:cxn ang="0">
                    <a:pos x="33" y="13"/>
                  </a:cxn>
                  <a:cxn ang="0">
                    <a:pos x="40" y="9"/>
                  </a:cxn>
                  <a:cxn ang="0">
                    <a:pos x="30" y="5"/>
                  </a:cxn>
                  <a:cxn ang="0">
                    <a:pos x="10" y="11"/>
                  </a:cxn>
                  <a:cxn ang="0">
                    <a:pos x="0" y="9"/>
                  </a:cxn>
                  <a:cxn ang="0">
                    <a:pos x="34" y="0"/>
                  </a:cxn>
                  <a:cxn ang="0">
                    <a:pos x="60" y="6"/>
                  </a:cxn>
                  <a:cxn ang="0">
                    <a:pos x="76" y="0"/>
                  </a:cxn>
                  <a:cxn ang="0">
                    <a:pos x="89" y="5"/>
                  </a:cxn>
                  <a:cxn ang="0">
                    <a:pos x="78" y="13"/>
                  </a:cxn>
                  <a:cxn ang="0">
                    <a:pos x="73" y="13"/>
                  </a:cxn>
                  <a:cxn ang="0">
                    <a:pos x="73" y="17"/>
                  </a:cxn>
                  <a:cxn ang="0">
                    <a:pos x="76" y="14"/>
                  </a:cxn>
                </a:cxnLst>
                <a:rect l="0" t="0" r="r" b="b"/>
                <a:pathLst>
                  <a:path w="89" h="27">
                    <a:moveTo>
                      <a:pt x="76" y="14"/>
                    </a:moveTo>
                    <a:cubicBezTo>
                      <a:pt x="69" y="19"/>
                      <a:pt x="65" y="13"/>
                      <a:pt x="58" y="17"/>
                    </a:cubicBezTo>
                    <a:cubicBezTo>
                      <a:pt x="54" y="19"/>
                      <a:pt x="53" y="27"/>
                      <a:pt x="49" y="27"/>
                    </a:cubicBezTo>
                    <a:cubicBezTo>
                      <a:pt x="47" y="26"/>
                      <a:pt x="45" y="24"/>
                      <a:pt x="44" y="23"/>
                    </a:cubicBezTo>
                    <a:cubicBezTo>
                      <a:pt x="44" y="23"/>
                      <a:pt x="44" y="23"/>
                      <a:pt x="44" y="23"/>
                    </a:cubicBezTo>
                    <a:cubicBezTo>
                      <a:pt x="38" y="23"/>
                      <a:pt x="33" y="21"/>
                      <a:pt x="32" y="17"/>
                    </a:cubicBezTo>
                    <a:cubicBezTo>
                      <a:pt x="36" y="15"/>
                      <a:pt x="38" y="15"/>
                      <a:pt x="41" y="14"/>
                    </a:cubicBezTo>
                    <a:cubicBezTo>
                      <a:pt x="37" y="14"/>
                      <a:pt x="35" y="13"/>
                      <a:pt x="33" y="13"/>
                    </a:cubicBezTo>
                    <a:cubicBezTo>
                      <a:pt x="36" y="11"/>
                      <a:pt x="38" y="11"/>
                      <a:pt x="40" y="9"/>
                    </a:cubicBezTo>
                    <a:cubicBezTo>
                      <a:pt x="36" y="8"/>
                      <a:pt x="34" y="5"/>
                      <a:pt x="30" y="5"/>
                    </a:cubicBezTo>
                    <a:cubicBezTo>
                      <a:pt x="25" y="5"/>
                      <a:pt x="17" y="11"/>
                      <a:pt x="10" y="11"/>
                    </a:cubicBezTo>
                    <a:cubicBezTo>
                      <a:pt x="7" y="11"/>
                      <a:pt x="4" y="9"/>
                      <a:pt x="0" y="9"/>
                    </a:cubicBezTo>
                    <a:cubicBezTo>
                      <a:pt x="4" y="2"/>
                      <a:pt x="25" y="0"/>
                      <a:pt x="34" y="0"/>
                    </a:cubicBezTo>
                    <a:cubicBezTo>
                      <a:pt x="45" y="0"/>
                      <a:pt x="52" y="6"/>
                      <a:pt x="60" y="6"/>
                    </a:cubicBezTo>
                    <a:cubicBezTo>
                      <a:pt x="67" y="6"/>
                      <a:pt x="70" y="0"/>
                      <a:pt x="76" y="0"/>
                    </a:cubicBezTo>
                    <a:cubicBezTo>
                      <a:pt x="82" y="0"/>
                      <a:pt x="87" y="4"/>
                      <a:pt x="89" y="5"/>
                    </a:cubicBezTo>
                    <a:cubicBezTo>
                      <a:pt x="89" y="13"/>
                      <a:pt x="83" y="9"/>
                      <a:pt x="78" y="13"/>
                    </a:cubicBezTo>
                    <a:cubicBezTo>
                      <a:pt x="76" y="13"/>
                      <a:pt x="75" y="13"/>
                      <a:pt x="73" y="13"/>
                    </a:cubicBezTo>
                    <a:cubicBezTo>
                      <a:pt x="73" y="17"/>
                      <a:pt x="73" y="17"/>
                      <a:pt x="73" y="17"/>
                    </a:cubicBezTo>
                    <a:lnTo>
                      <a:pt x="76"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3" name="Freeform 159"/>
              <p:cNvSpPr>
                <a:spLocks/>
              </p:cNvSpPr>
              <p:nvPr/>
            </p:nvSpPr>
            <p:spPr bwMode="auto">
              <a:xfrm>
                <a:off x="5427663" y="1052513"/>
                <a:ext cx="41275" cy="26988"/>
              </a:xfrm>
              <a:custGeom>
                <a:avLst/>
                <a:gdLst/>
                <a:ahLst/>
                <a:cxnLst>
                  <a:cxn ang="0">
                    <a:pos x="7" y="20"/>
                  </a:cxn>
                  <a:cxn ang="0">
                    <a:pos x="0" y="13"/>
                  </a:cxn>
                  <a:cxn ang="0">
                    <a:pos x="25" y="0"/>
                  </a:cxn>
                  <a:cxn ang="0">
                    <a:pos x="31" y="14"/>
                  </a:cxn>
                  <a:cxn ang="0">
                    <a:pos x="7" y="20"/>
                  </a:cxn>
                </a:cxnLst>
                <a:rect l="0" t="0" r="r" b="b"/>
                <a:pathLst>
                  <a:path w="31" h="20">
                    <a:moveTo>
                      <a:pt x="7" y="20"/>
                    </a:moveTo>
                    <a:cubicBezTo>
                      <a:pt x="2" y="20"/>
                      <a:pt x="0" y="17"/>
                      <a:pt x="0" y="13"/>
                    </a:cubicBezTo>
                    <a:cubicBezTo>
                      <a:pt x="0" y="7"/>
                      <a:pt x="18" y="0"/>
                      <a:pt x="25" y="0"/>
                    </a:cubicBezTo>
                    <a:cubicBezTo>
                      <a:pt x="31" y="14"/>
                      <a:pt x="31" y="14"/>
                      <a:pt x="31" y="14"/>
                    </a:cubicBezTo>
                    <a:cubicBezTo>
                      <a:pt x="28" y="16"/>
                      <a:pt x="11" y="20"/>
                      <a:pt x="7"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4" name="Freeform 160"/>
              <p:cNvSpPr>
                <a:spLocks/>
              </p:cNvSpPr>
              <p:nvPr/>
            </p:nvSpPr>
            <p:spPr bwMode="auto">
              <a:xfrm>
                <a:off x="5373688" y="1069975"/>
                <a:ext cx="44450" cy="25400"/>
              </a:xfrm>
              <a:custGeom>
                <a:avLst/>
                <a:gdLst/>
                <a:ahLst/>
                <a:cxnLst>
                  <a:cxn ang="0">
                    <a:pos x="33" y="4"/>
                  </a:cxn>
                  <a:cxn ang="0">
                    <a:pos x="33" y="10"/>
                  </a:cxn>
                  <a:cxn ang="0">
                    <a:pos x="22" y="12"/>
                  </a:cxn>
                  <a:cxn ang="0">
                    <a:pos x="24" y="18"/>
                  </a:cxn>
                  <a:cxn ang="0">
                    <a:pos x="0" y="18"/>
                  </a:cxn>
                  <a:cxn ang="0">
                    <a:pos x="9" y="6"/>
                  </a:cxn>
                  <a:cxn ang="0">
                    <a:pos x="9" y="0"/>
                  </a:cxn>
                  <a:cxn ang="0">
                    <a:pos x="23" y="0"/>
                  </a:cxn>
                  <a:cxn ang="0">
                    <a:pos x="19" y="4"/>
                  </a:cxn>
                  <a:cxn ang="0">
                    <a:pos x="33" y="4"/>
                  </a:cxn>
                </a:cxnLst>
                <a:rect l="0" t="0" r="r" b="b"/>
                <a:pathLst>
                  <a:path w="33" h="20">
                    <a:moveTo>
                      <a:pt x="33" y="4"/>
                    </a:moveTo>
                    <a:cubicBezTo>
                      <a:pt x="33" y="8"/>
                      <a:pt x="33" y="8"/>
                      <a:pt x="33" y="10"/>
                    </a:cubicBezTo>
                    <a:cubicBezTo>
                      <a:pt x="30" y="14"/>
                      <a:pt x="26" y="12"/>
                      <a:pt x="22" y="12"/>
                    </a:cubicBezTo>
                    <a:cubicBezTo>
                      <a:pt x="24" y="18"/>
                      <a:pt x="24" y="18"/>
                      <a:pt x="24" y="18"/>
                    </a:cubicBezTo>
                    <a:cubicBezTo>
                      <a:pt x="22" y="19"/>
                      <a:pt x="0" y="20"/>
                      <a:pt x="0" y="18"/>
                    </a:cubicBezTo>
                    <a:cubicBezTo>
                      <a:pt x="0" y="11"/>
                      <a:pt x="3" y="8"/>
                      <a:pt x="9" y="6"/>
                    </a:cubicBezTo>
                    <a:cubicBezTo>
                      <a:pt x="8" y="2"/>
                      <a:pt x="9" y="1"/>
                      <a:pt x="9" y="0"/>
                    </a:cubicBezTo>
                    <a:cubicBezTo>
                      <a:pt x="23" y="0"/>
                      <a:pt x="23" y="0"/>
                      <a:pt x="23" y="0"/>
                    </a:cubicBezTo>
                    <a:cubicBezTo>
                      <a:pt x="22" y="2"/>
                      <a:pt x="20" y="4"/>
                      <a:pt x="19" y="4"/>
                    </a:cubicBezTo>
                    <a:cubicBezTo>
                      <a:pt x="22" y="4"/>
                      <a:pt x="29" y="4"/>
                      <a:pt x="33"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5" name="Freeform 161"/>
              <p:cNvSpPr>
                <a:spLocks/>
              </p:cNvSpPr>
              <p:nvPr/>
            </p:nvSpPr>
            <p:spPr bwMode="auto">
              <a:xfrm>
                <a:off x="5314950" y="1092200"/>
                <a:ext cx="44450" cy="15875"/>
              </a:xfrm>
              <a:custGeom>
                <a:avLst/>
                <a:gdLst/>
                <a:ahLst/>
                <a:cxnLst>
                  <a:cxn ang="0">
                    <a:pos x="20" y="12"/>
                  </a:cxn>
                  <a:cxn ang="0">
                    <a:pos x="11" y="7"/>
                  </a:cxn>
                  <a:cxn ang="0">
                    <a:pos x="4" y="12"/>
                  </a:cxn>
                  <a:cxn ang="0">
                    <a:pos x="0" y="9"/>
                  </a:cxn>
                  <a:cxn ang="0">
                    <a:pos x="22" y="0"/>
                  </a:cxn>
                  <a:cxn ang="0">
                    <a:pos x="34" y="5"/>
                  </a:cxn>
                  <a:cxn ang="0">
                    <a:pos x="20" y="12"/>
                  </a:cxn>
                </a:cxnLst>
                <a:rect l="0" t="0" r="r" b="b"/>
                <a:pathLst>
                  <a:path w="34" h="12">
                    <a:moveTo>
                      <a:pt x="20" y="12"/>
                    </a:moveTo>
                    <a:cubicBezTo>
                      <a:pt x="17" y="12"/>
                      <a:pt x="14" y="7"/>
                      <a:pt x="11" y="7"/>
                    </a:cubicBezTo>
                    <a:cubicBezTo>
                      <a:pt x="10" y="12"/>
                      <a:pt x="8" y="12"/>
                      <a:pt x="4" y="12"/>
                    </a:cubicBezTo>
                    <a:cubicBezTo>
                      <a:pt x="2" y="12"/>
                      <a:pt x="0" y="10"/>
                      <a:pt x="0" y="9"/>
                    </a:cubicBezTo>
                    <a:cubicBezTo>
                      <a:pt x="0" y="2"/>
                      <a:pt x="17" y="0"/>
                      <a:pt x="22" y="0"/>
                    </a:cubicBezTo>
                    <a:cubicBezTo>
                      <a:pt x="28" y="0"/>
                      <a:pt x="32" y="2"/>
                      <a:pt x="34" y="5"/>
                    </a:cubicBezTo>
                    <a:cubicBezTo>
                      <a:pt x="25" y="5"/>
                      <a:pt x="26" y="12"/>
                      <a:pt x="2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6" name="Freeform 162"/>
              <p:cNvSpPr>
                <a:spLocks/>
              </p:cNvSpPr>
              <p:nvPr/>
            </p:nvSpPr>
            <p:spPr bwMode="auto">
              <a:xfrm>
                <a:off x="5287963" y="1038225"/>
                <a:ext cx="71438" cy="49213"/>
              </a:xfrm>
              <a:custGeom>
                <a:avLst/>
                <a:gdLst/>
                <a:ahLst/>
                <a:cxnLst>
                  <a:cxn ang="0">
                    <a:pos x="40" y="31"/>
                  </a:cxn>
                  <a:cxn ang="0">
                    <a:pos x="22" y="36"/>
                  </a:cxn>
                  <a:cxn ang="0">
                    <a:pos x="0" y="28"/>
                  </a:cxn>
                  <a:cxn ang="0">
                    <a:pos x="6" y="23"/>
                  </a:cxn>
                  <a:cxn ang="0">
                    <a:pos x="24" y="23"/>
                  </a:cxn>
                  <a:cxn ang="0">
                    <a:pos x="17" y="22"/>
                  </a:cxn>
                  <a:cxn ang="0">
                    <a:pos x="17" y="16"/>
                  </a:cxn>
                  <a:cxn ang="0">
                    <a:pos x="43" y="8"/>
                  </a:cxn>
                  <a:cxn ang="0">
                    <a:pos x="51" y="0"/>
                  </a:cxn>
                  <a:cxn ang="0">
                    <a:pos x="52" y="5"/>
                  </a:cxn>
                  <a:cxn ang="0">
                    <a:pos x="48" y="11"/>
                  </a:cxn>
                  <a:cxn ang="0">
                    <a:pos x="28" y="23"/>
                  </a:cxn>
                  <a:cxn ang="0">
                    <a:pos x="53" y="29"/>
                  </a:cxn>
                  <a:cxn ang="0">
                    <a:pos x="40" y="31"/>
                  </a:cxn>
                </a:cxnLst>
                <a:rect l="0" t="0" r="r" b="b"/>
                <a:pathLst>
                  <a:path w="53" h="36">
                    <a:moveTo>
                      <a:pt x="40" y="31"/>
                    </a:moveTo>
                    <a:cubicBezTo>
                      <a:pt x="34" y="31"/>
                      <a:pt x="27" y="36"/>
                      <a:pt x="22" y="36"/>
                    </a:cubicBezTo>
                    <a:cubicBezTo>
                      <a:pt x="19" y="36"/>
                      <a:pt x="1" y="28"/>
                      <a:pt x="0" y="28"/>
                    </a:cubicBezTo>
                    <a:cubicBezTo>
                      <a:pt x="3" y="26"/>
                      <a:pt x="4" y="25"/>
                      <a:pt x="6" y="23"/>
                    </a:cubicBezTo>
                    <a:cubicBezTo>
                      <a:pt x="24" y="23"/>
                      <a:pt x="24" y="23"/>
                      <a:pt x="24" y="23"/>
                    </a:cubicBezTo>
                    <a:cubicBezTo>
                      <a:pt x="19" y="21"/>
                      <a:pt x="21" y="20"/>
                      <a:pt x="17" y="22"/>
                    </a:cubicBezTo>
                    <a:cubicBezTo>
                      <a:pt x="17" y="16"/>
                      <a:pt x="17" y="16"/>
                      <a:pt x="17" y="16"/>
                    </a:cubicBezTo>
                    <a:cubicBezTo>
                      <a:pt x="30" y="16"/>
                      <a:pt x="30" y="8"/>
                      <a:pt x="43" y="8"/>
                    </a:cubicBezTo>
                    <a:cubicBezTo>
                      <a:pt x="44" y="4"/>
                      <a:pt x="47" y="0"/>
                      <a:pt x="51" y="0"/>
                    </a:cubicBezTo>
                    <a:cubicBezTo>
                      <a:pt x="52" y="0"/>
                      <a:pt x="52" y="4"/>
                      <a:pt x="52" y="5"/>
                    </a:cubicBezTo>
                    <a:cubicBezTo>
                      <a:pt x="50" y="7"/>
                      <a:pt x="48" y="9"/>
                      <a:pt x="48" y="11"/>
                    </a:cubicBezTo>
                    <a:cubicBezTo>
                      <a:pt x="41" y="16"/>
                      <a:pt x="32" y="18"/>
                      <a:pt x="28" y="23"/>
                    </a:cubicBezTo>
                    <a:cubicBezTo>
                      <a:pt x="40" y="24"/>
                      <a:pt x="43" y="25"/>
                      <a:pt x="53" y="29"/>
                    </a:cubicBezTo>
                    <a:cubicBezTo>
                      <a:pt x="49" y="32"/>
                      <a:pt x="45" y="31"/>
                      <a:pt x="40"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7" name="Freeform 164"/>
              <p:cNvSpPr>
                <a:spLocks/>
              </p:cNvSpPr>
              <p:nvPr/>
            </p:nvSpPr>
            <p:spPr bwMode="auto">
              <a:xfrm>
                <a:off x="6675438" y="1244600"/>
                <a:ext cx="128588" cy="49213"/>
              </a:xfrm>
              <a:custGeom>
                <a:avLst/>
                <a:gdLst/>
                <a:ahLst/>
                <a:cxnLst>
                  <a:cxn ang="0">
                    <a:pos x="77" y="29"/>
                  </a:cxn>
                  <a:cxn ang="0">
                    <a:pos x="66" y="34"/>
                  </a:cxn>
                  <a:cxn ang="0">
                    <a:pos x="58" y="29"/>
                  </a:cxn>
                  <a:cxn ang="0">
                    <a:pos x="50" y="32"/>
                  </a:cxn>
                  <a:cxn ang="0">
                    <a:pos x="40" y="36"/>
                  </a:cxn>
                  <a:cxn ang="0">
                    <a:pos x="32" y="31"/>
                  </a:cxn>
                  <a:cxn ang="0">
                    <a:pos x="22" y="38"/>
                  </a:cxn>
                  <a:cxn ang="0">
                    <a:pos x="0" y="18"/>
                  </a:cxn>
                  <a:cxn ang="0">
                    <a:pos x="20" y="0"/>
                  </a:cxn>
                  <a:cxn ang="0">
                    <a:pos x="47" y="15"/>
                  </a:cxn>
                  <a:cxn ang="0">
                    <a:pos x="54" y="3"/>
                  </a:cxn>
                  <a:cxn ang="0">
                    <a:pos x="97" y="15"/>
                  </a:cxn>
                  <a:cxn ang="0">
                    <a:pos x="89" y="29"/>
                  </a:cxn>
                  <a:cxn ang="0">
                    <a:pos x="77" y="29"/>
                  </a:cxn>
                </a:cxnLst>
                <a:rect l="0" t="0" r="r" b="b"/>
                <a:pathLst>
                  <a:path w="97" h="38">
                    <a:moveTo>
                      <a:pt x="77" y="29"/>
                    </a:moveTo>
                    <a:cubicBezTo>
                      <a:pt x="74" y="29"/>
                      <a:pt x="72" y="34"/>
                      <a:pt x="66" y="34"/>
                    </a:cubicBezTo>
                    <a:cubicBezTo>
                      <a:pt x="63" y="34"/>
                      <a:pt x="62" y="29"/>
                      <a:pt x="58" y="29"/>
                    </a:cubicBezTo>
                    <a:cubicBezTo>
                      <a:pt x="55" y="29"/>
                      <a:pt x="53" y="32"/>
                      <a:pt x="50" y="32"/>
                    </a:cubicBezTo>
                    <a:cubicBezTo>
                      <a:pt x="47" y="32"/>
                      <a:pt x="44" y="36"/>
                      <a:pt x="40" y="36"/>
                    </a:cubicBezTo>
                    <a:cubicBezTo>
                      <a:pt x="36" y="36"/>
                      <a:pt x="34" y="34"/>
                      <a:pt x="32" y="31"/>
                    </a:cubicBezTo>
                    <a:cubicBezTo>
                      <a:pt x="29" y="34"/>
                      <a:pt x="27" y="38"/>
                      <a:pt x="22" y="38"/>
                    </a:cubicBezTo>
                    <a:cubicBezTo>
                      <a:pt x="11" y="38"/>
                      <a:pt x="0" y="29"/>
                      <a:pt x="0" y="18"/>
                    </a:cubicBezTo>
                    <a:cubicBezTo>
                      <a:pt x="0" y="8"/>
                      <a:pt x="11" y="0"/>
                      <a:pt x="20" y="0"/>
                    </a:cubicBezTo>
                    <a:cubicBezTo>
                      <a:pt x="34" y="0"/>
                      <a:pt x="35" y="15"/>
                      <a:pt x="47" y="15"/>
                    </a:cubicBezTo>
                    <a:cubicBezTo>
                      <a:pt x="47" y="8"/>
                      <a:pt x="49" y="3"/>
                      <a:pt x="54" y="3"/>
                    </a:cubicBezTo>
                    <a:cubicBezTo>
                      <a:pt x="62" y="3"/>
                      <a:pt x="88" y="12"/>
                      <a:pt x="97" y="15"/>
                    </a:cubicBezTo>
                    <a:cubicBezTo>
                      <a:pt x="95" y="21"/>
                      <a:pt x="89" y="26"/>
                      <a:pt x="89" y="29"/>
                    </a:cubicBezTo>
                    <a:lnTo>
                      <a:pt x="77" y="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8" name="Freeform 165"/>
              <p:cNvSpPr>
                <a:spLocks/>
              </p:cNvSpPr>
              <p:nvPr/>
            </p:nvSpPr>
            <p:spPr bwMode="auto">
              <a:xfrm>
                <a:off x="4924425" y="2252663"/>
                <a:ext cx="34925" cy="17463"/>
              </a:xfrm>
              <a:custGeom>
                <a:avLst/>
                <a:gdLst/>
                <a:ahLst/>
                <a:cxnLst>
                  <a:cxn ang="0">
                    <a:pos x="5" y="13"/>
                  </a:cxn>
                  <a:cxn ang="0">
                    <a:pos x="2" y="11"/>
                  </a:cxn>
                  <a:cxn ang="0">
                    <a:pos x="0" y="9"/>
                  </a:cxn>
                  <a:cxn ang="0">
                    <a:pos x="26" y="0"/>
                  </a:cxn>
                  <a:cxn ang="0">
                    <a:pos x="20" y="4"/>
                  </a:cxn>
                  <a:cxn ang="0">
                    <a:pos x="19" y="8"/>
                  </a:cxn>
                  <a:cxn ang="0">
                    <a:pos x="5" y="13"/>
                  </a:cxn>
                </a:cxnLst>
                <a:rect l="0" t="0" r="r" b="b"/>
                <a:pathLst>
                  <a:path w="26" h="13">
                    <a:moveTo>
                      <a:pt x="5" y="13"/>
                    </a:moveTo>
                    <a:cubicBezTo>
                      <a:pt x="4" y="13"/>
                      <a:pt x="2" y="12"/>
                      <a:pt x="2" y="11"/>
                    </a:cubicBezTo>
                    <a:cubicBezTo>
                      <a:pt x="1" y="11"/>
                      <a:pt x="0" y="9"/>
                      <a:pt x="0" y="9"/>
                    </a:cubicBezTo>
                    <a:cubicBezTo>
                      <a:pt x="7" y="6"/>
                      <a:pt x="18" y="1"/>
                      <a:pt x="26" y="0"/>
                    </a:cubicBezTo>
                    <a:cubicBezTo>
                      <a:pt x="25" y="4"/>
                      <a:pt x="22" y="2"/>
                      <a:pt x="20" y="4"/>
                    </a:cubicBezTo>
                    <a:cubicBezTo>
                      <a:pt x="18" y="4"/>
                      <a:pt x="19" y="7"/>
                      <a:pt x="19" y="8"/>
                    </a:cubicBezTo>
                    <a:cubicBezTo>
                      <a:pt x="18" y="11"/>
                      <a:pt x="9" y="13"/>
                      <a:pt x="5"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9" name="Freeform 166"/>
              <p:cNvSpPr>
                <a:spLocks/>
              </p:cNvSpPr>
              <p:nvPr/>
            </p:nvSpPr>
            <p:spPr bwMode="auto">
              <a:xfrm>
                <a:off x="5183188" y="1463675"/>
                <a:ext cx="34925" cy="25400"/>
              </a:xfrm>
              <a:custGeom>
                <a:avLst/>
                <a:gdLst/>
                <a:ahLst/>
                <a:cxnLst>
                  <a:cxn ang="0">
                    <a:pos x="5" y="4"/>
                  </a:cxn>
                  <a:cxn ang="0">
                    <a:pos x="11" y="0"/>
                  </a:cxn>
                  <a:cxn ang="0">
                    <a:pos x="26" y="6"/>
                  </a:cxn>
                  <a:cxn ang="0">
                    <a:pos x="26" y="12"/>
                  </a:cxn>
                  <a:cxn ang="0">
                    <a:pos x="8" y="19"/>
                  </a:cxn>
                  <a:cxn ang="0">
                    <a:pos x="0" y="14"/>
                  </a:cxn>
                  <a:cxn ang="0">
                    <a:pos x="5" y="4"/>
                  </a:cxn>
                </a:cxnLst>
                <a:rect l="0" t="0" r="r" b="b"/>
                <a:pathLst>
                  <a:path w="26" h="19">
                    <a:moveTo>
                      <a:pt x="5" y="4"/>
                    </a:moveTo>
                    <a:cubicBezTo>
                      <a:pt x="8" y="4"/>
                      <a:pt x="8" y="0"/>
                      <a:pt x="11" y="0"/>
                    </a:cubicBezTo>
                    <a:cubicBezTo>
                      <a:pt x="17" y="0"/>
                      <a:pt x="20" y="5"/>
                      <a:pt x="26" y="6"/>
                    </a:cubicBezTo>
                    <a:cubicBezTo>
                      <a:pt x="26" y="12"/>
                      <a:pt x="26" y="12"/>
                      <a:pt x="26" y="12"/>
                    </a:cubicBezTo>
                    <a:cubicBezTo>
                      <a:pt x="20" y="15"/>
                      <a:pt x="15" y="19"/>
                      <a:pt x="8" y="19"/>
                    </a:cubicBezTo>
                    <a:cubicBezTo>
                      <a:pt x="2" y="19"/>
                      <a:pt x="0" y="19"/>
                      <a:pt x="0" y="14"/>
                    </a:cubicBezTo>
                    <a:cubicBezTo>
                      <a:pt x="0" y="12"/>
                      <a:pt x="4" y="4"/>
                      <a:pt x="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80" name="Freeform 167"/>
              <p:cNvSpPr>
                <a:spLocks/>
              </p:cNvSpPr>
              <p:nvPr/>
            </p:nvSpPr>
            <p:spPr bwMode="auto">
              <a:xfrm>
                <a:off x="5359400" y="1433513"/>
                <a:ext cx="26988" cy="25400"/>
              </a:xfrm>
              <a:custGeom>
                <a:avLst/>
                <a:gdLst/>
                <a:ahLst/>
                <a:cxnLst>
                  <a:cxn ang="0">
                    <a:pos x="21" y="17"/>
                  </a:cxn>
                  <a:cxn ang="0">
                    <a:pos x="15" y="19"/>
                  </a:cxn>
                  <a:cxn ang="0">
                    <a:pos x="0" y="8"/>
                  </a:cxn>
                  <a:cxn ang="0">
                    <a:pos x="21" y="17"/>
                  </a:cxn>
                </a:cxnLst>
                <a:rect l="0" t="0" r="r" b="b"/>
                <a:pathLst>
                  <a:path w="21" h="20">
                    <a:moveTo>
                      <a:pt x="21" y="17"/>
                    </a:moveTo>
                    <a:cubicBezTo>
                      <a:pt x="21" y="20"/>
                      <a:pt x="15" y="19"/>
                      <a:pt x="15" y="19"/>
                    </a:cubicBezTo>
                    <a:cubicBezTo>
                      <a:pt x="10" y="19"/>
                      <a:pt x="0" y="14"/>
                      <a:pt x="0" y="8"/>
                    </a:cubicBezTo>
                    <a:cubicBezTo>
                      <a:pt x="0" y="0"/>
                      <a:pt x="21" y="8"/>
                      <a:pt x="21"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81" name="Freeform 168"/>
              <p:cNvSpPr>
                <a:spLocks/>
              </p:cNvSpPr>
              <p:nvPr/>
            </p:nvSpPr>
            <p:spPr bwMode="auto">
              <a:xfrm>
                <a:off x="5549900" y="1338263"/>
                <a:ext cx="25400" cy="17463"/>
              </a:xfrm>
              <a:custGeom>
                <a:avLst/>
                <a:gdLst/>
                <a:ahLst/>
                <a:cxnLst>
                  <a:cxn ang="0">
                    <a:pos x="2" y="13"/>
                  </a:cxn>
                  <a:cxn ang="0">
                    <a:pos x="19" y="8"/>
                  </a:cxn>
                  <a:cxn ang="0">
                    <a:pos x="8" y="0"/>
                  </a:cxn>
                  <a:cxn ang="0">
                    <a:pos x="2" y="9"/>
                  </a:cxn>
                  <a:cxn ang="0">
                    <a:pos x="2" y="13"/>
                  </a:cxn>
                </a:cxnLst>
                <a:rect l="0" t="0" r="r" b="b"/>
                <a:pathLst>
                  <a:path w="19" h="13">
                    <a:moveTo>
                      <a:pt x="2" y="13"/>
                    </a:moveTo>
                    <a:cubicBezTo>
                      <a:pt x="7" y="13"/>
                      <a:pt x="17" y="10"/>
                      <a:pt x="19" y="8"/>
                    </a:cubicBezTo>
                    <a:cubicBezTo>
                      <a:pt x="15" y="5"/>
                      <a:pt x="13" y="0"/>
                      <a:pt x="8" y="0"/>
                    </a:cubicBezTo>
                    <a:cubicBezTo>
                      <a:pt x="4" y="0"/>
                      <a:pt x="2" y="5"/>
                      <a:pt x="2" y="9"/>
                    </a:cubicBezTo>
                    <a:cubicBezTo>
                      <a:pt x="2" y="10"/>
                      <a:pt x="0" y="13"/>
                      <a:pt x="2"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82" name="Freeform 169"/>
              <p:cNvSpPr>
                <a:spLocks/>
              </p:cNvSpPr>
              <p:nvPr/>
            </p:nvSpPr>
            <p:spPr bwMode="auto">
              <a:xfrm>
                <a:off x="6727825" y="1320800"/>
                <a:ext cx="53975" cy="22225"/>
              </a:xfrm>
              <a:custGeom>
                <a:avLst/>
                <a:gdLst/>
                <a:ahLst/>
                <a:cxnLst>
                  <a:cxn ang="0">
                    <a:pos x="0" y="13"/>
                  </a:cxn>
                  <a:cxn ang="0">
                    <a:pos x="21" y="0"/>
                  </a:cxn>
                  <a:cxn ang="0">
                    <a:pos x="41" y="17"/>
                  </a:cxn>
                  <a:cxn ang="0">
                    <a:pos x="28" y="17"/>
                  </a:cxn>
                  <a:cxn ang="0">
                    <a:pos x="2" y="11"/>
                  </a:cxn>
                  <a:cxn ang="0">
                    <a:pos x="0" y="13"/>
                  </a:cxn>
                </a:cxnLst>
                <a:rect l="0" t="0" r="r" b="b"/>
                <a:pathLst>
                  <a:path w="41" h="17">
                    <a:moveTo>
                      <a:pt x="0" y="13"/>
                    </a:moveTo>
                    <a:cubicBezTo>
                      <a:pt x="5" y="6"/>
                      <a:pt x="11" y="0"/>
                      <a:pt x="21" y="0"/>
                    </a:cubicBezTo>
                    <a:cubicBezTo>
                      <a:pt x="32" y="0"/>
                      <a:pt x="41" y="7"/>
                      <a:pt x="41" y="17"/>
                    </a:cubicBezTo>
                    <a:cubicBezTo>
                      <a:pt x="28" y="17"/>
                      <a:pt x="28" y="17"/>
                      <a:pt x="28" y="17"/>
                    </a:cubicBezTo>
                    <a:cubicBezTo>
                      <a:pt x="20" y="13"/>
                      <a:pt x="10" y="14"/>
                      <a:pt x="2" y="11"/>
                    </a:cubicBezTo>
                    <a:lnTo>
                      <a:pt x="0"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83" name="Freeform 170"/>
              <p:cNvSpPr>
                <a:spLocks/>
              </p:cNvSpPr>
              <p:nvPr/>
            </p:nvSpPr>
            <p:spPr bwMode="auto">
              <a:xfrm>
                <a:off x="6832600" y="1266825"/>
                <a:ext cx="74613" cy="26988"/>
              </a:xfrm>
              <a:custGeom>
                <a:avLst/>
                <a:gdLst/>
                <a:ahLst/>
                <a:cxnLst>
                  <a:cxn ang="0">
                    <a:pos x="0" y="0"/>
                  </a:cxn>
                  <a:cxn ang="0">
                    <a:pos x="52" y="9"/>
                  </a:cxn>
                  <a:cxn ang="0">
                    <a:pos x="56" y="13"/>
                  </a:cxn>
                  <a:cxn ang="0">
                    <a:pos x="37" y="20"/>
                  </a:cxn>
                  <a:cxn ang="0">
                    <a:pos x="4" y="3"/>
                  </a:cxn>
                  <a:cxn ang="0">
                    <a:pos x="0" y="0"/>
                  </a:cxn>
                </a:cxnLst>
                <a:rect l="0" t="0" r="r" b="b"/>
                <a:pathLst>
                  <a:path w="56" h="20">
                    <a:moveTo>
                      <a:pt x="0" y="0"/>
                    </a:moveTo>
                    <a:cubicBezTo>
                      <a:pt x="4" y="3"/>
                      <a:pt x="50" y="9"/>
                      <a:pt x="52" y="9"/>
                    </a:cubicBezTo>
                    <a:cubicBezTo>
                      <a:pt x="55" y="9"/>
                      <a:pt x="56" y="11"/>
                      <a:pt x="56" y="13"/>
                    </a:cubicBezTo>
                    <a:cubicBezTo>
                      <a:pt x="56" y="18"/>
                      <a:pt x="44" y="20"/>
                      <a:pt x="37" y="20"/>
                    </a:cubicBezTo>
                    <a:cubicBezTo>
                      <a:pt x="25" y="20"/>
                      <a:pt x="4" y="14"/>
                      <a:pt x="4" y="3"/>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84" name="Freeform 171"/>
              <p:cNvSpPr>
                <a:spLocks/>
              </p:cNvSpPr>
              <p:nvPr/>
            </p:nvSpPr>
            <p:spPr bwMode="auto">
              <a:xfrm>
                <a:off x="6726238" y="1303338"/>
                <a:ext cx="15875" cy="17463"/>
              </a:xfrm>
              <a:custGeom>
                <a:avLst/>
                <a:gdLst/>
                <a:ahLst/>
                <a:cxnLst>
                  <a:cxn ang="0">
                    <a:pos x="12" y="7"/>
                  </a:cxn>
                  <a:cxn ang="0">
                    <a:pos x="5" y="13"/>
                  </a:cxn>
                  <a:cxn ang="0">
                    <a:pos x="0" y="7"/>
                  </a:cxn>
                  <a:cxn ang="0">
                    <a:pos x="12" y="7"/>
                  </a:cxn>
                </a:cxnLst>
                <a:rect l="0" t="0" r="r" b="b"/>
                <a:pathLst>
                  <a:path w="12" h="13">
                    <a:moveTo>
                      <a:pt x="12" y="7"/>
                    </a:moveTo>
                    <a:cubicBezTo>
                      <a:pt x="12" y="11"/>
                      <a:pt x="8" y="13"/>
                      <a:pt x="5" y="13"/>
                    </a:cubicBezTo>
                    <a:cubicBezTo>
                      <a:pt x="0" y="13"/>
                      <a:pt x="0" y="11"/>
                      <a:pt x="0" y="7"/>
                    </a:cubicBezTo>
                    <a:cubicBezTo>
                      <a:pt x="0" y="0"/>
                      <a:pt x="12" y="1"/>
                      <a:pt x="12"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grpSp>
      </p:grpSp>
    </p:spTree>
    <p:extLst>
      <p:ext uri="{BB962C8B-B14F-4D97-AF65-F5344CB8AC3E}">
        <p14:creationId xmlns:p14="http://schemas.microsoft.com/office/powerpoint/2010/main" val="1791245974"/>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Social Network">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
        <p:nvSpPr>
          <p:cNvPr id="185" name="Freeform 5"/>
          <p:cNvSpPr>
            <a:spLocks noEditPoints="1"/>
          </p:cNvSpPr>
          <p:nvPr userDrawn="1"/>
        </p:nvSpPr>
        <p:spPr bwMode="auto">
          <a:xfrm>
            <a:off x="876647" y="1135138"/>
            <a:ext cx="7390707" cy="3836941"/>
          </a:xfrm>
          <a:custGeom>
            <a:avLst/>
            <a:gdLst>
              <a:gd name="T0" fmla="*/ 1631 w 1765"/>
              <a:gd name="T1" fmla="*/ 822 h 915"/>
              <a:gd name="T2" fmla="*/ 1615 w 1765"/>
              <a:gd name="T3" fmla="*/ 679 h 915"/>
              <a:gd name="T4" fmla="*/ 1465 w 1765"/>
              <a:gd name="T5" fmla="*/ 648 h 915"/>
              <a:gd name="T6" fmla="*/ 1514 w 1765"/>
              <a:gd name="T7" fmla="*/ 800 h 915"/>
              <a:gd name="T8" fmla="*/ 1340 w 1765"/>
              <a:gd name="T9" fmla="*/ 612 h 915"/>
              <a:gd name="T10" fmla="*/ 1441 w 1765"/>
              <a:gd name="T11" fmla="*/ 589 h 915"/>
              <a:gd name="T12" fmla="*/ 1423 w 1765"/>
              <a:gd name="T13" fmla="*/ 581 h 915"/>
              <a:gd name="T14" fmla="*/ 436 w 1765"/>
              <a:gd name="T15" fmla="*/ 534 h 915"/>
              <a:gd name="T16" fmla="*/ 1398 w 1765"/>
              <a:gd name="T17" fmla="*/ 496 h 915"/>
              <a:gd name="T18" fmla="*/ 1431 w 1765"/>
              <a:gd name="T19" fmla="*/ 389 h 915"/>
              <a:gd name="T20" fmla="*/ 1479 w 1765"/>
              <a:gd name="T21" fmla="*/ 351 h 915"/>
              <a:gd name="T22" fmla="*/ 213 w 1765"/>
              <a:gd name="T23" fmla="*/ 277 h 915"/>
              <a:gd name="T24" fmla="*/ 1501 w 1765"/>
              <a:gd name="T25" fmla="*/ 286 h 915"/>
              <a:gd name="T26" fmla="*/ 1755 w 1765"/>
              <a:gd name="T27" fmla="*/ 243 h 915"/>
              <a:gd name="T28" fmla="*/ 788 w 1765"/>
              <a:gd name="T29" fmla="*/ 278 h 915"/>
              <a:gd name="T30" fmla="*/ 1718 w 1765"/>
              <a:gd name="T31" fmla="*/ 185 h 915"/>
              <a:gd name="T32" fmla="*/ 893 w 1765"/>
              <a:gd name="T33" fmla="*/ 137 h 915"/>
              <a:gd name="T34" fmla="*/ 570 w 1765"/>
              <a:gd name="T35" fmla="*/ 116 h 915"/>
              <a:gd name="T36" fmla="*/ 263 w 1765"/>
              <a:gd name="T37" fmla="*/ 116 h 915"/>
              <a:gd name="T38" fmla="*/ 421 w 1765"/>
              <a:gd name="T39" fmla="*/ 95 h 915"/>
              <a:gd name="T40" fmla="*/ 497 w 1765"/>
              <a:gd name="T41" fmla="*/ 160 h 915"/>
              <a:gd name="T42" fmla="*/ 356 w 1765"/>
              <a:gd name="T43" fmla="*/ 262 h 915"/>
              <a:gd name="T44" fmla="*/ 417 w 1765"/>
              <a:gd name="T45" fmla="*/ 301 h 915"/>
              <a:gd name="T46" fmla="*/ 629 w 1765"/>
              <a:gd name="T47" fmla="*/ 595 h 915"/>
              <a:gd name="T48" fmla="*/ 407 w 1765"/>
              <a:gd name="T49" fmla="*/ 487 h 915"/>
              <a:gd name="T50" fmla="*/ 481 w 1765"/>
              <a:gd name="T51" fmla="*/ 329 h 915"/>
              <a:gd name="T52" fmla="*/ 493 w 1765"/>
              <a:gd name="T53" fmla="*/ 214 h 915"/>
              <a:gd name="T54" fmla="*/ 402 w 1765"/>
              <a:gd name="T55" fmla="*/ 152 h 915"/>
              <a:gd name="T56" fmla="*/ 234 w 1765"/>
              <a:gd name="T57" fmla="*/ 129 h 915"/>
              <a:gd name="T58" fmla="*/ 44 w 1765"/>
              <a:gd name="T59" fmla="*/ 201 h 915"/>
              <a:gd name="T60" fmla="*/ 227 w 1765"/>
              <a:gd name="T61" fmla="*/ 276 h 915"/>
              <a:gd name="T62" fmla="*/ 401 w 1765"/>
              <a:gd name="T63" fmla="*/ 503 h 915"/>
              <a:gd name="T64" fmla="*/ 464 w 1765"/>
              <a:gd name="T65" fmla="*/ 881 h 915"/>
              <a:gd name="T66" fmla="*/ 638 w 1765"/>
              <a:gd name="T67" fmla="*/ 642 h 915"/>
              <a:gd name="T68" fmla="*/ 357 w 1765"/>
              <a:gd name="T69" fmla="*/ 78 h 915"/>
              <a:gd name="T70" fmla="*/ 343 w 1765"/>
              <a:gd name="T71" fmla="*/ 75 h 915"/>
              <a:gd name="T72" fmla="*/ 480 w 1765"/>
              <a:gd name="T73" fmla="*/ 62 h 915"/>
              <a:gd name="T74" fmla="*/ 1051 w 1765"/>
              <a:gd name="T75" fmla="*/ 346 h 915"/>
              <a:gd name="T76" fmla="*/ 953 w 1765"/>
              <a:gd name="T77" fmla="*/ 627 h 915"/>
              <a:gd name="T78" fmla="*/ 1614 w 1765"/>
              <a:gd name="T79" fmla="*/ 133 h 915"/>
              <a:gd name="T80" fmla="*/ 1346 w 1765"/>
              <a:gd name="T81" fmla="*/ 90 h 915"/>
              <a:gd name="T82" fmla="*/ 1187 w 1765"/>
              <a:gd name="T83" fmla="*/ 148 h 915"/>
              <a:gd name="T84" fmla="*/ 989 w 1765"/>
              <a:gd name="T85" fmla="*/ 175 h 915"/>
              <a:gd name="T86" fmla="*/ 841 w 1765"/>
              <a:gd name="T87" fmla="*/ 198 h 915"/>
              <a:gd name="T88" fmla="*/ 909 w 1765"/>
              <a:gd name="T89" fmla="*/ 249 h 915"/>
              <a:gd name="T90" fmla="*/ 860 w 1765"/>
              <a:gd name="T91" fmla="*/ 317 h 915"/>
              <a:gd name="T92" fmla="*/ 1005 w 1765"/>
              <a:gd name="T93" fmla="*/ 300 h 915"/>
              <a:gd name="T94" fmla="*/ 772 w 1765"/>
              <a:gd name="T95" fmla="*/ 393 h 915"/>
              <a:gd name="T96" fmla="*/ 888 w 1765"/>
              <a:gd name="T97" fmla="*/ 729 h 915"/>
              <a:gd name="T98" fmla="*/ 994 w 1765"/>
              <a:gd name="T99" fmla="*/ 458 h 915"/>
              <a:gd name="T100" fmla="*/ 1150 w 1765"/>
              <a:gd name="T101" fmla="*/ 451 h 915"/>
              <a:gd name="T102" fmla="*/ 1306 w 1765"/>
              <a:gd name="T103" fmla="*/ 515 h 915"/>
              <a:gd name="T104" fmla="*/ 1420 w 1765"/>
              <a:gd name="T105" fmla="*/ 350 h 915"/>
              <a:gd name="T106" fmla="*/ 1558 w 1765"/>
              <a:gd name="T107" fmla="*/ 253 h 915"/>
              <a:gd name="T108" fmla="*/ 256 w 1765"/>
              <a:gd name="T109" fmla="*/ 71 h 915"/>
              <a:gd name="T110" fmla="*/ 896 w 1765"/>
              <a:gd name="T111" fmla="*/ 61 h 915"/>
              <a:gd name="T112" fmla="*/ 1038 w 1765"/>
              <a:gd name="T113" fmla="*/ 34 h 915"/>
              <a:gd name="T114" fmla="*/ 371 w 1765"/>
              <a:gd name="T115" fmla="*/ 37 h 915"/>
              <a:gd name="T116" fmla="*/ 507 w 1765"/>
              <a:gd name="T117" fmla="*/ 23 h 915"/>
              <a:gd name="T118" fmla="*/ 363 w 1765"/>
              <a:gd name="T119" fmla="*/ 25 h 915"/>
              <a:gd name="T120" fmla="*/ 722 w 1765"/>
              <a:gd name="T121" fmla="*/ 60 h 915"/>
              <a:gd name="T122" fmla="*/ 572 w 1765"/>
              <a:gd name="T123" fmla="*/ 22 h 915"/>
              <a:gd name="T124" fmla="*/ 576 w 1765"/>
              <a:gd name="T125" fmla="*/ 14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5" h="915">
                <a:moveTo>
                  <a:pt x="492" y="914"/>
                </a:moveTo>
                <a:cubicBezTo>
                  <a:pt x="492" y="915"/>
                  <a:pt x="492" y="915"/>
                  <a:pt x="492" y="915"/>
                </a:cubicBezTo>
                <a:cubicBezTo>
                  <a:pt x="492" y="915"/>
                  <a:pt x="493" y="915"/>
                  <a:pt x="493" y="915"/>
                </a:cubicBezTo>
                <a:cubicBezTo>
                  <a:pt x="493" y="915"/>
                  <a:pt x="493" y="915"/>
                  <a:pt x="492" y="914"/>
                </a:cubicBezTo>
                <a:cubicBezTo>
                  <a:pt x="492" y="915"/>
                  <a:pt x="492" y="914"/>
                  <a:pt x="492" y="914"/>
                </a:cubicBezTo>
                <a:close/>
                <a:moveTo>
                  <a:pt x="493" y="914"/>
                </a:moveTo>
                <a:cubicBezTo>
                  <a:pt x="494" y="914"/>
                  <a:pt x="495" y="914"/>
                  <a:pt x="495" y="914"/>
                </a:cubicBezTo>
                <a:cubicBezTo>
                  <a:pt x="496" y="913"/>
                  <a:pt x="493" y="913"/>
                  <a:pt x="493" y="913"/>
                </a:cubicBezTo>
                <a:cubicBezTo>
                  <a:pt x="493" y="913"/>
                  <a:pt x="493" y="913"/>
                  <a:pt x="493" y="914"/>
                </a:cubicBezTo>
                <a:close/>
                <a:moveTo>
                  <a:pt x="489" y="911"/>
                </a:moveTo>
                <a:cubicBezTo>
                  <a:pt x="489" y="912"/>
                  <a:pt x="489" y="912"/>
                  <a:pt x="489" y="912"/>
                </a:cubicBezTo>
                <a:cubicBezTo>
                  <a:pt x="490" y="914"/>
                  <a:pt x="490" y="913"/>
                  <a:pt x="491" y="914"/>
                </a:cubicBezTo>
                <a:cubicBezTo>
                  <a:pt x="491" y="912"/>
                  <a:pt x="490" y="912"/>
                  <a:pt x="489" y="911"/>
                </a:cubicBezTo>
                <a:cubicBezTo>
                  <a:pt x="489" y="912"/>
                  <a:pt x="489" y="911"/>
                  <a:pt x="489" y="911"/>
                </a:cubicBezTo>
                <a:close/>
                <a:moveTo>
                  <a:pt x="490" y="911"/>
                </a:moveTo>
                <a:cubicBezTo>
                  <a:pt x="490" y="910"/>
                  <a:pt x="490" y="909"/>
                  <a:pt x="490" y="908"/>
                </a:cubicBezTo>
                <a:cubicBezTo>
                  <a:pt x="489" y="908"/>
                  <a:pt x="488" y="908"/>
                  <a:pt x="486" y="908"/>
                </a:cubicBezTo>
                <a:cubicBezTo>
                  <a:pt x="486" y="908"/>
                  <a:pt x="486" y="908"/>
                  <a:pt x="486" y="909"/>
                </a:cubicBezTo>
                <a:cubicBezTo>
                  <a:pt x="486" y="909"/>
                  <a:pt x="485" y="909"/>
                  <a:pt x="485" y="909"/>
                </a:cubicBezTo>
                <a:cubicBezTo>
                  <a:pt x="485" y="910"/>
                  <a:pt x="485" y="909"/>
                  <a:pt x="485" y="909"/>
                </a:cubicBezTo>
                <a:cubicBezTo>
                  <a:pt x="484" y="909"/>
                  <a:pt x="483" y="909"/>
                  <a:pt x="483" y="909"/>
                </a:cubicBezTo>
                <a:cubicBezTo>
                  <a:pt x="482" y="909"/>
                  <a:pt x="482" y="910"/>
                  <a:pt x="481" y="910"/>
                </a:cubicBezTo>
                <a:cubicBezTo>
                  <a:pt x="482" y="911"/>
                  <a:pt x="482" y="911"/>
                  <a:pt x="483" y="911"/>
                </a:cubicBezTo>
                <a:cubicBezTo>
                  <a:pt x="484" y="912"/>
                  <a:pt x="485" y="912"/>
                  <a:pt x="486" y="912"/>
                </a:cubicBezTo>
                <a:cubicBezTo>
                  <a:pt x="486" y="912"/>
                  <a:pt x="486" y="912"/>
                  <a:pt x="486" y="912"/>
                </a:cubicBezTo>
                <a:cubicBezTo>
                  <a:pt x="486" y="912"/>
                  <a:pt x="486" y="911"/>
                  <a:pt x="486" y="911"/>
                </a:cubicBezTo>
                <a:cubicBezTo>
                  <a:pt x="488" y="910"/>
                  <a:pt x="489" y="911"/>
                  <a:pt x="490" y="911"/>
                </a:cubicBezTo>
                <a:cubicBezTo>
                  <a:pt x="490" y="910"/>
                  <a:pt x="490" y="911"/>
                  <a:pt x="490" y="911"/>
                </a:cubicBezTo>
                <a:close/>
                <a:moveTo>
                  <a:pt x="477" y="909"/>
                </a:moveTo>
                <a:cubicBezTo>
                  <a:pt x="478" y="909"/>
                  <a:pt x="478" y="910"/>
                  <a:pt x="479" y="910"/>
                </a:cubicBezTo>
                <a:cubicBezTo>
                  <a:pt x="479" y="909"/>
                  <a:pt x="479" y="909"/>
                  <a:pt x="480" y="908"/>
                </a:cubicBezTo>
                <a:cubicBezTo>
                  <a:pt x="480" y="908"/>
                  <a:pt x="480" y="908"/>
                  <a:pt x="480" y="908"/>
                </a:cubicBezTo>
                <a:cubicBezTo>
                  <a:pt x="479" y="908"/>
                  <a:pt x="478" y="908"/>
                  <a:pt x="477" y="908"/>
                </a:cubicBezTo>
                <a:cubicBezTo>
                  <a:pt x="477" y="908"/>
                  <a:pt x="477" y="909"/>
                  <a:pt x="477" y="909"/>
                </a:cubicBezTo>
                <a:cubicBezTo>
                  <a:pt x="478" y="909"/>
                  <a:pt x="477" y="909"/>
                  <a:pt x="477" y="909"/>
                </a:cubicBezTo>
                <a:close/>
                <a:moveTo>
                  <a:pt x="476" y="907"/>
                </a:moveTo>
                <a:cubicBezTo>
                  <a:pt x="475" y="907"/>
                  <a:pt x="475" y="907"/>
                  <a:pt x="475" y="907"/>
                </a:cubicBezTo>
                <a:cubicBezTo>
                  <a:pt x="476" y="908"/>
                  <a:pt x="478" y="908"/>
                  <a:pt x="476" y="907"/>
                </a:cubicBezTo>
                <a:cubicBezTo>
                  <a:pt x="476" y="907"/>
                  <a:pt x="476" y="907"/>
                  <a:pt x="476" y="907"/>
                </a:cubicBezTo>
                <a:close/>
                <a:moveTo>
                  <a:pt x="510" y="904"/>
                </a:moveTo>
                <a:cubicBezTo>
                  <a:pt x="510" y="905"/>
                  <a:pt x="508" y="905"/>
                  <a:pt x="508" y="906"/>
                </a:cubicBezTo>
                <a:cubicBezTo>
                  <a:pt x="508" y="907"/>
                  <a:pt x="510" y="906"/>
                  <a:pt x="510" y="907"/>
                </a:cubicBezTo>
                <a:cubicBezTo>
                  <a:pt x="511" y="907"/>
                  <a:pt x="512" y="906"/>
                  <a:pt x="512" y="906"/>
                </a:cubicBezTo>
                <a:cubicBezTo>
                  <a:pt x="513" y="906"/>
                  <a:pt x="513" y="905"/>
                  <a:pt x="513" y="905"/>
                </a:cubicBezTo>
                <a:cubicBezTo>
                  <a:pt x="512" y="905"/>
                  <a:pt x="512" y="905"/>
                  <a:pt x="511" y="905"/>
                </a:cubicBezTo>
                <a:cubicBezTo>
                  <a:pt x="510" y="905"/>
                  <a:pt x="511" y="904"/>
                  <a:pt x="510" y="904"/>
                </a:cubicBezTo>
                <a:close/>
                <a:moveTo>
                  <a:pt x="472" y="901"/>
                </a:moveTo>
                <a:cubicBezTo>
                  <a:pt x="472" y="901"/>
                  <a:pt x="472" y="900"/>
                  <a:pt x="472" y="900"/>
                </a:cubicBezTo>
                <a:cubicBezTo>
                  <a:pt x="472" y="900"/>
                  <a:pt x="472" y="899"/>
                  <a:pt x="473" y="899"/>
                </a:cubicBezTo>
                <a:cubicBezTo>
                  <a:pt x="472" y="899"/>
                  <a:pt x="471" y="898"/>
                  <a:pt x="471" y="898"/>
                </a:cubicBezTo>
                <a:cubicBezTo>
                  <a:pt x="471" y="898"/>
                  <a:pt x="470" y="898"/>
                  <a:pt x="470" y="898"/>
                </a:cubicBezTo>
                <a:cubicBezTo>
                  <a:pt x="470" y="897"/>
                  <a:pt x="470" y="897"/>
                  <a:pt x="469" y="897"/>
                </a:cubicBezTo>
                <a:cubicBezTo>
                  <a:pt x="469" y="897"/>
                  <a:pt x="469" y="896"/>
                  <a:pt x="469" y="896"/>
                </a:cubicBezTo>
                <a:cubicBezTo>
                  <a:pt x="468" y="896"/>
                  <a:pt x="468" y="896"/>
                  <a:pt x="467" y="895"/>
                </a:cubicBezTo>
                <a:cubicBezTo>
                  <a:pt x="467" y="897"/>
                  <a:pt x="466" y="898"/>
                  <a:pt x="466" y="899"/>
                </a:cubicBezTo>
                <a:cubicBezTo>
                  <a:pt x="467" y="899"/>
                  <a:pt x="467" y="899"/>
                  <a:pt x="467" y="900"/>
                </a:cubicBezTo>
                <a:cubicBezTo>
                  <a:pt x="468" y="900"/>
                  <a:pt x="468" y="900"/>
                  <a:pt x="469" y="900"/>
                </a:cubicBezTo>
                <a:cubicBezTo>
                  <a:pt x="469" y="900"/>
                  <a:pt x="469" y="901"/>
                  <a:pt x="469" y="902"/>
                </a:cubicBezTo>
                <a:cubicBezTo>
                  <a:pt x="469" y="901"/>
                  <a:pt x="469" y="902"/>
                  <a:pt x="469" y="902"/>
                </a:cubicBezTo>
                <a:cubicBezTo>
                  <a:pt x="470" y="902"/>
                  <a:pt x="470" y="902"/>
                  <a:pt x="470" y="902"/>
                </a:cubicBezTo>
                <a:cubicBezTo>
                  <a:pt x="471" y="902"/>
                  <a:pt x="471" y="902"/>
                  <a:pt x="472" y="902"/>
                </a:cubicBezTo>
                <a:cubicBezTo>
                  <a:pt x="472" y="902"/>
                  <a:pt x="472" y="902"/>
                  <a:pt x="473" y="902"/>
                </a:cubicBezTo>
                <a:cubicBezTo>
                  <a:pt x="472" y="902"/>
                  <a:pt x="472" y="901"/>
                  <a:pt x="472" y="901"/>
                </a:cubicBezTo>
                <a:close/>
                <a:moveTo>
                  <a:pt x="495" y="907"/>
                </a:moveTo>
                <a:cubicBezTo>
                  <a:pt x="494" y="907"/>
                  <a:pt x="494" y="907"/>
                  <a:pt x="493" y="907"/>
                </a:cubicBezTo>
                <a:cubicBezTo>
                  <a:pt x="492" y="907"/>
                  <a:pt x="491" y="907"/>
                  <a:pt x="492" y="907"/>
                </a:cubicBezTo>
                <a:cubicBezTo>
                  <a:pt x="493" y="907"/>
                  <a:pt x="495" y="906"/>
                  <a:pt x="495" y="907"/>
                </a:cubicBezTo>
                <a:close/>
                <a:moveTo>
                  <a:pt x="503" y="905"/>
                </a:moveTo>
                <a:cubicBezTo>
                  <a:pt x="503" y="905"/>
                  <a:pt x="501" y="905"/>
                  <a:pt x="501" y="905"/>
                </a:cubicBezTo>
                <a:cubicBezTo>
                  <a:pt x="501" y="905"/>
                  <a:pt x="500" y="905"/>
                  <a:pt x="500" y="905"/>
                </a:cubicBezTo>
                <a:cubicBezTo>
                  <a:pt x="500" y="905"/>
                  <a:pt x="500" y="904"/>
                  <a:pt x="500" y="904"/>
                </a:cubicBezTo>
                <a:cubicBezTo>
                  <a:pt x="499" y="904"/>
                  <a:pt x="499" y="904"/>
                  <a:pt x="499" y="904"/>
                </a:cubicBezTo>
                <a:cubicBezTo>
                  <a:pt x="497" y="904"/>
                  <a:pt x="497" y="902"/>
                  <a:pt x="496" y="902"/>
                </a:cubicBezTo>
                <a:cubicBezTo>
                  <a:pt x="495" y="902"/>
                  <a:pt x="495" y="902"/>
                  <a:pt x="495" y="902"/>
                </a:cubicBezTo>
                <a:cubicBezTo>
                  <a:pt x="495" y="901"/>
                  <a:pt x="494" y="902"/>
                  <a:pt x="494" y="901"/>
                </a:cubicBezTo>
                <a:cubicBezTo>
                  <a:pt x="494" y="901"/>
                  <a:pt x="493" y="901"/>
                  <a:pt x="493" y="901"/>
                </a:cubicBezTo>
                <a:cubicBezTo>
                  <a:pt x="493" y="900"/>
                  <a:pt x="494" y="900"/>
                  <a:pt x="493" y="899"/>
                </a:cubicBezTo>
                <a:cubicBezTo>
                  <a:pt x="492" y="899"/>
                  <a:pt x="491" y="898"/>
                  <a:pt x="491" y="897"/>
                </a:cubicBezTo>
                <a:cubicBezTo>
                  <a:pt x="491" y="896"/>
                  <a:pt x="490" y="896"/>
                  <a:pt x="489" y="896"/>
                </a:cubicBezTo>
                <a:cubicBezTo>
                  <a:pt x="489" y="895"/>
                  <a:pt x="491" y="895"/>
                  <a:pt x="491" y="894"/>
                </a:cubicBezTo>
                <a:cubicBezTo>
                  <a:pt x="491" y="893"/>
                  <a:pt x="489" y="893"/>
                  <a:pt x="489" y="892"/>
                </a:cubicBezTo>
                <a:cubicBezTo>
                  <a:pt x="488" y="892"/>
                  <a:pt x="488" y="892"/>
                  <a:pt x="487" y="892"/>
                </a:cubicBezTo>
                <a:cubicBezTo>
                  <a:pt x="486" y="893"/>
                  <a:pt x="486" y="892"/>
                  <a:pt x="486" y="891"/>
                </a:cubicBezTo>
                <a:cubicBezTo>
                  <a:pt x="485" y="891"/>
                  <a:pt x="485" y="892"/>
                  <a:pt x="484" y="892"/>
                </a:cubicBezTo>
                <a:cubicBezTo>
                  <a:pt x="484" y="892"/>
                  <a:pt x="483" y="893"/>
                  <a:pt x="483" y="893"/>
                </a:cubicBezTo>
                <a:cubicBezTo>
                  <a:pt x="482" y="893"/>
                  <a:pt x="482" y="892"/>
                  <a:pt x="481" y="892"/>
                </a:cubicBezTo>
                <a:cubicBezTo>
                  <a:pt x="478" y="893"/>
                  <a:pt x="479" y="894"/>
                  <a:pt x="480" y="895"/>
                </a:cubicBezTo>
                <a:cubicBezTo>
                  <a:pt x="480" y="895"/>
                  <a:pt x="480" y="895"/>
                  <a:pt x="480" y="895"/>
                </a:cubicBezTo>
                <a:cubicBezTo>
                  <a:pt x="480" y="896"/>
                  <a:pt x="479" y="897"/>
                  <a:pt x="480" y="897"/>
                </a:cubicBezTo>
                <a:cubicBezTo>
                  <a:pt x="481" y="897"/>
                  <a:pt x="481" y="898"/>
                  <a:pt x="481" y="897"/>
                </a:cubicBezTo>
                <a:cubicBezTo>
                  <a:pt x="482" y="897"/>
                  <a:pt x="483" y="897"/>
                  <a:pt x="484" y="897"/>
                </a:cubicBezTo>
                <a:cubicBezTo>
                  <a:pt x="484" y="898"/>
                  <a:pt x="484" y="898"/>
                  <a:pt x="484" y="898"/>
                </a:cubicBezTo>
                <a:cubicBezTo>
                  <a:pt x="483" y="898"/>
                  <a:pt x="483" y="898"/>
                  <a:pt x="482" y="899"/>
                </a:cubicBezTo>
                <a:cubicBezTo>
                  <a:pt x="482" y="899"/>
                  <a:pt x="481" y="899"/>
                  <a:pt x="481" y="899"/>
                </a:cubicBezTo>
                <a:cubicBezTo>
                  <a:pt x="481" y="900"/>
                  <a:pt x="481" y="899"/>
                  <a:pt x="481" y="899"/>
                </a:cubicBezTo>
                <a:cubicBezTo>
                  <a:pt x="480" y="899"/>
                  <a:pt x="480" y="900"/>
                  <a:pt x="481" y="901"/>
                </a:cubicBezTo>
                <a:cubicBezTo>
                  <a:pt x="481" y="901"/>
                  <a:pt x="481" y="902"/>
                  <a:pt x="481" y="902"/>
                </a:cubicBezTo>
                <a:cubicBezTo>
                  <a:pt x="482" y="902"/>
                  <a:pt x="483" y="902"/>
                  <a:pt x="483" y="902"/>
                </a:cubicBezTo>
                <a:cubicBezTo>
                  <a:pt x="483" y="903"/>
                  <a:pt x="484" y="904"/>
                  <a:pt x="485" y="904"/>
                </a:cubicBezTo>
                <a:cubicBezTo>
                  <a:pt x="484" y="905"/>
                  <a:pt x="484" y="903"/>
                  <a:pt x="483" y="903"/>
                </a:cubicBezTo>
                <a:cubicBezTo>
                  <a:pt x="481" y="903"/>
                  <a:pt x="480" y="903"/>
                  <a:pt x="481" y="904"/>
                </a:cubicBezTo>
                <a:cubicBezTo>
                  <a:pt x="481" y="905"/>
                  <a:pt x="480" y="905"/>
                  <a:pt x="480" y="905"/>
                </a:cubicBezTo>
                <a:cubicBezTo>
                  <a:pt x="480" y="904"/>
                  <a:pt x="480" y="905"/>
                  <a:pt x="480" y="904"/>
                </a:cubicBezTo>
                <a:cubicBezTo>
                  <a:pt x="480" y="904"/>
                  <a:pt x="480" y="904"/>
                  <a:pt x="480" y="903"/>
                </a:cubicBezTo>
                <a:cubicBezTo>
                  <a:pt x="479" y="903"/>
                  <a:pt x="480" y="903"/>
                  <a:pt x="480" y="903"/>
                </a:cubicBezTo>
                <a:cubicBezTo>
                  <a:pt x="480" y="902"/>
                  <a:pt x="479" y="902"/>
                  <a:pt x="479" y="902"/>
                </a:cubicBezTo>
                <a:cubicBezTo>
                  <a:pt x="479" y="902"/>
                  <a:pt x="480" y="902"/>
                  <a:pt x="479" y="901"/>
                </a:cubicBezTo>
                <a:cubicBezTo>
                  <a:pt x="479" y="901"/>
                  <a:pt x="479" y="900"/>
                  <a:pt x="479" y="900"/>
                </a:cubicBezTo>
                <a:cubicBezTo>
                  <a:pt x="479" y="900"/>
                  <a:pt x="479" y="900"/>
                  <a:pt x="479" y="900"/>
                </a:cubicBezTo>
                <a:cubicBezTo>
                  <a:pt x="479" y="899"/>
                  <a:pt x="477" y="900"/>
                  <a:pt x="478" y="900"/>
                </a:cubicBezTo>
                <a:cubicBezTo>
                  <a:pt x="477" y="900"/>
                  <a:pt x="477" y="902"/>
                  <a:pt x="477" y="902"/>
                </a:cubicBezTo>
                <a:cubicBezTo>
                  <a:pt x="476" y="901"/>
                  <a:pt x="476" y="901"/>
                  <a:pt x="475" y="902"/>
                </a:cubicBezTo>
                <a:cubicBezTo>
                  <a:pt x="475" y="901"/>
                  <a:pt x="475" y="901"/>
                  <a:pt x="475" y="900"/>
                </a:cubicBezTo>
                <a:cubicBezTo>
                  <a:pt x="474" y="900"/>
                  <a:pt x="472" y="900"/>
                  <a:pt x="473" y="902"/>
                </a:cubicBezTo>
                <a:cubicBezTo>
                  <a:pt x="474" y="903"/>
                  <a:pt x="475" y="903"/>
                  <a:pt x="476" y="903"/>
                </a:cubicBezTo>
                <a:cubicBezTo>
                  <a:pt x="476" y="903"/>
                  <a:pt x="477" y="902"/>
                  <a:pt x="478" y="902"/>
                </a:cubicBezTo>
                <a:cubicBezTo>
                  <a:pt x="478" y="902"/>
                  <a:pt x="478" y="904"/>
                  <a:pt x="478" y="904"/>
                </a:cubicBezTo>
                <a:cubicBezTo>
                  <a:pt x="476" y="904"/>
                  <a:pt x="474" y="904"/>
                  <a:pt x="473" y="905"/>
                </a:cubicBezTo>
                <a:cubicBezTo>
                  <a:pt x="472" y="905"/>
                  <a:pt x="473" y="906"/>
                  <a:pt x="474" y="906"/>
                </a:cubicBezTo>
                <a:cubicBezTo>
                  <a:pt x="474" y="906"/>
                  <a:pt x="474" y="905"/>
                  <a:pt x="475" y="905"/>
                </a:cubicBezTo>
                <a:cubicBezTo>
                  <a:pt x="475" y="906"/>
                  <a:pt x="475" y="906"/>
                  <a:pt x="475" y="906"/>
                </a:cubicBezTo>
                <a:cubicBezTo>
                  <a:pt x="476" y="906"/>
                  <a:pt x="477" y="906"/>
                  <a:pt x="477" y="906"/>
                </a:cubicBezTo>
                <a:cubicBezTo>
                  <a:pt x="477" y="906"/>
                  <a:pt x="478" y="906"/>
                  <a:pt x="478" y="906"/>
                </a:cubicBezTo>
                <a:cubicBezTo>
                  <a:pt x="478" y="907"/>
                  <a:pt x="478" y="907"/>
                  <a:pt x="478" y="907"/>
                </a:cubicBezTo>
                <a:cubicBezTo>
                  <a:pt x="479" y="907"/>
                  <a:pt x="481" y="908"/>
                  <a:pt x="481" y="907"/>
                </a:cubicBezTo>
                <a:cubicBezTo>
                  <a:pt x="481" y="907"/>
                  <a:pt x="481" y="907"/>
                  <a:pt x="481" y="907"/>
                </a:cubicBezTo>
                <a:cubicBezTo>
                  <a:pt x="482" y="907"/>
                  <a:pt x="482" y="907"/>
                  <a:pt x="482" y="907"/>
                </a:cubicBezTo>
                <a:cubicBezTo>
                  <a:pt x="482" y="908"/>
                  <a:pt x="481" y="908"/>
                  <a:pt x="482" y="909"/>
                </a:cubicBezTo>
                <a:cubicBezTo>
                  <a:pt x="483" y="908"/>
                  <a:pt x="483" y="909"/>
                  <a:pt x="484" y="908"/>
                </a:cubicBezTo>
                <a:cubicBezTo>
                  <a:pt x="485" y="907"/>
                  <a:pt x="485" y="910"/>
                  <a:pt x="486" y="908"/>
                </a:cubicBezTo>
                <a:cubicBezTo>
                  <a:pt x="486" y="908"/>
                  <a:pt x="488" y="908"/>
                  <a:pt x="488" y="907"/>
                </a:cubicBezTo>
                <a:cubicBezTo>
                  <a:pt x="488" y="907"/>
                  <a:pt x="490" y="907"/>
                  <a:pt x="490" y="907"/>
                </a:cubicBezTo>
                <a:cubicBezTo>
                  <a:pt x="490" y="907"/>
                  <a:pt x="491" y="906"/>
                  <a:pt x="491" y="907"/>
                </a:cubicBezTo>
                <a:cubicBezTo>
                  <a:pt x="491" y="908"/>
                  <a:pt x="491" y="909"/>
                  <a:pt x="492" y="909"/>
                </a:cubicBezTo>
                <a:cubicBezTo>
                  <a:pt x="493" y="910"/>
                  <a:pt x="493" y="910"/>
                  <a:pt x="493" y="911"/>
                </a:cubicBezTo>
                <a:cubicBezTo>
                  <a:pt x="494" y="910"/>
                  <a:pt x="496" y="909"/>
                  <a:pt x="496" y="907"/>
                </a:cubicBezTo>
                <a:cubicBezTo>
                  <a:pt x="497" y="907"/>
                  <a:pt x="497" y="907"/>
                  <a:pt x="497" y="908"/>
                </a:cubicBezTo>
                <a:cubicBezTo>
                  <a:pt x="498" y="907"/>
                  <a:pt x="502" y="907"/>
                  <a:pt x="503" y="907"/>
                </a:cubicBezTo>
                <a:cubicBezTo>
                  <a:pt x="504" y="907"/>
                  <a:pt x="504" y="907"/>
                  <a:pt x="504" y="907"/>
                </a:cubicBezTo>
                <a:cubicBezTo>
                  <a:pt x="504" y="906"/>
                  <a:pt x="505" y="906"/>
                  <a:pt x="505" y="906"/>
                </a:cubicBezTo>
                <a:cubicBezTo>
                  <a:pt x="505" y="905"/>
                  <a:pt x="503" y="906"/>
                  <a:pt x="503" y="905"/>
                </a:cubicBezTo>
                <a:close/>
                <a:moveTo>
                  <a:pt x="466" y="895"/>
                </a:moveTo>
                <a:cubicBezTo>
                  <a:pt x="465" y="895"/>
                  <a:pt x="465" y="894"/>
                  <a:pt x="463" y="893"/>
                </a:cubicBezTo>
                <a:cubicBezTo>
                  <a:pt x="462" y="893"/>
                  <a:pt x="462" y="893"/>
                  <a:pt x="462" y="892"/>
                </a:cubicBezTo>
                <a:cubicBezTo>
                  <a:pt x="462" y="892"/>
                  <a:pt x="464" y="892"/>
                  <a:pt x="464" y="893"/>
                </a:cubicBezTo>
                <a:cubicBezTo>
                  <a:pt x="464" y="893"/>
                  <a:pt x="464" y="893"/>
                  <a:pt x="465" y="893"/>
                </a:cubicBezTo>
                <a:cubicBezTo>
                  <a:pt x="465" y="892"/>
                  <a:pt x="465" y="892"/>
                  <a:pt x="465" y="891"/>
                </a:cubicBezTo>
                <a:cubicBezTo>
                  <a:pt x="464" y="891"/>
                  <a:pt x="465" y="891"/>
                  <a:pt x="465" y="890"/>
                </a:cubicBezTo>
                <a:cubicBezTo>
                  <a:pt x="465" y="890"/>
                  <a:pt x="465" y="890"/>
                  <a:pt x="465" y="890"/>
                </a:cubicBezTo>
                <a:cubicBezTo>
                  <a:pt x="464" y="890"/>
                  <a:pt x="465" y="889"/>
                  <a:pt x="465" y="889"/>
                </a:cubicBezTo>
                <a:cubicBezTo>
                  <a:pt x="464" y="888"/>
                  <a:pt x="463" y="887"/>
                  <a:pt x="462" y="887"/>
                </a:cubicBezTo>
                <a:cubicBezTo>
                  <a:pt x="461" y="887"/>
                  <a:pt x="461" y="887"/>
                  <a:pt x="460" y="886"/>
                </a:cubicBezTo>
                <a:cubicBezTo>
                  <a:pt x="459" y="886"/>
                  <a:pt x="459" y="887"/>
                  <a:pt x="458" y="887"/>
                </a:cubicBezTo>
                <a:cubicBezTo>
                  <a:pt x="458" y="888"/>
                  <a:pt x="459" y="890"/>
                  <a:pt x="460" y="891"/>
                </a:cubicBezTo>
                <a:cubicBezTo>
                  <a:pt x="461" y="892"/>
                  <a:pt x="460" y="893"/>
                  <a:pt x="461" y="894"/>
                </a:cubicBezTo>
                <a:cubicBezTo>
                  <a:pt x="462" y="894"/>
                  <a:pt x="462" y="895"/>
                  <a:pt x="463" y="895"/>
                </a:cubicBezTo>
                <a:cubicBezTo>
                  <a:pt x="464" y="896"/>
                  <a:pt x="464" y="896"/>
                  <a:pt x="465" y="896"/>
                </a:cubicBezTo>
                <a:cubicBezTo>
                  <a:pt x="466" y="897"/>
                  <a:pt x="466" y="896"/>
                  <a:pt x="466" y="895"/>
                </a:cubicBezTo>
                <a:cubicBezTo>
                  <a:pt x="465" y="895"/>
                  <a:pt x="466" y="895"/>
                  <a:pt x="466" y="895"/>
                </a:cubicBezTo>
                <a:close/>
                <a:moveTo>
                  <a:pt x="540" y="884"/>
                </a:moveTo>
                <a:cubicBezTo>
                  <a:pt x="538" y="884"/>
                  <a:pt x="538" y="884"/>
                  <a:pt x="538" y="885"/>
                </a:cubicBezTo>
                <a:cubicBezTo>
                  <a:pt x="537" y="885"/>
                  <a:pt x="537" y="884"/>
                  <a:pt x="537" y="883"/>
                </a:cubicBezTo>
                <a:cubicBezTo>
                  <a:pt x="537" y="883"/>
                  <a:pt x="536" y="883"/>
                  <a:pt x="536" y="883"/>
                </a:cubicBezTo>
                <a:cubicBezTo>
                  <a:pt x="535" y="883"/>
                  <a:pt x="535" y="884"/>
                  <a:pt x="534" y="884"/>
                </a:cubicBezTo>
                <a:cubicBezTo>
                  <a:pt x="533" y="885"/>
                  <a:pt x="533" y="885"/>
                  <a:pt x="534" y="886"/>
                </a:cubicBezTo>
                <a:cubicBezTo>
                  <a:pt x="532" y="886"/>
                  <a:pt x="532" y="888"/>
                  <a:pt x="530" y="889"/>
                </a:cubicBezTo>
                <a:cubicBezTo>
                  <a:pt x="530" y="890"/>
                  <a:pt x="530" y="889"/>
                  <a:pt x="531" y="890"/>
                </a:cubicBezTo>
                <a:cubicBezTo>
                  <a:pt x="531" y="890"/>
                  <a:pt x="532" y="891"/>
                  <a:pt x="532" y="891"/>
                </a:cubicBezTo>
                <a:cubicBezTo>
                  <a:pt x="532" y="890"/>
                  <a:pt x="532" y="890"/>
                  <a:pt x="532" y="890"/>
                </a:cubicBezTo>
                <a:cubicBezTo>
                  <a:pt x="532" y="890"/>
                  <a:pt x="533" y="889"/>
                  <a:pt x="533" y="889"/>
                </a:cubicBezTo>
                <a:cubicBezTo>
                  <a:pt x="534" y="889"/>
                  <a:pt x="535" y="889"/>
                  <a:pt x="536" y="889"/>
                </a:cubicBezTo>
                <a:cubicBezTo>
                  <a:pt x="535" y="888"/>
                  <a:pt x="535" y="888"/>
                  <a:pt x="535" y="887"/>
                </a:cubicBezTo>
                <a:cubicBezTo>
                  <a:pt x="536" y="887"/>
                  <a:pt x="536" y="888"/>
                  <a:pt x="537" y="888"/>
                </a:cubicBezTo>
                <a:cubicBezTo>
                  <a:pt x="537" y="887"/>
                  <a:pt x="538" y="887"/>
                  <a:pt x="539" y="886"/>
                </a:cubicBezTo>
                <a:cubicBezTo>
                  <a:pt x="539" y="886"/>
                  <a:pt x="540" y="886"/>
                  <a:pt x="540" y="887"/>
                </a:cubicBezTo>
                <a:cubicBezTo>
                  <a:pt x="541" y="887"/>
                  <a:pt x="540" y="886"/>
                  <a:pt x="541" y="886"/>
                </a:cubicBezTo>
                <a:cubicBezTo>
                  <a:pt x="542" y="886"/>
                  <a:pt x="540" y="885"/>
                  <a:pt x="540" y="885"/>
                </a:cubicBezTo>
                <a:cubicBezTo>
                  <a:pt x="539" y="885"/>
                  <a:pt x="540" y="885"/>
                  <a:pt x="540" y="884"/>
                </a:cubicBezTo>
                <a:cubicBezTo>
                  <a:pt x="539" y="884"/>
                  <a:pt x="540" y="884"/>
                  <a:pt x="540" y="884"/>
                </a:cubicBezTo>
                <a:close/>
                <a:moveTo>
                  <a:pt x="531" y="885"/>
                </a:moveTo>
                <a:cubicBezTo>
                  <a:pt x="532" y="885"/>
                  <a:pt x="532" y="884"/>
                  <a:pt x="533" y="884"/>
                </a:cubicBezTo>
                <a:cubicBezTo>
                  <a:pt x="532" y="883"/>
                  <a:pt x="530" y="884"/>
                  <a:pt x="529" y="884"/>
                </a:cubicBezTo>
                <a:cubicBezTo>
                  <a:pt x="528" y="884"/>
                  <a:pt x="527" y="883"/>
                  <a:pt x="526" y="883"/>
                </a:cubicBezTo>
                <a:cubicBezTo>
                  <a:pt x="526" y="883"/>
                  <a:pt x="527" y="884"/>
                  <a:pt x="527" y="885"/>
                </a:cubicBezTo>
                <a:cubicBezTo>
                  <a:pt x="526" y="885"/>
                  <a:pt x="526" y="885"/>
                  <a:pt x="527" y="885"/>
                </a:cubicBezTo>
                <a:cubicBezTo>
                  <a:pt x="527" y="885"/>
                  <a:pt x="527" y="886"/>
                  <a:pt x="527" y="886"/>
                </a:cubicBezTo>
                <a:cubicBezTo>
                  <a:pt x="527" y="886"/>
                  <a:pt x="526" y="887"/>
                  <a:pt x="526" y="887"/>
                </a:cubicBezTo>
                <a:cubicBezTo>
                  <a:pt x="525" y="888"/>
                  <a:pt x="524" y="888"/>
                  <a:pt x="524" y="889"/>
                </a:cubicBezTo>
                <a:cubicBezTo>
                  <a:pt x="524" y="889"/>
                  <a:pt x="525" y="890"/>
                  <a:pt x="525" y="890"/>
                </a:cubicBezTo>
                <a:cubicBezTo>
                  <a:pt x="525" y="890"/>
                  <a:pt x="526" y="889"/>
                  <a:pt x="526" y="889"/>
                </a:cubicBezTo>
                <a:cubicBezTo>
                  <a:pt x="527" y="888"/>
                  <a:pt x="527" y="887"/>
                  <a:pt x="528" y="887"/>
                </a:cubicBezTo>
                <a:cubicBezTo>
                  <a:pt x="528" y="889"/>
                  <a:pt x="529" y="887"/>
                  <a:pt x="530" y="887"/>
                </a:cubicBezTo>
                <a:cubicBezTo>
                  <a:pt x="530" y="886"/>
                  <a:pt x="530" y="885"/>
                  <a:pt x="531" y="885"/>
                </a:cubicBezTo>
                <a:cubicBezTo>
                  <a:pt x="532" y="885"/>
                  <a:pt x="531" y="885"/>
                  <a:pt x="531" y="885"/>
                </a:cubicBezTo>
                <a:close/>
                <a:moveTo>
                  <a:pt x="462" y="882"/>
                </a:moveTo>
                <a:cubicBezTo>
                  <a:pt x="462" y="882"/>
                  <a:pt x="462" y="882"/>
                  <a:pt x="463" y="883"/>
                </a:cubicBezTo>
                <a:cubicBezTo>
                  <a:pt x="463" y="883"/>
                  <a:pt x="463" y="884"/>
                  <a:pt x="463" y="883"/>
                </a:cubicBezTo>
                <a:cubicBezTo>
                  <a:pt x="463" y="883"/>
                  <a:pt x="463" y="883"/>
                  <a:pt x="463" y="883"/>
                </a:cubicBezTo>
                <a:cubicBezTo>
                  <a:pt x="463" y="882"/>
                  <a:pt x="463" y="883"/>
                  <a:pt x="463" y="882"/>
                </a:cubicBezTo>
                <a:cubicBezTo>
                  <a:pt x="463" y="882"/>
                  <a:pt x="463" y="881"/>
                  <a:pt x="463" y="881"/>
                </a:cubicBezTo>
                <a:cubicBezTo>
                  <a:pt x="462" y="881"/>
                  <a:pt x="462" y="881"/>
                  <a:pt x="462" y="880"/>
                </a:cubicBezTo>
                <a:cubicBezTo>
                  <a:pt x="461" y="879"/>
                  <a:pt x="460" y="879"/>
                  <a:pt x="459" y="880"/>
                </a:cubicBezTo>
                <a:cubicBezTo>
                  <a:pt x="460" y="881"/>
                  <a:pt x="459" y="881"/>
                  <a:pt x="459" y="882"/>
                </a:cubicBezTo>
                <a:cubicBezTo>
                  <a:pt x="459" y="882"/>
                  <a:pt x="459" y="885"/>
                  <a:pt x="459" y="885"/>
                </a:cubicBezTo>
                <a:cubicBezTo>
                  <a:pt x="460" y="885"/>
                  <a:pt x="461" y="886"/>
                  <a:pt x="461" y="885"/>
                </a:cubicBezTo>
                <a:cubicBezTo>
                  <a:pt x="461" y="884"/>
                  <a:pt x="462" y="885"/>
                  <a:pt x="462" y="885"/>
                </a:cubicBezTo>
                <a:cubicBezTo>
                  <a:pt x="462" y="884"/>
                  <a:pt x="462" y="883"/>
                  <a:pt x="462" y="883"/>
                </a:cubicBezTo>
                <a:cubicBezTo>
                  <a:pt x="462" y="883"/>
                  <a:pt x="462" y="882"/>
                  <a:pt x="462" y="882"/>
                </a:cubicBezTo>
                <a:close/>
                <a:moveTo>
                  <a:pt x="458" y="880"/>
                </a:moveTo>
                <a:cubicBezTo>
                  <a:pt x="458" y="879"/>
                  <a:pt x="458" y="879"/>
                  <a:pt x="458" y="879"/>
                </a:cubicBezTo>
                <a:cubicBezTo>
                  <a:pt x="457" y="879"/>
                  <a:pt x="457" y="879"/>
                  <a:pt x="457" y="880"/>
                </a:cubicBezTo>
                <a:cubicBezTo>
                  <a:pt x="458" y="880"/>
                  <a:pt x="458" y="880"/>
                  <a:pt x="458" y="880"/>
                </a:cubicBezTo>
                <a:cubicBezTo>
                  <a:pt x="458" y="879"/>
                  <a:pt x="458" y="880"/>
                  <a:pt x="458" y="880"/>
                </a:cubicBezTo>
                <a:close/>
                <a:moveTo>
                  <a:pt x="462" y="878"/>
                </a:moveTo>
                <a:cubicBezTo>
                  <a:pt x="462" y="879"/>
                  <a:pt x="463" y="880"/>
                  <a:pt x="464" y="880"/>
                </a:cubicBezTo>
                <a:cubicBezTo>
                  <a:pt x="464" y="879"/>
                  <a:pt x="463" y="878"/>
                  <a:pt x="462" y="878"/>
                </a:cubicBezTo>
                <a:cubicBezTo>
                  <a:pt x="462" y="879"/>
                  <a:pt x="462" y="878"/>
                  <a:pt x="462" y="878"/>
                </a:cubicBezTo>
                <a:close/>
                <a:moveTo>
                  <a:pt x="459" y="875"/>
                </a:moveTo>
                <a:cubicBezTo>
                  <a:pt x="458" y="876"/>
                  <a:pt x="457" y="878"/>
                  <a:pt x="458" y="878"/>
                </a:cubicBezTo>
                <a:cubicBezTo>
                  <a:pt x="458" y="878"/>
                  <a:pt x="458" y="879"/>
                  <a:pt x="459" y="878"/>
                </a:cubicBezTo>
                <a:cubicBezTo>
                  <a:pt x="460" y="878"/>
                  <a:pt x="460" y="877"/>
                  <a:pt x="461" y="877"/>
                </a:cubicBezTo>
                <a:cubicBezTo>
                  <a:pt x="460" y="876"/>
                  <a:pt x="459" y="876"/>
                  <a:pt x="459" y="875"/>
                </a:cubicBezTo>
                <a:close/>
                <a:moveTo>
                  <a:pt x="457" y="863"/>
                </a:moveTo>
                <a:cubicBezTo>
                  <a:pt x="457" y="864"/>
                  <a:pt x="457" y="864"/>
                  <a:pt x="457" y="865"/>
                </a:cubicBezTo>
                <a:cubicBezTo>
                  <a:pt x="457" y="865"/>
                  <a:pt x="457" y="866"/>
                  <a:pt x="457" y="866"/>
                </a:cubicBezTo>
                <a:cubicBezTo>
                  <a:pt x="457" y="866"/>
                  <a:pt x="457" y="867"/>
                  <a:pt x="457" y="868"/>
                </a:cubicBezTo>
                <a:cubicBezTo>
                  <a:pt x="457" y="868"/>
                  <a:pt x="457" y="867"/>
                  <a:pt x="458" y="867"/>
                </a:cubicBezTo>
                <a:cubicBezTo>
                  <a:pt x="457" y="868"/>
                  <a:pt x="457" y="869"/>
                  <a:pt x="458" y="870"/>
                </a:cubicBezTo>
                <a:cubicBezTo>
                  <a:pt x="458" y="870"/>
                  <a:pt x="458" y="870"/>
                  <a:pt x="458" y="870"/>
                </a:cubicBezTo>
                <a:cubicBezTo>
                  <a:pt x="458" y="870"/>
                  <a:pt x="458" y="871"/>
                  <a:pt x="458" y="871"/>
                </a:cubicBezTo>
                <a:cubicBezTo>
                  <a:pt x="457" y="872"/>
                  <a:pt x="457" y="872"/>
                  <a:pt x="457" y="873"/>
                </a:cubicBezTo>
                <a:cubicBezTo>
                  <a:pt x="457" y="874"/>
                  <a:pt x="458" y="874"/>
                  <a:pt x="458" y="875"/>
                </a:cubicBezTo>
                <a:cubicBezTo>
                  <a:pt x="460" y="874"/>
                  <a:pt x="460" y="874"/>
                  <a:pt x="461" y="875"/>
                </a:cubicBezTo>
                <a:cubicBezTo>
                  <a:pt x="462" y="876"/>
                  <a:pt x="461" y="875"/>
                  <a:pt x="462" y="874"/>
                </a:cubicBezTo>
                <a:cubicBezTo>
                  <a:pt x="462" y="874"/>
                  <a:pt x="462" y="874"/>
                  <a:pt x="462" y="874"/>
                </a:cubicBezTo>
                <a:cubicBezTo>
                  <a:pt x="462" y="874"/>
                  <a:pt x="462" y="873"/>
                  <a:pt x="462" y="873"/>
                </a:cubicBezTo>
                <a:cubicBezTo>
                  <a:pt x="462" y="873"/>
                  <a:pt x="462" y="872"/>
                  <a:pt x="462" y="872"/>
                </a:cubicBezTo>
                <a:cubicBezTo>
                  <a:pt x="462" y="872"/>
                  <a:pt x="462" y="872"/>
                  <a:pt x="462" y="872"/>
                </a:cubicBezTo>
                <a:cubicBezTo>
                  <a:pt x="462" y="871"/>
                  <a:pt x="462" y="870"/>
                  <a:pt x="463" y="870"/>
                </a:cubicBezTo>
                <a:cubicBezTo>
                  <a:pt x="463" y="870"/>
                  <a:pt x="462" y="870"/>
                  <a:pt x="462" y="870"/>
                </a:cubicBezTo>
                <a:cubicBezTo>
                  <a:pt x="462" y="869"/>
                  <a:pt x="463" y="867"/>
                  <a:pt x="462" y="867"/>
                </a:cubicBezTo>
                <a:cubicBezTo>
                  <a:pt x="463" y="865"/>
                  <a:pt x="461" y="863"/>
                  <a:pt x="461" y="861"/>
                </a:cubicBezTo>
                <a:cubicBezTo>
                  <a:pt x="461" y="861"/>
                  <a:pt x="459" y="862"/>
                  <a:pt x="458" y="862"/>
                </a:cubicBezTo>
                <a:cubicBezTo>
                  <a:pt x="459" y="863"/>
                  <a:pt x="459" y="863"/>
                  <a:pt x="458" y="864"/>
                </a:cubicBezTo>
                <a:cubicBezTo>
                  <a:pt x="458" y="863"/>
                  <a:pt x="458" y="863"/>
                  <a:pt x="457" y="863"/>
                </a:cubicBezTo>
                <a:cubicBezTo>
                  <a:pt x="457" y="864"/>
                  <a:pt x="457" y="863"/>
                  <a:pt x="457" y="863"/>
                </a:cubicBezTo>
                <a:close/>
                <a:moveTo>
                  <a:pt x="1611" y="854"/>
                </a:moveTo>
                <a:cubicBezTo>
                  <a:pt x="1610" y="855"/>
                  <a:pt x="1611" y="856"/>
                  <a:pt x="1611" y="856"/>
                </a:cubicBezTo>
                <a:cubicBezTo>
                  <a:pt x="1610" y="858"/>
                  <a:pt x="1610" y="856"/>
                  <a:pt x="1610" y="857"/>
                </a:cubicBezTo>
                <a:cubicBezTo>
                  <a:pt x="1610" y="858"/>
                  <a:pt x="1610" y="858"/>
                  <a:pt x="1610" y="859"/>
                </a:cubicBezTo>
                <a:cubicBezTo>
                  <a:pt x="1611" y="859"/>
                  <a:pt x="1613" y="859"/>
                  <a:pt x="1614" y="857"/>
                </a:cubicBezTo>
                <a:cubicBezTo>
                  <a:pt x="1614" y="857"/>
                  <a:pt x="1614" y="857"/>
                  <a:pt x="1613" y="857"/>
                </a:cubicBezTo>
                <a:cubicBezTo>
                  <a:pt x="1612" y="857"/>
                  <a:pt x="1613" y="856"/>
                  <a:pt x="1612" y="856"/>
                </a:cubicBezTo>
                <a:cubicBezTo>
                  <a:pt x="1612" y="855"/>
                  <a:pt x="1612" y="854"/>
                  <a:pt x="1611" y="854"/>
                </a:cubicBezTo>
                <a:cubicBezTo>
                  <a:pt x="1611" y="855"/>
                  <a:pt x="1611" y="854"/>
                  <a:pt x="1611" y="854"/>
                </a:cubicBezTo>
                <a:close/>
                <a:moveTo>
                  <a:pt x="466" y="848"/>
                </a:moveTo>
                <a:cubicBezTo>
                  <a:pt x="466" y="848"/>
                  <a:pt x="466" y="848"/>
                  <a:pt x="466" y="848"/>
                </a:cubicBezTo>
                <a:cubicBezTo>
                  <a:pt x="466" y="848"/>
                  <a:pt x="466" y="848"/>
                  <a:pt x="466" y="848"/>
                </a:cubicBezTo>
                <a:cubicBezTo>
                  <a:pt x="466" y="848"/>
                  <a:pt x="466" y="848"/>
                  <a:pt x="466" y="848"/>
                </a:cubicBezTo>
                <a:close/>
                <a:moveTo>
                  <a:pt x="463" y="846"/>
                </a:moveTo>
                <a:cubicBezTo>
                  <a:pt x="463" y="847"/>
                  <a:pt x="462" y="846"/>
                  <a:pt x="462" y="846"/>
                </a:cubicBezTo>
                <a:cubicBezTo>
                  <a:pt x="461" y="847"/>
                  <a:pt x="462" y="848"/>
                  <a:pt x="462" y="848"/>
                </a:cubicBezTo>
                <a:cubicBezTo>
                  <a:pt x="462" y="848"/>
                  <a:pt x="463" y="847"/>
                  <a:pt x="463" y="847"/>
                </a:cubicBezTo>
                <a:cubicBezTo>
                  <a:pt x="463" y="846"/>
                  <a:pt x="464" y="847"/>
                  <a:pt x="465" y="847"/>
                </a:cubicBezTo>
                <a:cubicBezTo>
                  <a:pt x="465" y="847"/>
                  <a:pt x="464" y="846"/>
                  <a:pt x="465" y="846"/>
                </a:cubicBezTo>
                <a:cubicBezTo>
                  <a:pt x="465" y="846"/>
                  <a:pt x="466" y="846"/>
                  <a:pt x="466" y="846"/>
                </a:cubicBezTo>
                <a:cubicBezTo>
                  <a:pt x="466" y="845"/>
                  <a:pt x="466" y="845"/>
                  <a:pt x="465" y="845"/>
                </a:cubicBezTo>
                <a:cubicBezTo>
                  <a:pt x="465" y="845"/>
                  <a:pt x="464" y="845"/>
                  <a:pt x="464" y="845"/>
                </a:cubicBezTo>
                <a:cubicBezTo>
                  <a:pt x="464" y="844"/>
                  <a:pt x="464" y="844"/>
                  <a:pt x="465" y="844"/>
                </a:cubicBezTo>
                <a:cubicBezTo>
                  <a:pt x="466" y="843"/>
                  <a:pt x="466" y="842"/>
                  <a:pt x="466" y="841"/>
                </a:cubicBezTo>
                <a:cubicBezTo>
                  <a:pt x="465" y="841"/>
                  <a:pt x="464" y="841"/>
                  <a:pt x="464" y="842"/>
                </a:cubicBezTo>
                <a:cubicBezTo>
                  <a:pt x="463" y="842"/>
                  <a:pt x="463" y="841"/>
                  <a:pt x="463" y="842"/>
                </a:cubicBezTo>
                <a:cubicBezTo>
                  <a:pt x="463" y="843"/>
                  <a:pt x="463" y="843"/>
                  <a:pt x="462" y="843"/>
                </a:cubicBezTo>
                <a:cubicBezTo>
                  <a:pt x="462" y="844"/>
                  <a:pt x="463" y="845"/>
                  <a:pt x="464" y="845"/>
                </a:cubicBezTo>
                <a:cubicBezTo>
                  <a:pt x="464" y="846"/>
                  <a:pt x="463" y="846"/>
                  <a:pt x="463" y="846"/>
                </a:cubicBezTo>
                <a:close/>
                <a:moveTo>
                  <a:pt x="465" y="840"/>
                </a:moveTo>
                <a:cubicBezTo>
                  <a:pt x="464" y="840"/>
                  <a:pt x="465" y="840"/>
                  <a:pt x="465" y="840"/>
                </a:cubicBezTo>
                <a:cubicBezTo>
                  <a:pt x="465" y="840"/>
                  <a:pt x="465" y="840"/>
                  <a:pt x="465" y="839"/>
                </a:cubicBezTo>
                <a:cubicBezTo>
                  <a:pt x="465" y="839"/>
                  <a:pt x="465" y="840"/>
                  <a:pt x="465" y="840"/>
                </a:cubicBezTo>
                <a:close/>
                <a:moveTo>
                  <a:pt x="464" y="838"/>
                </a:moveTo>
                <a:cubicBezTo>
                  <a:pt x="464" y="838"/>
                  <a:pt x="464" y="838"/>
                  <a:pt x="463" y="838"/>
                </a:cubicBezTo>
                <a:cubicBezTo>
                  <a:pt x="464" y="839"/>
                  <a:pt x="464" y="839"/>
                  <a:pt x="465" y="839"/>
                </a:cubicBezTo>
                <a:cubicBezTo>
                  <a:pt x="465" y="838"/>
                  <a:pt x="464" y="838"/>
                  <a:pt x="464" y="838"/>
                </a:cubicBezTo>
                <a:close/>
                <a:moveTo>
                  <a:pt x="463" y="837"/>
                </a:moveTo>
                <a:cubicBezTo>
                  <a:pt x="464" y="837"/>
                  <a:pt x="464" y="838"/>
                  <a:pt x="464" y="837"/>
                </a:cubicBezTo>
                <a:cubicBezTo>
                  <a:pt x="464" y="835"/>
                  <a:pt x="463" y="836"/>
                  <a:pt x="463" y="837"/>
                </a:cubicBezTo>
                <a:close/>
                <a:moveTo>
                  <a:pt x="465" y="828"/>
                </a:moveTo>
                <a:cubicBezTo>
                  <a:pt x="465" y="829"/>
                  <a:pt x="464" y="829"/>
                  <a:pt x="464" y="829"/>
                </a:cubicBezTo>
                <a:cubicBezTo>
                  <a:pt x="464" y="830"/>
                  <a:pt x="464" y="830"/>
                  <a:pt x="464" y="831"/>
                </a:cubicBezTo>
                <a:cubicBezTo>
                  <a:pt x="464" y="831"/>
                  <a:pt x="466" y="831"/>
                  <a:pt x="466" y="831"/>
                </a:cubicBezTo>
                <a:cubicBezTo>
                  <a:pt x="466" y="830"/>
                  <a:pt x="467" y="831"/>
                  <a:pt x="467" y="830"/>
                </a:cubicBezTo>
                <a:cubicBezTo>
                  <a:pt x="467" y="829"/>
                  <a:pt x="467" y="828"/>
                  <a:pt x="468" y="829"/>
                </a:cubicBezTo>
                <a:cubicBezTo>
                  <a:pt x="468" y="828"/>
                  <a:pt x="468" y="827"/>
                  <a:pt x="467" y="827"/>
                </a:cubicBezTo>
                <a:cubicBezTo>
                  <a:pt x="469" y="826"/>
                  <a:pt x="468" y="826"/>
                  <a:pt x="467" y="825"/>
                </a:cubicBezTo>
                <a:cubicBezTo>
                  <a:pt x="467" y="825"/>
                  <a:pt x="467" y="824"/>
                  <a:pt x="467" y="823"/>
                </a:cubicBezTo>
                <a:cubicBezTo>
                  <a:pt x="468" y="823"/>
                  <a:pt x="468" y="824"/>
                  <a:pt x="468" y="823"/>
                </a:cubicBezTo>
                <a:cubicBezTo>
                  <a:pt x="468" y="822"/>
                  <a:pt x="468" y="821"/>
                  <a:pt x="468" y="821"/>
                </a:cubicBezTo>
                <a:cubicBezTo>
                  <a:pt x="467" y="821"/>
                  <a:pt x="466" y="821"/>
                  <a:pt x="466" y="821"/>
                </a:cubicBezTo>
                <a:cubicBezTo>
                  <a:pt x="466" y="821"/>
                  <a:pt x="465" y="821"/>
                  <a:pt x="465" y="821"/>
                </a:cubicBezTo>
                <a:cubicBezTo>
                  <a:pt x="465" y="822"/>
                  <a:pt x="465" y="823"/>
                  <a:pt x="465" y="824"/>
                </a:cubicBezTo>
                <a:cubicBezTo>
                  <a:pt x="465" y="824"/>
                  <a:pt x="465" y="828"/>
                  <a:pt x="465" y="828"/>
                </a:cubicBezTo>
                <a:close/>
                <a:moveTo>
                  <a:pt x="1640" y="818"/>
                </a:moveTo>
                <a:cubicBezTo>
                  <a:pt x="1640" y="818"/>
                  <a:pt x="1640" y="818"/>
                  <a:pt x="1640" y="818"/>
                </a:cubicBezTo>
                <a:cubicBezTo>
                  <a:pt x="1640" y="818"/>
                  <a:pt x="1640" y="818"/>
                  <a:pt x="1640" y="818"/>
                </a:cubicBezTo>
                <a:close/>
                <a:moveTo>
                  <a:pt x="1640" y="820"/>
                </a:moveTo>
                <a:cubicBezTo>
                  <a:pt x="1640" y="819"/>
                  <a:pt x="1640" y="818"/>
                  <a:pt x="1639" y="819"/>
                </a:cubicBezTo>
                <a:cubicBezTo>
                  <a:pt x="1639" y="819"/>
                  <a:pt x="1639" y="819"/>
                  <a:pt x="1639" y="820"/>
                </a:cubicBezTo>
                <a:cubicBezTo>
                  <a:pt x="1638" y="820"/>
                  <a:pt x="1638" y="820"/>
                  <a:pt x="1637" y="819"/>
                </a:cubicBezTo>
                <a:cubicBezTo>
                  <a:pt x="1637" y="819"/>
                  <a:pt x="1637" y="819"/>
                  <a:pt x="1637" y="818"/>
                </a:cubicBezTo>
                <a:cubicBezTo>
                  <a:pt x="1637" y="817"/>
                  <a:pt x="1636" y="818"/>
                  <a:pt x="1636" y="817"/>
                </a:cubicBezTo>
                <a:cubicBezTo>
                  <a:pt x="1635" y="817"/>
                  <a:pt x="1635" y="816"/>
                  <a:pt x="1635" y="816"/>
                </a:cubicBezTo>
                <a:cubicBezTo>
                  <a:pt x="1635" y="816"/>
                  <a:pt x="1636" y="816"/>
                  <a:pt x="1636" y="815"/>
                </a:cubicBezTo>
                <a:cubicBezTo>
                  <a:pt x="1636" y="815"/>
                  <a:pt x="1636" y="815"/>
                  <a:pt x="1636" y="815"/>
                </a:cubicBezTo>
                <a:cubicBezTo>
                  <a:pt x="1635" y="815"/>
                  <a:pt x="1635" y="815"/>
                  <a:pt x="1634" y="815"/>
                </a:cubicBezTo>
                <a:cubicBezTo>
                  <a:pt x="1633" y="816"/>
                  <a:pt x="1632" y="817"/>
                  <a:pt x="1631" y="818"/>
                </a:cubicBezTo>
                <a:cubicBezTo>
                  <a:pt x="1631" y="819"/>
                  <a:pt x="1631" y="820"/>
                  <a:pt x="1631" y="821"/>
                </a:cubicBezTo>
                <a:cubicBezTo>
                  <a:pt x="1631" y="821"/>
                  <a:pt x="1631" y="822"/>
                  <a:pt x="1631" y="822"/>
                </a:cubicBezTo>
                <a:cubicBezTo>
                  <a:pt x="1631" y="823"/>
                  <a:pt x="1629" y="823"/>
                  <a:pt x="1630" y="824"/>
                </a:cubicBezTo>
                <a:cubicBezTo>
                  <a:pt x="1630" y="824"/>
                  <a:pt x="1630" y="825"/>
                  <a:pt x="1629" y="825"/>
                </a:cubicBezTo>
                <a:cubicBezTo>
                  <a:pt x="1629" y="825"/>
                  <a:pt x="1628" y="825"/>
                  <a:pt x="1628" y="826"/>
                </a:cubicBezTo>
                <a:cubicBezTo>
                  <a:pt x="1628" y="826"/>
                  <a:pt x="1628" y="827"/>
                  <a:pt x="1628" y="827"/>
                </a:cubicBezTo>
                <a:cubicBezTo>
                  <a:pt x="1627" y="828"/>
                  <a:pt x="1627" y="829"/>
                  <a:pt x="1626" y="830"/>
                </a:cubicBezTo>
                <a:cubicBezTo>
                  <a:pt x="1626" y="831"/>
                  <a:pt x="1625" y="831"/>
                  <a:pt x="1625" y="832"/>
                </a:cubicBezTo>
                <a:cubicBezTo>
                  <a:pt x="1625" y="833"/>
                  <a:pt x="1624" y="833"/>
                  <a:pt x="1623" y="833"/>
                </a:cubicBezTo>
                <a:cubicBezTo>
                  <a:pt x="1623" y="833"/>
                  <a:pt x="1623" y="834"/>
                  <a:pt x="1622" y="834"/>
                </a:cubicBezTo>
                <a:cubicBezTo>
                  <a:pt x="1622" y="834"/>
                  <a:pt x="1622" y="834"/>
                  <a:pt x="1622" y="834"/>
                </a:cubicBezTo>
                <a:cubicBezTo>
                  <a:pt x="1622" y="835"/>
                  <a:pt x="1622" y="834"/>
                  <a:pt x="1621" y="834"/>
                </a:cubicBezTo>
                <a:cubicBezTo>
                  <a:pt x="1621" y="835"/>
                  <a:pt x="1621" y="836"/>
                  <a:pt x="1620" y="836"/>
                </a:cubicBezTo>
                <a:cubicBezTo>
                  <a:pt x="1620" y="836"/>
                  <a:pt x="1620" y="835"/>
                  <a:pt x="1620" y="836"/>
                </a:cubicBezTo>
                <a:cubicBezTo>
                  <a:pt x="1620" y="836"/>
                  <a:pt x="1619" y="836"/>
                  <a:pt x="1619" y="836"/>
                </a:cubicBezTo>
                <a:cubicBezTo>
                  <a:pt x="1618" y="837"/>
                  <a:pt x="1618" y="837"/>
                  <a:pt x="1617" y="837"/>
                </a:cubicBezTo>
                <a:cubicBezTo>
                  <a:pt x="1617" y="837"/>
                  <a:pt x="1616" y="837"/>
                  <a:pt x="1616" y="837"/>
                </a:cubicBezTo>
                <a:cubicBezTo>
                  <a:pt x="1616" y="838"/>
                  <a:pt x="1616" y="838"/>
                  <a:pt x="1615" y="838"/>
                </a:cubicBezTo>
                <a:cubicBezTo>
                  <a:pt x="1615" y="838"/>
                  <a:pt x="1615" y="838"/>
                  <a:pt x="1615" y="838"/>
                </a:cubicBezTo>
                <a:cubicBezTo>
                  <a:pt x="1615" y="838"/>
                  <a:pt x="1614" y="838"/>
                  <a:pt x="1614" y="838"/>
                </a:cubicBezTo>
                <a:cubicBezTo>
                  <a:pt x="1614" y="839"/>
                  <a:pt x="1614" y="839"/>
                  <a:pt x="1613" y="840"/>
                </a:cubicBezTo>
                <a:cubicBezTo>
                  <a:pt x="1613" y="840"/>
                  <a:pt x="1612" y="841"/>
                  <a:pt x="1612" y="841"/>
                </a:cubicBezTo>
                <a:cubicBezTo>
                  <a:pt x="1611" y="841"/>
                  <a:pt x="1610" y="841"/>
                  <a:pt x="1610" y="842"/>
                </a:cubicBezTo>
                <a:cubicBezTo>
                  <a:pt x="1610" y="842"/>
                  <a:pt x="1610" y="842"/>
                  <a:pt x="1609" y="843"/>
                </a:cubicBezTo>
                <a:cubicBezTo>
                  <a:pt x="1608" y="843"/>
                  <a:pt x="1608" y="844"/>
                  <a:pt x="1608" y="845"/>
                </a:cubicBezTo>
                <a:cubicBezTo>
                  <a:pt x="1607" y="845"/>
                  <a:pt x="1606" y="844"/>
                  <a:pt x="1606" y="845"/>
                </a:cubicBezTo>
                <a:cubicBezTo>
                  <a:pt x="1606" y="845"/>
                  <a:pt x="1606" y="846"/>
                  <a:pt x="1607" y="846"/>
                </a:cubicBezTo>
                <a:cubicBezTo>
                  <a:pt x="1607" y="847"/>
                  <a:pt x="1606" y="847"/>
                  <a:pt x="1606" y="849"/>
                </a:cubicBezTo>
                <a:cubicBezTo>
                  <a:pt x="1606" y="849"/>
                  <a:pt x="1605" y="849"/>
                  <a:pt x="1605" y="849"/>
                </a:cubicBezTo>
                <a:cubicBezTo>
                  <a:pt x="1605" y="849"/>
                  <a:pt x="1605" y="849"/>
                  <a:pt x="1605" y="849"/>
                </a:cubicBezTo>
                <a:cubicBezTo>
                  <a:pt x="1605" y="849"/>
                  <a:pt x="1605" y="849"/>
                  <a:pt x="1605" y="849"/>
                </a:cubicBezTo>
                <a:cubicBezTo>
                  <a:pt x="1605" y="850"/>
                  <a:pt x="1605" y="850"/>
                  <a:pt x="1605" y="851"/>
                </a:cubicBezTo>
                <a:cubicBezTo>
                  <a:pt x="1606" y="851"/>
                  <a:pt x="1606" y="851"/>
                  <a:pt x="1606" y="851"/>
                </a:cubicBezTo>
                <a:cubicBezTo>
                  <a:pt x="1606" y="851"/>
                  <a:pt x="1606" y="851"/>
                  <a:pt x="1607" y="852"/>
                </a:cubicBezTo>
                <a:cubicBezTo>
                  <a:pt x="1607" y="852"/>
                  <a:pt x="1607" y="852"/>
                  <a:pt x="1608" y="852"/>
                </a:cubicBezTo>
                <a:cubicBezTo>
                  <a:pt x="1609" y="852"/>
                  <a:pt x="1610" y="852"/>
                  <a:pt x="1611" y="851"/>
                </a:cubicBezTo>
                <a:cubicBezTo>
                  <a:pt x="1611" y="852"/>
                  <a:pt x="1611" y="853"/>
                  <a:pt x="1611" y="853"/>
                </a:cubicBezTo>
                <a:cubicBezTo>
                  <a:pt x="1612" y="853"/>
                  <a:pt x="1612" y="853"/>
                  <a:pt x="1613" y="853"/>
                </a:cubicBezTo>
                <a:cubicBezTo>
                  <a:pt x="1614" y="853"/>
                  <a:pt x="1614" y="854"/>
                  <a:pt x="1614" y="854"/>
                </a:cubicBezTo>
                <a:cubicBezTo>
                  <a:pt x="1615" y="854"/>
                  <a:pt x="1615" y="854"/>
                  <a:pt x="1615" y="854"/>
                </a:cubicBezTo>
                <a:cubicBezTo>
                  <a:pt x="1616" y="855"/>
                  <a:pt x="1617" y="854"/>
                  <a:pt x="1618" y="855"/>
                </a:cubicBezTo>
                <a:cubicBezTo>
                  <a:pt x="1619" y="854"/>
                  <a:pt x="1619" y="854"/>
                  <a:pt x="1620" y="853"/>
                </a:cubicBezTo>
                <a:cubicBezTo>
                  <a:pt x="1620" y="853"/>
                  <a:pt x="1621" y="853"/>
                  <a:pt x="1621" y="852"/>
                </a:cubicBezTo>
                <a:cubicBezTo>
                  <a:pt x="1622" y="852"/>
                  <a:pt x="1622" y="852"/>
                  <a:pt x="1622" y="851"/>
                </a:cubicBezTo>
                <a:cubicBezTo>
                  <a:pt x="1623" y="851"/>
                  <a:pt x="1623" y="850"/>
                  <a:pt x="1624" y="849"/>
                </a:cubicBezTo>
                <a:cubicBezTo>
                  <a:pt x="1624" y="849"/>
                  <a:pt x="1624" y="850"/>
                  <a:pt x="1624" y="849"/>
                </a:cubicBezTo>
                <a:cubicBezTo>
                  <a:pt x="1624" y="849"/>
                  <a:pt x="1624" y="849"/>
                  <a:pt x="1624" y="848"/>
                </a:cubicBezTo>
                <a:cubicBezTo>
                  <a:pt x="1624" y="848"/>
                  <a:pt x="1625" y="848"/>
                  <a:pt x="1625" y="848"/>
                </a:cubicBezTo>
                <a:cubicBezTo>
                  <a:pt x="1625" y="848"/>
                  <a:pt x="1625" y="848"/>
                  <a:pt x="1625" y="848"/>
                </a:cubicBezTo>
                <a:cubicBezTo>
                  <a:pt x="1625" y="847"/>
                  <a:pt x="1625" y="849"/>
                  <a:pt x="1625" y="847"/>
                </a:cubicBezTo>
                <a:cubicBezTo>
                  <a:pt x="1625" y="847"/>
                  <a:pt x="1625" y="846"/>
                  <a:pt x="1626" y="846"/>
                </a:cubicBezTo>
                <a:cubicBezTo>
                  <a:pt x="1626" y="846"/>
                  <a:pt x="1626" y="845"/>
                  <a:pt x="1626" y="845"/>
                </a:cubicBezTo>
                <a:cubicBezTo>
                  <a:pt x="1627" y="844"/>
                  <a:pt x="1626" y="844"/>
                  <a:pt x="1627" y="843"/>
                </a:cubicBezTo>
                <a:cubicBezTo>
                  <a:pt x="1627" y="843"/>
                  <a:pt x="1627" y="843"/>
                  <a:pt x="1627" y="843"/>
                </a:cubicBezTo>
                <a:cubicBezTo>
                  <a:pt x="1627" y="843"/>
                  <a:pt x="1627" y="843"/>
                  <a:pt x="1627" y="842"/>
                </a:cubicBezTo>
                <a:cubicBezTo>
                  <a:pt x="1627" y="842"/>
                  <a:pt x="1627" y="842"/>
                  <a:pt x="1627" y="841"/>
                </a:cubicBezTo>
                <a:cubicBezTo>
                  <a:pt x="1627" y="840"/>
                  <a:pt x="1627" y="839"/>
                  <a:pt x="1628" y="839"/>
                </a:cubicBezTo>
                <a:cubicBezTo>
                  <a:pt x="1629" y="839"/>
                  <a:pt x="1629" y="839"/>
                  <a:pt x="1629" y="839"/>
                </a:cubicBezTo>
                <a:cubicBezTo>
                  <a:pt x="1630" y="840"/>
                  <a:pt x="1630" y="839"/>
                  <a:pt x="1631" y="839"/>
                </a:cubicBezTo>
                <a:cubicBezTo>
                  <a:pt x="1632" y="838"/>
                  <a:pt x="1632" y="838"/>
                  <a:pt x="1632" y="837"/>
                </a:cubicBezTo>
                <a:cubicBezTo>
                  <a:pt x="1633" y="837"/>
                  <a:pt x="1635" y="837"/>
                  <a:pt x="1636" y="837"/>
                </a:cubicBezTo>
                <a:cubicBezTo>
                  <a:pt x="1636" y="837"/>
                  <a:pt x="1637" y="837"/>
                  <a:pt x="1637" y="837"/>
                </a:cubicBezTo>
                <a:cubicBezTo>
                  <a:pt x="1637" y="836"/>
                  <a:pt x="1636" y="837"/>
                  <a:pt x="1635" y="837"/>
                </a:cubicBezTo>
                <a:cubicBezTo>
                  <a:pt x="1635" y="837"/>
                  <a:pt x="1635" y="835"/>
                  <a:pt x="1635" y="835"/>
                </a:cubicBezTo>
                <a:cubicBezTo>
                  <a:pt x="1635" y="834"/>
                  <a:pt x="1634" y="834"/>
                  <a:pt x="1635" y="833"/>
                </a:cubicBezTo>
                <a:cubicBezTo>
                  <a:pt x="1636" y="833"/>
                  <a:pt x="1636" y="832"/>
                  <a:pt x="1637" y="832"/>
                </a:cubicBezTo>
                <a:cubicBezTo>
                  <a:pt x="1637" y="832"/>
                  <a:pt x="1637" y="832"/>
                  <a:pt x="1637" y="832"/>
                </a:cubicBezTo>
                <a:cubicBezTo>
                  <a:pt x="1637" y="832"/>
                  <a:pt x="1638" y="832"/>
                  <a:pt x="1638" y="831"/>
                </a:cubicBezTo>
                <a:cubicBezTo>
                  <a:pt x="1638" y="831"/>
                  <a:pt x="1638" y="831"/>
                  <a:pt x="1638" y="830"/>
                </a:cubicBezTo>
                <a:cubicBezTo>
                  <a:pt x="1638" y="830"/>
                  <a:pt x="1638" y="831"/>
                  <a:pt x="1638" y="830"/>
                </a:cubicBezTo>
                <a:cubicBezTo>
                  <a:pt x="1638" y="830"/>
                  <a:pt x="1639" y="830"/>
                  <a:pt x="1639" y="829"/>
                </a:cubicBezTo>
                <a:cubicBezTo>
                  <a:pt x="1639" y="828"/>
                  <a:pt x="1639" y="828"/>
                  <a:pt x="1640" y="828"/>
                </a:cubicBezTo>
                <a:cubicBezTo>
                  <a:pt x="1640" y="827"/>
                  <a:pt x="1641" y="824"/>
                  <a:pt x="1642" y="825"/>
                </a:cubicBezTo>
                <a:cubicBezTo>
                  <a:pt x="1642" y="824"/>
                  <a:pt x="1641" y="822"/>
                  <a:pt x="1642" y="822"/>
                </a:cubicBezTo>
                <a:cubicBezTo>
                  <a:pt x="1643" y="821"/>
                  <a:pt x="1643" y="820"/>
                  <a:pt x="1643" y="819"/>
                </a:cubicBezTo>
                <a:cubicBezTo>
                  <a:pt x="1642" y="819"/>
                  <a:pt x="1641" y="819"/>
                  <a:pt x="1640" y="820"/>
                </a:cubicBezTo>
                <a:cubicBezTo>
                  <a:pt x="1640" y="819"/>
                  <a:pt x="1640" y="820"/>
                  <a:pt x="1640" y="820"/>
                </a:cubicBezTo>
                <a:close/>
                <a:moveTo>
                  <a:pt x="1516" y="815"/>
                </a:moveTo>
                <a:cubicBezTo>
                  <a:pt x="1515" y="816"/>
                  <a:pt x="1515" y="816"/>
                  <a:pt x="1515" y="817"/>
                </a:cubicBezTo>
                <a:cubicBezTo>
                  <a:pt x="1514" y="817"/>
                  <a:pt x="1514" y="817"/>
                  <a:pt x="1513" y="817"/>
                </a:cubicBezTo>
                <a:cubicBezTo>
                  <a:pt x="1512" y="818"/>
                  <a:pt x="1511" y="818"/>
                  <a:pt x="1509" y="818"/>
                </a:cubicBezTo>
                <a:cubicBezTo>
                  <a:pt x="1509" y="818"/>
                  <a:pt x="1509" y="818"/>
                  <a:pt x="1508" y="818"/>
                </a:cubicBezTo>
                <a:cubicBezTo>
                  <a:pt x="1508" y="818"/>
                  <a:pt x="1508" y="818"/>
                  <a:pt x="1508" y="818"/>
                </a:cubicBezTo>
                <a:cubicBezTo>
                  <a:pt x="1508" y="817"/>
                  <a:pt x="1508" y="818"/>
                  <a:pt x="1507" y="818"/>
                </a:cubicBezTo>
                <a:cubicBezTo>
                  <a:pt x="1507" y="818"/>
                  <a:pt x="1507" y="817"/>
                  <a:pt x="1507" y="817"/>
                </a:cubicBezTo>
                <a:cubicBezTo>
                  <a:pt x="1506" y="817"/>
                  <a:pt x="1506" y="817"/>
                  <a:pt x="1506" y="817"/>
                </a:cubicBezTo>
                <a:cubicBezTo>
                  <a:pt x="1505" y="816"/>
                  <a:pt x="1505" y="816"/>
                  <a:pt x="1504" y="816"/>
                </a:cubicBezTo>
                <a:cubicBezTo>
                  <a:pt x="1504" y="816"/>
                  <a:pt x="1504" y="816"/>
                  <a:pt x="1503" y="816"/>
                </a:cubicBezTo>
                <a:cubicBezTo>
                  <a:pt x="1503" y="816"/>
                  <a:pt x="1504" y="815"/>
                  <a:pt x="1503" y="815"/>
                </a:cubicBezTo>
                <a:cubicBezTo>
                  <a:pt x="1502" y="815"/>
                  <a:pt x="1502" y="816"/>
                  <a:pt x="1502" y="816"/>
                </a:cubicBezTo>
                <a:cubicBezTo>
                  <a:pt x="1501" y="816"/>
                  <a:pt x="1501" y="815"/>
                  <a:pt x="1500" y="815"/>
                </a:cubicBezTo>
                <a:cubicBezTo>
                  <a:pt x="1499" y="815"/>
                  <a:pt x="1499" y="815"/>
                  <a:pt x="1499" y="816"/>
                </a:cubicBezTo>
                <a:cubicBezTo>
                  <a:pt x="1499" y="817"/>
                  <a:pt x="1499" y="818"/>
                  <a:pt x="1500" y="819"/>
                </a:cubicBezTo>
                <a:cubicBezTo>
                  <a:pt x="1500" y="819"/>
                  <a:pt x="1501" y="820"/>
                  <a:pt x="1501" y="820"/>
                </a:cubicBezTo>
                <a:cubicBezTo>
                  <a:pt x="1501" y="821"/>
                  <a:pt x="1501" y="820"/>
                  <a:pt x="1501" y="821"/>
                </a:cubicBezTo>
                <a:cubicBezTo>
                  <a:pt x="1501" y="822"/>
                  <a:pt x="1503" y="822"/>
                  <a:pt x="1503" y="823"/>
                </a:cubicBezTo>
                <a:cubicBezTo>
                  <a:pt x="1503" y="824"/>
                  <a:pt x="1503" y="824"/>
                  <a:pt x="1504" y="824"/>
                </a:cubicBezTo>
                <a:cubicBezTo>
                  <a:pt x="1504" y="824"/>
                  <a:pt x="1505" y="825"/>
                  <a:pt x="1505" y="825"/>
                </a:cubicBezTo>
                <a:cubicBezTo>
                  <a:pt x="1504" y="825"/>
                  <a:pt x="1503" y="825"/>
                  <a:pt x="1503" y="826"/>
                </a:cubicBezTo>
                <a:cubicBezTo>
                  <a:pt x="1503" y="826"/>
                  <a:pt x="1503" y="827"/>
                  <a:pt x="1503" y="827"/>
                </a:cubicBezTo>
                <a:cubicBezTo>
                  <a:pt x="1503" y="828"/>
                  <a:pt x="1504" y="828"/>
                  <a:pt x="1504" y="829"/>
                </a:cubicBezTo>
                <a:cubicBezTo>
                  <a:pt x="1504" y="830"/>
                  <a:pt x="1505" y="829"/>
                  <a:pt x="1505" y="830"/>
                </a:cubicBezTo>
                <a:cubicBezTo>
                  <a:pt x="1505" y="830"/>
                  <a:pt x="1505" y="830"/>
                  <a:pt x="1505" y="830"/>
                </a:cubicBezTo>
                <a:cubicBezTo>
                  <a:pt x="1506" y="831"/>
                  <a:pt x="1507" y="831"/>
                  <a:pt x="1507" y="832"/>
                </a:cubicBezTo>
                <a:cubicBezTo>
                  <a:pt x="1507" y="833"/>
                  <a:pt x="1507" y="832"/>
                  <a:pt x="1508" y="833"/>
                </a:cubicBezTo>
                <a:cubicBezTo>
                  <a:pt x="1508" y="833"/>
                  <a:pt x="1508" y="833"/>
                  <a:pt x="1509" y="833"/>
                </a:cubicBezTo>
                <a:cubicBezTo>
                  <a:pt x="1510" y="833"/>
                  <a:pt x="1509" y="833"/>
                  <a:pt x="1510" y="833"/>
                </a:cubicBezTo>
                <a:cubicBezTo>
                  <a:pt x="1511" y="833"/>
                  <a:pt x="1511" y="833"/>
                  <a:pt x="1511" y="832"/>
                </a:cubicBezTo>
                <a:cubicBezTo>
                  <a:pt x="1512" y="833"/>
                  <a:pt x="1512" y="833"/>
                  <a:pt x="1512" y="833"/>
                </a:cubicBezTo>
                <a:cubicBezTo>
                  <a:pt x="1513" y="832"/>
                  <a:pt x="1513" y="832"/>
                  <a:pt x="1513" y="831"/>
                </a:cubicBezTo>
                <a:cubicBezTo>
                  <a:pt x="1512" y="832"/>
                  <a:pt x="1512" y="832"/>
                  <a:pt x="1512" y="832"/>
                </a:cubicBezTo>
                <a:cubicBezTo>
                  <a:pt x="1511" y="832"/>
                  <a:pt x="1511" y="831"/>
                  <a:pt x="1511" y="830"/>
                </a:cubicBezTo>
                <a:cubicBezTo>
                  <a:pt x="1512" y="830"/>
                  <a:pt x="1513" y="829"/>
                  <a:pt x="1513" y="829"/>
                </a:cubicBezTo>
                <a:cubicBezTo>
                  <a:pt x="1514" y="829"/>
                  <a:pt x="1514" y="831"/>
                  <a:pt x="1515" y="831"/>
                </a:cubicBezTo>
                <a:cubicBezTo>
                  <a:pt x="1515" y="830"/>
                  <a:pt x="1515" y="831"/>
                  <a:pt x="1515" y="830"/>
                </a:cubicBezTo>
                <a:cubicBezTo>
                  <a:pt x="1515" y="829"/>
                  <a:pt x="1515" y="829"/>
                  <a:pt x="1515" y="829"/>
                </a:cubicBezTo>
                <a:cubicBezTo>
                  <a:pt x="1515" y="827"/>
                  <a:pt x="1515" y="827"/>
                  <a:pt x="1515" y="825"/>
                </a:cubicBezTo>
                <a:cubicBezTo>
                  <a:pt x="1515" y="824"/>
                  <a:pt x="1515" y="825"/>
                  <a:pt x="1516" y="824"/>
                </a:cubicBezTo>
                <a:cubicBezTo>
                  <a:pt x="1516" y="824"/>
                  <a:pt x="1516" y="823"/>
                  <a:pt x="1516" y="824"/>
                </a:cubicBezTo>
                <a:cubicBezTo>
                  <a:pt x="1517" y="824"/>
                  <a:pt x="1517" y="823"/>
                  <a:pt x="1517" y="822"/>
                </a:cubicBezTo>
                <a:cubicBezTo>
                  <a:pt x="1517" y="821"/>
                  <a:pt x="1517" y="820"/>
                  <a:pt x="1517" y="820"/>
                </a:cubicBezTo>
                <a:cubicBezTo>
                  <a:pt x="1517" y="819"/>
                  <a:pt x="1517" y="818"/>
                  <a:pt x="1516" y="817"/>
                </a:cubicBezTo>
                <a:cubicBezTo>
                  <a:pt x="1516" y="817"/>
                  <a:pt x="1516" y="816"/>
                  <a:pt x="1516" y="815"/>
                </a:cubicBezTo>
                <a:close/>
                <a:moveTo>
                  <a:pt x="1515" y="810"/>
                </a:moveTo>
                <a:cubicBezTo>
                  <a:pt x="1515" y="810"/>
                  <a:pt x="1514" y="811"/>
                  <a:pt x="1515" y="811"/>
                </a:cubicBezTo>
                <a:cubicBezTo>
                  <a:pt x="1516" y="812"/>
                  <a:pt x="1515" y="813"/>
                  <a:pt x="1516" y="813"/>
                </a:cubicBezTo>
                <a:cubicBezTo>
                  <a:pt x="1517" y="813"/>
                  <a:pt x="1517" y="812"/>
                  <a:pt x="1518" y="812"/>
                </a:cubicBezTo>
                <a:cubicBezTo>
                  <a:pt x="1517" y="812"/>
                  <a:pt x="1517" y="811"/>
                  <a:pt x="1517" y="811"/>
                </a:cubicBezTo>
                <a:cubicBezTo>
                  <a:pt x="1516" y="810"/>
                  <a:pt x="1516" y="810"/>
                  <a:pt x="1515" y="810"/>
                </a:cubicBezTo>
                <a:close/>
                <a:moveTo>
                  <a:pt x="1495" y="811"/>
                </a:moveTo>
                <a:cubicBezTo>
                  <a:pt x="1496" y="811"/>
                  <a:pt x="1496" y="809"/>
                  <a:pt x="1496" y="809"/>
                </a:cubicBezTo>
                <a:cubicBezTo>
                  <a:pt x="1495" y="808"/>
                  <a:pt x="1495" y="810"/>
                  <a:pt x="1495" y="811"/>
                </a:cubicBezTo>
                <a:close/>
                <a:moveTo>
                  <a:pt x="1650" y="790"/>
                </a:moveTo>
                <a:cubicBezTo>
                  <a:pt x="1650" y="790"/>
                  <a:pt x="1650" y="789"/>
                  <a:pt x="1650" y="789"/>
                </a:cubicBezTo>
                <a:cubicBezTo>
                  <a:pt x="1650" y="789"/>
                  <a:pt x="1650" y="789"/>
                  <a:pt x="1649" y="790"/>
                </a:cubicBezTo>
                <a:cubicBezTo>
                  <a:pt x="1650" y="789"/>
                  <a:pt x="1649" y="790"/>
                  <a:pt x="1650" y="790"/>
                </a:cubicBezTo>
                <a:close/>
                <a:moveTo>
                  <a:pt x="1467" y="783"/>
                </a:moveTo>
                <a:cubicBezTo>
                  <a:pt x="1467" y="783"/>
                  <a:pt x="1466" y="783"/>
                  <a:pt x="1465" y="783"/>
                </a:cubicBezTo>
                <a:cubicBezTo>
                  <a:pt x="1464" y="783"/>
                  <a:pt x="1465" y="784"/>
                  <a:pt x="1464" y="785"/>
                </a:cubicBezTo>
                <a:cubicBezTo>
                  <a:pt x="1466" y="785"/>
                  <a:pt x="1467" y="785"/>
                  <a:pt x="1469" y="785"/>
                </a:cubicBezTo>
                <a:cubicBezTo>
                  <a:pt x="1470" y="783"/>
                  <a:pt x="1467" y="784"/>
                  <a:pt x="1467" y="783"/>
                </a:cubicBezTo>
                <a:cubicBezTo>
                  <a:pt x="1467" y="783"/>
                  <a:pt x="1467" y="783"/>
                  <a:pt x="1467" y="783"/>
                </a:cubicBezTo>
                <a:close/>
                <a:moveTo>
                  <a:pt x="1662" y="799"/>
                </a:moveTo>
                <a:cubicBezTo>
                  <a:pt x="1660" y="799"/>
                  <a:pt x="1659" y="800"/>
                  <a:pt x="1657" y="800"/>
                </a:cubicBezTo>
                <a:cubicBezTo>
                  <a:pt x="1657" y="801"/>
                  <a:pt x="1657" y="801"/>
                  <a:pt x="1657" y="801"/>
                </a:cubicBezTo>
                <a:cubicBezTo>
                  <a:pt x="1657" y="800"/>
                  <a:pt x="1656" y="801"/>
                  <a:pt x="1656" y="801"/>
                </a:cubicBezTo>
                <a:cubicBezTo>
                  <a:pt x="1655" y="801"/>
                  <a:pt x="1656" y="800"/>
                  <a:pt x="1656" y="800"/>
                </a:cubicBezTo>
                <a:cubicBezTo>
                  <a:pt x="1656" y="800"/>
                  <a:pt x="1655" y="800"/>
                  <a:pt x="1655" y="800"/>
                </a:cubicBezTo>
                <a:cubicBezTo>
                  <a:pt x="1655" y="800"/>
                  <a:pt x="1655" y="800"/>
                  <a:pt x="1655" y="800"/>
                </a:cubicBezTo>
                <a:cubicBezTo>
                  <a:pt x="1654" y="800"/>
                  <a:pt x="1654" y="800"/>
                  <a:pt x="1653" y="800"/>
                </a:cubicBezTo>
                <a:cubicBezTo>
                  <a:pt x="1653" y="800"/>
                  <a:pt x="1652" y="799"/>
                  <a:pt x="1652" y="799"/>
                </a:cubicBezTo>
                <a:cubicBezTo>
                  <a:pt x="1651" y="798"/>
                  <a:pt x="1651" y="798"/>
                  <a:pt x="1651" y="797"/>
                </a:cubicBezTo>
                <a:cubicBezTo>
                  <a:pt x="1651" y="797"/>
                  <a:pt x="1652" y="796"/>
                  <a:pt x="1651" y="796"/>
                </a:cubicBezTo>
                <a:cubicBezTo>
                  <a:pt x="1651" y="796"/>
                  <a:pt x="1651" y="796"/>
                  <a:pt x="1651" y="795"/>
                </a:cubicBezTo>
                <a:cubicBezTo>
                  <a:pt x="1651" y="795"/>
                  <a:pt x="1651" y="794"/>
                  <a:pt x="1651" y="793"/>
                </a:cubicBezTo>
                <a:cubicBezTo>
                  <a:pt x="1651" y="793"/>
                  <a:pt x="1650" y="794"/>
                  <a:pt x="1650" y="794"/>
                </a:cubicBezTo>
                <a:cubicBezTo>
                  <a:pt x="1650" y="793"/>
                  <a:pt x="1650" y="793"/>
                  <a:pt x="1650" y="792"/>
                </a:cubicBezTo>
                <a:cubicBezTo>
                  <a:pt x="1649" y="792"/>
                  <a:pt x="1650" y="792"/>
                  <a:pt x="1650" y="791"/>
                </a:cubicBezTo>
                <a:cubicBezTo>
                  <a:pt x="1650" y="791"/>
                  <a:pt x="1649" y="791"/>
                  <a:pt x="1649" y="792"/>
                </a:cubicBezTo>
                <a:cubicBezTo>
                  <a:pt x="1649" y="792"/>
                  <a:pt x="1649" y="793"/>
                  <a:pt x="1649" y="793"/>
                </a:cubicBezTo>
                <a:cubicBezTo>
                  <a:pt x="1649" y="793"/>
                  <a:pt x="1648" y="793"/>
                  <a:pt x="1648" y="793"/>
                </a:cubicBezTo>
                <a:cubicBezTo>
                  <a:pt x="1648" y="794"/>
                  <a:pt x="1648" y="794"/>
                  <a:pt x="1648" y="794"/>
                </a:cubicBezTo>
                <a:cubicBezTo>
                  <a:pt x="1648" y="795"/>
                  <a:pt x="1649" y="795"/>
                  <a:pt x="1648" y="795"/>
                </a:cubicBezTo>
                <a:cubicBezTo>
                  <a:pt x="1648" y="795"/>
                  <a:pt x="1648" y="794"/>
                  <a:pt x="1647" y="794"/>
                </a:cubicBezTo>
                <a:cubicBezTo>
                  <a:pt x="1647" y="794"/>
                  <a:pt x="1646" y="794"/>
                  <a:pt x="1646" y="794"/>
                </a:cubicBezTo>
                <a:cubicBezTo>
                  <a:pt x="1646" y="794"/>
                  <a:pt x="1646" y="793"/>
                  <a:pt x="1646" y="792"/>
                </a:cubicBezTo>
                <a:cubicBezTo>
                  <a:pt x="1646" y="792"/>
                  <a:pt x="1646" y="791"/>
                  <a:pt x="1646" y="790"/>
                </a:cubicBezTo>
                <a:cubicBezTo>
                  <a:pt x="1646" y="790"/>
                  <a:pt x="1646" y="790"/>
                  <a:pt x="1646" y="790"/>
                </a:cubicBezTo>
                <a:cubicBezTo>
                  <a:pt x="1645" y="790"/>
                  <a:pt x="1645" y="789"/>
                  <a:pt x="1645" y="788"/>
                </a:cubicBezTo>
                <a:cubicBezTo>
                  <a:pt x="1645" y="788"/>
                  <a:pt x="1644" y="786"/>
                  <a:pt x="1645" y="786"/>
                </a:cubicBezTo>
                <a:cubicBezTo>
                  <a:pt x="1645" y="785"/>
                  <a:pt x="1645" y="784"/>
                  <a:pt x="1645" y="784"/>
                </a:cubicBezTo>
                <a:cubicBezTo>
                  <a:pt x="1644" y="784"/>
                  <a:pt x="1644" y="784"/>
                  <a:pt x="1643" y="784"/>
                </a:cubicBezTo>
                <a:cubicBezTo>
                  <a:pt x="1643" y="784"/>
                  <a:pt x="1643" y="783"/>
                  <a:pt x="1643" y="783"/>
                </a:cubicBezTo>
                <a:cubicBezTo>
                  <a:pt x="1643" y="782"/>
                  <a:pt x="1643" y="782"/>
                  <a:pt x="1642" y="782"/>
                </a:cubicBezTo>
                <a:cubicBezTo>
                  <a:pt x="1642" y="782"/>
                  <a:pt x="1642" y="782"/>
                  <a:pt x="1642" y="781"/>
                </a:cubicBezTo>
                <a:cubicBezTo>
                  <a:pt x="1641" y="781"/>
                  <a:pt x="1640" y="781"/>
                  <a:pt x="1640" y="781"/>
                </a:cubicBezTo>
                <a:cubicBezTo>
                  <a:pt x="1640" y="781"/>
                  <a:pt x="1640" y="780"/>
                  <a:pt x="1640" y="780"/>
                </a:cubicBezTo>
                <a:cubicBezTo>
                  <a:pt x="1640" y="780"/>
                  <a:pt x="1639" y="780"/>
                  <a:pt x="1639" y="780"/>
                </a:cubicBezTo>
                <a:cubicBezTo>
                  <a:pt x="1639" y="780"/>
                  <a:pt x="1639" y="781"/>
                  <a:pt x="1639" y="781"/>
                </a:cubicBezTo>
                <a:cubicBezTo>
                  <a:pt x="1639" y="781"/>
                  <a:pt x="1638" y="780"/>
                  <a:pt x="1638" y="780"/>
                </a:cubicBezTo>
                <a:cubicBezTo>
                  <a:pt x="1638" y="779"/>
                  <a:pt x="1637" y="779"/>
                  <a:pt x="1637" y="779"/>
                </a:cubicBezTo>
                <a:cubicBezTo>
                  <a:pt x="1637" y="779"/>
                  <a:pt x="1637" y="778"/>
                  <a:pt x="1636" y="778"/>
                </a:cubicBezTo>
                <a:cubicBezTo>
                  <a:pt x="1636" y="778"/>
                  <a:pt x="1636" y="777"/>
                  <a:pt x="1636" y="777"/>
                </a:cubicBezTo>
                <a:cubicBezTo>
                  <a:pt x="1636" y="777"/>
                  <a:pt x="1635" y="777"/>
                  <a:pt x="1635" y="778"/>
                </a:cubicBezTo>
                <a:cubicBezTo>
                  <a:pt x="1635" y="779"/>
                  <a:pt x="1636" y="780"/>
                  <a:pt x="1637" y="780"/>
                </a:cubicBezTo>
                <a:cubicBezTo>
                  <a:pt x="1637" y="780"/>
                  <a:pt x="1637" y="781"/>
                  <a:pt x="1637" y="781"/>
                </a:cubicBezTo>
                <a:cubicBezTo>
                  <a:pt x="1637" y="781"/>
                  <a:pt x="1638" y="781"/>
                  <a:pt x="1638" y="782"/>
                </a:cubicBezTo>
                <a:cubicBezTo>
                  <a:pt x="1638" y="782"/>
                  <a:pt x="1638" y="784"/>
                  <a:pt x="1638" y="784"/>
                </a:cubicBezTo>
                <a:cubicBezTo>
                  <a:pt x="1639" y="784"/>
                  <a:pt x="1639" y="785"/>
                  <a:pt x="1639" y="785"/>
                </a:cubicBezTo>
                <a:cubicBezTo>
                  <a:pt x="1640" y="785"/>
                  <a:pt x="1640" y="785"/>
                  <a:pt x="1640" y="786"/>
                </a:cubicBezTo>
                <a:cubicBezTo>
                  <a:pt x="1640" y="786"/>
                  <a:pt x="1640" y="787"/>
                  <a:pt x="1640" y="787"/>
                </a:cubicBezTo>
                <a:cubicBezTo>
                  <a:pt x="1641" y="787"/>
                  <a:pt x="1641" y="788"/>
                  <a:pt x="1642" y="789"/>
                </a:cubicBezTo>
                <a:cubicBezTo>
                  <a:pt x="1642" y="789"/>
                  <a:pt x="1642" y="789"/>
                  <a:pt x="1643" y="789"/>
                </a:cubicBezTo>
                <a:cubicBezTo>
                  <a:pt x="1644" y="790"/>
                  <a:pt x="1644" y="790"/>
                  <a:pt x="1644" y="791"/>
                </a:cubicBezTo>
                <a:cubicBezTo>
                  <a:pt x="1643" y="791"/>
                  <a:pt x="1643" y="791"/>
                  <a:pt x="1643" y="791"/>
                </a:cubicBezTo>
                <a:cubicBezTo>
                  <a:pt x="1643" y="792"/>
                  <a:pt x="1643" y="793"/>
                  <a:pt x="1643" y="793"/>
                </a:cubicBezTo>
                <a:cubicBezTo>
                  <a:pt x="1643" y="794"/>
                  <a:pt x="1644" y="794"/>
                  <a:pt x="1645" y="794"/>
                </a:cubicBezTo>
                <a:cubicBezTo>
                  <a:pt x="1645" y="795"/>
                  <a:pt x="1644" y="795"/>
                  <a:pt x="1644" y="796"/>
                </a:cubicBezTo>
                <a:cubicBezTo>
                  <a:pt x="1644" y="796"/>
                  <a:pt x="1645" y="797"/>
                  <a:pt x="1645" y="798"/>
                </a:cubicBezTo>
                <a:cubicBezTo>
                  <a:pt x="1645" y="798"/>
                  <a:pt x="1645" y="799"/>
                  <a:pt x="1645" y="800"/>
                </a:cubicBezTo>
                <a:cubicBezTo>
                  <a:pt x="1645" y="800"/>
                  <a:pt x="1645" y="800"/>
                  <a:pt x="1645" y="801"/>
                </a:cubicBezTo>
                <a:cubicBezTo>
                  <a:pt x="1645" y="801"/>
                  <a:pt x="1645" y="801"/>
                  <a:pt x="1645" y="802"/>
                </a:cubicBezTo>
                <a:cubicBezTo>
                  <a:pt x="1645" y="802"/>
                  <a:pt x="1644" y="802"/>
                  <a:pt x="1644" y="802"/>
                </a:cubicBezTo>
                <a:cubicBezTo>
                  <a:pt x="1644" y="803"/>
                  <a:pt x="1644" y="803"/>
                  <a:pt x="1644" y="804"/>
                </a:cubicBezTo>
                <a:cubicBezTo>
                  <a:pt x="1644" y="804"/>
                  <a:pt x="1643" y="804"/>
                  <a:pt x="1643" y="804"/>
                </a:cubicBezTo>
                <a:cubicBezTo>
                  <a:pt x="1643" y="804"/>
                  <a:pt x="1644" y="805"/>
                  <a:pt x="1643" y="805"/>
                </a:cubicBezTo>
                <a:cubicBezTo>
                  <a:pt x="1643" y="805"/>
                  <a:pt x="1643" y="805"/>
                  <a:pt x="1643" y="806"/>
                </a:cubicBezTo>
                <a:cubicBezTo>
                  <a:pt x="1643" y="806"/>
                  <a:pt x="1642" y="806"/>
                  <a:pt x="1641" y="806"/>
                </a:cubicBezTo>
                <a:cubicBezTo>
                  <a:pt x="1640" y="806"/>
                  <a:pt x="1639" y="807"/>
                  <a:pt x="1640" y="808"/>
                </a:cubicBezTo>
                <a:cubicBezTo>
                  <a:pt x="1641" y="810"/>
                  <a:pt x="1643" y="810"/>
                  <a:pt x="1644" y="810"/>
                </a:cubicBezTo>
                <a:cubicBezTo>
                  <a:pt x="1644" y="810"/>
                  <a:pt x="1644" y="811"/>
                  <a:pt x="1644" y="811"/>
                </a:cubicBezTo>
                <a:cubicBezTo>
                  <a:pt x="1644" y="811"/>
                  <a:pt x="1644" y="811"/>
                  <a:pt x="1645" y="811"/>
                </a:cubicBezTo>
                <a:cubicBezTo>
                  <a:pt x="1646" y="812"/>
                  <a:pt x="1646" y="812"/>
                  <a:pt x="1646" y="813"/>
                </a:cubicBezTo>
                <a:cubicBezTo>
                  <a:pt x="1647" y="814"/>
                  <a:pt x="1647" y="815"/>
                  <a:pt x="1647" y="815"/>
                </a:cubicBezTo>
                <a:cubicBezTo>
                  <a:pt x="1647" y="816"/>
                  <a:pt x="1646" y="816"/>
                  <a:pt x="1646" y="817"/>
                </a:cubicBezTo>
                <a:cubicBezTo>
                  <a:pt x="1646" y="818"/>
                  <a:pt x="1646" y="818"/>
                  <a:pt x="1645" y="819"/>
                </a:cubicBezTo>
                <a:cubicBezTo>
                  <a:pt x="1645" y="819"/>
                  <a:pt x="1645" y="820"/>
                  <a:pt x="1645" y="820"/>
                </a:cubicBezTo>
                <a:cubicBezTo>
                  <a:pt x="1646" y="820"/>
                  <a:pt x="1646" y="821"/>
                  <a:pt x="1646" y="821"/>
                </a:cubicBezTo>
                <a:cubicBezTo>
                  <a:pt x="1646" y="821"/>
                  <a:pt x="1647" y="821"/>
                  <a:pt x="1648" y="821"/>
                </a:cubicBezTo>
                <a:cubicBezTo>
                  <a:pt x="1648" y="821"/>
                  <a:pt x="1649" y="822"/>
                  <a:pt x="1649" y="822"/>
                </a:cubicBezTo>
                <a:cubicBezTo>
                  <a:pt x="1650" y="822"/>
                  <a:pt x="1650" y="821"/>
                  <a:pt x="1651" y="821"/>
                </a:cubicBezTo>
                <a:cubicBezTo>
                  <a:pt x="1651" y="821"/>
                  <a:pt x="1652" y="820"/>
                  <a:pt x="1652" y="820"/>
                </a:cubicBezTo>
                <a:cubicBezTo>
                  <a:pt x="1652" y="820"/>
                  <a:pt x="1652" y="819"/>
                  <a:pt x="1652" y="819"/>
                </a:cubicBezTo>
                <a:cubicBezTo>
                  <a:pt x="1652" y="819"/>
                  <a:pt x="1652" y="819"/>
                  <a:pt x="1652" y="819"/>
                </a:cubicBezTo>
                <a:cubicBezTo>
                  <a:pt x="1652" y="818"/>
                  <a:pt x="1652" y="818"/>
                  <a:pt x="1653" y="818"/>
                </a:cubicBezTo>
                <a:cubicBezTo>
                  <a:pt x="1653" y="817"/>
                  <a:pt x="1653" y="818"/>
                  <a:pt x="1653" y="817"/>
                </a:cubicBezTo>
                <a:cubicBezTo>
                  <a:pt x="1653" y="817"/>
                  <a:pt x="1653" y="816"/>
                  <a:pt x="1653" y="816"/>
                </a:cubicBezTo>
                <a:cubicBezTo>
                  <a:pt x="1653" y="816"/>
                  <a:pt x="1655" y="815"/>
                  <a:pt x="1655" y="814"/>
                </a:cubicBezTo>
                <a:cubicBezTo>
                  <a:pt x="1656" y="814"/>
                  <a:pt x="1656" y="814"/>
                  <a:pt x="1656" y="813"/>
                </a:cubicBezTo>
                <a:cubicBezTo>
                  <a:pt x="1656" y="812"/>
                  <a:pt x="1656" y="811"/>
                  <a:pt x="1657" y="811"/>
                </a:cubicBezTo>
                <a:cubicBezTo>
                  <a:pt x="1656" y="810"/>
                  <a:pt x="1655" y="810"/>
                  <a:pt x="1656" y="809"/>
                </a:cubicBezTo>
                <a:cubicBezTo>
                  <a:pt x="1657" y="808"/>
                  <a:pt x="1657" y="808"/>
                  <a:pt x="1658" y="808"/>
                </a:cubicBezTo>
                <a:cubicBezTo>
                  <a:pt x="1658" y="808"/>
                  <a:pt x="1659" y="807"/>
                  <a:pt x="1659" y="807"/>
                </a:cubicBezTo>
                <a:cubicBezTo>
                  <a:pt x="1659" y="807"/>
                  <a:pt x="1660" y="807"/>
                  <a:pt x="1660" y="808"/>
                </a:cubicBezTo>
                <a:cubicBezTo>
                  <a:pt x="1660" y="808"/>
                  <a:pt x="1660" y="808"/>
                  <a:pt x="1661" y="808"/>
                </a:cubicBezTo>
                <a:cubicBezTo>
                  <a:pt x="1661" y="807"/>
                  <a:pt x="1660" y="807"/>
                  <a:pt x="1660" y="806"/>
                </a:cubicBezTo>
                <a:cubicBezTo>
                  <a:pt x="1661" y="805"/>
                  <a:pt x="1661" y="805"/>
                  <a:pt x="1661" y="805"/>
                </a:cubicBezTo>
                <a:cubicBezTo>
                  <a:pt x="1661" y="804"/>
                  <a:pt x="1662" y="805"/>
                  <a:pt x="1662" y="804"/>
                </a:cubicBezTo>
                <a:cubicBezTo>
                  <a:pt x="1662" y="804"/>
                  <a:pt x="1662" y="804"/>
                  <a:pt x="1662" y="804"/>
                </a:cubicBezTo>
                <a:cubicBezTo>
                  <a:pt x="1662" y="803"/>
                  <a:pt x="1662" y="803"/>
                  <a:pt x="1662" y="803"/>
                </a:cubicBezTo>
                <a:cubicBezTo>
                  <a:pt x="1662" y="802"/>
                  <a:pt x="1662" y="803"/>
                  <a:pt x="1662" y="802"/>
                </a:cubicBezTo>
                <a:cubicBezTo>
                  <a:pt x="1662" y="802"/>
                  <a:pt x="1663" y="802"/>
                  <a:pt x="1663" y="801"/>
                </a:cubicBezTo>
                <a:cubicBezTo>
                  <a:pt x="1663" y="801"/>
                  <a:pt x="1663" y="801"/>
                  <a:pt x="1663" y="801"/>
                </a:cubicBezTo>
                <a:cubicBezTo>
                  <a:pt x="1664" y="800"/>
                  <a:pt x="1663" y="799"/>
                  <a:pt x="1662" y="799"/>
                </a:cubicBezTo>
                <a:cubicBezTo>
                  <a:pt x="1659" y="799"/>
                  <a:pt x="1662" y="799"/>
                  <a:pt x="1662" y="799"/>
                </a:cubicBezTo>
                <a:close/>
                <a:moveTo>
                  <a:pt x="566" y="763"/>
                </a:moveTo>
                <a:cubicBezTo>
                  <a:pt x="566" y="763"/>
                  <a:pt x="567" y="763"/>
                  <a:pt x="567" y="762"/>
                </a:cubicBezTo>
                <a:cubicBezTo>
                  <a:pt x="566" y="762"/>
                  <a:pt x="565" y="762"/>
                  <a:pt x="566" y="763"/>
                </a:cubicBezTo>
                <a:cubicBezTo>
                  <a:pt x="566" y="763"/>
                  <a:pt x="566" y="763"/>
                  <a:pt x="566" y="763"/>
                </a:cubicBezTo>
                <a:close/>
                <a:moveTo>
                  <a:pt x="568" y="762"/>
                </a:moveTo>
                <a:cubicBezTo>
                  <a:pt x="568" y="762"/>
                  <a:pt x="568" y="763"/>
                  <a:pt x="568" y="763"/>
                </a:cubicBezTo>
                <a:cubicBezTo>
                  <a:pt x="569" y="763"/>
                  <a:pt x="570" y="763"/>
                  <a:pt x="571" y="762"/>
                </a:cubicBezTo>
                <a:cubicBezTo>
                  <a:pt x="570" y="762"/>
                  <a:pt x="569" y="762"/>
                  <a:pt x="568" y="762"/>
                </a:cubicBezTo>
                <a:close/>
                <a:moveTo>
                  <a:pt x="570" y="760"/>
                </a:moveTo>
                <a:cubicBezTo>
                  <a:pt x="571" y="760"/>
                  <a:pt x="572" y="760"/>
                  <a:pt x="572" y="759"/>
                </a:cubicBezTo>
                <a:cubicBezTo>
                  <a:pt x="571" y="759"/>
                  <a:pt x="571" y="759"/>
                  <a:pt x="570" y="760"/>
                </a:cubicBezTo>
                <a:cubicBezTo>
                  <a:pt x="572" y="760"/>
                  <a:pt x="570" y="760"/>
                  <a:pt x="570" y="760"/>
                </a:cubicBezTo>
                <a:close/>
                <a:moveTo>
                  <a:pt x="1353" y="720"/>
                </a:moveTo>
                <a:cubicBezTo>
                  <a:pt x="1353" y="720"/>
                  <a:pt x="1353" y="720"/>
                  <a:pt x="1353" y="720"/>
                </a:cubicBezTo>
                <a:cubicBezTo>
                  <a:pt x="1353" y="720"/>
                  <a:pt x="1353" y="720"/>
                  <a:pt x="1353" y="720"/>
                </a:cubicBezTo>
                <a:close/>
                <a:moveTo>
                  <a:pt x="1613" y="703"/>
                </a:moveTo>
                <a:cubicBezTo>
                  <a:pt x="1613" y="702"/>
                  <a:pt x="1613" y="702"/>
                  <a:pt x="1612" y="702"/>
                </a:cubicBezTo>
                <a:cubicBezTo>
                  <a:pt x="1613" y="702"/>
                  <a:pt x="1613" y="702"/>
                  <a:pt x="1613" y="703"/>
                </a:cubicBezTo>
                <a:close/>
                <a:moveTo>
                  <a:pt x="1608" y="696"/>
                </a:moveTo>
                <a:cubicBezTo>
                  <a:pt x="1608" y="697"/>
                  <a:pt x="1608" y="698"/>
                  <a:pt x="1608" y="698"/>
                </a:cubicBezTo>
                <a:cubicBezTo>
                  <a:pt x="1608" y="699"/>
                  <a:pt x="1608" y="699"/>
                  <a:pt x="1609" y="699"/>
                </a:cubicBezTo>
                <a:cubicBezTo>
                  <a:pt x="1609" y="699"/>
                  <a:pt x="1609" y="699"/>
                  <a:pt x="1609" y="699"/>
                </a:cubicBezTo>
                <a:cubicBezTo>
                  <a:pt x="1609" y="698"/>
                  <a:pt x="1609" y="697"/>
                  <a:pt x="1608" y="696"/>
                </a:cubicBezTo>
                <a:cubicBezTo>
                  <a:pt x="1608" y="697"/>
                  <a:pt x="1608" y="696"/>
                  <a:pt x="1608" y="696"/>
                </a:cubicBezTo>
                <a:close/>
                <a:moveTo>
                  <a:pt x="1077" y="696"/>
                </a:moveTo>
                <a:cubicBezTo>
                  <a:pt x="1077" y="696"/>
                  <a:pt x="1077" y="697"/>
                  <a:pt x="1077" y="697"/>
                </a:cubicBezTo>
                <a:cubicBezTo>
                  <a:pt x="1077" y="697"/>
                  <a:pt x="1077" y="698"/>
                  <a:pt x="1078" y="698"/>
                </a:cubicBezTo>
                <a:cubicBezTo>
                  <a:pt x="1079" y="698"/>
                  <a:pt x="1079" y="698"/>
                  <a:pt x="1080" y="698"/>
                </a:cubicBezTo>
                <a:cubicBezTo>
                  <a:pt x="1080" y="697"/>
                  <a:pt x="1079" y="697"/>
                  <a:pt x="1079" y="696"/>
                </a:cubicBezTo>
                <a:cubicBezTo>
                  <a:pt x="1078" y="696"/>
                  <a:pt x="1078" y="696"/>
                  <a:pt x="1077" y="696"/>
                </a:cubicBezTo>
                <a:close/>
                <a:moveTo>
                  <a:pt x="1605" y="705"/>
                </a:moveTo>
                <a:cubicBezTo>
                  <a:pt x="1606" y="705"/>
                  <a:pt x="1606" y="706"/>
                  <a:pt x="1606" y="706"/>
                </a:cubicBezTo>
                <a:cubicBezTo>
                  <a:pt x="1607" y="706"/>
                  <a:pt x="1608" y="706"/>
                  <a:pt x="1608" y="706"/>
                </a:cubicBezTo>
                <a:cubicBezTo>
                  <a:pt x="1608" y="706"/>
                  <a:pt x="1609" y="706"/>
                  <a:pt x="1609" y="706"/>
                </a:cubicBezTo>
                <a:cubicBezTo>
                  <a:pt x="1609" y="705"/>
                  <a:pt x="1608" y="704"/>
                  <a:pt x="1607" y="704"/>
                </a:cubicBezTo>
                <a:cubicBezTo>
                  <a:pt x="1607" y="704"/>
                  <a:pt x="1607" y="703"/>
                  <a:pt x="1607" y="703"/>
                </a:cubicBezTo>
                <a:cubicBezTo>
                  <a:pt x="1607" y="703"/>
                  <a:pt x="1607" y="703"/>
                  <a:pt x="1606" y="703"/>
                </a:cubicBezTo>
                <a:cubicBezTo>
                  <a:pt x="1606" y="702"/>
                  <a:pt x="1606" y="702"/>
                  <a:pt x="1606" y="702"/>
                </a:cubicBezTo>
                <a:cubicBezTo>
                  <a:pt x="1605" y="701"/>
                  <a:pt x="1604" y="702"/>
                  <a:pt x="1603" y="701"/>
                </a:cubicBezTo>
                <a:cubicBezTo>
                  <a:pt x="1603" y="701"/>
                  <a:pt x="1603" y="700"/>
                  <a:pt x="1602" y="700"/>
                </a:cubicBezTo>
                <a:cubicBezTo>
                  <a:pt x="1602" y="699"/>
                  <a:pt x="1602" y="700"/>
                  <a:pt x="1602" y="699"/>
                </a:cubicBezTo>
                <a:cubicBezTo>
                  <a:pt x="1601" y="698"/>
                  <a:pt x="1601" y="699"/>
                  <a:pt x="1600" y="698"/>
                </a:cubicBezTo>
                <a:cubicBezTo>
                  <a:pt x="1600" y="698"/>
                  <a:pt x="1600" y="697"/>
                  <a:pt x="1600" y="697"/>
                </a:cubicBezTo>
                <a:cubicBezTo>
                  <a:pt x="1599" y="697"/>
                  <a:pt x="1599" y="697"/>
                  <a:pt x="1598" y="696"/>
                </a:cubicBezTo>
                <a:cubicBezTo>
                  <a:pt x="1598" y="696"/>
                  <a:pt x="1598" y="695"/>
                  <a:pt x="1598" y="694"/>
                </a:cubicBezTo>
                <a:cubicBezTo>
                  <a:pt x="1598" y="693"/>
                  <a:pt x="1598" y="693"/>
                  <a:pt x="1596" y="693"/>
                </a:cubicBezTo>
                <a:cubicBezTo>
                  <a:pt x="1595" y="693"/>
                  <a:pt x="1595" y="693"/>
                  <a:pt x="1595" y="693"/>
                </a:cubicBezTo>
                <a:cubicBezTo>
                  <a:pt x="1595" y="694"/>
                  <a:pt x="1595" y="694"/>
                  <a:pt x="1595" y="695"/>
                </a:cubicBezTo>
                <a:cubicBezTo>
                  <a:pt x="1596" y="695"/>
                  <a:pt x="1596" y="695"/>
                  <a:pt x="1596" y="696"/>
                </a:cubicBezTo>
                <a:cubicBezTo>
                  <a:pt x="1597" y="698"/>
                  <a:pt x="1596" y="696"/>
                  <a:pt x="1597" y="697"/>
                </a:cubicBezTo>
                <a:cubicBezTo>
                  <a:pt x="1597" y="697"/>
                  <a:pt x="1596" y="697"/>
                  <a:pt x="1597" y="697"/>
                </a:cubicBezTo>
                <a:cubicBezTo>
                  <a:pt x="1597" y="698"/>
                  <a:pt x="1598" y="698"/>
                  <a:pt x="1598" y="698"/>
                </a:cubicBezTo>
                <a:cubicBezTo>
                  <a:pt x="1598" y="698"/>
                  <a:pt x="1598" y="699"/>
                  <a:pt x="1598" y="700"/>
                </a:cubicBezTo>
                <a:cubicBezTo>
                  <a:pt x="1599" y="700"/>
                  <a:pt x="1599" y="701"/>
                  <a:pt x="1600" y="701"/>
                </a:cubicBezTo>
                <a:cubicBezTo>
                  <a:pt x="1601" y="701"/>
                  <a:pt x="1601" y="702"/>
                  <a:pt x="1601" y="703"/>
                </a:cubicBezTo>
                <a:cubicBezTo>
                  <a:pt x="1602" y="704"/>
                  <a:pt x="1602" y="704"/>
                  <a:pt x="1603" y="704"/>
                </a:cubicBezTo>
                <a:cubicBezTo>
                  <a:pt x="1604" y="704"/>
                  <a:pt x="1604" y="705"/>
                  <a:pt x="1605" y="705"/>
                </a:cubicBezTo>
                <a:close/>
                <a:moveTo>
                  <a:pt x="1088" y="691"/>
                </a:moveTo>
                <a:cubicBezTo>
                  <a:pt x="1087" y="691"/>
                  <a:pt x="1087" y="691"/>
                  <a:pt x="1087" y="692"/>
                </a:cubicBezTo>
                <a:cubicBezTo>
                  <a:pt x="1087" y="693"/>
                  <a:pt x="1087" y="693"/>
                  <a:pt x="1087" y="693"/>
                </a:cubicBezTo>
                <a:cubicBezTo>
                  <a:pt x="1088" y="693"/>
                  <a:pt x="1088" y="693"/>
                  <a:pt x="1088" y="694"/>
                </a:cubicBezTo>
                <a:cubicBezTo>
                  <a:pt x="1089" y="694"/>
                  <a:pt x="1089" y="694"/>
                  <a:pt x="1090" y="693"/>
                </a:cubicBezTo>
                <a:cubicBezTo>
                  <a:pt x="1090" y="692"/>
                  <a:pt x="1090" y="691"/>
                  <a:pt x="1089" y="689"/>
                </a:cubicBezTo>
                <a:cubicBezTo>
                  <a:pt x="1089" y="690"/>
                  <a:pt x="1088" y="690"/>
                  <a:pt x="1088" y="691"/>
                </a:cubicBezTo>
                <a:close/>
                <a:moveTo>
                  <a:pt x="1659" y="680"/>
                </a:moveTo>
                <a:cubicBezTo>
                  <a:pt x="1659" y="681"/>
                  <a:pt x="1658" y="682"/>
                  <a:pt x="1659" y="683"/>
                </a:cubicBezTo>
                <a:cubicBezTo>
                  <a:pt x="1660" y="683"/>
                  <a:pt x="1661" y="682"/>
                  <a:pt x="1661" y="683"/>
                </a:cubicBezTo>
                <a:cubicBezTo>
                  <a:pt x="1663" y="683"/>
                  <a:pt x="1665" y="683"/>
                  <a:pt x="1664" y="681"/>
                </a:cubicBezTo>
                <a:cubicBezTo>
                  <a:pt x="1664" y="680"/>
                  <a:pt x="1664" y="680"/>
                  <a:pt x="1663" y="679"/>
                </a:cubicBezTo>
                <a:cubicBezTo>
                  <a:pt x="1662" y="680"/>
                  <a:pt x="1661" y="680"/>
                  <a:pt x="1659" y="680"/>
                </a:cubicBezTo>
                <a:cubicBezTo>
                  <a:pt x="1659" y="681"/>
                  <a:pt x="1659" y="680"/>
                  <a:pt x="1659" y="680"/>
                </a:cubicBezTo>
                <a:close/>
                <a:moveTo>
                  <a:pt x="1615" y="675"/>
                </a:moveTo>
                <a:cubicBezTo>
                  <a:pt x="1615" y="675"/>
                  <a:pt x="1614" y="675"/>
                  <a:pt x="1614" y="675"/>
                </a:cubicBezTo>
                <a:cubicBezTo>
                  <a:pt x="1614" y="676"/>
                  <a:pt x="1615" y="678"/>
                  <a:pt x="1615" y="679"/>
                </a:cubicBezTo>
                <a:cubicBezTo>
                  <a:pt x="1616" y="679"/>
                  <a:pt x="1616" y="679"/>
                  <a:pt x="1617" y="679"/>
                </a:cubicBezTo>
                <a:cubicBezTo>
                  <a:pt x="1617" y="678"/>
                  <a:pt x="1616" y="678"/>
                  <a:pt x="1616" y="677"/>
                </a:cubicBezTo>
                <a:cubicBezTo>
                  <a:pt x="1616" y="677"/>
                  <a:pt x="1616" y="677"/>
                  <a:pt x="1616" y="677"/>
                </a:cubicBezTo>
                <a:cubicBezTo>
                  <a:pt x="1616" y="677"/>
                  <a:pt x="1615" y="677"/>
                  <a:pt x="1615" y="677"/>
                </a:cubicBezTo>
                <a:cubicBezTo>
                  <a:pt x="1615" y="676"/>
                  <a:pt x="1615" y="676"/>
                  <a:pt x="1615" y="675"/>
                </a:cubicBezTo>
                <a:close/>
                <a:moveTo>
                  <a:pt x="1053" y="675"/>
                </a:moveTo>
                <a:cubicBezTo>
                  <a:pt x="1054" y="675"/>
                  <a:pt x="1054" y="672"/>
                  <a:pt x="1053" y="675"/>
                </a:cubicBezTo>
                <a:close/>
                <a:moveTo>
                  <a:pt x="1664" y="676"/>
                </a:moveTo>
                <a:cubicBezTo>
                  <a:pt x="1665" y="676"/>
                  <a:pt x="1666" y="675"/>
                  <a:pt x="1667" y="675"/>
                </a:cubicBezTo>
                <a:cubicBezTo>
                  <a:pt x="1667" y="675"/>
                  <a:pt x="1669" y="675"/>
                  <a:pt x="1669" y="674"/>
                </a:cubicBezTo>
                <a:cubicBezTo>
                  <a:pt x="1669" y="674"/>
                  <a:pt x="1669" y="673"/>
                  <a:pt x="1669" y="673"/>
                </a:cubicBezTo>
                <a:cubicBezTo>
                  <a:pt x="1670" y="673"/>
                  <a:pt x="1670" y="672"/>
                  <a:pt x="1670" y="671"/>
                </a:cubicBezTo>
                <a:cubicBezTo>
                  <a:pt x="1668" y="672"/>
                  <a:pt x="1666" y="674"/>
                  <a:pt x="1663" y="675"/>
                </a:cubicBezTo>
                <a:cubicBezTo>
                  <a:pt x="1664" y="675"/>
                  <a:pt x="1664" y="675"/>
                  <a:pt x="1664" y="676"/>
                </a:cubicBezTo>
                <a:cubicBezTo>
                  <a:pt x="1666" y="675"/>
                  <a:pt x="1664" y="676"/>
                  <a:pt x="1664" y="676"/>
                </a:cubicBezTo>
                <a:close/>
                <a:moveTo>
                  <a:pt x="1477" y="674"/>
                </a:moveTo>
                <a:cubicBezTo>
                  <a:pt x="1477" y="673"/>
                  <a:pt x="1478" y="672"/>
                  <a:pt x="1478" y="672"/>
                </a:cubicBezTo>
                <a:cubicBezTo>
                  <a:pt x="1478" y="671"/>
                  <a:pt x="1477" y="671"/>
                  <a:pt x="1477" y="671"/>
                </a:cubicBezTo>
                <a:cubicBezTo>
                  <a:pt x="1476" y="673"/>
                  <a:pt x="1476" y="673"/>
                  <a:pt x="1477" y="674"/>
                </a:cubicBezTo>
                <a:cubicBezTo>
                  <a:pt x="1477" y="673"/>
                  <a:pt x="1477" y="674"/>
                  <a:pt x="1477" y="674"/>
                </a:cubicBezTo>
                <a:close/>
                <a:moveTo>
                  <a:pt x="1614" y="670"/>
                </a:moveTo>
                <a:cubicBezTo>
                  <a:pt x="1612" y="671"/>
                  <a:pt x="1613" y="668"/>
                  <a:pt x="1612" y="668"/>
                </a:cubicBezTo>
                <a:cubicBezTo>
                  <a:pt x="1611" y="668"/>
                  <a:pt x="1612" y="671"/>
                  <a:pt x="1612" y="671"/>
                </a:cubicBezTo>
                <a:cubicBezTo>
                  <a:pt x="1612" y="671"/>
                  <a:pt x="1612" y="673"/>
                  <a:pt x="1612" y="674"/>
                </a:cubicBezTo>
                <a:cubicBezTo>
                  <a:pt x="1614" y="673"/>
                  <a:pt x="1614" y="674"/>
                  <a:pt x="1615" y="673"/>
                </a:cubicBezTo>
                <a:cubicBezTo>
                  <a:pt x="1615" y="673"/>
                  <a:pt x="1615" y="672"/>
                  <a:pt x="1615" y="672"/>
                </a:cubicBezTo>
                <a:cubicBezTo>
                  <a:pt x="1615" y="671"/>
                  <a:pt x="1615" y="671"/>
                  <a:pt x="1614" y="671"/>
                </a:cubicBezTo>
                <a:cubicBezTo>
                  <a:pt x="1615" y="670"/>
                  <a:pt x="1615" y="670"/>
                  <a:pt x="1615" y="669"/>
                </a:cubicBezTo>
                <a:cubicBezTo>
                  <a:pt x="1614" y="669"/>
                  <a:pt x="1614" y="669"/>
                  <a:pt x="1614" y="670"/>
                </a:cubicBezTo>
                <a:close/>
                <a:moveTo>
                  <a:pt x="1465" y="659"/>
                </a:moveTo>
                <a:cubicBezTo>
                  <a:pt x="1465" y="659"/>
                  <a:pt x="1465" y="659"/>
                  <a:pt x="1465" y="658"/>
                </a:cubicBezTo>
                <a:cubicBezTo>
                  <a:pt x="1465" y="657"/>
                  <a:pt x="1465" y="657"/>
                  <a:pt x="1464" y="657"/>
                </a:cubicBezTo>
                <a:cubicBezTo>
                  <a:pt x="1464" y="656"/>
                  <a:pt x="1463" y="657"/>
                  <a:pt x="1463" y="657"/>
                </a:cubicBezTo>
                <a:cubicBezTo>
                  <a:pt x="1462" y="658"/>
                  <a:pt x="1462" y="658"/>
                  <a:pt x="1462" y="659"/>
                </a:cubicBezTo>
                <a:cubicBezTo>
                  <a:pt x="1463" y="659"/>
                  <a:pt x="1463" y="659"/>
                  <a:pt x="1464" y="659"/>
                </a:cubicBezTo>
                <a:cubicBezTo>
                  <a:pt x="1464" y="660"/>
                  <a:pt x="1465" y="659"/>
                  <a:pt x="1465" y="659"/>
                </a:cubicBezTo>
                <a:cubicBezTo>
                  <a:pt x="1464" y="658"/>
                  <a:pt x="1465" y="659"/>
                  <a:pt x="1465" y="659"/>
                </a:cubicBezTo>
                <a:close/>
                <a:moveTo>
                  <a:pt x="1055" y="660"/>
                </a:moveTo>
                <a:cubicBezTo>
                  <a:pt x="1055" y="660"/>
                  <a:pt x="1055" y="660"/>
                  <a:pt x="1054" y="659"/>
                </a:cubicBezTo>
                <a:cubicBezTo>
                  <a:pt x="1054" y="659"/>
                  <a:pt x="1055" y="659"/>
                  <a:pt x="1054" y="659"/>
                </a:cubicBezTo>
                <a:cubicBezTo>
                  <a:pt x="1054" y="658"/>
                  <a:pt x="1054" y="657"/>
                  <a:pt x="1054" y="656"/>
                </a:cubicBezTo>
                <a:cubicBezTo>
                  <a:pt x="1053" y="656"/>
                  <a:pt x="1054" y="653"/>
                  <a:pt x="1054" y="653"/>
                </a:cubicBezTo>
                <a:cubicBezTo>
                  <a:pt x="1053" y="653"/>
                  <a:pt x="1053" y="652"/>
                  <a:pt x="1053" y="652"/>
                </a:cubicBezTo>
                <a:cubicBezTo>
                  <a:pt x="1053" y="651"/>
                  <a:pt x="1053" y="650"/>
                  <a:pt x="1052" y="650"/>
                </a:cubicBezTo>
                <a:cubicBezTo>
                  <a:pt x="1051" y="650"/>
                  <a:pt x="1051" y="650"/>
                  <a:pt x="1051" y="649"/>
                </a:cubicBezTo>
                <a:cubicBezTo>
                  <a:pt x="1049" y="648"/>
                  <a:pt x="1049" y="649"/>
                  <a:pt x="1050" y="647"/>
                </a:cubicBezTo>
                <a:cubicBezTo>
                  <a:pt x="1049" y="647"/>
                  <a:pt x="1049" y="647"/>
                  <a:pt x="1049" y="647"/>
                </a:cubicBezTo>
                <a:cubicBezTo>
                  <a:pt x="1048" y="647"/>
                  <a:pt x="1048" y="647"/>
                  <a:pt x="1048" y="648"/>
                </a:cubicBezTo>
                <a:cubicBezTo>
                  <a:pt x="1048" y="648"/>
                  <a:pt x="1048" y="649"/>
                  <a:pt x="1048" y="649"/>
                </a:cubicBezTo>
                <a:cubicBezTo>
                  <a:pt x="1047" y="649"/>
                  <a:pt x="1047" y="650"/>
                  <a:pt x="1047" y="651"/>
                </a:cubicBezTo>
                <a:cubicBezTo>
                  <a:pt x="1047" y="651"/>
                  <a:pt x="1047" y="651"/>
                  <a:pt x="1047" y="651"/>
                </a:cubicBezTo>
                <a:cubicBezTo>
                  <a:pt x="1047" y="652"/>
                  <a:pt x="1047" y="653"/>
                  <a:pt x="1047" y="654"/>
                </a:cubicBezTo>
                <a:cubicBezTo>
                  <a:pt x="1047" y="654"/>
                  <a:pt x="1047" y="654"/>
                  <a:pt x="1047" y="654"/>
                </a:cubicBezTo>
                <a:cubicBezTo>
                  <a:pt x="1047" y="655"/>
                  <a:pt x="1047" y="654"/>
                  <a:pt x="1047" y="655"/>
                </a:cubicBezTo>
                <a:cubicBezTo>
                  <a:pt x="1047" y="655"/>
                  <a:pt x="1047" y="655"/>
                  <a:pt x="1047" y="655"/>
                </a:cubicBezTo>
                <a:cubicBezTo>
                  <a:pt x="1046" y="656"/>
                  <a:pt x="1046" y="656"/>
                  <a:pt x="1046" y="656"/>
                </a:cubicBezTo>
                <a:cubicBezTo>
                  <a:pt x="1045" y="656"/>
                  <a:pt x="1045" y="657"/>
                  <a:pt x="1044" y="657"/>
                </a:cubicBezTo>
                <a:cubicBezTo>
                  <a:pt x="1044" y="656"/>
                  <a:pt x="1044" y="656"/>
                  <a:pt x="1043" y="656"/>
                </a:cubicBezTo>
                <a:cubicBezTo>
                  <a:pt x="1043" y="656"/>
                  <a:pt x="1043" y="657"/>
                  <a:pt x="1043" y="657"/>
                </a:cubicBezTo>
                <a:cubicBezTo>
                  <a:pt x="1044" y="657"/>
                  <a:pt x="1044" y="659"/>
                  <a:pt x="1043" y="659"/>
                </a:cubicBezTo>
                <a:cubicBezTo>
                  <a:pt x="1042" y="659"/>
                  <a:pt x="1043" y="660"/>
                  <a:pt x="1043" y="661"/>
                </a:cubicBezTo>
                <a:cubicBezTo>
                  <a:pt x="1043" y="661"/>
                  <a:pt x="1042" y="660"/>
                  <a:pt x="1042" y="661"/>
                </a:cubicBezTo>
                <a:cubicBezTo>
                  <a:pt x="1042" y="662"/>
                  <a:pt x="1042" y="662"/>
                  <a:pt x="1041" y="662"/>
                </a:cubicBezTo>
                <a:cubicBezTo>
                  <a:pt x="1041" y="662"/>
                  <a:pt x="1041" y="662"/>
                  <a:pt x="1040" y="661"/>
                </a:cubicBezTo>
                <a:cubicBezTo>
                  <a:pt x="1040" y="662"/>
                  <a:pt x="1039" y="662"/>
                  <a:pt x="1039" y="662"/>
                </a:cubicBezTo>
                <a:cubicBezTo>
                  <a:pt x="1039" y="663"/>
                  <a:pt x="1039" y="664"/>
                  <a:pt x="1039" y="664"/>
                </a:cubicBezTo>
                <a:cubicBezTo>
                  <a:pt x="1039" y="665"/>
                  <a:pt x="1039" y="665"/>
                  <a:pt x="1039" y="666"/>
                </a:cubicBezTo>
                <a:cubicBezTo>
                  <a:pt x="1039" y="666"/>
                  <a:pt x="1038" y="665"/>
                  <a:pt x="1039" y="665"/>
                </a:cubicBezTo>
                <a:cubicBezTo>
                  <a:pt x="1037" y="665"/>
                  <a:pt x="1036" y="666"/>
                  <a:pt x="1035" y="666"/>
                </a:cubicBezTo>
                <a:cubicBezTo>
                  <a:pt x="1035" y="667"/>
                  <a:pt x="1034" y="667"/>
                  <a:pt x="1034" y="667"/>
                </a:cubicBezTo>
                <a:cubicBezTo>
                  <a:pt x="1032" y="666"/>
                  <a:pt x="1032" y="666"/>
                  <a:pt x="1032" y="668"/>
                </a:cubicBezTo>
                <a:cubicBezTo>
                  <a:pt x="1030" y="667"/>
                  <a:pt x="1030" y="668"/>
                  <a:pt x="1029" y="669"/>
                </a:cubicBezTo>
                <a:cubicBezTo>
                  <a:pt x="1028" y="669"/>
                  <a:pt x="1027" y="670"/>
                  <a:pt x="1027" y="670"/>
                </a:cubicBezTo>
                <a:cubicBezTo>
                  <a:pt x="1026" y="671"/>
                  <a:pt x="1026" y="671"/>
                  <a:pt x="1025" y="671"/>
                </a:cubicBezTo>
                <a:cubicBezTo>
                  <a:pt x="1025" y="672"/>
                  <a:pt x="1025" y="673"/>
                  <a:pt x="1024" y="674"/>
                </a:cubicBezTo>
                <a:cubicBezTo>
                  <a:pt x="1024" y="674"/>
                  <a:pt x="1024" y="675"/>
                  <a:pt x="1023" y="675"/>
                </a:cubicBezTo>
                <a:cubicBezTo>
                  <a:pt x="1023" y="675"/>
                  <a:pt x="1023" y="677"/>
                  <a:pt x="1023" y="677"/>
                </a:cubicBezTo>
                <a:cubicBezTo>
                  <a:pt x="1024" y="678"/>
                  <a:pt x="1024" y="678"/>
                  <a:pt x="1024" y="679"/>
                </a:cubicBezTo>
                <a:cubicBezTo>
                  <a:pt x="1025" y="679"/>
                  <a:pt x="1025" y="682"/>
                  <a:pt x="1025" y="683"/>
                </a:cubicBezTo>
                <a:cubicBezTo>
                  <a:pt x="1025" y="684"/>
                  <a:pt x="1025" y="683"/>
                  <a:pt x="1025" y="684"/>
                </a:cubicBezTo>
                <a:cubicBezTo>
                  <a:pt x="1025" y="684"/>
                  <a:pt x="1025" y="685"/>
                  <a:pt x="1025" y="685"/>
                </a:cubicBezTo>
                <a:cubicBezTo>
                  <a:pt x="1025" y="685"/>
                  <a:pt x="1026" y="685"/>
                  <a:pt x="1026" y="686"/>
                </a:cubicBezTo>
                <a:cubicBezTo>
                  <a:pt x="1026" y="687"/>
                  <a:pt x="1026" y="688"/>
                  <a:pt x="1026" y="689"/>
                </a:cubicBezTo>
                <a:cubicBezTo>
                  <a:pt x="1026" y="689"/>
                  <a:pt x="1026" y="690"/>
                  <a:pt x="1025" y="690"/>
                </a:cubicBezTo>
                <a:cubicBezTo>
                  <a:pt x="1025" y="690"/>
                  <a:pt x="1025" y="690"/>
                  <a:pt x="1025" y="690"/>
                </a:cubicBezTo>
                <a:cubicBezTo>
                  <a:pt x="1025" y="690"/>
                  <a:pt x="1025" y="691"/>
                  <a:pt x="1025" y="691"/>
                </a:cubicBezTo>
                <a:cubicBezTo>
                  <a:pt x="1025" y="692"/>
                  <a:pt x="1022" y="692"/>
                  <a:pt x="1022" y="694"/>
                </a:cubicBezTo>
                <a:cubicBezTo>
                  <a:pt x="1022" y="694"/>
                  <a:pt x="1022" y="695"/>
                  <a:pt x="1022" y="695"/>
                </a:cubicBezTo>
                <a:cubicBezTo>
                  <a:pt x="1022" y="696"/>
                  <a:pt x="1021" y="698"/>
                  <a:pt x="1020" y="697"/>
                </a:cubicBezTo>
                <a:cubicBezTo>
                  <a:pt x="1020" y="698"/>
                  <a:pt x="1020" y="699"/>
                  <a:pt x="1020" y="699"/>
                </a:cubicBezTo>
                <a:cubicBezTo>
                  <a:pt x="1020" y="700"/>
                  <a:pt x="1020" y="700"/>
                  <a:pt x="1020" y="700"/>
                </a:cubicBezTo>
                <a:cubicBezTo>
                  <a:pt x="1019" y="701"/>
                  <a:pt x="1020" y="701"/>
                  <a:pt x="1019" y="701"/>
                </a:cubicBezTo>
                <a:cubicBezTo>
                  <a:pt x="1019" y="702"/>
                  <a:pt x="1020" y="702"/>
                  <a:pt x="1020" y="703"/>
                </a:cubicBezTo>
                <a:cubicBezTo>
                  <a:pt x="1020" y="704"/>
                  <a:pt x="1019" y="705"/>
                  <a:pt x="1019" y="706"/>
                </a:cubicBezTo>
                <a:cubicBezTo>
                  <a:pt x="1020" y="706"/>
                  <a:pt x="1020" y="707"/>
                  <a:pt x="1020" y="707"/>
                </a:cubicBezTo>
                <a:cubicBezTo>
                  <a:pt x="1020" y="707"/>
                  <a:pt x="1020" y="707"/>
                  <a:pt x="1020" y="707"/>
                </a:cubicBezTo>
                <a:cubicBezTo>
                  <a:pt x="1020" y="708"/>
                  <a:pt x="1021" y="708"/>
                  <a:pt x="1021" y="709"/>
                </a:cubicBezTo>
                <a:cubicBezTo>
                  <a:pt x="1022" y="710"/>
                  <a:pt x="1022" y="710"/>
                  <a:pt x="1022" y="711"/>
                </a:cubicBezTo>
                <a:cubicBezTo>
                  <a:pt x="1022" y="711"/>
                  <a:pt x="1022" y="711"/>
                  <a:pt x="1022" y="712"/>
                </a:cubicBezTo>
                <a:cubicBezTo>
                  <a:pt x="1022" y="712"/>
                  <a:pt x="1022" y="712"/>
                  <a:pt x="1022" y="712"/>
                </a:cubicBezTo>
                <a:cubicBezTo>
                  <a:pt x="1022" y="713"/>
                  <a:pt x="1022" y="713"/>
                  <a:pt x="1022" y="714"/>
                </a:cubicBezTo>
                <a:cubicBezTo>
                  <a:pt x="1022" y="714"/>
                  <a:pt x="1023" y="714"/>
                  <a:pt x="1023" y="714"/>
                </a:cubicBezTo>
                <a:cubicBezTo>
                  <a:pt x="1023" y="715"/>
                  <a:pt x="1024" y="716"/>
                  <a:pt x="1024" y="717"/>
                </a:cubicBezTo>
                <a:cubicBezTo>
                  <a:pt x="1024" y="718"/>
                  <a:pt x="1025" y="718"/>
                  <a:pt x="1026" y="719"/>
                </a:cubicBezTo>
                <a:cubicBezTo>
                  <a:pt x="1026" y="719"/>
                  <a:pt x="1026" y="719"/>
                  <a:pt x="1026" y="719"/>
                </a:cubicBezTo>
                <a:cubicBezTo>
                  <a:pt x="1027" y="719"/>
                  <a:pt x="1027" y="720"/>
                  <a:pt x="1028" y="720"/>
                </a:cubicBezTo>
                <a:cubicBezTo>
                  <a:pt x="1028" y="720"/>
                  <a:pt x="1029" y="721"/>
                  <a:pt x="1030" y="721"/>
                </a:cubicBezTo>
                <a:cubicBezTo>
                  <a:pt x="1030" y="722"/>
                  <a:pt x="1031" y="722"/>
                  <a:pt x="1032" y="722"/>
                </a:cubicBezTo>
                <a:cubicBezTo>
                  <a:pt x="1032" y="722"/>
                  <a:pt x="1033" y="721"/>
                  <a:pt x="1033" y="721"/>
                </a:cubicBezTo>
                <a:cubicBezTo>
                  <a:pt x="1033" y="721"/>
                  <a:pt x="1034" y="720"/>
                  <a:pt x="1035" y="720"/>
                </a:cubicBezTo>
                <a:cubicBezTo>
                  <a:pt x="1035" y="720"/>
                  <a:pt x="1036" y="720"/>
                  <a:pt x="1036" y="720"/>
                </a:cubicBezTo>
                <a:cubicBezTo>
                  <a:pt x="1037" y="720"/>
                  <a:pt x="1037" y="719"/>
                  <a:pt x="1038" y="719"/>
                </a:cubicBezTo>
                <a:cubicBezTo>
                  <a:pt x="1038" y="718"/>
                  <a:pt x="1038" y="718"/>
                  <a:pt x="1038" y="717"/>
                </a:cubicBezTo>
                <a:cubicBezTo>
                  <a:pt x="1038" y="717"/>
                  <a:pt x="1039" y="717"/>
                  <a:pt x="1039" y="716"/>
                </a:cubicBezTo>
                <a:cubicBezTo>
                  <a:pt x="1039" y="716"/>
                  <a:pt x="1039" y="715"/>
                  <a:pt x="1039" y="715"/>
                </a:cubicBezTo>
                <a:cubicBezTo>
                  <a:pt x="1040" y="715"/>
                  <a:pt x="1040" y="713"/>
                  <a:pt x="1040" y="713"/>
                </a:cubicBezTo>
                <a:cubicBezTo>
                  <a:pt x="1040" y="712"/>
                  <a:pt x="1040" y="713"/>
                  <a:pt x="1040" y="712"/>
                </a:cubicBezTo>
                <a:cubicBezTo>
                  <a:pt x="1041" y="712"/>
                  <a:pt x="1041" y="709"/>
                  <a:pt x="1041" y="709"/>
                </a:cubicBezTo>
                <a:cubicBezTo>
                  <a:pt x="1041" y="709"/>
                  <a:pt x="1041" y="708"/>
                  <a:pt x="1041" y="708"/>
                </a:cubicBezTo>
                <a:cubicBezTo>
                  <a:pt x="1041" y="707"/>
                  <a:pt x="1042" y="707"/>
                  <a:pt x="1042" y="707"/>
                </a:cubicBezTo>
                <a:cubicBezTo>
                  <a:pt x="1042" y="707"/>
                  <a:pt x="1042" y="706"/>
                  <a:pt x="1042" y="706"/>
                </a:cubicBezTo>
                <a:cubicBezTo>
                  <a:pt x="1042" y="706"/>
                  <a:pt x="1043" y="706"/>
                  <a:pt x="1043" y="706"/>
                </a:cubicBezTo>
                <a:cubicBezTo>
                  <a:pt x="1043" y="705"/>
                  <a:pt x="1043" y="704"/>
                  <a:pt x="1043" y="703"/>
                </a:cubicBezTo>
                <a:cubicBezTo>
                  <a:pt x="1043" y="703"/>
                  <a:pt x="1043" y="702"/>
                  <a:pt x="1043" y="702"/>
                </a:cubicBezTo>
                <a:cubicBezTo>
                  <a:pt x="1043" y="702"/>
                  <a:pt x="1044" y="702"/>
                  <a:pt x="1044" y="702"/>
                </a:cubicBezTo>
                <a:cubicBezTo>
                  <a:pt x="1044" y="701"/>
                  <a:pt x="1044" y="701"/>
                  <a:pt x="1044" y="701"/>
                </a:cubicBezTo>
                <a:cubicBezTo>
                  <a:pt x="1044" y="701"/>
                  <a:pt x="1044" y="700"/>
                  <a:pt x="1044" y="700"/>
                </a:cubicBezTo>
                <a:cubicBezTo>
                  <a:pt x="1044" y="700"/>
                  <a:pt x="1044" y="699"/>
                  <a:pt x="1044" y="698"/>
                </a:cubicBezTo>
                <a:cubicBezTo>
                  <a:pt x="1044" y="698"/>
                  <a:pt x="1045" y="698"/>
                  <a:pt x="1045" y="698"/>
                </a:cubicBezTo>
                <a:cubicBezTo>
                  <a:pt x="1045" y="698"/>
                  <a:pt x="1045" y="697"/>
                  <a:pt x="1045" y="697"/>
                </a:cubicBezTo>
                <a:cubicBezTo>
                  <a:pt x="1045" y="697"/>
                  <a:pt x="1046" y="697"/>
                  <a:pt x="1046" y="696"/>
                </a:cubicBezTo>
                <a:cubicBezTo>
                  <a:pt x="1046" y="696"/>
                  <a:pt x="1046" y="695"/>
                  <a:pt x="1046" y="695"/>
                </a:cubicBezTo>
                <a:cubicBezTo>
                  <a:pt x="1046" y="694"/>
                  <a:pt x="1046" y="695"/>
                  <a:pt x="1046" y="695"/>
                </a:cubicBezTo>
                <a:cubicBezTo>
                  <a:pt x="1046" y="694"/>
                  <a:pt x="1046" y="694"/>
                  <a:pt x="1046" y="694"/>
                </a:cubicBezTo>
                <a:cubicBezTo>
                  <a:pt x="1046" y="693"/>
                  <a:pt x="1046" y="694"/>
                  <a:pt x="1046" y="694"/>
                </a:cubicBezTo>
                <a:cubicBezTo>
                  <a:pt x="1046" y="693"/>
                  <a:pt x="1046" y="691"/>
                  <a:pt x="1047" y="692"/>
                </a:cubicBezTo>
                <a:cubicBezTo>
                  <a:pt x="1047" y="691"/>
                  <a:pt x="1046" y="690"/>
                  <a:pt x="1046" y="689"/>
                </a:cubicBezTo>
                <a:cubicBezTo>
                  <a:pt x="1047" y="689"/>
                  <a:pt x="1048" y="687"/>
                  <a:pt x="1048" y="686"/>
                </a:cubicBezTo>
                <a:cubicBezTo>
                  <a:pt x="1048" y="686"/>
                  <a:pt x="1048" y="685"/>
                  <a:pt x="1048" y="685"/>
                </a:cubicBezTo>
                <a:cubicBezTo>
                  <a:pt x="1049" y="685"/>
                  <a:pt x="1048" y="684"/>
                  <a:pt x="1049" y="684"/>
                </a:cubicBezTo>
                <a:cubicBezTo>
                  <a:pt x="1049" y="684"/>
                  <a:pt x="1050" y="681"/>
                  <a:pt x="1050" y="680"/>
                </a:cubicBezTo>
                <a:cubicBezTo>
                  <a:pt x="1050" y="680"/>
                  <a:pt x="1051" y="680"/>
                  <a:pt x="1051" y="679"/>
                </a:cubicBezTo>
                <a:cubicBezTo>
                  <a:pt x="1051" y="679"/>
                  <a:pt x="1050" y="678"/>
                  <a:pt x="1051" y="678"/>
                </a:cubicBezTo>
                <a:cubicBezTo>
                  <a:pt x="1051" y="678"/>
                  <a:pt x="1051" y="678"/>
                  <a:pt x="1051" y="678"/>
                </a:cubicBezTo>
                <a:cubicBezTo>
                  <a:pt x="1051" y="677"/>
                  <a:pt x="1051" y="676"/>
                  <a:pt x="1051" y="676"/>
                </a:cubicBezTo>
                <a:cubicBezTo>
                  <a:pt x="1051" y="675"/>
                  <a:pt x="1052" y="674"/>
                  <a:pt x="1052" y="673"/>
                </a:cubicBezTo>
                <a:cubicBezTo>
                  <a:pt x="1052" y="673"/>
                  <a:pt x="1052" y="673"/>
                  <a:pt x="1052" y="673"/>
                </a:cubicBezTo>
                <a:cubicBezTo>
                  <a:pt x="1052" y="673"/>
                  <a:pt x="1052" y="672"/>
                  <a:pt x="1053" y="672"/>
                </a:cubicBezTo>
                <a:cubicBezTo>
                  <a:pt x="1053" y="671"/>
                  <a:pt x="1053" y="670"/>
                  <a:pt x="1052" y="669"/>
                </a:cubicBezTo>
                <a:cubicBezTo>
                  <a:pt x="1052" y="669"/>
                  <a:pt x="1052" y="669"/>
                  <a:pt x="1052" y="668"/>
                </a:cubicBezTo>
                <a:cubicBezTo>
                  <a:pt x="1052" y="668"/>
                  <a:pt x="1052" y="667"/>
                  <a:pt x="1052" y="667"/>
                </a:cubicBezTo>
                <a:cubicBezTo>
                  <a:pt x="1051" y="667"/>
                  <a:pt x="1051" y="666"/>
                  <a:pt x="1051" y="665"/>
                </a:cubicBezTo>
                <a:cubicBezTo>
                  <a:pt x="1051" y="665"/>
                  <a:pt x="1051" y="665"/>
                  <a:pt x="1052" y="665"/>
                </a:cubicBezTo>
                <a:cubicBezTo>
                  <a:pt x="1052" y="665"/>
                  <a:pt x="1052" y="665"/>
                  <a:pt x="1052" y="665"/>
                </a:cubicBezTo>
                <a:cubicBezTo>
                  <a:pt x="1053" y="665"/>
                  <a:pt x="1053" y="665"/>
                  <a:pt x="1053" y="666"/>
                </a:cubicBezTo>
                <a:cubicBezTo>
                  <a:pt x="1053" y="666"/>
                  <a:pt x="1054" y="668"/>
                  <a:pt x="1054" y="667"/>
                </a:cubicBezTo>
                <a:cubicBezTo>
                  <a:pt x="1055" y="666"/>
                  <a:pt x="1057" y="660"/>
                  <a:pt x="1055" y="660"/>
                </a:cubicBezTo>
                <a:close/>
                <a:moveTo>
                  <a:pt x="1437" y="644"/>
                </a:moveTo>
                <a:cubicBezTo>
                  <a:pt x="1436" y="644"/>
                  <a:pt x="1436" y="644"/>
                  <a:pt x="1436" y="646"/>
                </a:cubicBezTo>
                <a:cubicBezTo>
                  <a:pt x="1437" y="646"/>
                  <a:pt x="1437" y="646"/>
                  <a:pt x="1437" y="644"/>
                </a:cubicBezTo>
                <a:cubicBezTo>
                  <a:pt x="1437" y="644"/>
                  <a:pt x="1437" y="644"/>
                  <a:pt x="1437" y="644"/>
                </a:cubicBezTo>
                <a:close/>
                <a:moveTo>
                  <a:pt x="1433" y="646"/>
                </a:moveTo>
                <a:cubicBezTo>
                  <a:pt x="1433" y="646"/>
                  <a:pt x="1433" y="646"/>
                  <a:pt x="1434" y="646"/>
                </a:cubicBezTo>
                <a:cubicBezTo>
                  <a:pt x="1434" y="646"/>
                  <a:pt x="1434" y="644"/>
                  <a:pt x="1434" y="644"/>
                </a:cubicBezTo>
                <a:cubicBezTo>
                  <a:pt x="1433" y="644"/>
                  <a:pt x="1433" y="645"/>
                  <a:pt x="1433" y="646"/>
                </a:cubicBezTo>
                <a:cubicBezTo>
                  <a:pt x="1433" y="646"/>
                  <a:pt x="1433" y="646"/>
                  <a:pt x="1433" y="646"/>
                </a:cubicBezTo>
                <a:close/>
                <a:moveTo>
                  <a:pt x="1437" y="645"/>
                </a:moveTo>
                <a:cubicBezTo>
                  <a:pt x="1438" y="645"/>
                  <a:pt x="1439" y="645"/>
                  <a:pt x="1439" y="644"/>
                </a:cubicBezTo>
                <a:cubicBezTo>
                  <a:pt x="1439" y="644"/>
                  <a:pt x="1438" y="644"/>
                  <a:pt x="1438" y="644"/>
                </a:cubicBezTo>
                <a:cubicBezTo>
                  <a:pt x="1437" y="643"/>
                  <a:pt x="1437" y="644"/>
                  <a:pt x="1437" y="645"/>
                </a:cubicBezTo>
                <a:close/>
                <a:moveTo>
                  <a:pt x="1468" y="757"/>
                </a:moveTo>
                <a:cubicBezTo>
                  <a:pt x="1468" y="757"/>
                  <a:pt x="1466" y="754"/>
                  <a:pt x="1466" y="753"/>
                </a:cubicBezTo>
                <a:cubicBezTo>
                  <a:pt x="1468" y="753"/>
                  <a:pt x="1468" y="755"/>
                  <a:pt x="1468" y="757"/>
                </a:cubicBezTo>
                <a:close/>
                <a:moveTo>
                  <a:pt x="1461" y="760"/>
                </a:moveTo>
                <a:cubicBezTo>
                  <a:pt x="1461" y="760"/>
                  <a:pt x="1461" y="760"/>
                  <a:pt x="1461" y="760"/>
                </a:cubicBezTo>
                <a:cubicBezTo>
                  <a:pt x="1460" y="760"/>
                  <a:pt x="1460" y="760"/>
                  <a:pt x="1460" y="760"/>
                </a:cubicBezTo>
                <a:cubicBezTo>
                  <a:pt x="1459" y="760"/>
                  <a:pt x="1459" y="759"/>
                  <a:pt x="1459" y="758"/>
                </a:cubicBezTo>
                <a:cubicBezTo>
                  <a:pt x="1459" y="757"/>
                  <a:pt x="1458" y="756"/>
                  <a:pt x="1458" y="756"/>
                </a:cubicBezTo>
                <a:cubicBezTo>
                  <a:pt x="1460" y="756"/>
                  <a:pt x="1461" y="758"/>
                  <a:pt x="1461" y="760"/>
                </a:cubicBezTo>
                <a:close/>
                <a:moveTo>
                  <a:pt x="1457" y="757"/>
                </a:moveTo>
                <a:cubicBezTo>
                  <a:pt x="1456" y="757"/>
                  <a:pt x="1456" y="757"/>
                  <a:pt x="1457" y="756"/>
                </a:cubicBezTo>
                <a:cubicBezTo>
                  <a:pt x="1457" y="757"/>
                  <a:pt x="1457" y="757"/>
                  <a:pt x="1457" y="757"/>
                </a:cubicBezTo>
                <a:close/>
                <a:moveTo>
                  <a:pt x="1542" y="738"/>
                </a:moveTo>
                <a:cubicBezTo>
                  <a:pt x="1541" y="738"/>
                  <a:pt x="1540" y="737"/>
                  <a:pt x="1540" y="737"/>
                </a:cubicBezTo>
                <a:cubicBezTo>
                  <a:pt x="1540" y="737"/>
                  <a:pt x="1540" y="737"/>
                  <a:pt x="1540" y="736"/>
                </a:cubicBezTo>
                <a:cubicBezTo>
                  <a:pt x="1540" y="736"/>
                  <a:pt x="1540" y="736"/>
                  <a:pt x="1540" y="736"/>
                </a:cubicBezTo>
                <a:cubicBezTo>
                  <a:pt x="1540" y="736"/>
                  <a:pt x="1540" y="736"/>
                  <a:pt x="1540" y="736"/>
                </a:cubicBezTo>
                <a:cubicBezTo>
                  <a:pt x="1539" y="736"/>
                  <a:pt x="1539" y="733"/>
                  <a:pt x="1539" y="733"/>
                </a:cubicBezTo>
                <a:cubicBezTo>
                  <a:pt x="1540" y="733"/>
                  <a:pt x="1539" y="733"/>
                  <a:pt x="1539" y="732"/>
                </a:cubicBezTo>
                <a:cubicBezTo>
                  <a:pt x="1539" y="731"/>
                  <a:pt x="1539" y="731"/>
                  <a:pt x="1539" y="731"/>
                </a:cubicBezTo>
                <a:cubicBezTo>
                  <a:pt x="1539" y="731"/>
                  <a:pt x="1539" y="730"/>
                  <a:pt x="1539" y="730"/>
                </a:cubicBezTo>
                <a:cubicBezTo>
                  <a:pt x="1539" y="729"/>
                  <a:pt x="1539" y="729"/>
                  <a:pt x="1539" y="729"/>
                </a:cubicBezTo>
                <a:cubicBezTo>
                  <a:pt x="1539" y="729"/>
                  <a:pt x="1539" y="728"/>
                  <a:pt x="1539" y="728"/>
                </a:cubicBezTo>
                <a:cubicBezTo>
                  <a:pt x="1539" y="727"/>
                  <a:pt x="1539" y="728"/>
                  <a:pt x="1540" y="727"/>
                </a:cubicBezTo>
                <a:cubicBezTo>
                  <a:pt x="1540" y="727"/>
                  <a:pt x="1539" y="727"/>
                  <a:pt x="1539" y="726"/>
                </a:cubicBezTo>
                <a:cubicBezTo>
                  <a:pt x="1539" y="726"/>
                  <a:pt x="1540" y="725"/>
                  <a:pt x="1539" y="724"/>
                </a:cubicBezTo>
                <a:cubicBezTo>
                  <a:pt x="1539" y="724"/>
                  <a:pt x="1539" y="724"/>
                  <a:pt x="1539" y="723"/>
                </a:cubicBezTo>
                <a:cubicBezTo>
                  <a:pt x="1539" y="722"/>
                  <a:pt x="1539" y="722"/>
                  <a:pt x="1538" y="722"/>
                </a:cubicBezTo>
                <a:cubicBezTo>
                  <a:pt x="1537" y="722"/>
                  <a:pt x="1538" y="722"/>
                  <a:pt x="1538" y="721"/>
                </a:cubicBezTo>
                <a:cubicBezTo>
                  <a:pt x="1538" y="721"/>
                  <a:pt x="1537" y="721"/>
                  <a:pt x="1537" y="721"/>
                </a:cubicBezTo>
                <a:cubicBezTo>
                  <a:pt x="1537" y="721"/>
                  <a:pt x="1537" y="720"/>
                  <a:pt x="1536" y="720"/>
                </a:cubicBezTo>
                <a:cubicBezTo>
                  <a:pt x="1536" y="720"/>
                  <a:pt x="1536" y="719"/>
                  <a:pt x="1536" y="719"/>
                </a:cubicBezTo>
                <a:cubicBezTo>
                  <a:pt x="1535" y="719"/>
                  <a:pt x="1535" y="719"/>
                  <a:pt x="1535" y="719"/>
                </a:cubicBezTo>
                <a:cubicBezTo>
                  <a:pt x="1535" y="717"/>
                  <a:pt x="1535" y="717"/>
                  <a:pt x="1534" y="716"/>
                </a:cubicBezTo>
                <a:cubicBezTo>
                  <a:pt x="1533" y="716"/>
                  <a:pt x="1531" y="714"/>
                  <a:pt x="1531" y="714"/>
                </a:cubicBezTo>
                <a:cubicBezTo>
                  <a:pt x="1531" y="714"/>
                  <a:pt x="1531" y="714"/>
                  <a:pt x="1531" y="714"/>
                </a:cubicBezTo>
                <a:cubicBezTo>
                  <a:pt x="1531" y="714"/>
                  <a:pt x="1531" y="713"/>
                  <a:pt x="1530" y="713"/>
                </a:cubicBezTo>
                <a:cubicBezTo>
                  <a:pt x="1529" y="712"/>
                  <a:pt x="1530" y="711"/>
                  <a:pt x="1530" y="710"/>
                </a:cubicBezTo>
                <a:cubicBezTo>
                  <a:pt x="1530" y="709"/>
                  <a:pt x="1530" y="709"/>
                  <a:pt x="1530" y="708"/>
                </a:cubicBezTo>
                <a:cubicBezTo>
                  <a:pt x="1530" y="708"/>
                  <a:pt x="1529" y="708"/>
                  <a:pt x="1529" y="708"/>
                </a:cubicBezTo>
                <a:cubicBezTo>
                  <a:pt x="1529" y="708"/>
                  <a:pt x="1529" y="707"/>
                  <a:pt x="1529" y="707"/>
                </a:cubicBezTo>
                <a:cubicBezTo>
                  <a:pt x="1528" y="707"/>
                  <a:pt x="1527" y="706"/>
                  <a:pt x="1527" y="705"/>
                </a:cubicBezTo>
                <a:cubicBezTo>
                  <a:pt x="1527" y="705"/>
                  <a:pt x="1526" y="705"/>
                  <a:pt x="1526" y="706"/>
                </a:cubicBezTo>
                <a:cubicBezTo>
                  <a:pt x="1525" y="705"/>
                  <a:pt x="1523" y="704"/>
                  <a:pt x="1524" y="702"/>
                </a:cubicBezTo>
                <a:cubicBezTo>
                  <a:pt x="1524" y="702"/>
                  <a:pt x="1524" y="702"/>
                  <a:pt x="1524" y="702"/>
                </a:cubicBezTo>
                <a:cubicBezTo>
                  <a:pt x="1524" y="702"/>
                  <a:pt x="1524" y="701"/>
                  <a:pt x="1524" y="700"/>
                </a:cubicBezTo>
                <a:cubicBezTo>
                  <a:pt x="1524" y="700"/>
                  <a:pt x="1524" y="700"/>
                  <a:pt x="1524" y="699"/>
                </a:cubicBezTo>
                <a:cubicBezTo>
                  <a:pt x="1524" y="698"/>
                  <a:pt x="1523" y="699"/>
                  <a:pt x="1523" y="698"/>
                </a:cubicBezTo>
                <a:cubicBezTo>
                  <a:pt x="1523" y="698"/>
                  <a:pt x="1523" y="698"/>
                  <a:pt x="1523" y="697"/>
                </a:cubicBezTo>
                <a:cubicBezTo>
                  <a:pt x="1522" y="696"/>
                  <a:pt x="1522" y="697"/>
                  <a:pt x="1521" y="697"/>
                </a:cubicBezTo>
                <a:cubicBezTo>
                  <a:pt x="1521" y="697"/>
                  <a:pt x="1522" y="696"/>
                  <a:pt x="1520" y="696"/>
                </a:cubicBezTo>
                <a:cubicBezTo>
                  <a:pt x="1520" y="696"/>
                  <a:pt x="1520" y="695"/>
                  <a:pt x="1520" y="695"/>
                </a:cubicBezTo>
                <a:cubicBezTo>
                  <a:pt x="1521" y="694"/>
                  <a:pt x="1521" y="694"/>
                  <a:pt x="1521" y="693"/>
                </a:cubicBezTo>
                <a:cubicBezTo>
                  <a:pt x="1521" y="692"/>
                  <a:pt x="1520" y="692"/>
                  <a:pt x="1519" y="692"/>
                </a:cubicBezTo>
                <a:cubicBezTo>
                  <a:pt x="1518" y="690"/>
                  <a:pt x="1519" y="689"/>
                  <a:pt x="1517" y="689"/>
                </a:cubicBezTo>
                <a:cubicBezTo>
                  <a:pt x="1517" y="689"/>
                  <a:pt x="1515" y="688"/>
                  <a:pt x="1516" y="689"/>
                </a:cubicBezTo>
                <a:cubicBezTo>
                  <a:pt x="1515" y="689"/>
                  <a:pt x="1514" y="689"/>
                  <a:pt x="1514" y="689"/>
                </a:cubicBezTo>
                <a:cubicBezTo>
                  <a:pt x="1514" y="688"/>
                  <a:pt x="1514" y="688"/>
                  <a:pt x="1514" y="687"/>
                </a:cubicBezTo>
                <a:cubicBezTo>
                  <a:pt x="1513" y="687"/>
                  <a:pt x="1512" y="687"/>
                  <a:pt x="1511" y="687"/>
                </a:cubicBezTo>
                <a:cubicBezTo>
                  <a:pt x="1510" y="687"/>
                  <a:pt x="1510" y="686"/>
                  <a:pt x="1510" y="686"/>
                </a:cubicBezTo>
                <a:cubicBezTo>
                  <a:pt x="1509" y="686"/>
                  <a:pt x="1509" y="685"/>
                  <a:pt x="1509" y="684"/>
                </a:cubicBezTo>
                <a:cubicBezTo>
                  <a:pt x="1509" y="683"/>
                  <a:pt x="1509" y="684"/>
                  <a:pt x="1509" y="683"/>
                </a:cubicBezTo>
                <a:cubicBezTo>
                  <a:pt x="1509" y="683"/>
                  <a:pt x="1509" y="682"/>
                  <a:pt x="1509" y="682"/>
                </a:cubicBezTo>
                <a:cubicBezTo>
                  <a:pt x="1509" y="682"/>
                  <a:pt x="1508" y="681"/>
                  <a:pt x="1508" y="681"/>
                </a:cubicBezTo>
                <a:cubicBezTo>
                  <a:pt x="1508" y="680"/>
                  <a:pt x="1508" y="679"/>
                  <a:pt x="1508" y="678"/>
                </a:cubicBezTo>
                <a:cubicBezTo>
                  <a:pt x="1508" y="678"/>
                  <a:pt x="1508" y="677"/>
                  <a:pt x="1508" y="677"/>
                </a:cubicBezTo>
                <a:cubicBezTo>
                  <a:pt x="1508" y="676"/>
                  <a:pt x="1508" y="677"/>
                  <a:pt x="1508" y="676"/>
                </a:cubicBezTo>
                <a:cubicBezTo>
                  <a:pt x="1508" y="676"/>
                  <a:pt x="1508" y="675"/>
                  <a:pt x="1508" y="675"/>
                </a:cubicBezTo>
                <a:cubicBezTo>
                  <a:pt x="1508" y="675"/>
                  <a:pt x="1507" y="675"/>
                  <a:pt x="1507" y="675"/>
                </a:cubicBezTo>
                <a:cubicBezTo>
                  <a:pt x="1507" y="674"/>
                  <a:pt x="1507" y="674"/>
                  <a:pt x="1507" y="673"/>
                </a:cubicBezTo>
                <a:cubicBezTo>
                  <a:pt x="1507" y="673"/>
                  <a:pt x="1507" y="673"/>
                  <a:pt x="1507" y="673"/>
                </a:cubicBezTo>
                <a:cubicBezTo>
                  <a:pt x="1506" y="672"/>
                  <a:pt x="1506" y="672"/>
                  <a:pt x="1506" y="671"/>
                </a:cubicBezTo>
                <a:cubicBezTo>
                  <a:pt x="1505" y="671"/>
                  <a:pt x="1505" y="671"/>
                  <a:pt x="1505" y="670"/>
                </a:cubicBezTo>
                <a:cubicBezTo>
                  <a:pt x="1505" y="670"/>
                  <a:pt x="1505" y="670"/>
                  <a:pt x="1504" y="670"/>
                </a:cubicBezTo>
                <a:cubicBezTo>
                  <a:pt x="1504" y="669"/>
                  <a:pt x="1505" y="669"/>
                  <a:pt x="1505" y="669"/>
                </a:cubicBezTo>
                <a:cubicBezTo>
                  <a:pt x="1505" y="668"/>
                  <a:pt x="1504" y="669"/>
                  <a:pt x="1504" y="668"/>
                </a:cubicBezTo>
                <a:cubicBezTo>
                  <a:pt x="1504" y="668"/>
                  <a:pt x="1504" y="667"/>
                  <a:pt x="1504" y="667"/>
                </a:cubicBezTo>
                <a:cubicBezTo>
                  <a:pt x="1504" y="666"/>
                  <a:pt x="1505" y="667"/>
                  <a:pt x="1505" y="667"/>
                </a:cubicBezTo>
                <a:cubicBezTo>
                  <a:pt x="1505" y="666"/>
                  <a:pt x="1505" y="666"/>
                  <a:pt x="1505" y="666"/>
                </a:cubicBezTo>
                <a:cubicBezTo>
                  <a:pt x="1505" y="665"/>
                  <a:pt x="1504" y="665"/>
                  <a:pt x="1504" y="665"/>
                </a:cubicBezTo>
                <a:cubicBezTo>
                  <a:pt x="1504" y="665"/>
                  <a:pt x="1504" y="664"/>
                  <a:pt x="1505" y="664"/>
                </a:cubicBezTo>
                <a:cubicBezTo>
                  <a:pt x="1505" y="663"/>
                  <a:pt x="1504" y="663"/>
                  <a:pt x="1504" y="662"/>
                </a:cubicBezTo>
                <a:cubicBezTo>
                  <a:pt x="1503" y="662"/>
                  <a:pt x="1503" y="662"/>
                  <a:pt x="1503" y="662"/>
                </a:cubicBezTo>
                <a:cubicBezTo>
                  <a:pt x="1502" y="661"/>
                  <a:pt x="1503" y="661"/>
                  <a:pt x="1502" y="661"/>
                </a:cubicBezTo>
                <a:cubicBezTo>
                  <a:pt x="1502" y="660"/>
                  <a:pt x="1502" y="662"/>
                  <a:pt x="1501" y="660"/>
                </a:cubicBezTo>
                <a:cubicBezTo>
                  <a:pt x="1501" y="659"/>
                  <a:pt x="1501" y="659"/>
                  <a:pt x="1500" y="659"/>
                </a:cubicBezTo>
                <a:cubicBezTo>
                  <a:pt x="1500" y="660"/>
                  <a:pt x="1498" y="660"/>
                  <a:pt x="1498" y="661"/>
                </a:cubicBezTo>
                <a:cubicBezTo>
                  <a:pt x="1496" y="660"/>
                  <a:pt x="1496" y="660"/>
                  <a:pt x="1496" y="658"/>
                </a:cubicBezTo>
                <a:cubicBezTo>
                  <a:pt x="1496" y="658"/>
                  <a:pt x="1496" y="657"/>
                  <a:pt x="1496" y="657"/>
                </a:cubicBezTo>
                <a:cubicBezTo>
                  <a:pt x="1496" y="657"/>
                  <a:pt x="1497" y="656"/>
                  <a:pt x="1497" y="656"/>
                </a:cubicBezTo>
                <a:cubicBezTo>
                  <a:pt x="1497" y="655"/>
                  <a:pt x="1497" y="654"/>
                  <a:pt x="1497" y="653"/>
                </a:cubicBezTo>
                <a:cubicBezTo>
                  <a:pt x="1497" y="653"/>
                  <a:pt x="1497" y="653"/>
                  <a:pt x="1497" y="652"/>
                </a:cubicBezTo>
                <a:cubicBezTo>
                  <a:pt x="1496" y="652"/>
                  <a:pt x="1496" y="652"/>
                  <a:pt x="1496" y="652"/>
                </a:cubicBezTo>
                <a:cubicBezTo>
                  <a:pt x="1496" y="652"/>
                  <a:pt x="1496" y="651"/>
                  <a:pt x="1496" y="651"/>
                </a:cubicBezTo>
                <a:cubicBezTo>
                  <a:pt x="1495" y="650"/>
                  <a:pt x="1495" y="650"/>
                  <a:pt x="1495" y="650"/>
                </a:cubicBezTo>
                <a:cubicBezTo>
                  <a:pt x="1495" y="649"/>
                  <a:pt x="1494" y="649"/>
                  <a:pt x="1494" y="649"/>
                </a:cubicBezTo>
                <a:cubicBezTo>
                  <a:pt x="1494" y="649"/>
                  <a:pt x="1494" y="648"/>
                  <a:pt x="1494" y="648"/>
                </a:cubicBezTo>
                <a:cubicBezTo>
                  <a:pt x="1494" y="647"/>
                  <a:pt x="1493" y="647"/>
                  <a:pt x="1493" y="646"/>
                </a:cubicBezTo>
                <a:cubicBezTo>
                  <a:pt x="1493" y="645"/>
                  <a:pt x="1493" y="645"/>
                  <a:pt x="1491" y="644"/>
                </a:cubicBezTo>
                <a:cubicBezTo>
                  <a:pt x="1491" y="643"/>
                  <a:pt x="1491" y="642"/>
                  <a:pt x="1491" y="642"/>
                </a:cubicBezTo>
                <a:cubicBezTo>
                  <a:pt x="1490" y="641"/>
                  <a:pt x="1490" y="641"/>
                  <a:pt x="1489" y="641"/>
                </a:cubicBezTo>
                <a:cubicBezTo>
                  <a:pt x="1488" y="641"/>
                  <a:pt x="1489" y="642"/>
                  <a:pt x="1488" y="643"/>
                </a:cubicBezTo>
                <a:cubicBezTo>
                  <a:pt x="1488" y="644"/>
                  <a:pt x="1488" y="645"/>
                  <a:pt x="1488" y="647"/>
                </a:cubicBezTo>
                <a:cubicBezTo>
                  <a:pt x="1487" y="647"/>
                  <a:pt x="1487" y="647"/>
                  <a:pt x="1487" y="648"/>
                </a:cubicBezTo>
                <a:cubicBezTo>
                  <a:pt x="1487" y="649"/>
                  <a:pt x="1487" y="649"/>
                  <a:pt x="1487" y="649"/>
                </a:cubicBezTo>
                <a:cubicBezTo>
                  <a:pt x="1487" y="649"/>
                  <a:pt x="1487" y="649"/>
                  <a:pt x="1488" y="649"/>
                </a:cubicBezTo>
                <a:cubicBezTo>
                  <a:pt x="1487" y="650"/>
                  <a:pt x="1487" y="652"/>
                  <a:pt x="1487" y="653"/>
                </a:cubicBezTo>
                <a:cubicBezTo>
                  <a:pt x="1488" y="653"/>
                  <a:pt x="1488" y="654"/>
                  <a:pt x="1487" y="655"/>
                </a:cubicBezTo>
                <a:cubicBezTo>
                  <a:pt x="1487" y="655"/>
                  <a:pt x="1487" y="656"/>
                  <a:pt x="1486" y="656"/>
                </a:cubicBezTo>
                <a:cubicBezTo>
                  <a:pt x="1486" y="657"/>
                  <a:pt x="1487" y="663"/>
                  <a:pt x="1487" y="663"/>
                </a:cubicBezTo>
                <a:cubicBezTo>
                  <a:pt x="1487" y="663"/>
                  <a:pt x="1487" y="664"/>
                  <a:pt x="1487" y="664"/>
                </a:cubicBezTo>
                <a:cubicBezTo>
                  <a:pt x="1487" y="664"/>
                  <a:pt x="1488" y="665"/>
                  <a:pt x="1487" y="665"/>
                </a:cubicBezTo>
                <a:cubicBezTo>
                  <a:pt x="1487" y="665"/>
                  <a:pt x="1487" y="665"/>
                  <a:pt x="1487" y="665"/>
                </a:cubicBezTo>
                <a:cubicBezTo>
                  <a:pt x="1486" y="666"/>
                  <a:pt x="1486" y="666"/>
                  <a:pt x="1486" y="666"/>
                </a:cubicBezTo>
                <a:cubicBezTo>
                  <a:pt x="1486" y="667"/>
                  <a:pt x="1486" y="668"/>
                  <a:pt x="1486" y="668"/>
                </a:cubicBezTo>
                <a:cubicBezTo>
                  <a:pt x="1486" y="669"/>
                  <a:pt x="1486" y="669"/>
                  <a:pt x="1486" y="669"/>
                </a:cubicBezTo>
                <a:cubicBezTo>
                  <a:pt x="1486" y="670"/>
                  <a:pt x="1486" y="669"/>
                  <a:pt x="1486" y="670"/>
                </a:cubicBezTo>
                <a:cubicBezTo>
                  <a:pt x="1486" y="670"/>
                  <a:pt x="1485" y="670"/>
                  <a:pt x="1485" y="671"/>
                </a:cubicBezTo>
                <a:cubicBezTo>
                  <a:pt x="1485" y="671"/>
                  <a:pt x="1484" y="671"/>
                  <a:pt x="1485" y="672"/>
                </a:cubicBezTo>
                <a:cubicBezTo>
                  <a:pt x="1485" y="673"/>
                  <a:pt x="1485" y="673"/>
                  <a:pt x="1485" y="674"/>
                </a:cubicBezTo>
                <a:cubicBezTo>
                  <a:pt x="1483" y="675"/>
                  <a:pt x="1484" y="678"/>
                  <a:pt x="1483" y="678"/>
                </a:cubicBezTo>
                <a:cubicBezTo>
                  <a:pt x="1482" y="679"/>
                  <a:pt x="1481" y="679"/>
                  <a:pt x="1480" y="679"/>
                </a:cubicBezTo>
                <a:cubicBezTo>
                  <a:pt x="1479" y="679"/>
                  <a:pt x="1479" y="679"/>
                  <a:pt x="1478" y="679"/>
                </a:cubicBezTo>
                <a:cubicBezTo>
                  <a:pt x="1478" y="678"/>
                  <a:pt x="1478" y="678"/>
                  <a:pt x="1478" y="677"/>
                </a:cubicBezTo>
                <a:cubicBezTo>
                  <a:pt x="1477" y="677"/>
                  <a:pt x="1477" y="677"/>
                  <a:pt x="1477" y="676"/>
                </a:cubicBezTo>
                <a:cubicBezTo>
                  <a:pt x="1477" y="675"/>
                  <a:pt x="1476" y="676"/>
                  <a:pt x="1476" y="675"/>
                </a:cubicBezTo>
                <a:cubicBezTo>
                  <a:pt x="1476" y="674"/>
                  <a:pt x="1474" y="674"/>
                  <a:pt x="1474" y="674"/>
                </a:cubicBezTo>
                <a:cubicBezTo>
                  <a:pt x="1473" y="673"/>
                  <a:pt x="1472" y="673"/>
                  <a:pt x="1472" y="672"/>
                </a:cubicBezTo>
                <a:cubicBezTo>
                  <a:pt x="1471" y="672"/>
                  <a:pt x="1470" y="672"/>
                  <a:pt x="1470" y="671"/>
                </a:cubicBezTo>
                <a:cubicBezTo>
                  <a:pt x="1470" y="671"/>
                  <a:pt x="1470" y="670"/>
                  <a:pt x="1470" y="670"/>
                </a:cubicBezTo>
                <a:cubicBezTo>
                  <a:pt x="1468" y="670"/>
                  <a:pt x="1468" y="670"/>
                  <a:pt x="1467" y="668"/>
                </a:cubicBezTo>
                <a:cubicBezTo>
                  <a:pt x="1466" y="668"/>
                  <a:pt x="1465" y="668"/>
                  <a:pt x="1465" y="668"/>
                </a:cubicBezTo>
                <a:cubicBezTo>
                  <a:pt x="1465" y="667"/>
                  <a:pt x="1464" y="668"/>
                  <a:pt x="1464" y="668"/>
                </a:cubicBezTo>
                <a:cubicBezTo>
                  <a:pt x="1463" y="668"/>
                  <a:pt x="1463" y="667"/>
                  <a:pt x="1463" y="667"/>
                </a:cubicBezTo>
                <a:cubicBezTo>
                  <a:pt x="1463" y="666"/>
                  <a:pt x="1462" y="666"/>
                  <a:pt x="1462" y="666"/>
                </a:cubicBezTo>
                <a:cubicBezTo>
                  <a:pt x="1460" y="665"/>
                  <a:pt x="1462" y="666"/>
                  <a:pt x="1461" y="665"/>
                </a:cubicBezTo>
                <a:cubicBezTo>
                  <a:pt x="1461" y="665"/>
                  <a:pt x="1461" y="665"/>
                  <a:pt x="1460" y="665"/>
                </a:cubicBezTo>
                <a:cubicBezTo>
                  <a:pt x="1460" y="665"/>
                  <a:pt x="1460" y="664"/>
                  <a:pt x="1460" y="664"/>
                </a:cubicBezTo>
                <a:cubicBezTo>
                  <a:pt x="1458" y="664"/>
                  <a:pt x="1458" y="662"/>
                  <a:pt x="1459" y="661"/>
                </a:cubicBezTo>
                <a:cubicBezTo>
                  <a:pt x="1459" y="660"/>
                  <a:pt x="1459" y="659"/>
                  <a:pt x="1459" y="659"/>
                </a:cubicBezTo>
                <a:cubicBezTo>
                  <a:pt x="1460" y="659"/>
                  <a:pt x="1460" y="657"/>
                  <a:pt x="1460" y="656"/>
                </a:cubicBezTo>
                <a:cubicBezTo>
                  <a:pt x="1459" y="656"/>
                  <a:pt x="1460" y="655"/>
                  <a:pt x="1460" y="654"/>
                </a:cubicBezTo>
                <a:cubicBezTo>
                  <a:pt x="1461" y="654"/>
                  <a:pt x="1462" y="654"/>
                  <a:pt x="1463" y="655"/>
                </a:cubicBezTo>
                <a:cubicBezTo>
                  <a:pt x="1463" y="654"/>
                  <a:pt x="1463" y="653"/>
                  <a:pt x="1463" y="652"/>
                </a:cubicBezTo>
                <a:cubicBezTo>
                  <a:pt x="1462" y="652"/>
                  <a:pt x="1462" y="651"/>
                  <a:pt x="1463" y="651"/>
                </a:cubicBezTo>
                <a:cubicBezTo>
                  <a:pt x="1464" y="651"/>
                  <a:pt x="1464" y="650"/>
                  <a:pt x="1465" y="650"/>
                </a:cubicBezTo>
                <a:cubicBezTo>
                  <a:pt x="1465" y="650"/>
                  <a:pt x="1465" y="649"/>
                  <a:pt x="1465" y="648"/>
                </a:cubicBezTo>
                <a:cubicBezTo>
                  <a:pt x="1465" y="648"/>
                  <a:pt x="1464" y="649"/>
                  <a:pt x="1464" y="649"/>
                </a:cubicBezTo>
                <a:cubicBezTo>
                  <a:pt x="1464" y="648"/>
                  <a:pt x="1464" y="647"/>
                  <a:pt x="1464" y="647"/>
                </a:cubicBezTo>
                <a:cubicBezTo>
                  <a:pt x="1464" y="647"/>
                  <a:pt x="1464" y="647"/>
                  <a:pt x="1464" y="646"/>
                </a:cubicBezTo>
                <a:cubicBezTo>
                  <a:pt x="1463" y="647"/>
                  <a:pt x="1463" y="647"/>
                  <a:pt x="1462" y="647"/>
                </a:cubicBezTo>
                <a:cubicBezTo>
                  <a:pt x="1461" y="648"/>
                  <a:pt x="1461" y="647"/>
                  <a:pt x="1461" y="649"/>
                </a:cubicBezTo>
                <a:cubicBezTo>
                  <a:pt x="1460" y="648"/>
                  <a:pt x="1458" y="645"/>
                  <a:pt x="1457" y="647"/>
                </a:cubicBezTo>
                <a:cubicBezTo>
                  <a:pt x="1456" y="647"/>
                  <a:pt x="1456" y="647"/>
                  <a:pt x="1455" y="647"/>
                </a:cubicBezTo>
                <a:cubicBezTo>
                  <a:pt x="1455" y="646"/>
                  <a:pt x="1454" y="646"/>
                  <a:pt x="1453" y="647"/>
                </a:cubicBezTo>
                <a:cubicBezTo>
                  <a:pt x="1453" y="647"/>
                  <a:pt x="1453" y="647"/>
                  <a:pt x="1452" y="646"/>
                </a:cubicBezTo>
                <a:cubicBezTo>
                  <a:pt x="1451" y="646"/>
                  <a:pt x="1450" y="646"/>
                  <a:pt x="1449" y="646"/>
                </a:cubicBezTo>
                <a:cubicBezTo>
                  <a:pt x="1449" y="646"/>
                  <a:pt x="1450" y="646"/>
                  <a:pt x="1449" y="646"/>
                </a:cubicBezTo>
                <a:cubicBezTo>
                  <a:pt x="1449" y="645"/>
                  <a:pt x="1449" y="645"/>
                  <a:pt x="1448" y="644"/>
                </a:cubicBezTo>
                <a:cubicBezTo>
                  <a:pt x="1448" y="644"/>
                  <a:pt x="1448" y="644"/>
                  <a:pt x="1448" y="644"/>
                </a:cubicBezTo>
                <a:cubicBezTo>
                  <a:pt x="1448" y="645"/>
                  <a:pt x="1448" y="645"/>
                  <a:pt x="1448" y="645"/>
                </a:cubicBezTo>
                <a:cubicBezTo>
                  <a:pt x="1448" y="645"/>
                  <a:pt x="1447" y="645"/>
                  <a:pt x="1447" y="645"/>
                </a:cubicBezTo>
                <a:cubicBezTo>
                  <a:pt x="1446" y="645"/>
                  <a:pt x="1446" y="646"/>
                  <a:pt x="1445" y="645"/>
                </a:cubicBezTo>
                <a:cubicBezTo>
                  <a:pt x="1445" y="645"/>
                  <a:pt x="1445" y="644"/>
                  <a:pt x="1445" y="644"/>
                </a:cubicBezTo>
                <a:cubicBezTo>
                  <a:pt x="1445" y="644"/>
                  <a:pt x="1445" y="643"/>
                  <a:pt x="1444" y="643"/>
                </a:cubicBezTo>
                <a:cubicBezTo>
                  <a:pt x="1444" y="643"/>
                  <a:pt x="1443" y="644"/>
                  <a:pt x="1443" y="644"/>
                </a:cubicBezTo>
                <a:cubicBezTo>
                  <a:pt x="1443" y="643"/>
                  <a:pt x="1441" y="643"/>
                  <a:pt x="1441" y="643"/>
                </a:cubicBezTo>
                <a:cubicBezTo>
                  <a:pt x="1441" y="644"/>
                  <a:pt x="1442" y="645"/>
                  <a:pt x="1443" y="645"/>
                </a:cubicBezTo>
                <a:cubicBezTo>
                  <a:pt x="1443" y="645"/>
                  <a:pt x="1444" y="645"/>
                  <a:pt x="1444" y="645"/>
                </a:cubicBezTo>
                <a:cubicBezTo>
                  <a:pt x="1445" y="646"/>
                  <a:pt x="1445" y="646"/>
                  <a:pt x="1445" y="646"/>
                </a:cubicBezTo>
                <a:cubicBezTo>
                  <a:pt x="1445" y="647"/>
                  <a:pt x="1446" y="647"/>
                  <a:pt x="1446" y="648"/>
                </a:cubicBezTo>
                <a:cubicBezTo>
                  <a:pt x="1446" y="649"/>
                  <a:pt x="1446" y="648"/>
                  <a:pt x="1445" y="649"/>
                </a:cubicBezTo>
                <a:cubicBezTo>
                  <a:pt x="1445" y="649"/>
                  <a:pt x="1444" y="649"/>
                  <a:pt x="1444" y="650"/>
                </a:cubicBezTo>
                <a:cubicBezTo>
                  <a:pt x="1444" y="650"/>
                  <a:pt x="1444" y="649"/>
                  <a:pt x="1443" y="649"/>
                </a:cubicBezTo>
                <a:cubicBezTo>
                  <a:pt x="1442" y="649"/>
                  <a:pt x="1442" y="649"/>
                  <a:pt x="1441" y="649"/>
                </a:cubicBezTo>
                <a:cubicBezTo>
                  <a:pt x="1441" y="648"/>
                  <a:pt x="1440" y="648"/>
                  <a:pt x="1440" y="648"/>
                </a:cubicBezTo>
                <a:cubicBezTo>
                  <a:pt x="1439" y="648"/>
                  <a:pt x="1439" y="649"/>
                  <a:pt x="1439" y="649"/>
                </a:cubicBezTo>
                <a:cubicBezTo>
                  <a:pt x="1438" y="649"/>
                  <a:pt x="1438" y="648"/>
                  <a:pt x="1438" y="648"/>
                </a:cubicBezTo>
                <a:cubicBezTo>
                  <a:pt x="1438" y="648"/>
                  <a:pt x="1438" y="648"/>
                  <a:pt x="1437" y="648"/>
                </a:cubicBezTo>
                <a:cubicBezTo>
                  <a:pt x="1437" y="649"/>
                  <a:pt x="1437" y="649"/>
                  <a:pt x="1436" y="649"/>
                </a:cubicBezTo>
                <a:cubicBezTo>
                  <a:pt x="1436" y="650"/>
                  <a:pt x="1435" y="649"/>
                  <a:pt x="1434" y="649"/>
                </a:cubicBezTo>
                <a:cubicBezTo>
                  <a:pt x="1434" y="649"/>
                  <a:pt x="1434" y="650"/>
                  <a:pt x="1435" y="650"/>
                </a:cubicBezTo>
                <a:cubicBezTo>
                  <a:pt x="1435" y="650"/>
                  <a:pt x="1434" y="651"/>
                  <a:pt x="1434" y="651"/>
                </a:cubicBezTo>
                <a:cubicBezTo>
                  <a:pt x="1433" y="651"/>
                  <a:pt x="1432" y="651"/>
                  <a:pt x="1433" y="652"/>
                </a:cubicBezTo>
                <a:cubicBezTo>
                  <a:pt x="1433" y="653"/>
                  <a:pt x="1434" y="654"/>
                  <a:pt x="1434" y="655"/>
                </a:cubicBezTo>
                <a:cubicBezTo>
                  <a:pt x="1434" y="655"/>
                  <a:pt x="1433" y="655"/>
                  <a:pt x="1433" y="655"/>
                </a:cubicBezTo>
                <a:cubicBezTo>
                  <a:pt x="1432" y="654"/>
                  <a:pt x="1432" y="655"/>
                  <a:pt x="1432" y="655"/>
                </a:cubicBezTo>
                <a:cubicBezTo>
                  <a:pt x="1431" y="655"/>
                  <a:pt x="1431" y="655"/>
                  <a:pt x="1431" y="656"/>
                </a:cubicBezTo>
                <a:cubicBezTo>
                  <a:pt x="1431" y="657"/>
                  <a:pt x="1431" y="658"/>
                  <a:pt x="1431" y="658"/>
                </a:cubicBezTo>
                <a:cubicBezTo>
                  <a:pt x="1430" y="658"/>
                  <a:pt x="1430" y="658"/>
                  <a:pt x="1429" y="658"/>
                </a:cubicBezTo>
                <a:cubicBezTo>
                  <a:pt x="1429" y="658"/>
                  <a:pt x="1429" y="658"/>
                  <a:pt x="1429" y="658"/>
                </a:cubicBezTo>
                <a:cubicBezTo>
                  <a:pt x="1429" y="660"/>
                  <a:pt x="1429" y="661"/>
                  <a:pt x="1430" y="662"/>
                </a:cubicBezTo>
                <a:cubicBezTo>
                  <a:pt x="1431" y="663"/>
                  <a:pt x="1431" y="662"/>
                  <a:pt x="1431" y="664"/>
                </a:cubicBezTo>
                <a:cubicBezTo>
                  <a:pt x="1430" y="664"/>
                  <a:pt x="1429" y="663"/>
                  <a:pt x="1429" y="663"/>
                </a:cubicBezTo>
                <a:cubicBezTo>
                  <a:pt x="1428" y="664"/>
                  <a:pt x="1428" y="663"/>
                  <a:pt x="1427" y="663"/>
                </a:cubicBezTo>
                <a:cubicBezTo>
                  <a:pt x="1427" y="662"/>
                  <a:pt x="1426" y="663"/>
                  <a:pt x="1426" y="662"/>
                </a:cubicBezTo>
                <a:cubicBezTo>
                  <a:pt x="1425" y="661"/>
                  <a:pt x="1424" y="662"/>
                  <a:pt x="1424" y="663"/>
                </a:cubicBezTo>
                <a:cubicBezTo>
                  <a:pt x="1424" y="665"/>
                  <a:pt x="1424" y="665"/>
                  <a:pt x="1422" y="666"/>
                </a:cubicBezTo>
                <a:cubicBezTo>
                  <a:pt x="1422" y="664"/>
                  <a:pt x="1423" y="662"/>
                  <a:pt x="1423" y="661"/>
                </a:cubicBezTo>
                <a:cubicBezTo>
                  <a:pt x="1422" y="661"/>
                  <a:pt x="1422" y="659"/>
                  <a:pt x="1421" y="659"/>
                </a:cubicBezTo>
                <a:cubicBezTo>
                  <a:pt x="1420" y="659"/>
                  <a:pt x="1420" y="657"/>
                  <a:pt x="1419" y="657"/>
                </a:cubicBezTo>
                <a:cubicBezTo>
                  <a:pt x="1417" y="656"/>
                  <a:pt x="1417" y="656"/>
                  <a:pt x="1416" y="657"/>
                </a:cubicBezTo>
                <a:cubicBezTo>
                  <a:pt x="1415" y="658"/>
                  <a:pt x="1416" y="658"/>
                  <a:pt x="1415" y="658"/>
                </a:cubicBezTo>
                <a:cubicBezTo>
                  <a:pt x="1414" y="658"/>
                  <a:pt x="1415" y="657"/>
                  <a:pt x="1415" y="657"/>
                </a:cubicBezTo>
                <a:cubicBezTo>
                  <a:pt x="1414" y="658"/>
                  <a:pt x="1414" y="659"/>
                  <a:pt x="1414" y="660"/>
                </a:cubicBezTo>
                <a:cubicBezTo>
                  <a:pt x="1413" y="660"/>
                  <a:pt x="1413" y="660"/>
                  <a:pt x="1413" y="659"/>
                </a:cubicBezTo>
                <a:cubicBezTo>
                  <a:pt x="1412" y="659"/>
                  <a:pt x="1411" y="659"/>
                  <a:pt x="1412" y="660"/>
                </a:cubicBezTo>
                <a:cubicBezTo>
                  <a:pt x="1412" y="660"/>
                  <a:pt x="1412" y="661"/>
                  <a:pt x="1412" y="661"/>
                </a:cubicBezTo>
                <a:cubicBezTo>
                  <a:pt x="1411" y="661"/>
                  <a:pt x="1411" y="660"/>
                  <a:pt x="1410" y="662"/>
                </a:cubicBezTo>
                <a:cubicBezTo>
                  <a:pt x="1411" y="662"/>
                  <a:pt x="1412" y="662"/>
                  <a:pt x="1411" y="663"/>
                </a:cubicBezTo>
                <a:cubicBezTo>
                  <a:pt x="1411" y="663"/>
                  <a:pt x="1410" y="663"/>
                  <a:pt x="1410" y="663"/>
                </a:cubicBezTo>
                <a:cubicBezTo>
                  <a:pt x="1410" y="664"/>
                  <a:pt x="1410" y="665"/>
                  <a:pt x="1410" y="665"/>
                </a:cubicBezTo>
                <a:cubicBezTo>
                  <a:pt x="1410" y="665"/>
                  <a:pt x="1409" y="665"/>
                  <a:pt x="1409" y="665"/>
                </a:cubicBezTo>
                <a:cubicBezTo>
                  <a:pt x="1409" y="664"/>
                  <a:pt x="1409" y="665"/>
                  <a:pt x="1409" y="665"/>
                </a:cubicBezTo>
                <a:cubicBezTo>
                  <a:pt x="1408" y="665"/>
                  <a:pt x="1409" y="665"/>
                  <a:pt x="1408" y="665"/>
                </a:cubicBezTo>
                <a:cubicBezTo>
                  <a:pt x="1408" y="665"/>
                  <a:pt x="1407" y="665"/>
                  <a:pt x="1407" y="665"/>
                </a:cubicBezTo>
                <a:cubicBezTo>
                  <a:pt x="1407" y="666"/>
                  <a:pt x="1407" y="667"/>
                  <a:pt x="1407" y="668"/>
                </a:cubicBezTo>
                <a:cubicBezTo>
                  <a:pt x="1406" y="668"/>
                  <a:pt x="1406" y="670"/>
                  <a:pt x="1405" y="670"/>
                </a:cubicBezTo>
                <a:cubicBezTo>
                  <a:pt x="1405" y="670"/>
                  <a:pt x="1405" y="669"/>
                  <a:pt x="1405" y="669"/>
                </a:cubicBezTo>
                <a:cubicBezTo>
                  <a:pt x="1404" y="669"/>
                  <a:pt x="1404" y="669"/>
                  <a:pt x="1404" y="668"/>
                </a:cubicBezTo>
                <a:cubicBezTo>
                  <a:pt x="1404" y="668"/>
                  <a:pt x="1403" y="669"/>
                  <a:pt x="1403" y="669"/>
                </a:cubicBezTo>
                <a:cubicBezTo>
                  <a:pt x="1402" y="669"/>
                  <a:pt x="1402" y="669"/>
                  <a:pt x="1402" y="670"/>
                </a:cubicBezTo>
                <a:cubicBezTo>
                  <a:pt x="1402" y="671"/>
                  <a:pt x="1402" y="672"/>
                  <a:pt x="1402" y="673"/>
                </a:cubicBezTo>
                <a:cubicBezTo>
                  <a:pt x="1402" y="673"/>
                  <a:pt x="1404" y="674"/>
                  <a:pt x="1403" y="674"/>
                </a:cubicBezTo>
                <a:cubicBezTo>
                  <a:pt x="1403" y="674"/>
                  <a:pt x="1403" y="675"/>
                  <a:pt x="1402" y="675"/>
                </a:cubicBezTo>
                <a:cubicBezTo>
                  <a:pt x="1402" y="675"/>
                  <a:pt x="1402" y="676"/>
                  <a:pt x="1402" y="676"/>
                </a:cubicBezTo>
                <a:cubicBezTo>
                  <a:pt x="1402" y="676"/>
                  <a:pt x="1401" y="675"/>
                  <a:pt x="1401" y="675"/>
                </a:cubicBezTo>
                <a:cubicBezTo>
                  <a:pt x="1400" y="675"/>
                  <a:pt x="1400" y="675"/>
                  <a:pt x="1400" y="674"/>
                </a:cubicBezTo>
                <a:cubicBezTo>
                  <a:pt x="1400" y="674"/>
                  <a:pt x="1400" y="674"/>
                  <a:pt x="1400" y="674"/>
                </a:cubicBezTo>
                <a:cubicBezTo>
                  <a:pt x="1400" y="673"/>
                  <a:pt x="1400" y="673"/>
                  <a:pt x="1400" y="672"/>
                </a:cubicBezTo>
                <a:cubicBezTo>
                  <a:pt x="1400" y="671"/>
                  <a:pt x="1399" y="671"/>
                  <a:pt x="1399" y="671"/>
                </a:cubicBezTo>
                <a:cubicBezTo>
                  <a:pt x="1399" y="671"/>
                  <a:pt x="1399" y="672"/>
                  <a:pt x="1399" y="672"/>
                </a:cubicBezTo>
                <a:cubicBezTo>
                  <a:pt x="1399" y="672"/>
                  <a:pt x="1397" y="673"/>
                  <a:pt x="1397" y="673"/>
                </a:cubicBezTo>
                <a:cubicBezTo>
                  <a:pt x="1396" y="673"/>
                  <a:pt x="1396" y="675"/>
                  <a:pt x="1396" y="675"/>
                </a:cubicBezTo>
                <a:cubicBezTo>
                  <a:pt x="1396" y="676"/>
                  <a:pt x="1396" y="677"/>
                  <a:pt x="1396" y="678"/>
                </a:cubicBezTo>
                <a:cubicBezTo>
                  <a:pt x="1395" y="678"/>
                  <a:pt x="1395" y="678"/>
                  <a:pt x="1395" y="679"/>
                </a:cubicBezTo>
                <a:cubicBezTo>
                  <a:pt x="1395" y="680"/>
                  <a:pt x="1396" y="680"/>
                  <a:pt x="1396" y="681"/>
                </a:cubicBezTo>
                <a:cubicBezTo>
                  <a:pt x="1396" y="682"/>
                  <a:pt x="1395" y="681"/>
                  <a:pt x="1395" y="682"/>
                </a:cubicBezTo>
                <a:cubicBezTo>
                  <a:pt x="1395" y="682"/>
                  <a:pt x="1394" y="682"/>
                  <a:pt x="1394" y="683"/>
                </a:cubicBezTo>
                <a:cubicBezTo>
                  <a:pt x="1394" y="683"/>
                  <a:pt x="1393" y="683"/>
                  <a:pt x="1393" y="683"/>
                </a:cubicBezTo>
                <a:cubicBezTo>
                  <a:pt x="1393" y="684"/>
                  <a:pt x="1393" y="684"/>
                  <a:pt x="1393" y="684"/>
                </a:cubicBezTo>
                <a:cubicBezTo>
                  <a:pt x="1392" y="685"/>
                  <a:pt x="1392" y="685"/>
                  <a:pt x="1392" y="686"/>
                </a:cubicBezTo>
                <a:cubicBezTo>
                  <a:pt x="1392" y="686"/>
                  <a:pt x="1391" y="687"/>
                  <a:pt x="1391" y="687"/>
                </a:cubicBezTo>
                <a:cubicBezTo>
                  <a:pt x="1390" y="687"/>
                  <a:pt x="1390" y="687"/>
                  <a:pt x="1390" y="688"/>
                </a:cubicBezTo>
                <a:cubicBezTo>
                  <a:pt x="1390" y="688"/>
                  <a:pt x="1389" y="688"/>
                  <a:pt x="1389" y="688"/>
                </a:cubicBezTo>
                <a:cubicBezTo>
                  <a:pt x="1389" y="688"/>
                  <a:pt x="1389" y="688"/>
                  <a:pt x="1389" y="688"/>
                </a:cubicBezTo>
                <a:cubicBezTo>
                  <a:pt x="1388" y="688"/>
                  <a:pt x="1388" y="688"/>
                  <a:pt x="1388" y="688"/>
                </a:cubicBezTo>
                <a:cubicBezTo>
                  <a:pt x="1387" y="688"/>
                  <a:pt x="1387" y="689"/>
                  <a:pt x="1387" y="689"/>
                </a:cubicBezTo>
                <a:cubicBezTo>
                  <a:pt x="1387" y="689"/>
                  <a:pt x="1386" y="689"/>
                  <a:pt x="1386" y="689"/>
                </a:cubicBezTo>
                <a:cubicBezTo>
                  <a:pt x="1385" y="689"/>
                  <a:pt x="1385" y="689"/>
                  <a:pt x="1383" y="689"/>
                </a:cubicBezTo>
                <a:cubicBezTo>
                  <a:pt x="1383" y="690"/>
                  <a:pt x="1383" y="690"/>
                  <a:pt x="1382" y="690"/>
                </a:cubicBezTo>
                <a:cubicBezTo>
                  <a:pt x="1381" y="690"/>
                  <a:pt x="1381" y="690"/>
                  <a:pt x="1380" y="690"/>
                </a:cubicBezTo>
                <a:cubicBezTo>
                  <a:pt x="1380" y="690"/>
                  <a:pt x="1380" y="690"/>
                  <a:pt x="1380" y="690"/>
                </a:cubicBezTo>
                <a:cubicBezTo>
                  <a:pt x="1379" y="690"/>
                  <a:pt x="1379" y="691"/>
                  <a:pt x="1379" y="692"/>
                </a:cubicBezTo>
                <a:cubicBezTo>
                  <a:pt x="1379" y="692"/>
                  <a:pt x="1378" y="693"/>
                  <a:pt x="1378" y="693"/>
                </a:cubicBezTo>
                <a:cubicBezTo>
                  <a:pt x="1378" y="693"/>
                  <a:pt x="1376" y="693"/>
                  <a:pt x="1375" y="693"/>
                </a:cubicBezTo>
                <a:cubicBezTo>
                  <a:pt x="1375" y="694"/>
                  <a:pt x="1375" y="694"/>
                  <a:pt x="1374" y="694"/>
                </a:cubicBezTo>
                <a:cubicBezTo>
                  <a:pt x="1373" y="695"/>
                  <a:pt x="1371" y="695"/>
                  <a:pt x="1371" y="694"/>
                </a:cubicBezTo>
                <a:cubicBezTo>
                  <a:pt x="1370" y="694"/>
                  <a:pt x="1370" y="694"/>
                  <a:pt x="1369" y="695"/>
                </a:cubicBezTo>
                <a:cubicBezTo>
                  <a:pt x="1369" y="697"/>
                  <a:pt x="1367" y="695"/>
                  <a:pt x="1366" y="696"/>
                </a:cubicBezTo>
                <a:cubicBezTo>
                  <a:pt x="1366" y="697"/>
                  <a:pt x="1365" y="699"/>
                  <a:pt x="1364" y="699"/>
                </a:cubicBezTo>
                <a:cubicBezTo>
                  <a:pt x="1363" y="699"/>
                  <a:pt x="1364" y="700"/>
                  <a:pt x="1363" y="700"/>
                </a:cubicBezTo>
                <a:cubicBezTo>
                  <a:pt x="1363" y="700"/>
                  <a:pt x="1362" y="700"/>
                  <a:pt x="1362" y="700"/>
                </a:cubicBezTo>
                <a:cubicBezTo>
                  <a:pt x="1362" y="700"/>
                  <a:pt x="1362" y="700"/>
                  <a:pt x="1362" y="701"/>
                </a:cubicBezTo>
                <a:cubicBezTo>
                  <a:pt x="1362" y="701"/>
                  <a:pt x="1360" y="702"/>
                  <a:pt x="1360" y="702"/>
                </a:cubicBezTo>
                <a:cubicBezTo>
                  <a:pt x="1360" y="704"/>
                  <a:pt x="1358" y="703"/>
                  <a:pt x="1358" y="704"/>
                </a:cubicBezTo>
                <a:cubicBezTo>
                  <a:pt x="1358" y="704"/>
                  <a:pt x="1357" y="704"/>
                  <a:pt x="1357" y="705"/>
                </a:cubicBezTo>
                <a:cubicBezTo>
                  <a:pt x="1357" y="705"/>
                  <a:pt x="1356" y="704"/>
                  <a:pt x="1356" y="704"/>
                </a:cubicBezTo>
                <a:cubicBezTo>
                  <a:pt x="1357" y="704"/>
                  <a:pt x="1357" y="703"/>
                  <a:pt x="1357" y="702"/>
                </a:cubicBezTo>
                <a:cubicBezTo>
                  <a:pt x="1356" y="702"/>
                  <a:pt x="1356" y="702"/>
                  <a:pt x="1356" y="703"/>
                </a:cubicBezTo>
                <a:cubicBezTo>
                  <a:pt x="1356" y="703"/>
                  <a:pt x="1355" y="703"/>
                  <a:pt x="1355" y="703"/>
                </a:cubicBezTo>
                <a:cubicBezTo>
                  <a:pt x="1355" y="704"/>
                  <a:pt x="1355" y="704"/>
                  <a:pt x="1355" y="704"/>
                </a:cubicBezTo>
                <a:cubicBezTo>
                  <a:pt x="1355" y="704"/>
                  <a:pt x="1355" y="705"/>
                  <a:pt x="1355" y="705"/>
                </a:cubicBezTo>
                <a:cubicBezTo>
                  <a:pt x="1355" y="705"/>
                  <a:pt x="1355" y="705"/>
                  <a:pt x="1354" y="706"/>
                </a:cubicBezTo>
                <a:cubicBezTo>
                  <a:pt x="1354" y="707"/>
                  <a:pt x="1355" y="706"/>
                  <a:pt x="1355" y="707"/>
                </a:cubicBezTo>
                <a:cubicBezTo>
                  <a:pt x="1356" y="708"/>
                  <a:pt x="1356" y="707"/>
                  <a:pt x="1356" y="708"/>
                </a:cubicBezTo>
                <a:cubicBezTo>
                  <a:pt x="1356" y="708"/>
                  <a:pt x="1355" y="709"/>
                  <a:pt x="1355" y="709"/>
                </a:cubicBezTo>
                <a:cubicBezTo>
                  <a:pt x="1355" y="710"/>
                  <a:pt x="1355" y="710"/>
                  <a:pt x="1355" y="710"/>
                </a:cubicBezTo>
                <a:cubicBezTo>
                  <a:pt x="1355" y="711"/>
                  <a:pt x="1355" y="711"/>
                  <a:pt x="1355" y="712"/>
                </a:cubicBezTo>
                <a:cubicBezTo>
                  <a:pt x="1355" y="712"/>
                  <a:pt x="1355" y="712"/>
                  <a:pt x="1355" y="712"/>
                </a:cubicBezTo>
                <a:cubicBezTo>
                  <a:pt x="1354" y="713"/>
                  <a:pt x="1354" y="713"/>
                  <a:pt x="1354" y="714"/>
                </a:cubicBezTo>
                <a:cubicBezTo>
                  <a:pt x="1354" y="714"/>
                  <a:pt x="1353" y="714"/>
                  <a:pt x="1353" y="714"/>
                </a:cubicBezTo>
                <a:cubicBezTo>
                  <a:pt x="1353" y="716"/>
                  <a:pt x="1354" y="716"/>
                  <a:pt x="1355" y="717"/>
                </a:cubicBezTo>
                <a:cubicBezTo>
                  <a:pt x="1356" y="718"/>
                  <a:pt x="1355" y="720"/>
                  <a:pt x="1356" y="720"/>
                </a:cubicBezTo>
                <a:cubicBezTo>
                  <a:pt x="1356" y="720"/>
                  <a:pt x="1356" y="720"/>
                  <a:pt x="1356" y="721"/>
                </a:cubicBezTo>
                <a:cubicBezTo>
                  <a:pt x="1356" y="721"/>
                  <a:pt x="1356" y="722"/>
                  <a:pt x="1356" y="722"/>
                </a:cubicBezTo>
                <a:cubicBezTo>
                  <a:pt x="1357" y="724"/>
                  <a:pt x="1357" y="725"/>
                  <a:pt x="1357" y="726"/>
                </a:cubicBezTo>
                <a:cubicBezTo>
                  <a:pt x="1356" y="726"/>
                  <a:pt x="1355" y="726"/>
                  <a:pt x="1355" y="725"/>
                </a:cubicBezTo>
                <a:cubicBezTo>
                  <a:pt x="1355" y="724"/>
                  <a:pt x="1355" y="723"/>
                  <a:pt x="1354" y="724"/>
                </a:cubicBezTo>
                <a:cubicBezTo>
                  <a:pt x="1354" y="725"/>
                  <a:pt x="1354" y="725"/>
                  <a:pt x="1354" y="726"/>
                </a:cubicBezTo>
                <a:cubicBezTo>
                  <a:pt x="1355" y="727"/>
                  <a:pt x="1355" y="727"/>
                  <a:pt x="1355" y="727"/>
                </a:cubicBezTo>
                <a:cubicBezTo>
                  <a:pt x="1355" y="728"/>
                  <a:pt x="1355" y="728"/>
                  <a:pt x="1356" y="729"/>
                </a:cubicBezTo>
                <a:cubicBezTo>
                  <a:pt x="1355" y="729"/>
                  <a:pt x="1355" y="729"/>
                  <a:pt x="1354" y="729"/>
                </a:cubicBezTo>
                <a:cubicBezTo>
                  <a:pt x="1354" y="728"/>
                  <a:pt x="1354" y="727"/>
                  <a:pt x="1353" y="727"/>
                </a:cubicBezTo>
                <a:cubicBezTo>
                  <a:pt x="1353" y="726"/>
                  <a:pt x="1353" y="724"/>
                  <a:pt x="1352" y="724"/>
                </a:cubicBezTo>
                <a:cubicBezTo>
                  <a:pt x="1352" y="725"/>
                  <a:pt x="1353" y="726"/>
                  <a:pt x="1353" y="728"/>
                </a:cubicBezTo>
                <a:cubicBezTo>
                  <a:pt x="1353" y="728"/>
                  <a:pt x="1353" y="728"/>
                  <a:pt x="1354" y="729"/>
                </a:cubicBezTo>
                <a:cubicBezTo>
                  <a:pt x="1354" y="729"/>
                  <a:pt x="1354" y="729"/>
                  <a:pt x="1354" y="730"/>
                </a:cubicBezTo>
                <a:cubicBezTo>
                  <a:pt x="1354" y="730"/>
                  <a:pt x="1356" y="731"/>
                  <a:pt x="1356" y="732"/>
                </a:cubicBezTo>
                <a:cubicBezTo>
                  <a:pt x="1356" y="732"/>
                  <a:pt x="1356" y="732"/>
                  <a:pt x="1357" y="732"/>
                </a:cubicBezTo>
                <a:cubicBezTo>
                  <a:pt x="1357" y="732"/>
                  <a:pt x="1357" y="733"/>
                  <a:pt x="1357" y="734"/>
                </a:cubicBezTo>
                <a:cubicBezTo>
                  <a:pt x="1357" y="734"/>
                  <a:pt x="1357" y="735"/>
                  <a:pt x="1358" y="735"/>
                </a:cubicBezTo>
                <a:cubicBezTo>
                  <a:pt x="1358" y="735"/>
                  <a:pt x="1358" y="735"/>
                  <a:pt x="1358" y="735"/>
                </a:cubicBezTo>
                <a:cubicBezTo>
                  <a:pt x="1357" y="736"/>
                  <a:pt x="1358" y="737"/>
                  <a:pt x="1358" y="737"/>
                </a:cubicBezTo>
                <a:cubicBezTo>
                  <a:pt x="1358" y="737"/>
                  <a:pt x="1360" y="740"/>
                  <a:pt x="1361" y="739"/>
                </a:cubicBezTo>
                <a:cubicBezTo>
                  <a:pt x="1360" y="740"/>
                  <a:pt x="1360" y="741"/>
                  <a:pt x="1360" y="742"/>
                </a:cubicBezTo>
                <a:cubicBezTo>
                  <a:pt x="1360" y="742"/>
                  <a:pt x="1361" y="742"/>
                  <a:pt x="1361" y="743"/>
                </a:cubicBezTo>
                <a:cubicBezTo>
                  <a:pt x="1363" y="745"/>
                  <a:pt x="1361" y="747"/>
                  <a:pt x="1362" y="748"/>
                </a:cubicBezTo>
                <a:cubicBezTo>
                  <a:pt x="1362" y="749"/>
                  <a:pt x="1362" y="749"/>
                  <a:pt x="1362" y="750"/>
                </a:cubicBezTo>
                <a:cubicBezTo>
                  <a:pt x="1362" y="750"/>
                  <a:pt x="1362" y="750"/>
                  <a:pt x="1362" y="751"/>
                </a:cubicBezTo>
                <a:cubicBezTo>
                  <a:pt x="1362" y="751"/>
                  <a:pt x="1362" y="751"/>
                  <a:pt x="1362" y="751"/>
                </a:cubicBezTo>
                <a:cubicBezTo>
                  <a:pt x="1362" y="751"/>
                  <a:pt x="1362" y="752"/>
                  <a:pt x="1363" y="752"/>
                </a:cubicBezTo>
                <a:cubicBezTo>
                  <a:pt x="1364" y="753"/>
                  <a:pt x="1363" y="755"/>
                  <a:pt x="1364" y="755"/>
                </a:cubicBezTo>
                <a:cubicBezTo>
                  <a:pt x="1363" y="756"/>
                  <a:pt x="1364" y="757"/>
                  <a:pt x="1364" y="758"/>
                </a:cubicBezTo>
                <a:cubicBezTo>
                  <a:pt x="1364" y="758"/>
                  <a:pt x="1365" y="759"/>
                  <a:pt x="1365" y="760"/>
                </a:cubicBezTo>
                <a:cubicBezTo>
                  <a:pt x="1365" y="760"/>
                  <a:pt x="1364" y="761"/>
                  <a:pt x="1364" y="762"/>
                </a:cubicBezTo>
                <a:cubicBezTo>
                  <a:pt x="1365" y="763"/>
                  <a:pt x="1365" y="764"/>
                  <a:pt x="1364" y="764"/>
                </a:cubicBezTo>
                <a:cubicBezTo>
                  <a:pt x="1364" y="765"/>
                  <a:pt x="1364" y="766"/>
                  <a:pt x="1364" y="766"/>
                </a:cubicBezTo>
                <a:cubicBezTo>
                  <a:pt x="1364" y="767"/>
                  <a:pt x="1364" y="766"/>
                  <a:pt x="1364" y="767"/>
                </a:cubicBezTo>
                <a:cubicBezTo>
                  <a:pt x="1364" y="768"/>
                  <a:pt x="1364" y="770"/>
                  <a:pt x="1363" y="771"/>
                </a:cubicBezTo>
                <a:cubicBezTo>
                  <a:pt x="1363" y="770"/>
                  <a:pt x="1362" y="770"/>
                  <a:pt x="1361" y="769"/>
                </a:cubicBezTo>
                <a:cubicBezTo>
                  <a:pt x="1361" y="770"/>
                  <a:pt x="1361" y="770"/>
                  <a:pt x="1361" y="770"/>
                </a:cubicBezTo>
                <a:cubicBezTo>
                  <a:pt x="1361" y="771"/>
                  <a:pt x="1361" y="772"/>
                  <a:pt x="1362" y="773"/>
                </a:cubicBezTo>
                <a:cubicBezTo>
                  <a:pt x="1362" y="774"/>
                  <a:pt x="1363" y="774"/>
                  <a:pt x="1364" y="774"/>
                </a:cubicBezTo>
                <a:cubicBezTo>
                  <a:pt x="1364" y="774"/>
                  <a:pt x="1364" y="774"/>
                  <a:pt x="1365" y="774"/>
                </a:cubicBezTo>
                <a:cubicBezTo>
                  <a:pt x="1365" y="775"/>
                  <a:pt x="1365" y="774"/>
                  <a:pt x="1365" y="775"/>
                </a:cubicBezTo>
                <a:cubicBezTo>
                  <a:pt x="1365" y="775"/>
                  <a:pt x="1366" y="776"/>
                  <a:pt x="1366" y="776"/>
                </a:cubicBezTo>
                <a:cubicBezTo>
                  <a:pt x="1367" y="777"/>
                  <a:pt x="1367" y="777"/>
                  <a:pt x="1368" y="777"/>
                </a:cubicBezTo>
                <a:cubicBezTo>
                  <a:pt x="1369" y="777"/>
                  <a:pt x="1369" y="778"/>
                  <a:pt x="1370" y="778"/>
                </a:cubicBezTo>
                <a:cubicBezTo>
                  <a:pt x="1370" y="777"/>
                  <a:pt x="1371" y="777"/>
                  <a:pt x="1372" y="777"/>
                </a:cubicBezTo>
                <a:cubicBezTo>
                  <a:pt x="1372" y="777"/>
                  <a:pt x="1372" y="777"/>
                  <a:pt x="1373" y="778"/>
                </a:cubicBezTo>
                <a:cubicBezTo>
                  <a:pt x="1373" y="778"/>
                  <a:pt x="1373" y="778"/>
                  <a:pt x="1374" y="778"/>
                </a:cubicBezTo>
                <a:cubicBezTo>
                  <a:pt x="1374" y="778"/>
                  <a:pt x="1374" y="779"/>
                  <a:pt x="1375" y="777"/>
                </a:cubicBezTo>
                <a:cubicBezTo>
                  <a:pt x="1375" y="777"/>
                  <a:pt x="1376" y="777"/>
                  <a:pt x="1376" y="777"/>
                </a:cubicBezTo>
                <a:cubicBezTo>
                  <a:pt x="1376" y="776"/>
                  <a:pt x="1377" y="776"/>
                  <a:pt x="1378" y="775"/>
                </a:cubicBezTo>
                <a:cubicBezTo>
                  <a:pt x="1378" y="774"/>
                  <a:pt x="1379" y="774"/>
                  <a:pt x="1379" y="774"/>
                </a:cubicBezTo>
                <a:cubicBezTo>
                  <a:pt x="1380" y="774"/>
                  <a:pt x="1380" y="774"/>
                  <a:pt x="1380" y="775"/>
                </a:cubicBezTo>
                <a:cubicBezTo>
                  <a:pt x="1381" y="775"/>
                  <a:pt x="1381" y="776"/>
                  <a:pt x="1382" y="774"/>
                </a:cubicBezTo>
                <a:cubicBezTo>
                  <a:pt x="1382" y="774"/>
                  <a:pt x="1382" y="773"/>
                  <a:pt x="1382" y="772"/>
                </a:cubicBezTo>
                <a:cubicBezTo>
                  <a:pt x="1383" y="772"/>
                  <a:pt x="1384" y="773"/>
                  <a:pt x="1385" y="772"/>
                </a:cubicBezTo>
                <a:cubicBezTo>
                  <a:pt x="1385" y="772"/>
                  <a:pt x="1384" y="772"/>
                  <a:pt x="1385" y="772"/>
                </a:cubicBezTo>
                <a:cubicBezTo>
                  <a:pt x="1385" y="772"/>
                  <a:pt x="1385" y="772"/>
                  <a:pt x="1385" y="772"/>
                </a:cubicBezTo>
                <a:cubicBezTo>
                  <a:pt x="1386" y="772"/>
                  <a:pt x="1387" y="772"/>
                  <a:pt x="1387" y="772"/>
                </a:cubicBezTo>
                <a:cubicBezTo>
                  <a:pt x="1387" y="771"/>
                  <a:pt x="1388" y="771"/>
                  <a:pt x="1388" y="771"/>
                </a:cubicBezTo>
                <a:cubicBezTo>
                  <a:pt x="1389" y="771"/>
                  <a:pt x="1389" y="771"/>
                  <a:pt x="1391" y="771"/>
                </a:cubicBezTo>
                <a:cubicBezTo>
                  <a:pt x="1391" y="771"/>
                  <a:pt x="1393" y="771"/>
                  <a:pt x="1392" y="772"/>
                </a:cubicBezTo>
                <a:cubicBezTo>
                  <a:pt x="1393" y="771"/>
                  <a:pt x="1393" y="771"/>
                  <a:pt x="1394" y="771"/>
                </a:cubicBezTo>
                <a:cubicBezTo>
                  <a:pt x="1394" y="771"/>
                  <a:pt x="1395" y="772"/>
                  <a:pt x="1395" y="772"/>
                </a:cubicBezTo>
                <a:cubicBezTo>
                  <a:pt x="1395" y="772"/>
                  <a:pt x="1395" y="771"/>
                  <a:pt x="1395" y="771"/>
                </a:cubicBezTo>
                <a:cubicBezTo>
                  <a:pt x="1396" y="771"/>
                  <a:pt x="1397" y="771"/>
                  <a:pt x="1398" y="771"/>
                </a:cubicBezTo>
                <a:cubicBezTo>
                  <a:pt x="1398" y="770"/>
                  <a:pt x="1399" y="771"/>
                  <a:pt x="1399" y="772"/>
                </a:cubicBezTo>
                <a:cubicBezTo>
                  <a:pt x="1401" y="771"/>
                  <a:pt x="1400" y="771"/>
                  <a:pt x="1402" y="771"/>
                </a:cubicBezTo>
                <a:cubicBezTo>
                  <a:pt x="1402" y="771"/>
                  <a:pt x="1403" y="770"/>
                  <a:pt x="1403" y="770"/>
                </a:cubicBezTo>
                <a:cubicBezTo>
                  <a:pt x="1403" y="769"/>
                  <a:pt x="1403" y="769"/>
                  <a:pt x="1404" y="768"/>
                </a:cubicBezTo>
                <a:cubicBezTo>
                  <a:pt x="1404" y="768"/>
                  <a:pt x="1404" y="767"/>
                  <a:pt x="1405" y="767"/>
                </a:cubicBezTo>
                <a:cubicBezTo>
                  <a:pt x="1406" y="766"/>
                  <a:pt x="1406" y="766"/>
                  <a:pt x="1407" y="766"/>
                </a:cubicBezTo>
                <a:cubicBezTo>
                  <a:pt x="1408" y="766"/>
                  <a:pt x="1408" y="766"/>
                  <a:pt x="1408" y="765"/>
                </a:cubicBezTo>
                <a:cubicBezTo>
                  <a:pt x="1409" y="765"/>
                  <a:pt x="1409" y="765"/>
                  <a:pt x="1409" y="764"/>
                </a:cubicBezTo>
                <a:cubicBezTo>
                  <a:pt x="1409" y="764"/>
                  <a:pt x="1409" y="764"/>
                  <a:pt x="1410" y="764"/>
                </a:cubicBezTo>
                <a:cubicBezTo>
                  <a:pt x="1410" y="764"/>
                  <a:pt x="1410" y="764"/>
                  <a:pt x="1411" y="764"/>
                </a:cubicBezTo>
                <a:cubicBezTo>
                  <a:pt x="1411" y="764"/>
                  <a:pt x="1411" y="763"/>
                  <a:pt x="1411" y="763"/>
                </a:cubicBezTo>
                <a:cubicBezTo>
                  <a:pt x="1412" y="763"/>
                  <a:pt x="1412" y="763"/>
                  <a:pt x="1412" y="762"/>
                </a:cubicBezTo>
                <a:cubicBezTo>
                  <a:pt x="1413" y="762"/>
                  <a:pt x="1415" y="762"/>
                  <a:pt x="1416" y="762"/>
                </a:cubicBezTo>
                <a:cubicBezTo>
                  <a:pt x="1416" y="761"/>
                  <a:pt x="1420" y="762"/>
                  <a:pt x="1420" y="761"/>
                </a:cubicBezTo>
                <a:cubicBezTo>
                  <a:pt x="1420" y="761"/>
                  <a:pt x="1421" y="761"/>
                  <a:pt x="1421" y="761"/>
                </a:cubicBezTo>
                <a:cubicBezTo>
                  <a:pt x="1421" y="760"/>
                  <a:pt x="1423" y="761"/>
                  <a:pt x="1423" y="761"/>
                </a:cubicBezTo>
                <a:cubicBezTo>
                  <a:pt x="1423" y="759"/>
                  <a:pt x="1426" y="760"/>
                  <a:pt x="1425" y="759"/>
                </a:cubicBezTo>
                <a:cubicBezTo>
                  <a:pt x="1426" y="760"/>
                  <a:pt x="1427" y="760"/>
                  <a:pt x="1427" y="760"/>
                </a:cubicBezTo>
                <a:cubicBezTo>
                  <a:pt x="1427" y="759"/>
                  <a:pt x="1427" y="759"/>
                  <a:pt x="1427" y="759"/>
                </a:cubicBezTo>
                <a:cubicBezTo>
                  <a:pt x="1428" y="759"/>
                  <a:pt x="1428" y="759"/>
                  <a:pt x="1428" y="759"/>
                </a:cubicBezTo>
                <a:cubicBezTo>
                  <a:pt x="1429" y="759"/>
                  <a:pt x="1430" y="759"/>
                  <a:pt x="1431" y="759"/>
                </a:cubicBezTo>
                <a:cubicBezTo>
                  <a:pt x="1432" y="759"/>
                  <a:pt x="1431" y="758"/>
                  <a:pt x="1432" y="758"/>
                </a:cubicBezTo>
                <a:cubicBezTo>
                  <a:pt x="1432" y="758"/>
                  <a:pt x="1432" y="758"/>
                  <a:pt x="1432" y="758"/>
                </a:cubicBezTo>
                <a:cubicBezTo>
                  <a:pt x="1433" y="758"/>
                  <a:pt x="1433" y="758"/>
                  <a:pt x="1433" y="758"/>
                </a:cubicBezTo>
                <a:cubicBezTo>
                  <a:pt x="1434" y="758"/>
                  <a:pt x="1435" y="759"/>
                  <a:pt x="1436" y="758"/>
                </a:cubicBezTo>
                <a:cubicBezTo>
                  <a:pt x="1436" y="758"/>
                  <a:pt x="1436" y="757"/>
                  <a:pt x="1437" y="757"/>
                </a:cubicBezTo>
                <a:cubicBezTo>
                  <a:pt x="1437" y="757"/>
                  <a:pt x="1438" y="758"/>
                  <a:pt x="1439" y="758"/>
                </a:cubicBezTo>
                <a:cubicBezTo>
                  <a:pt x="1440" y="758"/>
                  <a:pt x="1440" y="759"/>
                  <a:pt x="1441" y="759"/>
                </a:cubicBezTo>
                <a:cubicBezTo>
                  <a:pt x="1441" y="759"/>
                  <a:pt x="1441" y="760"/>
                  <a:pt x="1441" y="760"/>
                </a:cubicBezTo>
                <a:cubicBezTo>
                  <a:pt x="1442" y="761"/>
                  <a:pt x="1443" y="761"/>
                  <a:pt x="1443" y="760"/>
                </a:cubicBezTo>
                <a:cubicBezTo>
                  <a:pt x="1443" y="760"/>
                  <a:pt x="1445" y="760"/>
                  <a:pt x="1445" y="760"/>
                </a:cubicBezTo>
                <a:cubicBezTo>
                  <a:pt x="1445" y="760"/>
                  <a:pt x="1446" y="760"/>
                  <a:pt x="1446" y="760"/>
                </a:cubicBezTo>
                <a:cubicBezTo>
                  <a:pt x="1447" y="762"/>
                  <a:pt x="1447" y="761"/>
                  <a:pt x="1448" y="760"/>
                </a:cubicBezTo>
                <a:cubicBezTo>
                  <a:pt x="1448" y="761"/>
                  <a:pt x="1449" y="761"/>
                  <a:pt x="1449" y="761"/>
                </a:cubicBezTo>
                <a:cubicBezTo>
                  <a:pt x="1450" y="762"/>
                  <a:pt x="1450" y="762"/>
                  <a:pt x="1449" y="764"/>
                </a:cubicBezTo>
                <a:cubicBezTo>
                  <a:pt x="1451" y="764"/>
                  <a:pt x="1451" y="764"/>
                  <a:pt x="1452" y="764"/>
                </a:cubicBezTo>
                <a:cubicBezTo>
                  <a:pt x="1452" y="764"/>
                  <a:pt x="1452" y="765"/>
                  <a:pt x="1451" y="765"/>
                </a:cubicBezTo>
                <a:cubicBezTo>
                  <a:pt x="1451" y="765"/>
                  <a:pt x="1451" y="765"/>
                  <a:pt x="1451" y="765"/>
                </a:cubicBezTo>
                <a:cubicBezTo>
                  <a:pt x="1449" y="766"/>
                  <a:pt x="1454" y="767"/>
                  <a:pt x="1454" y="767"/>
                </a:cubicBezTo>
                <a:cubicBezTo>
                  <a:pt x="1455" y="768"/>
                  <a:pt x="1454" y="770"/>
                  <a:pt x="1454" y="771"/>
                </a:cubicBezTo>
                <a:cubicBezTo>
                  <a:pt x="1455" y="771"/>
                  <a:pt x="1455" y="772"/>
                  <a:pt x="1455" y="772"/>
                </a:cubicBezTo>
                <a:cubicBezTo>
                  <a:pt x="1456" y="773"/>
                  <a:pt x="1457" y="772"/>
                  <a:pt x="1456" y="774"/>
                </a:cubicBezTo>
                <a:cubicBezTo>
                  <a:pt x="1457" y="774"/>
                  <a:pt x="1456" y="775"/>
                  <a:pt x="1457" y="775"/>
                </a:cubicBezTo>
                <a:cubicBezTo>
                  <a:pt x="1457" y="775"/>
                  <a:pt x="1457" y="775"/>
                  <a:pt x="1458" y="775"/>
                </a:cubicBezTo>
                <a:cubicBezTo>
                  <a:pt x="1458" y="775"/>
                  <a:pt x="1459" y="775"/>
                  <a:pt x="1459" y="775"/>
                </a:cubicBezTo>
                <a:cubicBezTo>
                  <a:pt x="1460" y="775"/>
                  <a:pt x="1460" y="774"/>
                  <a:pt x="1460" y="774"/>
                </a:cubicBezTo>
                <a:cubicBezTo>
                  <a:pt x="1460" y="773"/>
                  <a:pt x="1460" y="773"/>
                  <a:pt x="1461" y="772"/>
                </a:cubicBezTo>
                <a:cubicBezTo>
                  <a:pt x="1461" y="772"/>
                  <a:pt x="1461" y="772"/>
                  <a:pt x="1461" y="772"/>
                </a:cubicBezTo>
                <a:cubicBezTo>
                  <a:pt x="1462" y="772"/>
                  <a:pt x="1462" y="772"/>
                  <a:pt x="1462" y="771"/>
                </a:cubicBezTo>
                <a:cubicBezTo>
                  <a:pt x="1462" y="771"/>
                  <a:pt x="1463" y="770"/>
                  <a:pt x="1463" y="770"/>
                </a:cubicBezTo>
                <a:cubicBezTo>
                  <a:pt x="1464" y="770"/>
                  <a:pt x="1464" y="769"/>
                  <a:pt x="1465" y="769"/>
                </a:cubicBezTo>
                <a:cubicBezTo>
                  <a:pt x="1465" y="769"/>
                  <a:pt x="1466" y="769"/>
                  <a:pt x="1466" y="769"/>
                </a:cubicBezTo>
                <a:cubicBezTo>
                  <a:pt x="1466" y="768"/>
                  <a:pt x="1467" y="766"/>
                  <a:pt x="1468" y="766"/>
                </a:cubicBezTo>
                <a:cubicBezTo>
                  <a:pt x="1468" y="767"/>
                  <a:pt x="1468" y="770"/>
                  <a:pt x="1468" y="770"/>
                </a:cubicBezTo>
                <a:cubicBezTo>
                  <a:pt x="1467" y="770"/>
                  <a:pt x="1467" y="772"/>
                  <a:pt x="1467" y="773"/>
                </a:cubicBezTo>
                <a:cubicBezTo>
                  <a:pt x="1467" y="774"/>
                  <a:pt x="1466" y="773"/>
                  <a:pt x="1466" y="774"/>
                </a:cubicBezTo>
                <a:cubicBezTo>
                  <a:pt x="1466" y="775"/>
                  <a:pt x="1466" y="776"/>
                  <a:pt x="1466" y="776"/>
                </a:cubicBezTo>
                <a:cubicBezTo>
                  <a:pt x="1466" y="778"/>
                  <a:pt x="1465" y="778"/>
                  <a:pt x="1463" y="778"/>
                </a:cubicBezTo>
                <a:cubicBezTo>
                  <a:pt x="1463" y="779"/>
                  <a:pt x="1464" y="780"/>
                  <a:pt x="1464" y="780"/>
                </a:cubicBezTo>
                <a:cubicBezTo>
                  <a:pt x="1464" y="779"/>
                  <a:pt x="1466" y="780"/>
                  <a:pt x="1465" y="779"/>
                </a:cubicBezTo>
                <a:cubicBezTo>
                  <a:pt x="1466" y="779"/>
                  <a:pt x="1466" y="779"/>
                  <a:pt x="1467" y="779"/>
                </a:cubicBezTo>
                <a:cubicBezTo>
                  <a:pt x="1467" y="778"/>
                  <a:pt x="1467" y="778"/>
                  <a:pt x="1468" y="778"/>
                </a:cubicBezTo>
                <a:cubicBezTo>
                  <a:pt x="1468" y="778"/>
                  <a:pt x="1468" y="777"/>
                  <a:pt x="1467" y="776"/>
                </a:cubicBezTo>
                <a:cubicBezTo>
                  <a:pt x="1468" y="777"/>
                  <a:pt x="1468" y="775"/>
                  <a:pt x="1468" y="775"/>
                </a:cubicBezTo>
                <a:cubicBezTo>
                  <a:pt x="1468" y="774"/>
                  <a:pt x="1469" y="774"/>
                  <a:pt x="1470" y="774"/>
                </a:cubicBezTo>
                <a:cubicBezTo>
                  <a:pt x="1470" y="774"/>
                  <a:pt x="1470" y="776"/>
                  <a:pt x="1471" y="776"/>
                </a:cubicBezTo>
                <a:cubicBezTo>
                  <a:pt x="1471" y="776"/>
                  <a:pt x="1471" y="777"/>
                  <a:pt x="1471" y="777"/>
                </a:cubicBezTo>
                <a:cubicBezTo>
                  <a:pt x="1471" y="777"/>
                  <a:pt x="1471" y="779"/>
                  <a:pt x="1471" y="779"/>
                </a:cubicBezTo>
                <a:cubicBezTo>
                  <a:pt x="1471" y="780"/>
                  <a:pt x="1471" y="782"/>
                  <a:pt x="1471" y="783"/>
                </a:cubicBezTo>
                <a:cubicBezTo>
                  <a:pt x="1473" y="783"/>
                  <a:pt x="1474" y="782"/>
                  <a:pt x="1475" y="782"/>
                </a:cubicBezTo>
                <a:cubicBezTo>
                  <a:pt x="1475" y="782"/>
                  <a:pt x="1475" y="783"/>
                  <a:pt x="1475" y="783"/>
                </a:cubicBezTo>
                <a:cubicBezTo>
                  <a:pt x="1475" y="784"/>
                  <a:pt x="1476" y="784"/>
                  <a:pt x="1476" y="784"/>
                </a:cubicBezTo>
                <a:cubicBezTo>
                  <a:pt x="1476" y="785"/>
                  <a:pt x="1476" y="784"/>
                  <a:pt x="1476" y="785"/>
                </a:cubicBezTo>
                <a:cubicBezTo>
                  <a:pt x="1476" y="785"/>
                  <a:pt x="1476" y="785"/>
                  <a:pt x="1476" y="785"/>
                </a:cubicBezTo>
                <a:cubicBezTo>
                  <a:pt x="1476" y="786"/>
                  <a:pt x="1477" y="785"/>
                  <a:pt x="1477" y="786"/>
                </a:cubicBezTo>
                <a:cubicBezTo>
                  <a:pt x="1477" y="786"/>
                  <a:pt x="1477" y="786"/>
                  <a:pt x="1477" y="786"/>
                </a:cubicBezTo>
                <a:cubicBezTo>
                  <a:pt x="1477" y="787"/>
                  <a:pt x="1477" y="787"/>
                  <a:pt x="1477" y="787"/>
                </a:cubicBezTo>
                <a:cubicBezTo>
                  <a:pt x="1478" y="787"/>
                  <a:pt x="1478" y="788"/>
                  <a:pt x="1478" y="788"/>
                </a:cubicBezTo>
                <a:cubicBezTo>
                  <a:pt x="1478" y="788"/>
                  <a:pt x="1477" y="788"/>
                  <a:pt x="1477" y="788"/>
                </a:cubicBezTo>
                <a:cubicBezTo>
                  <a:pt x="1477" y="789"/>
                  <a:pt x="1477" y="789"/>
                  <a:pt x="1477" y="789"/>
                </a:cubicBezTo>
                <a:cubicBezTo>
                  <a:pt x="1477" y="791"/>
                  <a:pt x="1477" y="792"/>
                  <a:pt x="1477" y="793"/>
                </a:cubicBezTo>
                <a:cubicBezTo>
                  <a:pt x="1478" y="794"/>
                  <a:pt x="1478" y="794"/>
                  <a:pt x="1479" y="795"/>
                </a:cubicBezTo>
                <a:cubicBezTo>
                  <a:pt x="1479" y="795"/>
                  <a:pt x="1481" y="796"/>
                  <a:pt x="1481" y="797"/>
                </a:cubicBezTo>
                <a:cubicBezTo>
                  <a:pt x="1481" y="798"/>
                  <a:pt x="1481" y="798"/>
                  <a:pt x="1482" y="798"/>
                </a:cubicBezTo>
                <a:cubicBezTo>
                  <a:pt x="1483" y="798"/>
                  <a:pt x="1483" y="798"/>
                  <a:pt x="1484" y="799"/>
                </a:cubicBezTo>
                <a:cubicBezTo>
                  <a:pt x="1485" y="799"/>
                  <a:pt x="1486" y="800"/>
                  <a:pt x="1486" y="800"/>
                </a:cubicBezTo>
                <a:cubicBezTo>
                  <a:pt x="1487" y="799"/>
                  <a:pt x="1486" y="799"/>
                  <a:pt x="1488" y="799"/>
                </a:cubicBezTo>
                <a:cubicBezTo>
                  <a:pt x="1488" y="799"/>
                  <a:pt x="1489" y="799"/>
                  <a:pt x="1489" y="800"/>
                </a:cubicBezTo>
                <a:cubicBezTo>
                  <a:pt x="1489" y="801"/>
                  <a:pt x="1490" y="800"/>
                  <a:pt x="1490" y="800"/>
                </a:cubicBezTo>
                <a:cubicBezTo>
                  <a:pt x="1490" y="801"/>
                  <a:pt x="1491" y="802"/>
                  <a:pt x="1491" y="803"/>
                </a:cubicBezTo>
                <a:cubicBezTo>
                  <a:pt x="1492" y="802"/>
                  <a:pt x="1492" y="802"/>
                  <a:pt x="1493" y="803"/>
                </a:cubicBezTo>
                <a:cubicBezTo>
                  <a:pt x="1494" y="803"/>
                  <a:pt x="1494" y="804"/>
                  <a:pt x="1495" y="804"/>
                </a:cubicBezTo>
                <a:cubicBezTo>
                  <a:pt x="1495" y="804"/>
                  <a:pt x="1496" y="804"/>
                  <a:pt x="1496" y="803"/>
                </a:cubicBezTo>
                <a:cubicBezTo>
                  <a:pt x="1496" y="803"/>
                  <a:pt x="1496" y="803"/>
                  <a:pt x="1496" y="803"/>
                </a:cubicBezTo>
                <a:cubicBezTo>
                  <a:pt x="1496" y="802"/>
                  <a:pt x="1497" y="802"/>
                  <a:pt x="1497" y="802"/>
                </a:cubicBezTo>
                <a:cubicBezTo>
                  <a:pt x="1497" y="801"/>
                  <a:pt x="1497" y="802"/>
                  <a:pt x="1498" y="802"/>
                </a:cubicBezTo>
                <a:cubicBezTo>
                  <a:pt x="1498" y="801"/>
                  <a:pt x="1498" y="800"/>
                  <a:pt x="1499" y="800"/>
                </a:cubicBezTo>
                <a:cubicBezTo>
                  <a:pt x="1499" y="800"/>
                  <a:pt x="1500" y="799"/>
                  <a:pt x="1500" y="799"/>
                </a:cubicBezTo>
                <a:cubicBezTo>
                  <a:pt x="1500" y="799"/>
                  <a:pt x="1499" y="798"/>
                  <a:pt x="1499" y="798"/>
                </a:cubicBezTo>
                <a:cubicBezTo>
                  <a:pt x="1499" y="798"/>
                  <a:pt x="1501" y="797"/>
                  <a:pt x="1501" y="797"/>
                </a:cubicBezTo>
                <a:cubicBezTo>
                  <a:pt x="1502" y="797"/>
                  <a:pt x="1501" y="796"/>
                  <a:pt x="1502" y="796"/>
                </a:cubicBezTo>
                <a:cubicBezTo>
                  <a:pt x="1503" y="796"/>
                  <a:pt x="1503" y="797"/>
                  <a:pt x="1503" y="797"/>
                </a:cubicBezTo>
                <a:cubicBezTo>
                  <a:pt x="1503" y="798"/>
                  <a:pt x="1503" y="798"/>
                  <a:pt x="1502" y="799"/>
                </a:cubicBezTo>
                <a:cubicBezTo>
                  <a:pt x="1502" y="800"/>
                  <a:pt x="1501" y="799"/>
                  <a:pt x="1501" y="800"/>
                </a:cubicBezTo>
                <a:cubicBezTo>
                  <a:pt x="1502" y="800"/>
                  <a:pt x="1503" y="800"/>
                  <a:pt x="1503" y="800"/>
                </a:cubicBezTo>
                <a:cubicBezTo>
                  <a:pt x="1504" y="799"/>
                  <a:pt x="1504" y="799"/>
                  <a:pt x="1505" y="800"/>
                </a:cubicBezTo>
                <a:cubicBezTo>
                  <a:pt x="1504" y="800"/>
                  <a:pt x="1504" y="800"/>
                  <a:pt x="1503" y="801"/>
                </a:cubicBezTo>
                <a:cubicBezTo>
                  <a:pt x="1504" y="802"/>
                  <a:pt x="1505" y="802"/>
                  <a:pt x="1506" y="802"/>
                </a:cubicBezTo>
                <a:cubicBezTo>
                  <a:pt x="1506" y="803"/>
                  <a:pt x="1507" y="804"/>
                  <a:pt x="1507" y="804"/>
                </a:cubicBezTo>
                <a:cubicBezTo>
                  <a:pt x="1507" y="804"/>
                  <a:pt x="1507" y="804"/>
                  <a:pt x="1508" y="804"/>
                </a:cubicBezTo>
                <a:cubicBezTo>
                  <a:pt x="1508" y="805"/>
                  <a:pt x="1508" y="805"/>
                  <a:pt x="1509" y="806"/>
                </a:cubicBezTo>
                <a:cubicBezTo>
                  <a:pt x="1509" y="805"/>
                  <a:pt x="1509" y="805"/>
                  <a:pt x="1509" y="804"/>
                </a:cubicBezTo>
                <a:cubicBezTo>
                  <a:pt x="1509" y="804"/>
                  <a:pt x="1511" y="803"/>
                  <a:pt x="1512" y="803"/>
                </a:cubicBezTo>
                <a:cubicBezTo>
                  <a:pt x="1512" y="802"/>
                  <a:pt x="1513" y="801"/>
                  <a:pt x="1514" y="800"/>
                </a:cubicBezTo>
                <a:cubicBezTo>
                  <a:pt x="1514" y="800"/>
                  <a:pt x="1514" y="800"/>
                  <a:pt x="1514" y="800"/>
                </a:cubicBezTo>
                <a:cubicBezTo>
                  <a:pt x="1515" y="799"/>
                  <a:pt x="1514" y="799"/>
                  <a:pt x="1514" y="798"/>
                </a:cubicBezTo>
                <a:cubicBezTo>
                  <a:pt x="1515" y="798"/>
                  <a:pt x="1514" y="797"/>
                  <a:pt x="1515" y="797"/>
                </a:cubicBezTo>
                <a:cubicBezTo>
                  <a:pt x="1516" y="796"/>
                  <a:pt x="1515" y="796"/>
                  <a:pt x="1516" y="796"/>
                </a:cubicBezTo>
                <a:cubicBezTo>
                  <a:pt x="1517" y="796"/>
                  <a:pt x="1518" y="796"/>
                  <a:pt x="1519" y="796"/>
                </a:cubicBezTo>
                <a:cubicBezTo>
                  <a:pt x="1519" y="796"/>
                  <a:pt x="1519" y="797"/>
                  <a:pt x="1520" y="797"/>
                </a:cubicBezTo>
                <a:cubicBezTo>
                  <a:pt x="1521" y="796"/>
                  <a:pt x="1521" y="796"/>
                  <a:pt x="1521" y="796"/>
                </a:cubicBezTo>
                <a:cubicBezTo>
                  <a:pt x="1522" y="797"/>
                  <a:pt x="1523" y="797"/>
                  <a:pt x="1523" y="797"/>
                </a:cubicBezTo>
                <a:cubicBezTo>
                  <a:pt x="1524" y="797"/>
                  <a:pt x="1523" y="796"/>
                  <a:pt x="1524" y="796"/>
                </a:cubicBezTo>
                <a:cubicBezTo>
                  <a:pt x="1524" y="796"/>
                  <a:pt x="1524" y="796"/>
                  <a:pt x="1524" y="796"/>
                </a:cubicBezTo>
                <a:cubicBezTo>
                  <a:pt x="1524" y="795"/>
                  <a:pt x="1525" y="795"/>
                  <a:pt x="1525" y="795"/>
                </a:cubicBezTo>
                <a:cubicBezTo>
                  <a:pt x="1525" y="795"/>
                  <a:pt x="1524" y="794"/>
                  <a:pt x="1525" y="794"/>
                </a:cubicBezTo>
                <a:cubicBezTo>
                  <a:pt x="1526" y="793"/>
                  <a:pt x="1526" y="793"/>
                  <a:pt x="1526" y="793"/>
                </a:cubicBezTo>
                <a:cubicBezTo>
                  <a:pt x="1526" y="793"/>
                  <a:pt x="1524" y="792"/>
                  <a:pt x="1524" y="792"/>
                </a:cubicBezTo>
                <a:cubicBezTo>
                  <a:pt x="1524" y="791"/>
                  <a:pt x="1525" y="791"/>
                  <a:pt x="1524" y="791"/>
                </a:cubicBezTo>
                <a:cubicBezTo>
                  <a:pt x="1524" y="790"/>
                  <a:pt x="1525" y="789"/>
                  <a:pt x="1526" y="788"/>
                </a:cubicBezTo>
                <a:cubicBezTo>
                  <a:pt x="1526" y="788"/>
                  <a:pt x="1526" y="785"/>
                  <a:pt x="1527" y="784"/>
                </a:cubicBezTo>
                <a:cubicBezTo>
                  <a:pt x="1526" y="784"/>
                  <a:pt x="1526" y="784"/>
                  <a:pt x="1526" y="784"/>
                </a:cubicBezTo>
                <a:cubicBezTo>
                  <a:pt x="1527" y="784"/>
                  <a:pt x="1527" y="783"/>
                  <a:pt x="1527" y="783"/>
                </a:cubicBezTo>
                <a:cubicBezTo>
                  <a:pt x="1527" y="782"/>
                  <a:pt x="1527" y="782"/>
                  <a:pt x="1528" y="781"/>
                </a:cubicBezTo>
                <a:cubicBezTo>
                  <a:pt x="1528" y="781"/>
                  <a:pt x="1528" y="780"/>
                  <a:pt x="1528" y="779"/>
                </a:cubicBezTo>
                <a:cubicBezTo>
                  <a:pt x="1528" y="779"/>
                  <a:pt x="1529" y="780"/>
                  <a:pt x="1529" y="779"/>
                </a:cubicBezTo>
                <a:cubicBezTo>
                  <a:pt x="1529" y="779"/>
                  <a:pt x="1529" y="779"/>
                  <a:pt x="1529" y="778"/>
                </a:cubicBezTo>
                <a:cubicBezTo>
                  <a:pt x="1529" y="778"/>
                  <a:pt x="1529" y="778"/>
                  <a:pt x="1529" y="778"/>
                </a:cubicBezTo>
                <a:cubicBezTo>
                  <a:pt x="1529" y="777"/>
                  <a:pt x="1530" y="777"/>
                  <a:pt x="1530" y="776"/>
                </a:cubicBezTo>
                <a:cubicBezTo>
                  <a:pt x="1530" y="776"/>
                  <a:pt x="1529" y="775"/>
                  <a:pt x="1530" y="775"/>
                </a:cubicBezTo>
                <a:cubicBezTo>
                  <a:pt x="1530" y="775"/>
                  <a:pt x="1530" y="775"/>
                  <a:pt x="1530" y="775"/>
                </a:cubicBezTo>
                <a:cubicBezTo>
                  <a:pt x="1530" y="774"/>
                  <a:pt x="1530" y="775"/>
                  <a:pt x="1530" y="775"/>
                </a:cubicBezTo>
                <a:cubicBezTo>
                  <a:pt x="1531" y="773"/>
                  <a:pt x="1531" y="772"/>
                  <a:pt x="1531" y="770"/>
                </a:cubicBezTo>
                <a:cubicBezTo>
                  <a:pt x="1530" y="770"/>
                  <a:pt x="1530" y="769"/>
                  <a:pt x="1531" y="769"/>
                </a:cubicBezTo>
                <a:cubicBezTo>
                  <a:pt x="1533" y="769"/>
                  <a:pt x="1532" y="769"/>
                  <a:pt x="1532" y="768"/>
                </a:cubicBezTo>
                <a:cubicBezTo>
                  <a:pt x="1532" y="767"/>
                  <a:pt x="1533" y="767"/>
                  <a:pt x="1533" y="766"/>
                </a:cubicBezTo>
                <a:cubicBezTo>
                  <a:pt x="1533" y="766"/>
                  <a:pt x="1534" y="767"/>
                  <a:pt x="1534" y="766"/>
                </a:cubicBezTo>
                <a:cubicBezTo>
                  <a:pt x="1534" y="766"/>
                  <a:pt x="1535" y="766"/>
                  <a:pt x="1535" y="765"/>
                </a:cubicBezTo>
                <a:cubicBezTo>
                  <a:pt x="1535" y="765"/>
                  <a:pt x="1536" y="765"/>
                  <a:pt x="1537" y="764"/>
                </a:cubicBezTo>
                <a:cubicBezTo>
                  <a:pt x="1538" y="764"/>
                  <a:pt x="1537" y="764"/>
                  <a:pt x="1538" y="763"/>
                </a:cubicBezTo>
                <a:cubicBezTo>
                  <a:pt x="1537" y="763"/>
                  <a:pt x="1538" y="760"/>
                  <a:pt x="1539" y="760"/>
                </a:cubicBezTo>
                <a:cubicBezTo>
                  <a:pt x="1539" y="760"/>
                  <a:pt x="1540" y="757"/>
                  <a:pt x="1540" y="756"/>
                </a:cubicBezTo>
                <a:cubicBezTo>
                  <a:pt x="1540" y="756"/>
                  <a:pt x="1540" y="756"/>
                  <a:pt x="1540" y="756"/>
                </a:cubicBezTo>
                <a:cubicBezTo>
                  <a:pt x="1540" y="756"/>
                  <a:pt x="1540" y="756"/>
                  <a:pt x="1540" y="755"/>
                </a:cubicBezTo>
                <a:cubicBezTo>
                  <a:pt x="1540" y="755"/>
                  <a:pt x="1540" y="754"/>
                  <a:pt x="1540" y="754"/>
                </a:cubicBezTo>
                <a:cubicBezTo>
                  <a:pt x="1540" y="754"/>
                  <a:pt x="1541" y="752"/>
                  <a:pt x="1540" y="752"/>
                </a:cubicBezTo>
                <a:cubicBezTo>
                  <a:pt x="1540" y="751"/>
                  <a:pt x="1540" y="749"/>
                  <a:pt x="1541" y="748"/>
                </a:cubicBezTo>
                <a:cubicBezTo>
                  <a:pt x="1541" y="748"/>
                  <a:pt x="1541" y="747"/>
                  <a:pt x="1541" y="747"/>
                </a:cubicBezTo>
                <a:cubicBezTo>
                  <a:pt x="1540" y="747"/>
                  <a:pt x="1539" y="747"/>
                  <a:pt x="1540" y="746"/>
                </a:cubicBezTo>
                <a:cubicBezTo>
                  <a:pt x="1540" y="746"/>
                  <a:pt x="1541" y="745"/>
                  <a:pt x="1541" y="745"/>
                </a:cubicBezTo>
                <a:cubicBezTo>
                  <a:pt x="1542" y="744"/>
                  <a:pt x="1541" y="744"/>
                  <a:pt x="1541" y="743"/>
                </a:cubicBezTo>
                <a:cubicBezTo>
                  <a:pt x="1542" y="742"/>
                  <a:pt x="1542" y="742"/>
                  <a:pt x="1542" y="741"/>
                </a:cubicBezTo>
                <a:cubicBezTo>
                  <a:pt x="1542" y="740"/>
                  <a:pt x="1542" y="740"/>
                  <a:pt x="1542" y="739"/>
                </a:cubicBezTo>
                <a:cubicBezTo>
                  <a:pt x="1542" y="739"/>
                  <a:pt x="1541" y="739"/>
                  <a:pt x="1542" y="738"/>
                </a:cubicBezTo>
                <a:cubicBezTo>
                  <a:pt x="1541" y="738"/>
                  <a:pt x="1542" y="738"/>
                  <a:pt x="1542" y="738"/>
                </a:cubicBezTo>
                <a:close/>
                <a:moveTo>
                  <a:pt x="1580" y="637"/>
                </a:moveTo>
                <a:cubicBezTo>
                  <a:pt x="1580" y="638"/>
                  <a:pt x="1580" y="638"/>
                  <a:pt x="1580" y="638"/>
                </a:cubicBezTo>
                <a:cubicBezTo>
                  <a:pt x="1580" y="638"/>
                  <a:pt x="1580" y="639"/>
                  <a:pt x="1581" y="639"/>
                </a:cubicBezTo>
                <a:cubicBezTo>
                  <a:pt x="1582" y="640"/>
                  <a:pt x="1583" y="640"/>
                  <a:pt x="1584" y="641"/>
                </a:cubicBezTo>
                <a:cubicBezTo>
                  <a:pt x="1584" y="639"/>
                  <a:pt x="1582" y="638"/>
                  <a:pt x="1580" y="637"/>
                </a:cubicBezTo>
                <a:close/>
                <a:moveTo>
                  <a:pt x="1531" y="636"/>
                </a:moveTo>
                <a:cubicBezTo>
                  <a:pt x="1532" y="635"/>
                  <a:pt x="1531" y="635"/>
                  <a:pt x="1531" y="635"/>
                </a:cubicBezTo>
                <a:cubicBezTo>
                  <a:pt x="1530" y="635"/>
                  <a:pt x="1531" y="636"/>
                  <a:pt x="1531" y="636"/>
                </a:cubicBezTo>
                <a:cubicBezTo>
                  <a:pt x="1531" y="636"/>
                  <a:pt x="1531" y="636"/>
                  <a:pt x="1531" y="636"/>
                </a:cubicBezTo>
                <a:close/>
                <a:moveTo>
                  <a:pt x="1385" y="637"/>
                </a:moveTo>
                <a:cubicBezTo>
                  <a:pt x="1386" y="637"/>
                  <a:pt x="1386" y="637"/>
                  <a:pt x="1387" y="637"/>
                </a:cubicBezTo>
                <a:cubicBezTo>
                  <a:pt x="1389" y="637"/>
                  <a:pt x="1388" y="637"/>
                  <a:pt x="1389" y="635"/>
                </a:cubicBezTo>
                <a:cubicBezTo>
                  <a:pt x="1388" y="635"/>
                  <a:pt x="1388" y="634"/>
                  <a:pt x="1388" y="634"/>
                </a:cubicBezTo>
                <a:cubicBezTo>
                  <a:pt x="1387" y="634"/>
                  <a:pt x="1387" y="634"/>
                  <a:pt x="1386" y="634"/>
                </a:cubicBezTo>
                <a:cubicBezTo>
                  <a:pt x="1383" y="634"/>
                  <a:pt x="1386" y="634"/>
                  <a:pt x="1385" y="634"/>
                </a:cubicBezTo>
                <a:cubicBezTo>
                  <a:pt x="1385" y="633"/>
                  <a:pt x="1384" y="633"/>
                  <a:pt x="1383" y="633"/>
                </a:cubicBezTo>
                <a:cubicBezTo>
                  <a:pt x="1382" y="633"/>
                  <a:pt x="1382" y="633"/>
                  <a:pt x="1381" y="633"/>
                </a:cubicBezTo>
                <a:cubicBezTo>
                  <a:pt x="1380" y="633"/>
                  <a:pt x="1381" y="634"/>
                  <a:pt x="1380" y="634"/>
                </a:cubicBezTo>
                <a:cubicBezTo>
                  <a:pt x="1382" y="635"/>
                  <a:pt x="1384" y="635"/>
                  <a:pt x="1385" y="637"/>
                </a:cubicBezTo>
                <a:close/>
                <a:moveTo>
                  <a:pt x="1576" y="633"/>
                </a:moveTo>
                <a:cubicBezTo>
                  <a:pt x="1575" y="633"/>
                  <a:pt x="1575" y="633"/>
                  <a:pt x="1575" y="632"/>
                </a:cubicBezTo>
                <a:cubicBezTo>
                  <a:pt x="1575" y="632"/>
                  <a:pt x="1574" y="632"/>
                  <a:pt x="1574" y="632"/>
                </a:cubicBezTo>
                <a:cubicBezTo>
                  <a:pt x="1573" y="632"/>
                  <a:pt x="1572" y="632"/>
                  <a:pt x="1571" y="632"/>
                </a:cubicBezTo>
                <a:cubicBezTo>
                  <a:pt x="1571" y="632"/>
                  <a:pt x="1571" y="632"/>
                  <a:pt x="1571" y="632"/>
                </a:cubicBezTo>
                <a:cubicBezTo>
                  <a:pt x="1571" y="633"/>
                  <a:pt x="1572" y="634"/>
                  <a:pt x="1572" y="634"/>
                </a:cubicBezTo>
                <a:cubicBezTo>
                  <a:pt x="1573" y="635"/>
                  <a:pt x="1574" y="635"/>
                  <a:pt x="1575" y="635"/>
                </a:cubicBezTo>
                <a:cubicBezTo>
                  <a:pt x="1575" y="635"/>
                  <a:pt x="1577" y="635"/>
                  <a:pt x="1577" y="634"/>
                </a:cubicBezTo>
                <a:cubicBezTo>
                  <a:pt x="1577" y="633"/>
                  <a:pt x="1576" y="634"/>
                  <a:pt x="1576" y="633"/>
                </a:cubicBezTo>
                <a:close/>
                <a:moveTo>
                  <a:pt x="1528" y="633"/>
                </a:moveTo>
                <a:cubicBezTo>
                  <a:pt x="1529" y="633"/>
                  <a:pt x="1529" y="633"/>
                  <a:pt x="1530" y="633"/>
                </a:cubicBezTo>
                <a:cubicBezTo>
                  <a:pt x="1530" y="633"/>
                  <a:pt x="1530" y="632"/>
                  <a:pt x="1530" y="632"/>
                </a:cubicBezTo>
                <a:cubicBezTo>
                  <a:pt x="1529" y="632"/>
                  <a:pt x="1529" y="632"/>
                  <a:pt x="1528" y="633"/>
                </a:cubicBezTo>
                <a:cubicBezTo>
                  <a:pt x="1529" y="633"/>
                  <a:pt x="1528" y="633"/>
                  <a:pt x="1528" y="633"/>
                </a:cubicBezTo>
                <a:close/>
                <a:moveTo>
                  <a:pt x="1580" y="632"/>
                </a:moveTo>
                <a:cubicBezTo>
                  <a:pt x="1579" y="632"/>
                  <a:pt x="1579" y="632"/>
                  <a:pt x="1579" y="631"/>
                </a:cubicBezTo>
                <a:cubicBezTo>
                  <a:pt x="1579" y="630"/>
                  <a:pt x="1579" y="631"/>
                  <a:pt x="1579" y="630"/>
                </a:cubicBezTo>
                <a:cubicBezTo>
                  <a:pt x="1579" y="630"/>
                  <a:pt x="1579" y="630"/>
                  <a:pt x="1578" y="630"/>
                </a:cubicBezTo>
                <a:cubicBezTo>
                  <a:pt x="1578" y="630"/>
                  <a:pt x="1578" y="629"/>
                  <a:pt x="1578" y="629"/>
                </a:cubicBezTo>
                <a:cubicBezTo>
                  <a:pt x="1578" y="628"/>
                  <a:pt x="1577" y="627"/>
                  <a:pt x="1576" y="627"/>
                </a:cubicBezTo>
                <a:cubicBezTo>
                  <a:pt x="1576" y="628"/>
                  <a:pt x="1576" y="628"/>
                  <a:pt x="1577" y="629"/>
                </a:cubicBezTo>
                <a:cubicBezTo>
                  <a:pt x="1577" y="629"/>
                  <a:pt x="1577" y="629"/>
                  <a:pt x="1577" y="630"/>
                </a:cubicBezTo>
                <a:cubicBezTo>
                  <a:pt x="1577" y="630"/>
                  <a:pt x="1577" y="630"/>
                  <a:pt x="1577" y="631"/>
                </a:cubicBezTo>
                <a:cubicBezTo>
                  <a:pt x="1577" y="631"/>
                  <a:pt x="1578" y="630"/>
                  <a:pt x="1578" y="631"/>
                </a:cubicBezTo>
                <a:cubicBezTo>
                  <a:pt x="1578" y="631"/>
                  <a:pt x="1580" y="633"/>
                  <a:pt x="1580" y="632"/>
                </a:cubicBezTo>
                <a:close/>
                <a:moveTo>
                  <a:pt x="1397" y="640"/>
                </a:moveTo>
                <a:cubicBezTo>
                  <a:pt x="1398" y="640"/>
                  <a:pt x="1398" y="640"/>
                  <a:pt x="1399" y="640"/>
                </a:cubicBezTo>
                <a:cubicBezTo>
                  <a:pt x="1400" y="639"/>
                  <a:pt x="1400" y="639"/>
                  <a:pt x="1400" y="638"/>
                </a:cubicBezTo>
                <a:cubicBezTo>
                  <a:pt x="1400" y="638"/>
                  <a:pt x="1401" y="638"/>
                  <a:pt x="1401" y="638"/>
                </a:cubicBezTo>
                <a:cubicBezTo>
                  <a:pt x="1402" y="638"/>
                  <a:pt x="1402" y="637"/>
                  <a:pt x="1402" y="637"/>
                </a:cubicBezTo>
                <a:cubicBezTo>
                  <a:pt x="1403" y="636"/>
                  <a:pt x="1403" y="637"/>
                  <a:pt x="1404" y="637"/>
                </a:cubicBezTo>
                <a:cubicBezTo>
                  <a:pt x="1404" y="637"/>
                  <a:pt x="1404" y="636"/>
                  <a:pt x="1405" y="636"/>
                </a:cubicBezTo>
                <a:cubicBezTo>
                  <a:pt x="1405" y="636"/>
                  <a:pt x="1406" y="636"/>
                  <a:pt x="1406" y="636"/>
                </a:cubicBezTo>
                <a:cubicBezTo>
                  <a:pt x="1407" y="636"/>
                  <a:pt x="1407" y="636"/>
                  <a:pt x="1407" y="635"/>
                </a:cubicBezTo>
                <a:cubicBezTo>
                  <a:pt x="1407" y="635"/>
                  <a:pt x="1408" y="635"/>
                  <a:pt x="1408" y="635"/>
                </a:cubicBezTo>
                <a:cubicBezTo>
                  <a:pt x="1409" y="634"/>
                  <a:pt x="1408" y="633"/>
                  <a:pt x="1409" y="633"/>
                </a:cubicBezTo>
                <a:cubicBezTo>
                  <a:pt x="1411" y="633"/>
                  <a:pt x="1410" y="632"/>
                  <a:pt x="1410" y="632"/>
                </a:cubicBezTo>
                <a:cubicBezTo>
                  <a:pt x="1412" y="632"/>
                  <a:pt x="1413" y="631"/>
                  <a:pt x="1413" y="630"/>
                </a:cubicBezTo>
                <a:cubicBezTo>
                  <a:pt x="1413" y="630"/>
                  <a:pt x="1415" y="629"/>
                  <a:pt x="1414" y="629"/>
                </a:cubicBezTo>
                <a:cubicBezTo>
                  <a:pt x="1415" y="629"/>
                  <a:pt x="1415" y="629"/>
                  <a:pt x="1416" y="629"/>
                </a:cubicBezTo>
                <a:cubicBezTo>
                  <a:pt x="1416" y="629"/>
                  <a:pt x="1417" y="628"/>
                  <a:pt x="1417" y="628"/>
                </a:cubicBezTo>
                <a:cubicBezTo>
                  <a:pt x="1418" y="627"/>
                  <a:pt x="1418" y="628"/>
                  <a:pt x="1418" y="627"/>
                </a:cubicBezTo>
                <a:cubicBezTo>
                  <a:pt x="1418" y="627"/>
                  <a:pt x="1415" y="627"/>
                  <a:pt x="1415" y="627"/>
                </a:cubicBezTo>
                <a:cubicBezTo>
                  <a:pt x="1415" y="627"/>
                  <a:pt x="1415" y="627"/>
                  <a:pt x="1415" y="627"/>
                </a:cubicBezTo>
                <a:cubicBezTo>
                  <a:pt x="1414" y="627"/>
                  <a:pt x="1413" y="627"/>
                  <a:pt x="1413" y="627"/>
                </a:cubicBezTo>
                <a:cubicBezTo>
                  <a:pt x="1413" y="627"/>
                  <a:pt x="1412" y="628"/>
                  <a:pt x="1412" y="628"/>
                </a:cubicBezTo>
                <a:cubicBezTo>
                  <a:pt x="1411" y="628"/>
                  <a:pt x="1411" y="628"/>
                  <a:pt x="1410" y="628"/>
                </a:cubicBezTo>
                <a:cubicBezTo>
                  <a:pt x="1410" y="628"/>
                  <a:pt x="1410" y="628"/>
                  <a:pt x="1409" y="628"/>
                </a:cubicBezTo>
                <a:cubicBezTo>
                  <a:pt x="1408" y="628"/>
                  <a:pt x="1408" y="628"/>
                  <a:pt x="1407" y="629"/>
                </a:cubicBezTo>
                <a:cubicBezTo>
                  <a:pt x="1407" y="630"/>
                  <a:pt x="1407" y="631"/>
                  <a:pt x="1406" y="631"/>
                </a:cubicBezTo>
                <a:cubicBezTo>
                  <a:pt x="1405" y="631"/>
                  <a:pt x="1405" y="631"/>
                  <a:pt x="1404" y="632"/>
                </a:cubicBezTo>
                <a:cubicBezTo>
                  <a:pt x="1404" y="633"/>
                  <a:pt x="1403" y="633"/>
                  <a:pt x="1403" y="633"/>
                </a:cubicBezTo>
                <a:cubicBezTo>
                  <a:pt x="1403" y="633"/>
                  <a:pt x="1403" y="634"/>
                  <a:pt x="1402" y="634"/>
                </a:cubicBezTo>
                <a:cubicBezTo>
                  <a:pt x="1402" y="634"/>
                  <a:pt x="1401" y="635"/>
                  <a:pt x="1400" y="634"/>
                </a:cubicBezTo>
                <a:cubicBezTo>
                  <a:pt x="1401" y="635"/>
                  <a:pt x="1402" y="637"/>
                  <a:pt x="1400" y="637"/>
                </a:cubicBezTo>
                <a:cubicBezTo>
                  <a:pt x="1399" y="637"/>
                  <a:pt x="1399" y="637"/>
                  <a:pt x="1399" y="638"/>
                </a:cubicBezTo>
                <a:cubicBezTo>
                  <a:pt x="1398" y="638"/>
                  <a:pt x="1398" y="637"/>
                  <a:pt x="1397" y="637"/>
                </a:cubicBezTo>
                <a:cubicBezTo>
                  <a:pt x="1397" y="637"/>
                  <a:pt x="1396" y="638"/>
                  <a:pt x="1396" y="639"/>
                </a:cubicBezTo>
                <a:cubicBezTo>
                  <a:pt x="1396" y="639"/>
                  <a:pt x="1396" y="639"/>
                  <a:pt x="1396" y="639"/>
                </a:cubicBezTo>
                <a:cubicBezTo>
                  <a:pt x="1396" y="639"/>
                  <a:pt x="1397" y="640"/>
                  <a:pt x="1397" y="640"/>
                </a:cubicBezTo>
                <a:cubicBezTo>
                  <a:pt x="1398" y="640"/>
                  <a:pt x="1397" y="640"/>
                  <a:pt x="1397" y="640"/>
                </a:cubicBezTo>
                <a:close/>
                <a:moveTo>
                  <a:pt x="1404" y="627"/>
                </a:moveTo>
                <a:cubicBezTo>
                  <a:pt x="1404" y="627"/>
                  <a:pt x="1403" y="627"/>
                  <a:pt x="1403" y="628"/>
                </a:cubicBezTo>
                <a:cubicBezTo>
                  <a:pt x="1404" y="627"/>
                  <a:pt x="1404" y="627"/>
                  <a:pt x="1404" y="627"/>
                </a:cubicBezTo>
                <a:cubicBezTo>
                  <a:pt x="1404" y="627"/>
                  <a:pt x="1404" y="627"/>
                  <a:pt x="1404" y="627"/>
                </a:cubicBezTo>
                <a:cubicBezTo>
                  <a:pt x="1404" y="627"/>
                  <a:pt x="1404" y="627"/>
                  <a:pt x="1404" y="627"/>
                </a:cubicBezTo>
                <a:close/>
                <a:moveTo>
                  <a:pt x="1402" y="627"/>
                </a:moveTo>
                <a:cubicBezTo>
                  <a:pt x="1402" y="627"/>
                  <a:pt x="1402" y="627"/>
                  <a:pt x="1402" y="627"/>
                </a:cubicBezTo>
                <a:cubicBezTo>
                  <a:pt x="1402" y="626"/>
                  <a:pt x="1401" y="626"/>
                  <a:pt x="1401" y="627"/>
                </a:cubicBezTo>
                <a:cubicBezTo>
                  <a:pt x="1401" y="627"/>
                  <a:pt x="1401" y="627"/>
                  <a:pt x="1402" y="627"/>
                </a:cubicBezTo>
                <a:close/>
                <a:moveTo>
                  <a:pt x="1406" y="627"/>
                </a:moveTo>
                <a:cubicBezTo>
                  <a:pt x="1406" y="627"/>
                  <a:pt x="1408" y="627"/>
                  <a:pt x="1408" y="626"/>
                </a:cubicBezTo>
                <a:cubicBezTo>
                  <a:pt x="1407" y="626"/>
                  <a:pt x="1406" y="626"/>
                  <a:pt x="1406" y="626"/>
                </a:cubicBezTo>
                <a:cubicBezTo>
                  <a:pt x="1406" y="626"/>
                  <a:pt x="1405" y="627"/>
                  <a:pt x="1406" y="627"/>
                </a:cubicBezTo>
                <a:close/>
                <a:moveTo>
                  <a:pt x="1392" y="629"/>
                </a:moveTo>
                <a:cubicBezTo>
                  <a:pt x="1393" y="628"/>
                  <a:pt x="1393" y="629"/>
                  <a:pt x="1394" y="629"/>
                </a:cubicBezTo>
                <a:cubicBezTo>
                  <a:pt x="1395" y="629"/>
                  <a:pt x="1395" y="628"/>
                  <a:pt x="1396" y="628"/>
                </a:cubicBezTo>
                <a:cubicBezTo>
                  <a:pt x="1397" y="628"/>
                  <a:pt x="1397" y="627"/>
                  <a:pt x="1398" y="628"/>
                </a:cubicBezTo>
                <a:cubicBezTo>
                  <a:pt x="1398" y="628"/>
                  <a:pt x="1398" y="629"/>
                  <a:pt x="1398" y="629"/>
                </a:cubicBezTo>
                <a:cubicBezTo>
                  <a:pt x="1398" y="629"/>
                  <a:pt x="1398" y="628"/>
                  <a:pt x="1398" y="628"/>
                </a:cubicBezTo>
                <a:cubicBezTo>
                  <a:pt x="1398" y="627"/>
                  <a:pt x="1399" y="627"/>
                  <a:pt x="1399" y="627"/>
                </a:cubicBezTo>
                <a:cubicBezTo>
                  <a:pt x="1398" y="626"/>
                  <a:pt x="1398" y="626"/>
                  <a:pt x="1398" y="626"/>
                </a:cubicBezTo>
                <a:cubicBezTo>
                  <a:pt x="1397" y="626"/>
                  <a:pt x="1396" y="627"/>
                  <a:pt x="1395" y="627"/>
                </a:cubicBezTo>
                <a:cubicBezTo>
                  <a:pt x="1395" y="627"/>
                  <a:pt x="1394" y="627"/>
                  <a:pt x="1394" y="626"/>
                </a:cubicBezTo>
                <a:cubicBezTo>
                  <a:pt x="1393" y="626"/>
                  <a:pt x="1392" y="626"/>
                  <a:pt x="1391" y="626"/>
                </a:cubicBezTo>
                <a:cubicBezTo>
                  <a:pt x="1391" y="626"/>
                  <a:pt x="1390" y="626"/>
                  <a:pt x="1390" y="626"/>
                </a:cubicBezTo>
                <a:cubicBezTo>
                  <a:pt x="1389" y="626"/>
                  <a:pt x="1390" y="626"/>
                  <a:pt x="1389" y="626"/>
                </a:cubicBezTo>
                <a:cubicBezTo>
                  <a:pt x="1388" y="626"/>
                  <a:pt x="1386" y="626"/>
                  <a:pt x="1385" y="625"/>
                </a:cubicBezTo>
                <a:cubicBezTo>
                  <a:pt x="1386" y="626"/>
                  <a:pt x="1384" y="626"/>
                  <a:pt x="1383" y="626"/>
                </a:cubicBezTo>
                <a:cubicBezTo>
                  <a:pt x="1383" y="627"/>
                  <a:pt x="1383" y="627"/>
                  <a:pt x="1383" y="627"/>
                </a:cubicBezTo>
                <a:cubicBezTo>
                  <a:pt x="1384" y="628"/>
                  <a:pt x="1384" y="628"/>
                  <a:pt x="1385" y="628"/>
                </a:cubicBezTo>
                <a:cubicBezTo>
                  <a:pt x="1386" y="628"/>
                  <a:pt x="1388" y="628"/>
                  <a:pt x="1388" y="629"/>
                </a:cubicBezTo>
                <a:cubicBezTo>
                  <a:pt x="1389" y="629"/>
                  <a:pt x="1390" y="629"/>
                  <a:pt x="1391" y="629"/>
                </a:cubicBezTo>
                <a:cubicBezTo>
                  <a:pt x="1392" y="629"/>
                  <a:pt x="1391" y="630"/>
                  <a:pt x="1392" y="629"/>
                </a:cubicBezTo>
                <a:cubicBezTo>
                  <a:pt x="1392" y="629"/>
                  <a:pt x="1392" y="629"/>
                  <a:pt x="1392" y="629"/>
                </a:cubicBezTo>
                <a:close/>
                <a:moveTo>
                  <a:pt x="1423" y="626"/>
                </a:moveTo>
                <a:cubicBezTo>
                  <a:pt x="1423" y="625"/>
                  <a:pt x="1423" y="625"/>
                  <a:pt x="1422" y="625"/>
                </a:cubicBezTo>
                <a:cubicBezTo>
                  <a:pt x="1422" y="626"/>
                  <a:pt x="1423" y="626"/>
                  <a:pt x="1423" y="626"/>
                </a:cubicBezTo>
                <a:close/>
                <a:moveTo>
                  <a:pt x="1373" y="630"/>
                </a:moveTo>
                <a:cubicBezTo>
                  <a:pt x="1373" y="629"/>
                  <a:pt x="1375" y="629"/>
                  <a:pt x="1375" y="629"/>
                </a:cubicBezTo>
                <a:cubicBezTo>
                  <a:pt x="1376" y="629"/>
                  <a:pt x="1377" y="629"/>
                  <a:pt x="1377" y="629"/>
                </a:cubicBezTo>
                <a:cubicBezTo>
                  <a:pt x="1377" y="628"/>
                  <a:pt x="1379" y="629"/>
                  <a:pt x="1380" y="629"/>
                </a:cubicBezTo>
                <a:cubicBezTo>
                  <a:pt x="1380" y="629"/>
                  <a:pt x="1380" y="629"/>
                  <a:pt x="1380" y="629"/>
                </a:cubicBezTo>
                <a:cubicBezTo>
                  <a:pt x="1380" y="628"/>
                  <a:pt x="1380" y="628"/>
                  <a:pt x="1380" y="627"/>
                </a:cubicBezTo>
                <a:cubicBezTo>
                  <a:pt x="1379" y="626"/>
                  <a:pt x="1378" y="626"/>
                  <a:pt x="1378" y="626"/>
                </a:cubicBezTo>
                <a:cubicBezTo>
                  <a:pt x="1376" y="626"/>
                  <a:pt x="1376" y="626"/>
                  <a:pt x="1376" y="625"/>
                </a:cubicBezTo>
                <a:cubicBezTo>
                  <a:pt x="1375" y="625"/>
                  <a:pt x="1375" y="625"/>
                  <a:pt x="1374" y="624"/>
                </a:cubicBezTo>
                <a:cubicBezTo>
                  <a:pt x="1374" y="625"/>
                  <a:pt x="1374" y="626"/>
                  <a:pt x="1374" y="626"/>
                </a:cubicBezTo>
                <a:cubicBezTo>
                  <a:pt x="1374" y="626"/>
                  <a:pt x="1375" y="626"/>
                  <a:pt x="1375" y="626"/>
                </a:cubicBezTo>
                <a:cubicBezTo>
                  <a:pt x="1375" y="627"/>
                  <a:pt x="1375" y="627"/>
                  <a:pt x="1375" y="628"/>
                </a:cubicBezTo>
                <a:cubicBezTo>
                  <a:pt x="1374" y="627"/>
                  <a:pt x="1373" y="627"/>
                  <a:pt x="1372" y="627"/>
                </a:cubicBezTo>
                <a:cubicBezTo>
                  <a:pt x="1372" y="627"/>
                  <a:pt x="1371" y="626"/>
                  <a:pt x="1371" y="626"/>
                </a:cubicBezTo>
                <a:cubicBezTo>
                  <a:pt x="1371" y="626"/>
                  <a:pt x="1370" y="627"/>
                  <a:pt x="1370" y="627"/>
                </a:cubicBezTo>
                <a:cubicBezTo>
                  <a:pt x="1370" y="628"/>
                  <a:pt x="1369" y="629"/>
                  <a:pt x="1369" y="630"/>
                </a:cubicBezTo>
                <a:cubicBezTo>
                  <a:pt x="1370" y="629"/>
                  <a:pt x="1371" y="629"/>
                  <a:pt x="1372" y="629"/>
                </a:cubicBezTo>
                <a:cubicBezTo>
                  <a:pt x="1371" y="630"/>
                  <a:pt x="1373" y="630"/>
                  <a:pt x="1373" y="630"/>
                </a:cubicBezTo>
                <a:close/>
                <a:moveTo>
                  <a:pt x="1369" y="627"/>
                </a:moveTo>
                <a:cubicBezTo>
                  <a:pt x="1369" y="626"/>
                  <a:pt x="1369" y="625"/>
                  <a:pt x="1369" y="624"/>
                </a:cubicBezTo>
                <a:cubicBezTo>
                  <a:pt x="1369" y="624"/>
                  <a:pt x="1369" y="624"/>
                  <a:pt x="1368" y="624"/>
                </a:cubicBezTo>
                <a:cubicBezTo>
                  <a:pt x="1367" y="624"/>
                  <a:pt x="1367" y="626"/>
                  <a:pt x="1366" y="627"/>
                </a:cubicBezTo>
                <a:cubicBezTo>
                  <a:pt x="1367" y="627"/>
                  <a:pt x="1367" y="627"/>
                  <a:pt x="1367" y="628"/>
                </a:cubicBezTo>
                <a:cubicBezTo>
                  <a:pt x="1368" y="627"/>
                  <a:pt x="1368" y="627"/>
                  <a:pt x="1369" y="627"/>
                </a:cubicBezTo>
                <a:cubicBezTo>
                  <a:pt x="1369" y="626"/>
                  <a:pt x="1369" y="627"/>
                  <a:pt x="1369" y="627"/>
                </a:cubicBezTo>
                <a:close/>
                <a:moveTo>
                  <a:pt x="1562" y="624"/>
                </a:moveTo>
                <a:cubicBezTo>
                  <a:pt x="1561" y="624"/>
                  <a:pt x="1560" y="625"/>
                  <a:pt x="1560" y="626"/>
                </a:cubicBezTo>
                <a:cubicBezTo>
                  <a:pt x="1560" y="626"/>
                  <a:pt x="1561" y="626"/>
                  <a:pt x="1561" y="626"/>
                </a:cubicBezTo>
                <a:cubicBezTo>
                  <a:pt x="1561" y="627"/>
                  <a:pt x="1562" y="627"/>
                  <a:pt x="1563" y="627"/>
                </a:cubicBezTo>
                <a:cubicBezTo>
                  <a:pt x="1563" y="626"/>
                  <a:pt x="1563" y="626"/>
                  <a:pt x="1562" y="625"/>
                </a:cubicBezTo>
                <a:cubicBezTo>
                  <a:pt x="1562" y="624"/>
                  <a:pt x="1562" y="624"/>
                  <a:pt x="1562" y="624"/>
                </a:cubicBezTo>
                <a:cubicBezTo>
                  <a:pt x="1561" y="624"/>
                  <a:pt x="1562" y="624"/>
                  <a:pt x="1562" y="624"/>
                </a:cubicBezTo>
                <a:close/>
                <a:moveTo>
                  <a:pt x="1412" y="623"/>
                </a:moveTo>
                <a:cubicBezTo>
                  <a:pt x="1412" y="624"/>
                  <a:pt x="1411" y="624"/>
                  <a:pt x="1413" y="624"/>
                </a:cubicBezTo>
                <a:cubicBezTo>
                  <a:pt x="1414" y="624"/>
                  <a:pt x="1415" y="624"/>
                  <a:pt x="1417" y="624"/>
                </a:cubicBezTo>
                <a:cubicBezTo>
                  <a:pt x="1416" y="624"/>
                  <a:pt x="1416" y="623"/>
                  <a:pt x="1416" y="623"/>
                </a:cubicBezTo>
                <a:cubicBezTo>
                  <a:pt x="1415" y="623"/>
                  <a:pt x="1415" y="623"/>
                  <a:pt x="1414" y="623"/>
                </a:cubicBezTo>
                <a:cubicBezTo>
                  <a:pt x="1414" y="623"/>
                  <a:pt x="1414" y="623"/>
                  <a:pt x="1414" y="623"/>
                </a:cubicBezTo>
                <a:cubicBezTo>
                  <a:pt x="1413" y="623"/>
                  <a:pt x="1414" y="623"/>
                  <a:pt x="1414" y="623"/>
                </a:cubicBezTo>
                <a:cubicBezTo>
                  <a:pt x="1413" y="623"/>
                  <a:pt x="1413" y="623"/>
                  <a:pt x="1412" y="623"/>
                </a:cubicBezTo>
                <a:close/>
                <a:moveTo>
                  <a:pt x="1362" y="626"/>
                </a:moveTo>
                <a:cubicBezTo>
                  <a:pt x="1363" y="626"/>
                  <a:pt x="1363" y="625"/>
                  <a:pt x="1364" y="624"/>
                </a:cubicBezTo>
                <a:cubicBezTo>
                  <a:pt x="1364" y="624"/>
                  <a:pt x="1364" y="622"/>
                  <a:pt x="1363" y="622"/>
                </a:cubicBezTo>
                <a:cubicBezTo>
                  <a:pt x="1363" y="623"/>
                  <a:pt x="1362" y="623"/>
                  <a:pt x="1362" y="623"/>
                </a:cubicBezTo>
                <a:cubicBezTo>
                  <a:pt x="1362" y="623"/>
                  <a:pt x="1361" y="622"/>
                  <a:pt x="1361" y="622"/>
                </a:cubicBezTo>
                <a:cubicBezTo>
                  <a:pt x="1361" y="622"/>
                  <a:pt x="1361" y="622"/>
                  <a:pt x="1360" y="622"/>
                </a:cubicBezTo>
                <a:cubicBezTo>
                  <a:pt x="1360" y="622"/>
                  <a:pt x="1360" y="623"/>
                  <a:pt x="1361" y="624"/>
                </a:cubicBezTo>
                <a:cubicBezTo>
                  <a:pt x="1361" y="624"/>
                  <a:pt x="1362" y="624"/>
                  <a:pt x="1362" y="625"/>
                </a:cubicBezTo>
                <a:cubicBezTo>
                  <a:pt x="1361" y="626"/>
                  <a:pt x="1362" y="626"/>
                  <a:pt x="1362" y="626"/>
                </a:cubicBezTo>
                <a:close/>
                <a:moveTo>
                  <a:pt x="1571" y="626"/>
                </a:moveTo>
                <a:cubicBezTo>
                  <a:pt x="1571" y="626"/>
                  <a:pt x="1572" y="626"/>
                  <a:pt x="1572" y="626"/>
                </a:cubicBezTo>
                <a:cubicBezTo>
                  <a:pt x="1572" y="626"/>
                  <a:pt x="1570" y="624"/>
                  <a:pt x="1570" y="624"/>
                </a:cubicBezTo>
                <a:cubicBezTo>
                  <a:pt x="1569" y="623"/>
                  <a:pt x="1569" y="622"/>
                  <a:pt x="1569" y="622"/>
                </a:cubicBezTo>
                <a:cubicBezTo>
                  <a:pt x="1568" y="622"/>
                  <a:pt x="1568" y="623"/>
                  <a:pt x="1567" y="622"/>
                </a:cubicBezTo>
                <a:cubicBezTo>
                  <a:pt x="1566" y="621"/>
                  <a:pt x="1566" y="621"/>
                  <a:pt x="1566" y="623"/>
                </a:cubicBezTo>
                <a:cubicBezTo>
                  <a:pt x="1567" y="622"/>
                  <a:pt x="1567" y="624"/>
                  <a:pt x="1568" y="624"/>
                </a:cubicBezTo>
                <a:cubicBezTo>
                  <a:pt x="1568" y="624"/>
                  <a:pt x="1568" y="624"/>
                  <a:pt x="1569" y="624"/>
                </a:cubicBezTo>
                <a:cubicBezTo>
                  <a:pt x="1569" y="624"/>
                  <a:pt x="1569" y="625"/>
                  <a:pt x="1569" y="625"/>
                </a:cubicBezTo>
                <a:cubicBezTo>
                  <a:pt x="1570" y="626"/>
                  <a:pt x="1571" y="626"/>
                  <a:pt x="1571" y="626"/>
                </a:cubicBezTo>
                <a:cubicBezTo>
                  <a:pt x="1571" y="626"/>
                  <a:pt x="1571" y="626"/>
                  <a:pt x="1571" y="626"/>
                </a:cubicBezTo>
                <a:cubicBezTo>
                  <a:pt x="1571" y="626"/>
                  <a:pt x="1571" y="626"/>
                  <a:pt x="1571" y="626"/>
                </a:cubicBezTo>
                <a:close/>
                <a:moveTo>
                  <a:pt x="1436" y="624"/>
                </a:moveTo>
                <a:cubicBezTo>
                  <a:pt x="1437" y="624"/>
                  <a:pt x="1437" y="623"/>
                  <a:pt x="1437" y="622"/>
                </a:cubicBezTo>
                <a:cubicBezTo>
                  <a:pt x="1437" y="622"/>
                  <a:pt x="1438" y="622"/>
                  <a:pt x="1438" y="622"/>
                </a:cubicBezTo>
                <a:cubicBezTo>
                  <a:pt x="1438" y="621"/>
                  <a:pt x="1438" y="621"/>
                  <a:pt x="1438" y="620"/>
                </a:cubicBezTo>
                <a:cubicBezTo>
                  <a:pt x="1437" y="620"/>
                  <a:pt x="1437" y="621"/>
                  <a:pt x="1437" y="622"/>
                </a:cubicBezTo>
                <a:cubicBezTo>
                  <a:pt x="1436" y="622"/>
                  <a:pt x="1436" y="622"/>
                  <a:pt x="1436" y="622"/>
                </a:cubicBezTo>
                <a:cubicBezTo>
                  <a:pt x="1436" y="622"/>
                  <a:pt x="1436" y="622"/>
                  <a:pt x="1436" y="622"/>
                </a:cubicBezTo>
                <a:cubicBezTo>
                  <a:pt x="1436" y="623"/>
                  <a:pt x="1435" y="624"/>
                  <a:pt x="1436" y="624"/>
                </a:cubicBezTo>
                <a:cubicBezTo>
                  <a:pt x="1436" y="624"/>
                  <a:pt x="1436" y="624"/>
                  <a:pt x="1436" y="624"/>
                </a:cubicBezTo>
                <a:cubicBezTo>
                  <a:pt x="1437" y="624"/>
                  <a:pt x="1436" y="624"/>
                  <a:pt x="1436" y="624"/>
                </a:cubicBezTo>
                <a:close/>
                <a:moveTo>
                  <a:pt x="1472" y="618"/>
                </a:moveTo>
                <a:cubicBezTo>
                  <a:pt x="1471" y="618"/>
                  <a:pt x="1471" y="618"/>
                  <a:pt x="1471" y="619"/>
                </a:cubicBezTo>
                <a:cubicBezTo>
                  <a:pt x="1471" y="620"/>
                  <a:pt x="1472" y="620"/>
                  <a:pt x="1472" y="620"/>
                </a:cubicBezTo>
                <a:cubicBezTo>
                  <a:pt x="1472" y="619"/>
                  <a:pt x="1472" y="618"/>
                  <a:pt x="1472" y="618"/>
                </a:cubicBezTo>
                <a:cubicBezTo>
                  <a:pt x="1471" y="618"/>
                  <a:pt x="1472" y="618"/>
                  <a:pt x="1472" y="618"/>
                </a:cubicBezTo>
                <a:close/>
                <a:moveTo>
                  <a:pt x="1559" y="619"/>
                </a:moveTo>
                <a:cubicBezTo>
                  <a:pt x="1558" y="618"/>
                  <a:pt x="1558" y="617"/>
                  <a:pt x="1557" y="617"/>
                </a:cubicBezTo>
                <a:cubicBezTo>
                  <a:pt x="1557" y="618"/>
                  <a:pt x="1557" y="620"/>
                  <a:pt x="1559" y="620"/>
                </a:cubicBezTo>
                <a:cubicBezTo>
                  <a:pt x="1559" y="621"/>
                  <a:pt x="1560" y="621"/>
                  <a:pt x="1561" y="621"/>
                </a:cubicBezTo>
                <a:cubicBezTo>
                  <a:pt x="1561" y="620"/>
                  <a:pt x="1559" y="620"/>
                  <a:pt x="1559" y="619"/>
                </a:cubicBezTo>
                <a:cubicBezTo>
                  <a:pt x="1558" y="618"/>
                  <a:pt x="1559" y="619"/>
                  <a:pt x="1559" y="619"/>
                </a:cubicBezTo>
                <a:close/>
                <a:moveTo>
                  <a:pt x="1353" y="613"/>
                </a:moveTo>
                <a:cubicBezTo>
                  <a:pt x="1352" y="613"/>
                  <a:pt x="1352" y="614"/>
                  <a:pt x="1353" y="614"/>
                </a:cubicBezTo>
                <a:cubicBezTo>
                  <a:pt x="1353" y="615"/>
                  <a:pt x="1354" y="615"/>
                  <a:pt x="1355" y="615"/>
                </a:cubicBezTo>
                <a:cubicBezTo>
                  <a:pt x="1355" y="615"/>
                  <a:pt x="1357" y="614"/>
                  <a:pt x="1357" y="614"/>
                </a:cubicBezTo>
                <a:cubicBezTo>
                  <a:pt x="1357" y="613"/>
                  <a:pt x="1355" y="613"/>
                  <a:pt x="1355" y="613"/>
                </a:cubicBezTo>
                <a:cubicBezTo>
                  <a:pt x="1354" y="613"/>
                  <a:pt x="1354" y="613"/>
                  <a:pt x="1354" y="613"/>
                </a:cubicBezTo>
                <a:cubicBezTo>
                  <a:pt x="1354" y="613"/>
                  <a:pt x="1353" y="613"/>
                  <a:pt x="1353" y="613"/>
                </a:cubicBezTo>
                <a:close/>
                <a:moveTo>
                  <a:pt x="1004" y="614"/>
                </a:moveTo>
                <a:cubicBezTo>
                  <a:pt x="1005" y="614"/>
                  <a:pt x="1004" y="613"/>
                  <a:pt x="1005" y="613"/>
                </a:cubicBezTo>
                <a:cubicBezTo>
                  <a:pt x="1005" y="613"/>
                  <a:pt x="1004" y="611"/>
                  <a:pt x="1003" y="611"/>
                </a:cubicBezTo>
                <a:cubicBezTo>
                  <a:pt x="1004" y="612"/>
                  <a:pt x="1003" y="612"/>
                  <a:pt x="1003" y="612"/>
                </a:cubicBezTo>
                <a:cubicBezTo>
                  <a:pt x="1003" y="613"/>
                  <a:pt x="1003" y="613"/>
                  <a:pt x="1004" y="614"/>
                </a:cubicBezTo>
                <a:close/>
                <a:moveTo>
                  <a:pt x="1454" y="613"/>
                </a:moveTo>
                <a:cubicBezTo>
                  <a:pt x="1454" y="613"/>
                  <a:pt x="1455" y="612"/>
                  <a:pt x="1455" y="612"/>
                </a:cubicBezTo>
                <a:cubicBezTo>
                  <a:pt x="1454" y="612"/>
                  <a:pt x="1454" y="611"/>
                  <a:pt x="1454" y="611"/>
                </a:cubicBezTo>
                <a:cubicBezTo>
                  <a:pt x="1453" y="610"/>
                  <a:pt x="1453" y="610"/>
                  <a:pt x="1452" y="610"/>
                </a:cubicBezTo>
                <a:cubicBezTo>
                  <a:pt x="1451" y="611"/>
                  <a:pt x="1452" y="611"/>
                  <a:pt x="1452" y="611"/>
                </a:cubicBezTo>
                <a:cubicBezTo>
                  <a:pt x="1453" y="612"/>
                  <a:pt x="1452" y="612"/>
                  <a:pt x="1452" y="612"/>
                </a:cubicBezTo>
                <a:cubicBezTo>
                  <a:pt x="1452" y="612"/>
                  <a:pt x="1452" y="612"/>
                  <a:pt x="1452" y="613"/>
                </a:cubicBezTo>
                <a:cubicBezTo>
                  <a:pt x="1452" y="613"/>
                  <a:pt x="1452" y="614"/>
                  <a:pt x="1452" y="615"/>
                </a:cubicBezTo>
                <a:cubicBezTo>
                  <a:pt x="1451" y="616"/>
                  <a:pt x="1450" y="615"/>
                  <a:pt x="1451" y="617"/>
                </a:cubicBezTo>
                <a:cubicBezTo>
                  <a:pt x="1451" y="617"/>
                  <a:pt x="1452" y="618"/>
                  <a:pt x="1452" y="618"/>
                </a:cubicBezTo>
                <a:cubicBezTo>
                  <a:pt x="1453" y="619"/>
                  <a:pt x="1452" y="618"/>
                  <a:pt x="1452" y="617"/>
                </a:cubicBezTo>
                <a:cubicBezTo>
                  <a:pt x="1452" y="616"/>
                  <a:pt x="1452" y="616"/>
                  <a:pt x="1452" y="616"/>
                </a:cubicBezTo>
                <a:cubicBezTo>
                  <a:pt x="1452" y="616"/>
                  <a:pt x="1453" y="616"/>
                  <a:pt x="1453" y="616"/>
                </a:cubicBezTo>
                <a:cubicBezTo>
                  <a:pt x="1453" y="616"/>
                  <a:pt x="1453" y="616"/>
                  <a:pt x="1453" y="615"/>
                </a:cubicBezTo>
                <a:cubicBezTo>
                  <a:pt x="1454" y="615"/>
                  <a:pt x="1455" y="615"/>
                  <a:pt x="1455" y="614"/>
                </a:cubicBezTo>
                <a:cubicBezTo>
                  <a:pt x="1455" y="613"/>
                  <a:pt x="1454" y="614"/>
                  <a:pt x="1454" y="614"/>
                </a:cubicBezTo>
                <a:cubicBezTo>
                  <a:pt x="1453" y="613"/>
                  <a:pt x="1454" y="613"/>
                  <a:pt x="1454" y="613"/>
                </a:cubicBezTo>
                <a:cubicBezTo>
                  <a:pt x="1454" y="612"/>
                  <a:pt x="1454" y="613"/>
                  <a:pt x="1454" y="613"/>
                </a:cubicBezTo>
                <a:close/>
                <a:moveTo>
                  <a:pt x="1516" y="610"/>
                </a:moveTo>
                <a:cubicBezTo>
                  <a:pt x="1516" y="610"/>
                  <a:pt x="1516" y="610"/>
                  <a:pt x="1516" y="609"/>
                </a:cubicBezTo>
                <a:cubicBezTo>
                  <a:pt x="1516" y="609"/>
                  <a:pt x="1516" y="609"/>
                  <a:pt x="1515" y="609"/>
                </a:cubicBezTo>
                <a:cubicBezTo>
                  <a:pt x="1515" y="609"/>
                  <a:pt x="1515" y="610"/>
                  <a:pt x="1515" y="610"/>
                </a:cubicBezTo>
                <a:cubicBezTo>
                  <a:pt x="1515" y="610"/>
                  <a:pt x="1516" y="610"/>
                  <a:pt x="1516" y="610"/>
                </a:cubicBezTo>
                <a:cubicBezTo>
                  <a:pt x="1516" y="610"/>
                  <a:pt x="1516" y="610"/>
                  <a:pt x="1516" y="610"/>
                </a:cubicBezTo>
                <a:close/>
                <a:moveTo>
                  <a:pt x="1393" y="608"/>
                </a:moveTo>
                <a:cubicBezTo>
                  <a:pt x="1393" y="609"/>
                  <a:pt x="1393" y="609"/>
                  <a:pt x="1394" y="609"/>
                </a:cubicBezTo>
                <a:cubicBezTo>
                  <a:pt x="1394" y="609"/>
                  <a:pt x="1394" y="609"/>
                  <a:pt x="1393" y="608"/>
                </a:cubicBezTo>
                <a:close/>
                <a:moveTo>
                  <a:pt x="1354" y="622"/>
                </a:moveTo>
                <a:cubicBezTo>
                  <a:pt x="1354" y="623"/>
                  <a:pt x="1355" y="623"/>
                  <a:pt x="1355" y="624"/>
                </a:cubicBezTo>
                <a:cubicBezTo>
                  <a:pt x="1355" y="624"/>
                  <a:pt x="1356" y="624"/>
                  <a:pt x="1356" y="624"/>
                </a:cubicBezTo>
                <a:cubicBezTo>
                  <a:pt x="1357" y="624"/>
                  <a:pt x="1357" y="624"/>
                  <a:pt x="1357" y="624"/>
                </a:cubicBezTo>
                <a:cubicBezTo>
                  <a:pt x="1358" y="624"/>
                  <a:pt x="1359" y="624"/>
                  <a:pt x="1359" y="625"/>
                </a:cubicBezTo>
                <a:cubicBezTo>
                  <a:pt x="1359" y="625"/>
                  <a:pt x="1360" y="625"/>
                  <a:pt x="1360" y="625"/>
                </a:cubicBezTo>
                <a:cubicBezTo>
                  <a:pt x="1360" y="625"/>
                  <a:pt x="1360" y="625"/>
                  <a:pt x="1360" y="624"/>
                </a:cubicBezTo>
                <a:cubicBezTo>
                  <a:pt x="1360" y="624"/>
                  <a:pt x="1359" y="624"/>
                  <a:pt x="1359" y="624"/>
                </a:cubicBezTo>
                <a:cubicBezTo>
                  <a:pt x="1359" y="623"/>
                  <a:pt x="1359" y="623"/>
                  <a:pt x="1359" y="623"/>
                </a:cubicBezTo>
                <a:cubicBezTo>
                  <a:pt x="1359" y="622"/>
                  <a:pt x="1359" y="623"/>
                  <a:pt x="1359" y="623"/>
                </a:cubicBezTo>
                <a:cubicBezTo>
                  <a:pt x="1358" y="622"/>
                  <a:pt x="1358" y="621"/>
                  <a:pt x="1359" y="620"/>
                </a:cubicBezTo>
                <a:cubicBezTo>
                  <a:pt x="1359" y="619"/>
                  <a:pt x="1359" y="619"/>
                  <a:pt x="1357" y="618"/>
                </a:cubicBezTo>
                <a:cubicBezTo>
                  <a:pt x="1357" y="618"/>
                  <a:pt x="1357" y="618"/>
                  <a:pt x="1357" y="618"/>
                </a:cubicBezTo>
                <a:cubicBezTo>
                  <a:pt x="1356" y="618"/>
                  <a:pt x="1356" y="618"/>
                  <a:pt x="1356" y="618"/>
                </a:cubicBezTo>
                <a:cubicBezTo>
                  <a:pt x="1355" y="618"/>
                  <a:pt x="1356" y="618"/>
                  <a:pt x="1355" y="618"/>
                </a:cubicBezTo>
                <a:cubicBezTo>
                  <a:pt x="1355" y="618"/>
                  <a:pt x="1353" y="617"/>
                  <a:pt x="1354" y="618"/>
                </a:cubicBezTo>
                <a:cubicBezTo>
                  <a:pt x="1352" y="618"/>
                  <a:pt x="1351" y="618"/>
                  <a:pt x="1351" y="617"/>
                </a:cubicBezTo>
                <a:cubicBezTo>
                  <a:pt x="1351" y="616"/>
                  <a:pt x="1351" y="616"/>
                  <a:pt x="1351" y="615"/>
                </a:cubicBezTo>
                <a:cubicBezTo>
                  <a:pt x="1352" y="614"/>
                  <a:pt x="1351" y="615"/>
                  <a:pt x="1351" y="614"/>
                </a:cubicBezTo>
                <a:cubicBezTo>
                  <a:pt x="1351" y="613"/>
                  <a:pt x="1351" y="613"/>
                  <a:pt x="1351" y="612"/>
                </a:cubicBezTo>
                <a:cubicBezTo>
                  <a:pt x="1350" y="612"/>
                  <a:pt x="1350" y="612"/>
                  <a:pt x="1349" y="613"/>
                </a:cubicBezTo>
                <a:cubicBezTo>
                  <a:pt x="1348" y="613"/>
                  <a:pt x="1348" y="613"/>
                  <a:pt x="1348" y="612"/>
                </a:cubicBezTo>
                <a:cubicBezTo>
                  <a:pt x="1347" y="612"/>
                  <a:pt x="1347" y="612"/>
                  <a:pt x="1346" y="612"/>
                </a:cubicBezTo>
                <a:cubicBezTo>
                  <a:pt x="1345" y="612"/>
                  <a:pt x="1346" y="611"/>
                  <a:pt x="1345" y="611"/>
                </a:cubicBezTo>
                <a:cubicBezTo>
                  <a:pt x="1344" y="611"/>
                  <a:pt x="1343" y="612"/>
                  <a:pt x="1343" y="611"/>
                </a:cubicBezTo>
                <a:cubicBezTo>
                  <a:pt x="1342" y="611"/>
                  <a:pt x="1343" y="610"/>
                  <a:pt x="1342" y="611"/>
                </a:cubicBezTo>
                <a:cubicBezTo>
                  <a:pt x="1341" y="611"/>
                  <a:pt x="1341" y="611"/>
                  <a:pt x="1341" y="611"/>
                </a:cubicBezTo>
                <a:cubicBezTo>
                  <a:pt x="1340" y="612"/>
                  <a:pt x="1341" y="612"/>
                  <a:pt x="1340" y="612"/>
                </a:cubicBezTo>
                <a:cubicBezTo>
                  <a:pt x="1339" y="612"/>
                  <a:pt x="1338" y="612"/>
                  <a:pt x="1337" y="612"/>
                </a:cubicBezTo>
                <a:cubicBezTo>
                  <a:pt x="1336" y="612"/>
                  <a:pt x="1334" y="612"/>
                  <a:pt x="1334" y="612"/>
                </a:cubicBezTo>
                <a:cubicBezTo>
                  <a:pt x="1334" y="611"/>
                  <a:pt x="1332" y="611"/>
                  <a:pt x="1331" y="611"/>
                </a:cubicBezTo>
                <a:cubicBezTo>
                  <a:pt x="1331" y="611"/>
                  <a:pt x="1331" y="609"/>
                  <a:pt x="1330" y="609"/>
                </a:cubicBezTo>
                <a:cubicBezTo>
                  <a:pt x="1330" y="609"/>
                  <a:pt x="1329" y="609"/>
                  <a:pt x="1328" y="609"/>
                </a:cubicBezTo>
                <a:cubicBezTo>
                  <a:pt x="1327" y="609"/>
                  <a:pt x="1327" y="609"/>
                  <a:pt x="1327" y="609"/>
                </a:cubicBezTo>
                <a:cubicBezTo>
                  <a:pt x="1326" y="608"/>
                  <a:pt x="1325" y="608"/>
                  <a:pt x="1324" y="608"/>
                </a:cubicBezTo>
                <a:cubicBezTo>
                  <a:pt x="1323" y="608"/>
                  <a:pt x="1323" y="609"/>
                  <a:pt x="1322" y="609"/>
                </a:cubicBezTo>
                <a:cubicBezTo>
                  <a:pt x="1321" y="609"/>
                  <a:pt x="1320" y="609"/>
                  <a:pt x="1319" y="609"/>
                </a:cubicBezTo>
                <a:cubicBezTo>
                  <a:pt x="1318" y="609"/>
                  <a:pt x="1317" y="608"/>
                  <a:pt x="1317" y="609"/>
                </a:cubicBezTo>
                <a:cubicBezTo>
                  <a:pt x="1317" y="610"/>
                  <a:pt x="1317" y="611"/>
                  <a:pt x="1317" y="611"/>
                </a:cubicBezTo>
                <a:cubicBezTo>
                  <a:pt x="1317" y="612"/>
                  <a:pt x="1316" y="612"/>
                  <a:pt x="1316" y="613"/>
                </a:cubicBezTo>
                <a:cubicBezTo>
                  <a:pt x="1315" y="613"/>
                  <a:pt x="1315" y="613"/>
                  <a:pt x="1315" y="614"/>
                </a:cubicBezTo>
                <a:cubicBezTo>
                  <a:pt x="1316" y="615"/>
                  <a:pt x="1317" y="615"/>
                  <a:pt x="1317" y="614"/>
                </a:cubicBezTo>
                <a:cubicBezTo>
                  <a:pt x="1317" y="614"/>
                  <a:pt x="1321" y="614"/>
                  <a:pt x="1320" y="615"/>
                </a:cubicBezTo>
                <a:cubicBezTo>
                  <a:pt x="1320" y="615"/>
                  <a:pt x="1319" y="615"/>
                  <a:pt x="1319" y="616"/>
                </a:cubicBezTo>
                <a:cubicBezTo>
                  <a:pt x="1319" y="616"/>
                  <a:pt x="1319" y="616"/>
                  <a:pt x="1320" y="617"/>
                </a:cubicBezTo>
                <a:cubicBezTo>
                  <a:pt x="1320" y="617"/>
                  <a:pt x="1322" y="616"/>
                  <a:pt x="1322" y="617"/>
                </a:cubicBezTo>
                <a:cubicBezTo>
                  <a:pt x="1322" y="617"/>
                  <a:pt x="1323" y="617"/>
                  <a:pt x="1323" y="617"/>
                </a:cubicBezTo>
                <a:cubicBezTo>
                  <a:pt x="1323" y="617"/>
                  <a:pt x="1323" y="617"/>
                  <a:pt x="1323" y="617"/>
                </a:cubicBezTo>
                <a:cubicBezTo>
                  <a:pt x="1324" y="617"/>
                  <a:pt x="1325" y="617"/>
                  <a:pt x="1325" y="617"/>
                </a:cubicBezTo>
                <a:cubicBezTo>
                  <a:pt x="1325" y="618"/>
                  <a:pt x="1326" y="618"/>
                  <a:pt x="1327" y="618"/>
                </a:cubicBezTo>
                <a:cubicBezTo>
                  <a:pt x="1327" y="619"/>
                  <a:pt x="1327" y="619"/>
                  <a:pt x="1328" y="619"/>
                </a:cubicBezTo>
                <a:cubicBezTo>
                  <a:pt x="1329" y="619"/>
                  <a:pt x="1330" y="620"/>
                  <a:pt x="1330" y="619"/>
                </a:cubicBezTo>
                <a:cubicBezTo>
                  <a:pt x="1331" y="619"/>
                  <a:pt x="1332" y="619"/>
                  <a:pt x="1334" y="619"/>
                </a:cubicBezTo>
                <a:cubicBezTo>
                  <a:pt x="1334" y="619"/>
                  <a:pt x="1334" y="619"/>
                  <a:pt x="1335" y="619"/>
                </a:cubicBezTo>
                <a:cubicBezTo>
                  <a:pt x="1335" y="619"/>
                  <a:pt x="1337" y="619"/>
                  <a:pt x="1337" y="620"/>
                </a:cubicBezTo>
                <a:cubicBezTo>
                  <a:pt x="1338" y="620"/>
                  <a:pt x="1338" y="620"/>
                  <a:pt x="1339" y="620"/>
                </a:cubicBezTo>
                <a:cubicBezTo>
                  <a:pt x="1341" y="620"/>
                  <a:pt x="1339" y="620"/>
                  <a:pt x="1339" y="620"/>
                </a:cubicBezTo>
                <a:cubicBezTo>
                  <a:pt x="1340" y="620"/>
                  <a:pt x="1340" y="620"/>
                  <a:pt x="1340" y="620"/>
                </a:cubicBezTo>
                <a:cubicBezTo>
                  <a:pt x="1340" y="620"/>
                  <a:pt x="1340" y="621"/>
                  <a:pt x="1340" y="621"/>
                </a:cubicBezTo>
                <a:cubicBezTo>
                  <a:pt x="1340" y="621"/>
                  <a:pt x="1341" y="621"/>
                  <a:pt x="1341" y="621"/>
                </a:cubicBezTo>
                <a:cubicBezTo>
                  <a:pt x="1342" y="621"/>
                  <a:pt x="1341" y="621"/>
                  <a:pt x="1342" y="621"/>
                </a:cubicBezTo>
                <a:cubicBezTo>
                  <a:pt x="1342" y="621"/>
                  <a:pt x="1342" y="621"/>
                  <a:pt x="1343" y="621"/>
                </a:cubicBezTo>
                <a:cubicBezTo>
                  <a:pt x="1343" y="621"/>
                  <a:pt x="1344" y="621"/>
                  <a:pt x="1344" y="622"/>
                </a:cubicBezTo>
                <a:cubicBezTo>
                  <a:pt x="1345" y="622"/>
                  <a:pt x="1346" y="621"/>
                  <a:pt x="1347" y="621"/>
                </a:cubicBezTo>
                <a:cubicBezTo>
                  <a:pt x="1347" y="622"/>
                  <a:pt x="1347" y="622"/>
                  <a:pt x="1347" y="622"/>
                </a:cubicBezTo>
                <a:cubicBezTo>
                  <a:pt x="1348" y="622"/>
                  <a:pt x="1347" y="622"/>
                  <a:pt x="1347" y="622"/>
                </a:cubicBezTo>
                <a:cubicBezTo>
                  <a:pt x="1348" y="622"/>
                  <a:pt x="1348" y="622"/>
                  <a:pt x="1349" y="622"/>
                </a:cubicBezTo>
                <a:cubicBezTo>
                  <a:pt x="1349" y="622"/>
                  <a:pt x="1349" y="622"/>
                  <a:pt x="1349" y="622"/>
                </a:cubicBezTo>
                <a:cubicBezTo>
                  <a:pt x="1350" y="622"/>
                  <a:pt x="1350" y="623"/>
                  <a:pt x="1351" y="623"/>
                </a:cubicBezTo>
                <a:cubicBezTo>
                  <a:pt x="1352" y="622"/>
                  <a:pt x="1352" y="621"/>
                  <a:pt x="1354" y="622"/>
                </a:cubicBezTo>
                <a:cubicBezTo>
                  <a:pt x="1354" y="623"/>
                  <a:pt x="1354" y="622"/>
                  <a:pt x="1354" y="622"/>
                </a:cubicBezTo>
                <a:close/>
                <a:moveTo>
                  <a:pt x="1511" y="608"/>
                </a:moveTo>
                <a:cubicBezTo>
                  <a:pt x="1511" y="608"/>
                  <a:pt x="1512" y="608"/>
                  <a:pt x="1512" y="608"/>
                </a:cubicBezTo>
                <a:cubicBezTo>
                  <a:pt x="1511" y="608"/>
                  <a:pt x="1512" y="607"/>
                  <a:pt x="1512" y="608"/>
                </a:cubicBezTo>
                <a:cubicBezTo>
                  <a:pt x="1512" y="607"/>
                  <a:pt x="1511" y="607"/>
                  <a:pt x="1511" y="607"/>
                </a:cubicBezTo>
                <a:cubicBezTo>
                  <a:pt x="1511" y="607"/>
                  <a:pt x="1511" y="608"/>
                  <a:pt x="1511" y="608"/>
                </a:cubicBezTo>
                <a:close/>
                <a:moveTo>
                  <a:pt x="1552" y="613"/>
                </a:moveTo>
                <a:cubicBezTo>
                  <a:pt x="1552" y="612"/>
                  <a:pt x="1550" y="612"/>
                  <a:pt x="1550" y="611"/>
                </a:cubicBezTo>
                <a:cubicBezTo>
                  <a:pt x="1550" y="610"/>
                  <a:pt x="1550" y="610"/>
                  <a:pt x="1549" y="609"/>
                </a:cubicBezTo>
                <a:cubicBezTo>
                  <a:pt x="1548" y="609"/>
                  <a:pt x="1548" y="609"/>
                  <a:pt x="1548" y="607"/>
                </a:cubicBezTo>
                <a:cubicBezTo>
                  <a:pt x="1548" y="607"/>
                  <a:pt x="1547" y="606"/>
                  <a:pt x="1547" y="607"/>
                </a:cubicBezTo>
                <a:cubicBezTo>
                  <a:pt x="1547" y="607"/>
                  <a:pt x="1547" y="609"/>
                  <a:pt x="1547" y="608"/>
                </a:cubicBezTo>
                <a:cubicBezTo>
                  <a:pt x="1547" y="609"/>
                  <a:pt x="1547" y="610"/>
                  <a:pt x="1547" y="611"/>
                </a:cubicBezTo>
                <a:cubicBezTo>
                  <a:pt x="1547" y="611"/>
                  <a:pt x="1547" y="611"/>
                  <a:pt x="1547" y="611"/>
                </a:cubicBezTo>
                <a:cubicBezTo>
                  <a:pt x="1547" y="612"/>
                  <a:pt x="1547" y="612"/>
                  <a:pt x="1548" y="612"/>
                </a:cubicBezTo>
                <a:cubicBezTo>
                  <a:pt x="1548" y="613"/>
                  <a:pt x="1548" y="614"/>
                  <a:pt x="1548" y="614"/>
                </a:cubicBezTo>
                <a:cubicBezTo>
                  <a:pt x="1549" y="614"/>
                  <a:pt x="1549" y="615"/>
                  <a:pt x="1549" y="615"/>
                </a:cubicBezTo>
                <a:cubicBezTo>
                  <a:pt x="1550" y="616"/>
                  <a:pt x="1550" y="616"/>
                  <a:pt x="1551" y="617"/>
                </a:cubicBezTo>
                <a:cubicBezTo>
                  <a:pt x="1551" y="617"/>
                  <a:pt x="1551" y="617"/>
                  <a:pt x="1551" y="617"/>
                </a:cubicBezTo>
                <a:cubicBezTo>
                  <a:pt x="1552" y="617"/>
                  <a:pt x="1552" y="618"/>
                  <a:pt x="1553" y="618"/>
                </a:cubicBezTo>
                <a:cubicBezTo>
                  <a:pt x="1554" y="617"/>
                  <a:pt x="1554" y="617"/>
                  <a:pt x="1554" y="616"/>
                </a:cubicBezTo>
                <a:cubicBezTo>
                  <a:pt x="1554" y="615"/>
                  <a:pt x="1553" y="614"/>
                  <a:pt x="1553" y="613"/>
                </a:cubicBezTo>
                <a:cubicBezTo>
                  <a:pt x="1553" y="613"/>
                  <a:pt x="1552" y="613"/>
                  <a:pt x="1552" y="613"/>
                </a:cubicBezTo>
                <a:close/>
                <a:moveTo>
                  <a:pt x="1399" y="605"/>
                </a:moveTo>
                <a:cubicBezTo>
                  <a:pt x="1399" y="606"/>
                  <a:pt x="1399" y="606"/>
                  <a:pt x="1399" y="606"/>
                </a:cubicBezTo>
                <a:cubicBezTo>
                  <a:pt x="1398" y="606"/>
                  <a:pt x="1399" y="605"/>
                  <a:pt x="1398" y="605"/>
                </a:cubicBezTo>
                <a:cubicBezTo>
                  <a:pt x="1398" y="605"/>
                  <a:pt x="1398" y="605"/>
                  <a:pt x="1397" y="605"/>
                </a:cubicBezTo>
                <a:cubicBezTo>
                  <a:pt x="1397" y="605"/>
                  <a:pt x="1398" y="606"/>
                  <a:pt x="1397" y="606"/>
                </a:cubicBezTo>
                <a:cubicBezTo>
                  <a:pt x="1397" y="607"/>
                  <a:pt x="1397" y="607"/>
                  <a:pt x="1398" y="607"/>
                </a:cubicBezTo>
                <a:cubicBezTo>
                  <a:pt x="1398" y="608"/>
                  <a:pt x="1398" y="608"/>
                  <a:pt x="1399" y="609"/>
                </a:cubicBezTo>
                <a:cubicBezTo>
                  <a:pt x="1399" y="609"/>
                  <a:pt x="1400" y="609"/>
                  <a:pt x="1400" y="609"/>
                </a:cubicBezTo>
                <a:cubicBezTo>
                  <a:pt x="1401" y="608"/>
                  <a:pt x="1401" y="608"/>
                  <a:pt x="1402" y="607"/>
                </a:cubicBezTo>
                <a:cubicBezTo>
                  <a:pt x="1399" y="606"/>
                  <a:pt x="1402" y="604"/>
                  <a:pt x="1401" y="603"/>
                </a:cubicBezTo>
                <a:cubicBezTo>
                  <a:pt x="1400" y="603"/>
                  <a:pt x="1399" y="603"/>
                  <a:pt x="1399" y="604"/>
                </a:cubicBezTo>
                <a:cubicBezTo>
                  <a:pt x="1399" y="604"/>
                  <a:pt x="1399" y="605"/>
                  <a:pt x="1399" y="605"/>
                </a:cubicBezTo>
                <a:close/>
                <a:moveTo>
                  <a:pt x="1524" y="611"/>
                </a:moveTo>
                <a:cubicBezTo>
                  <a:pt x="1523" y="611"/>
                  <a:pt x="1523" y="610"/>
                  <a:pt x="1522" y="610"/>
                </a:cubicBezTo>
                <a:cubicBezTo>
                  <a:pt x="1521" y="610"/>
                  <a:pt x="1520" y="610"/>
                  <a:pt x="1519" y="611"/>
                </a:cubicBezTo>
                <a:cubicBezTo>
                  <a:pt x="1520" y="611"/>
                  <a:pt x="1520" y="612"/>
                  <a:pt x="1521" y="612"/>
                </a:cubicBezTo>
                <a:cubicBezTo>
                  <a:pt x="1521" y="612"/>
                  <a:pt x="1522" y="612"/>
                  <a:pt x="1522" y="612"/>
                </a:cubicBezTo>
                <a:cubicBezTo>
                  <a:pt x="1522" y="612"/>
                  <a:pt x="1522" y="613"/>
                  <a:pt x="1522" y="613"/>
                </a:cubicBezTo>
                <a:cubicBezTo>
                  <a:pt x="1523" y="613"/>
                  <a:pt x="1526" y="614"/>
                  <a:pt x="1527" y="613"/>
                </a:cubicBezTo>
                <a:cubicBezTo>
                  <a:pt x="1527" y="613"/>
                  <a:pt x="1528" y="613"/>
                  <a:pt x="1528" y="613"/>
                </a:cubicBezTo>
                <a:cubicBezTo>
                  <a:pt x="1530" y="613"/>
                  <a:pt x="1528" y="613"/>
                  <a:pt x="1528" y="613"/>
                </a:cubicBezTo>
                <a:cubicBezTo>
                  <a:pt x="1529" y="613"/>
                  <a:pt x="1530" y="612"/>
                  <a:pt x="1530" y="612"/>
                </a:cubicBezTo>
                <a:cubicBezTo>
                  <a:pt x="1531" y="612"/>
                  <a:pt x="1531" y="611"/>
                  <a:pt x="1532" y="611"/>
                </a:cubicBezTo>
                <a:cubicBezTo>
                  <a:pt x="1534" y="611"/>
                  <a:pt x="1533" y="609"/>
                  <a:pt x="1535" y="609"/>
                </a:cubicBezTo>
                <a:cubicBezTo>
                  <a:pt x="1535" y="609"/>
                  <a:pt x="1536" y="609"/>
                  <a:pt x="1536" y="608"/>
                </a:cubicBezTo>
                <a:cubicBezTo>
                  <a:pt x="1536" y="608"/>
                  <a:pt x="1536" y="608"/>
                  <a:pt x="1537" y="608"/>
                </a:cubicBezTo>
                <a:cubicBezTo>
                  <a:pt x="1537" y="607"/>
                  <a:pt x="1536" y="607"/>
                  <a:pt x="1536" y="606"/>
                </a:cubicBezTo>
                <a:cubicBezTo>
                  <a:pt x="1536" y="606"/>
                  <a:pt x="1537" y="606"/>
                  <a:pt x="1537" y="606"/>
                </a:cubicBezTo>
                <a:cubicBezTo>
                  <a:pt x="1537" y="606"/>
                  <a:pt x="1538" y="605"/>
                  <a:pt x="1537" y="605"/>
                </a:cubicBezTo>
                <a:cubicBezTo>
                  <a:pt x="1537" y="605"/>
                  <a:pt x="1537" y="604"/>
                  <a:pt x="1537" y="604"/>
                </a:cubicBezTo>
                <a:cubicBezTo>
                  <a:pt x="1537" y="604"/>
                  <a:pt x="1537" y="604"/>
                  <a:pt x="1537" y="604"/>
                </a:cubicBezTo>
                <a:cubicBezTo>
                  <a:pt x="1536" y="603"/>
                  <a:pt x="1537" y="603"/>
                  <a:pt x="1537" y="603"/>
                </a:cubicBezTo>
                <a:cubicBezTo>
                  <a:pt x="1536" y="603"/>
                  <a:pt x="1535" y="603"/>
                  <a:pt x="1535" y="603"/>
                </a:cubicBezTo>
                <a:cubicBezTo>
                  <a:pt x="1534" y="603"/>
                  <a:pt x="1534" y="604"/>
                  <a:pt x="1534" y="604"/>
                </a:cubicBezTo>
                <a:cubicBezTo>
                  <a:pt x="1534" y="605"/>
                  <a:pt x="1534" y="605"/>
                  <a:pt x="1534" y="606"/>
                </a:cubicBezTo>
                <a:cubicBezTo>
                  <a:pt x="1534" y="606"/>
                  <a:pt x="1533" y="606"/>
                  <a:pt x="1533" y="606"/>
                </a:cubicBezTo>
                <a:cubicBezTo>
                  <a:pt x="1533" y="606"/>
                  <a:pt x="1532" y="606"/>
                  <a:pt x="1532" y="606"/>
                </a:cubicBezTo>
                <a:cubicBezTo>
                  <a:pt x="1532" y="606"/>
                  <a:pt x="1533" y="607"/>
                  <a:pt x="1532" y="607"/>
                </a:cubicBezTo>
                <a:cubicBezTo>
                  <a:pt x="1532" y="607"/>
                  <a:pt x="1532" y="607"/>
                  <a:pt x="1532" y="608"/>
                </a:cubicBezTo>
                <a:cubicBezTo>
                  <a:pt x="1532" y="608"/>
                  <a:pt x="1532" y="608"/>
                  <a:pt x="1532" y="609"/>
                </a:cubicBezTo>
                <a:cubicBezTo>
                  <a:pt x="1531" y="609"/>
                  <a:pt x="1530" y="609"/>
                  <a:pt x="1530" y="609"/>
                </a:cubicBezTo>
                <a:cubicBezTo>
                  <a:pt x="1529" y="609"/>
                  <a:pt x="1528" y="609"/>
                  <a:pt x="1527" y="608"/>
                </a:cubicBezTo>
                <a:cubicBezTo>
                  <a:pt x="1527" y="608"/>
                  <a:pt x="1528" y="608"/>
                  <a:pt x="1527" y="607"/>
                </a:cubicBezTo>
                <a:cubicBezTo>
                  <a:pt x="1527" y="607"/>
                  <a:pt x="1526" y="609"/>
                  <a:pt x="1526" y="609"/>
                </a:cubicBezTo>
                <a:cubicBezTo>
                  <a:pt x="1526" y="610"/>
                  <a:pt x="1526" y="610"/>
                  <a:pt x="1525" y="610"/>
                </a:cubicBezTo>
                <a:cubicBezTo>
                  <a:pt x="1524" y="610"/>
                  <a:pt x="1524" y="610"/>
                  <a:pt x="1524" y="611"/>
                </a:cubicBezTo>
                <a:cubicBezTo>
                  <a:pt x="1522" y="611"/>
                  <a:pt x="1524" y="611"/>
                  <a:pt x="1524" y="611"/>
                </a:cubicBezTo>
                <a:close/>
                <a:moveTo>
                  <a:pt x="1539" y="605"/>
                </a:moveTo>
                <a:cubicBezTo>
                  <a:pt x="1540" y="604"/>
                  <a:pt x="1539" y="603"/>
                  <a:pt x="1540" y="603"/>
                </a:cubicBezTo>
                <a:cubicBezTo>
                  <a:pt x="1540" y="601"/>
                  <a:pt x="1539" y="602"/>
                  <a:pt x="1539" y="601"/>
                </a:cubicBezTo>
                <a:cubicBezTo>
                  <a:pt x="1538" y="600"/>
                  <a:pt x="1537" y="599"/>
                  <a:pt x="1536" y="598"/>
                </a:cubicBezTo>
                <a:cubicBezTo>
                  <a:pt x="1536" y="600"/>
                  <a:pt x="1537" y="600"/>
                  <a:pt x="1538" y="601"/>
                </a:cubicBezTo>
                <a:cubicBezTo>
                  <a:pt x="1538" y="602"/>
                  <a:pt x="1538" y="603"/>
                  <a:pt x="1538" y="603"/>
                </a:cubicBezTo>
                <a:cubicBezTo>
                  <a:pt x="1538" y="604"/>
                  <a:pt x="1537" y="604"/>
                  <a:pt x="1538" y="605"/>
                </a:cubicBezTo>
                <a:cubicBezTo>
                  <a:pt x="1539" y="605"/>
                  <a:pt x="1539" y="605"/>
                  <a:pt x="1539" y="605"/>
                </a:cubicBezTo>
                <a:cubicBezTo>
                  <a:pt x="1540" y="604"/>
                  <a:pt x="1539" y="605"/>
                  <a:pt x="1539" y="605"/>
                </a:cubicBezTo>
                <a:close/>
                <a:moveTo>
                  <a:pt x="1530" y="596"/>
                </a:moveTo>
                <a:cubicBezTo>
                  <a:pt x="1531" y="596"/>
                  <a:pt x="1534" y="597"/>
                  <a:pt x="1534" y="598"/>
                </a:cubicBezTo>
                <a:cubicBezTo>
                  <a:pt x="1534" y="598"/>
                  <a:pt x="1535" y="598"/>
                  <a:pt x="1535" y="598"/>
                </a:cubicBezTo>
                <a:cubicBezTo>
                  <a:pt x="1536" y="597"/>
                  <a:pt x="1534" y="597"/>
                  <a:pt x="1534" y="597"/>
                </a:cubicBezTo>
                <a:cubicBezTo>
                  <a:pt x="1533" y="596"/>
                  <a:pt x="1531" y="595"/>
                  <a:pt x="1530" y="595"/>
                </a:cubicBezTo>
                <a:cubicBezTo>
                  <a:pt x="1530" y="595"/>
                  <a:pt x="1530" y="595"/>
                  <a:pt x="1530" y="596"/>
                </a:cubicBezTo>
                <a:cubicBezTo>
                  <a:pt x="1531" y="596"/>
                  <a:pt x="1530" y="596"/>
                  <a:pt x="1530" y="596"/>
                </a:cubicBezTo>
                <a:close/>
                <a:moveTo>
                  <a:pt x="1412" y="595"/>
                </a:moveTo>
                <a:cubicBezTo>
                  <a:pt x="1412" y="596"/>
                  <a:pt x="1412" y="596"/>
                  <a:pt x="1413" y="597"/>
                </a:cubicBezTo>
                <a:cubicBezTo>
                  <a:pt x="1414" y="597"/>
                  <a:pt x="1415" y="597"/>
                  <a:pt x="1415" y="598"/>
                </a:cubicBezTo>
                <a:cubicBezTo>
                  <a:pt x="1415" y="598"/>
                  <a:pt x="1415" y="598"/>
                  <a:pt x="1416" y="598"/>
                </a:cubicBezTo>
                <a:cubicBezTo>
                  <a:pt x="1416" y="598"/>
                  <a:pt x="1416" y="598"/>
                  <a:pt x="1416" y="598"/>
                </a:cubicBezTo>
                <a:cubicBezTo>
                  <a:pt x="1417" y="598"/>
                  <a:pt x="1417" y="598"/>
                  <a:pt x="1418" y="598"/>
                </a:cubicBezTo>
                <a:cubicBezTo>
                  <a:pt x="1419" y="598"/>
                  <a:pt x="1419" y="597"/>
                  <a:pt x="1419" y="596"/>
                </a:cubicBezTo>
                <a:cubicBezTo>
                  <a:pt x="1418" y="596"/>
                  <a:pt x="1418" y="596"/>
                  <a:pt x="1418" y="595"/>
                </a:cubicBezTo>
                <a:cubicBezTo>
                  <a:pt x="1416" y="595"/>
                  <a:pt x="1414" y="595"/>
                  <a:pt x="1412" y="595"/>
                </a:cubicBezTo>
                <a:close/>
                <a:moveTo>
                  <a:pt x="1427" y="594"/>
                </a:moveTo>
                <a:cubicBezTo>
                  <a:pt x="1427" y="594"/>
                  <a:pt x="1427" y="595"/>
                  <a:pt x="1427" y="595"/>
                </a:cubicBezTo>
                <a:cubicBezTo>
                  <a:pt x="1426" y="595"/>
                  <a:pt x="1425" y="594"/>
                  <a:pt x="1424" y="594"/>
                </a:cubicBezTo>
                <a:cubicBezTo>
                  <a:pt x="1424" y="595"/>
                  <a:pt x="1424" y="595"/>
                  <a:pt x="1423" y="595"/>
                </a:cubicBezTo>
                <a:cubicBezTo>
                  <a:pt x="1422" y="595"/>
                  <a:pt x="1422" y="595"/>
                  <a:pt x="1422" y="596"/>
                </a:cubicBezTo>
                <a:cubicBezTo>
                  <a:pt x="1422" y="596"/>
                  <a:pt x="1423" y="596"/>
                  <a:pt x="1423" y="596"/>
                </a:cubicBezTo>
                <a:cubicBezTo>
                  <a:pt x="1424" y="596"/>
                  <a:pt x="1423" y="596"/>
                  <a:pt x="1423" y="596"/>
                </a:cubicBezTo>
                <a:cubicBezTo>
                  <a:pt x="1424" y="597"/>
                  <a:pt x="1424" y="597"/>
                  <a:pt x="1425" y="597"/>
                </a:cubicBezTo>
                <a:cubicBezTo>
                  <a:pt x="1426" y="597"/>
                  <a:pt x="1425" y="596"/>
                  <a:pt x="1426" y="596"/>
                </a:cubicBezTo>
                <a:cubicBezTo>
                  <a:pt x="1426" y="596"/>
                  <a:pt x="1427" y="596"/>
                  <a:pt x="1427" y="596"/>
                </a:cubicBezTo>
                <a:cubicBezTo>
                  <a:pt x="1427" y="596"/>
                  <a:pt x="1427" y="597"/>
                  <a:pt x="1427" y="597"/>
                </a:cubicBezTo>
                <a:cubicBezTo>
                  <a:pt x="1427" y="597"/>
                  <a:pt x="1428" y="597"/>
                  <a:pt x="1428" y="597"/>
                </a:cubicBezTo>
                <a:cubicBezTo>
                  <a:pt x="1429" y="597"/>
                  <a:pt x="1429" y="597"/>
                  <a:pt x="1429" y="597"/>
                </a:cubicBezTo>
                <a:cubicBezTo>
                  <a:pt x="1429" y="596"/>
                  <a:pt x="1430" y="597"/>
                  <a:pt x="1430" y="596"/>
                </a:cubicBezTo>
                <a:cubicBezTo>
                  <a:pt x="1430" y="597"/>
                  <a:pt x="1433" y="597"/>
                  <a:pt x="1433" y="598"/>
                </a:cubicBezTo>
                <a:cubicBezTo>
                  <a:pt x="1434" y="598"/>
                  <a:pt x="1435" y="598"/>
                  <a:pt x="1435" y="597"/>
                </a:cubicBezTo>
                <a:cubicBezTo>
                  <a:pt x="1434" y="596"/>
                  <a:pt x="1434" y="595"/>
                  <a:pt x="1433" y="595"/>
                </a:cubicBezTo>
                <a:cubicBezTo>
                  <a:pt x="1433" y="595"/>
                  <a:pt x="1432" y="595"/>
                  <a:pt x="1431" y="595"/>
                </a:cubicBezTo>
                <a:cubicBezTo>
                  <a:pt x="1430" y="594"/>
                  <a:pt x="1429" y="595"/>
                  <a:pt x="1428" y="595"/>
                </a:cubicBezTo>
                <a:cubicBezTo>
                  <a:pt x="1428" y="594"/>
                  <a:pt x="1427" y="594"/>
                  <a:pt x="1427" y="594"/>
                </a:cubicBezTo>
                <a:close/>
                <a:moveTo>
                  <a:pt x="1526" y="594"/>
                </a:moveTo>
                <a:cubicBezTo>
                  <a:pt x="1526" y="594"/>
                  <a:pt x="1526" y="594"/>
                  <a:pt x="1526" y="594"/>
                </a:cubicBezTo>
                <a:cubicBezTo>
                  <a:pt x="1527" y="594"/>
                  <a:pt x="1528" y="596"/>
                  <a:pt x="1529" y="594"/>
                </a:cubicBezTo>
                <a:cubicBezTo>
                  <a:pt x="1529" y="593"/>
                  <a:pt x="1527" y="594"/>
                  <a:pt x="1526" y="594"/>
                </a:cubicBezTo>
                <a:cubicBezTo>
                  <a:pt x="1526" y="594"/>
                  <a:pt x="1526" y="594"/>
                  <a:pt x="1526" y="594"/>
                </a:cubicBezTo>
                <a:close/>
                <a:moveTo>
                  <a:pt x="1326" y="593"/>
                </a:moveTo>
                <a:cubicBezTo>
                  <a:pt x="1326" y="594"/>
                  <a:pt x="1326" y="594"/>
                  <a:pt x="1326" y="595"/>
                </a:cubicBezTo>
                <a:cubicBezTo>
                  <a:pt x="1327" y="595"/>
                  <a:pt x="1327" y="595"/>
                  <a:pt x="1327" y="596"/>
                </a:cubicBezTo>
                <a:cubicBezTo>
                  <a:pt x="1327" y="596"/>
                  <a:pt x="1327" y="596"/>
                  <a:pt x="1328" y="596"/>
                </a:cubicBezTo>
                <a:cubicBezTo>
                  <a:pt x="1328" y="596"/>
                  <a:pt x="1327" y="596"/>
                  <a:pt x="1328" y="596"/>
                </a:cubicBezTo>
                <a:cubicBezTo>
                  <a:pt x="1329" y="596"/>
                  <a:pt x="1329" y="596"/>
                  <a:pt x="1329" y="595"/>
                </a:cubicBezTo>
                <a:cubicBezTo>
                  <a:pt x="1330" y="595"/>
                  <a:pt x="1330" y="594"/>
                  <a:pt x="1330" y="593"/>
                </a:cubicBezTo>
                <a:cubicBezTo>
                  <a:pt x="1329" y="593"/>
                  <a:pt x="1328" y="593"/>
                  <a:pt x="1326" y="593"/>
                </a:cubicBezTo>
                <a:cubicBezTo>
                  <a:pt x="1326" y="594"/>
                  <a:pt x="1326" y="593"/>
                  <a:pt x="1326" y="593"/>
                </a:cubicBezTo>
                <a:close/>
                <a:moveTo>
                  <a:pt x="1291" y="592"/>
                </a:moveTo>
                <a:cubicBezTo>
                  <a:pt x="1291" y="592"/>
                  <a:pt x="1291" y="592"/>
                  <a:pt x="1291" y="592"/>
                </a:cubicBezTo>
                <a:cubicBezTo>
                  <a:pt x="1291" y="592"/>
                  <a:pt x="1291" y="592"/>
                  <a:pt x="1291" y="592"/>
                </a:cubicBezTo>
                <a:cubicBezTo>
                  <a:pt x="1291" y="593"/>
                  <a:pt x="1291" y="593"/>
                  <a:pt x="1292" y="593"/>
                </a:cubicBezTo>
                <a:cubicBezTo>
                  <a:pt x="1292" y="592"/>
                  <a:pt x="1292" y="593"/>
                  <a:pt x="1291" y="592"/>
                </a:cubicBezTo>
                <a:cubicBezTo>
                  <a:pt x="1291" y="592"/>
                  <a:pt x="1291" y="592"/>
                  <a:pt x="1291" y="592"/>
                </a:cubicBezTo>
                <a:close/>
                <a:moveTo>
                  <a:pt x="1509" y="592"/>
                </a:moveTo>
                <a:cubicBezTo>
                  <a:pt x="1511" y="592"/>
                  <a:pt x="1512" y="593"/>
                  <a:pt x="1513" y="592"/>
                </a:cubicBezTo>
                <a:cubicBezTo>
                  <a:pt x="1512" y="591"/>
                  <a:pt x="1511" y="591"/>
                  <a:pt x="1510" y="591"/>
                </a:cubicBezTo>
                <a:cubicBezTo>
                  <a:pt x="1510" y="590"/>
                  <a:pt x="1510" y="591"/>
                  <a:pt x="1509" y="592"/>
                </a:cubicBezTo>
                <a:cubicBezTo>
                  <a:pt x="1511" y="592"/>
                  <a:pt x="1509" y="592"/>
                  <a:pt x="1509" y="592"/>
                </a:cubicBezTo>
                <a:close/>
                <a:moveTo>
                  <a:pt x="978" y="590"/>
                </a:moveTo>
                <a:cubicBezTo>
                  <a:pt x="977" y="589"/>
                  <a:pt x="977" y="589"/>
                  <a:pt x="975" y="589"/>
                </a:cubicBezTo>
                <a:cubicBezTo>
                  <a:pt x="976" y="590"/>
                  <a:pt x="976" y="590"/>
                  <a:pt x="978" y="590"/>
                </a:cubicBezTo>
                <a:cubicBezTo>
                  <a:pt x="978" y="589"/>
                  <a:pt x="978" y="590"/>
                  <a:pt x="978" y="590"/>
                </a:cubicBezTo>
                <a:close/>
                <a:moveTo>
                  <a:pt x="1408" y="588"/>
                </a:moveTo>
                <a:cubicBezTo>
                  <a:pt x="1407" y="588"/>
                  <a:pt x="1404" y="587"/>
                  <a:pt x="1404" y="589"/>
                </a:cubicBezTo>
                <a:cubicBezTo>
                  <a:pt x="1404" y="589"/>
                  <a:pt x="1409" y="589"/>
                  <a:pt x="1408" y="588"/>
                </a:cubicBezTo>
                <a:cubicBezTo>
                  <a:pt x="1407" y="588"/>
                  <a:pt x="1408" y="588"/>
                  <a:pt x="1408" y="588"/>
                </a:cubicBezTo>
                <a:close/>
                <a:moveTo>
                  <a:pt x="1414" y="587"/>
                </a:moveTo>
                <a:cubicBezTo>
                  <a:pt x="1413" y="587"/>
                  <a:pt x="1411" y="587"/>
                  <a:pt x="1410" y="587"/>
                </a:cubicBezTo>
                <a:cubicBezTo>
                  <a:pt x="1410" y="588"/>
                  <a:pt x="1410" y="588"/>
                  <a:pt x="1410" y="588"/>
                </a:cubicBezTo>
                <a:cubicBezTo>
                  <a:pt x="1411" y="588"/>
                  <a:pt x="1414" y="588"/>
                  <a:pt x="1414" y="587"/>
                </a:cubicBezTo>
                <a:cubicBezTo>
                  <a:pt x="1412" y="587"/>
                  <a:pt x="1414" y="587"/>
                  <a:pt x="1414" y="587"/>
                </a:cubicBezTo>
                <a:close/>
                <a:moveTo>
                  <a:pt x="1431" y="588"/>
                </a:moveTo>
                <a:cubicBezTo>
                  <a:pt x="1432" y="588"/>
                  <a:pt x="1432" y="588"/>
                  <a:pt x="1433" y="588"/>
                </a:cubicBezTo>
                <a:cubicBezTo>
                  <a:pt x="1433" y="588"/>
                  <a:pt x="1433" y="587"/>
                  <a:pt x="1433" y="587"/>
                </a:cubicBezTo>
                <a:cubicBezTo>
                  <a:pt x="1432" y="587"/>
                  <a:pt x="1431" y="587"/>
                  <a:pt x="1431" y="588"/>
                </a:cubicBezTo>
                <a:cubicBezTo>
                  <a:pt x="1432" y="588"/>
                  <a:pt x="1431" y="588"/>
                  <a:pt x="1431" y="588"/>
                </a:cubicBezTo>
                <a:close/>
                <a:moveTo>
                  <a:pt x="1318" y="589"/>
                </a:moveTo>
                <a:cubicBezTo>
                  <a:pt x="1319" y="590"/>
                  <a:pt x="1319" y="590"/>
                  <a:pt x="1319" y="590"/>
                </a:cubicBezTo>
                <a:cubicBezTo>
                  <a:pt x="1319" y="590"/>
                  <a:pt x="1318" y="591"/>
                  <a:pt x="1319" y="591"/>
                </a:cubicBezTo>
                <a:cubicBezTo>
                  <a:pt x="1319" y="591"/>
                  <a:pt x="1319" y="592"/>
                  <a:pt x="1319" y="592"/>
                </a:cubicBezTo>
                <a:cubicBezTo>
                  <a:pt x="1319" y="592"/>
                  <a:pt x="1319" y="592"/>
                  <a:pt x="1319" y="592"/>
                </a:cubicBezTo>
                <a:cubicBezTo>
                  <a:pt x="1319" y="593"/>
                  <a:pt x="1320" y="594"/>
                  <a:pt x="1321" y="594"/>
                </a:cubicBezTo>
                <a:cubicBezTo>
                  <a:pt x="1322" y="595"/>
                  <a:pt x="1321" y="595"/>
                  <a:pt x="1322" y="594"/>
                </a:cubicBezTo>
                <a:cubicBezTo>
                  <a:pt x="1322" y="593"/>
                  <a:pt x="1322" y="591"/>
                  <a:pt x="1321" y="591"/>
                </a:cubicBezTo>
                <a:cubicBezTo>
                  <a:pt x="1321" y="590"/>
                  <a:pt x="1321" y="591"/>
                  <a:pt x="1321" y="590"/>
                </a:cubicBezTo>
                <a:cubicBezTo>
                  <a:pt x="1321" y="590"/>
                  <a:pt x="1321" y="590"/>
                  <a:pt x="1321" y="590"/>
                </a:cubicBezTo>
                <a:cubicBezTo>
                  <a:pt x="1320" y="589"/>
                  <a:pt x="1321" y="589"/>
                  <a:pt x="1320" y="588"/>
                </a:cubicBezTo>
                <a:cubicBezTo>
                  <a:pt x="1320" y="588"/>
                  <a:pt x="1320" y="588"/>
                  <a:pt x="1320" y="587"/>
                </a:cubicBezTo>
                <a:cubicBezTo>
                  <a:pt x="1319" y="588"/>
                  <a:pt x="1319" y="588"/>
                  <a:pt x="1318" y="587"/>
                </a:cubicBezTo>
                <a:cubicBezTo>
                  <a:pt x="1318" y="586"/>
                  <a:pt x="1317" y="587"/>
                  <a:pt x="1317" y="587"/>
                </a:cubicBezTo>
                <a:cubicBezTo>
                  <a:pt x="1317" y="588"/>
                  <a:pt x="1317" y="589"/>
                  <a:pt x="1317" y="589"/>
                </a:cubicBezTo>
                <a:cubicBezTo>
                  <a:pt x="1317" y="589"/>
                  <a:pt x="1318" y="589"/>
                  <a:pt x="1318" y="589"/>
                </a:cubicBezTo>
                <a:close/>
                <a:moveTo>
                  <a:pt x="1400" y="588"/>
                </a:moveTo>
                <a:cubicBezTo>
                  <a:pt x="1400" y="588"/>
                  <a:pt x="1400" y="587"/>
                  <a:pt x="1401" y="587"/>
                </a:cubicBezTo>
                <a:cubicBezTo>
                  <a:pt x="1401" y="587"/>
                  <a:pt x="1401" y="587"/>
                  <a:pt x="1401" y="587"/>
                </a:cubicBezTo>
                <a:cubicBezTo>
                  <a:pt x="1401" y="586"/>
                  <a:pt x="1400" y="586"/>
                  <a:pt x="1399" y="586"/>
                </a:cubicBezTo>
                <a:cubicBezTo>
                  <a:pt x="1399" y="586"/>
                  <a:pt x="1398" y="586"/>
                  <a:pt x="1398" y="586"/>
                </a:cubicBezTo>
                <a:cubicBezTo>
                  <a:pt x="1397" y="587"/>
                  <a:pt x="1397" y="587"/>
                  <a:pt x="1397" y="588"/>
                </a:cubicBezTo>
                <a:cubicBezTo>
                  <a:pt x="1398" y="588"/>
                  <a:pt x="1399" y="588"/>
                  <a:pt x="1400" y="588"/>
                </a:cubicBezTo>
                <a:cubicBezTo>
                  <a:pt x="1400" y="588"/>
                  <a:pt x="1400" y="588"/>
                  <a:pt x="1400" y="588"/>
                </a:cubicBezTo>
                <a:cubicBezTo>
                  <a:pt x="1400" y="588"/>
                  <a:pt x="1400" y="588"/>
                  <a:pt x="1400" y="588"/>
                </a:cubicBezTo>
                <a:close/>
                <a:moveTo>
                  <a:pt x="1422" y="585"/>
                </a:moveTo>
                <a:cubicBezTo>
                  <a:pt x="1419" y="586"/>
                  <a:pt x="1422" y="586"/>
                  <a:pt x="1422" y="585"/>
                </a:cubicBezTo>
                <a:cubicBezTo>
                  <a:pt x="1421" y="585"/>
                  <a:pt x="1422" y="585"/>
                  <a:pt x="1422" y="585"/>
                </a:cubicBezTo>
                <a:close/>
                <a:moveTo>
                  <a:pt x="1435" y="586"/>
                </a:moveTo>
                <a:cubicBezTo>
                  <a:pt x="1436" y="586"/>
                  <a:pt x="1436" y="586"/>
                  <a:pt x="1436" y="585"/>
                </a:cubicBezTo>
                <a:cubicBezTo>
                  <a:pt x="1436" y="585"/>
                  <a:pt x="1436" y="585"/>
                  <a:pt x="1436" y="584"/>
                </a:cubicBezTo>
                <a:cubicBezTo>
                  <a:pt x="1435" y="585"/>
                  <a:pt x="1434" y="585"/>
                  <a:pt x="1435" y="586"/>
                </a:cubicBezTo>
                <a:cubicBezTo>
                  <a:pt x="1436" y="586"/>
                  <a:pt x="1435" y="586"/>
                  <a:pt x="1435" y="586"/>
                </a:cubicBezTo>
                <a:close/>
                <a:moveTo>
                  <a:pt x="1433" y="584"/>
                </a:moveTo>
                <a:cubicBezTo>
                  <a:pt x="1433" y="583"/>
                  <a:pt x="1434" y="584"/>
                  <a:pt x="1434" y="584"/>
                </a:cubicBezTo>
                <a:cubicBezTo>
                  <a:pt x="1434" y="583"/>
                  <a:pt x="1433" y="583"/>
                  <a:pt x="1433" y="583"/>
                </a:cubicBezTo>
                <a:cubicBezTo>
                  <a:pt x="1433" y="583"/>
                  <a:pt x="1433" y="584"/>
                  <a:pt x="1433" y="584"/>
                </a:cubicBezTo>
                <a:close/>
                <a:moveTo>
                  <a:pt x="1285" y="584"/>
                </a:moveTo>
                <a:cubicBezTo>
                  <a:pt x="1285" y="585"/>
                  <a:pt x="1286" y="586"/>
                  <a:pt x="1286" y="588"/>
                </a:cubicBezTo>
                <a:cubicBezTo>
                  <a:pt x="1287" y="588"/>
                  <a:pt x="1288" y="588"/>
                  <a:pt x="1288" y="588"/>
                </a:cubicBezTo>
                <a:cubicBezTo>
                  <a:pt x="1288" y="587"/>
                  <a:pt x="1287" y="586"/>
                  <a:pt x="1287" y="584"/>
                </a:cubicBezTo>
                <a:cubicBezTo>
                  <a:pt x="1287" y="584"/>
                  <a:pt x="1287" y="583"/>
                  <a:pt x="1286" y="583"/>
                </a:cubicBezTo>
                <a:cubicBezTo>
                  <a:pt x="1286" y="583"/>
                  <a:pt x="1285" y="583"/>
                  <a:pt x="1285" y="584"/>
                </a:cubicBezTo>
                <a:cubicBezTo>
                  <a:pt x="1285" y="585"/>
                  <a:pt x="1285" y="584"/>
                  <a:pt x="1285" y="584"/>
                </a:cubicBezTo>
                <a:close/>
                <a:moveTo>
                  <a:pt x="1436" y="583"/>
                </a:moveTo>
                <a:cubicBezTo>
                  <a:pt x="1436" y="583"/>
                  <a:pt x="1433" y="583"/>
                  <a:pt x="1436" y="583"/>
                </a:cubicBezTo>
                <a:close/>
                <a:moveTo>
                  <a:pt x="571" y="583"/>
                </a:moveTo>
                <a:cubicBezTo>
                  <a:pt x="572" y="583"/>
                  <a:pt x="572" y="583"/>
                  <a:pt x="572" y="582"/>
                </a:cubicBezTo>
                <a:cubicBezTo>
                  <a:pt x="571" y="582"/>
                  <a:pt x="571" y="582"/>
                  <a:pt x="571" y="583"/>
                </a:cubicBezTo>
                <a:cubicBezTo>
                  <a:pt x="572" y="583"/>
                  <a:pt x="571" y="583"/>
                  <a:pt x="571" y="583"/>
                </a:cubicBezTo>
                <a:close/>
                <a:moveTo>
                  <a:pt x="1505" y="607"/>
                </a:moveTo>
                <a:cubicBezTo>
                  <a:pt x="1506" y="607"/>
                  <a:pt x="1506" y="607"/>
                  <a:pt x="1506" y="606"/>
                </a:cubicBezTo>
                <a:cubicBezTo>
                  <a:pt x="1505" y="607"/>
                  <a:pt x="1505" y="605"/>
                  <a:pt x="1504" y="604"/>
                </a:cubicBezTo>
                <a:cubicBezTo>
                  <a:pt x="1504" y="604"/>
                  <a:pt x="1504" y="603"/>
                  <a:pt x="1503" y="603"/>
                </a:cubicBezTo>
                <a:cubicBezTo>
                  <a:pt x="1503" y="601"/>
                  <a:pt x="1501" y="603"/>
                  <a:pt x="1500" y="602"/>
                </a:cubicBezTo>
                <a:cubicBezTo>
                  <a:pt x="1500" y="602"/>
                  <a:pt x="1500" y="601"/>
                  <a:pt x="1499" y="601"/>
                </a:cubicBezTo>
                <a:cubicBezTo>
                  <a:pt x="1499" y="600"/>
                  <a:pt x="1499" y="601"/>
                  <a:pt x="1499" y="601"/>
                </a:cubicBezTo>
                <a:cubicBezTo>
                  <a:pt x="1499" y="600"/>
                  <a:pt x="1499" y="599"/>
                  <a:pt x="1498" y="599"/>
                </a:cubicBezTo>
                <a:cubicBezTo>
                  <a:pt x="1498" y="599"/>
                  <a:pt x="1497" y="599"/>
                  <a:pt x="1496" y="599"/>
                </a:cubicBezTo>
                <a:cubicBezTo>
                  <a:pt x="1496" y="599"/>
                  <a:pt x="1496" y="599"/>
                  <a:pt x="1496" y="598"/>
                </a:cubicBezTo>
                <a:cubicBezTo>
                  <a:pt x="1495" y="598"/>
                  <a:pt x="1495" y="599"/>
                  <a:pt x="1495" y="598"/>
                </a:cubicBezTo>
                <a:cubicBezTo>
                  <a:pt x="1495" y="598"/>
                  <a:pt x="1495" y="598"/>
                  <a:pt x="1495" y="598"/>
                </a:cubicBezTo>
                <a:cubicBezTo>
                  <a:pt x="1494" y="598"/>
                  <a:pt x="1494" y="598"/>
                  <a:pt x="1494" y="598"/>
                </a:cubicBezTo>
                <a:cubicBezTo>
                  <a:pt x="1493" y="598"/>
                  <a:pt x="1493" y="598"/>
                  <a:pt x="1492" y="597"/>
                </a:cubicBezTo>
                <a:cubicBezTo>
                  <a:pt x="1492" y="597"/>
                  <a:pt x="1490" y="597"/>
                  <a:pt x="1490" y="597"/>
                </a:cubicBezTo>
                <a:cubicBezTo>
                  <a:pt x="1490" y="597"/>
                  <a:pt x="1490" y="597"/>
                  <a:pt x="1490" y="597"/>
                </a:cubicBezTo>
                <a:cubicBezTo>
                  <a:pt x="1489" y="597"/>
                  <a:pt x="1490" y="596"/>
                  <a:pt x="1489" y="596"/>
                </a:cubicBezTo>
                <a:cubicBezTo>
                  <a:pt x="1489" y="596"/>
                  <a:pt x="1488" y="596"/>
                  <a:pt x="1487" y="596"/>
                </a:cubicBezTo>
                <a:cubicBezTo>
                  <a:pt x="1487" y="595"/>
                  <a:pt x="1487" y="595"/>
                  <a:pt x="1486" y="595"/>
                </a:cubicBezTo>
                <a:cubicBezTo>
                  <a:pt x="1485" y="595"/>
                  <a:pt x="1485" y="594"/>
                  <a:pt x="1484" y="594"/>
                </a:cubicBezTo>
                <a:cubicBezTo>
                  <a:pt x="1484" y="594"/>
                  <a:pt x="1484" y="594"/>
                  <a:pt x="1484" y="594"/>
                </a:cubicBezTo>
                <a:cubicBezTo>
                  <a:pt x="1484" y="593"/>
                  <a:pt x="1483" y="594"/>
                  <a:pt x="1483" y="593"/>
                </a:cubicBezTo>
                <a:cubicBezTo>
                  <a:pt x="1483" y="593"/>
                  <a:pt x="1482" y="594"/>
                  <a:pt x="1482" y="593"/>
                </a:cubicBezTo>
                <a:cubicBezTo>
                  <a:pt x="1482" y="592"/>
                  <a:pt x="1481" y="592"/>
                  <a:pt x="1481" y="592"/>
                </a:cubicBezTo>
                <a:cubicBezTo>
                  <a:pt x="1481" y="592"/>
                  <a:pt x="1480" y="592"/>
                  <a:pt x="1479" y="592"/>
                </a:cubicBezTo>
                <a:cubicBezTo>
                  <a:pt x="1479" y="592"/>
                  <a:pt x="1479" y="592"/>
                  <a:pt x="1479" y="592"/>
                </a:cubicBezTo>
                <a:cubicBezTo>
                  <a:pt x="1478" y="592"/>
                  <a:pt x="1479" y="592"/>
                  <a:pt x="1478" y="592"/>
                </a:cubicBezTo>
                <a:cubicBezTo>
                  <a:pt x="1477" y="592"/>
                  <a:pt x="1476" y="592"/>
                  <a:pt x="1476" y="592"/>
                </a:cubicBezTo>
                <a:cubicBezTo>
                  <a:pt x="1475" y="591"/>
                  <a:pt x="1476" y="591"/>
                  <a:pt x="1475" y="591"/>
                </a:cubicBezTo>
                <a:cubicBezTo>
                  <a:pt x="1475" y="591"/>
                  <a:pt x="1475" y="591"/>
                  <a:pt x="1474" y="591"/>
                </a:cubicBezTo>
                <a:cubicBezTo>
                  <a:pt x="1474" y="591"/>
                  <a:pt x="1474" y="591"/>
                  <a:pt x="1474" y="591"/>
                </a:cubicBezTo>
                <a:cubicBezTo>
                  <a:pt x="1474" y="590"/>
                  <a:pt x="1473" y="590"/>
                  <a:pt x="1473" y="590"/>
                </a:cubicBezTo>
                <a:cubicBezTo>
                  <a:pt x="1472" y="589"/>
                  <a:pt x="1472" y="589"/>
                  <a:pt x="1472" y="589"/>
                </a:cubicBezTo>
                <a:cubicBezTo>
                  <a:pt x="1471" y="589"/>
                  <a:pt x="1471" y="588"/>
                  <a:pt x="1470" y="588"/>
                </a:cubicBezTo>
                <a:cubicBezTo>
                  <a:pt x="1470" y="588"/>
                  <a:pt x="1469" y="588"/>
                  <a:pt x="1469" y="588"/>
                </a:cubicBezTo>
                <a:cubicBezTo>
                  <a:pt x="1469" y="587"/>
                  <a:pt x="1468" y="588"/>
                  <a:pt x="1467" y="587"/>
                </a:cubicBezTo>
                <a:cubicBezTo>
                  <a:pt x="1467" y="588"/>
                  <a:pt x="1466" y="588"/>
                  <a:pt x="1465" y="589"/>
                </a:cubicBezTo>
                <a:cubicBezTo>
                  <a:pt x="1465" y="589"/>
                  <a:pt x="1464" y="591"/>
                  <a:pt x="1464" y="591"/>
                </a:cubicBezTo>
                <a:cubicBezTo>
                  <a:pt x="1462" y="591"/>
                  <a:pt x="1463" y="591"/>
                  <a:pt x="1462" y="591"/>
                </a:cubicBezTo>
                <a:cubicBezTo>
                  <a:pt x="1462" y="591"/>
                  <a:pt x="1462" y="591"/>
                  <a:pt x="1461" y="592"/>
                </a:cubicBezTo>
                <a:cubicBezTo>
                  <a:pt x="1461" y="592"/>
                  <a:pt x="1461" y="592"/>
                  <a:pt x="1461" y="593"/>
                </a:cubicBezTo>
                <a:cubicBezTo>
                  <a:pt x="1460" y="594"/>
                  <a:pt x="1460" y="593"/>
                  <a:pt x="1460" y="594"/>
                </a:cubicBezTo>
                <a:cubicBezTo>
                  <a:pt x="1460" y="595"/>
                  <a:pt x="1459" y="595"/>
                  <a:pt x="1459" y="596"/>
                </a:cubicBezTo>
                <a:cubicBezTo>
                  <a:pt x="1458" y="596"/>
                  <a:pt x="1458" y="596"/>
                  <a:pt x="1457" y="596"/>
                </a:cubicBezTo>
                <a:cubicBezTo>
                  <a:pt x="1457" y="596"/>
                  <a:pt x="1457" y="596"/>
                  <a:pt x="1457" y="597"/>
                </a:cubicBezTo>
                <a:cubicBezTo>
                  <a:pt x="1455" y="596"/>
                  <a:pt x="1455" y="597"/>
                  <a:pt x="1455" y="595"/>
                </a:cubicBezTo>
                <a:cubicBezTo>
                  <a:pt x="1455" y="595"/>
                  <a:pt x="1455" y="594"/>
                  <a:pt x="1454" y="595"/>
                </a:cubicBezTo>
                <a:cubicBezTo>
                  <a:pt x="1454" y="596"/>
                  <a:pt x="1454" y="594"/>
                  <a:pt x="1454" y="594"/>
                </a:cubicBezTo>
                <a:cubicBezTo>
                  <a:pt x="1454" y="593"/>
                  <a:pt x="1454" y="593"/>
                  <a:pt x="1453" y="592"/>
                </a:cubicBezTo>
                <a:cubicBezTo>
                  <a:pt x="1453" y="593"/>
                  <a:pt x="1452" y="593"/>
                  <a:pt x="1452" y="593"/>
                </a:cubicBezTo>
                <a:cubicBezTo>
                  <a:pt x="1452" y="592"/>
                  <a:pt x="1451" y="591"/>
                  <a:pt x="1451" y="590"/>
                </a:cubicBezTo>
                <a:cubicBezTo>
                  <a:pt x="1451" y="589"/>
                  <a:pt x="1451" y="588"/>
                  <a:pt x="1451" y="587"/>
                </a:cubicBezTo>
                <a:cubicBezTo>
                  <a:pt x="1451" y="586"/>
                  <a:pt x="1452" y="587"/>
                  <a:pt x="1452" y="587"/>
                </a:cubicBezTo>
                <a:cubicBezTo>
                  <a:pt x="1452" y="586"/>
                  <a:pt x="1451" y="586"/>
                  <a:pt x="1452" y="586"/>
                </a:cubicBezTo>
                <a:cubicBezTo>
                  <a:pt x="1452" y="585"/>
                  <a:pt x="1452" y="584"/>
                  <a:pt x="1451" y="583"/>
                </a:cubicBezTo>
                <a:cubicBezTo>
                  <a:pt x="1451" y="583"/>
                  <a:pt x="1450" y="583"/>
                  <a:pt x="1450" y="582"/>
                </a:cubicBezTo>
                <a:cubicBezTo>
                  <a:pt x="1450" y="582"/>
                  <a:pt x="1449" y="582"/>
                  <a:pt x="1448" y="583"/>
                </a:cubicBezTo>
                <a:cubicBezTo>
                  <a:pt x="1449" y="582"/>
                  <a:pt x="1447" y="582"/>
                  <a:pt x="1447" y="583"/>
                </a:cubicBezTo>
                <a:cubicBezTo>
                  <a:pt x="1446" y="582"/>
                  <a:pt x="1445" y="582"/>
                  <a:pt x="1444" y="582"/>
                </a:cubicBezTo>
                <a:cubicBezTo>
                  <a:pt x="1443" y="581"/>
                  <a:pt x="1442" y="582"/>
                  <a:pt x="1441" y="582"/>
                </a:cubicBezTo>
                <a:cubicBezTo>
                  <a:pt x="1440" y="583"/>
                  <a:pt x="1441" y="583"/>
                  <a:pt x="1440" y="583"/>
                </a:cubicBezTo>
                <a:cubicBezTo>
                  <a:pt x="1439" y="583"/>
                  <a:pt x="1439" y="583"/>
                  <a:pt x="1438" y="583"/>
                </a:cubicBezTo>
                <a:cubicBezTo>
                  <a:pt x="1437" y="583"/>
                  <a:pt x="1437" y="583"/>
                  <a:pt x="1437" y="584"/>
                </a:cubicBezTo>
                <a:cubicBezTo>
                  <a:pt x="1438" y="584"/>
                  <a:pt x="1437" y="587"/>
                  <a:pt x="1437" y="587"/>
                </a:cubicBezTo>
                <a:cubicBezTo>
                  <a:pt x="1437" y="588"/>
                  <a:pt x="1439" y="587"/>
                  <a:pt x="1440" y="587"/>
                </a:cubicBezTo>
                <a:cubicBezTo>
                  <a:pt x="1441" y="587"/>
                  <a:pt x="1440" y="588"/>
                  <a:pt x="1441" y="588"/>
                </a:cubicBezTo>
                <a:cubicBezTo>
                  <a:pt x="1442" y="588"/>
                  <a:pt x="1441" y="588"/>
                  <a:pt x="1441" y="589"/>
                </a:cubicBezTo>
                <a:cubicBezTo>
                  <a:pt x="1441" y="589"/>
                  <a:pt x="1442" y="590"/>
                  <a:pt x="1441" y="590"/>
                </a:cubicBezTo>
                <a:cubicBezTo>
                  <a:pt x="1442" y="590"/>
                  <a:pt x="1445" y="590"/>
                  <a:pt x="1445" y="591"/>
                </a:cubicBezTo>
                <a:cubicBezTo>
                  <a:pt x="1446" y="591"/>
                  <a:pt x="1446" y="590"/>
                  <a:pt x="1447" y="590"/>
                </a:cubicBezTo>
                <a:cubicBezTo>
                  <a:pt x="1447" y="590"/>
                  <a:pt x="1448" y="591"/>
                  <a:pt x="1449" y="591"/>
                </a:cubicBezTo>
                <a:cubicBezTo>
                  <a:pt x="1450" y="591"/>
                  <a:pt x="1450" y="591"/>
                  <a:pt x="1450" y="592"/>
                </a:cubicBezTo>
                <a:cubicBezTo>
                  <a:pt x="1449" y="592"/>
                  <a:pt x="1447" y="592"/>
                  <a:pt x="1448" y="592"/>
                </a:cubicBezTo>
                <a:cubicBezTo>
                  <a:pt x="1447" y="592"/>
                  <a:pt x="1447" y="592"/>
                  <a:pt x="1446" y="592"/>
                </a:cubicBezTo>
                <a:cubicBezTo>
                  <a:pt x="1446" y="593"/>
                  <a:pt x="1442" y="593"/>
                  <a:pt x="1441" y="593"/>
                </a:cubicBezTo>
                <a:cubicBezTo>
                  <a:pt x="1440" y="593"/>
                  <a:pt x="1441" y="593"/>
                  <a:pt x="1440" y="593"/>
                </a:cubicBezTo>
                <a:cubicBezTo>
                  <a:pt x="1441" y="594"/>
                  <a:pt x="1441" y="594"/>
                  <a:pt x="1442" y="594"/>
                </a:cubicBezTo>
                <a:cubicBezTo>
                  <a:pt x="1443" y="593"/>
                  <a:pt x="1443" y="594"/>
                  <a:pt x="1443" y="594"/>
                </a:cubicBezTo>
                <a:cubicBezTo>
                  <a:pt x="1443" y="595"/>
                  <a:pt x="1443" y="596"/>
                  <a:pt x="1444" y="596"/>
                </a:cubicBezTo>
                <a:cubicBezTo>
                  <a:pt x="1444" y="596"/>
                  <a:pt x="1445" y="596"/>
                  <a:pt x="1445" y="597"/>
                </a:cubicBezTo>
                <a:cubicBezTo>
                  <a:pt x="1445" y="597"/>
                  <a:pt x="1445" y="597"/>
                  <a:pt x="1445" y="597"/>
                </a:cubicBezTo>
                <a:cubicBezTo>
                  <a:pt x="1445" y="598"/>
                  <a:pt x="1445" y="598"/>
                  <a:pt x="1445" y="599"/>
                </a:cubicBezTo>
                <a:cubicBezTo>
                  <a:pt x="1446" y="601"/>
                  <a:pt x="1447" y="597"/>
                  <a:pt x="1448" y="597"/>
                </a:cubicBezTo>
                <a:cubicBezTo>
                  <a:pt x="1448" y="597"/>
                  <a:pt x="1448" y="596"/>
                  <a:pt x="1448" y="596"/>
                </a:cubicBezTo>
                <a:cubicBezTo>
                  <a:pt x="1448" y="596"/>
                  <a:pt x="1448" y="597"/>
                  <a:pt x="1448" y="597"/>
                </a:cubicBezTo>
                <a:cubicBezTo>
                  <a:pt x="1448" y="597"/>
                  <a:pt x="1449" y="597"/>
                  <a:pt x="1449" y="597"/>
                </a:cubicBezTo>
                <a:cubicBezTo>
                  <a:pt x="1449" y="598"/>
                  <a:pt x="1449" y="598"/>
                  <a:pt x="1449" y="598"/>
                </a:cubicBezTo>
                <a:cubicBezTo>
                  <a:pt x="1450" y="598"/>
                  <a:pt x="1450" y="598"/>
                  <a:pt x="1450" y="598"/>
                </a:cubicBezTo>
                <a:cubicBezTo>
                  <a:pt x="1450" y="598"/>
                  <a:pt x="1450" y="598"/>
                  <a:pt x="1451" y="599"/>
                </a:cubicBezTo>
                <a:cubicBezTo>
                  <a:pt x="1452" y="599"/>
                  <a:pt x="1452" y="599"/>
                  <a:pt x="1452" y="599"/>
                </a:cubicBezTo>
                <a:cubicBezTo>
                  <a:pt x="1452" y="599"/>
                  <a:pt x="1453" y="599"/>
                  <a:pt x="1453" y="599"/>
                </a:cubicBezTo>
                <a:cubicBezTo>
                  <a:pt x="1453" y="599"/>
                  <a:pt x="1453" y="600"/>
                  <a:pt x="1453" y="600"/>
                </a:cubicBezTo>
                <a:cubicBezTo>
                  <a:pt x="1453" y="602"/>
                  <a:pt x="1453" y="601"/>
                  <a:pt x="1454" y="602"/>
                </a:cubicBezTo>
                <a:cubicBezTo>
                  <a:pt x="1454" y="602"/>
                  <a:pt x="1454" y="602"/>
                  <a:pt x="1454" y="602"/>
                </a:cubicBezTo>
                <a:cubicBezTo>
                  <a:pt x="1454" y="602"/>
                  <a:pt x="1455" y="602"/>
                  <a:pt x="1455" y="602"/>
                </a:cubicBezTo>
                <a:cubicBezTo>
                  <a:pt x="1455" y="602"/>
                  <a:pt x="1456" y="602"/>
                  <a:pt x="1457" y="602"/>
                </a:cubicBezTo>
                <a:cubicBezTo>
                  <a:pt x="1457" y="603"/>
                  <a:pt x="1458" y="602"/>
                  <a:pt x="1458" y="603"/>
                </a:cubicBezTo>
                <a:cubicBezTo>
                  <a:pt x="1458" y="603"/>
                  <a:pt x="1459" y="602"/>
                  <a:pt x="1460" y="602"/>
                </a:cubicBezTo>
                <a:cubicBezTo>
                  <a:pt x="1460" y="603"/>
                  <a:pt x="1460" y="603"/>
                  <a:pt x="1461" y="603"/>
                </a:cubicBezTo>
                <a:cubicBezTo>
                  <a:pt x="1461" y="604"/>
                  <a:pt x="1462" y="604"/>
                  <a:pt x="1462" y="604"/>
                </a:cubicBezTo>
                <a:cubicBezTo>
                  <a:pt x="1463" y="604"/>
                  <a:pt x="1463" y="605"/>
                  <a:pt x="1463" y="606"/>
                </a:cubicBezTo>
                <a:cubicBezTo>
                  <a:pt x="1464" y="607"/>
                  <a:pt x="1465" y="606"/>
                  <a:pt x="1466" y="606"/>
                </a:cubicBezTo>
                <a:cubicBezTo>
                  <a:pt x="1467" y="606"/>
                  <a:pt x="1467" y="606"/>
                  <a:pt x="1467" y="607"/>
                </a:cubicBezTo>
                <a:cubicBezTo>
                  <a:pt x="1468" y="607"/>
                  <a:pt x="1468" y="607"/>
                  <a:pt x="1469" y="607"/>
                </a:cubicBezTo>
                <a:cubicBezTo>
                  <a:pt x="1470" y="607"/>
                  <a:pt x="1470" y="608"/>
                  <a:pt x="1470" y="608"/>
                </a:cubicBezTo>
                <a:cubicBezTo>
                  <a:pt x="1471" y="608"/>
                  <a:pt x="1470" y="609"/>
                  <a:pt x="1470" y="610"/>
                </a:cubicBezTo>
                <a:cubicBezTo>
                  <a:pt x="1471" y="610"/>
                  <a:pt x="1471" y="610"/>
                  <a:pt x="1471" y="611"/>
                </a:cubicBezTo>
                <a:cubicBezTo>
                  <a:pt x="1471" y="612"/>
                  <a:pt x="1471" y="612"/>
                  <a:pt x="1471" y="612"/>
                </a:cubicBezTo>
                <a:cubicBezTo>
                  <a:pt x="1471" y="613"/>
                  <a:pt x="1471" y="613"/>
                  <a:pt x="1471" y="613"/>
                </a:cubicBezTo>
                <a:cubicBezTo>
                  <a:pt x="1471" y="613"/>
                  <a:pt x="1471" y="613"/>
                  <a:pt x="1471" y="614"/>
                </a:cubicBezTo>
                <a:cubicBezTo>
                  <a:pt x="1470" y="615"/>
                  <a:pt x="1472" y="615"/>
                  <a:pt x="1472" y="616"/>
                </a:cubicBezTo>
                <a:cubicBezTo>
                  <a:pt x="1472" y="616"/>
                  <a:pt x="1472" y="617"/>
                  <a:pt x="1472" y="617"/>
                </a:cubicBezTo>
                <a:cubicBezTo>
                  <a:pt x="1472" y="617"/>
                  <a:pt x="1472" y="617"/>
                  <a:pt x="1473" y="617"/>
                </a:cubicBezTo>
                <a:cubicBezTo>
                  <a:pt x="1473" y="617"/>
                  <a:pt x="1473" y="617"/>
                  <a:pt x="1473" y="618"/>
                </a:cubicBezTo>
                <a:cubicBezTo>
                  <a:pt x="1473" y="618"/>
                  <a:pt x="1473" y="618"/>
                  <a:pt x="1473" y="618"/>
                </a:cubicBezTo>
                <a:cubicBezTo>
                  <a:pt x="1473" y="618"/>
                  <a:pt x="1473" y="619"/>
                  <a:pt x="1473" y="619"/>
                </a:cubicBezTo>
                <a:cubicBezTo>
                  <a:pt x="1474" y="619"/>
                  <a:pt x="1473" y="620"/>
                  <a:pt x="1473" y="620"/>
                </a:cubicBezTo>
                <a:cubicBezTo>
                  <a:pt x="1473" y="620"/>
                  <a:pt x="1473" y="621"/>
                  <a:pt x="1473" y="621"/>
                </a:cubicBezTo>
                <a:cubicBezTo>
                  <a:pt x="1474" y="622"/>
                  <a:pt x="1474" y="622"/>
                  <a:pt x="1474" y="623"/>
                </a:cubicBezTo>
                <a:cubicBezTo>
                  <a:pt x="1473" y="622"/>
                  <a:pt x="1473" y="622"/>
                  <a:pt x="1473" y="622"/>
                </a:cubicBezTo>
                <a:cubicBezTo>
                  <a:pt x="1472" y="621"/>
                  <a:pt x="1471" y="621"/>
                  <a:pt x="1470" y="622"/>
                </a:cubicBezTo>
                <a:cubicBezTo>
                  <a:pt x="1470" y="622"/>
                  <a:pt x="1470" y="622"/>
                  <a:pt x="1470" y="622"/>
                </a:cubicBezTo>
                <a:cubicBezTo>
                  <a:pt x="1470" y="623"/>
                  <a:pt x="1469" y="623"/>
                  <a:pt x="1469" y="623"/>
                </a:cubicBezTo>
                <a:cubicBezTo>
                  <a:pt x="1469" y="623"/>
                  <a:pt x="1468" y="624"/>
                  <a:pt x="1467" y="625"/>
                </a:cubicBezTo>
                <a:cubicBezTo>
                  <a:pt x="1468" y="625"/>
                  <a:pt x="1469" y="625"/>
                  <a:pt x="1470" y="625"/>
                </a:cubicBezTo>
                <a:cubicBezTo>
                  <a:pt x="1471" y="625"/>
                  <a:pt x="1471" y="625"/>
                  <a:pt x="1472" y="625"/>
                </a:cubicBezTo>
                <a:cubicBezTo>
                  <a:pt x="1473" y="624"/>
                  <a:pt x="1473" y="624"/>
                  <a:pt x="1473" y="623"/>
                </a:cubicBezTo>
                <a:cubicBezTo>
                  <a:pt x="1473" y="623"/>
                  <a:pt x="1473" y="624"/>
                  <a:pt x="1474" y="624"/>
                </a:cubicBezTo>
                <a:cubicBezTo>
                  <a:pt x="1474" y="624"/>
                  <a:pt x="1475" y="624"/>
                  <a:pt x="1476" y="624"/>
                </a:cubicBezTo>
                <a:cubicBezTo>
                  <a:pt x="1477" y="624"/>
                  <a:pt x="1478" y="623"/>
                  <a:pt x="1479" y="624"/>
                </a:cubicBezTo>
                <a:cubicBezTo>
                  <a:pt x="1479" y="625"/>
                  <a:pt x="1479" y="625"/>
                  <a:pt x="1479" y="625"/>
                </a:cubicBezTo>
                <a:cubicBezTo>
                  <a:pt x="1480" y="626"/>
                  <a:pt x="1480" y="626"/>
                  <a:pt x="1480" y="627"/>
                </a:cubicBezTo>
                <a:cubicBezTo>
                  <a:pt x="1480" y="628"/>
                  <a:pt x="1481" y="628"/>
                  <a:pt x="1481" y="628"/>
                </a:cubicBezTo>
                <a:cubicBezTo>
                  <a:pt x="1482" y="629"/>
                  <a:pt x="1482" y="629"/>
                  <a:pt x="1482" y="629"/>
                </a:cubicBezTo>
                <a:cubicBezTo>
                  <a:pt x="1482" y="629"/>
                  <a:pt x="1482" y="629"/>
                  <a:pt x="1483" y="629"/>
                </a:cubicBezTo>
                <a:cubicBezTo>
                  <a:pt x="1483" y="629"/>
                  <a:pt x="1483" y="629"/>
                  <a:pt x="1483" y="629"/>
                </a:cubicBezTo>
                <a:cubicBezTo>
                  <a:pt x="1484" y="629"/>
                  <a:pt x="1485" y="629"/>
                  <a:pt x="1486" y="629"/>
                </a:cubicBezTo>
                <a:cubicBezTo>
                  <a:pt x="1487" y="629"/>
                  <a:pt x="1489" y="629"/>
                  <a:pt x="1489" y="628"/>
                </a:cubicBezTo>
                <a:cubicBezTo>
                  <a:pt x="1490" y="628"/>
                  <a:pt x="1489" y="629"/>
                  <a:pt x="1490" y="629"/>
                </a:cubicBezTo>
                <a:cubicBezTo>
                  <a:pt x="1490" y="629"/>
                  <a:pt x="1491" y="629"/>
                  <a:pt x="1491" y="629"/>
                </a:cubicBezTo>
                <a:cubicBezTo>
                  <a:pt x="1492" y="629"/>
                  <a:pt x="1492" y="629"/>
                  <a:pt x="1493" y="629"/>
                </a:cubicBezTo>
                <a:cubicBezTo>
                  <a:pt x="1493" y="629"/>
                  <a:pt x="1493" y="629"/>
                  <a:pt x="1493" y="629"/>
                </a:cubicBezTo>
                <a:cubicBezTo>
                  <a:pt x="1493" y="628"/>
                  <a:pt x="1493" y="629"/>
                  <a:pt x="1493" y="629"/>
                </a:cubicBezTo>
                <a:cubicBezTo>
                  <a:pt x="1493" y="628"/>
                  <a:pt x="1493" y="628"/>
                  <a:pt x="1493" y="628"/>
                </a:cubicBezTo>
                <a:cubicBezTo>
                  <a:pt x="1494" y="628"/>
                  <a:pt x="1494" y="628"/>
                  <a:pt x="1494" y="628"/>
                </a:cubicBezTo>
                <a:cubicBezTo>
                  <a:pt x="1494" y="627"/>
                  <a:pt x="1496" y="627"/>
                  <a:pt x="1496" y="626"/>
                </a:cubicBezTo>
                <a:cubicBezTo>
                  <a:pt x="1495" y="625"/>
                  <a:pt x="1495" y="625"/>
                  <a:pt x="1495" y="624"/>
                </a:cubicBezTo>
                <a:cubicBezTo>
                  <a:pt x="1495" y="624"/>
                  <a:pt x="1496" y="623"/>
                  <a:pt x="1496" y="623"/>
                </a:cubicBezTo>
                <a:cubicBezTo>
                  <a:pt x="1497" y="623"/>
                  <a:pt x="1497" y="623"/>
                  <a:pt x="1498" y="623"/>
                </a:cubicBezTo>
                <a:cubicBezTo>
                  <a:pt x="1498" y="623"/>
                  <a:pt x="1498" y="623"/>
                  <a:pt x="1498" y="623"/>
                </a:cubicBezTo>
                <a:cubicBezTo>
                  <a:pt x="1499" y="623"/>
                  <a:pt x="1500" y="624"/>
                  <a:pt x="1502" y="624"/>
                </a:cubicBezTo>
                <a:cubicBezTo>
                  <a:pt x="1502" y="624"/>
                  <a:pt x="1502" y="623"/>
                  <a:pt x="1503" y="623"/>
                </a:cubicBezTo>
                <a:cubicBezTo>
                  <a:pt x="1503" y="623"/>
                  <a:pt x="1503" y="624"/>
                  <a:pt x="1504" y="624"/>
                </a:cubicBezTo>
                <a:cubicBezTo>
                  <a:pt x="1504" y="624"/>
                  <a:pt x="1504" y="624"/>
                  <a:pt x="1505" y="624"/>
                </a:cubicBezTo>
                <a:cubicBezTo>
                  <a:pt x="1505" y="624"/>
                  <a:pt x="1505" y="624"/>
                  <a:pt x="1505" y="624"/>
                </a:cubicBezTo>
                <a:cubicBezTo>
                  <a:pt x="1505" y="624"/>
                  <a:pt x="1505" y="624"/>
                  <a:pt x="1506" y="624"/>
                </a:cubicBezTo>
                <a:cubicBezTo>
                  <a:pt x="1506" y="624"/>
                  <a:pt x="1506" y="624"/>
                  <a:pt x="1506" y="624"/>
                </a:cubicBezTo>
                <a:cubicBezTo>
                  <a:pt x="1506" y="625"/>
                  <a:pt x="1508" y="625"/>
                  <a:pt x="1508" y="626"/>
                </a:cubicBezTo>
                <a:cubicBezTo>
                  <a:pt x="1508" y="626"/>
                  <a:pt x="1509" y="627"/>
                  <a:pt x="1509" y="628"/>
                </a:cubicBezTo>
                <a:cubicBezTo>
                  <a:pt x="1509" y="628"/>
                  <a:pt x="1509" y="629"/>
                  <a:pt x="1509" y="629"/>
                </a:cubicBezTo>
                <a:cubicBezTo>
                  <a:pt x="1509" y="629"/>
                  <a:pt x="1510" y="629"/>
                  <a:pt x="1510" y="629"/>
                </a:cubicBezTo>
                <a:cubicBezTo>
                  <a:pt x="1510" y="630"/>
                  <a:pt x="1511" y="631"/>
                  <a:pt x="1512" y="631"/>
                </a:cubicBezTo>
                <a:cubicBezTo>
                  <a:pt x="1514" y="632"/>
                  <a:pt x="1512" y="632"/>
                  <a:pt x="1513" y="632"/>
                </a:cubicBezTo>
                <a:cubicBezTo>
                  <a:pt x="1513" y="633"/>
                  <a:pt x="1514" y="633"/>
                  <a:pt x="1514" y="633"/>
                </a:cubicBezTo>
                <a:cubicBezTo>
                  <a:pt x="1515" y="634"/>
                  <a:pt x="1515" y="634"/>
                  <a:pt x="1515" y="634"/>
                </a:cubicBezTo>
                <a:cubicBezTo>
                  <a:pt x="1515" y="636"/>
                  <a:pt x="1516" y="635"/>
                  <a:pt x="1517" y="635"/>
                </a:cubicBezTo>
                <a:cubicBezTo>
                  <a:pt x="1517" y="635"/>
                  <a:pt x="1518" y="636"/>
                  <a:pt x="1518" y="636"/>
                </a:cubicBezTo>
                <a:cubicBezTo>
                  <a:pt x="1518" y="637"/>
                  <a:pt x="1519" y="636"/>
                  <a:pt x="1519" y="636"/>
                </a:cubicBezTo>
                <a:cubicBezTo>
                  <a:pt x="1519" y="636"/>
                  <a:pt x="1520" y="637"/>
                  <a:pt x="1521" y="637"/>
                </a:cubicBezTo>
                <a:cubicBezTo>
                  <a:pt x="1522" y="637"/>
                  <a:pt x="1523" y="637"/>
                  <a:pt x="1524" y="637"/>
                </a:cubicBezTo>
                <a:cubicBezTo>
                  <a:pt x="1524" y="637"/>
                  <a:pt x="1524" y="638"/>
                  <a:pt x="1525" y="638"/>
                </a:cubicBezTo>
                <a:cubicBezTo>
                  <a:pt x="1526" y="638"/>
                  <a:pt x="1527" y="638"/>
                  <a:pt x="1528" y="638"/>
                </a:cubicBezTo>
                <a:cubicBezTo>
                  <a:pt x="1528" y="637"/>
                  <a:pt x="1528" y="637"/>
                  <a:pt x="1528" y="636"/>
                </a:cubicBezTo>
                <a:cubicBezTo>
                  <a:pt x="1527" y="636"/>
                  <a:pt x="1526" y="636"/>
                  <a:pt x="1526" y="636"/>
                </a:cubicBezTo>
                <a:cubicBezTo>
                  <a:pt x="1526" y="635"/>
                  <a:pt x="1525" y="635"/>
                  <a:pt x="1525" y="635"/>
                </a:cubicBezTo>
                <a:cubicBezTo>
                  <a:pt x="1525" y="634"/>
                  <a:pt x="1525" y="633"/>
                  <a:pt x="1524" y="633"/>
                </a:cubicBezTo>
                <a:cubicBezTo>
                  <a:pt x="1523" y="633"/>
                  <a:pt x="1523" y="633"/>
                  <a:pt x="1522" y="632"/>
                </a:cubicBezTo>
                <a:cubicBezTo>
                  <a:pt x="1522" y="631"/>
                  <a:pt x="1522" y="631"/>
                  <a:pt x="1522" y="630"/>
                </a:cubicBezTo>
                <a:cubicBezTo>
                  <a:pt x="1521" y="630"/>
                  <a:pt x="1521" y="629"/>
                  <a:pt x="1520" y="629"/>
                </a:cubicBezTo>
                <a:cubicBezTo>
                  <a:pt x="1519" y="629"/>
                  <a:pt x="1519" y="629"/>
                  <a:pt x="1519" y="629"/>
                </a:cubicBezTo>
                <a:cubicBezTo>
                  <a:pt x="1519" y="629"/>
                  <a:pt x="1519" y="628"/>
                  <a:pt x="1519" y="627"/>
                </a:cubicBezTo>
                <a:cubicBezTo>
                  <a:pt x="1518" y="627"/>
                  <a:pt x="1518" y="627"/>
                  <a:pt x="1518" y="626"/>
                </a:cubicBezTo>
                <a:cubicBezTo>
                  <a:pt x="1517" y="626"/>
                  <a:pt x="1518" y="625"/>
                  <a:pt x="1518" y="625"/>
                </a:cubicBezTo>
                <a:cubicBezTo>
                  <a:pt x="1517" y="624"/>
                  <a:pt x="1516" y="624"/>
                  <a:pt x="1516" y="624"/>
                </a:cubicBezTo>
                <a:cubicBezTo>
                  <a:pt x="1516" y="623"/>
                  <a:pt x="1515" y="624"/>
                  <a:pt x="1515" y="624"/>
                </a:cubicBezTo>
                <a:cubicBezTo>
                  <a:pt x="1515" y="624"/>
                  <a:pt x="1515" y="623"/>
                  <a:pt x="1514" y="623"/>
                </a:cubicBezTo>
                <a:cubicBezTo>
                  <a:pt x="1514" y="623"/>
                  <a:pt x="1514" y="623"/>
                  <a:pt x="1513" y="622"/>
                </a:cubicBezTo>
                <a:cubicBezTo>
                  <a:pt x="1513" y="622"/>
                  <a:pt x="1513" y="621"/>
                  <a:pt x="1513" y="621"/>
                </a:cubicBezTo>
                <a:cubicBezTo>
                  <a:pt x="1513" y="620"/>
                  <a:pt x="1513" y="619"/>
                  <a:pt x="1513" y="618"/>
                </a:cubicBezTo>
                <a:cubicBezTo>
                  <a:pt x="1513" y="618"/>
                  <a:pt x="1512" y="618"/>
                  <a:pt x="1512" y="618"/>
                </a:cubicBezTo>
                <a:cubicBezTo>
                  <a:pt x="1513" y="618"/>
                  <a:pt x="1512" y="617"/>
                  <a:pt x="1513" y="617"/>
                </a:cubicBezTo>
                <a:cubicBezTo>
                  <a:pt x="1513" y="617"/>
                  <a:pt x="1513" y="617"/>
                  <a:pt x="1514" y="617"/>
                </a:cubicBezTo>
                <a:cubicBezTo>
                  <a:pt x="1514" y="617"/>
                  <a:pt x="1514" y="617"/>
                  <a:pt x="1515" y="617"/>
                </a:cubicBezTo>
                <a:cubicBezTo>
                  <a:pt x="1516" y="616"/>
                  <a:pt x="1517" y="615"/>
                  <a:pt x="1516" y="614"/>
                </a:cubicBezTo>
                <a:cubicBezTo>
                  <a:pt x="1515" y="613"/>
                  <a:pt x="1515" y="614"/>
                  <a:pt x="1515" y="613"/>
                </a:cubicBezTo>
                <a:cubicBezTo>
                  <a:pt x="1515" y="612"/>
                  <a:pt x="1514" y="612"/>
                  <a:pt x="1514" y="612"/>
                </a:cubicBezTo>
                <a:cubicBezTo>
                  <a:pt x="1513" y="612"/>
                  <a:pt x="1513" y="613"/>
                  <a:pt x="1512" y="612"/>
                </a:cubicBezTo>
                <a:cubicBezTo>
                  <a:pt x="1511" y="612"/>
                  <a:pt x="1511" y="611"/>
                  <a:pt x="1510" y="610"/>
                </a:cubicBezTo>
                <a:cubicBezTo>
                  <a:pt x="1510" y="610"/>
                  <a:pt x="1510" y="610"/>
                  <a:pt x="1510" y="609"/>
                </a:cubicBezTo>
                <a:cubicBezTo>
                  <a:pt x="1510" y="609"/>
                  <a:pt x="1508" y="609"/>
                  <a:pt x="1508" y="609"/>
                </a:cubicBezTo>
                <a:cubicBezTo>
                  <a:pt x="1507" y="609"/>
                  <a:pt x="1505" y="609"/>
                  <a:pt x="1505" y="607"/>
                </a:cubicBezTo>
                <a:close/>
                <a:moveTo>
                  <a:pt x="573" y="581"/>
                </a:moveTo>
                <a:cubicBezTo>
                  <a:pt x="573" y="581"/>
                  <a:pt x="573" y="581"/>
                  <a:pt x="574" y="581"/>
                </a:cubicBezTo>
                <a:cubicBezTo>
                  <a:pt x="573" y="581"/>
                  <a:pt x="574" y="581"/>
                  <a:pt x="573" y="580"/>
                </a:cubicBezTo>
                <a:cubicBezTo>
                  <a:pt x="573" y="581"/>
                  <a:pt x="573" y="581"/>
                  <a:pt x="573" y="581"/>
                </a:cubicBezTo>
                <a:close/>
                <a:moveTo>
                  <a:pt x="1421" y="582"/>
                </a:moveTo>
                <a:cubicBezTo>
                  <a:pt x="1421" y="581"/>
                  <a:pt x="1420" y="581"/>
                  <a:pt x="1420" y="581"/>
                </a:cubicBezTo>
                <a:cubicBezTo>
                  <a:pt x="1420" y="581"/>
                  <a:pt x="1420" y="580"/>
                  <a:pt x="1419" y="580"/>
                </a:cubicBezTo>
                <a:cubicBezTo>
                  <a:pt x="1419" y="580"/>
                  <a:pt x="1419" y="582"/>
                  <a:pt x="1419" y="583"/>
                </a:cubicBezTo>
                <a:cubicBezTo>
                  <a:pt x="1420" y="582"/>
                  <a:pt x="1421" y="582"/>
                  <a:pt x="1421" y="582"/>
                </a:cubicBezTo>
                <a:cubicBezTo>
                  <a:pt x="1420" y="581"/>
                  <a:pt x="1421" y="582"/>
                  <a:pt x="1421" y="582"/>
                </a:cubicBezTo>
                <a:close/>
                <a:moveTo>
                  <a:pt x="1309" y="580"/>
                </a:moveTo>
                <a:cubicBezTo>
                  <a:pt x="1309" y="580"/>
                  <a:pt x="1310" y="580"/>
                  <a:pt x="1309" y="579"/>
                </a:cubicBezTo>
                <a:cubicBezTo>
                  <a:pt x="1309" y="580"/>
                  <a:pt x="1308" y="580"/>
                  <a:pt x="1309" y="580"/>
                </a:cubicBezTo>
                <a:close/>
                <a:moveTo>
                  <a:pt x="572" y="579"/>
                </a:moveTo>
                <a:cubicBezTo>
                  <a:pt x="573" y="579"/>
                  <a:pt x="573" y="579"/>
                  <a:pt x="573" y="579"/>
                </a:cubicBezTo>
                <a:cubicBezTo>
                  <a:pt x="572" y="579"/>
                  <a:pt x="572" y="579"/>
                  <a:pt x="572" y="579"/>
                </a:cubicBezTo>
                <a:cubicBezTo>
                  <a:pt x="572" y="580"/>
                  <a:pt x="572" y="579"/>
                  <a:pt x="572" y="579"/>
                </a:cubicBezTo>
                <a:cubicBezTo>
                  <a:pt x="573" y="579"/>
                  <a:pt x="572" y="579"/>
                  <a:pt x="572" y="579"/>
                </a:cubicBezTo>
                <a:close/>
                <a:moveTo>
                  <a:pt x="1438" y="580"/>
                </a:moveTo>
                <a:cubicBezTo>
                  <a:pt x="1438" y="579"/>
                  <a:pt x="1437" y="579"/>
                  <a:pt x="1437" y="579"/>
                </a:cubicBezTo>
                <a:cubicBezTo>
                  <a:pt x="1436" y="579"/>
                  <a:pt x="1435" y="579"/>
                  <a:pt x="1435" y="578"/>
                </a:cubicBezTo>
                <a:cubicBezTo>
                  <a:pt x="1434" y="578"/>
                  <a:pt x="1434" y="579"/>
                  <a:pt x="1433" y="579"/>
                </a:cubicBezTo>
                <a:cubicBezTo>
                  <a:pt x="1432" y="579"/>
                  <a:pt x="1432" y="579"/>
                  <a:pt x="1432" y="579"/>
                </a:cubicBezTo>
                <a:cubicBezTo>
                  <a:pt x="1432" y="580"/>
                  <a:pt x="1432" y="580"/>
                  <a:pt x="1433" y="580"/>
                </a:cubicBezTo>
                <a:cubicBezTo>
                  <a:pt x="1434" y="579"/>
                  <a:pt x="1434" y="580"/>
                  <a:pt x="1434" y="580"/>
                </a:cubicBezTo>
                <a:cubicBezTo>
                  <a:pt x="1435" y="580"/>
                  <a:pt x="1437" y="581"/>
                  <a:pt x="1438" y="580"/>
                </a:cubicBezTo>
                <a:close/>
                <a:moveTo>
                  <a:pt x="583" y="576"/>
                </a:moveTo>
                <a:cubicBezTo>
                  <a:pt x="583" y="575"/>
                  <a:pt x="582" y="575"/>
                  <a:pt x="581" y="575"/>
                </a:cubicBezTo>
                <a:cubicBezTo>
                  <a:pt x="581" y="575"/>
                  <a:pt x="580" y="576"/>
                  <a:pt x="579" y="576"/>
                </a:cubicBezTo>
                <a:cubicBezTo>
                  <a:pt x="580" y="576"/>
                  <a:pt x="580" y="576"/>
                  <a:pt x="580" y="577"/>
                </a:cubicBezTo>
                <a:cubicBezTo>
                  <a:pt x="579" y="577"/>
                  <a:pt x="577" y="578"/>
                  <a:pt x="577" y="579"/>
                </a:cubicBezTo>
                <a:cubicBezTo>
                  <a:pt x="577" y="580"/>
                  <a:pt x="577" y="580"/>
                  <a:pt x="576" y="580"/>
                </a:cubicBezTo>
                <a:cubicBezTo>
                  <a:pt x="575" y="581"/>
                  <a:pt x="575" y="581"/>
                  <a:pt x="575" y="582"/>
                </a:cubicBezTo>
                <a:cubicBezTo>
                  <a:pt x="575" y="583"/>
                  <a:pt x="575" y="584"/>
                  <a:pt x="576" y="585"/>
                </a:cubicBezTo>
                <a:cubicBezTo>
                  <a:pt x="576" y="585"/>
                  <a:pt x="576" y="585"/>
                  <a:pt x="577" y="586"/>
                </a:cubicBezTo>
                <a:cubicBezTo>
                  <a:pt x="577" y="586"/>
                  <a:pt x="579" y="587"/>
                  <a:pt x="579" y="586"/>
                </a:cubicBezTo>
                <a:cubicBezTo>
                  <a:pt x="580" y="586"/>
                  <a:pt x="581" y="586"/>
                  <a:pt x="582" y="586"/>
                </a:cubicBezTo>
                <a:cubicBezTo>
                  <a:pt x="582" y="586"/>
                  <a:pt x="583" y="586"/>
                  <a:pt x="583" y="585"/>
                </a:cubicBezTo>
                <a:cubicBezTo>
                  <a:pt x="583" y="585"/>
                  <a:pt x="584" y="585"/>
                  <a:pt x="584" y="585"/>
                </a:cubicBezTo>
                <a:cubicBezTo>
                  <a:pt x="584" y="584"/>
                  <a:pt x="585" y="584"/>
                  <a:pt x="585" y="584"/>
                </a:cubicBezTo>
                <a:cubicBezTo>
                  <a:pt x="586" y="583"/>
                  <a:pt x="585" y="582"/>
                  <a:pt x="586" y="582"/>
                </a:cubicBezTo>
                <a:cubicBezTo>
                  <a:pt x="587" y="581"/>
                  <a:pt x="587" y="581"/>
                  <a:pt x="586" y="580"/>
                </a:cubicBezTo>
                <a:cubicBezTo>
                  <a:pt x="586" y="580"/>
                  <a:pt x="586" y="580"/>
                  <a:pt x="586" y="579"/>
                </a:cubicBezTo>
                <a:cubicBezTo>
                  <a:pt x="586" y="578"/>
                  <a:pt x="586" y="578"/>
                  <a:pt x="586" y="577"/>
                </a:cubicBezTo>
                <a:cubicBezTo>
                  <a:pt x="585" y="577"/>
                  <a:pt x="585" y="577"/>
                  <a:pt x="584" y="577"/>
                </a:cubicBezTo>
                <a:cubicBezTo>
                  <a:pt x="583" y="577"/>
                  <a:pt x="583" y="577"/>
                  <a:pt x="582" y="577"/>
                </a:cubicBezTo>
                <a:cubicBezTo>
                  <a:pt x="583" y="577"/>
                  <a:pt x="583" y="577"/>
                  <a:pt x="583" y="576"/>
                </a:cubicBezTo>
                <a:cubicBezTo>
                  <a:pt x="583" y="575"/>
                  <a:pt x="583" y="576"/>
                  <a:pt x="583" y="576"/>
                </a:cubicBezTo>
                <a:close/>
                <a:moveTo>
                  <a:pt x="1312" y="570"/>
                </a:moveTo>
                <a:cubicBezTo>
                  <a:pt x="1311" y="570"/>
                  <a:pt x="1312" y="571"/>
                  <a:pt x="1313" y="570"/>
                </a:cubicBezTo>
                <a:cubicBezTo>
                  <a:pt x="1313" y="570"/>
                  <a:pt x="1312" y="570"/>
                  <a:pt x="1312" y="570"/>
                </a:cubicBezTo>
                <a:close/>
                <a:moveTo>
                  <a:pt x="1303" y="571"/>
                </a:moveTo>
                <a:cubicBezTo>
                  <a:pt x="1303" y="570"/>
                  <a:pt x="1303" y="570"/>
                  <a:pt x="1302" y="570"/>
                </a:cubicBezTo>
                <a:cubicBezTo>
                  <a:pt x="1302" y="571"/>
                  <a:pt x="1302" y="571"/>
                  <a:pt x="1303" y="571"/>
                </a:cubicBezTo>
                <a:cubicBezTo>
                  <a:pt x="1303" y="570"/>
                  <a:pt x="1303" y="571"/>
                  <a:pt x="1303" y="571"/>
                </a:cubicBezTo>
                <a:close/>
                <a:moveTo>
                  <a:pt x="1382" y="583"/>
                </a:moveTo>
                <a:cubicBezTo>
                  <a:pt x="1381" y="584"/>
                  <a:pt x="1381" y="585"/>
                  <a:pt x="1381" y="586"/>
                </a:cubicBezTo>
                <a:cubicBezTo>
                  <a:pt x="1381" y="587"/>
                  <a:pt x="1381" y="588"/>
                  <a:pt x="1381" y="588"/>
                </a:cubicBezTo>
                <a:cubicBezTo>
                  <a:pt x="1381" y="589"/>
                  <a:pt x="1381" y="589"/>
                  <a:pt x="1381" y="589"/>
                </a:cubicBezTo>
                <a:cubicBezTo>
                  <a:pt x="1381" y="589"/>
                  <a:pt x="1381" y="590"/>
                  <a:pt x="1381" y="591"/>
                </a:cubicBezTo>
                <a:cubicBezTo>
                  <a:pt x="1381" y="590"/>
                  <a:pt x="1380" y="592"/>
                  <a:pt x="1380" y="592"/>
                </a:cubicBezTo>
                <a:cubicBezTo>
                  <a:pt x="1379" y="592"/>
                  <a:pt x="1380" y="592"/>
                  <a:pt x="1380" y="593"/>
                </a:cubicBezTo>
                <a:cubicBezTo>
                  <a:pt x="1380" y="594"/>
                  <a:pt x="1380" y="594"/>
                  <a:pt x="1379" y="594"/>
                </a:cubicBezTo>
                <a:cubicBezTo>
                  <a:pt x="1379" y="595"/>
                  <a:pt x="1380" y="596"/>
                  <a:pt x="1380" y="597"/>
                </a:cubicBezTo>
                <a:cubicBezTo>
                  <a:pt x="1380" y="597"/>
                  <a:pt x="1381" y="597"/>
                  <a:pt x="1382" y="598"/>
                </a:cubicBezTo>
                <a:cubicBezTo>
                  <a:pt x="1383" y="598"/>
                  <a:pt x="1382" y="599"/>
                  <a:pt x="1382" y="599"/>
                </a:cubicBezTo>
                <a:cubicBezTo>
                  <a:pt x="1382" y="600"/>
                  <a:pt x="1383" y="601"/>
                  <a:pt x="1382" y="601"/>
                </a:cubicBezTo>
                <a:cubicBezTo>
                  <a:pt x="1382" y="602"/>
                  <a:pt x="1382" y="602"/>
                  <a:pt x="1382" y="602"/>
                </a:cubicBezTo>
                <a:cubicBezTo>
                  <a:pt x="1382" y="602"/>
                  <a:pt x="1381" y="602"/>
                  <a:pt x="1381" y="603"/>
                </a:cubicBezTo>
                <a:cubicBezTo>
                  <a:pt x="1381" y="603"/>
                  <a:pt x="1381" y="603"/>
                  <a:pt x="1381" y="603"/>
                </a:cubicBezTo>
                <a:cubicBezTo>
                  <a:pt x="1380" y="603"/>
                  <a:pt x="1381" y="604"/>
                  <a:pt x="1381" y="605"/>
                </a:cubicBezTo>
                <a:cubicBezTo>
                  <a:pt x="1381" y="606"/>
                  <a:pt x="1381" y="607"/>
                  <a:pt x="1381" y="608"/>
                </a:cubicBezTo>
                <a:cubicBezTo>
                  <a:pt x="1381" y="609"/>
                  <a:pt x="1382" y="608"/>
                  <a:pt x="1383" y="608"/>
                </a:cubicBezTo>
                <a:cubicBezTo>
                  <a:pt x="1383" y="608"/>
                  <a:pt x="1383" y="609"/>
                  <a:pt x="1383" y="608"/>
                </a:cubicBezTo>
                <a:cubicBezTo>
                  <a:pt x="1383" y="608"/>
                  <a:pt x="1385" y="608"/>
                  <a:pt x="1385" y="608"/>
                </a:cubicBezTo>
                <a:cubicBezTo>
                  <a:pt x="1387" y="608"/>
                  <a:pt x="1387" y="608"/>
                  <a:pt x="1387" y="607"/>
                </a:cubicBezTo>
                <a:cubicBezTo>
                  <a:pt x="1387" y="606"/>
                  <a:pt x="1386" y="606"/>
                  <a:pt x="1386" y="605"/>
                </a:cubicBezTo>
                <a:cubicBezTo>
                  <a:pt x="1387" y="605"/>
                  <a:pt x="1387" y="604"/>
                  <a:pt x="1387" y="603"/>
                </a:cubicBezTo>
                <a:cubicBezTo>
                  <a:pt x="1386" y="603"/>
                  <a:pt x="1386" y="602"/>
                  <a:pt x="1386" y="602"/>
                </a:cubicBezTo>
                <a:cubicBezTo>
                  <a:pt x="1386" y="601"/>
                  <a:pt x="1386" y="601"/>
                  <a:pt x="1387" y="600"/>
                </a:cubicBezTo>
                <a:cubicBezTo>
                  <a:pt x="1388" y="600"/>
                  <a:pt x="1387" y="599"/>
                  <a:pt x="1387" y="598"/>
                </a:cubicBezTo>
                <a:cubicBezTo>
                  <a:pt x="1387" y="597"/>
                  <a:pt x="1387" y="597"/>
                  <a:pt x="1387" y="596"/>
                </a:cubicBezTo>
                <a:cubicBezTo>
                  <a:pt x="1387" y="596"/>
                  <a:pt x="1388" y="596"/>
                  <a:pt x="1388" y="596"/>
                </a:cubicBezTo>
                <a:cubicBezTo>
                  <a:pt x="1388" y="595"/>
                  <a:pt x="1389" y="595"/>
                  <a:pt x="1389" y="595"/>
                </a:cubicBezTo>
                <a:cubicBezTo>
                  <a:pt x="1390" y="595"/>
                  <a:pt x="1389" y="595"/>
                  <a:pt x="1390" y="596"/>
                </a:cubicBezTo>
                <a:cubicBezTo>
                  <a:pt x="1391" y="596"/>
                  <a:pt x="1390" y="600"/>
                  <a:pt x="1391" y="600"/>
                </a:cubicBezTo>
                <a:cubicBezTo>
                  <a:pt x="1391" y="600"/>
                  <a:pt x="1391" y="600"/>
                  <a:pt x="1391" y="601"/>
                </a:cubicBezTo>
                <a:cubicBezTo>
                  <a:pt x="1392" y="601"/>
                  <a:pt x="1392" y="601"/>
                  <a:pt x="1392" y="602"/>
                </a:cubicBezTo>
                <a:cubicBezTo>
                  <a:pt x="1392" y="602"/>
                  <a:pt x="1392" y="602"/>
                  <a:pt x="1392" y="602"/>
                </a:cubicBezTo>
                <a:cubicBezTo>
                  <a:pt x="1392" y="603"/>
                  <a:pt x="1392" y="604"/>
                  <a:pt x="1392" y="605"/>
                </a:cubicBezTo>
                <a:cubicBezTo>
                  <a:pt x="1392" y="605"/>
                  <a:pt x="1392" y="606"/>
                  <a:pt x="1393" y="606"/>
                </a:cubicBezTo>
                <a:cubicBezTo>
                  <a:pt x="1393" y="606"/>
                  <a:pt x="1393" y="606"/>
                  <a:pt x="1393" y="606"/>
                </a:cubicBezTo>
                <a:cubicBezTo>
                  <a:pt x="1394" y="606"/>
                  <a:pt x="1395" y="606"/>
                  <a:pt x="1395" y="606"/>
                </a:cubicBezTo>
                <a:cubicBezTo>
                  <a:pt x="1396" y="605"/>
                  <a:pt x="1395" y="604"/>
                  <a:pt x="1395" y="603"/>
                </a:cubicBezTo>
                <a:cubicBezTo>
                  <a:pt x="1397" y="603"/>
                  <a:pt x="1399" y="604"/>
                  <a:pt x="1399" y="602"/>
                </a:cubicBezTo>
                <a:cubicBezTo>
                  <a:pt x="1399" y="601"/>
                  <a:pt x="1398" y="601"/>
                  <a:pt x="1398" y="600"/>
                </a:cubicBezTo>
                <a:cubicBezTo>
                  <a:pt x="1398" y="600"/>
                  <a:pt x="1397" y="600"/>
                  <a:pt x="1397" y="600"/>
                </a:cubicBezTo>
                <a:cubicBezTo>
                  <a:pt x="1397" y="599"/>
                  <a:pt x="1397" y="598"/>
                  <a:pt x="1396" y="598"/>
                </a:cubicBezTo>
                <a:cubicBezTo>
                  <a:pt x="1396" y="598"/>
                  <a:pt x="1397" y="597"/>
                  <a:pt x="1397" y="596"/>
                </a:cubicBezTo>
                <a:cubicBezTo>
                  <a:pt x="1396" y="597"/>
                  <a:pt x="1397" y="595"/>
                  <a:pt x="1395" y="595"/>
                </a:cubicBezTo>
                <a:cubicBezTo>
                  <a:pt x="1395" y="595"/>
                  <a:pt x="1395" y="595"/>
                  <a:pt x="1394" y="595"/>
                </a:cubicBezTo>
                <a:cubicBezTo>
                  <a:pt x="1394" y="595"/>
                  <a:pt x="1394" y="595"/>
                  <a:pt x="1394" y="595"/>
                </a:cubicBezTo>
                <a:cubicBezTo>
                  <a:pt x="1394" y="594"/>
                  <a:pt x="1393" y="593"/>
                  <a:pt x="1393" y="592"/>
                </a:cubicBezTo>
                <a:cubicBezTo>
                  <a:pt x="1393" y="591"/>
                  <a:pt x="1393" y="592"/>
                  <a:pt x="1392" y="591"/>
                </a:cubicBezTo>
                <a:cubicBezTo>
                  <a:pt x="1391" y="591"/>
                  <a:pt x="1391" y="591"/>
                  <a:pt x="1390" y="590"/>
                </a:cubicBezTo>
                <a:cubicBezTo>
                  <a:pt x="1390" y="590"/>
                  <a:pt x="1390" y="590"/>
                  <a:pt x="1390" y="590"/>
                </a:cubicBezTo>
                <a:cubicBezTo>
                  <a:pt x="1391" y="589"/>
                  <a:pt x="1391" y="589"/>
                  <a:pt x="1392" y="589"/>
                </a:cubicBezTo>
                <a:cubicBezTo>
                  <a:pt x="1392" y="589"/>
                  <a:pt x="1392" y="589"/>
                  <a:pt x="1393" y="589"/>
                </a:cubicBezTo>
                <a:cubicBezTo>
                  <a:pt x="1393" y="589"/>
                  <a:pt x="1393" y="589"/>
                  <a:pt x="1393" y="589"/>
                </a:cubicBezTo>
                <a:cubicBezTo>
                  <a:pt x="1394" y="589"/>
                  <a:pt x="1395" y="588"/>
                  <a:pt x="1395" y="588"/>
                </a:cubicBezTo>
                <a:cubicBezTo>
                  <a:pt x="1395" y="588"/>
                  <a:pt x="1396" y="588"/>
                  <a:pt x="1396" y="587"/>
                </a:cubicBezTo>
                <a:cubicBezTo>
                  <a:pt x="1396" y="587"/>
                  <a:pt x="1397" y="587"/>
                  <a:pt x="1397" y="587"/>
                </a:cubicBezTo>
                <a:cubicBezTo>
                  <a:pt x="1397" y="586"/>
                  <a:pt x="1397" y="586"/>
                  <a:pt x="1398" y="585"/>
                </a:cubicBezTo>
                <a:cubicBezTo>
                  <a:pt x="1398" y="585"/>
                  <a:pt x="1398" y="585"/>
                  <a:pt x="1399" y="585"/>
                </a:cubicBezTo>
                <a:cubicBezTo>
                  <a:pt x="1399" y="585"/>
                  <a:pt x="1399" y="585"/>
                  <a:pt x="1400" y="585"/>
                </a:cubicBezTo>
                <a:cubicBezTo>
                  <a:pt x="1400" y="584"/>
                  <a:pt x="1400" y="584"/>
                  <a:pt x="1400" y="583"/>
                </a:cubicBezTo>
                <a:cubicBezTo>
                  <a:pt x="1398" y="583"/>
                  <a:pt x="1395" y="583"/>
                  <a:pt x="1393" y="583"/>
                </a:cubicBezTo>
                <a:cubicBezTo>
                  <a:pt x="1391" y="582"/>
                  <a:pt x="1392" y="583"/>
                  <a:pt x="1391" y="584"/>
                </a:cubicBezTo>
                <a:cubicBezTo>
                  <a:pt x="1391" y="584"/>
                  <a:pt x="1390" y="584"/>
                  <a:pt x="1389" y="585"/>
                </a:cubicBezTo>
                <a:cubicBezTo>
                  <a:pt x="1389" y="584"/>
                  <a:pt x="1389" y="583"/>
                  <a:pt x="1388" y="583"/>
                </a:cubicBezTo>
                <a:cubicBezTo>
                  <a:pt x="1387" y="583"/>
                  <a:pt x="1388" y="583"/>
                  <a:pt x="1387" y="582"/>
                </a:cubicBezTo>
                <a:cubicBezTo>
                  <a:pt x="1385" y="582"/>
                  <a:pt x="1387" y="577"/>
                  <a:pt x="1387" y="575"/>
                </a:cubicBezTo>
                <a:cubicBezTo>
                  <a:pt x="1387" y="575"/>
                  <a:pt x="1388" y="576"/>
                  <a:pt x="1388" y="576"/>
                </a:cubicBezTo>
                <a:cubicBezTo>
                  <a:pt x="1388" y="575"/>
                  <a:pt x="1389" y="575"/>
                  <a:pt x="1389" y="575"/>
                </a:cubicBezTo>
                <a:cubicBezTo>
                  <a:pt x="1390" y="575"/>
                  <a:pt x="1390" y="575"/>
                  <a:pt x="1390" y="575"/>
                </a:cubicBezTo>
                <a:cubicBezTo>
                  <a:pt x="1391" y="575"/>
                  <a:pt x="1391" y="575"/>
                  <a:pt x="1391" y="575"/>
                </a:cubicBezTo>
                <a:cubicBezTo>
                  <a:pt x="1391" y="576"/>
                  <a:pt x="1392" y="575"/>
                  <a:pt x="1393" y="576"/>
                </a:cubicBezTo>
                <a:cubicBezTo>
                  <a:pt x="1393" y="575"/>
                  <a:pt x="1398" y="575"/>
                  <a:pt x="1398" y="575"/>
                </a:cubicBezTo>
                <a:cubicBezTo>
                  <a:pt x="1398" y="575"/>
                  <a:pt x="1400" y="576"/>
                  <a:pt x="1400" y="576"/>
                </a:cubicBezTo>
                <a:cubicBezTo>
                  <a:pt x="1400" y="576"/>
                  <a:pt x="1400" y="577"/>
                  <a:pt x="1401" y="576"/>
                </a:cubicBezTo>
                <a:cubicBezTo>
                  <a:pt x="1402" y="576"/>
                  <a:pt x="1403" y="576"/>
                  <a:pt x="1404" y="576"/>
                </a:cubicBezTo>
                <a:cubicBezTo>
                  <a:pt x="1404" y="576"/>
                  <a:pt x="1404" y="576"/>
                  <a:pt x="1404" y="575"/>
                </a:cubicBezTo>
                <a:cubicBezTo>
                  <a:pt x="1406" y="575"/>
                  <a:pt x="1405" y="575"/>
                  <a:pt x="1406" y="574"/>
                </a:cubicBezTo>
                <a:cubicBezTo>
                  <a:pt x="1406" y="573"/>
                  <a:pt x="1407" y="573"/>
                  <a:pt x="1407" y="572"/>
                </a:cubicBezTo>
                <a:cubicBezTo>
                  <a:pt x="1408" y="572"/>
                  <a:pt x="1408" y="572"/>
                  <a:pt x="1409" y="570"/>
                </a:cubicBezTo>
                <a:cubicBezTo>
                  <a:pt x="1409" y="570"/>
                  <a:pt x="1409" y="569"/>
                  <a:pt x="1409" y="569"/>
                </a:cubicBezTo>
                <a:cubicBezTo>
                  <a:pt x="1408" y="568"/>
                  <a:pt x="1408" y="568"/>
                  <a:pt x="1408" y="568"/>
                </a:cubicBezTo>
                <a:cubicBezTo>
                  <a:pt x="1407" y="568"/>
                  <a:pt x="1407" y="569"/>
                  <a:pt x="1407" y="570"/>
                </a:cubicBezTo>
                <a:cubicBezTo>
                  <a:pt x="1405" y="570"/>
                  <a:pt x="1405" y="570"/>
                  <a:pt x="1405" y="571"/>
                </a:cubicBezTo>
                <a:cubicBezTo>
                  <a:pt x="1405" y="571"/>
                  <a:pt x="1404" y="572"/>
                  <a:pt x="1403" y="572"/>
                </a:cubicBezTo>
                <a:cubicBezTo>
                  <a:pt x="1403" y="572"/>
                  <a:pt x="1403" y="572"/>
                  <a:pt x="1403" y="572"/>
                </a:cubicBezTo>
                <a:cubicBezTo>
                  <a:pt x="1403" y="572"/>
                  <a:pt x="1403" y="572"/>
                  <a:pt x="1402" y="572"/>
                </a:cubicBezTo>
                <a:cubicBezTo>
                  <a:pt x="1402" y="572"/>
                  <a:pt x="1402" y="572"/>
                  <a:pt x="1402" y="572"/>
                </a:cubicBezTo>
                <a:cubicBezTo>
                  <a:pt x="1400" y="573"/>
                  <a:pt x="1398" y="572"/>
                  <a:pt x="1396" y="573"/>
                </a:cubicBezTo>
                <a:cubicBezTo>
                  <a:pt x="1396" y="572"/>
                  <a:pt x="1395" y="572"/>
                  <a:pt x="1395" y="572"/>
                </a:cubicBezTo>
                <a:cubicBezTo>
                  <a:pt x="1394" y="572"/>
                  <a:pt x="1393" y="573"/>
                  <a:pt x="1392" y="572"/>
                </a:cubicBezTo>
                <a:cubicBezTo>
                  <a:pt x="1392" y="572"/>
                  <a:pt x="1391" y="572"/>
                  <a:pt x="1391" y="572"/>
                </a:cubicBezTo>
                <a:cubicBezTo>
                  <a:pt x="1391" y="571"/>
                  <a:pt x="1391" y="571"/>
                  <a:pt x="1391" y="571"/>
                </a:cubicBezTo>
                <a:cubicBezTo>
                  <a:pt x="1390" y="571"/>
                  <a:pt x="1390" y="571"/>
                  <a:pt x="1389" y="571"/>
                </a:cubicBezTo>
                <a:cubicBezTo>
                  <a:pt x="1388" y="571"/>
                  <a:pt x="1386" y="571"/>
                  <a:pt x="1386" y="572"/>
                </a:cubicBezTo>
                <a:cubicBezTo>
                  <a:pt x="1385" y="572"/>
                  <a:pt x="1385" y="572"/>
                  <a:pt x="1384" y="573"/>
                </a:cubicBezTo>
                <a:cubicBezTo>
                  <a:pt x="1384" y="573"/>
                  <a:pt x="1383" y="575"/>
                  <a:pt x="1383" y="575"/>
                </a:cubicBezTo>
                <a:cubicBezTo>
                  <a:pt x="1383" y="575"/>
                  <a:pt x="1383" y="575"/>
                  <a:pt x="1383" y="576"/>
                </a:cubicBezTo>
                <a:cubicBezTo>
                  <a:pt x="1383" y="576"/>
                  <a:pt x="1383" y="576"/>
                  <a:pt x="1383" y="576"/>
                </a:cubicBezTo>
                <a:cubicBezTo>
                  <a:pt x="1383" y="577"/>
                  <a:pt x="1383" y="577"/>
                  <a:pt x="1383" y="577"/>
                </a:cubicBezTo>
                <a:cubicBezTo>
                  <a:pt x="1383" y="578"/>
                  <a:pt x="1383" y="579"/>
                  <a:pt x="1383" y="580"/>
                </a:cubicBezTo>
                <a:cubicBezTo>
                  <a:pt x="1383" y="581"/>
                  <a:pt x="1383" y="583"/>
                  <a:pt x="1382" y="583"/>
                </a:cubicBezTo>
                <a:cubicBezTo>
                  <a:pt x="1382" y="583"/>
                  <a:pt x="1382" y="583"/>
                  <a:pt x="1382" y="583"/>
                </a:cubicBezTo>
                <a:close/>
                <a:moveTo>
                  <a:pt x="1279" y="569"/>
                </a:moveTo>
                <a:cubicBezTo>
                  <a:pt x="1279" y="567"/>
                  <a:pt x="1278" y="568"/>
                  <a:pt x="1278" y="568"/>
                </a:cubicBezTo>
                <a:cubicBezTo>
                  <a:pt x="1277" y="568"/>
                  <a:pt x="1278" y="569"/>
                  <a:pt x="1278" y="569"/>
                </a:cubicBezTo>
                <a:cubicBezTo>
                  <a:pt x="1278" y="569"/>
                  <a:pt x="1279" y="570"/>
                  <a:pt x="1279" y="570"/>
                </a:cubicBezTo>
                <a:cubicBezTo>
                  <a:pt x="1279" y="570"/>
                  <a:pt x="1279" y="570"/>
                  <a:pt x="1279" y="571"/>
                </a:cubicBezTo>
                <a:cubicBezTo>
                  <a:pt x="1280" y="571"/>
                  <a:pt x="1281" y="574"/>
                  <a:pt x="1281" y="572"/>
                </a:cubicBezTo>
                <a:cubicBezTo>
                  <a:pt x="1281" y="572"/>
                  <a:pt x="1281" y="571"/>
                  <a:pt x="1281" y="570"/>
                </a:cubicBezTo>
                <a:cubicBezTo>
                  <a:pt x="1280" y="570"/>
                  <a:pt x="1280" y="569"/>
                  <a:pt x="1279" y="569"/>
                </a:cubicBezTo>
                <a:close/>
                <a:moveTo>
                  <a:pt x="1302" y="567"/>
                </a:moveTo>
                <a:cubicBezTo>
                  <a:pt x="1302" y="568"/>
                  <a:pt x="1301" y="568"/>
                  <a:pt x="1302" y="568"/>
                </a:cubicBezTo>
                <a:cubicBezTo>
                  <a:pt x="1303" y="569"/>
                  <a:pt x="1303" y="569"/>
                  <a:pt x="1303" y="569"/>
                </a:cubicBezTo>
                <a:cubicBezTo>
                  <a:pt x="1303" y="568"/>
                  <a:pt x="1303" y="568"/>
                  <a:pt x="1302" y="567"/>
                </a:cubicBezTo>
                <a:close/>
                <a:moveTo>
                  <a:pt x="1299" y="567"/>
                </a:moveTo>
                <a:cubicBezTo>
                  <a:pt x="1299" y="566"/>
                  <a:pt x="1300" y="564"/>
                  <a:pt x="1299" y="565"/>
                </a:cubicBezTo>
                <a:cubicBezTo>
                  <a:pt x="1298" y="566"/>
                  <a:pt x="1299" y="567"/>
                  <a:pt x="1299" y="567"/>
                </a:cubicBezTo>
                <a:close/>
                <a:moveTo>
                  <a:pt x="1419" y="570"/>
                </a:moveTo>
                <a:cubicBezTo>
                  <a:pt x="1419" y="571"/>
                  <a:pt x="1419" y="572"/>
                  <a:pt x="1421" y="572"/>
                </a:cubicBezTo>
                <a:cubicBezTo>
                  <a:pt x="1421" y="573"/>
                  <a:pt x="1421" y="573"/>
                  <a:pt x="1420" y="573"/>
                </a:cubicBezTo>
                <a:cubicBezTo>
                  <a:pt x="1420" y="574"/>
                  <a:pt x="1420" y="575"/>
                  <a:pt x="1420" y="576"/>
                </a:cubicBezTo>
                <a:cubicBezTo>
                  <a:pt x="1419" y="576"/>
                  <a:pt x="1420" y="576"/>
                  <a:pt x="1419" y="577"/>
                </a:cubicBezTo>
                <a:cubicBezTo>
                  <a:pt x="1420" y="577"/>
                  <a:pt x="1420" y="578"/>
                  <a:pt x="1420" y="578"/>
                </a:cubicBezTo>
                <a:cubicBezTo>
                  <a:pt x="1420" y="579"/>
                  <a:pt x="1420" y="578"/>
                  <a:pt x="1421" y="578"/>
                </a:cubicBezTo>
                <a:cubicBezTo>
                  <a:pt x="1421" y="579"/>
                  <a:pt x="1420" y="579"/>
                  <a:pt x="1421" y="579"/>
                </a:cubicBezTo>
                <a:cubicBezTo>
                  <a:pt x="1421" y="579"/>
                  <a:pt x="1421" y="580"/>
                  <a:pt x="1422" y="580"/>
                </a:cubicBezTo>
                <a:cubicBezTo>
                  <a:pt x="1422" y="580"/>
                  <a:pt x="1423" y="581"/>
                  <a:pt x="1423" y="581"/>
                </a:cubicBezTo>
                <a:cubicBezTo>
                  <a:pt x="1423" y="580"/>
                  <a:pt x="1423" y="580"/>
                  <a:pt x="1422" y="579"/>
                </a:cubicBezTo>
                <a:cubicBezTo>
                  <a:pt x="1422" y="579"/>
                  <a:pt x="1422" y="580"/>
                  <a:pt x="1422" y="579"/>
                </a:cubicBezTo>
                <a:cubicBezTo>
                  <a:pt x="1421" y="578"/>
                  <a:pt x="1420" y="576"/>
                  <a:pt x="1421" y="575"/>
                </a:cubicBezTo>
                <a:cubicBezTo>
                  <a:pt x="1422" y="574"/>
                  <a:pt x="1423" y="575"/>
                  <a:pt x="1424" y="575"/>
                </a:cubicBezTo>
                <a:cubicBezTo>
                  <a:pt x="1425" y="576"/>
                  <a:pt x="1425" y="576"/>
                  <a:pt x="1426" y="576"/>
                </a:cubicBezTo>
                <a:cubicBezTo>
                  <a:pt x="1426" y="576"/>
                  <a:pt x="1425" y="573"/>
                  <a:pt x="1425" y="573"/>
                </a:cubicBezTo>
                <a:cubicBezTo>
                  <a:pt x="1424" y="573"/>
                  <a:pt x="1424" y="573"/>
                  <a:pt x="1423" y="573"/>
                </a:cubicBezTo>
                <a:cubicBezTo>
                  <a:pt x="1424" y="572"/>
                  <a:pt x="1425" y="572"/>
                  <a:pt x="1426" y="571"/>
                </a:cubicBezTo>
                <a:cubicBezTo>
                  <a:pt x="1426" y="570"/>
                  <a:pt x="1425" y="570"/>
                  <a:pt x="1424" y="569"/>
                </a:cubicBezTo>
                <a:cubicBezTo>
                  <a:pt x="1424" y="570"/>
                  <a:pt x="1423" y="571"/>
                  <a:pt x="1423" y="571"/>
                </a:cubicBezTo>
                <a:cubicBezTo>
                  <a:pt x="1423" y="572"/>
                  <a:pt x="1423" y="572"/>
                  <a:pt x="1422" y="572"/>
                </a:cubicBezTo>
                <a:cubicBezTo>
                  <a:pt x="1422" y="571"/>
                  <a:pt x="1422" y="568"/>
                  <a:pt x="1423" y="568"/>
                </a:cubicBezTo>
                <a:cubicBezTo>
                  <a:pt x="1422" y="568"/>
                  <a:pt x="1421" y="567"/>
                  <a:pt x="1422" y="566"/>
                </a:cubicBezTo>
                <a:cubicBezTo>
                  <a:pt x="1423" y="566"/>
                  <a:pt x="1423" y="566"/>
                  <a:pt x="1423" y="565"/>
                </a:cubicBezTo>
                <a:cubicBezTo>
                  <a:pt x="1422" y="564"/>
                  <a:pt x="1422" y="565"/>
                  <a:pt x="1421" y="564"/>
                </a:cubicBezTo>
                <a:cubicBezTo>
                  <a:pt x="1421" y="565"/>
                  <a:pt x="1421" y="565"/>
                  <a:pt x="1421" y="565"/>
                </a:cubicBezTo>
                <a:cubicBezTo>
                  <a:pt x="1420" y="566"/>
                  <a:pt x="1420" y="565"/>
                  <a:pt x="1420" y="566"/>
                </a:cubicBezTo>
                <a:cubicBezTo>
                  <a:pt x="1420" y="565"/>
                  <a:pt x="1420" y="567"/>
                  <a:pt x="1420" y="566"/>
                </a:cubicBezTo>
                <a:cubicBezTo>
                  <a:pt x="1420" y="567"/>
                  <a:pt x="1419" y="570"/>
                  <a:pt x="1419" y="570"/>
                </a:cubicBezTo>
                <a:cubicBezTo>
                  <a:pt x="1419" y="571"/>
                  <a:pt x="1419" y="570"/>
                  <a:pt x="1419" y="570"/>
                </a:cubicBezTo>
                <a:close/>
                <a:moveTo>
                  <a:pt x="578" y="563"/>
                </a:moveTo>
                <a:cubicBezTo>
                  <a:pt x="578" y="563"/>
                  <a:pt x="578" y="563"/>
                  <a:pt x="578" y="563"/>
                </a:cubicBezTo>
                <a:cubicBezTo>
                  <a:pt x="578" y="563"/>
                  <a:pt x="578" y="563"/>
                  <a:pt x="578" y="563"/>
                </a:cubicBezTo>
                <a:cubicBezTo>
                  <a:pt x="578" y="563"/>
                  <a:pt x="578" y="563"/>
                  <a:pt x="578" y="563"/>
                </a:cubicBezTo>
                <a:close/>
                <a:moveTo>
                  <a:pt x="1424" y="562"/>
                </a:moveTo>
                <a:cubicBezTo>
                  <a:pt x="1424" y="563"/>
                  <a:pt x="1424" y="563"/>
                  <a:pt x="1424" y="564"/>
                </a:cubicBezTo>
                <a:cubicBezTo>
                  <a:pt x="1424" y="565"/>
                  <a:pt x="1424" y="564"/>
                  <a:pt x="1424" y="565"/>
                </a:cubicBezTo>
                <a:cubicBezTo>
                  <a:pt x="1425" y="566"/>
                  <a:pt x="1424" y="566"/>
                  <a:pt x="1425" y="566"/>
                </a:cubicBezTo>
                <a:cubicBezTo>
                  <a:pt x="1426" y="566"/>
                  <a:pt x="1426" y="566"/>
                  <a:pt x="1426" y="566"/>
                </a:cubicBezTo>
                <a:cubicBezTo>
                  <a:pt x="1426" y="565"/>
                  <a:pt x="1426" y="565"/>
                  <a:pt x="1426" y="564"/>
                </a:cubicBezTo>
                <a:cubicBezTo>
                  <a:pt x="1426" y="562"/>
                  <a:pt x="1426" y="564"/>
                  <a:pt x="1425" y="563"/>
                </a:cubicBezTo>
                <a:cubicBezTo>
                  <a:pt x="1425" y="563"/>
                  <a:pt x="1425" y="562"/>
                  <a:pt x="1424" y="562"/>
                </a:cubicBezTo>
                <a:close/>
                <a:moveTo>
                  <a:pt x="1273" y="562"/>
                </a:moveTo>
                <a:cubicBezTo>
                  <a:pt x="1273" y="562"/>
                  <a:pt x="1272" y="561"/>
                  <a:pt x="1271" y="561"/>
                </a:cubicBezTo>
                <a:cubicBezTo>
                  <a:pt x="1271" y="561"/>
                  <a:pt x="1272" y="562"/>
                  <a:pt x="1273" y="562"/>
                </a:cubicBezTo>
                <a:close/>
                <a:moveTo>
                  <a:pt x="857" y="555"/>
                </a:moveTo>
                <a:cubicBezTo>
                  <a:pt x="856" y="556"/>
                  <a:pt x="855" y="556"/>
                  <a:pt x="857" y="557"/>
                </a:cubicBezTo>
                <a:cubicBezTo>
                  <a:pt x="858" y="556"/>
                  <a:pt x="858" y="555"/>
                  <a:pt x="858" y="555"/>
                </a:cubicBezTo>
                <a:cubicBezTo>
                  <a:pt x="857" y="555"/>
                  <a:pt x="857" y="555"/>
                  <a:pt x="857" y="555"/>
                </a:cubicBezTo>
                <a:cubicBezTo>
                  <a:pt x="857" y="555"/>
                  <a:pt x="857" y="555"/>
                  <a:pt x="857" y="555"/>
                </a:cubicBezTo>
                <a:close/>
                <a:moveTo>
                  <a:pt x="1328" y="554"/>
                </a:moveTo>
                <a:cubicBezTo>
                  <a:pt x="1328" y="555"/>
                  <a:pt x="1328" y="555"/>
                  <a:pt x="1328" y="556"/>
                </a:cubicBezTo>
                <a:cubicBezTo>
                  <a:pt x="1329" y="556"/>
                  <a:pt x="1330" y="555"/>
                  <a:pt x="1329" y="554"/>
                </a:cubicBezTo>
                <a:cubicBezTo>
                  <a:pt x="1330" y="554"/>
                  <a:pt x="1329" y="554"/>
                  <a:pt x="1329" y="554"/>
                </a:cubicBezTo>
                <a:cubicBezTo>
                  <a:pt x="1329" y="554"/>
                  <a:pt x="1328" y="554"/>
                  <a:pt x="1328" y="554"/>
                </a:cubicBezTo>
                <a:close/>
                <a:moveTo>
                  <a:pt x="1313" y="606"/>
                </a:moveTo>
                <a:cubicBezTo>
                  <a:pt x="1313" y="606"/>
                  <a:pt x="1313" y="606"/>
                  <a:pt x="1313" y="606"/>
                </a:cubicBezTo>
                <a:cubicBezTo>
                  <a:pt x="1314" y="606"/>
                  <a:pt x="1315" y="607"/>
                  <a:pt x="1316" y="607"/>
                </a:cubicBezTo>
                <a:cubicBezTo>
                  <a:pt x="1316" y="607"/>
                  <a:pt x="1316" y="606"/>
                  <a:pt x="1316" y="606"/>
                </a:cubicBezTo>
                <a:cubicBezTo>
                  <a:pt x="1317" y="606"/>
                  <a:pt x="1318" y="607"/>
                  <a:pt x="1318" y="607"/>
                </a:cubicBezTo>
                <a:cubicBezTo>
                  <a:pt x="1319" y="606"/>
                  <a:pt x="1319" y="607"/>
                  <a:pt x="1319" y="606"/>
                </a:cubicBezTo>
                <a:cubicBezTo>
                  <a:pt x="1319" y="605"/>
                  <a:pt x="1319" y="603"/>
                  <a:pt x="1318" y="602"/>
                </a:cubicBezTo>
                <a:cubicBezTo>
                  <a:pt x="1319" y="602"/>
                  <a:pt x="1319" y="601"/>
                  <a:pt x="1318" y="601"/>
                </a:cubicBezTo>
                <a:cubicBezTo>
                  <a:pt x="1319" y="601"/>
                  <a:pt x="1319" y="598"/>
                  <a:pt x="1319" y="597"/>
                </a:cubicBezTo>
                <a:cubicBezTo>
                  <a:pt x="1319" y="597"/>
                  <a:pt x="1321" y="596"/>
                  <a:pt x="1320" y="595"/>
                </a:cubicBezTo>
                <a:cubicBezTo>
                  <a:pt x="1319" y="594"/>
                  <a:pt x="1318" y="594"/>
                  <a:pt x="1318" y="594"/>
                </a:cubicBezTo>
                <a:cubicBezTo>
                  <a:pt x="1318" y="594"/>
                  <a:pt x="1319" y="593"/>
                  <a:pt x="1318" y="593"/>
                </a:cubicBezTo>
                <a:cubicBezTo>
                  <a:pt x="1318" y="593"/>
                  <a:pt x="1318" y="592"/>
                  <a:pt x="1318" y="591"/>
                </a:cubicBezTo>
                <a:cubicBezTo>
                  <a:pt x="1318" y="589"/>
                  <a:pt x="1315" y="591"/>
                  <a:pt x="1315" y="590"/>
                </a:cubicBezTo>
                <a:cubicBezTo>
                  <a:pt x="1314" y="590"/>
                  <a:pt x="1314" y="591"/>
                  <a:pt x="1314" y="590"/>
                </a:cubicBezTo>
                <a:cubicBezTo>
                  <a:pt x="1314" y="589"/>
                  <a:pt x="1314" y="590"/>
                  <a:pt x="1314" y="589"/>
                </a:cubicBezTo>
                <a:cubicBezTo>
                  <a:pt x="1314" y="588"/>
                  <a:pt x="1313" y="587"/>
                  <a:pt x="1312" y="587"/>
                </a:cubicBezTo>
                <a:cubicBezTo>
                  <a:pt x="1313" y="586"/>
                  <a:pt x="1313" y="585"/>
                  <a:pt x="1313" y="584"/>
                </a:cubicBezTo>
                <a:cubicBezTo>
                  <a:pt x="1312" y="584"/>
                  <a:pt x="1310" y="584"/>
                  <a:pt x="1310" y="583"/>
                </a:cubicBezTo>
                <a:cubicBezTo>
                  <a:pt x="1310" y="583"/>
                  <a:pt x="1309" y="583"/>
                  <a:pt x="1309" y="584"/>
                </a:cubicBezTo>
                <a:cubicBezTo>
                  <a:pt x="1309" y="584"/>
                  <a:pt x="1309" y="583"/>
                  <a:pt x="1308" y="583"/>
                </a:cubicBezTo>
                <a:cubicBezTo>
                  <a:pt x="1307" y="583"/>
                  <a:pt x="1307" y="582"/>
                  <a:pt x="1307" y="581"/>
                </a:cubicBezTo>
                <a:cubicBezTo>
                  <a:pt x="1307" y="581"/>
                  <a:pt x="1307" y="580"/>
                  <a:pt x="1307" y="580"/>
                </a:cubicBezTo>
                <a:cubicBezTo>
                  <a:pt x="1308" y="579"/>
                  <a:pt x="1309" y="579"/>
                  <a:pt x="1309" y="578"/>
                </a:cubicBezTo>
                <a:cubicBezTo>
                  <a:pt x="1309" y="578"/>
                  <a:pt x="1308" y="576"/>
                  <a:pt x="1308" y="576"/>
                </a:cubicBezTo>
                <a:cubicBezTo>
                  <a:pt x="1308" y="576"/>
                  <a:pt x="1308" y="575"/>
                  <a:pt x="1308" y="575"/>
                </a:cubicBezTo>
                <a:cubicBezTo>
                  <a:pt x="1308" y="575"/>
                  <a:pt x="1308" y="575"/>
                  <a:pt x="1307" y="575"/>
                </a:cubicBezTo>
                <a:cubicBezTo>
                  <a:pt x="1307" y="575"/>
                  <a:pt x="1307" y="574"/>
                  <a:pt x="1307" y="574"/>
                </a:cubicBezTo>
                <a:cubicBezTo>
                  <a:pt x="1307" y="573"/>
                  <a:pt x="1306" y="573"/>
                  <a:pt x="1305" y="573"/>
                </a:cubicBezTo>
                <a:cubicBezTo>
                  <a:pt x="1305" y="572"/>
                  <a:pt x="1306" y="572"/>
                  <a:pt x="1306" y="572"/>
                </a:cubicBezTo>
                <a:cubicBezTo>
                  <a:pt x="1306" y="571"/>
                  <a:pt x="1306" y="571"/>
                  <a:pt x="1305" y="571"/>
                </a:cubicBezTo>
                <a:cubicBezTo>
                  <a:pt x="1305" y="570"/>
                  <a:pt x="1305" y="570"/>
                  <a:pt x="1305" y="571"/>
                </a:cubicBezTo>
                <a:cubicBezTo>
                  <a:pt x="1304" y="572"/>
                  <a:pt x="1304" y="572"/>
                  <a:pt x="1304" y="572"/>
                </a:cubicBezTo>
                <a:cubicBezTo>
                  <a:pt x="1304" y="572"/>
                  <a:pt x="1303" y="572"/>
                  <a:pt x="1303" y="572"/>
                </a:cubicBezTo>
                <a:cubicBezTo>
                  <a:pt x="1302" y="572"/>
                  <a:pt x="1302" y="572"/>
                  <a:pt x="1302" y="572"/>
                </a:cubicBezTo>
                <a:cubicBezTo>
                  <a:pt x="1302" y="571"/>
                  <a:pt x="1301" y="571"/>
                  <a:pt x="1301" y="571"/>
                </a:cubicBezTo>
                <a:cubicBezTo>
                  <a:pt x="1301" y="570"/>
                  <a:pt x="1301" y="570"/>
                  <a:pt x="1301" y="569"/>
                </a:cubicBezTo>
                <a:cubicBezTo>
                  <a:pt x="1300" y="568"/>
                  <a:pt x="1299" y="568"/>
                  <a:pt x="1298" y="567"/>
                </a:cubicBezTo>
                <a:cubicBezTo>
                  <a:pt x="1298" y="567"/>
                  <a:pt x="1298" y="566"/>
                  <a:pt x="1297" y="565"/>
                </a:cubicBezTo>
                <a:cubicBezTo>
                  <a:pt x="1296" y="564"/>
                  <a:pt x="1296" y="564"/>
                  <a:pt x="1296" y="566"/>
                </a:cubicBezTo>
                <a:cubicBezTo>
                  <a:pt x="1295" y="565"/>
                  <a:pt x="1293" y="563"/>
                  <a:pt x="1293" y="562"/>
                </a:cubicBezTo>
                <a:cubicBezTo>
                  <a:pt x="1293" y="561"/>
                  <a:pt x="1293" y="561"/>
                  <a:pt x="1293" y="560"/>
                </a:cubicBezTo>
                <a:cubicBezTo>
                  <a:pt x="1293" y="560"/>
                  <a:pt x="1291" y="560"/>
                  <a:pt x="1291" y="560"/>
                </a:cubicBezTo>
                <a:cubicBezTo>
                  <a:pt x="1291" y="559"/>
                  <a:pt x="1292" y="557"/>
                  <a:pt x="1290" y="557"/>
                </a:cubicBezTo>
                <a:cubicBezTo>
                  <a:pt x="1290" y="557"/>
                  <a:pt x="1289" y="557"/>
                  <a:pt x="1289" y="557"/>
                </a:cubicBezTo>
                <a:cubicBezTo>
                  <a:pt x="1289" y="556"/>
                  <a:pt x="1288" y="557"/>
                  <a:pt x="1288" y="557"/>
                </a:cubicBezTo>
                <a:cubicBezTo>
                  <a:pt x="1288" y="556"/>
                  <a:pt x="1288" y="556"/>
                  <a:pt x="1287" y="556"/>
                </a:cubicBezTo>
                <a:cubicBezTo>
                  <a:pt x="1287" y="555"/>
                  <a:pt x="1286" y="555"/>
                  <a:pt x="1286" y="555"/>
                </a:cubicBezTo>
                <a:cubicBezTo>
                  <a:pt x="1286" y="554"/>
                  <a:pt x="1286" y="554"/>
                  <a:pt x="1285" y="553"/>
                </a:cubicBezTo>
                <a:cubicBezTo>
                  <a:pt x="1285" y="553"/>
                  <a:pt x="1285" y="553"/>
                  <a:pt x="1285" y="553"/>
                </a:cubicBezTo>
                <a:cubicBezTo>
                  <a:pt x="1284" y="552"/>
                  <a:pt x="1284" y="551"/>
                  <a:pt x="1283" y="551"/>
                </a:cubicBezTo>
                <a:cubicBezTo>
                  <a:pt x="1282" y="551"/>
                  <a:pt x="1282" y="550"/>
                  <a:pt x="1282" y="549"/>
                </a:cubicBezTo>
                <a:cubicBezTo>
                  <a:pt x="1282" y="549"/>
                  <a:pt x="1281" y="548"/>
                  <a:pt x="1281" y="548"/>
                </a:cubicBezTo>
                <a:cubicBezTo>
                  <a:pt x="1281" y="547"/>
                  <a:pt x="1281" y="548"/>
                  <a:pt x="1280" y="548"/>
                </a:cubicBezTo>
                <a:cubicBezTo>
                  <a:pt x="1280" y="547"/>
                  <a:pt x="1280" y="547"/>
                  <a:pt x="1280" y="547"/>
                </a:cubicBezTo>
                <a:cubicBezTo>
                  <a:pt x="1280" y="546"/>
                  <a:pt x="1279" y="546"/>
                  <a:pt x="1278" y="546"/>
                </a:cubicBezTo>
                <a:cubicBezTo>
                  <a:pt x="1277" y="546"/>
                  <a:pt x="1276" y="546"/>
                  <a:pt x="1275" y="546"/>
                </a:cubicBezTo>
                <a:cubicBezTo>
                  <a:pt x="1275" y="546"/>
                  <a:pt x="1275" y="546"/>
                  <a:pt x="1275" y="546"/>
                </a:cubicBezTo>
                <a:cubicBezTo>
                  <a:pt x="1275" y="546"/>
                  <a:pt x="1273" y="547"/>
                  <a:pt x="1273" y="546"/>
                </a:cubicBezTo>
                <a:cubicBezTo>
                  <a:pt x="1273" y="546"/>
                  <a:pt x="1273" y="546"/>
                  <a:pt x="1273" y="546"/>
                </a:cubicBezTo>
                <a:cubicBezTo>
                  <a:pt x="1273" y="546"/>
                  <a:pt x="1272" y="545"/>
                  <a:pt x="1272" y="545"/>
                </a:cubicBezTo>
                <a:cubicBezTo>
                  <a:pt x="1271" y="544"/>
                  <a:pt x="1270" y="544"/>
                  <a:pt x="1269" y="544"/>
                </a:cubicBezTo>
                <a:cubicBezTo>
                  <a:pt x="1267" y="544"/>
                  <a:pt x="1268" y="544"/>
                  <a:pt x="1268" y="545"/>
                </a:cubicBezTo>
                <a:cubicBezTo>
                  <a:pt x="1268" y="546"/>
                  <a:pt x="1268" y="547"/>
                  <a:pt x="1268" y="547"/>
                </a:cubicBezTo>
                <a:cubicBezTo>
                  <a:pt x="1268" y="548"/>
                  <a:pt x="1268" y="548"/>
                  <a:pt x="1268" y="548"/>
                </a:cubicBezTo>
                <a:cubicBezTo>
                  <a:pt x="1268" y="549"/>
                  <a:pt x="1269" y="548"/>
                  <a:pt x="1269" y="549"/>
                </a:cubicBezTo>
                <a:cubicBezTo>
                  <a:pt x="1269" y="549"/>
                  <a:pt x="1269" y="549"/>
                  <a:pt x="1269" y="549"/>
                </a:cubicBezTo>
                <a:cubicBezTo>
                  <a:pt x="1269" y="550"/>
                  <a:pt x="1269" y="549"/>
                  <a:pt x="1269" y="549"/>
                </a:cubicBezTo>
                <a:cubicBezTo>
                  <a:pt x="1269" y="550"/>
                  <a:pt x="1269" y="550"/>
                  <a:pt x="1270" y="551"/>
                </a:cubicBezTo>
                <a:cubicBezTo>
                  <a:pt x="1270" y="551"/>
                  <a:pt x="1270" y="551"/>
                  <a:pt x="1270" y="552"/>
                </a:cubicBezTo>
                <a:cubicBezTo>
                  <a:pt x="1270" y="552"/>
                  <a:pt x="1271" y="552"/>
                  <a:pt x="1271" y="552"/>
                </a:cubicBezTo>
                <a:cubicBezTo>
                  <a:pt x="1272" y="553"/>
                  <a:pt x="1270" y="552"/>
                  <a:pt x="1272" y="553"/>
                </a:cubicBezTo>
                <a:cubicBezTo>
                  <a:pt x="1273" y="553"/>
                  <a:pt x="1272" y="553"/>
                  <a:pt x="1272" y="554"/>
                </a:cubicBezTo>
                <a:cubicBezTo>
                  <a:pt x="1272" y="554"/>
                  <a:pt x="1274" y="556"/>
                  <a:pt x="1274" y="556"/>
                </a:cubicBezTo>
                <a:cubicBezTo>
                  <a:pt x="1274" y="556"/>
                  <a:pt x="1275" y="555"/>
                  <a:pt x="1275" y="556"/>
                </a:cubicBezTo>
                <a:cubicBezTo>
                  <a:pt x="1275" y="556"/>
                  <a:pt x="1275" y="556"/>
                  <a:pt x="1275" y="556"/>
                </a:cubicBezTo>
                <a:cubicBezTo>
                  <a:pt x="1276" y="556"/>
                  <a:pt x="1276" y="556"/>
                  <a:pt x="1276" y="557"/>
                </a:cubicBezTo>
                <a:cubicBezTo>
                  <a:pt x="1276" y="557"/>
                  <a:pt x="1276" y="558"/>
                  <a:pt x="1277" y="558"/>
                </a:cubicBezTo>
                <a:cubicBezTo>
                  <a:pt x="1277" y="559"/>
                  <a:pt x="1279" y="560"/>
                  <a:pt x="1279" y="560"/>
                </a:cubicBezTo>
                <a:cubicBezTo>
                  <a:pt x="1279" y="561"/>
                  <a:pt x="1279" y="560"/>
                  <a:pt x="1279" y="561"/>
                </a:cubicBezTo>
                <a:cubicBezTo>
                  <a:pt x="1279" y="561"/>
                  <a:pt x="1280" y="562"/>
                  <a:pt x="1280" y="562"/>
                </a:cubicBezTo>
                <a:cubicBezTo>
                  <a:pt x="1280" y="563"/>
                  <a:pt x="1280" y="564"/>
                  <a:pt x="1280" y="565"/>
                </a:cubicBezTo>
                <a:cubicBezTo>
                  <a:pt x="1282" y="565"/>
                  <a:pt x="1286" y="566"/>
                  <a:pt x="1286" y="568"/>
                </a:cubicBezTo>
                <a:cubicBezTo>
                  <a:pt x="1285" y="569"/>
                  <a:pt x="1285" y="570"/>
                  <a:pt x="1285" y="570"/>
                </a:cubicBezTo>
                <a:cubicBezTo>
                  <a:pt x="1286" y="572"/>
                  <a:pt x="1286" y="570"/>
                  <a:pt x="1286" y="571"/>
                </a:cubicBezTo>
                <a:cubicBezTo>
                  <a:pt x="1286" y="571"/>
                  <a:pt x="1286" y="572"/>
                  <a:pt x="1286" y="573"/>
                </a:cubicBezTo>
                <a:cubicBezTo>
                  <a:pt x="1286" y="573"/>
                  <a:pt x="1287" y="573"/>
                  <a:pt x="1287" y="573"/>
                </a:cubicBezTo>
                <a:cubicBezTo>
                  <a:pt x="1287" y="574"/>
                  <a:pt x="1287" y="574"/>
                  <a:pt x="1287" y="574"/>
                </a:cubicBezTo>
                <a:cubicBezTo>
                  <a:pt x="1287" y="575"/>
                  <a:pt x="1287" y="575"/>
                  <a:pt x="1288" y="575"/>
                </a:cubicBezTo>
                <a:cubicBezTo>
                  <a:pt x="1288" y="576"/>
                  <a:pt x="1288" y="576"/>
                  <a:pt x="1288" y="576"/>
                </a:cubicBezTo>
                <a:cubicBezTo>
                  <a:pt x="1289" y="576"/>
                  <a:pt x="1289" y="576"/>
                  <a:pt x="1289" y="577"/>
                </a:cubicBezTo>
                <a:cubicBezTo>
                  <a:pt x="1290" y="578"/>
                  <a:pt x="1290" y="578"/>
                  <a:pt x="1290" y="579"/>
                </a:cubicBezTo>
                <a:cubicBezTo>
                  <a:pt x="1290" y="579"/>
                  <a:pt x="1292" y="580"/>
                  <a:pt x="1292" y="580"/>
                </a:cubicBezTo>
                <a:cubicBezTo>
                  <a:pt x="1292" y="580"/>
                  <a:pt x="1293" y="580"/>
                  <a:pt x="1293" y="581"/>
                </a:cubicBezTo>
                <a:cubicBezTo>
                  <a:pt x="1293" y="582"/>
                  <a:pt x="1294" y="582"/>
                  <a:pt x="1294" y="583"/>
                </a:cubicBezTo>
                <a:cubicBezTo>
                  <a:pt x="1294" y="583"/>
                  <a:pt x="1294" y="584"/>
                  <a:pt x="1294" y="584"/>
                </a:cubicBezTo>
                <a:cubicBezTo>
                  <a:pt x="1295" y="585"/>
                  <a:pt x="1294" y="582"/>
                  <a:pt x="1295" y="585"/>
                </a:cubicBezTo>
                <a:cubicBezTo>
                  <a:pt x="1295" y="587"/>
                  <a:pt x="1295" y="585"/>
                  <a:pt x="1295" y="585"/>
                </a:cubicBezTo>
                <a:cubicBezTo>
                  <a:pt x="1296" y="586"/>
                  <a:pt x="1296" y="586"/>
                  <a:pt x="1296" y="587"/>
                </a:cubicBezTo>
                <a:cubicBezTo>
                  <a:pt x="1297" y="587"/>
                  <a:pt x="1297" y="587"/>
                  <a:pt x="1297" y="587"/>
                </a:cubicBezTo>
                <a:cubicBezTo>
                  <a:pt x="1297" y="588"/>
                  <a:pt x="1297" y="588"/>
                  <a:pt x="1297" y="589"/>
                </a:cubicBezTo>
                <a:cubicBezTo>
                  <a:pt x="1297" y="590"/>
                  <a:pt x="1298" y="590"/>
                  <a:pt x="1298" y="590"/>
                </a:cubicBezTo>
                <a:cubicBezTo>
                  <a:pt x="1298" y="591"/>
                  <a:pt x="1298" y="591"/>
                  <a:pt x="1298" y="592"/>
                </a:cubicBezTo>
                <a:cubicBezTo>
                  <a:pt x="1298" y="592"/>
                  <a:pt x="1298" y="592"/>
                  <a:pt x="1298" y="592"/>
                </a:cubicBezTo>
                <a:cubicBezTo>
                  <a:pt x="1298" y="593"/>
                  <a:pt x="1299" y="592"/>
                  <a:pt x="1299" y="592"/>
                </a:cubicBezTo>
                <a:cubicBezTo>
                  <a:pt x="1299" y="593"/>
                  <a:pt x="1299" y="594"/>
                  <a:pt x="1299" y="594"/>
                </a:cubicBezTo>
                <a:cubicBezTo>
                  <a:pt x="1300" y="595"/>
                  <a:pt x="1300" y="595"/>
                  <a:pt x="1300" y="595"/>
                </a:cubicBezTo>
                <a:cubicBezTo>
                  <a:pt x="1301" y="595"/>
                  <a:pt x="1301" y="597"/>
                  <a:pt x="1301" y="597"/>
                </a:cubicBezTo>
                <a:cubicBezTo>
                  <a:pt x="1302" y="598"/>
                  <a:pt x="1302" y="598"/>
                  <a:pt x="1302" y="599"/>
                </a:cubicBezTo>
                <a:cubicBezTo>
                  <a:pt x="1302" y="599"/>
                  <a:pt x="1302" y="599"/>
                  <a:pt x="1302" y="599"/>
                </a:cubicBezTo>
                <a:cubicBezTo>
                  <a:pt x="1302" y="599"/>
                  <a:pt x="1302" y="600"/>
                  <a:pt x="1303" y="600"/>
                </a:cubicBezTo>
                <a:cubicBezTo>
                  <a:pt x="1303" y="600"/>
                  <a:pt x="1303" y="601"/>
                  <a:pt x="1303" y="601"/>
                </a:cubicBezTo>
                <a:cubicBezTo>
                  <a:pt x="1304" y="602"/>
                  <a:pt x="1303" y="603"/>
                  <a:pt x="1304" y="603"/>
                </a:cubicBezTo>
                <a:cubicBezTo>
                  <a:pt x="1306" y="604"/>
                  <a:pt x="1306" y="604"/>
                  <a:pt x="1307" y="605"/>
                </a:cubicBezTo>
                <a:cubicBezTo>
                  <a:pt x="1307" y="605"/>
                  <a:pt x="1308" y="605"/>
                  <a:pt x="1308" y="605"/>
                </a:cubicBezTo>
                <a:cubicBezTo>
                  <a:pt x="1309" y="605"/>
                  <a:pt x="1309" y="606"/>
                  <a:pt x="1309" y="606"/>
                </a:cubicBezTo>
                <a:cubicBezTo>
                  <a:pt x="1310" y="606"/>
                  <a:pt x="1310" y="606"/>
                  <a:pt x="1310" y="606"/>
                </a:cubicBezTo>
                <a:cubicBezTo>
                  <a:pt x="1311" y="608"/>
                  <a:pt x="1312" y="608"/>
                  <a:pt x="1314" y="608"/>
                </a:cubicBezTo>
                <a:cubicBezTo>
                  <a:pt x="1314" y="607"/>
                  <a:pt x="1313" y="607"/>
                  <a:pt x="1313" y="606"/>
                </a:cubicBezTo>
                <a:close/>
                <a:moveTo>
                  <a:pt x="1393" y="540"/>
                </a:moveTo>
                <a:cubicBezTo>
                  <a:pt x="1394" y="540"/>
                  <a:pt x="1393" y="540"/>
                  <a:pt x="1393" y="540"/>
                </a:cubicBezTo>
                <a:cubicBezTo>
                  <a:pt x="1393" y="540"/>
                  <a:pt x="1393" y="540"/>
                  <a:pt x="1393" y="540"/>
                </a:cubicBezTo>
                <a:close/>
                <a:moveTo>
                  <a:pt x="1344" y="569"/>
                </a:moveTo>
                <a:cubicBezTo>
                  <a:pt x="1344" y="569"/>
                  <a:pt x="1344" y="569"/>
                  <a:pt x="1344" y="569"/>
                </a:cubicBezTo>
                <a:cubicBezTo>
                  <a:pt x="1344" y="569"/>
                  <a:pt x="1344" y="569"/>
                  <a:pt x="1344" y="569"/>
                </a:cubicBezTo>
                <a:cubicBezTo>
                  <a:pt x="1344" y="569"/>
                  <a:pt x="1344" y="569"/>
                  <a:pt x="1344" y="569"/>
                </a:cubicBezTo>
                <a:close/>
                <a:moveTo>
                  <a:pt x="1332" y="573"/>
                </a:moveTo>
                <a:cubicBezTo>
                  <a:pt x="1332" y="573"/>
                  <a:pt x="1332" y="574"/>
                  <a:pt x="1332" y="575"/>
                </a:cubicBezTo>
                <a:cubicBezTo>
                  <a:pt x="1333" y="575"/>
                  <a:pt x="1332" y="575"/>
                  <a:pt x="1332" y="576"/>
                </a:cubicBezTo>
                <a:cubicBezTo>
                  <a:pt x="1332" y="576"/>
                  <a:pt x="1333" y="577"/>
                  <a:pt x="1333" y="577"/>
                </a:cubicBezTo>
                <a:cubicBezTo>
                  <a:pt x="1334" y="578"/>
                  <a:pt x="1334" y="579"/>
                  <a:pt x="1334" y="579"/>
                </a:cubicBezTo>
                <a:cubicBezTo>
                  <a:pt x="1333" y="579"/>
                  <a:pt x="1334" y="581"/>
                  <a:pt x="1334" y="581"/>
                </a:cubicBezTo>
                <a:cubicBezTo>
                  <a:pt x="1335" y="582"/>
                  <a:pt x="1334" y="582"/>
                  <a:pt x="1335" y="583"/>
                </a:cubicBezTo>
                <a:cubicBezTo>
                  <a:pt x="1336" y="583"/>
                  <a:pt x="1335" y="584"/>
                  <a:pt x="1335" y="585"/>
                </a:cubicBezTo>
                <a:cubicBezTo>
                  <a:pt x="1335" y="585"/>
                  <a:pt x="1336" y="585"/>
                  <a:pt x="1336" y="584"/>
                </a:cubicBezTo>
                <a:cubicBezTo>
                  <a:pt x="1337" y="584"/>
                  <a:pt x="1337" y="584"/>
                  <a:pt x="1338" y="585"/>
                </a:cubicBezTo>
                <a:cubicBezTo>
                  <a:pt x="1338" y="585"/>
                  <a:pt x="1338" y="586"/>
                  <a:pt x="1338" y="586"/>
                </a:cubicBezTo>
                <a:cubicBezTo>
                  <a:pt x="1339" y="586"/>
                  <a:pt x="1339" y="588"/>
                  <a:pt x="1339" y="588"/>
                </a:cubicBezTo>
                <a:cubicBezTo>
                  <a:pt x="1339" y="589"/>
                  <a:pt x="1339" y="590"/>
                  <a:pt x="1339" y="590"/>
                </a:cubicBezTo>
                <a:cubicBezTo>
                  <a:pt x="1340" y="590"/>
                  <a:pt x="1340" y="591"/>
                  <a:pt x="1340" y="591"/>
                </a:cubicBezTo>
                <a:cubicBezTo>
                  <a:pt x="1340" y="592"/>
                  <a:pt x="1340" y="593"/>
                  <a:pt x="1340" y="593"/>
                </a:cubicBezTo>
                <a:cubicBezTo>
                  <a:pt x="1340" y="594"/>
                  <a:pt x="1341" y="594"/>
                  <a:pt x="1342" y="594"/>
                </a:cubicBezTo>
                <a:cubicBezTo>
                  <a:pt x="1343" y="595"/>
                  <a:pt x="1344" y="595"/>
                  <a:pt x="1345" y="594"/>
                </a:cubicBezTo>
                <a:cubicBezTo>
                  <a:pt x="1345" y="593"/>
                  <a:pt x="1346" y="594"/>
                  <a:pt x="1346" y="594"/>
                </a:cubicBezTo>
                <a:cubicBezTo>
                  <a:pt x="1348" y="595"/>
                  <a:pt x="1348" y="594"/>
                  <a:pt x="1348" y="595"/>
                </a:cubicBezTo>
                <a:cubicBezTo>
                  <a:pt x="1348" y="597"/>
                  <a:pt x="1350" y="596"/>
                  <a:pt x="1351" y="596"/>
                </a:cubicBezTo>
                <a:cubicBezTo>
                  <a:pt x="1351" y="596"/>
                  <a:pt x="1352" y="596"/>
                  <a:pt x="1352" y="596"/>
                </a:cubicBezTo>
                <a:cubicBezTo>
                  <a:pt x="1353" y="596"/>
                  <a:pt x="1353" y="595"/>
                  <a:pt x="1354" y="595"/>
                </a:cubicBezTo>
                <a:cubicBezTo>
                  <a:pt x="1355" y="595"/>
                  <a:pt x="1355" y="596"/>
                  <a:pt x="1356" y="596"/>
                </a:cubicBezTo>
                <a:cubicBezTo>
                  <a:pt x="1356" y="597"/>
                  <a:pt x="1358" y="596"/>
                  <a:pt x="1358" y="595"/>
                </a:cubicBezTo>
                <a:cubicBezTo>
                  <a:pt x="1359" y="596"/>
                  <a:pt x="1359" y="596"/>
                  <a:pt x="1360" y="596"/>
                </a:cubicBezTo>
                <a:cubicBezTo>
                  <a:pt x="1361" y="596"/>
                  <a:pt x="1360" y="598"/>
                  <a:pt x="1362" y="598"/>
                </a:cubicBezTo>
                <a:cubicBezTo>
                  <a:pt x="1363" y="597"/>
                  <a:pt x="1362" y="597"/>
                  <a:pt x="1363" y="597"/>
                </a:cubicBezTo>
                <a:cubicBezTo>
                  <a:pt x="1363" y="597"/>
                  <a:pt x="1363" y="597"/>
                  <a:pt x="1363" y="597"/>
                </a:cubicBezTo>
                <a:cubicBezTo>
                  <a:pt x="1363" y="597"/>
                  <a:pt x="1365" y="597"/>
                  <a:pt x="1365" y="596"/>
                </a:cubicBezTo>
                <a:cubicBezTo>
                  <a:pt x="1365" y="596"/>
                  <a:pt x="1366" y="596"/>
                  <a:pt x="1367" y="596"/>
                </a:cubicBezTo>
                <a:cubicBezTo>
                  <a:pt x="1367" y="596"/>
                  <a:pt x="1367" y="595"/>
                  <a:pt x="1367" y="595"/>
                </a:cubicBezTo>
                <a:cubicBezTo>
                  <a:pt x="1368" y="595"/>
                  <a:pt x="1368" y="594"/>
                  <a:pt x="1368" y="594"/>
                </a:cubicBezTo>
                <a:cubicBezTo>
                  <a:pt x="1368" y="593"/>
                  <a:pt x="1369" y="593"/>
                  <a:pt x="1369" y="593"/>
                </a:cubicBezTo>
                <a:cubicBezTo>
                  <a:pt x="1369" y="592"/>
                  <a:pt x="1369" y="593"/>
                  <a:pt x="1369" y="592"/>
                </a:cubicBezTo>
                <a:cubicBezTo>
                  <a:pt x="1369" y="592"/>
                  <a:pt x="1370" y="592"/>
                  <a:pt x="1370" y="591"/>
                </a:cubicBezTo>
                <a:cubicBezTo>
                  <a:pt x="1370" y="591"/>
                  <a:pt x="1371" y="590"/>
                  <a:pt x="1372" y="590"/>
                </a:cubicBezTo>
                <a:cubicBezTo>
                  <a:pt x="1372" y="589"/>
                  <a:pt x="1371" y="588"/>
                  <a:pt x="1370" y="588"/>
                </a:cubicBezTo>
                <a:cubicBezTo>
                  <a:pt x="1370" y="587"/>
                  <a:pt x="1370" y="587"/>
                  <a:pt x="1371" y="586"/>
                </a:cubicBezTo>
                <a:cubicBezTo>
                  <a:pt x="1371" y="586"/>
                  <a:pt x="1372" y="586"/>
                  <a:pt x="1372" y="585"/>
                </a:cubicBezTo>
                <a:cubicBezTo>
                  <a:pt x="1373" y="584"/>
                  <a:pt x="1374" y="584"/>
                  <a:pt x="1373" y="583"/>
                </a:cubicBezTo>
                <a:cubicBezTo>
                  <a:pt x="1373" y="582"/>
                  <a:pt x="1373" y="582"/>
                  <a:pt x="1372" y="581"/>
                </a:cubicBezTo>
                <a:cubicBezTo>
                  <a:pt x="1372" y="581"/>
                  <a:pt x="1373" y="581"/>
                  <a:pt x="1373" y="581"/>
                </a:cubicBezTo>
                <a:cubicBezTo>
                  <a:pt x="1373" y="581"/>
                  <a:pt x="1373" y="580"/>
                  <a:pt x="1373" y="580"/>
                </a:cubicBezTo>
                <a:cubicBezTo>
                  <a:pt x="1373" y="580"/>
                  <a:pt x="1374" y="580"/>
                  <a:pt x="1374" y="580"/>
                </a:cubicBezTo>
                <a:cubicBezTo>
                  <a:pt x="1374" y="579"/>
                  <a:pt x="1374" y="579"/>
                  <a:pt x="1374" y="579"/>
                </a:cubicBezTo>
                <a:cubicBezTo>
                  <a:pt x="1374" y="579"/>
                  <a:pt x="1375" y="578"/>
                  <a:pt x="1374" y="578"/>
                </a:cubicBezTo>
                <a:cubicBezTo>
                  <a:pt x="1373" y="578"/>
                  <a:pt x="1374" y="577"/>
                  <a:pt x="1374" y="576"/>
                </a:cubicBezTo>
                <a:cubicBezTo>
                  <a:pt x="1373" y="576"/>
                  <a:pt x="1374" y="574"/>
                  <a:pt x="1374" y="574"/>
                </a:cubicBezTo>
                <a:cubicBezTo>
                  <a:pt x="1376" y="573"/>
                  <a:pt x="1378" y="572"/>
                  <a:pt x="1380" y="572"/>
                </a:cubicBezTo>
                <a:cubicBezTo>
                  <a:pt x="1379" y="571"/>
                  <a:pt x="1379" y="571"/>
                  <a:pt x="1378" y="571"/>
                </a:cubicBezTo>
                <a:cubicBezTo>
                  <a:pt x="1377" y="570"/>
                  <a:pt x="1377" y="570"/>
                  <a:pt x="1376" y="569"/>
                </a:cubicBezTo>
                <a:cubicBezTo>
                  <a:pt x="1376" y="569"/>
                  <a:pt x="1375" y="569"/>
                  <a:pt x="1375" y="568"/>
                </a:cubicBezTo>
                <a:cubicBezTo>
                  <a:pt x="1375" y="568"/>
                  <a:pt x="1375" y="568"/>
                  <a:pt x="1374" y="568"/>
                </a:cubicBezTo>
                <a:cubicBezTo>
                  <a:pt x="1375" y="567"/>
                  <a:pt x="1375" y="565"/>
                  <a:pt x="1375" y="565"/>
                </a:cubicBezTo>
                <a:cubicBezTo>
                  <a:pt x="1376" y="565"/>
                  <a:pt x="1375" y="565"/>
                  <a:pt x="1375" y="565"/>
                </a:cubicBezTo>
                <a:cubicBezTo>
                  <a:pt x="1375" y="564"/>
                  <a:pt x="1376" y="564"/>
                  <a:pt x="1374" y="563"/>
                </a:cubicBezTo>
                <a:cubicBezTo>
                  <a:pt x="1374" y="563"/>
                  <a:pt x="1375" y="562"/>
                  <a:pt x="1374" y="561"/>
                </a:cubicBezTo>
                <a:cubicBezTo>
                  <a:pt x="1375" y="562"/>
                  <a:pt x="1374" y="561"/>
                  <a:pt x="1374" y="561"/>
                </a:cubicBezTo>
                <a:cubicBezTo>
                  <a:pt x="1374" y="561"/>
                  <a:pt x="1373" y="560"/>
                  <a:pt x="1373" y="560"/>
                </a:cubicBezTo>
                <a:cubicBezTo>
                  <a:pt x="1373" y="559"/>
                  <a:pt x="1373" y="559"/>
                  <a:pt x="1373" y="559"/>
                </a:cubicBezTo>
                <a:cubicBezTo>
                  <a:pt x="1373" y="558"/>
                  <a:pt x="1373" y="559"/>
                  <a:pt x="1373" y="558"/>
                </a:cubicBezTo>
                <a:cubicBezTo>
                  <a:pt x="1374" y="558"/>
                  <a:pt x="1375" y="556"/>
                  <a:pt x="1373" y="556"/>
                </a:cubicBezTo>
                <a:cubicBezTo>
                  <a:pt x="1372" y="556"/>
                  <a:pt x="1373" y="556"/>
                  <a:pt x="1373" y="555"/>
                </a:cubicBezTo>
                <a:cubicBezTo>
                  <a:pt x="1373" y="555"/>
                  <a:pt x="1373" y="555"/>
                  <a:pt x="1373" y="555"/>
                </a:cubicBezTo>
                <a:cubicBezTo>
                  <a:pt x="1373" y="554"/>
                  <a:pt x="1373" y="554"/>
                  <a:pt x="1374" y="554"/>
                </a:cubicBezTo>
                <a:cubicBezTo>
                  <a:pt x="1374" y="554"/>
                  <a:pt x="1375" y="554"/>
                  <a:pt x="1375" y="555"/>
                </a:cubicBezTo>
                <a:cubicBezTo>
                  <a:pt x="1377" y="554"/>
                  <a:pt x="1376" y="554"/>
                  <a:pt x="1377" y="553"/>
                </a:cubicBezTo>
                <a:cubicBezTo>
                  <a:pt x="1378" y="553"/>
                  <a:pt x="1378" y="552"/>
                  <a:pt x="1378" y="552"/>
                </a:cubicBezTo>
                <a:cubicBezTo>
                  <a:pt x="1377" y="552"/>
                  <a:pt x="1377" y="552"/>
                  <a:pt x="1377" y="551"/>
                </a:cubicBezTo>
                <a:cubicBezTo>
                  <a:pt x="1377" y="551"/>
                  <a:pt x="1376" y="550"/>
                  <a:pt x="1377" y="550"/>
                </a:cubicBezTo>
                <a:cubicBezTo>
                  <a:pt x="1377" y="550"/>
                  <a:pt x="1377" y="550"/>
                  <a:pt x="1377" y="550"/>
                </a:cubicBezTo>
                <a:cubicBezTo>
                  <a:pt x="1377" y="550"/>
                  <a:pt x="1378" y="550"/>
                  <a:pt x="1378" y="550"/>
                </a:cubicBezTo>
                <a:cubicBezTo>
                  <a:pt x="1378" y="550"/>
                  <a:pt x="1378" y="550"/>
                  <a:pt x="1378" y="550"/>
                </a:cubicBezTo>
                <a:cubicBezTo>
                  <a:pt x="1378" y="550"/>
                  <a:pt x="1379" y="550"/>
                  <a:pt x="1379" y="550"/>
                </a:cubicBezTo>
                <a:cubicBezTo>
                  <a:pt x="1380" y="550"/>
                  <a:pt x="1380" y="549"/>
                  <a:pt x="1381" y="549"/>
                </a:cubicBezTo>
                <a:cubicBezTo>
                  <a:pt x="1381" y="549"/>
                  <a:pt x="1381" y="549"/>
                  <a:pt x="1381" y="548"/>
                </a:cubicBezTo>
                <a:cubicBezTo>
                  <a:pt x="1381" y="547"/>
                  <a:pt x="1381" y="548"/>
                  <a:pt x="1380" y="548"/>
                </a:cubicBezTo>
                <a:cubicBezTo>
                  <a:pt x="1380" y="547"/>
                  <a:pt x="1380" y="547"/>
                  <a:pt x="1380" y="546"/>
                </a:cubicBezTo>
                <a:cubicBezTo>
                  <a:pt x="1380" y="545"/>
                  <a:pt x="1378" y="545"/>
                  <a:pt x="1377" y="546"/>
                </a:cubicBezTo>
                <a:cubicBezTo>
                  <a:pt x="1377" y="545"/>
                  <a:pt x="1377" y="544"/>
                  <a:pt x="1377" y="544"/>
                </a:cubicBezTo>
                <a:cubicBezTo>
                  <a:pt x="1376" y="544"/>
                  <a:pt x="1376" y="544"/>
                  <a:pt x="1376" y="544"/>
                </a:cubicBezTo>
                <a:cubicBezTo>
                  <a:pt x="1376" y="543"/>
                  <a:pt x="1376" y="542"/>
                  <a:pt x="1376" y="542"/>
                </a:cubicBezTo>
                <a:cubicBezTo>
                  <a:pt x="1376" y="541"/>
                  <a:pt x="1375" y="540"/>
                  <a:pt x="1375" y="540"/>
                </a:cubicBezTo>
                <a:cubicBezTo>
                  <a:pt x="1375" y="540"/>
                  <a:pt x="1374" y="540"/>
                  <a:pt x="1374" y="540"/>
                </a:cubicBezTo>
                <a:cubicBezTo>
                  <a:pt x="1374" y="540"/>
                  <a:pt x="1374" y="539"/>
                  <a:pt x="1374" y="539"/>
                </a:cubicBezTo>
                <a:cubicBezTo>
                  <a:pt x="1373" y="539"/>
                  <a:pt x="1373" y="539"/>
                  <a:pt x="1373" y="540"/>
                </a:cubicBezTo>
                <a:cubicBezTo>
                  <a:pt x="1373" y="540"/>
                  <a:pt x="1372" y="540"/>
                  <a:pt x="1372" y="540"/>
                </a:cubicBezTo>
                <a:cubicBezTo>
                  <a:pt x="1371" y="540"/>
                  <a:pt x="1371" y="538"/>
                  <a:pt x="1370" y="538"/>
                </a:cubicBezTo>
                <a:cubicBezTo>
                  <a:pt x="1370" y="539"/>
                  <a:pt x="1370" y="539"/>
                  <a:pt x="1370" y="539"/>
                </a:cubicBezTo>
                <a:cubicBezTo>
                  <a:pt x="1370" y="540"/>
                  <a:pt x="1370" y="540"/>
                  <a:pt x="1370" y="541"/>
                </a:cubicBezTo>
                <a:cubicBezTo>
                  <a:pt x="1370" y="541"/>
                  <a:pt x="1369" y="541"/>
                  <a:pt x="1369" y="541"/>
                </a:cubicBezTo>
                <a:cubicBezTo>
                  <a:pt x="1369" y="541"/>
                  <a:pt x="1369" y="541"/>
                  <a:pt x="1369" y="541"/>
                </a:cubicBezTo>
                <a:cubicBezTo>
                  <a:pt x="1369" y="542"/>
                  <a:pt x="1369" y="541"/>
                  <a:pt x="1369" y="542"/>
                </a:cubicBezTo>
                <a:cubicBezTo>
                  <a:pt x="1369" y="542"/>
                  <a:pt x="1369" y="542"/>
                  <a:pt x="1369" y="542"/>
                </a:cubicBezTo>
                <a:cubicBezTo>
                  <a:pt x="1368" y="543"/>
                  <a:pt x="1369" y="543"/>
                  <a:pt x="1368" y="543"/>
                </a:cubicBezTo>
                <a:cubicBezTo>
                  <a:pt x="1367" y="544"/>
                  <a:pt x="1368" y="544"/>
                  <a:pt x="1367" y="544"/>
                </a:cubicBezTo>
                <a:cubicBezTo>
                  <a:pt x="1367" y="545"/>
                  <a:pt x="1366" y="545"/>
                  <a:pt x="1366" y="545"/>
                </a:cubicBezTo>
                <a:cubicBezTo>
                  <a:pt x="1365" y="546"/>
                  <a:pt x="1365" y="546"/>
                  <a:pt x="1364" y="547"/>
                </a:cubicBezTo>
                <a:cubicBezTo>
                  <a:pt x="1365" y="547"/>
                  <a:pt x="1365" y="547"/>
                  <a:pt x="1365" y="548"/>
                </a:cubicBezTo>
                <a:cubicBezTo>
                  <a:pt x="1365" y="548"/>
                  <a:pt x="1365" y="549"/>
                  <a:pt x="1366" y="549"/>
                </a:cubicBezTo>
                <a:cubicBezTo>
                  <a:pt x="1365" y="550"/>
                  <a:pt x="1364" y="551"/>
                  <a:pt x="1363" y="551"/>
                </a:cubicBezTo>
                <a:cubicBezTo>
                  <a:pt x="1362" y="551"/>
                  <a:pt x="1361" y="552"/>
                  <a:pt x="1361" y="553"/>
                </a:cubicBezTo>
                <a:cubicBezTo>
                  <a:pt x="1360" y="553"/>
                  <a:pt x="1359" y="553"/>
                  <a:pt x="1358" y="553"/>
                </a:cubicBezTo>
                <a:cubicBezTo>
                  <a:pt x="1357" y="553"/>
                  <a:pt x="1358" y="554"/>
                  <a:pt x="1358" y="554"/>
                </a:cubicBezTo>
                <a:cubicBezTo>
                  <a:pt x="1358" y="554"/>
                  <a:pt x="1357" y="554"/>
                  <a:pt x="1357" y="555"/>
                </a:cubicBezTo>
                <a:cubicBezTo>
                  <a:pt x="1357" y="555"/>
                  <a:pt x="1357" y="555"/>
                  <a:pt x="1357" y="555"/>
                </a:cubicBezTo>
                <a:cubicBezTo>
                  <a:pt x="1356" y="555"/>
                  <a:pt x="1357" y="556"/>
                  <a:pt x="1357" y="556"/>
                </a:cubicBezTo>
                <a:cubicBezTo>
                  <a:pt x="1356" y="556"/>
                  <a:pt x="1356" y="556"/>
                  <a:pt x="1356" y="556"/>
                </a:cubicBezTo>
                <a:cubicBezTo>
                  <a:pt x="1356" y="556"/>
                  <a:pt x="1356" y="556"/>
                  <a:pt x="1356" y="557"/>
                </a:cubicBezTo>
                <a:cubicBezTo>
                  <a:pt x="1356" y="557"/>
                  <a:pt x="1355" y="558"/>
                  <a:pt x="1355" y="558"/>
                </a:cubicBezTo>
                <a:cubicBezTo>
                  <a:pt x="1355" y="558"/>
                  <a:pt x="1355" y="558"/>
                  <a:pt x="1355" y="558"/>
                </a:cubicBezTo>
                <a:cubicBezTo>
                  <a:pt x="1354" y="559"/>
                  <a:pt x="1354" y="560"/>
                  <a:pt x="1354" y="560"/>
                </a:cubicBezTo>
                <a:cubicBezTo>
                  <a:pt x="1354" y="561"/>
                  <a:pt x="1351" y="560"/>
                  <a:pt x="1351" y="560"/>
                </a:cubicBezTo>
                <a:cubicBezTo>
                  <a:pt x="1351" y="560"/>
                  <a:pt x="1351" y="561"/>
                  <a:pt x="1350" y="561"/>
                </a:cubicBezTo>
                <a:cubicBezTo>
                  <a:pt x="1350" y="561"/>
                  <a:pt x="1350" y="561"/>
                  <a:pt x="1349" y="561"/>
                </a:cubicBezTo>
                <a:cubicBezTo>
                  <a:pt x="1349" y="561"/>
                  <a:pt x="1349" y="561"/>
                  <a:pt x="1349" y="561"/>
                </a:cubicBezTo>
                <a:cubicBezTo>
                  <a:pt x="1348" y="561"/>
                  <a:pt x="1347" y="561"/>
                  <a:pt x="1346" y="562"/>
                </a:cubicBezTo>
                <a:cubicBezTo>
                  <a:pt x="1346" y="562"/>
                  <a:pt x="1345" y="563"/>
                  <a:pt x="1345" y="563"/>
                </a:cubicBezTo>
                <a:cubicBezTo>
                  <a:pt x="1344" y="563"/>
                  <a:pt x="1345" y="565"/>
                  <a:pt x="1345" y="565"/>
                </a:cubicBezTo>
                <a:cubicBezTo>
                  <a:pt x="1344" y="565"/>
                  <a:pt x="1344" y="567"/>
                  <a:pt x="1344" y="567"/>
                </a:cubicBezTo>
                <a:cubicBezTo>
                  <a:pt x="1344" y="568"/>
                  <a:pt x="1343" y="567"/>
                  <a:pt x="1343" y="568"/>
                </a:cubicBezTo>
                <a:cubicBezTo>
                  <a:pt x="1343" y="568"/>
                  <a:pt x="1343" y="568"/>
                  <a:pt x="1343" y="569"/>
                </a:cubicBezTo>
                <a:cubicBezTo>
                  <a:pt x="1343" y="569"/>
                  <a:pt x="1341" y="569"/>
                  <a:pt x="1341" y="568"/>
                </a:cubicBezTo>
                <a:cubicBezTo>
                  <a:pt x="1341" y="567"/>
                  <a:pt x="1341" y="567"/>
                  <a:pt x="1340" y="567"/>
                </a:cubicBezTo>
                <a:cubicBezTo>
                  <a:pt x="1340" y="567"/>
                  <a:pt x="1339" y="567"/>
                  <a:pt x="1338" y="567"/>
                </a:cubicBezTo>
                <a:cubicBezTo>
                  <a:pt x="1338" y="567"/>
                  <a:pt x="1338" y="567"/>
                  <a:pt x="1337" y="566"/>
                </a:cubicBezTo>
                <a:cubicBezTo>
                  <a:pt x="1337" y="566"/>
                  <a:pt x="1337" y="566"/>
                  <a:pt x="1336" y="566"/>
                </a:cubicBezTo>
                <a:cubicBezTo>
                  <a:pt x="1335" y="565"/>
                  <a:pt x="1336" y="566"/>
                  <a:pt x="1335" y="567"/>
                </a:cubicBezTo>
                <a:cubicBezTo>
                  <a:pt x="1336" y="567"/>
                  <a:pt x="1335" y="568"/>
                  <a:pt x="1335" y="567"/>
                </a:cubicBezTo>
                <a:cubicBezTo>
                  <a:pt x="1334" y="568"/>
                  <a:pt x="1334" y="568"/>
                  <a:pt x="1334" y="569"/>
                </a:cubicBezTo>
                <a:cubicBezTo>
                  <a:pt x="1334" y="569"/>
                  <a:pt x="1333" y="571"/>
                  <a:pt x="1332" y="571"/>
                </a:cubicBezTo>
                <a:cubicBezTo>
                  <a:pt x="1332" y="572"/>
                  <a:pt x="1333" y="573"/>
                  <a:pt x="1332" y="573"/>
                </a:cubicBezTo>
                <a:cubicBezTo>
                  <a:pt x="1332" y="573"/>
                  <a:pt x="1332" y="573"/>
                  <a:pt x="1332" y="573"/>
                </a:cubicBezTo>
                <a:close/>
                <a:moveTo>
                  <a:pt x="1262" y="538"/>
                </a:moveTo>
                <a:cubicBezTo>
                  <a:pt x="1263" y="538"/>
                  <a:pt x="1263" y="538"/>
                  <a:pt x="1263" y="537"/>
                </a:cubicBezTo>
                <a:cubicBezTo>
                  <a:pt x="1263" y="537"/>
                  <a:pt x="1262" y="537"/>
                  <a:pt x="1262" y="537"/>
                </a:cubicBezTo>
                <a:cubicBezTo>
                  <a:pt x="1262" y="538"/>
                  <a:pt x="1262" y="538"/>
                  <a:pt x="1262" y="538"/>
                </a:cubicBezTo>
                <a:close/>
                <a:moveTo>
                  <a:pt x="755" y="535"/>
                </a:moveTo>
                <a:cubicBezTo>
                  <a:pt x="755" y="535"/>
                  <a:pt x="755" y="535"/>
                  <a:pt x="755" y="535"/>
                </a:cubicBezTo>
                <a:cubicBezTo>
                  <a:pt x="755" y="535"/>
                  <a:pt x="755" y="535"/>
                  <a:pt x="755" y="535"/>
                </a:cubicBezTo>
                <a:cubicBezTo>
                  <a:pt x="755" y="534"/>
                  <a:pt x="755" y="534"/>
                  <a:pt x="754" y="534"/>
                </a:cubicBezTo>
                <a:cubicBezTo>
                  <a:pt x="754" y="535"/>
                  <a:pt x="754" y="534"/>
                  <a:pt x="755" y="535"/>
                </a:cubicBezTo>
                <a:close/>
                <a:moveTo>
                  <a:pt x="436" y="534"/>
                </a:moveTo>
                <a:cubicBezTo>
                  <a:pt x="436" y="534"/>
                  <a:pt x="436" y="534"/>
                  <a:pt x="436" y="534"/>
                </a:cubicBezTo>
                <a:cubicBezTo>
                  <a:pt x="436" y="534"/>
                  <a:pt x="436" y="534"/>
                  <a:pt x="436" y="534"/>
                </a:cubicBezTo>
                <a:close/>
                <a:moveTo>
                  <a:pt x="436" y="534"/>
                </a:moveTo>
                <a:cubicBezTo>
                  <a:pt x="436" y="534"/>
                  <a:pt x="436" y="534"/>
                  <a:pt x="435" y="534"/>
                </a:cubicBezTo>
                <a:cubicBezTo>
                  <a:pt x="435" y="534"/>
                  <a:pt x="435" y="534"/>
                  <a:pt x="435" y="535"/>
                </a:cubicBezTo>
                <a:cubicBezTo>
                  <a:pt x="435" y="535"/>
                  <a:pt x="435" y="535"/>
                  <a:pt x="436" y="534"/>
                </a:cubicBezTo>
                <a:cubicBezTo>
                  <a:pt x="436" y="534"/>
                  <a:pt x="436" y="534"/>
                  <a:pt x="436" y="534"/>
                </a:cubicBezTo>
                <a:close/>
                <a:moveTo>
                  <a:pt x="428" y="534"/>
                </a:moveTo>
                <a:cubicBezTo>
                  <a:pt x="428" y="535"/>
                  <a:pt x="428" y="535"/>
                  <a:pt x="429" y="535"/>
                </a:cubicBezTo>
                <a:cubicBezTo>
                  <a:pt x="429" y="534"/>
                  <a:pt x="429" y="534"/>
                  <a:pt x="428" y="534"/>
                </a:cubicBezTo>
                <a:cubicBezTo>
                  <a:pt x="428" y="535"/>
                  <a:pt x="428" y="534"/>
                  <a:pt x="428" y="534"/>
                </a:cubicBezTo>
                <a:close/>
                <a:moveTo>
                  <a:pt x="530" y="527"/>
                </a:moveTo>
                <a:cubicBezTo>
                  <a:pt x="530" y="527"/>
                  <a:pt x="529" y="527"/>
                  <a:pt x="529" y="526"/>
                </a:cubicBezTo>
                <a:cubicBezTo>
                  <a:pt x="528" y="528"/>
                  <a:pt x="530" y="527"/>
                  <a:pt x="530" y="527"/>
                </a:cubicBezTo>
                <a:cubicBezTo>
                  <a:pt x="529" y="527"/>
                  <a:pt x="530" y="527"/>
                  <a:pt x="530" y="527"/>
                </a:cubicBezTo>
                <a:close/>
                <a:moveTo>
                  <a:pt x="1410" y="525"/>
                </a:moveTo>
                <a:cubicBezTo>
                  <a:pt x="1410" y="526"/>
                  <a:pt x="1410" y="526"/>
                  <a:pt x="1410" y="526"/>
                </a:cubicBezTo>
                <a:cubicBezTo>
                  <a:pt x="1410" y="527"/>
                  <a:pt x="1410" y="526"/>
                  <a:pt x="1410" y="527"/>
                </a:cubicBezTo>
                <a:cubicBezTo>
                  <a:pt x="1410" y="527"/>
                  <a:pt x="1410" y="527"/>
                  <a:pt x="1410" y="528"/>
                </a:cubicBezTo>
                <a:cubicBezTo>
                  <a:pt x="1410" y="528"/>
                  <a:pt x="1410" y="528"/>
                  <a:pt x="1409" y="528"/>
                </a:cubicBezTo>
                <a:cubicBezTo>
                  <a:pt x="1409" y="528"/>
                  <a:pt x="1408" y="528"/>
                  <a:pt x="1408" y="528"/>
                </a:cubicBezTo>
                <a:cubicBezTo>
                  <a:pt x="1408" y="528"/>
                  <a:pt x="1408" y="528"/>
                  <a:pt x="1408" y="528"/>
                </a:cubicBezTo>
                <a:cubicBezTo>
                  <a:pt x="1407" y="529"/>
                  <a:pt x="1407" y="529"/>
                  <a:pt x="1407" y="530"/>
                </a:cubicBezTo>
                <a:cubicBezTo>
                  <a:pt x="1407" y="531"/>
                  <a:pt x="1405" y="530"/>
                  <a:pt x="1405" y="530"/>
                </a:cubicBezTo>
                <a:cubicBezTo>
                  <a:pt x="1403" y="530"/>
                  <a:pt x="1404" y="530"/>
                  <a:pt x="1404" y="531"/>
                </a:cubicBezTo>
                <a:cubicBezTo>
                  <a:pt x="1403" y="531"/>
                  <a:pt x="1402" y="531"/>
                  <a:pt x="1401" y="532"/>
                </a:cubicBezTo>
                <a:cubicBezTo>
                  <a:pt x="1401" y="531"/>
                  <a:pt x="1401" y="530"/>
                  <a:pt x="1401" y="530"/>
                </a:cubicBezTo>
                <a:cubicBezTo>
                  <a:pt x="1401" y="529"/>
                  <a:pt x="1401" y="530"/>
                  <a:pt x="1401" y="529"/>
                </a:cubicBezTo>
                <a:cubicBezTo>
                  <a:pt x="1400" y="530"/>
                  <a:pt x="1398" y="529"/>
                  <a:pt x="1398" y="531"/>
                </a:cubicBezTo>
                <a:cubicBezTo>
                  <a:pt x="1398" y="533"/>
                  <a:pt x="1393" y="531"/>
                  <a:pt x="1394" y="534"/>
                </a:cubicBezTo>
                <a:cubicBezTo>
                  <a:pt x="1395" y="535"/>
                  <a:pt x="1394" y="535"/>
                  <a:pt x="1394" y="535"/>
                </a:cubicBezTo>
                <a:cubicBezTo>
                  <a:pt x="1394" y="536"/>
                  <a:pt x="1394" y="536"/>
                  <a:pt x="1393" y="537"/>
                </a:cubicBezTo>
                <a:cubicBezTo>
                  <a:pt x="1393" y="537"/>
                  <a:pt x="1393" y="538"/>
                  <a:pt x="1393" y="538"/>
                </a:cubicBezTo>
                <a:cubicBezTo>
                  <a:pt x="1394" y="538"/>
                  <a:pt x="1394" y="538"/>
                  <a:pt x="1395" y="537"/>
                </a:cubicBezTo>
                <a:cubicBezTo>
                  <a:pt x="1395" y="536"/>
                  <a:pt x="1395" y="536"/>
                  <a:pt x="1395" y="535"/>
                </a:cubicBezTo>
                <a:cubicBezTo>
                  <a:pt x="1396" y="535"/>
                  <a:pt x="1396" y="535"/>
                  <a:pt x="1397" y="535"/>
                </a:cubicBezTo>
                <a:cubicBezTo>
                  <a:pt x="1397" y="535"/>
                  <a:pt x="1397" y="536"/>
                  <a:pt x="1398" y="536"/>
                </a:cubicBezTo>
                <a:cubicBezTo>
                  <a:pt x="1398" y="536"/>
                  <a:pt x="1399" y="536"/>
                  <a:pt x="1399" y="536"/>
                </a:cubicBezTo>
                <a:cubicBezTo>
                  <a:pt x="1400" y="536"/>
                  <a:pt x="1400" y="536"/>
                  <a:pt x="1401" y="536"/>
                </a:cubicBezTo>
                <a:cubicBezTo>
                  <a:pt x="1401" y="536"/>
                  <a:pt x="1401" y="536"/>
                  <a:pt x="1401" y="535"/>
                </a:cubicBezTo>
                <a:cubicBezTo>
                  <a:pt x="1401" y="536"/>
                  <a:pt x="1402" y="535"/>
                  <a:pt x="1402" y="536"/>
                </a:cubicBezTo>
                <a:cubicBezTo>
                  <a:pt x="1402" y="536"/>
                  <a:pt x="1402" y="536"/>
                  <a:pt x="1402" y="536"/>
                </a:cubicBezTo>
                <a:cubicBezTo>
                  <a:pt x="1403" y="536"/>
                  <a:pt x="1403" y="536"/>
                  <a:pt x="1403" y="536"/>
                </a:cubicBezTo>
                <a:cubicBezTo>
                  <a:pt x="1403" y="537"/>
                  <a:pt x="1404" y="536"/>
                  <a:pt x="1404" y="537"/>
                </a:cubicBezTo>
                <a:cubicBezTo>
                  <a:pt x="1404" y="537"/>
                  <a:pt x="1404" y="537"/>
                  <a:pt x="1404" y="537"/>
                </a:cubicBezTo>
                <a:cubicBezTo>
                  <a:pt x="1404" y="538"/>
                  <a:pt x="1403" y="537"/>
                  <a:pt x="1403" y="538"/>
                </a:cubicBezTo>
                <a:cubicBezTo>
                  <a:pt x="1403" y="538"/>
                  <a:pt x="1403" y="538"/>
                  <a:pt x="1402" y="539"/>
                </a:cubicBezTo>
                <a:cubicBezTo>
                  <a:pt x="1402" y="539"/>
                  <a:pt x="1402" y="540"/>
                  <a:pt x="1402" y="540"/>
                </a:cubicBezTo>
                <a:cubicBezTo>
                  <a:pt x="1402" y="541"/>
                  <a:pt x="1402" y="542"/>
                  <a:pt x="1403" y="543"/>
                </a:cubicBezTo>
                <a:cubicBezTo>
                  <a:pt x="1404" y="543"/>
                  <a:pt x="1404" y="543"/>
                  <a:pt x="1405" y="543"/>
                </a:cubicBezTo>
                <a:cubicBezTo>
                  <a:pt x="1405" y="544"/>
                  <a:pt x="1405" y="545"/>
                  <a:pt x="1406" y="545"/>
                </a:cubicBezTo>
                <a:cubicBezTo>
                  <a:pt x="1407" y="545"/>
                  <a:pt x="1408" y="544"/>
                  <a:pt x="1409" y="544"/>
                </a:cubicBezTo>
                <a:cubicBezTo>
                  <a:pt x="1409" y="545"/>
                  <a:pt x="1408" y="546"/>
                  <a:pt x="1409" y="546"/>
                </a:cubicBezTo>
                <a:cubicBezTo>
                  <a:pt x="1410" y="546"/>
                  <a:pt x="1411" y="544"/>
                  <a:pt x="1411" y="543"/>
                </a:cubicBezTo>
                <a:cubicBezTo>
                  <a:pt x="1411" y="543"/>
                  <a:pt x="1411" y="543"/>
                  <a:pt x="1411" y="543"/>
                </a:cubicBezTo>
                <a:cubicBezTo>
                  <a:pt x="1411" y="543"/>
                  <a:pt x="1411" y="542"/>
                  <a:pt x="1411" y="542"/>
                </a:cubicBezTo>
                <a:cubicBezTo>
                  <a:pt x="1411" y="542"/>
                  <a:pt x="1410" y="542"/>
                  <a:pt x="1410" y="542"/>
                </a:cubicBezTo>
                <a:cubicBezTo>
                  <a:pt x="1410" y="541"/>
                  <a:pt x="1410" y="541"/>
                  <a:pt x="1410" y="540"/>
                </a:cubicBezTo>
                <a:cubicBezTo>
                  <a:pt x="1410" y="540"/>
                  <a:pt x="1411" y="540"/>
                  <a:pt x="1411" y="540"/>
                </a:cubicBezTo>
                <a:cubicBezTo>
                  <a:pt x="1411" y="540"/>
                  <a:pt x="1412" y="540"/>
                  <a:pt x="1412" y="540"/>
                </a:cubicBezTo>
                <a:cubicBezTo>
                  <a:pt x="1412" y="541"/>
                  <a:pt x="1412" y="542"/>
                  <a:pt x="1412" y="542"/>
                </a:cubicBezTo>
                <a:cubicBezTo>
                  <a:pt x="1412" y="541"/>
                  <a:pt x="1412" y="540"/>
                  <a:pt x="1411" y="539"/>
                </a:cubicBezTo>
                <a:cubicBezTo>
                  <a:pt x="1411" y="538"/>
                  <a:pt x="1412" y="537"/>
                  <a:pt x="1413" y="536"/>
                </a:cubicBezTo>
                <a:cubicBezTo>
                  <a:pt x="1413" y="536"/>
                  <a:pt x="1413" y="536"/>
                  <a:pt x="1413" y="536"/>
                </a:cubicBezTo>
                <a:cubicBezTo>
                  <a:pt x="1413" y="535"/>
                  <a:pt x="1413" y="536"/>
                  <a:pt x="1414" y="535"/>
                </a:cubicBezTo>
                <a:cubicBezTo>
                  <a:pt x="1414" y="535"/>
                  <a:pt x="1414" y="534"/>
                  <a:pt x="1415" y="534"/>
                </a:cubicBezTo>
                <a:cubicBezTo>
                  <a:pt x="1415" y="532"/>
                  <a:pt x="1414" y="530"/>
                  <a:pt x="1414" y="528"/>
                </a:cubicBezTo>
                <a:cubicBezTo>
                  <a:pt x="1413" y="527"/>
                  <a:pt x="1413" y="526"/>
                  <a:pt x="1413" y="525"/>
                </a:cubicBezTo>
                <a:cubicBezTo>
                  <a:pt x="1412" y="525"/>
                  <a:pt x="1411" y="525"/>
                  <a:pt x="1410" y="525"/>
                </a:cubicBezTo>
                <a:close/>
                <a:moveTo>
                  <a:pt x="1203" y="533"/>
                </a:moveTo>
                <a:cubicBezTo>
                  <a:pt x="1201" y="533"/>
                  <a:pt x="1201" y="532"/>
                  <a:pt x="1201" y="531"/>
                </a:cubicBezTo>
                <a:cubicBezTo>
                  <a:pt x="1201" y="530"/>
                  <a:pt x="1200" y="530"/>
                  <a:pt x="1200" y="529"/>
                </a:cubicBezTo>
                <a:cubicBezTo>
                  <a:pt x="1200" y="529"/>
                  <a:pt x="1199" y="529"/>
                  <a:pt x="1199" y="528"/>
                </a:cubicBezTo>
                <a:cubicBezTo>
                  <a:pt x="1199" y="527"/>
                  <a:pt x="1197" y="527"/>
                  <a:pt x="1197" y="527"/>
                </a:cubicBezTo>
                <a:cubicBezTo>
                  <a:pt x="1197" y="526"/>
                  <a:pt x="1197" y="526"/>
                  <a:pt x="1197" y="525"/>
                </a:cubicBezTo>
                <a:cubicBezTo>
                  <a:pt x="1197" y="525"/>
                  <a:pt x="1197" y="524"/>
                  <a:pt x="1196" y="524"/>
                </a:cubicBezTo>
                <a:cubicBezTo>
                  <a:pt x="1196" y="524"/>
                  <a:pt x="1196" y="523"/>
                  <a:pt x="1196" y="523"/>
                </a:cubicBezTo>
                <a:cubicBezTo>
                  <a:pt x="1196" y="523"/>
                  <a:pt x="1195" y="523"/>
                  <a:pt x="1195" y="523"/>
                </a:cubicBezTo>
                <a:cubicBezTo>
                  <a:pt x="1194" y="523"/>
                  <a:pt x="1194" y="524"/>
                  <a:pt x="1194" y="525"/>
                </a:cubicBezTo>
                <a:cubicBezTo>
                  <a:pt x="1195" y="525"/>
                  <a:pt x="1195" y="526"/>
                  <a:pt x="1195" y="527"/>
                </a:cubicBezTo>
                <a:cubicBezTo>
                  <a:pt x="1194" y="527"/>
                  <a:pt x="1194" y="528"/>
                  <a:pt x="1194" y="529"/>
                </a:cubicBezTo>
                <a:cubicBezTo>
                  <a:pt x="1194" y="529"/>
                  <a:pt x="1194" y="531"/>
                  <a:pt x="1194" y="531"/>
                </a:cubicBezTo>
                <a:cubicBezTo>
                  <a:pt x="1194" y="531"/>
                  <a:pt x="1193" y="532"/>
                  <a:pt x="1193" y="532"/>
                </a:cubicBezTo>
                <a:cubicBezTo>
                  <a:pt x="1192" y="533"/>
                  <a:pt x="1193" y="533"/>
                  <a:pt x="1193" y="534"/>
                </a:cubicBezTo>
                <a:cubicBezTo>
                  <a:pt x="1193" y="534"/>
                  <a:pt x="1193" y="534"/>
                  <a:pt x="1193" y="534"/>
                </a:cubicBezTo>
                <a:cubicBezTo>
                  <a:pt x="1193" y="534"/>
                  <a:pt x="1193" y="535"/>
                  <a:pt x="1193" y="535"/>
                </a:cubicBezTo>
                <a:cubicBezTo>
                  <a:pt x="1194" y="535"/>
                  <a:pt x="1194" y="537"/>
                  <a:pt x="1194" y="538"/>
                </a:cubicBezTo>
                <a:cubicBezTo>
                  <a:pt x="1194" y="539"/>
                  <a:pt x="1194" y="540"/>
                  <a:pt x="1194" y="541"/>
                </a:cubicBezTo>
                <a:cubicBezTo>
                  <a:pt x="1194" y="542"/>
                  <a:pt x="1194" y="542"/>
                  <a:pt x="1195" y="542"/>
                </a:cubicBezTo>
                <a:cubicBezTo>
                  <a:pt x="1196" y="543"/>
                  <a:pt x="1196" y="544"/>
                  <a:pt x="1196" y="544"/>
                </a:cubicBezTo>
                <a:cubicBezTo>
                  <a:pt x="1197" y="544"/>
                  <a:pt x="1197" y="544"/>
                  <a:pt x="1199" y="544"/>
                </a:cubicBezTo>
                <a:cubicBezTo>
                  <a:pt x="1199" y="543"/>
                  <a:pt x="1200" y="543"/>
                  <a:pt x="1200" y="543"/>
                </a:cubicBezTo>
                <a:cubicBezTo>
                  <a:pt x="1201" y="543"/>
                  <a:pt x="1200" y="542"/>
                  <a:pt x="1201" y="542"/>
                </a:cubicBezTo>
                <a:cubicBezTo>
                  <a:pt x="1202" y="542"/>
                  <a:pt x="1201" y="542"/>
                  <a:pt x="1201" y="542"/>
                </a:cubicBezTo>
                <a:cubicBezTo>
                  <a:pt x="1202" y="541"/>
                  <a:pt x="1203" y="541"/>
                  <a:pt x="1203" y="540"/>
                </a:cubicBezTo>
                <a:cubicBezTo>
                  <a:pt x="1203" y="539"/>
                  <a:pt x="1203" y="538"/>
                  <a:pt x="1203" y="537"/>
                </a:cubicBezTo>
                <a:cubicBezTo>
                  <a:pt x="1204" y="536"/>
                  <a:pt x="1204" y="536"/>
                  <a:pt x="1203" y="535"/>
                </a:cubicBezTo>
                <a:cubicBezTo>
                  <a:pt x="1203" y="535"/>
                  <a:pt x="1203" y="534"/>
                  <a:pt x="1203" y="533"/>
                </a:cubicBezTo>
                <a:cubicBezTo>
                  <a:pt x="1202" y="533"/>
                  <a:pt x="1203" y="533"/>
                  <a:pt x="1203" y="533"/>
                </a:cubicBezTo>
                <a:close/>
                <a:moveTo>
                  <a:pt x="1403" y="522"/>
                </a:moveTo>
                <a:cubicBezTo>
                  <a:pt x="1404" y="522"/>
                  <a:pt x="1405" y="523"/>
                  <a:pt x="1406" y="523"/>
                </a:cubicBezTo>
                <a:cubicBezTo>
                  <a:pt x="1407" y="522"/>
                  <a:pt x="1407" y="522"/>
                  <a:pt x="1407" y="521"/>
                </a:cubicBezTo>
                <a:cubicBezTo>
                  <a:pt x="1406" y="520"/>
                  <a:pt x="1405" y="520"/>
                  <a:pt x="1404" y="521"/>
                </a:cubicBezTo>
                <a:cubicBezTo>
                  <a:pt x="1403" y="521"/>
                  <a:pt x="1403" y="521"/>
                  <a:pt x="1403" y="522"/>
                </a:cubicBezTo>
                <a:cubicBezTo>
                  <a:pt x="1404" y="522"/>
                  <a:pt x="1403" y="522"/>
                  <a:pt x="1403" y="522"/>
                </a:cubicBezTo>
                <a:close/>
                <a:moveTo>
                  <a:pt x="1397" y="518"/>
                </a:moveTo>
                <a:cubicBezTo>
                  <a:pt x="1397" y="518"/>
                  <a:pt x="1397" y="518"/>
                  <a:pt x="1396" y="519"/>
                </a:cubicBezTo>
                <a:cubicBezTo>
                  <a:pt x="1397" y="519"/>
                  <a:pt x="1397" y="519"/>
                  <a:pt x="1397" y="519"/>
                </a:cubicBezTo>
                <a:cubicBezTo>
                  <a:pt x="1397" y="518"/>
                  <a:pt x="1397" y="518"/>
                  <a:pt x="1397" y="518"/>
                </a:cubicBezTo>
                <a:close/>
                <a:moveTo>
                  <a:pt x="1257" y="518"/>
                </a:moveTo>
                <a:cubicBezTo>
                  <a:pt x="1257" y="518"/>
                  <a:pt x="1257" y="518"/>
                  <a:pt x="1257" y="519"/>
                </a:cubicBezTo>
                <a:cubicBezTo>
                  <a:pt x="1257" y="518"/>
                  <a:pt x="1257" y="518"/>
                  <a:pt x="1258" y="518"/>
                </a:cubicBezTo>
                <a:cubicBezTo>
                  <a:pt x="1257" y="518"/>
                  <a:pt x="1258" y="518"/>
                  <a:pt x="1257" y="518"/>
                </a:cubicBezTo>
                <a:close/>
                <a:moveTo>
                  <a:pt x="1398" y="520"/>
                </a:moveTo>
                <a:cubicBezTo>
                  <a:pt x="1397" y="520"/>
                  <a:pt x="1397" y="520"/>
                  <a:pt x="1396" y="520"/>
                </a:cubicBezTo>
                <a:cubicBezTo>
                  <a:pt x="1395" y="521"/>
                  <a:pt x="1395" y="520"/>
                  <a:pt x="1395" y="522"/>
                </a:cubicBezTo>
                <a:cubicBezTo>
                  <a:pt x="1395" y="522"/>
                  <a:pt x="1395" y="522"/>
                  <a:pt x="1395" y="523"/>
                </a:cubicBezTo>
                <a:cubicBezTo>
                  <a:pt x="1396" y="523"/>
                  <a:pt x="1396" y="524"/>
                  <a:pt x="1396" y="524"/>
                </a:cubicBezTo>
                <a:cubicBezTo>
                  <a:pt x="1397" y="524"/>
                  <a:pt x="1397" y="524"/>
                  <a:pt x="1397" y="524"/>
                </a:cubicBezTo>
                <a:cubicBezTo>
                  <a:pt x="1397" y="524"/>
                  <a:pt x="1398" y="524"/>
                  <a:pt x="1398" y="524"/>
                </a:cubicBezTo>
                <a:cubicBezTo>
                  <a:pt x="1398" y="525"/>
                  <a:pt x="1398" y="525"/>
                  <a:pt x="1399" y="525"/>
                </a:cubicBezTo>
                <a:cubicBezTo>
                  <a:pt x="1400" y="525"/>
                  <a:pt x="1399" y="524"/>
                  <a:pt x="1399" y="524"/>
                </a:cubicBezTo>
                <a:cubicBezTo>
                  <a:pt x="1399" y="522"/>
                  <a:pt x="1399" y="521"/>
                  <a:pt x="1400" y="520"/>
                </a:cubicBezTo>
                <a:cubicBezTo>
                  <a:pt x="1400" y="520"/>
                  <a:pt x="1400" y="519"/>
                  <a:pt x="1400" y="519"/>
                </a:cubicBezTo>
                <a:cubicBezTo>
                  <a:pt x="1400" y="519"/>
                  <a:pt x="1401" y="518"/>
                  <a:pt x="1401" y="518"/>
                </a:cubicBezTo>
                <a:cubicBezTo>
                  <a:pt x="1401" y="518"/>
                  <a:pt x="1401" y="517"/>
                  <a:pt x="1401" y="517"/>
                </a:cubicBezTo>
                <a:cubicBezTo>
                  <a:pt x="1401" y="517"/>
                  <a:pt x="1401" y="516"/>
                  <a:pt x="1400" y="516"/>
                </a:cubicBezTo>
                <a:cubicBezTo>
                  <a:pt x="1400" y="516"/>
                  <a:pt x="1399" y="516"/>
                  <a:pt x="1399" y="516"/>
                </a:cubicBezTo>
                <a:cubicBezTo>
                  <a:pt x="1398" y="517"/>
                  <a:pt x="1399" y="519"/>
                  <a:pt x="1398" y="520"/>
                </a:cubicBezTo>
                <a:close/>
                <a:moveTo>
                  <a:pt x="527" y="516"/>
                </a:moveTo>
                <a:cubicBezTo>
                  <a:pt x="527" y="516"/>
                  <a:pt x="526" y="516"/>
                  <a:pt x="526" y="516"/>
                </a:cubicBezTo>
                <a:cubicBezTo>
                  <a:pt x="525" y="516"/>
                  <a:pt x="525" y="516"/>
                  <a:pt x="525" y="516"/>
                </a:cubicBezTo>
                <a:cubicBezTo>
                  <a:pt x="525" y="517"/>
                  <a:pt x="525" y="518"/>
                  <a:pt x="525" y="519"/>
                </a:cubicBezTo>
                <a:cubicBezTo>
                  <a:pt x="525" y="519"/>
                  <a:pt x="526" y="520"/>
                  <a:pt x="527" y="519"/>
                </a:cubicBezTo>
                <a:cubicBezTo>
                  <a:pt x="527" y="519"/>
                  <a:pt x="528" y="519"/>
                  <a:pt x="527" y="518"/>
                </a:cubicBezTo>
                <a:cubicBezTo>
                  <a:pt x="527" y="517"/>
                  <a:pt x="527" y="517"/>
                  <a:pt x="527" y="516"/>
                </a:cubicBezTo>
                <a:close/>
                <a:moveTo>
                  <a:pt x="1404" y="519"/>
                </a:moveTo>
                <a:cubicBezTo>
                  <a:pt x="1404" y="518"/>
                  <a:pt x="1404" y="517"/>
                  <a:pt x="1404" y="516"/>
                </a:cubicBezTo>
                <a:cubicBezTo>
                  <a:pt x="1404" y="515"/>
                  <a:pt x="1403" y="515"/>
                  <a:pt x="1403" y="515"/>
                </a:cubicBezTo>
                <a:cubicBezTo>
                  <a:pt x="1403" y="516"/>
                  <a:pt x="1403" y="516"/>
                  <a:pt x="1403" y="516"/>
                </a:cubicBezTo>
                <a:cubicBezTo>
                  <a:pt x="1403" y="517"/>
                  <a:pt x="1402" y="517"/>
                  <a:pt x="1402" y="518"/>
                </a:cubicBezTo>
                <a:cubicBezTo>
                  <a:pt x="1402" y="518"/>
                  <a:pt x="1402" y="518"/>
                  <a:pt x="1402" y="519"/>
                </a:cubicBezTo>
                <a:cubicBezTo>
                  <a:pt x="1401" y="519"/>
                  <a:pt x="1401" y="519"/>
                  <a:pt x="1401" y="520"/>
                </a:cubicBezTo>
                <a:cubicBezTo>
                  <a:pt x="1400" y="521"/>
                  <a:pt x="1400" y="522"/>
                  <a:pt x="1400" y="523"/>
                </a:cubicBezTo>
                <a:cubicBezTo>
                  <a:pt x="1401" y="523"/>
                  <a:pt x="1402" y="522"/>
                  <a:pt x="1402" y="521"/>
                </a:cubicBezTo>
                <a:cubicBezTo>
                  <a:pt x="1402" y="520"/>
                  <a:pt x="1403" y="519"/>
                  <a:pt x="1404" y="519"/>
                </a:cubicBezTo>
                <a:cubicBezTo>
                  <a:pt x="1404" y="519"/>
                  <a:pt x="1404" y="519"/>
                  <a:pt x="1404" y="519"/>
                </a:cubicBezTo>
                <a:close/>
                <a:moveTo>
                  <a:pt x="514" y="515"/>
                </a:moveTo>
                <a:cubicBezTo>
                  <a:pt x="516" y="515"/>
                  <a:pt x="513" y="514"/>
                  <a:pt x="514" y="515"/>
                </a:cubicBezTo>
                <a:cubicBezTo>
                  <a:pt x="514" y="515"/>
                  <a:pt x="514" y="515"/>
                  <a:pt x="514" y="515"/>
                </a:cubicBezTo>
                <a:close/>
                <a:moveTo>
                  <a:pt x="1378" y="521"/>
                </a:moveTo>
                <a:cubicBezTo>
                  <a:pt x="1378" y="521"/>
                  <a:pt x="1377" y="522"/>
                  <a:pt x="1377" y="523"/>
                </a:cubicBezTo>
                <a:cubicBezTo>
                  <a:pt x="1376" y="524"/>
                  <a:pt x="1376" y="524"/>
                  <a:pt x="1375" y="524"/>
                </a:cubicBezTo>
                <a:cubicBezTo>
                  <a:pt x="1375" y="525"/>
                  <a:pt x="1376" y="525"/>
                  <a:pt x="1375" y="526"/>
                </a:cubicBezTo>
                <a:cubicBezTo>
                  <a:pt x="1374" y="526"/>
                  <a:pt x="1373" y="526"/>
                  <a:pt x="1373" y="526"/>
                </a:cubicBezTo>
                <a:cubicBezTo>
                  <a:pt x="1373" y="527"/>
                  <a:pt x="1372" y="526"/>
                  <a:pt x="1372" y="527"/>
                </a:cubicBezTo>
                <a:cubicBezTo>
                  <a:pt x="1372" y="527"/>
                  <a:pt x="1371" y="528"/>
                  <a:pt x="1371" y="528"/>
                </a:cubicBezTo>
                <a:cubicBezTo>
                  <a:pt x="1371" y="529"/>
                  <a:pt x="1370" y="530"/>
                  <a:pt x="1370" y="530"/>
                </a:cubicBezTo>
                <a:cubicBezTo>
                  <a:pt x="1371" y="531"/>
                  <a:pt x="1371" y="529"/>
                  <a:pt x="1372" y="529"/>
                </a:cubicBezTo>
                <a:cubicBezTo>
                  <a:pt x="1372" y="529"/>
                  <a:pt x="1372" y="529"/>
                  <a:pt x="1373" y="529"/>
                </a:cubicBezTo>
                <a:cubicBezTo>
                  <a:pt x="1373" y="529"/>
                  <a:pt x="1374" y="528"/>
                  <a:pt x="1374" y="528"/>
                </a:cubicBezTo>
                <a:cubicBezTo>
                  <a:pt x="1375" y="528"/>
                  <a:pt x="1374" y="528"/>
                  <a:pt x="1375" y="528"/>
                </a:cubicBezTo>
                <a:cubicBezTo>
                  <a:pt x="1375" y="528"/>
                  <a:pt x="1375" y="527"/>
                  <a:pt x="1376" y="527"/>
                </a:cubicBezTo>
                <a:cubicBezTo>
                  <a:pt x="1376" y="527"/>
                  <a:pt x="1376" y="527"/>
                  <a:pt x="1377" y="527"/>
                </a:cubicBezTo>
                <a:cubicBezTo>
                  <a:pt x="1377" y="525"/>
                  <a:pt x="1378" y="524"/>
                  <a:pt x="1379" y="522"/>
                </a:cubicBezTo>
                <a:cubicBezTo>
                  <a:pt x="1379" y="522"/>
                  <a:pt x="1381" y="521"/>
                  <a:pt x="1381" y="521"/>
                </a:cubicBezTo>
                <a:cubicBezTo>
                  <a:pt x="1381" y="520"/>
                  <a:pt x="1381" y="520"/>
                  <a:pt x="1382" y="519"/>
                </a:cubicBezTo>
                <a:cubicBezTo>
                  <a:pt x="1383" y="519"/>
                  <a:pt x="1383" y="519"/>
                  <a:pt x="1383" y="519"/>
                </a:cubicBezTo>
                <a:cubicBezTo>
                  <a:pt x="1383" y="518"/>
                  <a:pt x="1382" y="516"/>
                  <a:pt x="1383" y="516"/>
                </a:cubicBezTo>
                <a:cubicBezTo>
                  <a:pt x="1382" y="515"/>
                  <a:pt x="1382" y="515"/>
                  <a:pt x="1382" y="514"/>
                </a:cubicBezTo>
                <a:cubicBezTo>
                  <a:pt x="1381" y="514"/>
                  <a:pt x="1381" y="514"/>
                  <a:pt x="1381" y="515"/>
                </a:cubicBezTo>
                <a:cubicBezTo>
                  <a:pt x="1381" y="515"/>
                  <a:pt x="1381" y="516"/>
                  <a:pt x="1381" y="516"/>
                </a:cubicBezTo>
                <a:cubicBezTo>
                  <a:pt x="1380" y="516"/>
                  <a:pt x="1380" y="518"/>
                  <a:pt x="1379" y="518"/>
                </a:cubicBezTo>
                <a:cubicBezTo>
                  <a:pt x="1379" y="519"/>
                  <a:pt x="1379" y="518"/>
                  <a:pt x="1379" y="519"/>
                </a:cubicBezTo>
                <a:cubicBezTo>
                  <a:pt x="1379" y="519"/>
                  <a:pt x="1379" y="519"/>
                  <a:pt x="1379" y="520"/>
                </a:cubicBezTo>
                <a:cubicBezTo>
                  <a:pt x="1379" y="520"/>
                  <a:pt x="1378" y="520"/>
                  <a:pt x="1378" y="521"/>
                </a:cubicBezTo>
                <a:cubicBezTo>
                  <a:pt x="1378" y="521"/>
                  <a:pt x="1378" y="521"/>
                  <a:pt x="1378" y="521"/>
                </a:cubicBezTo>
                <a:close/>
                <a:moveTo>
                  <a:pt x="1409" y="514"/>
                </a:moveTo>
                <a:cubicBezTo>
                  <a:pt x="1408" y="514"/>
                  <a:pt x="1407" y="514"/>
                  <a:pt x="1406" y="514"/>
                </a:cubicBezTo>
                <a:cubicBezTo>
                  <a:pt x="1406" y="515"/>
                  <a:pt x="1406" y="515"/>
                  <a:pt x="1408" y="515"/>
                </a:cubicBezTo>
                <a:cubicBezTo>
                  <a:pt x="1408" y="515"/>
                  <a:pt x="1408" y="515"/>
                  <a:pt x="1408" y="516"/>
                </a:cubicBezTo>
                <a:cubicBezTo>
                  <a:pt x="1408" y="516"/>
                  <a:pt x="1408" y="516"/>
                  <a:pt x="1407" y="516"/>
                </a:cubicBezTo>
                <a:cubicBezTo>
                  <a:pt x="1407" y="517"/>
                  <a:pt x="1408" y="518"/>
                  <a:pt x="1408" y="519"/>
                </a:cubicBezTo>
                <a:cubicBezTo>
                  <a:pt x="1408" y="519"/>
                  <a:pt x="1409" y="520"/>
                  <a:pt x="1409" y="520"/>
                </a:cubicBezTo>
                <a:cubicBezTo>
                  <a:pt x="1409" y="521"/>
                  <a:pt x="1410" y="520"/>
                  <a:pt x="1410" y="520"/>
                </a:cubicBezTo>
                <a:cubicBezTo>
                  <a:pt x="1410" y="521"/>
                  <a:pt x="1411" y="520"/>
                  <a:pt x="1411" y="520"/>
                </a:cubicBezTo>
                <a:cubicBezTo>
                  <a:pt x="1411" y="520"/>
                  <a:pt x="1410" y="520"/>
                  <a:pt x="1410" y="520"/>
                </a:cubicBezTo>
                <a:cubicBezTo>
                  <a:pt x="1410" y="519"/>
                  <a:pt x="1410" y="518"/>
                  <a:pt x="1410" y="518"/>
                </a:cubicBezTo>
                <a:cubicBezTo>
                  <a:pt x="1410" y="518"/>
                  <a:pt x="1410" y="518"/>
                  <a:pt x="1410" y="518"/>
                </a:cubicBezTo>
                <a:cubicBezTo>
                  <a:pt x="1410" y="517"/>
                  <a:pt x="1410" y="517"/>
                  <a:pt x="1410" y="517"/>
                </a:cubicBezTo>
                <a:cubicBezTo>
                  <a:pt x="1409" y="516"/>
                  <a:pt x="1409" y="516"/>
                  <a:pt x="1410" y="515"/>
                </a:cubicBezTo>
                <a:cubicBezTo>
                  <a:pt x="1410" y="514"/>
                  <a:pt x="1409" y="515"/>
                  <a:pt x="1409" y="514"/>
                </a:cubicBezTo>
                <a:cubicBezTo>
                  <a:pt x="1408" y="514"/>
                  <a:pt x="1409" y="514"/>
                  <a:pt x="1409" y="514"/>
                </a:cubicBezTo>
                <a:close/>
                <a:moveTo>
                  <a:pt x="1393" y="519"/>
                </a:moveTo>
                <a:cubicBezTo>
                  <a:pt x="1394" y="519"/>
                  <a:pt x="1395" y="518"/>
                  <a:pt x="1395" y="518"/>
                </a:cubicBezTo>
                <a:cubicBezTo>
                  <a:pt x="1396" y="517"/>
                  <a:pt x="1397" y="517"/>
                  <a:pt x="1397" y="517"/>
                </a:cubicBezTo>
                <a:cubicBezTo>
                  <a:pt x="1397" y="517"/>
                  <a:pt x="1398" y="516"/>
                  <a:pt x="1398" y="516"/>
                </a:cubicBezTo>
                <a:cubicBezTo>
                  <a:pt x="1398" y="515"/>
                  <a:pt x="1399" y="513"/>
                  <a:pt x="1398" y="513"/>
                </a:cubicBezTo>
                <a:cubicBezTo>
                  <a:pt x="1396" y="513"/>
                  <a:pt x="1395" y="512"/>
                  <a:pt x="1394" y="512"/>
                </a:cubicBezTo>
                <a:cubicBezTo>
                  <a:pt x="1394" y="514"/>
                  <a:pt x="1394" y="516"/>
                  <a:pt x="1393" y="517"/>
                </a:cubicBezTo>
                <a:cubicBezTo>
                  <a:pt x="1393" y="517"/>
                  <a:pt x="1393" y="518"/>
                  <a:pt x="1393" y="519"/>
                </a:cubicBezTo>
                <a:cubicBezTo>
                  <a:pt x="1395" y="518"/>
                  <a:pt x="1393" y="519"/>
                  <a:pt x="1393" y="519"/>
                </a:cubicBezTo>
                <a:close/>
                <a:moveTo>
                  <a:pt x="1258" y="512"/>
                </a:moveTo>
                <a:cubicBezTo>
                  <a:pt x="1259" y="513"/>
                  <a:pt x="1259" y="511"/>
                  <a:pt x="1258" y="511"/>
                </a:cubicBezTo>
                <a:cubicBezTo>
                  <a:pt x="1258" y="511"/>
                  <a:pt x="1258" y="511"/>
                  <a:pt x="1258" y="512"/>
                </a:cubicBezTo>
                <a:close/>
                <a:moveTo>
                  <a:pt x="1404" y="511"/>
                </a:moveTo>
                <a:cubicBezTo>
                  <a:pt x="1402" y="510"/>
                  <a:pt x="1401" y="509"/>
                  <a:pt x="1400" y="509"/>
                </a:cubicBezTo>
                <a:cubicBezTo>
                  <a:pt x="1400" y="510"/>
                  <a:pt x="1399" y="511"/>
                  <a:pt x="1400" y="511"/>
                </a:cubicBezTo>
                <a:cubicBezTo>
                  <a:pt x="1401" y="511"/>
                  <a:pt x="1403" y="511"/>
                  <a:pt x="1404" y="512"/>
                </a:cubicBezTo>
                <a:cubicBezTo>
                  <a:pt x="1404" y="511"/>
                  <a:pt x="1404" y="511"/>
                  <a:pt x="1404" y="511"/>
                </a:cubicBezTo>
                <a:cubicBezTo>
                  <a:pt x="1402" y="510"/>
                  <a:pt x="1404" y="511"/>
                  <a:pt x="1404" y="511"/>
                </a:cubicBezTo>
                <a:close/>
                <a:moveTo>
                  <a:pt x="1383" y="510"/>
                </a:moveTo>
                <a:cubicBezTo>
                  <a:pt x="1384" y="510"/>
                  <a:pt x="1384" y="510"/>
                  <a:pt x="1385" y="511"/>
                </a:cubicBezTo>
                <a:cubicBezTo>
                  <a:pt x="1385" y="510"/>
                  <a:pt x="1384" y="509"/>
                  <a:pt x="1383" y="509"/>
                </a:cubicBezTo>
                <a:cubicBezTo>
                  <a:pt x="1383" y="509"/>
                  <a:pt x="1383" y="509"/>
                  <a:pt x="1383" y="509"/>
                </a:cubicBezTo>
                <a:cubicBezTo>
                  <a:pt x="1383" y="510"/>
                  <a:pt x="1383" y="510"/>
                  <a:pt x="1383" y="510"/>
                </a:cubicBezTo>
                <a:cubicBezTo>
                  <a:pt x="1384" y="510"/>
                  <a:pt x="1383" y="510"/>
                  <a:pt x="1383" y="510"/>
                </a:cubicBezTo>
                <a:close/>
                <a:moveTo>
                  <a:pt x="1259" y="508"/>
                </a:moveTo>
                <a:cubicBezTo>
                  <a:pt x="1259" y="508"/>
                  <a:pt x="1259" y="507"/>
                  <a:pt x="1259" y="508"/>
                </a:cubicBezTo>
                <a:cubicBezTo>
                  <a:pt x="1259" y="509"/>
                  <a:pt x="1259" y="509"/>
                  <a:pt x="1260" y="509"/>
                </a:cubicBezTo>
                <a:cubicBezTo>
                  <a:pt x="1259" y="509"/>
                  <a:pt x="1260" y="509"/>
                  <a:pt x="1259" y="508"/>
                </a:cubicBezTo>
                <a:close/>
                <a:moveTo>
                  <a:pt x="1074" y="508"/>
                </a:moveTo>
                <a:cubicBezTo>
                  <a:pt x="1074" y="508"/>
                  <a:pt x="1073" y="508"/>
                  <a:pt x="1073" y="508"/>
                </a:cubicBezTo>
                <a:cubicBezTo>
                  <a:pt x="1073" y="508"/>
                  <a:pt x="1073" y="508"/>
                  <a:pt x="1073" y="508"/>
                </a:cubicBezTo>
                <a:cubicBezTo>
                  <a:pt x="1072" y="508"/>
                  <a:pt x="1071" y="508"/>
                  <a:pt x="1070" y="508"/>
                </a:cubicBezTo>
                <a:cubicBezTo>
                  <a:pt x="1071" y="508"/>
                  <a:pt x="1072" y="508"/>
                  <a:pt x="1072" y="509"/>
                </a:cubicBezTo>
                <a:cubicBezTo>
                  <a:pt x="1072" y="509"/>
                  <a:pt x="1073" y="509"/>
                  <a:pt x="1074" y="509"/>
                </a:cubicBezTo>
                <a:cubicBezTo>
                  <a:pt x="1075" y="509"/>
                  <a:pt x="1075" y="508"/>
                  <a:pt x="1074" y="508"/>
                </a:cubicBezTo>
                <a:cubicBezTo>
                  <a:pt x="1074" y="508"/>
                  <a:pt x="1074" y="508"/>
                  <a:pt x="1074" y="508"/>
                </a:cubicBezTo>
                <a:close/>
                <a:moveTo>
                  <a:pt x="1395" y="508"/>
                </a:moveTo>
                <a:cubicBezTo>
                  <a:pt x="1395" y="507"/>
                  <a:pt x="1394" y="507"/>
                  <a:pt x="1393" y="507"/>
                </a:cubicBezTo>
                <a:cubicBezTo>
                  <a:pt x="1393" y="508"/>
                  <a:pt x="1394" y="508"/>
                  <a:pt x="1395" y="508"/>
                </a:cubicBezTo>
                <a:close/>
                <a:moveTo>
                  <a:pt x="1409" y="506"/>
                </a:moveTo>
                <a:cubicBezTo>
                  <a:pt x="1408" y="506"/>
                  <a:pt x="1407" y="506"/>
                  <a:pt x="1406" y="506"/>
                </a:cubicBezTo>
                <a:cubicBezTo>
                  <a:pt x="1405" y="507"/>
                  <a:pt x="1406" y="508"/>
                  <a:pt x="1405" y="507"/>
                </a:cubicBezTo>
                <a:cubicBezTo>
                  <a:pt x="1405" y="508"/>
                  <a:pt x="1406" y="509"/>
                  <a:pt x="1406" y="509"/>
                </a:cubicBezTo>
                <a:cubicBezTo>
                  <a:pt x="1406" y="510"/>
                  <a:pt x="1406" y="510"/>
                  <a:pt x="1407" y="510"/>
                </a:cubicBezTo>
                <a:cubicBezTo>
                  <a:pt x="1407" y="511"/>
                  <a:pt x="1407" y="511"/>
                  <a:pt x="1407" y="511"/>
                </a:cubicBezTo>
                <a:cubicBezTo>
                  <a:pt x="1408" y="511"/>
                  <a:pt x="1408" y="512"/>
                  <a:pt x="1408" y="513"/>
                </a:cubicBezTo>
                <a:cubicBezTo>
                  <a:pt x="1408" y="513"/>
                  <a:pt x="1408" y="513"/>
                  <a:pt x="1409" y="513"/>
                </a:cubicBezTo>
                <a:cubicBezTo>
                  <a:pt x="1409" y="513"/>
                  <a:pt x="1409" y="513"/>
                  <a:pt x="1409" y="513"/>
                </a:cubicBezTo>
                <a:cubicBezTo>
                  <a:pt x="1410" y="513"/>
                  <a:pt x="1410" y="513"/>
                  <a:pt x="1410" y="514"/>
                </a:cubicBezTo>
                <a:cubicBezTo>
                  <a:pt x="1410" y="514"/>
                  <a:pt x="1410" y="514"/>
                  <a:pt x="1410" y="514"/>
                </a:cubicBezTo>
                <a:cubicBezTo>
                  <a:pt x="1411" y="514"/>
                  <a:pt x="1411" y="515"/>
                  <a:pt x="1412" y="515"/>
                </a:cubicBezTo>
                <a:cubicBezTo>
                  <a:pt x="1412" y="514"/>
                  <a:pt x="1411" y="513"/>
                  <a:pt x="1411" y="513"/>
                </a:cubicBezTo>
                <a:cubicBezTo>
                  <a:pt x="1410" y="513"/>
                  <a:pt x="1411" y="512"/>
                  <a:pt x="1410" y="512"/>
                </a:cubicBezTo>
                <a:cubicBezTo>
                  <a:pt x="1409" y="512"/>
                  <a:pt x="1410" y="508"/>
                  <a:pt x="1410" y="507"/>
                </a:cubicBezTo>
                <a:cubicBezTo>
                  <a:pt x="1409" y="508"/>
                  <a:pt x="1409" y="507"/>
                  <a:pt x="1409" y="506"/>
                </a:cubicBezTo>
                <a:cubicBezTo>
                  <a:pt x="1407" y="506"/>
                  <a:pt x="1409" y="506"/>
                  <a:pt x="1409" y="506"/>
                </a:cubicBezTo>
                <a:close/>
                <a:moveTo>
                  <a:pt x="1259" y="506"/>
                </a:moveTo>
                <a:cubicBezTo>
                  <a:pt x="1259" y="506"/>
                  <a:pt x="1259" y="506"/>
                  <a:pt x="1259" y="506"/>
                </a:cubicBezTo>
                <a:cubicBezTo>
                  <a:pt x="1259" y="506"/>
                  <a:pt x="1259" y="506"/>
                  <a:pt x="1259" y="506"/>
                </a:cubicBezTo>
                <a:close/>
                <a:moveTo>
                  <a:pt x="533" y="504"/>
                </a:moveTo>
                <a:cubicBezTo>
                  <a:pt x="534" y="504"/>
                  <a:pt x="533" y="503"/>
                  <a:pt x="533" y="502"/>
                </a:cubicBezTo>
                <a:cubicBezTo>
                  <a:pt x="533" y="503"/>
                  <a:pt x="533" y="503"/>
                  <a:pt x="533" y="504"/>
                </a:cubicBezTo>
                <a:close/>
                <a:moveTo>
                  <a:pt x="1392" y="508"/>
                </a:moveTo>
                <a:cubicBezTo>
                  <a:pt x="1392" y="506"/>
                  <a:pt x="1391" y="504"/>
                  <a:pt x="1390" y="502"/>
                </a:cubicBezTo>
                <a:cubicBezTo>
                  <a:pt x="1389" y="502"/>
                  <a:pt x="1384" y="501"/>
                  <a:pt x="1385" y="502"/>
                </a:cubicBezTo>
                <a:cubicBezTo>
                  <a:pt x="1386" y="502"/>
                  <a:pt x="1387" y="502"/>
                  <a:pt x="1387" y="503"/>
                </a:cubicBezTo>
                <a:cubicBezTo>
                  <a:pt x="1387" y="503"/>
                  <a:pt x="1387" y="503"/>
                  <a:pt x="1387" y="503"/>
                </a:cubicBezTo>
                <a:cubicBezTo>
                  <a:pt x="1388" y="504"/>
                  <a:pt x="1388" y="503"/>
                  <a:pt x="1388" y="504"/>
                </a:cubicBezTo>
                <a:cubicBezTo>
                  <a:pt x="1388" y="505"/>
                  <a:pt x="1388" y="505"/>
                  <a:pt x="1389" y="505"/>
                </a:cubicBezTo>
                <a:cubicBezTo>
                  <a:pt x="1389" y="505"/>
                  <a:pt x="1389" y="506"/>
                  <a:pt x="1389" y="506"/>
                </a:cubicBezTo>
                <a:cubicBezTo>
                  <a:pt x="1390" y="506"/>
                  <a:pt x="1390" y="506"/>
                  <a:pt x="1391" y="506"/>
                </a:cubicBezTo>
                <a:cubicBezTo>
                  <a:pt x="1390" y="507"/>
                  <a:pt x="1390" y="507"/>
                  <a:pt x="1390" y="508"/>
                </a:cubicBezTo>
                <a:cubicBezTo>
                  <a:pt x="1390" y="508"/>
                  <a:pt x="1391" y="508"/>
                  <a:pt x="1391" y="508"/>
                </a:cubicBezTo>
                <a:cubicBezTo>
                  <a:pt x="1391" y="508"/>
                  <a:pt x="1391" y="508"/>
                  <a:pt x="1392" y="508"/>
                </a:cubicBezTo>
                <a:cubicBezTo>
                  <a:pt x="1391" y="505"/>
                  <a:pt x="1392" y="508"/>
                  <a:pt x="1392" y="508"/>
                </a:cubicBezTo>
                <a:close/>
                <a:moveTo>
                  <a:pt x="1259" y="501"/>
                </a:moveTo>
                <a:cubicBezTo>
                  <a:pt x="1259" y="501"/>
                  <a:pt x="1259" y="502"/>
                  <a:pt x="1259" y="502"/>
                </a:cubicBezTo>
                <a:cubicBezTo>
                  <a:pt x="1260" y="502"/>
                  <a:pt x="1260" y="501"/>
                  <a:pt x="1259" y="501"/>
                </a:cubicBezTo>
                <a:cubicBezTo>
                  <a:pt x="1259" y="501"/>
                  <a:pt x="1259" y="501"/>
                  <a:pt x="1259" y="501"/>
                </a:cubicBezTo>
                <a:close/>
                <a:moveTo>
                  <a:pt x="1404" y="499"/>
                </a:moveTo>
                <a:cubicBezTo>
                  <a:pt x="1404" y="500"/>
                  <a:pt x="1404" y="501"/>
                  <a:pt x="1406" y="501"/>
                </a:cubicBezTo>
                <a:cubicBezTo>
                  <a:pt x="1405" y="500"/>
                  <a:pt x="1405" y="499"/>
                  <a:pt x="1404" y="499"/>
                </a:cubicBezTo>
                <a:close/>
                <a:moveTo>
                  <a:pt x="527" y="494"/>
                </a:moveTo>
                <a:cubicBezTo>
                  <a:pt x="527" y="494"/>
                  <a:pt x="527" y="494"/>
                  <a:pt x="526" y="494"/>
                </a:cubicBezTo>
                <a:cubicBezTo>
                  <a:pt x="527" y="495"/>
                  <a:pt x="527" y="496"/>
                  <a:pt x="528" y="496"/>
                </a:cubicBezTo>
                <a:cubicBezTo>
                  <a:pt x="528" y="495"/>
                  <a:pt x="528" y="495"/>
                  <a:pt x="527" y="494"/>
                </a:cubicBezTo>
                <a:close/>
                <a:moveTo>
                  <a:pt x="525" y="491"/>
                </a:moveTo>
                <a:cubicBezTo>
                  <a:pt x="526" y="491"/>
                  <a:pt x="525" y="490"/>
                  <a:pt x="525" y="490"/>
                </a:cubicBezTo>
                <a:cubicBezTo>
                  <a:pt x="525" y="489"/>
                  <a:pt x="525" y="489"/>
                  <a:pt x="524" y="489"/>
                </a:cubicBezTo>
                <a:cubicBezTo>
                  <a:pt x="524" y="490"/>
                  <a:pt x="524" y="491"/>
                  <a:pt x="525" y="491"/>
                </a:cubicBezTo>
                <a:cubicBezTo>
                  <a:pt x="526" y="490"/>
                  <a:pt x="525" y="491"/>
                  <a:pt x="525" y="491"/>
                </a:cubicBezTo>
                <a:close/>
                <a:moveTo>
                  <a:pt x="525" y="485"/>
                </a:moveTo>
                <a:cubicBezTo>
                  <a:pt x="524" y="485"/>
                  <a:pt x="524" y="485"/>
                  <a:pt x="523" y="485"/>
                </a:cubicBezTo>
                <a:cubicBezTo>
                  <a:pt x="523" y="486"/>
                  <a:pt x="523" y="486"/>
                  <a:pt x="524" y="486"/>
                </a:cubicBezTo>
                <a:cubicBezTo>
                  <a:pt x="525" y="485"/>
                  <a:pt x="526" y="485"/>
                  <a:pt x="525" y="485"/>
                </a:cubicBezTo>
                <a:close/>
                <a:moveTo>
                  <a:pt x="1383" y="486"/>
                </a:moveTo>
                <a:cubicBezTo>
                  <a:pt x="1383" y="486"/>
                  <a:pt x="1383" y="486"/>
                  <a:pt x="1383" y="486"/>
                </a:cubicBezTo>
                <a:cubicBezTo>
                  <a:pt x="1383" y="487"/>
                  <a:pt x="1383" y="488"/>
                  <a:pt x="1383" y="489"/>
                </a:cubicBezTo>
                <a:cubicBezTo>
                  <a:pt x="1384" y="489"/>
                  <a:pt x="1384" y="489"/>
                  <a:pt x="1384" y="489"/>
                </a:cubicBezTo>
                <a:cubicBezTo>
                  <a:pt x="1384" y="490"/>
                  <a:pt x="1384" y="489"/>
                  <a:pt x="1384" y="490"/>
                </a:cubicBezTo>
                <a:cubicBezTo>
                  <a:pt x="1384" y="490"/>
                  <a:pt x="1384" y="491"/>
                  <a:pt x="1384" y="491"/>
                </a:cubicBezTo>
                <a:cubicBezTo>
                  <a:pt x="1384" y="493"/>
                  <a:pt x="1385" y="494"/>
                  <a:pt x="1387" y="495"/>
                </a:cubicBezTo>
                <a:cubicBezTo>
                  <a:pt x="1387" y="495"/>
                  <a:pt x="1387" y="494"/>
                  <a:pt x="1387" y="494"/>
                </a:cubicBezTo>
                <a:cubicBezTo>
                  <a:pt x="1388" y="494"/>
                  <a:pt x="1388" y="493"/>
                  <a:pt x="1388" y="494"/>
                </a:cubicBezTo>
                <a:cubicBezTo>
                  <a:pt x="1388" y="495"/>
                  <a:pt x="1388" y="495"/>
                  <a:pt x="1388" y="496"/>
                </a:cubicBezTo>
                <a:cubicBezTo>
                  <a:pt x="1388" y="496"/>
                  <a:pt x="1387" y="497"/>
                  <a:pt x="1387" y="498"/>
                </a:cubicBezTo>
                <a:cubicBezTo>
                  <a:pt x="1388" y="498"/>
                  <a:pt x="1388" y="498"/>
                  <a:pt x="1388" y="498"/>
                </a:cubicBezTo>
                <a:cubicBezTo>
                  <a:pt x="1388" y="500"/>
                  <a:pt x="1388" y="498"/>
                  <a:pt x="1389" y="499"/>
                </a:cubicBezTo>
                <a:cubicBezTo>
                  <a:pt x="1389" y="500"/>
                  <a:pt x="1390" y="501"/>
                  <a:pt x="1390" y="501"/>
                </a:cubicBezTo>
                <a:cubicBezTo>
                  <a:pt x="1391" y="501"/>
                  <a:pt x="1392" y="501"/>
                  <a:pt x="1392" y="499"/>
                </a:cubicBezTo>
                <a:cubicBezTo>
                  <a:pt x="1393" y="499"/>
                  <a:pt x="1394" y="500"/>
                  <a:pt x="1395" y="500"/>
                </a:cubicBezTo>
                <a:cubicBezTo>
                  <a:pt x="1396" y="500"/>
                  <a:pt x="1396" y="501"/>
                  <a:pt x="1396" y="502"/>
                </a:cubicBezTo>
                <a:cubicBezTo>
                  <a:pt x="1397" y="502"/>
                  <a:pt x="1397" y="502"/>
                  <a:pt x="1398" y="502"/>
                </a:cubicBezTo>
                <a:cubicBezTo>
                  <a:pt x="1397" y="501"/>
                  <a:pt x="1397" y="501"/>
                  <a:pt x="1397" y="500"/>
                </a:cubicBezTo>
                <a:cubicBezTo>
                  <a:pt x="1397" y="499"/>
                  <a:pt x="1398" y="499"/>
                  <a:pt x="1398" y="499"/>
                </a:cubicBezTo>
                <a:cubicBezTo>
                  <a:pt x="1398" y="499"/>
                  <a:pt x="1398" y="501"/>
                  <a:pt x="1399" y="501"/>
                </a:cubicBezTo>
                <a:cubicBezTo>
                  <a:pt x="1399" y="501"/>
                  <a:pt x="1400" y="502"/>
                  <a:pt x="1400" y="502"/>
                </a:cubicBezTo>
                <a:cubicBezTo>
                  <a:pt x="1400" y="503"/>
                  <a:pt x="1400" y="504"/>
                  <a:pt x="1401" y="504"/>
                </a:cubicBezTo>
                <a:cubicBezTo>
                  <a:pt x="1402" y="504"/>
                  <a:pt x="1402" y="505"/>
                  <a:pt x="1403" y="506"/>
                </a:cubicBezTo>
                <a:cubicBezTo>
                  <a:pt x="1403" y="505"/>
                  <a:pt x="1403" y="505"/>
                  <a:pt x="1403" y="505"/>
                </a:cubicBezTo>
                <a:cubicBezTo>
                  <a:pt x="1403" y="504"/>
                  <a:pt x="1404" y="504"/>
                  <a:pt x="1404" y="504"/>
                </a:cubicBezTo>
                <a:cubicBezTo>
                  <a:pt x="1404" y="504"/>
                  <a:pt x="1404" y="503"/>
                  <a:pt x="1404" y="503"/>
                </a:cubicBezTo>
                <a:cubicBezTo>
                  <a:pt x="1403" y="503"/>
                  <a:pt x="1403" y="502"/>
                  <a:pt x="1403" y="502"/>
                </a:cubicBezTo>
                <a:cubicBezTo>
                  <a:pt x="1402" y="502"/>
                  <a:pt x="1402" y="502"/>
                  <a:pt x="1402" y="501"/>
                </a:cubicBezTo>
                <a:cubicBezTo>
                  <a:pt x="1402" y="500"/>
                  <a:pt x="1403" y="498"/>
                  <a:pt x="1401" y="498"/>
                </a:cubicBezTo>
                <a:cubicBezTo>
                  <a:pt x="1400" y="497"/>
                  <a:pt x="1400" y="500"/>
                  <a:pt x="1399" y="497"/>
                </a:cubicBezTo>
                <a:cubicBezTo>
                  <a:pt x="1400" y="498"/>
                  <a:pt x="1398" y="496"/>
                  <a:pt x="1398" y="496"/>
                </a:cubicBezTo>
                <a:cubicBezTo>
                  <a:pt x="1398" y="496"/>
                  <a:pt x="1398" y="497"/>
                  <a:pt x="1397" y="497"/>
                </a:cubicBezTo>
                <a:cubicBezTo>
                  <a:pt x="1397" y="497"/>
                  <a:pt x="1396" y="497"/>
                  <a:pt x="1396" y="497"/>
                </a:cubicBezTo>
                <a:cubicBezTo>
                  <a:pt x="1395" y="497"/>
                  <a:pt x="1395" y="497"/>
                  <a:pt x="1395" y="497"/>
                </a:cubicBezTo>
                <a:cubicBezTo>
                  <a:pt x="1395" y="498"/>
                  <a:pt x="1394" y="497"/>
                  <a:pt x="1394" y="498"/>
                </a:cubicBezTo>
                <a:cubicBezTo>
                  <a:pt x="1392" y="497"/>
                  <a:pt x="1392" y="497"/>
                  <a:pt x="1392" y="494"/>
                </a:cubicBezTo>
                <a:cubicBezTo>
                  <a:pt x="1392" y="494"/>
                  <a:pt x="1391" y="494"/>
                  <a:pt x="1391" y="493"/>
                </a:cubicBezTo>
                <a:cubicBezTo>
                  <a:pt x="1391" y="492"/>
                  <a:pt x="1392" y="491"/>
                  <a:pt x="1391" y="491"/>
                </a:cubicBezTo>
                <a:cubicBezTo>
                  <a:pt x="1391" y="490"/>
                  <a:pt x="1391" y="487"/>
                  <a:pt x="1392" y="487"/>
                </a:cubicBezTo>
                <a:cubicBezTo>
                  <a:pt x="1393" y="487"/>
                  <a:pt x="1393" y="487"/>
                  <a:pt x="1394" y="486"/>
                </a:cubicBezTo>
                <a:cubicBezTo>
                  <a:pt x="1394" y="486"/>
                  <a:pt x="1394" y="485"/>
                  <a:pt x="1394" y="485"/>
                </a:cubicBezTo>
                <a:cubicBezTo>
                  <a:pt x="1394" y="485"/>
                  <a:pt x="1394" y="485"/>
                  <a:pt x="1394" y="485"/>
                </a:cubicBezTo>
                <a:cubicBezTo>
                  <a:pt x="1394" y="483"/>
                  <a:pt x="1394" y="483"/>
                  <a:pt x="1396" y="484"/>
                </a:cubicBezTo>
                <a:cubicBezTo>
                  <a:pt x="1396" y="482"/>
                  <a:pt x="1397" y="482"/>
                  <a:pt x="1396" y="481"/>
                </a:cubicBezTo>
                <a:cubicBezTo>
                  <a:pt x="1396" y="480"/>
                  <a:pt x="1396" y="481"/>
                  <a:pt x="1396" y="480"/>
                </a:cubicBezTo>
                <a:cubicBezTo>
                  <a:pt x="1396" y="480"/>
                  <a:pt x="1396" y="480"/>
                  <a:pt x="1396" y="479"/>
                </a:cubicBezTo>
                <a:cubicBezTo>
                  <a:pt x="1396" y="478"/>
                  <a:pt x="1395" y="479"/>
                  <a:pt x="1395" y="478"/>
                </a:cubicBezTo>
                <a:cubicBezTo>
                  <a:pt x="1395" y="477"/>
                  <a:pt x="1395" y="476"/>
                  <a:pt x="1394" y="476"/>
                </a:cubicBezTo>
                <a:cubicBezTo>
                  <a:pt x="1394" y="476"/>
                  <a:pt x="1395" y="476"/>
                  <a:pt x="1395" y="476"/>
                </a:cubicBezTo>
                <a:cubicBezTo>
                  <a:pt x="1395" y="475"/>
                  <a:pt x="1395" y="475"/>
                  <a:pt x="1395" y="474"/>
                </a:cubicBezTo>
                <a:cubicBezTo>
                  <a:pt x="1395" y="474"/>
                  <a:pt x="1395" y="474"/>
                  <a:pt x="1395" y="474"/>
                </a:cubicBezTo>
                <a:cubicBezTo>
                  <a:pt x="1395" y="473"/>
                  <a:pt x="1395" y="473"/>
                  <a:pt x="1395" y="473"/>
                </a:cubicBezTo>
                <a:cubicBezTo>
                  <a:pt x="1395" y="472"/>
                  <a:pt x="1394" y="472"/>
                  <a:pt x="1394" y="473"/>
                </a:cubicBezTo>
                <a:cubicBezTo>
                  <a:pt x="1393" y="473"/>
                  <a:pt x="1392" y="474"/>
                  <a:pt x="1392" y="473"/>
                </a:cubicBezTo>
                <a:cubicBezTo>
                  <a:pt x="1391" y="473"/>
                  <a:pt x="1390" y="473"/>
                  <a:pt x="1390" y="472"/>
                </a:cubicBezTo>
                <a:cubicBezTo>
                  <a:pt x="1389" y="472"/>
                  <a:pt x="1388" y="472"/>
                  <a:pt x="1388" y="473"/>
                </a:cubicBezTo>
                <a:cubicBezTo>
                  <a:pt x="1388" y="473"/>
                  <a:pt x="1388" y="474"/>
                  <a:pt x="1388" y="474"/>
                </a:cubicBezTo>
                <a:cubicBezTo>
                  <a:pt x="1388" y="474"/>
                  <a:pt x="1387" y="474"/>
                  <a:pt x="1387" y="474"/>
                </a:cubicBezTo>
                <a:cubicBezTo>
                  <a:pt x="1387" y="475"/>
                  <a:pt x="1387" y="475"/>
                  <a:pt x="1388" y="475"/>
                </a:cubicBezTo>
                <a:cubicBezTo>
                  <a:pt x="1388" y="475"/>
                  <a:pt x="1387" y="475"/>
                  <a:pt x="1387" y="476"/>
                </a:cubicBezTo>
                <a:cubicBezTo>
                  <a:pt x="1387" y="476"/>
                  <a:pt x="1387" y="476"/>
                  <a:pt x="1387" y="476"/>
                </a:cubicBezTo>
                <a:cubicBezTo>
                  <a:pt x="1387" y="477"/>
                  <a:pt x="1387" y="476"/>
                  <a:pt x="1387" y="477"/>
                </a:cubicBezTo>
                <a:cubicBezTo>
                  <a:pt x="1387" y="478"/>
                  <a:pt x="1386" y="478"/>
                  <a:pt x="1386" y="480"/>
                </a:cubicBezTo>
                <a:cubicBezTo>
                  <a:pt x="1387" y="480"/>
                  <a:pt x="1386" y="481"/>
                  <a:pt x="1387" y="481"/>
                </a:cubicBezTo>
                <a:cubicBezTo>
                  <a:pt x="1387" y="481"/>
                  <a:pt x="1387" y="481"/>
                  <a:pt x="1387" y="481"/>
                </a:cubicBezTo>
                <a:cubicBezTo>
                  <a:pt x="1387" y="481"/>
                  <a:pt x="1387" y="482"/>
                  <a:pt x="1387" y="482"/>
                </a:cubicBezTo>
                <a:cubicBezTo>
                  <a:pt x="1387" y="483"/>
                  <a:pt x="1387" y="483"/>
                  <a:pt x="1386" y="483"/>
                </a:cubicBezTo>
                <a:cubicBezTo>
                  <a:pt x="1385" y="484"/>
                  <a:pt x="1386" y="485"/>
                  <a:pt x="1386" y="486"/>
                </a:cubicBezTo>
                <a:cubicBezTo>
                  <a:pt x="1386" y="486"/>
                  <a:pt x="1386" y="487"/>
                  <a:pt x="1385" y="487"/>
                </a:cubicBezTo>
                <a:cubicBezTo>
                  <a:pt x="1384" y="487"/>
                  <a:pt x="1384" y="486"/>
                  <a:pt x="1383" y="486"/>
                </a:cubicBezTo>
                <a:close/>
                <a:moveTo>
                  <a:pt x="506" y="472"/>
                </a:moveTo>
                <a:cubicBezTo>
                  <a:pt x="506" y="472"/>
                  <a:pt x="506" y="471"/>
                  <a:pt x="506" y="471"/>
                </a:cubicBezTo>
                <a:cubicBezTo>
                  <a:pt x="505" y="471"/>
                  <a:pt x="505" y="472"/>
                  <a:pt x="505" y="471"/>
                </a:cubicBezTo>
                <a:cubicBezTo>
                  <a:pt x="504" y="471"/>
                  <a:pt x="503" y="471"/>
                  <a:pt x="503" y="471"/>
                </a:cubicBezTo>
                <a:cubicBezTo>
                  <a:pt x="503" y="471"/>
                  <a:pt x="503" y="471"/>
                  <a:pt x="503" y="471"/>
                </a:cubicBezTo>
                <a:cubicBezTo>
                  <a:pt x="502" y="471"/>
                  <a:pt x="500" y="471"/>
                  <a:pt x="499" y="471"/>
                </a:cubicBezTo>
                <a:cubicBezTo>
                  <a:pt x="499" y="472"/>
                  <a:pt x="500" y="473"/>
                  <a:pt x="500" y="473"/>
                </a:cubicBezTo>
                <a:cubicBezTo>
                  <a:pt x="501" y="474"/>
                  <a:pt x="502" y="474"/>
                  <a:pt x="502" y="474"/>
                </a:cubicBezTo>
                <a:cubicBezTo>
                  <a:pt x="504" y="474"/>
                  <a:pt x="505" y="473"/>
                  <a:pt x="506" y="472"/>
                </a:cubicBezTo>
                <a:close/>
                <a:moveTo>
                  <a:pt x="452" y="474"/>
                </a:moveTo>
                <a:cubicBezTo>
                  <a:pt x="453" y="474"/>
                  <a:pt x="454" y="474"/>
                  <a:pt x="455" y="474"/>
                </a:cubicBezTo>
                <a:cubicBezTo>
                  <a:pt x="455" y="472"/>
                  <a:pt x="455" y="472"/>
                  <a:pt x="454" y="472"/>
                </a:cubicBezTo>
                <a:cubicBezTo>
                  <a:pt x="453" y="472"/>
                  <a:pt x="453" y="471"/>
                  <a:pt x="452" y="471"/>
                </a:cubicBezTo>
                <a:cubicBezTo>
                  <a:pt x="451" y="471"/>
                  <a:pt x="450" y="471"/>
                  <a:pt x="449" y="471"/>
                </a:cubicBezTo>
                <a:cubicBezTo>
                  <a:pt x="449" y="471"/>
                  <a:pt x="449" y="470"/>
                  <a:pt x="449" y="470"/>
                </a:cubicBezTo>
                <a:cubicBezTo>
                  <a:pt x="449" y="470"/>
                  <a:pt x="448" y="470"/>
                  <a:pt x="448" y="470"/>
                </a:cubicBezTo>
                <a:cubicBezTo>
                  <a:pt x="447" y="470"/>
                  <a:pt x="446" y="470"/>
                  <a:pt x="446" y="470"/>
                </a:cubicBezTo>
                <a:cubicBezTo>
                  <a:pt x="445" y="471"/>
                  <a:pt x="444" y="471"/>
                  <a:pt x="444" y="472"/>
                </a:cubicBezTo>
                <a:cubicBezTo>
                  <a:pt x="444" y="472"/>
                  <a:pt x="445" y="472"/>
                  <a:pt x="445" y="472"/>
                </a:cubicBezTo>
                <a:cubicBezTo>
                  <a:pt x="445" y="472"/>
                  <a:pt x="446" y="472"/>
                  <a:pt x="446" y="472"/>
                </a:cubicBezTo>
                <a:cubicBezTo>
                  <a:pt x="446" y="473"/>
                  <a:pt x="447" y="473"/>
                  <a:pt x="447" y="474"/>
                </a:cubicBezTo>
                <a:cubicBezTo>
                  <a:pt x="447" y="473"/>
                  <a:pt x="448" y="474"/>
                  <a:pt x="448" y="474"/>
                </a:cubicBezTo>
                <a:cubicBezTo>
                  <a:pt x="448" y="474"/>
                  <a:pt x="450" y="474"/>
                  <a:pt x="450" y="475"/>
                </a:cubicBezTo>
                <a:cubicBezTo>
                  <a:pt x="451" y="475"/>
                  <a:pt x="452" y="475"/>
                  <a:pt x="452" y="474"/>
                </a:cubicBezTo>
                <a:close/>
                <a:moveTo>
                  <a:pt x="1335" y="476"/>
                </a:moveTo>
                <a:cubicBezTo>
                  <a:pt x="1336" y="477"/>
                  <a:pt x="1336" y="477"/>
                  <a:pt x="1336" y="477"/>
                </a:cubicBezTo>
                <a:cubicBezTo>
                  <a:pt x="1337" y="477"/>
                  <a:pt x="1336" y="477"/>
                  <a:pt x="1337" y="477"/>
                </a:cubicBezTo>
                <a:cubicBezTo>
                  <a:pt x="1337" y="477"/>
                  <a:pt x="1337" y="477"/>
                  <a:pt x="1338" y="477"/>
                </a:cubicBezTo>
                <a:cubicBezTo>
                  <a:pt x="1338" y="477"/>
                  <a:pt x="1338" y="476"/>
                  <a:pt x="1338" y="476"/>
                </a:cubicBezTo>
                <a:cubicBezTo>
                  <a:pt x="1339" y="476"/>
                  <a:pt x="1340" y="476"/>
                  <a:pt x="1340" y="475"/>
                </a:cubicBezTo>
                <a:cubicBezTo>
                  <a:pt x="1340" y="474"/>
                  <a:pt x="1340" y="475"/>
                  <a:pt x="1341" y="475"/>
                </a:cubicBezTo>
                <a:cubicBezTo>
                  <a:pt x="1341" y="475"/>
                  <a:pt x="1342" y="474"/>
                  <a:pt x="1342" y="474"/>
                </a:cubicBezTo>
                <a:cubicBezTo>
                  <a:pt x="1342" y="473"/>
                  <a:pt x="1342" y="473"/>
                  <a:pt x="1342" y="472"/>
                </a:cubicBezTo>
                <a:cubicBezTo>
                  <a:pt x="1342" y="473"/>
                  <a:pt x="1342" y="472"/>
                  <a:pt x="1342" y="472"/>
                </a:cubicBezTo>
                <a:cubicBezTo>
                  <a:pt x="1342" y="472"/>
                  <a:pt x="1343" y="471"/>
                  <a:pt x="1343" y="471"/>
                </a:cubicBezTo>
                <a:cubicBezTo>
                  <a:pt x="1343" y="471"/>
                  <a:pt x="1343" y="469"/>
                  <a:pt x="1343" y="469"/>
                </a:cubicBezTo>
                <a:cubicBezTo>
                  <a:pt x="1343" y="469"/>
                  <a:pt x="1344" y="469"/>
                  <a:pt x="1344" y="469"/>
                </a:cubicBezTo>
                <a:cubicBezTo>
                  <a:pt x="1344" y="468"/>
                  <a:pt x="1345" y="469"/>
                  <a:pt x="1344" y="468"/>
                </a:cubicBezTo>
                <a:cubicBezTo>
                  <a:pt x="1344" y="467"/>
                  <a:pt x="1343" y="466"/>
                  <a:pt x="1343" y="466"/>
                </a:cubicBezTo>
                <a:cubicBezTo>
                  <a:pt x="1342" y="466"/>
                  <a:pt x="1339" y="466"/>
                  <a:pt x="1339" y="466"/>
                </a:cubicBezTo>
                <a:cubicBezTo>
                  <a:pt x="1339" y="466"/>
                  <a:pt x="1338" y="467"/>
                  <a:pt x="1337" y="467"/>
                </a:cubicBezTo>
                <a:cubicBezTo>
                  <a:pt x="1336" y="467"/>
                  <a:pt x="1335" y="467"/>
                  <a:pt x="1335" y="469"/>
                </a:cubicBezTo>
                <a:cubicBezTo>
                  <a:pt x="1335" y="469"/>
                  <a:pt x="1334" y="469"/>
                  <a:pt x="1333" y="469"/>
                </a:cubicBezTo>
                <a:cubicBezTo>
                  <a:pt x="1333" y="470"/>
                  <a:pt x="1333" y="470"/>
                  <a:pt x="1332" y="470"/>
                </a:cubicBezTo>
                <a:cubicBezTo>
                  <a:pt x="1330" y="470"/>
                  <a:pt x="1332" y="474"/>
                  <a:pt x="1332" y="475"/>
                </a:cubicBezTo>
                <a:cubicBezTo>
                  <a:pt x="1333" y="476"/>
                  <a:pt x="1334" y="476"/>
                  <a:pt x="1335" y="476"/>
                </a:cubicBezTo>
                <a:cubicBezTo>
                  <a:pt x="1336" y="477"/>
                  <a:pt x="1335" y="476"/>
                  <a:pt x="1335" y="476"/>
                </a:cubicBezTo>
                <a:close/>
                <a:moveTo>
                  <a:pt x="493" y="471"/>
                </a:moveTo>
                <a:cubicBezTo>
                  <a:pt x="493" y="470"/>
                  <a:pt x="492" y="469"/>
                  <a:pt x="492" y="468"/>
                </a:cubicBezTo>
                <a:cubicBezTo>
                  <a:pt x="491" y="468"/>
                  <a:pt x="491" y="467"/>
                  <a:pt x="490" y="467"/>
                </a:cubicBezTo>
                <a:cubicBezTo>
                  <a:pt x="489" y="468"/>
                  <a:pt x="488" y="468"/>
                  <a:pt x="487" y="467"/>
                </a:cubicBezTo>
                <a:cubicBezTo>
                  <a:pt x="487" y="467"/>
                  <a:pt x="487" y="467"/>
                  <a:pt x="487" y="467"/>
                </a:cubicBezTo>
                <a:cubicBezTo>
                  <a:pt x="487" y="467"/>
                  <a:pt x="486" y="467"/>
                  <a:pt x="486" y="467"/>
                </a:cubicBezTo>
                <a:cubicBezTo>
                  <a:pt x="486" y="466"/>
                  <a:pt x="485" y="466"/>
                  <a:pt x="485" y="465"/>
                </a:cubicBezTo>
                <a:cubicBezTo>
                  <a:pt x="485" y="466"/>
                  <a:pt x="484" y="465"/>
                  <a:pt x="484" y="465"/>
                </a:cubicBezTo>
                <a:cubicBezTo>
                  <a:pt x="483" y="465"/>
                  <a:pt x="483" y="465"/>
                  <a:pt x="482" y="465"/>
                </a:cubicBezTo>
                <a:cubicBezTo>
                  <a:pt x="482" y="465"/>
                  <a:pt x="481" y="464"/>
                  <a:pt x="481" y="463"/>
                </a:cubicBezTo>
                <a:cubicBezTo>
                  <a:pt x="481" y="464"/>
                  <a:pt x="480" y="464"/>
                  <a:pt x="479" y="464"/>
                </a:cubicBezTo>
                <a:cubicBezTo>
                  <a:pt x="479" y="462"/>
                  <a:pt x="478" y="464"/>
                  <a:pt x="478" y="464"/>
                </a:cubicBezTo>
                <a:cubicBezTo>
                  <a:pt x="477" y="464"/>
                  <a:pt x="477" y="464"/>
                  <a:pt x="477" y="465"/>
                </a:cubicBezTo>
                <a:cubicBezTo>
                  <a:pt x="476" y="465"/>
                  <a:pt x="475" y="464"/>
                  <a:pt x="474" y="464"/>
                </a:cubicBezTo>
                <a:cubicBezTo>
                  <a:pt x="474" y="464"/>
                  <a:pt x="474" y="465"/>
                  <a:pt x="474" y="464"/>
                </a:cubicBezTo>
                <a:cubicBezTo>
                  <a:pt x="474" y="464"/>
                  <a:pt x="473" y="463"/>
                  <a:pt x="473" y="463"/>
                </a:cubicBezTo>
                <a:cubicBezTo>
                  <a:pt x="472" y="463"/>
                  <a:pt x="471" y="463"/>
                  <a:pt x="470" y="463"/>
                </a:cubicBezTo>
                <a:cubicBezTo>
                  <a:pt x="471" y="464"/>
                  <a:pt x="472" y="464"/>
                  <a:pt x="472" y="465"/>
                </a:cubicBezTo>
                <a:cubicBezTo>
                  <a:pt x="472" y="466"/>
                  <a:pt x="472" y="468"/>
                  <a:pt x="472" y="468"/>
                </a:cubicBezTo>
                <a:cubicBezTo>
                  <a:pt x="472" y="468"/>
                  <a:pt x="473" y="469"/>
                  <a:pt x="473" y="469"/>
                </a:cubicBezTo>
                <a:cubicBezTo>
                  <a:pt x="473" y="470"/>
                  <a:pt x="474" y="469"/>
                  <a:pt x="474" y="470"/>
                </a:cubicBezTo>
                <a:cubicBezTo>
                  <a:pt x="474" y="471"/>
                  <a:pt x="474" y="472"/>
                  <a:pt x="473" y="471"/>
                </a:cubicBezTo>
                <a:cubicBezTo>
                  <a:pt x="473" y="471"/>
                  <a:pt x="472" y="471"/>
                  <a:pt x="472" y="471"/>
                </a:cubicBezTo>
                <a:cubicBezTo>
                  <a:pt x="472" y="470"/>
                  <a:pt x="469" y="471"/>
                  <a:pt x="469" y="470"/>
                </a:cubicBezTo>
                <a:cubicBezTo>
                  <a:pt x="468" y="470"/>
                  <a:pt x="468" y="470"/>
                  <a:pt x="467" y="470"/>
                </a:cubicBezTo>
                <a:cubicBezTo>
                  <a:pt x="466" y="471"/>
                  <a:pt x="467" y="470"/>
                  <a:pt x="466" y="470"/>
                </a:cubicBezTo>
                <a:cubicBezTo>
                  <a:pt x="466" y="470"/>
                  <a:pt x="465" y="470"/>
                  <a:pt x="465" y="470"/>
                </a:cubicBezTo>
                <a:cubicBezTo>
                  <a:pt x="465" y="469"/>
                  <a:pt x="465" y="470"/>
                  <a:pt x="465" y="470"/>
                </a:cubicBezTo>
                <a:cubicBezTo>
                  <a:pt x="464" y="470"/>
                  <a:pt x="463" y="470"/>
                  <a:pt x="463" y="471"/>
                </a:cubicBezTo>
                <a:cubicBezTo>
                  <a:pt x="464" y="471"/>
                  <a:pt x="464" y="471"/>
                  <a:pt x="464" y="472"/>
                </a:cubicBezTo>
                <a:cubicBezTo>
                  <a:pt x="464" y="472"/>
                  <a:pt x="464" y="472"/>
                  <a:pt x="465" y="472"/>
                </a:cubicBezTo>
                <a:cubicBezTo>
                  <a:pt x="466" y="472"/>
                  <a:pt x="465" y="472"/>
                  <a:pt x="465" y="472"/>
                </a:cubicBezTo>
                <a:cubicBezTo>
                  <a:pt x="466" y="473"/>
                  <a:pt x="467" y="472"/>
                  <a:pt x="469" y="472"/>
                </a:cubicBezTo>
                <a:cubicBezTo>
                  <a:pt x="469" y="472"/>
                  <a:pt x="470" y="472"/>
                  <a:pt x="471" y="472"/>
                </a:cubicBezTo>
                <a:cubicBezTo>
                  <a:pt x="472" y="472"/>
                  <a:pt x="474" y="472"/>
                  <a:pt x="475" y="472"/>
                </a:cubicBezTo>
                <a:cubicBezTo>
                  <a:pt x="476" y="472"/>
                  <a:pt x="476" y="472"/>
                  <a:pt x="477" y="472"/>
                </a:cubicBezTo>
                <a:cubicBezTo>
                  <a:pt x="477" y="472"/>
                  <a:pt x="477" y="473"/>
                  <a:pt x="477" y="473"/>
                </a:cubicBezTo>
                <a:cubicBezTo>
                  <a:pt x="478" y="473"/>
                  <a:pt x="478" y="475"/>
                  <a:pt x="478" y="475"/>
                </a:cubicBezTo>
                <a:cubicBezTo>
                  <a:pt x="478" y="475"/>
                  <a:pt x="479" y="474"/>
                  <a:pt x="479" y="474"/>
                </a:cubicBezTo>
                <a:cubicBezTo>
                  <a:pt x="480" y="474"/>
                  <a:pt x="480" y="473"/>
                  <a:pt x="480" y="473"/>
                </a:cubicBezTo>
                <a:cubicBezTo>
                  <a:pt x="480" y="472"/>
                  <a:pt x="480" y="471"/>
                  <a:pt x="480" y="471"/>
                </a:cubicBezTo>
                <a:cubicBezTo>
                  <a:pt x="481" y="471"/>
                  <a:pt x="486" y="474"/>
                  <a:pt x="486" y="471"/>
                </a:cubicBezTo>
                <a:cubicBezTo>
                  <a:pt x="487" y="471"/>
                  <a:pt x="489" y="471"/>
                  <a:pt x="490" y="471"/>
                </a:cubicBezTo>
                <a:cubicBezTo>
                  <a:pt x="490" y="471"/>
                  <a:pt x="490" y="471"/>
                  <a:pt x="491" y="471"/>
                </a:cubicBezTo>
                <a:cubicBezTo>
                  <a:pt x="491" y="471"/>
                  <a:pt x="492" y="471"/>
                  <a:pt x="493" y="471"/>
                </a:cubicBezTo>
                <a:cubicBezTo>
                  <a:pt x="493" y="469"/>
                  <a:pt x="493" y="471"/>
                  <a:pt x="493" y="471"/>
                </a:cubicBezTo>
                <a:close/>
                <a:moveTo>
                  <a:pt x="469" y="456"/>
                </a:moveTo>
                <a:cubicBezTo>
                  <a:pt x="469" y="456"/>
                  <a:pt x="469" y="456"/>
                  <a:pt x="468" y="456"/>
                </a:cubicBezTo>
                <a:cubicBezTo>
                  <a:pt x="469" y="456"/>
                  <a:pt x="468" y="456"/>
                  <a:pt x="469" y="456"/>
                </a:cubicBezTo>
                <a:close/>
                <a:moveTo>
                  <a:pt x="422" y="453"/>
                </a:moveTo>
                <a:cubicBezTo>
                  <a:pt x="422" y="454"/>
                  <a:pt x="423" y="454"/>
                  <a:pt x="424" y="454"/>
                </a:cubicBezTo>
                <a:cubicBezTo>
                  <a:pt x="425" y="453"/>
                  <a:pt x="425" y="453"/>
                  <a:pt x="425" y="452"/>
                </a:cubicBezTo>
                <a:cubicBezTo>
                  <a:pt x="426" y="452"/>
                  <a:pt x="426" y="451"/>
                  <a:pt x="426" y="451"/>
                </a:cubicBezTo>
                <a:cubicBezTo>
                  <a:pt x="426" y="450"/>
                  <a:pt x="425" y="450"/>
                  <a:pt x="424" y="450"/>
                </a:cubicBezTo>
                <a:cubicBezTo>
                  <a:pt x="423" y="450"/>
                  <a:pt x="423" y="450"/>
                  <a:pt x="423" y="451"/>
                </a:cubicBezTo>
                <a:cubicBezTo>
                  <a:pt x="423" y="451"/>
                  <a:pt x="424" y="451"/>
                  <a:pt x="424" y="451"/>
                </a:cubicBezTo>
                <a:cubicBezTo>
                  <a:pt x="424" y="452"/>
                  <a:pt x="424" y="453"/>
                  <a:pt x="422" y="453"/>
                </a:cubicBezTo>
                <a:close/>
                <a:moveTo>
                  <a:pt x="455" y="462"/>
                </a:moveTo>
                <a:cubicBezTo>
                  <a:pt x="457" y="462"/>
                  <a:pt x="460" y="463"/>
                  <a:pt x="462" y="462"/>
                </a:cubicBezTo>
                <a:cubicBezTo>
                  <a:pt x="462" y="462"/>
                  <a:pt x="461" y="462"/>
                  <a:pt x="462" y="462"/>
                </a:cubicBezTo>
                <a:cubicBezTo>
                  <a:pt x="462" y="462"/>
                  <a:pt x="462" y="462"/>
                  <a:pt x="462" y="462"/>
                </a:cubicBezTo>
                <a:cubicBezTo>
                  <a:pt x="462" y="462"/>
                  <a:pt x="464" y="461"/>
                  <a:pt x="464" y="461"/>
                </a:cubicBezTo>
                <a:cubicBezTo>
                  <a:pt x="464" y="461"/>
                  <a:pt x="464" y="460"/>
                  <a:pt x="464" y="460"/>
                </a:cubicBezTo>
                <a:cubicBezTo>
                  <a:pt x="463" y="460"/>
                  <a:pt x="463" y="459"/>
                  <a:pt x="462" y="459"/>
                </a:cubicBezTo>
                <a:cubicBezTo>
                  <a:pt x="461" y="459"/>
                  <a:pt x="460" y="459"/>
                  <a:pt x="460" y="459"/>
                </a:cubicBezTo>
                <a:cubicBezTo>
                  <a:pt x="459" y="459"/>
                  <a:pt x="458" y="458"/>
                  <a:pt x="458" y="458"/>
                </a:cubicBezTo>
                <a:cubicBezTo>
                  <a:pt x="458" y="458"/>
                  <a:pt x="458" y="457"/>
                  <a:pt x="458" y="456"/>
                </a:cubicBezTo>
                <a:cubicBezTo>
                  <a:pt x="458" y="456"/>
                  <a:pt x="457" y="456"/>
                  <a:pt x="457" y="456"/>
                </a:cubicBezTo>
                <a:cubicBezTo>
                  <a:pt x="457" y="455"/>
                  <a:pt x="455" y="456"/>
                  <a:pt x="455" y="456"/>
                </a:cubicBezTo>
                <a:cubicBezTo>
                  <a:pt x="455" y="456"/>
                  <a:pt x="453" y="455"/>
                  <a:pt x="453" y="455"/>
                </a:cubicBezTo>
                <a:cubicBezTo>
                  <a:pt x="453" y="455"/>
                  <a:pt x="453" y="455"/>
                  <a:pt x="453" y="455"/>
                </a:cubicBezTo>
                <a:cubicBezTo>
                  <a:pt x="453" y="454"/>
                  <a:pt x="453" y="455"/>
                  <a:pt x="452" y="454"/>
                </a:cubicBezTo>
                <a:cubicBezTo>
                  <a:pt x="452" y="454"/>
                  <a:pt x="452" y="454"/>
                  <a:pt x="452" y="453"/>
                </a:cubicBezTo>
                <a:cubicBezTo>
                  <a:pt x="451" y="454"/>
                  <a:pt x="451" y="454"/>
                  <a:pt x="451" y="453"/>
                </a:cubicBezTo>
                <a:cubicBezTo>
                  <a:pt x="450" y="453"/>
                  <a:pt x="450" y="451"/>
                  <a:pt x="449" y="451"/>
                </a:cubicBezTo>
                <a:cubicBezTo>
                  <a:pt x="449" y="451"/>
                  <a:pt x="448" y="451"/>
                  <a:pt x="447" y="451"/>
                </a:cubicBezTo>
                <a:cubicBezTo>
                  <a:pt x="447" y="451"/>
                  <a:pt x="447" y="451"/>
                  <a:pt x="447" y="451"/>
                </a:cubicBezTo>
                <a:cubicBezTo>
                  <a:pt x="447" y="450"/>
                  <a:pt x="447" y="451"/>
                  <a:pt x="447" y="451"/>
                </a:cubicBezTo>
                <a:cubicBezTo>
                  <a:pt x="446" y="450"/>
                  <a:pt x="446" y="450"/>
                  <a:pt x="446" y="450"/>
                </a:cubicBezTo>
                <a:cubicBezTo>
                  <a:pt x="445" y="450"/>
                  <a:pt x="445" y="450"/>
                  <a:pt x="445" y="450"/>
                </a:cubicBezTo>
                <a:cubicBezTo>
                  <a:pt x="443" y="450"/>
                  <a:pt x="443" y="449"/>
                  <a:pt x="441" y="449"/>
                </a:cubicBezTo>
                <a:cubicBezTo>
                  <a:pt x="441" y="449"/>
                  <a:pt x="441" y="449"/>
                  <a:pt x="441" y="449"/>
                </a:cubicBezTo>
                <a:cubicBezTo>
                  <a:pt x="440" y="448"/>
                  <a:pt x="440" y="448"/>
                  <a:pt x="440" y="448"/>
                </a:cubicBezTo>
                <a:cubicBezTo>
                  <a:pt x="440" y="447"/>
                  <a:pt x="440" y="446"/>
                  <a:pt x="439" y="446"/>
                </a:cubicBezTo>
                <a:cubicBezTo>
                  <a:pt x="438" y="446"/>
                  <a:pt x="437" y="446"/>
                  <a:pt x="437" y="446"/>
                </a:cubicBezTo>
                <a:cubicBezTo>
                  <a:pt x="436" y="446"/>
                  <a:pt x="436" y="445"/>
                  <a:pt x="436" y="444"/>
                </a:cubicBezTo>
                <a:cubicBezTo>
                  <a:pt x="435" y="445"/>
                  <a:pt x="434" y="445"/>
                  <a:pt x="433" y="445"/>
                </a:cubicBezTo>
                <a:cubicBezTo>
                  <a:pt x="434" y="444"/>
                  <a:pt x="431" y="444"/>
                  <a:pt x="431" y="444"/>
                </a:cubicBezTo>
                <a:cubicBezTo>
                  <a:pt x="431" y="445"/>
                  <a:pt x="430" y="445"/>
                  <a:pt x="429" y="445"/>
                </a:cubicBezTo>
                <a:cubicBezTo>
                  <a:pt x="429" y="444"/>
                  <a:pt x="429" y="444"/>
                  <a:pt x="429" y="444"/>
                </a:cubicBezTo>
                <a:cubicBezTo>
                  <a:pt x="428" y="444"/>
                  <a:pt x="427" y="444"/>
                  <a:pt x="427" y="444"/>
                </a:cubicBezTo>
                <a:cubicBezTo>
                  <a:pt x="426" y="444"/>
                  <a:pt x="426" y="444"/>
                  <a:pt x="426" y="444"/>
                </a:cubicBezTo>
                <a:cubicBezTo>
                  <a:pt x="425" y="444"/>
                  <a:pt x="424" y="444"/>
                  <a:pt x="424" y="444"/>
                </a:cubicBezTo>
                <a:cubicBezTo>
                  <a:pt x="424" y="444"/>
                  <a:pt x="424" y="444"/>
                  <a:pt x="423" y="444"/>
                </a:cubicBezTo>
                <a:cubicBezTo>
                  <a:pt x="423" y="444"/>
                  <a:pt x="423" y="444"/>
                  <a:pt x="423" y="444"/>
                </a:cubicBezTo>
                <a:cubicBezTo>
                  <a:pt x="423" y="445"/>
                  <a:pt x="422" y="444"/>
                  <a:pt x="422" y="444"/>
                </a:cubicBezTo>
                <a:cubicBezTo>
                  <a:pt x="422" y="445"/>
                  <a:pt x="421" y="445"/>
                  <a:pt x="421" y="445"/>
                </a:cubicBezTo>
                <a:cubicBezTo>
                  <a:pt x="420" y="445"/>
                  <a:pt x="420" y="445"/>
                  <a:pt x="420" y="446"/>
                </a:cubicBezTo>
                <a:cubicBezTo>
                  <a:pt x="420" y="446"/>
                  <a:pt x="420" y="446"/>
                  <a:pt x="420" y="446"/>
                </a:cubicBezTo>
                <a:cubicBezTo>
                  <a:pt x="419" y="446"/>
                  <a:pt x="420" y="446"/>
                  <a:pt x="419" y="446"/>
                </a:cubicBezTo>
                <a:cubicBezTo>
                  <a:pt x="419" y="447"/>
                  <a:pt x="418" y="447"/>
                  <a:pt x="417" y="448"/>
                </a:cubicBezTo>
                <a:cubicBezTo>
                  <a:pt x="417" y="449"/>
                  <a:pt x="417" y="449"/>
                  <a:pt x="417" y="450"/>
                </a:cubicBezTo>
                <a:cubicBezTo>
                  <a:pt x="417" y="450"/>
                  <a:pt x="416" y="450"/>
                  <a:pt x="416" y="450"/>
                </a:cubicBezTo>
                <a:cubicBezTo>
                  <a:pt x="416" y="452"/>
                  <a:pt x="417" y="451"/>
                  <a:pt x="418" y="451"/>
                </a:cubicBezTo>
                <a:cubicBezTo>
                  <a:pt x="419" y="451"/>
                  <a:pt x="420" y="451"/>
                  <a:pt x="420" y="450"/>
                </a:cubicBezTo>
                <a:cubicBezTo>
                  <a:pt x="420" y="450"/>
                  <a:pt x="419" y="449"/>
                  <a:pt x="420" y="449"/>
                </a:cubicBezTo>
                <a:cubicBezTo>
                  <a:pt x="420" y="449"/>
                  <a:pt x="421" y="449"/>
                  <a:pt x="421" y="449"/>
                </a:cubicBezTo>
                <a:cubicBezTo>
                  <a:pt x="422" y="448"/>
                  <a:pt x="422" y="448"/>
                  <a:pt x="422" y="447"/>
                </a:cubicBezTo>
                <a:cubicBezTo>
                  <a:pt x="423" y="447"/>
                  <a:pt x="424" y="447"/>
                  <a:pt x="424" y="446"/>
                </a:cubicBezTo>
                <a:cubicBezTo>
                  <a:pt x="424" y="445"/>
                  <a:pt x="426" y="446"/>
                  <a:pt x="427" y="446"/>
                </a:cubicBezTo>
                <a:cubicBezTo>
                  <a:pt x="428" y="446"/>
                  <a:pt x="429" y="446"/>
                  <a:pt x="429" y="447"/>
                </a:cubicBezTo>
                <a:cubicBezTo>
                  <a:pt x="429" y="448"/>
                  <a:pt x="430" y="448"/>
                  <a:pt x="431" y="448"/>
                </a:cubicBezTo>
                <a:cubicBezTo>
                  <a:pt x="431" y="448"/>
                  <a:pt x="431" y="449"/>
                  <a:pt x="431" y="449"/>
                </a:cubicBezTo>
                <a:cubicBezTo>
                  <a:pt x="431" y="449"/>
                  <a:pt x="432" y="449"/>
                  <a:pt x="432" y="449"/>
                </a:cubicBezTo>
                <a:cubicBezTo>
                  <a:pt x="433" y="449"/>
                  <a:pt x="433" y="449"/>
                  <a:pt x="434" y="449"/>
                </a:cubicBezTo>
                <a:cubicBezTo>
                  <a:pt x="434" y="449"/>
                  <a:pt x="434" y="450"/>
                  <a:pt x="435" y="450"/>
                </a:cubicBezTo>
                <a:cubicBezTo>
                  <a:pt x="435" y="450"/>
                  <a:pt x="436" y="450"/>
                  <a:pt x="436" y="451"/>
                </a:cubicBezTo>
                <a:cubicBezTo>
                  <a:pt x="436" y="451"/>
                  <a:pt x="436" y="451"/>
                  <a:pt x="437" y="452"/>
                </a:cubicBezTo>
                <a:cubicBezTo>
                  <a:pt x="437" y="452"/>
                  <a:pt x="437" y="452"/>
                  <a:pt x="437" y="452"/>
                </a:cubicBezTo>
                <a:cubicBezTo>
                  <a:pt x="438" y="452"/>
                  <a:pt x="438" y="452"/>
                  <a:pt x="439" y="453"/>
                </a:cubicBezTo>
                <a:cubicBezTo>
                  <a:pt x="440" y="454"/>
                  <a:pt x="443" y="453"/>
                  <a:pt x="444" y="453"/>
                </a:cubicBezTo>
                <a:cubicBezTo>
                  <a:pt x="444" y="454"/>
                  <a:pt x="444" y="454"/>
                  <a:pt x="444" y="455"/>
                </a:cubicBezTo>
                <a:cubicBezTo>
                  <a:pt x="444" y="455"/>
                  <a:pt x="444" y="455"/>
                  <a:pt x="445" y="456"/>
                </a:cubicBezTo>
                <a:cubicBezTo>
                  <a:pt x="446" y="458"/>
                  <a:pt x="448" y="459"/>
                  <a:pt x="450" y="459"/>
                </a:cubicBezTo>
                <a:cubicBezTo>
                  <a:pt x="450" y="460"/>
                  <a:pt x="450" y="460"/>
                  <a:pt x="450" y="461"/>
                </a:cubicBezTo>
                <a:cubicBezTo>
                  <a:pt x="450" y="462"/>
                  <a:pt x="450" y="461"/>
                  <a:pt x="449" y="462"/>
                </a:cubicBezTo>
                <a:cubicBezTo>
                  <a:pt x="448" y="462"/>
                  <a:pt x="448" y="462"/>
                  <a:pt x="448" y="463"/>
                </a:cubicBezTo>
                <a:cubicBezTo>
                  <a:pt x="449" y="463"/>
                  <a:pt x="455" y="463"/>
                  <a:pt x="455" y="462"/>
                </a:cubicBezTo>
                <a:cubicBezTo>
                  <a:pt x="457" y="462"/>
                  <a:pt x="455" y="462"/>
                  <a:pt x="455" y="462"/>
                </a:cubicBezTo>
                <a:close/>
                <a:moveTo>
                  <a:pt x="447" y="437"/>
                </a:moveTo>
                <a:cubicBezTo>
                  <a:pt x="446" y="436"/>
                  <a:pt x="446" y="435"/>
                  <a:pt x="446" y="435"/>
                </a:cubicBezTo>
                <a:cubicBezTo>
                  <a:pt x="445" y="435"/>
                  <a:pt x="445" y="435"/>
                  <a:pt x="444" y="435"/>
                </a:cubicBezTo>
                <a:cubicBezTo>
                  <a:pt x="444" y="436"/>
                  <a:pt x="444" y="436"/>
                  <a:pt x="444" y="437"/>
                </a:cubicBezTo>
                <a:cubicBezTo>
                  <a:pt x="445" y="438"/>
                  <a:pt x="446" y="438"/>
                  <a:pt x="447" y="438"/>
                </a:cubicBezTo>
                <a:cubicBezTo>
                  <a:pt x="447" y="437"/>
                  <a:pt x="447" y="437"/>
                  <a:pt x="447" y="437"/>
                </a:cubicBezTo>
                <a:close/>
                <a:moveTo>
                  <a:pt x="1388" y="442"/>
                </a:moveTo>
                <a:cubicBezTo>
                  <a:pt x="1387" y="443"/>
                  <a:pt x="1387" y="443"/>
                  <a:pt x="1387" y="444"/>
                </a:cubicBezTo>
                <a:cubicBezTo>
                  <a:pt x="1387" y="445"/>
                  <a:pt x="1387" y="444"/>
                  <a:pt x="1387" y="445"/>
                </a:cubicBezTo>
                <a:cubicBezTo>
                  <a:pt x="1386" y="445"/>
                  <a:pt x="1387" y="446"/>
                  <a:pt x="1387" y="446"/>
                </a:cubicBezTo>
                <a:cubicBezTo>
                  <a:pt x="1387" y="447"/>
                  <a:pt x="1387" y="448"/>
                  <a:pt x="1387" y="449"/>
                </a:cubicBezTo>
                <a:cubicBezTo>
                  <a:pt x="1387" y="450"/>
                  <a:pt x="1387" y="449"/>
                  <a:pt x="1388" y="450"/>
                </a:cubicBezTo>
                <a:cubicBezTo>
                  <a:pt x="1389" y="450"/>
                  <a:pt x="1389" y="451"/>
                  <a:pt x="1390" y="452"/>
                </a:cubicBezTo>
                <a:cubicBezTo>
                  <a:pt x="1390" y="451"/>
                  <a:pt x="1390" y="451"/>
                  <a:pt x="1390" y="451"/>
                </a:cubicBezTo>
                <a:cubicBezTo>
                  <a:pt x="1390" y="450"/>
                  <a:pt x="1391" y="451"/>
                  <a:pt x="1391" y="451"/>
                </a:cubicBezTo>
                <a:cubicBezTo>
                  <a:pt x="1391" y="449"/>
                  <a:pt x="1391" y="449"/>
                  <a:pt x="1392" y="449"/>
                </a:cubicBezTo>
                <a:cubicBezTo>
                  <a:pt x="1393" y="448"/>
                  <a:pt x="1392" y="447"/>
                  <a:pt x="1392" y="447"/>
                </a:cubicBezTo>
                <a:cubicBezTo>
                  <a:pt x="1392" y="447"/>
                  <a:pt x="1393" y="447"/>
                  <a:pt x="1393" y="447"/>
                </a:cubicBezTo>
                <a:cubicBezTo>
                  <a:pt x="1393" y="447"/>
                  <a:pt x="1393" y="446"/>
                  <a:pt x="1393" y="446"/>
                </a:cubicBezTo>
                <a:cubicBezTo>
                  <a:pt x="1393" y="446"/>
                  <a:pt x="1393" y="446"/>
                  <a:pt x="1393" y="446"/>
                </a:cubicBezTo>
                <a:cubicBezTo>
                  <a:pt x="1393" y="445"/>
                  <a:pt x="1393" y="444"/>
                  <a:pt x="1393" y="443"/>
                </a:cubicBezTo>
                <a:cubicBezTo>
                  <a:pt x="1393" y="442"/>
                  <a:pt x="1394" y="441"/>
                  <a:pt x="1394" y="440"/>
                </a:cubicBezTo>
                <a:cubicBezTo>
                  <a:pt x="1394" y="439"/>
                  <a:pt x="1395" y="438"/>
                  <a:pt x="1395" y="436"/>
                </a:cubicBezTo>
                <a:cubicBezTo>
                  <a:pt x="1396" y="435"/>
                  <a:pt x="1395" y="435"/>
                  <a:pt x="1395" y="434"/>
                </a:cubicBezTo>
                <a:cubicBezTo>
                  <a:pt x="1394" y="433"/>
                  <a:pt x="1394" y="433"/>
                  <a:pt x="1393" y="433"/>
                </a:cubicBezTo>
                <a:cubicBezTo>
                  <a:pt x="1393" y="433"/>
                  <a:pt x="1392" y="434"/>
                  <a:pt x="1392" y="434"/>
                </a:cubicBezTo>
                <a:cubicBezTo>
                  <a:pt x="1392" y="435"/>
                  <a:pt x="1392" y="435"/>
                  <a:pt x="1392" y="436"/>
                </a:cubicBezTo>
                <a:cubicBezTo>
                  <a:pt x="1392" y="436"/>
                  <a:pt x="1391" y="436"/>
                  <a:pt x="1391" y="436"/>
                </a:cubicBezTo>
                <a:cubicBezTo>
                  <a:pt x="1391" y="436"/>
                  <a:pt x="1391" y="437"/>
                  <a:pt x="1391" y="437"/>
                </a:cubicBezTo>
                <a:cubicBezTo>
                  <a:pt x="1391" y="437"/>
                  <a:pt x="1391" y="437"/>
                  <a:pt x="1391" y="437"/>
                </a:cubicBezTo>
                <a:cubicBezTo>
                  <a:pt x="1391" y="437"/>
                  <a:pt x="1390" y="438"/>
                  <a:pt x="1390" y="438"/>
                </a:cubicBezTo>
                <a:cubicBezTo>
                  <a:pt x="1389" y="439"/>
                  <a:pt x="1389" y="438"/>
                  <a:pt x="1389" y="439"/>
                </a:cubicBezTo>
                <a:cubicBezTo>
                  <a:pt x="1389" y="439"/>
                  <a:pt x="1389" y="440"/>
                  <a:pt x="1389" y="440"/>
                </a:cubicBezTo>
                <a:cubicBezTo>
                  <a:pt x="1389" y="440"/>
                  <a:pt x="1388" y="441"/>
                  <a:pt x="1389" y="442"/>
                </a:cubicBezTo>
                <a:cubicBezTo>
                  <a:pt x="1388" y="442"/>
                  <a:pt x="1388" y="442"/>
                  <a:pt x="1388" y="442"/>
                </a:cubicBezTo>
                <a:cubicBezTo>
                  <a:pt x="1388" y="443"/>
                  <a:pt x="1388" y="442"/>
                  <a:pt x="1388" y="442"/>
                </a:cubicBezTo>
                <a:close/>
                <a:moveTo>
                  <a:pt x="1422" y="425"/>
                </a:moveTo>
                <a:cubicBezTo>
                  <a:pt x="1422" y="426"/>
                  <a:pt x="1422" y="426"/>
                  <a:pt x="1422" y="426"/>
                </a:cubicBezTo>
                <a:cubicBezTo>
                  <a:pt x="1423" y="426"/>
                  <a:pt x="1424" y="425"/>
                  <a:pt x="1425" y="424"/>
                </a:cubicBezTo>
                <a:cubicBezTo>
                  <a:pt x="1424" y="424"/>
                  <a:pt x="1423" y="425"/>
                  <a:pt x="1423" y="425"/>
                </a:cubicBezTo>
                <a:cubicBezTo>
                  <a:pt x="1423" y="425"/>
                  <a:pt x="1423" y="425"/>
                  <a:pt x="1422" y="425"/>
                </a:cubicBezTo>
                <a:close/>
                <a:moveTo>
                  <a:pt x="1420" y="425"/>
                </a:moveTo>
                <a:cubicBezTo>
                  <a:pt x="1420" y="424"/>
                  <a:pt x="1420" y="423"/>
                  <a:pt x="1419" y="423"/>
                </a:cubicBezTo>
                <a:cubicBezTo>
                  <a:pt x="1418" y="424"/>
                  <a:pt x="1420" y="425"/>
                  <a:pt x="1420" y="425"/>
                </a:cubicBezTo>
                <a:close/>
                <a:moveTo>
                  <a:pt x="742" y="417"/>
                </a:moveTo>
                <a:cubicBezTo>
                  <a:pt x="742" y="418"/>
                  <a:pt x="742" y="418"/>
                  <a:pt x="742" y="418"/>
                </a:cubicBezTo>
                <a:cubicBezTo>
                  <a:pt x="742" y="419"/>
                  <a:pt x="742" y="420"/>
                  <a:pt x="743" y="420"/>
                </a:cubicBezTo>
                <a:cubicBezTo>
                  <a:pt x="744" y="420"/>
                  <a:pt x="744" y="419"/>
                  <a:pt x="744" y="418"/>
                </a:cubicBezTo>
                <a:cubicBezTo>
                  <a:pt x="744" y="417"/>
                  <a:pt x="743" y="417"/>
                  <a:pt x="742" y="417"/>
                </a:cubicBezTo>
                <a:close/>
                <a:moveTo>
                  <a:pt x="1429" y="416"/>
                </a:moveTo>
                <a:cubicBezTo>
                  <a:pt x="1429" y="416"/>
                  <a:pt x="1429" y="416"/>
                  <a:pt x="1429" y="416"/>
                </a:cubicBezTo>
                <a:cubicBezTo>
                  <a:pt x="1429" y="416"/>
                  <a:pt x="1429" y="416"/>
                  <a:pt x="1429" y="416"/>
                </a:cubicBezTo>
                <a:cubicBezTo>
                  <a:pt x="1429" y="416"/>
                  <a:pt x="1429" y="416"/>
                  <a:pt x="1429" y="416"/>
                </a:cubicBezTo>
                <a:close/>
                <a:moveTo>
                  <a:pt x="737" y="418"/>
                </a:moveTo>
                <a:cubicBezTo>
                  <a:pt x="738" y="418"/>
                  <a:pt x="738" y="418"/>
                  <a:pt x="738" y="417"/>
                </a:cubicBezTo>
                <a:cubicBezTo>
                  <a:pt x="738" y="417"/>
                  <a:pt x="738" y="417"/>
                  <a:pt x="739" y="417"/>
                </a:cubicBezTo>
                <a:cubicBezTo>
                  <a:pt x="739" y="416"/>
                  <a:pt x="740" y="416"/>
                  <a:pt x="740" y="416"/>
                </a:cubicBezTo>
                <a:cubicBezTo>
                  <a:pt x="739" y="416"/>
                  <a:pt x="738" y="416"/>
                  <a:pt x="738" y="416"/>
                </a:cubicBezTo>
                <a:cubicBezTo>
                  <a:pt x="737" y="416"/>
                  <a:pt x="737" y="416"/>
                  <a:pt x="737" y="417"/>
                </a:cubicBezTo>
                <a:cubicBezTo>
                  <a:pt x="737" y="418"/>
                  <a:pt x="737" y="418"/>
                  <a:pt x="737" y="418"/>
                </a:cubicBezTo>
                <a:cubicBezTo>
                  <a:pt x="738" y="418"/>
                  <a:pt x="737" y="418"/>
                  <a:pt x="737" y="418"/>
                </a:cubicBezTo>
                <a:close/>
                <a:moveTo>
                  <a:pt x="749" y="418"/>
                </a:moveTo>
                <a:cubicBezTo>
                  <a:pt x="749" y="418"/>
                  <a:pt x="749" y="418"/>
                  <a:pt x="749" y="418"/>
                </a:cubicBezTo>
                <a:cubicBezTo>
                  <a:pt x="751" y="418"/>
                  <a:pt x="751" y="417"/>
                  <a:pt x="751" y="415"/>
                </a:cubicBezTo>
                <a:cubicBezTo>
                  <a:pt x="751" y="415"/>
                  <a:pt x="751" y="416"/>
                  <a:pt x="751" y="415"/>
                </a:cubicBezTo>
                <a:cubicBezTo>
                  <a:pt x="751" y="415"/>
                  <a:pt x="751" y="415"/>
                  <a:pt x="750" y="415"/>
                </a:cubicBezTo>
                <a:cubicBezTo>
                  <a:pt x="751" y="415"/>
                  <a:pt x="750" y="417"/>
                  <a:pt x="749" y="418"/>
                </a:cubicBezTo>
                <a:close/>
                <a:moveTo>
                  <a:pt x="734" y="415"/>
                </a:moveTo>
                <a:cubicBezTo>
                  <a:pt x="734" y="415"/>
                  <a:pt x="734" y="415"/>
                  <a:pt x="735" y="415"/>
                </a:cubicBezTo>
                <a:cubicBezTo>
                  <a:pt x="734" y="415"/>
                  <a:pt x="734" y="415"/>
                  <a:pt x="734" y="414"/>
                </a:cubicBezTo>
                <a:cubicBezTo>
                  <a:pt x="734" y="415"/>
                  <a:pt x="734" y="415"/>
                  <a:pt x="734" y="415"/>
                </a:cubicBezTo>
                <a:close/>
                <a:moveTo>
                  <a:pt x="752" y="414"/>
                </a:moveTo>
                <a:cubicBezTo>
                  <a:pt x="752" y="414"/>
                  <a:pt x="753" y="414"/>
                  <a:pt x="753" y="413"/>
                </a:cubicBezTo>
                <a:cubicBezTo>
                  <a:pt x="752" y="412"/>
                  <a:pt x="752" y="413"/>
                  <a:pt x="752" y="414"/>
                </a:cubicBezTo>
                <a:close/>
                <a:moveTo>
                  <a:pt x="388" y="407"/>
                </a:moveTo>
                <a:cubicBezTo>
                  <a:pt x="388" y="408"/>
                  <a:pt x="387" y="409"/>
                  <a:pt x="388" y="409"/>
                </a:cubicBezTo>
                <a:cubicBezTo>
                  <a:pt x="388" y="409"/>
                  <a:pt x="390" y="410"/>
                  <a:pt x="390" y="409"/>
                </a:cubicBezTo>
                <a:cubicBezTo>
                  <a:pt x="390" y="408"/>
                  <a:pt x="390" y="407"/>
                  <a:pt x="388" y="407"/>
                </a:cubicBezTo>
                <a:cubicBezTo>
                  <a:pt x="387" y="409"/>
                  <a:pt x="388" y="407"/>
                  <a:pt x="388" y="407"/>
                </a:cubicBezTo>
                <a:close/>
                <a:moveTo>
                  <a:pt x="1435" y="404"/>
                </a:moveTo>
                <a:cubicBezTo>
                  <a:pt x="1435" y="404"/>
                  <a:pt x="1435" y="404"/>
                  <a:pt x="1434" y="404"/>
                </a:cubicBezTo>
                <a:cubicBezTo>
                  <a:pt x="1435" y="404"/>
                  <a:pt x="1435" y="404"/>
                  <a:pt x="1435" y="404"/>
                </a:cubicBezTo>
                <a:cubicBezTo>
                  <a:pt x="1435" y="404"/>
                  <a:pt x="1435" y="404"/>
                  <a:pt x="1435" y="404"/>
                </a:cubicBezTo>
                <a:close/>
                <a:moveTo>
                  <a:pt x="1438" y="403"/>
                </a:moveTo>
                <a:cubicBezTo>
                  <a:pt x="1438" y="403"/>
                  <a:pt x="1438" y="403"/>
                  <a:pt x="1438" y="403"/>
                </a:cubicBezTo>
                <a:cubicBezTo>
                  <a:pt x="1437" y="403"/>
                  <a:pt x="1437" y="403"/>
                  <a:pt x="1437" y="404"/>
                </a:cubicBezTo>
                <a:cubicBezTo>
                  <a:pt x="1438" y="404"/>
                  <a:pt x="1438" y="404"/>
                  <a:pt x="1438" y="403"/>
                </a:cubicBezTo>
                <a:close/>
                <a:moveTo>
                  <a:pt x="1394" y="398"/>
                </a:moveTo>
                <a:cubicBezTo>
                  <a:pt x="1394" y="397"/>
                  <a:pt x="1394" y="397"/>
                  <a:pt x="1393" y="397"/>
                </a:cubicBezTo>
                <a:cubicBezTo>
                  <a:pt x="1394" y="398"/>
                  <a:pt x="1394" y="398"/>
                  <a:pt x="1394" y="398"/>
                </a:cubicBezTo>
                <a:close/>
                <a:moveTo>
                  <a:pt x="1415" y="388"/>
                </a:moveTo>
                <a:cubicBezTo>
                  <a:pt x="1416" y="388"/>
                  <a:pt x="1416" y="388"/>
                  <a:pt x="1416" y="388"/>
                </a:cubicBezTo>
                <a:cubicBezTo>
                  <a:pt x="1417" y="388"/>
                  <a:pt x="1417" y="386"/>
                  <a:pt x="1417" y="386"/>
                </a:cubicBezTo>
                <a:cubicBezTo>
                  <a:pt x="1416" y="386"/>
                  <a:pt x="1416" y="387"/>
                  <a:pt x="1415" y="387"/>
                </a:cubicBezTo>
                <a:cubicBezTo>
                  <a:pt x="1415" y="387"/>
                  <a:pt x="1415" y="387"/>
                  <a:pt x="1415" y="388"/>
                </a:cubicBezTo>
                <a:close/>
                <a:moveTo>
                  <a:pt x="1431" y="385"/>
                </a:moveTo>
                <a:cubicBezTo>
                  <a:pt x="1431" y="386"/>
                  <a:pt x="1431" y="386"/>
                  <a:pt x="1430" y="386"/>
                </a:cubicBezTo>
                <a:cubicBezTo>
                  <a:pt x="1431" y="386"/>
                  <a:pt x="1431" y="386"/>
                  <a:pt x="1431" y="387"/>
                </a:cubicBezTo>
                <a:cubicBezTo>
                  <a:pt x="1431" y="387"/>
                  <a:pt x="1431" y="387"/>
                  <a:pt x="1431" y="388"/>
                </a:cubicBezTo>
                <a:cubicBezTo>
                  <a:pt x="1433" y="388"/>
                  <a:pt x="1433" y="389"/>
                  <a:pt x="1433" y="390"/>
                </a:cubicBezTo>
                <a:cubicBezTo>
                  <a:pt x="1432" y="391"/>
                  <a:pt x="1432" y="390"/>
                  <a:pt x="1432" y="390"/>
                </a:cubicBezTo>
                <a:cubicBezTo>
                  <a:pt x="1432" y="389"/>
                  <a:pt x="1432" y="389"/>
                  <a:pt x="1431" y="389"/>
                </a:cubicBezTo>
                <a:cubicBezTo>
                  <a:pt x="1431" y="390"/>
                  <a:pt x="1432" y="391"/>
                  <a:pt x="1432" y="392"/>
                </a:cubicBezTo>
                <a:cubicBezTo>
                  <a:pt x="1433" y="393"/>
                  <a:pt x="1433" y="392"/>
                  <a:pt x="1434" y="391"/>
                </a:cubicBezTo>
                <a:cubicBezTo>
                  <a:pt x="1434" y="392"/>
                  <a:pt x="1434" y="392"/>
                  <a:pt x="1434" y="392"/>
                </a:cubicBezTo>
                <a:cubicBezTo>
                  <a:pt x="1435" y="392"/>
                  <a:pt x="1435" y="392"/>
                  <a:pt x="1436" y="391"/>
                </a:cubicBezTo>
                <a:cubicBezTo>
                  <a:pt x="1435" y="390"/>
                  <a:pt x="1435" y="389"/>
                  <a:pt x="1434" y="388"/>
                </a:cubicBezTo>
                <a:cubicBezTo>
                  <a:pt x="1435" y="388"/>
                  <a:pt x="1435" y="388"/>
                  <a:pt x="1436" y="388"/>
                </a:cubicBezTo>
                <a:cubicBezTo>
                  <a:pt x="1436" y="389"/>
                  <a:pt x="1436" y="390"/>
                  <a:pt x="1436" y="391"/>
                </a:cubicBezTo>
                <a:cubicBezTo>
                  <a:pt x="1436" y="391"/>
                  <a:pt x="1436" y="392"/>
                  <a:pt x="1436" y="393"/>
                </a:cubicBezTo>
                <a:cubicBezTo>
                  <a:pt x="1435" y="393"/>
                  <a:pt x="1435" y="393"/>
                  <a:pt x="1434" y="393"/>
                </a:cubicBezTo>
                <a:cubicBezTo>
                  <a:pt x="1433" y="393"/>
                  <a:pt x="1434" y="393"/>
                  <a:pt x="1434" y="394"/>
                </a:cubicBezTo>
                <a:cubicBezTo>
                  <a:pt x="1434" y="394"/>
                  <a:pt x="1433" y="394"/>
                  <a:pt x="1433" y="394"/>
                </a:cubicBezTo>
                <a:cubicBezTo>
                  <a:pt x="1433" y="394"/>
                  <a:pt x="1433" y="394"/>
                  <a:pt x="1433" y="395"/>
                </a:cubicBezTo>
                <a:cubicBezTo>
                  <a:pt x="1433" y="395"/>
                  <a:pt x="1433" y="396"/>
                  <a:pt x="1433" y="397"/>
                </a:cubicBezTo>
                <a:cubicBezTo>
                  <a:pt x="1434" y="397"/>
                  <a:pt x="1434" y="398"/>
                  <a:pt x="1433" y="397"/>
                </a:cubicBezTo>
                <a:cubicBezTo>
                  <a:pt x="1433" y="399"/>
                  <a:pt x="1434" y="399"/>
                  <a:pt x="1435" y="399"/>
                </a:cubicBezTo>
                <a:cubicBezTo>
                  <a:pt x="1435" y="398"/>
                  <a:pt x="1435" y="397"/>
                  <a:pt x="1436" y="396"/>
                </a:cubicBezTo>
                <a:cubicBezTo>
                  <a:pt x="1436" y="398"/>
                  <a:pt x="1436" y="399"/>
                  <a:pt x="1436" y="400"/>
                </a:cubicBezTo>
                <a:cubicBezTo>
                  <a:pt x="1437" y="400"/>
                  <a:pt x="1438" y="400"/>
                  <a:pt x="1438" y="398"/>
                </a:cubicBezTo>
                <a:cubicBezTo>
                  <a:pt x="1439" y="397"/>
                  <a:pt x="1439" y="397"/>
                  <a:pt x="1439" y="396"/>
                </a:cubicBezTo>
                <a:cubicBezTo>
                  <a:pt x="1439" y="396"/>
                  <a:pt x="1439" y="396"/>
                  <a:pt x="1439" y="395"/>
                </a:cubicBezTo>
                <a:cubicBezTo>
                  <a:pt x="1439" y="395"/>
                  <a:pt x="1440" y="395"/>
                  <a:pt x="1440" y="395"/>
                </a:cubicBezTo>
                <a:cubicBezTo>
                  <a:pt x="1440" y="395"/>
                  <a:pt x="1440" y="394"/>
                  <a:pt x="1440" y="393"/>
                </a:cubicBezTo>
                <a:cubicBezTo>
                  <a:pt x="1440" y="393"/>
                  <a:pt x="1440" y="393"/>
                  <a:pt x="1440" y="393"/>
                </a:cubicBezTo>
                <a:cubicBezTo>
                  <a:pt x="1441" y="393"/>
                  <a:pt x="1440" y="391"/>
                  <a:pt x="1440" y="391"/>
                </a:cubicBezTo>
                <a:cubicBezTo>
                  <a:pt x="1440" y="391"/>
                  <a:pt x="1441" y="390"/>
                  <a:pt x="1441" y="391"/>
                </a:cubicBezTo>
                <a:cubicBezTo>
                  <a:pt x="1442" y="390"/>
                  <a:pt x="1442" y="390"/>
                  <a:pt x="1442" y="389"/>
                </a:cubicBezTo>
                <a:cubicBezTo>
                  <a:pt x="1442" y="389"/>
                  <a:pt x="1441" y="389"/>
                  <a:pt x="1441" y="389"/>
                </a:cubicBezTo>
                <a:cubicBezTo>
                  <a:pt x="1441" y="388"/>
                  <a:pt x="1441" y="387"/>
                  <a:pt x="1440" y="387"/>
                </a:cubicBezTo>
                <a:cubicBezTo>
                  <a:pt x="1440" y="387"/>
                  <a:pt x="1440" y="387"/>
                  <a:pt x="1440" y="387"/>
                </a:cubicBezTo>
                <a:cubicBezTo>
                  <a:pt x="1440" y="386"/>
                  <a:pt x="1441" y="385"/>
                  <a:pt x="1440" y="385"/>
                </a:cubicBezTo>
                <a:cubicBezTo>
                  <a:pt x="1440" y="384"/>
                  <a:pt x="1438" y="385"/>
                  <a:pt x="1438" y="385"/>
                </a:cubicBezTo>
                <a:cubicBezTo>
                  <a:pt x="1438" y="384"/>
                  <a:pt x="1438" y="383"/>
                  <a:pt x="1438" y="383"/>
                </a:cubicBezTo>
                <a:cubicBezTo>
                  <a:pt x="1437" y="383"/>
                  <a:pt x="1436" y="383"/>
                  <a:pt x="1436" y="382"/>
                </a:cubicBezTo>
                <a:cubicBezTo>
                  <a:pt x="1435" y="383"/>
                  <a:pt x="1435" y="383"/>
                  <a:pt x="1435" y="384"/>
                </a:cubicBezTo>
                <a:cubicBezTo>
                  <a:pt x="1434" y="384"/>
                  <a:pt x="1434" y="383"/>
                  <a:pt x="1434" y="385"/>
                </a:cubicBezTo>
                <a:cubicBezTo>
                  <a:pt x="1433" y="386"/>
                  <a:pt x="1433" y="385"/>
                  <a:pt x="1432" y="386"/>
                </a:cubicBezTo>
                <a:cubicBezTo>
                  <a:pt x="1432" y="385"/>
                  <a:pt x="1432" y="385"/>
                  <a:pt x="1431" y="385"/>
                </a:cubicBezTo>
                <a:close/>
                <a:moveTo>
                  <a:pt x="1455" y="381"/>
                </a:moveTo>
                <a:cubicBezTo>
                  <a:pt x="1454" y="381"/>
                  <a:pt x="1453" y="381"/>
                  <a:pt x="1454" y="381"/>
                </a:cubicBezTo>
                <a:cubicBezTo>
                  <a:pt x="1454" y="382"/>
                  <a:pt x="1455" y="381"/>
                  <a:pt x="1455" y="381"/>
                </a:cubicBezTo>
                <a:close/>
                <a:moveTo>
                  <a:pt x="1453" y="380"/>
                </a:moveTo>
                <a:cubicBezTo>
                  <a:pt x="1452" y="381"/>
                  <a:pt x="1451" y="381"/>
                  <a:pt x="1450" y="381"/>
                </a:cubicBezTo>
                <a:cubicBezTo>
                  <a:pt x="1450" y="381"/>
                  <a:pt x="1450" y="382"/>
                  <a:pt x="1450" y="382"/>
                </a:cubicBezTo>
                <a:cubicBezTo>
                  <a:pt x="1449" y="382"/>
                  <a:pt x="1448" y="383"/>
                  <a:pt x="1448" y="382"/>
                </a:cubicBezTo>
                <a:cubicBezTo>
                  <a:pt x="1447" y="382"/>
                  <a:pt x="1448" y="382"/>
                  <a:pt x="1447" y="382"/>
                </a:cubicBezTo>
                <a:cubicBezTo>
                  <a:pt x="1446" y="382"/>
                  <a:pt x="1446" y="383"/>
                  <a:pt x="1446" y="383"/>
                </a:cubicBezTo>
                <a:cubicBezTo>
                  <a:pt x="1445" y="385"/>
                  <a:pt x="1444" y="385"/>
                  <a:pt x="1443" y="387"/>
                </a:cubicBezTo>
                <a:cubicBezTo>
                  <a:pt x="1444" y="387"/>
                  <a:pt x="1444" y="386"/>
                  <a:pt x="1444" y="387"/>
                </a:cubicBezTo>
                <a:cubicBezTo>
                  <a:pt x="1444" y="388"/>
                  <a:pt x="1445" y="388"/>
                  <a:pt x="1445" y="388"/>
                </a:cubicBezTo>
                <a:cubicBezTo>
                  <a:pt x="1445" y="388"/>
                  <a:pt x="1444" y="389"/>
                  <a:pt x="1445" y="389"/>
                </a:cubicBezTo>
                <a:cubicBezTo>
                  <a:pt x="1445" y="389"/>
                  <a:pt x="1446" y="390"/>
                  <a:pt x="1445" y="390"/>
                </a:cubicBezTo>
                <a:cubicBezTo>
                  <a:pt x="1446" y="390"/>
                  <a:pt x="1447" y="391"/>
                  <a:pt x="1447" y="391"/>
                </a:cubicBezTo>
                <a:cubicBezTo>
                  <a:pt x="1448" y="391"/>
                  <a:pt x="1448" y="390"/>
                  <a:pt x="1448" y="389"/>
                </a:cubicBezTo>
                <a:cubicBezTo>
                  <a:pt x="1448" y="388"/>
                  <a:pt x="1448" y="387"/>
                  <a:pt x="1449" y="387"/>
                </a:cubicBezTo>
                <a:cubicBezTo>
                  <a:pt x="1449" y="387"/>
                  <a:pt x="1450" y="387"/>
                  <a:pt x="1450" y="387"/>
                </a:cubicBezTo>
                <a:cubicBezTo>
                  <a:pt x="1450" y="387"/>
                  <a:pt x="1450" y="387"/>
                  <a:pt x="1450" y="386"/>
                </a:cubicBezTo>
                <a:cubicBezTo>
                  <a:pt x="1450" y="386"/>
                  <a:pt x="1451" y="386"/>
                  <a:pt x="1451" y="386"/>
                </a:cubicBezTo>
                <a:cubicBezTo>
                  <a:pt x="1452" y="387"/>
                  <a:pt x="1451" y="387"/>
                  <a:pt x="1452" y="387"/>
                </a:cubicBezTo>
                <a:cubicBezTo>
                  <a:pt x="1453" y="387"/>
                  <a:pt x="1453" y="386"/>
                  <a:pt x="1454" y="385"/>
                </a:cubicBezTo>
                <a:cubicBezTo>
                  <a:pt x="1454" y="384"/>
                  <a:pt x="1455" y="385"/>
                  <a:pt x="1454" y="383"/>
                </a:cubicBezTo>
                <a:cubicBezTo>
                  <a:pt x="1454" y="382"/>
                  <a:pt x="1454" y="382"/>
                  <a:pt x="1453" y="382"/>
                </a:cubicBezTo>
                <a:cubicBezTo>
                  <a:pt x="1453" y="382"/>
                  <a:pt x="1453" y="381"/>
                  <a:pt x="1453" y="380"/>
                </a:cubicBezTo>
                <a:cubicBezTo>
                  <a:pt x="1452" y="381"/>
                  <a:pt x="1453" y="380"/>
                  <a:pt x="1453" y="380"/>
                </a:cubicBezTo>
                <a:close/>
                <a:moveTo>
                  <a:pt x="453" y="377"/>
                </a:moveTo>
                <a:cubicBezTo>
                  <a:pt x="453" y="376"/>
                  <a:pt x="452" y="377"/>
                  <a:pt x="451" y="377"/>
                </a:cubicBezTo>
                <a:cubicBezTo>
                  <a:pt x="452" y="378"/>
                  <a:pt x="452" y="377"/>
                  <a:pt x="453" y="377"/>
                </a:cubicBezTo>
                <a:close/>
                <a:moveTo>
                  <a:pt x="1449" y="375"/>
                </a:moveTo>
                <a:cubicBezTo>
                  <a:pt x="1450" y="375"/>
                  <a:pt x="1450" y="374"/>
                  <a:pt x="1450" y="374"/>
                </a:cubicBezTo>
                <a:cubicBezTo>
                  <a:pt x="1448" y="374"/>
                  <a:pt x="1448" y="374"/>
                  <a:pt x="1449" y="375"/>
                </a:cubicBezTo>
                <a:cubicBezTo>
                  <a:pt x="1450" y="375"/>
                  <a:pt x="1449" y="375"/>
                  <a:pt x="1449" y="375"/>
                </a:cubicBezTo>
                <a:close/>
                <a:moveTo>
                  <a:pt x="946" y="374"/>
                </a:moveTo>
                <a:cubicBezTo>
                  <a:pt x="946" y="374"/>
                  <a:pt x="946" y="374"/>
                  <a:pt x="947" y="374"/>
                </a:cubicBezTo>
                <a:cubicBezTo>
                  <a:pt x="947" y="374"/>
                  <a:pt x="947" y="374"/>
                  <a:pt x="946" y="374"/>
                </a:cubicBezTo>
                <a:close/>
                <a:moveTo>
                  <a:pt x="930" y="374"/>
                </a:moveTo>
                <a:cubicBezTo>
                  <a:pt x="929" y="374"/>
                  <a:pt x="928" y="375"/>
                  <a:pt x="929" y="375"/>
                </a:cubicBezTo>
                <a:cubicBezTo>
                  <a:pt x="930" y="376"/>
                  <a:pt x="932" y="376"/>
                  <a:pt x="933" y="376"/>
                </a:cubicBezTo>
                <a:cubicBezTo>
                  <a:pt x="934" y="376"/>
                  <a:pt x="934" y="377"/>
                  <a:pt x="935" y="377"/>
                </a:cubicBezTo>
                <a:cubicBezTo>
                  <a:pt x="935" y="377"/>
                  <a:pt x="935" y="378"/>
                  <a:pt x="936" y="378"/>
                </a:cubicBezTo>
                <a:cubicBezTo>
                  <a:pt x="936" y="378"/>
                  <a:pt x="937" y="378"/>
                  <a:pt x="937" y="378"/>
                </a:cubicBezTo>
                <a:cubicBezTo>
                  <a:pt x="938" y="378"/>
                  <a:pt x="937" y="377"/>
                  <a:pt x="938" y="377"/>
                </a:cubicBezTo>
                <a:cubicBezTo>
                  <a:pt x="938" y="377"/>
                  <a:pt x="938" y="377"/>
                  <a:pt x="938" y="377"/>
                </a:cubicBezTo>
                <a:cubicBezTo>
                  <a:pt x="939" y="377"/>
                  <a:pt x="938" y="377"/>
                  <a:pt x="939" y="377"/>
                </a:cubicBezTo>
                <a:cubicBezTo>
                  <a:pt x="940" y="378"/>
                  <a:pt x="941" y="377"/>
                  <a:pt x="942" y="377"/>
                </a:cubicBezTo>
                <a:cubicBezTo>
                  <a:pt x="943" y="376"/>
                  <a:pt x="943" y="376"/>
                  <a:pt x="942" y="376"/>
                </a:cubicBezTo>
                <a:cubicBezTo>
                  <a:pt x="941" y="376"/>
                  <a:pt x="941" y="376"/>
                  <a:pt x="941" y="375"/>
                </a:cubicBezTo>
                <a:cubicBezTo>
                  <a:pt x="939" y="375"/>
                  <a:pt x="938" y="375"/>
                  <a:pt x="937" y="375"/>
                </a:cubicBezTo>
                <a:cubicBezTo>
                  <a:pt x="936" y="374"/>
                  <a:pt x="934" y="375"/>
                  <a:pt x="932" y="375"/>
                </a:cubicBezTo>
                <a:cubicBezTo>
                  <a:pt x="932" y="374"/>
                  <a:pt x="932" y="374"/>
                  <a:pt x="931" y="374"/>
                </a:cubicBezTo>
                <a:cubicBezTo>
                  <a:pt x="930" y="374"/>
                  <a:pt x="932" y="373"/>
                  <a:pt x="930" y="373"/>
                </a:cubicBezTo>
                <a:cubicBezTo>
                  <a:pt x="930" y="374"/>
                  <a:pt x="930" y="374"/>
                  <a:pt x="930" y="374"/>
                </a:cubicBezTo>
                <a:close/>
                <a:moveTo>
                  <a:pt x="972" y="376"/>
                </a:moveTo>
                <a:cubicBezTo>
                  <a:pt x="971" y="376"/>
                  <a:pt x="971" y="376"/>
                  <a:pt x="971" y="377"/>
                </a:cubicBezTo>
                <a:cubicBezTo>
                  <a:pt x="971" y="377"/>
                  <a:pt x="971" y="378"/>
                  <a:pt x="972" y="378"/>
                </a:cubicBezTo>
                <a:cubicBezTo>
                  <a:pt x="972" y="378"/>
                  <a:pt x="973" y="379"/>
                  <a:pt x="973" y="379"/>
                </a:cubicBezTo>
                <a:cubicBezTo>
                  <a:pt x="974" y="379"/>
                  <a:pt x="974" y="379"/>
                  <a:pt x="975" y="379"/>
                </a:cubicBezTo>
                <a:cubicBezTo>
                  <a:pt x="976" y="379"/>
                  <a:pt x="977" y="379"/>
                  <a:pt x="977" y="378"/>
                </a:cubicBezTo>
                <a:cubicBezTo>
                  <a:pt x="978" y="377"/>
                  <a:pt x="978" y="378"/>
                  <a:pt x="979" y="377"/>
                </a:cubicBezTo>
                <a:cubicBezTo>
                  <a:pt x="979" y="377"/>
                  <a:pt x="979" y="376"/>
                  <a:pt x="979" y="376"/>
                </a:cubicBezTo>
                <a:cubicBezTo>
                  <a:pt x="979" y="376"/>
                  <a:pt x="979" y="376"/>
                  <a:pt x="979" y="375"/>
                </a:cubicBezTo>
                <a:cubicBezTo>
                  <a:pt x="979" y="375"/>
                  <a:pt x="979" y="375"/>
                  <a:pt x="979" y="375"/>
                </a:cubicBezTo>
                <a:cubicBezTo>
                  <a:pt x="979" y="375"/>
                  <a:pt x="979" y="375"/>
                  <a:pt x="979" y="375"/>
                </a:cubicBezTo>
                <a:cubicBezTo>
                  <a:pt x="980" y="374"/>
                  <a:pt x="980" y="374"/>
                  <a:pt x="981" y="374"/>
                </a:cubicBezTo>
                <a:cubicBezTo>
                  <a:pt x="981" y="374"/>
                  <a:pt x="982" y="373"/>
                  <a:pt x="982" y="372"/>
                </a:cubicBezTo>
                <a:cubicBezTo>
                  <a:pt x="982" y="373"/>
                  <a:pt x="981" y="373"/>
                  <a:pt x="980" y="373"/>
                </a:cubicBezTo>
                <a:cubicBezTo>
                  <a:pt x="980" y="374"/>
                  <a:pt x="979" y="374"/>
                  <a:pt x="978" y="374"/>
                </a:cubicBezTo>
                <a:cubicBezTo>
                  <a:pt x="978" y="374"/>
                  <a:pt x="978" y="375"/>
                  <a:pt x="978" y="375"/>
                </a:cubicBezTo>
                <a:cubicBezTo>
                  <a:pt x="978" y="375"/>
                  <a:pt x="977" y="375"/>
                  <a:pt x="977" y="375"/>
                </a:cubicBezTo>
                <a:cubicBezTo>
                  <a:pt x="976" y="375"/>
                  <a:pt x="976" y="375"/>
                  <a:pt x="976" y="375"/>
                </a:cubicBezTo>
                <a:cubicBezTo>
                  <a:pt x="975" y="375"/>
                  <a:pt x="976" y="375"/>
                  <a:pt x="975" y="375"/>
                </a:cubicBezTo>
                <a:cubicBezTo>
                  <a:pt x="975" y="374"/>
                  <a:pt x="975" y="375"/>
                  <a:pt x="974" y="375"/>
                </a:cubicBezTo>
                <a:cubicBezTo>
                  <a:pt x="974" y="375"/>
                  <a:pt x="974" y="375"/>
                  <a:pt x="975" y="376"/>
                </a:cubicBezTo>
                <a:cubicBezTo>
                  <a:pt x="974" y="376"/>
                  <a:pt x="972" y="375"/>
                  <a:pt x="972" y="376"/>
                </a:cubicBezTo>
                <a:cubicBezTo>
                  <a:pt x="971" y="376"/>
                  <a:pt x="972" y="376"/>
                  <a:pt x="972" y="376"/>
                </a:cubicBezTo>
                <a:close/>
                <a:moveTo>
                  <a:pt x="923" y="367"/>
                </a:moveTo>
                <a:cubicBezTo>
                  <a:pt x="923" y="367"/>
                  <a:pt x="923" y="369"/>
                  <a:pt x="924" y="368"/>
                </a:cubicBezTo>
                <a:cubicBezTo>
                  <a:pt x="925" y="368"/>
                  <a:pt x="924" y="367"/>
                  <a:pt x="923" y="367"/>
                </a:cubicBezTo>
                <a:close/>
                <a:moveTo>
                  <a:pt x="943" y="366"/>
                </a:moveTo>
                <a:cubicBezTo>
                  <a:pt x="943" y="365"/>
                  <a:pt x="942" y="365"/>
                  <a:pt x="942" y="366"/>
                </a:cubicBezTo>
                <a:cubicBezTo>
                  <a:pt x="942" y="366"/>
                  <a:pt x="942" y="366"/>
                  <a:pt x="943" y="366"/>
                </a:cubicBezTo>
                <a:close/>
                <a:moveTo>
                  <a:pt x="948" y="366"/>
                </a:moveTo>
                <a:cubicBezTo>
                  <a:pt x="948" y="365"/>
                  <a:pt x="948" y="366"/>
                  <a:pt x="947" y="366"/>
                </a:cubicBezTo>
                <a:cubicBezTo>
                  <a:pt x="947" y="366"/>
                  <a:pt x="947" y="366"/>
                  <a:pt x="948" y="366"/>
                </a:cubicBezTo>
                <a:cubicBezTo>
                  <a:pt x="948" y="365"/>
                  <a:pt x="948" y="366"/>
                  <a:pt x="948" y="366"/>
                </a:cubicBezTo>
                <a:close/>
                <a:moveTo>
                  <a:pt x="943" y="366"/>
                </a:moveTo>
                <a:cubicBezTo>
                  <a:pt x="945" y="366"/>
                  <a:pt x="943" y="365"/>
                  <a:pt x="943" y="366"/>
                </a:cubicBezTo>
                <a:close/>
                <a:moveTo>
                  <a:pt x="1415" y="365"/>
                </a:moveTo>
                <a:cubicBezTo>
                  <a:pt x="1415" y="365"/>
                  <a:pt x="1415" y="367"/>
                  <a:pt x="1416" y="366"/>
                </a:cubicBezTo>
                <a:cubicBezTo>
                  <a:pt x="1417" y="366"/>
                  <a:pt x="1416" y="365"/>
                  <a:pt x="1415" y="365"/>
                </a:cubicBezTo>
                <a:close/>
                <a:moveTo>
                  <a:pt x="942" y="361"/>
                </a:moveTo>
                <a:cubicBezTo>
                  <a:pt x="945" y="361"/>
                  <a:pt x="942" y="360"/>
                  <a:pt x="942" y="361"/>
                </a:cubicBezTo>
                <a:close/>
                <a:moveTo>
                  <a:pt x="458" y="358"/>
                </a:moveTo>
                <a:cubicBezTo>
                  <a:pt x="457" y="358"/>
                  <a:pt x="457" y="359"/>
                  <a:pt x="457" y="359"/>
                </a:cubicBezTo>
                <a:cubicBezTo>
                  <a:pt x="458" y="359"/>
                  <a:pt x="458" y="358"/>
                  <a:pt x="458" y="358"/>
                </a:cubicBezTo>
                <a:close/>
                <a:moveTo>
                  <a:pt x="878" y="358"/>
                </a:moveTo>
                <a:cubicBezTo>
                  <a:pt x="877" y="357"/>
                  <a:pt x="877" y="357"/>
                  <a:pt x="876" y="358"/>
                </a:cubicBezTo>
                <a:cubicBezTo>
                  <a:pt x="876" y="358"/>
                  <a:pt x="876" y="359"/>
                  <a:pt x="876" y="360"/>
                </a:cubicBezTo>
                <a:cubicBezTo>
                  <a:pt x="876" y="360"/>
                  <a:pt x="877" y="360"/>
                  <a:pt x="877" y="360"/>
                </a:cubicBezTo>
                <a:cubicBezTo>
                  <a:pt x="878" y="360"/>
                  <a:pt x="878" y="361"/>
                  <a:pt x="878" y="361"/>
                </a:cubicBezTo>
                <a:cubicBezTo>
                  <a:pt x="878" y="361"/>
                  <a:pt x="879" y="361"/>
                  <a:pt x="879" y="361"/>
                </a:cubicBezTo>
                <a:cubicBezTo>
                  <a:pt x="880" y="362"/>
                  <a:pt x="881" y="362"/>
                  <a:pt x="881" y="363"/>
                </a:cubicBezTo>
                <a:cubicBezTo>
                  <a:pt x="881" y="363"/>
                  <a:pt x="882" y="363"/>
                  <a:pt x="883" y="363"/>
                </a:cubicBezTo>
                <a:cubicBezTo>
                  <a:pt x="883" y="363"/>
                  <a:pt x="883" y="364"/>
                  <a:pt x="884" y="364"/>
                </a:cubicBezTo>
                <a:cubicBezTo>
                  <a:pt x="884" y="364"/>
                  <a:pt x="884" y="364"/>
                  <a:pt x="884" y="364"/>
                </a:cubicBezTo>
                <a:cubicBezTo>
                  <a:pt x="885" y="365"/>
                  <a:pt x="885" y="365"/>
                  <a:pt x="886" y="366"/>
                </a:cubicBezTo>
                <a:cubicBezTo>
                  <a:pt x="886" y="366"/>
                  <a:pt x="888" y="366"/>
                  <a:pt x="888" y="365"/>
                </a:cubicBezTo>
                <a:cubicBezTo>
                  <a:pt x="888" y="365"/>
                  <a:pt x="888" y="365"/>
                  <a:pt x="888" y="364"/>
                </a:cubicBezTo>
                <a:cubicBezTo>
                  <a:pt x="888" y="364"/>
                  <a:pt x="887" y="364"/>
                  <a:pt x="887" y="364"/>
                </a:cubicBezTo>
                <a:cubicBezTo>
                  <a:pt x="889" y="363"/>
                  <a:pt x="888" y="363"/>
                  <a:pt x="889" y="362"/>
                </a:cubicBezTo>
                <a:cubicBezTo>
                  <a:pt x="889" y="362"/>
                  <a:pt x="889" y="362"/>
                  <a:pt x="889" y="362"/>
                </a:cubicBezTo>
                <a:cubicBezTo>
                  <a:pt x="889" y="361"/>
                  <a:pt x="889" y="361"/>
                  <a:pt x="889" y="361"/>
                </a:cubicBezTo>
                <a:cubicBezTo>
                  <a:pt x="889" y="360"/>
                  <a:pt x="888" y="360"/>
                  <a:pt x="888" y="359"/>
                </a:cubicBezTo>
                <a:cubicBezTo>
                  <a:pt x="889" y="359"/>
                  <a:pt x="889" y="358"/>
                  <a:pt x="889" y="357"/>
                </a:cubicBezTo>
                <a:cubicBezTo>
                  <a:pt x="888" y="357"/>
                  <a:pt x="888" y="357"/>
                  <a:pt x="887" y="358"/>
                </a:cubicBezTo>
                <a:cubicBezTo>
                  <a:pt x="886" y="358"/>
                  <a:pt x="885" y="358"/>
                  <a:pt x="883" y="358"/>
                </a:cubicBezTo>
                <a:cubicBezTo>
                  <a:pt x="882" y="359"/>
                  <a:pt x="881" y="359"/>
                  <a:pt x="881" y="358"/>
                </a:cubicBezTo>
                <a:cubicBezTo>
                  <a:pt x="880" y="358"/>
                  <a:pt x="880" y="358"/>
                  <a:pt x="880" y="358"/>
                </a:cubicBezTo>
                <a:cubicBezTo>
                  <a:pt x="879" y="358"/>
                  <a:pt x="878" y="358"/>
                  <a:pt x="878" y="358"/>
                </a:cubicBezTo>
                <a:cubicBezTo>
                  <a:pt x="877" y="358"/>
                  <a:pt x="878" y="358"/>
                  <a:pt x="878" y="358"/>
                </a:cubicBezTo>
                <a:close/>
                <a:moveTo>
                  <a:pt x="915" y="358"/>
                </a:moveTo>
                <a:cubicBezTo>
                  <a:pt x="915" y="358"/>
                  <a:pt x="916" y="358"/>
                  <a:pt x="916" y="358"/>
                </a:cubicBezTo>
                <a:cubicBezTo>
                  <a:pt x="917" y="357"/>
                  <a:pt x="915" y="357"/>
                  <a:pt x="914" y="357"/>
                </a:cubicBezTo>
                <a:cubicBezTo>
                  <a:pt x="914" y="357"/>
                  <a:pt x="914" y="357"/>
                  <a:pt x="914" y="358"/>
                </a:cubicBezTo>
                <a:cubicBezTo>
                  <a:pt x="915" y="357"/>
                  <a:pt x="915" y="357"/>
                  <a:pt x="915" y="358"/>
                </a:cubicBezTo>
                <a:cubicBezTo>
                  <a:pt x="916" y="358"/>
                  <a:pt x="915" y="358"/>
                  <a:pt x="915" y="358"/>
                </a:cubicBezTo>
                <a:close/>
                <a:moveTo>
                  <a:pt x="941" y="356"/>
                </a:moveTo>
                <a:cubicBezTo>
                  <a:pt x="941" y="356"/>
                  <a:pt x="941" y="357"/>
                  <a:pt x="942" y="357"/>
                </a:cubicBezTo>
                <a:cubicBezTo>
                  <a:pt x="941" y="356"/>
                  <a:pt x="941" y="355"/>
                  <a:pt x="941" y="356"/>
                </a:cubicBezTo>
                <a:close/>
                <a:moveTo>
                  <a:pt x="944" y="351"/>
                </a:moveTo>
                <a:cubicBezTo>
                  <a:pt x="943" y="351"/>
                  <a:pt x="943" y="350"/>
                  <a:pt x="943" y="350"/>
                </a:cubicBezTo>
                <a:cubicBezTo>
                  <a:pt x="942" y="350"/>
                  <a:pt x="941" y="350"/>
                  <a:pt x="941" y="351"/>
                </a:cubicBezTo>
                <a:cubicBezTo>
                  <a:pt x="941" y="351"/>
                  <a:pt x="942" y="351"/>
                  <a:pt x="942" y="351"/>
                </a:cubicBezTo>
                <a:cubicBezTo>
                  <a:pt x="943" y="351"/>
                  <a:pt x="942" y="352"/>
                  <a:pt x="942" y="352"/>
                </a:cubicBezTo>
                <a:cubicBezTo>
                  <a:pt x="943" y="353"/>
                  <a:pt x="944" y="352"/>
                  <a:pt x="944" y="351"/>
                </a:cubicBezTo>
                <a:close/>
                <a:moveTo>
                  <a:pt x="823" y="350"/>
                </a:moveTo>
                <a:cubicBezTo>
                  <a:pt x="824" y="350"/>
                  <a:pt x="825" y="349"/>
                  <a:pt x="825" y="348"/>
                </a:cubicBezTo>
                <a:cubicBezTo>
                  <a:pt x="824" y="348"/>
                  <a:pt x="823" y="349"/>
                  <a:pt x="823" y="350"/>
                </a:cubicBezTo>
                <a:cubicBezTo>
                  <a:pt x="823" y="350"/>
                  <a:pt x="823" y="350"/>
                  <a:pt x="823" y="350"/>
                </a:cubicBezTo>
                <a:cubicBezTo>
                  <a:pt x="824" y="350"/>
                  <a:pt x="823" y="350"/>
                  <a:pt x="823" y="350"/>
                </a:cubicBezTo>
                <a:close/>
                <a:moveTo>
                  <a:pt x="1069" y="348"/>
                </a:moveTo>
                <a:cubicBezTo>
                  <a:pt x="1069" y="347"/>
                  <a:pt x="1068" y="349"/>
                  <a:pt x="1068" y="349"/>
                </a:cubicBezTo>
                <a:cubicBezTo>
                  <a:pt x="1069" y="349"/>
                  <a:pt x="1070" y="349"/>
                  <a:pt x="1069" y="348"/>
                </a:cubicBezTo>
                <a:close/>
                <a:moveTo>
                  <a:pt x="912" y="347"/>
                </a:moveTo>
                <a:cubicBezTo>
                  <a:pt x="912" y="348"/>
                  <a:pt x="912" y="348"/>
                  <a:pt x="912" y="348"/>
                </a:cubicBezTo>
                <a:cubicBezTo>
                  <a:pt x="912" y="348"/>
                  <a:pt x="913" y="348"/>
                  <a:pt x="913" y="348"/>
                </a:cubicBezTo>
                <a:cubicBezTo>
                  <a:pt x="913" y="348"/>
                  <a:pt x="912" y="348"/>
                  <a:pt x="912" y="348"/>
                </a:cubicBezTo>
                <a:cubicBezTo>
                  <a:pt x="912" y="347"/>
                  <a:pt x="912" y="347"/>
                  <a:pt x="912" y="347"/>
                </a:cubicBezTo>
                <a:close/>
                <a:moveTo>
                  <a:pt x="842" y="344"/>
                </a:moveTo>
                <a:cubicBezTo>
                  <a:pt x="841" y="344"/>
                  <a:pt x="840" y="344"/>
                  <a:pt x="840" y="345"/>
                </a:cubicBezTo>
                <a:cubicBezTo>
                  <a:pt x="840" y="346"/>
                  <a:pt x="841" y="346"/>
                  <a:pt x="842" y="346"/>
                </a:cubicBezTo>
                <a:cubicBezTo>
                  <a:pt x="842" y="346"/>
                  <a:pt x="842" y="345"/>
                  <a:pt x="842" y="344"/>
                </a:cubicBezTo>
                <a:cubicBezTo>
                  <a:pt x="840" y="344"/>
                  <a:pt x="842" y="344"/>
                  <a:pt x="842" y="344"/>
                </a:cubicBezTo>
                <a:close/>
                <a:moveTo>
                  <a:pt x="832" y="349"/>
                </a:moveTo>
                <a:cubicBezTo>
                  <a:pt x="833" y="349"/>
                  <a:pt x="833" y="349"/>
                  <a:pt x="833" y="348"/>
                </a:cubicBezTo>
                <a:cubicBezTo>
                  <a:pt x="834" y="348"/>
                  <a:pt x="836" y="347"/>
                  <a:pt x="835" y="346"/>
                </a:cubicBezTo>
                <a:cubicBezTo>
                  <a:pt x="835" y="346"/>
                  <a:pt x="834" y="346"/>
                  <a:pt x="834" y="346"/>
                </a:cubicBezTo>
                <a:cubicBezTo>
                  <a:pt x="834" y="345"/>
                  <a:pt x="834" y="345"/>
                  <a:pt x="833" y="344"/>
                </a:cubicBezTo>
                <a:cubicBezTo>
                  <a:pt x="833" y="345"/>
                  <a:pt x="832" y="345"/>
                  <a:pt x="832" y="345"/>
                </a:cubicBezTo>
                <a:cubicBezTo>
                  <a:pt x="832" y="345"/>
                  <a:pt x="832" y="345"/>
                  <a:pt x="832" y="345"/>
                </a:cubicBezTo>
                <a:cubicBezTo>
                  <a:pt x="832" y="346"/>
                  <a:pt x="832" y="346"/>
                  <a:pt x="832" y="347"/>
                </a:cubicBezTo>
                <a:cubicBezTo>
                  <a:pt x="831" y="347"/>
                  <a:pt x="832" y="348"/>
                  <a:pt x="832" y="349"/>
                </a:cubicBezTo>
                <a:close/>
                <a:moveTo>
                  <a:pt x="856" y="342"/>
                </a:moveTo>
                <a:cubicBezTo>
                  <a:pt x="858" y="343"/>
                  <a:pt x="857" y="347"/>
                  <a:pt x="857" y="349"/>
                </a:cubicBezTo>
                <a:cubicBezTo>
                  <a:pt x="858" y="349"/>
                  <a:pt x="858" y="349"/>
                  <a:pt x="858" y="350"/>
                </a:cubicBezTo>
                <a:cubicBezTo>
                  <a:pt x="858" y="351"/>
                  <a:pt x="858" y="350"/>
                  <a:pt x="858" y="350"/>
                </a:cubicBezTo>
                <a:cubicBezTo>
                  <a:pt x="858" y="351"/>
                  <a:pt x="858" y="351"/>
                  <a:pt x="859" y="351"/>
                </a:cubicBezTo>
                <a:cubicBezTo>
                  <a:pt x="860" y="351"/>
                  <a:pt x="860" y="351"/>
                  <a:pt x="860" y="352"/>
                </a:cubicBezTo>
                <a:cubicBezTo>
                  <a:pt x="860" y="352"/>
                  <a:pt x="861" y="352"/>
                  <a:pt x="861" y="351"/>
                </a:cubicBezTo>
                <a:cubicBezTo>
                  <a:pt x="861" y="351"/>
                  <a:pt x="861" y="351"/>
                  <a:pt x="862" y="351"/>
                </a:cubicBezTo>
                <a:cubicBezTo>
                  <a:pt x="862" y="351"/>
                  <a:pt x="863" y="349"/>
                  <a:pt x="863" y="349"/>
                </a:cubicBezTo>
                <a:cubicBezTo>
                  <a:pt x="863" y="347"/>
                  <a:pt x="863" y="346"/>
                  <a:pt x="863" y="345"/>
                </a:cubicBezTo>
                <a:cubicBezTo>
                  <a:pt x="863" y="344"/>
                  <a:pt x="864" y="343"/>
                  <a:pt x="864" y="341"/>
                </a:cubicBezTo>
                <a:cubicBezTo>
                  <a:pt x="864" y="340"/>
                  <a:pt x="862" y="340"/>
                  <a:pt x="862" y="339"/>
                </a:cubicBezTo>
                <a:cubicBezTo>
                  <a:pt x="862" y="339"/>
                  <a:pt x="862" y="338"/>
                  <a:pt x="862" y="338"/>
                </a:cubicBezTo>
                <a:cubicBezTo>
                  <a:pt x="862" y="338"/>
                  <a:pt x="861" y="337"/>
                  <a:pt x="861" y="337"/>
                </a:cubicBezTo>
                <a:cubicBezTo>
                  <a:pt x="860" y="338"/>
                  <a:pt x="860" y="338"/>
                  <a:pt x="860" y="338"/>
                </a:cubicBezTo>
                <a:cubicBezTo>
                  <a:pt x="859" y="339"/>
                  <a:pt x="859" y="338"/>
                  <a:pt x="859" y="339"/>
                </a:cubicBezTo>
                <a:cubicBezTo>
                  <a:pt x="858" y="340"/>
                  <a:pt x="858" y="339"/>
                  <a:pt x="857" y="340"/>
                </a:cubicBezTo>
                <a:cubicBezTo>
                  <a:pt x="857" y="340"/>
                  <a:pt x="857" y="340"/>
                  <a:pt x="856" y="340"/>
                </a:cubicBezTo>
                <a:cubicBezTo>
                  <a:pt x="856" y="341"/>
                  <a:pt x="856" y="341"/>
                  <a:pt x="856" y="341"/>
                </a:cubicBezTo>
                <a:cubicBezTo>
                  <a:pt x="856" y="342"/>
                  <a:pt x="856" y="341"/>
                  <a:pt x="856" y="342"/>
                </a:cubicBezTo>
                <a:cubicBezTo>
                  <a:pt x="856" y="342"/>
                  <a:pt x="856" y="342"/>
                  <a:pt x="856" y="342"/>
                </a:cubicBezTo>
                <a:close/>
                <a:moveTo>
                  <a:pt x="1449" y="376"/>
                </a:moveTo>
                <a:cubicBezTo>
                  <a:pt x="1449" y="377"/>
                  <a:pt x="1449" y="377"/>
                  <a:pt x="1449" y="377"/>
                </a:cubicBezTo>
                <a:cubicBezTo>
                  <a:pt x="1449" y="377"/>
                  <a:pt x="1449" y="378"/>
                  <a:pt x="1449" y="378"/>
                </a:cubicBezTo>
                <a:cubicBezTo>
                  <a:pt x="1449" y="378"/>
                  <a:pt x="1448" y="378"/>
                  <a:pt x="1448" y="378"/>
                </a:cubicBezTo>
                <a:cubicBezTo>
                  <a:pt x="1448" y="378"/>
                  <a:pt x="1448" y="378"/>
                  <a:pt x="1448" y="378"/>
                </a:cubicBezTo>
                <a:cubicBezTo>
                  <a:pt x="1448" y="378"/>
                  <a:pt x="1448" y="377"/>
                  <a:pt x="1448" y="377"/>
                </a:cubicBezTo>
                <a:cubicBezTo>
                  <a:pt x="1448" y="376"/>
                  <a:pt x="1448" y="377"/>
                  <a:pt x="1448" y="377"/>
                </a:cubicBezTo>
                <a:cubicBezTo>
                  <a:pt x="1448" y="376"/>
                  <a:pt x="1448" y="376"/>
                  <a:pt x="1448" y="376"/>
                </a:cubicBezTo>
                <a:cubicBezTo>
                  <a:pt x="1448" y="376"/>
                  <a:pt x="1449" y="376"/>
                  <a:pt x="1449" y="376"/>
                </a:cubicBezTo>
                <a:cubicBezTo>
                  <a:pt x="1449" y="377"/>
                  <a:pt x="1449" y="376"/>
                  <a:pt x="1449" y="376"/>
                </a:cubicBezTo>
                <a:close/>
                <a:moveTo>
                  <a:pt x="1446" y="375"/>
                </a:moveTo>
                <a:cubicBezTo>
                  <a:pt x="1446" y="376"/>
                  <a:pt x="1446" y="376"/>
                  <a:pt x="1445" y="377"/>
                </a:cubicBezTo>
                <a:cubicBezTo>
                  <a:pt x="1444" y="377"/>
                  <a:pt x="1443" y="378"/>
                  <a:pt x="1443" y="379"/>
                </a:cubicBezTo>
                <a:cubicBezTo>
                  <a:pt x="1442" y="380"/>
                  <a:pt x="1441" y="380"/>
                  <a:pt x="1440" y="380"/>
                </a:cubicBezTo>
                <a:cubicBezTo>
                  <a:pt x="1439" y="381"/>
                  <a:pt x="1438" y="381"/>
                  <a:pt x="1438" y="380"/>
                </a:cubicBezTo>
                <a:cubicBezTo>
                  <a:pt x="1437" y="379"/>
                  <a:pt x="1437" y="381"/>
                  <a:pt x="1437" y="381"/>
                </a:cubicBezTo>
                <a:cubicBezTo>
                  <a:pt x="1437" y="382"/>
                  <a:pt x="1437" y="382"/>
                  <a:pt x="1438" y="382"/>
                </a:cubicBezTo>
                <a:cubicBezTo>
                  <a:pt x="1439" y="382"/>
                  <a:pt x="1440" y="382"/>
                  <a:pt x="1441" y="382"/>
                </a:cubicBezTo>
                <a:cubicBezTo>
                  <a:pt x="1442" y="382"/>
                  <a:pt x="1442" y="382"/>
                  <a:pt x="1443" y="383"/>
                </a:cubicBezTo>
                <a:cubicBezTo>
                  <a:pt x="1444" y="383"/>
                  <a:pt x="1444" y="381"/>
                  <a:pt x="1444" y="381"/>
                </a:cubicBezTo>
                <a:cubicBezTo>
                  <a:pt x="1445" y="380"/>
                  <a:pt x="1446" y="381"/>
                  <a:pt x="1447" y="381"/>
                </a:cubicBezTo>
                <a:cubicBezTo>
                  <a:pt x="1446" y="381"/>
                  <a:pt x="1448" y="380"/>
                  <a:pt x="1448" y="380"/>
                </a:cubicBezTo>
                <a:cubicBezTo>
                  <a:pt x="1449" y="380"/>
                  <a:pt x="1449" y="381"/>
                  <a:pt x="1449" y="380"/>
                </a:cubicBezTo>
                <a:cubicBezTo>
                  <a:pt x="1449" y="380"/>
                  <a:pt x="1449" y="380"/>
                  <a:pt x="1450" y="380"/>
                </a:cubicBezTo>
                <a:cubicBezTo>
                  <a:pt x="1450" y="380"/>
                  <a:pt x="1451" y="380"/>
                  <a:pt x="1451" y="379"/>
                </a:cubicBezTo>
                <a:cubicBezTo>
                  <a:pt x="1451" y="379"/>
                  <a:pt x="1452" y="380"/>
                  <a:pt x="1452" y="380"/>
                </a:cubicBezTo>
                <a:cubicBezTo>
                  <a:pt x="1452" y="379"/>
                  <a:pt x="1454" y="380"/>
                  <a:pt x="1454" y="379"/>
                </a:cubicBezTo>
                <a:cubicBezTo>
                  <a:pt x="1454" y="379"/>
                  <a:pt x="1455" y="379"/>
                  <a:pt x="1456" y="379"/>
                </a:cubicBezTo>
                <a:cubicBezTo>
                  <a:pt x="1456" y="379"/>
                  <a:pt x="1457" y="379"/>
                  <a:pt x="1458" y="379"/>
                </a:cubicBezTo>
                <a:cubicBezTo>
                  <a:pt x="1457" y="380"/>
                  <a:pt x="1456" y="381"/>
                  <a:pt x="1456" y="381"/>
                </a:cubicBezTo>
                <a:cubicBezTo>
                  <a:pt x="1456" y="382"/>
                  <a:pt x="1456" y="382"/>
                  <a:pt x="1456" y="383"/>
                </a:cubicBezTo>
                <a:cubicBezTo>
                  <a:pt x="1456" y="383"/>
                  <a:pt x="1456" y="383"/>
                  <a:pt x="1456" y="383"/>
                </a:cubicBezTo>
                <a:cubicBezTo>
                  <a:pt x="1456" y="383"/>
                  <a:pt x="1456" y="383"/>
                  <a:pt x="1456" y="384"/>
                </a:cubicBezTo>
                <a:cubicBezTo>
                  <a:pt x="1456" y="384"/>
                  <a:pt x="1457" y="384"/>
                  <a:pt x="1457" y="385"/>
                </a:cubicBezTo>
                <a:cubicBezTo>
                  <a:pt x="1457" y="386"/>
                  <a:pt x="1458" y="386"/>
                  <a:pt x="1458" y="386"/>
                </a:cubicBezTo>
                <a:cubicBezTo>
                  <a:pt x="1459" y="386"/>
                  <a:pt x="1461" y="385"/>
                  <a:pt x="1462" y="384"/>
                </a:cubicBezTo>
                <a:cubicBezTo>
                  <a:pt x="1462" y="383"/>
                  <a:pt x="1462" y="383"/>
                  <a:pt x="1463" y="383"/>
                </a:cubicBezTo>
                <a:cubicBezTo>
                  <a:pt x="1463" y="382"/>
                  <a:pt x="1464" y="382"/>
                  <a:pt x="1464" y="382"/>
                </a:cubicBezTo>
                <a:cubicBezTo>
                  <a:pt x="1464" y="381"/>
                  <a:pt x="1464" y="381"/>
                  <a:pt x="1463" y="380"/>
                </a:cubicBezTo>
                <a:cubicBezTo>
                  <a:pt x="1463" y="380"/>
                  <a:pt x="1464" y="379"/>
                  <a:pt x="1464" y="379"/>
                </a:cubicBezTo>
                <a:cubicBezTo>
                  <a:pt x="1464" y="379"/>
                  <a:pt x="1465" y="379"/>
                  <a:pt x="1465" y="379"/>
                </a:cubicBezTo>
                <a:cubicBezTo>
                  <a:pt x="1466" y="379"/>
                  <a:pt x="1467" y="379"/>
                  <a:pt x="1467" y="379"/>
                </a:cubicBezTo>
                <a:cubicBezTo>
                  <a:pt x="1467" y="380"/>
                  <a:pt x="1467" y="380"/>
                  <a:pt x="1466" y="380"/>
                </a:cubicBezTo>
                <a:cubicBezTo>
                  <a:pt x="1467" y="381"/>
                  <a:pt x="1468" y="381"/>
                  <a:pt x="1468" y="380"/>
                </a:cubicBezTo>
                <a:cubicBezTo>
                  <a:pt x="1469" y="380"/>
                  <a:pt x="1469" y="379"/>
                  <a:pt x="1470" y="380"/>
                </a:cubicBezTo>
                <a:cubicBezTo>
                  <a:pt x="1470" y="380"/>
                  <a:pt x="1472" y="380"/>
                  <a:pt x="1472" y="379"/>
                </a:cubicBezTo>
                <a:cubicBezTo>
                  <a:pt x="1472" y="379"/>
                  <a:pt x="1474" y="378"/>
                  <a:pt x="1475" y="378"/>
                </a:cubicBezTo>
                <a:cubicBezTo>
                  <a:pt x="1475" y="379"/>
                  <a:pt x="1475" y="380"/>
                  <a:pt x="1475" y="380"/>
                </a:cubicBezTo>
                <a:cubicBezTo>
                  <a:pt x="1475" y="380"/>
                  <a:pt x="1475" y="380"/>
                  <a:pt x="1475" y="381"/>
                </a:cubicBezTo>
                <a:cubicBezTo>
                  <a:pt x="1476" y="381"/>
                  <a:pt x="1476" y="380"/>
                  <a:pt x="1476" y="380"/>
                </a:cubicBezTo>
                <a:cubicBezTo>
                  <a:pt x="1477" y="379"/>
                  <a:pt x="1476" y="377"/>
                  <a:pt x="1477" y="377"/>
                </a:cubicBezTo>
                <a:cubicBezTo>
                  <a:pt x="1478" y="377"/>
                  <a:pt x="1479" y="378"/>
                  <a:pt x="1479" y="376"/>
                </a:cubicBezTo>
                <a:cubicBezTo>
                  <a:pt x="1479" y="376"/>
                  <a:pt x="1479" y="375"/>
                  <a:pt x="1479" y="375"/>
                </a:cubicBezTo>
                <a:cubicBezTo>
                  <a:pt x="1479" y="375"/>
                  <a:pt x="1479" y="375"/>
                  <a:pt x="1479" y="375"/>
                </a:cubicBezTo>
                <a:cubicBezTo>
                  <a:pt x="1479" y="374"/>
                  <a:pt x="1479" y="374"/>
                  <a:pt x="1479" y="374"/>
                </a:cubicBezTo>
                <a:cubicBezTo>
                  <a:pt x="1479" y="373"/>
                  <a:pt x="1480" y="373"/>
                  <a:pt x="1481" y="372"/>
                </a:cubicBezTo>
                <a:cubicBezTo>
                  <a:pt x="1481" y="373"/>
                  <a:pt x="1481" y="373"/>
                  <a:pt x="1481" y="373"/>
                </a:cubicBezTo>
                <a:cubicBezTo>
                  <a:pt x="1481" y="373"/>
                  <a:pt x="1481" y="375"/>
                  <a:pt x="1480" y="375"/>
                </a:cubicBezTo>
                <a:cubicBezTo>
                  <a:pt x="1479" y="375"/>
                  <a:pt x="1480" y="377"/>
                  <a:pt x="1480" y="378"/>
                </a:cubicBezTo>
                <a:cubicBezTo>
                  <a:pt x="1482" y="378"/>
                  <a:pt x="1482" y="376"/>
                  <a:pt x="1483" y="375"/>
                </a:cubicBezTo>
                <a:cubicBezTo>
                  <a:pt x="1483" y="374"/>
                  <a:pt x="1485" y="373"/>
                  <a:pt x="1484" y="372"/>
                </a:cubicBezTo>
                <a:cubicBezTo>
                  <a:pt x="1482" y="371"/>
                  <a:pt x="1480" y="371"/>
                  <a:pt x="1483" y="371"/>
                </a:cubicBezTo>
                <a:cubicBezTo>
                  <a:pt x="1483" y="370"/>
                  <a:pt x="1483" y="370"/>
                  <a:pt x="1483" y="369"/>
                </a:cubicBezTo>
                <a:cubicBezTo>
                  <a:pt x="1483" y="369"/>
                  <a:pt x="1483" y="369"/>
                  <a:pt x="1483" y="369"/>
                </a:cubicBezTo>
                <a:cubicBezTo>
                  <a:pt x="1483" y="368"/>
                  <a:pt x="1483" y="368"/>
                  <a:pt x="1483" y="368"/>
                </a:cubicBezTo>
                <a:cubicBezTo>
                  <a:pt x="1483" y="367"/>
                  <a:pt x="1482" y="367"/>
                  <a:pt x="1482" y="367"/>
                </a:cubicBezTo>
                <a:cubicBezTo>
                  <a:pt x="1482" y="367"/>
                  <a:pt x="1483" y="367"/>
                  <a:pt x="1483" y="366"/>
                </a:cubicBezTo>
                <a:cubicBezTo>
                  <a:pt x="1483" y="366"/>
                  <a:pt x="1483" y="366"/>
                  <a:pt x="1483" y="366"/>
                </a:cubicBezTo>
                <a:cubicBezTo>
                  <a:pt x="1483" y="365"/>
                  <a:pt x="1483" y="364"/>
                  <a:pt x="1484" y="364"/>
                </a:cubicBezTo>
                <a:cubicBezTo>
                  <a:pt x="1484" y="364"/>
                  <a:pt x="1483" y="362"/>
                  <a:pt x="1484" y="362"/>
                </a:cubicBezTo>
                <a:cubicBezTo>
                  <a:pt x="1484" y="362"/>
                  <a:pt x="1484" y="361"/>
                  <a:pt x="1484" y="360"/>
                </a:cubicBezTo>
                <a:cubicBezTo>
                  <a:pt x="1484" y="359"/>
                  <a:pt x="1484" y="357"/>
                  <a:pt x="1484" y="356"/>
                </a:cubicBezTo>
                <a:cubicBezTo>
                  <a:pt x="1484" y="355"/>
                  <a:pt x="1484" y="355"/>
                  <a:pt x="1485" y="355"/>
                </a:cubicBezTo>
                <a:cubicBezTo>
                  <a:pt x="1485" y="355"/>
                  <a:pt x="1486" y="355"/>
                  <a:pt x="1486" y="355"/>
                </a:cubicBezTo>
                <a:cubicBezTo>
                  <a:pt x="1487" y="354"/>
                  <a:pt x="1487" y="354"/>
                  <a:pt x="1486" y="353"/>
                </a:cubicBezTo>
                <a:cubicBezTo>
                  <a:pt x="1488" y="353"/>
                  <a:pt x="1487" y="352"/>
                  <a:pt x="1488" y="351"/>
                </a:cubicBezTo>
                <a:cubicBezTo>
                  <a:pt x="1488" y="351"/>
                  <a:pt x="1489" y="350"/>
                  <a:pt x="1489" y="350"/>
                </a:cubicBezTo>
                <a:cubicBezTo>
                  <a:pt x="1489" y="349"/>
                  <a:pt x="1489" y="344"/>
                  <a:pt x="1488" y="344"/>
                </a:cubicBezTo>
                <a:cubicBezTo>
                  <a:pt x="1488" y="344"/>
                  <a:pt x="1488" y="343"/>
                  <a:pt x="1488" y="342"/>
                </a:cubicBezTo>
                <a:cubicBezTo>
                  <a:pt x="1487" y="342"/>
                  <a:pt x="1487" y="342"/>
                  <a:pt x="1487" y="342"/>
                </a:cubicBezTo>
                <a:cubicBezTo>
                  <a:pt x="1487" y="342"/>
                  <a:pt x="1487" y="342"/>
                  <a:pt x="1487" y="341"/>
                </a:cubicBezTo>
                <a:cubicBezTo>
                  <a:pt x="1487" y="341"/>
                  <a:pt x="1486" y="340"/>
                  <a:pt x="1486" y="340"/>
                </a:cubicBezTo>
                <a:cubicBezTo>
                  <a:pt x="1486" y="339"/>
                  <a:pt x="1484" y="339"/>
                  <a:pt x="1484" y="339"/>
                </a:cubicBezTo>
                <a:cubicBezTo>
                  <a:pt x="1483" y="339"/>
                  <a:pt x="1484" y="339"/>
                  <a:pt x="1483" y="339"/>
                </a:cubicBezTo>
                <a:cubicBezTo>
                  <a:pt x="1484" y="338"/>
                  <a:pt x="1483" y="338"/>
                  <a:pt x="1483" y="337"/>
                </a:cubicBezTo>
                <a:cubicBezTo>
                  <a:pt x="1482" y="337"/>
                  <a:pt x="1482" y="337"/>
                  <a:pt x="1481" y="337"/>
                </a:cubicBezTo>
                <a:cubicBezTo>
                  <a:pt x="1482" y="339"/>
                  <a:pt x="1482" y="340"/>
                  <a:pt x="1481" y="341"/>
                </a:cubicBezTo>
                <a:cubicBezTo>
                  <a:pt x="1480" y="341"/>
                  <a:pt x="1481" y="341"/>
                  <a:pt x="1480" y="341"/>
                </a:cubicBezTo>
                <a:cubicBezTo>
                  <a:pt x="1479" y="341"/>
                  <a:pt x="1479" y="342"/>
                  <a:pt x="1479" y="342"/>
                </a:cubicBezTo>
                <a:cubicBezTo>
                  <a:pt x="1480" y="342"/>
                  <a:pt x="1480" y="345"/>
                  <a:pt x="1480" y="345"/>
                </a:cubicBezTo>
                <a:cubicBezTo>
                  <a:pt x="1479" y="346"/>
                  <a:pt x="1479" y="346"/>
                  <a:pt x="1478" y="347"/>
                </a:cubicBezTo>
                <a:cubicBezTo>
                  <a:pt x="1478" y="347"/>
                  <a:pt x="1478" y="347"/>
                  <a:pt x="1478" y="347"/>
                </a:cubicBezTo>
                <a:cubicBezTo>
                  <a:pt x="1479" y="347"/>
                  <a:pt x="1480" y="347"/>
                  <a:pt x="1480" y="347"/>
                </a:cubicBezTo>
                <a:cubicBezTo>
                  <a:pt x="1480" y="347"/>
                  <a:pt x="1481" y="349"/>
                  <a:pt x="1479" y="350"/>
                </a:cubicBezTo>
                <a:cubicBezTo>
                  <a:pt x="1479" y="350"/>
                  <a:pt x="1479" y="350"/>
                  <a:pt x="1479" y="350"/>
                </a:cubicBezTo>
                <a:cubicBezTo>
                  <a:pt x="1479" y="351"/>
                  <a:pt x="1479" y="350"/>
                  <a:pt x="1479" y="351"/>
                </a:cubicBezTo>
                <a:cubicBezTo>
                  <a:pt x="1479" y="351"/>
                  <a:pt x="1479" y="352"/>
                  <a:pt x="1478" y="353"/>
                </a:cubicBezTo>
                <a:cubicBezTo>
                  <a:pt x="1478" y="354"/>
                  <a:pt x="1478" y="354"/>
                  <a:pt x="1477" y="354"/>
                </a:cubicBezTo>
                <a:cubicBezTo>
                  <a:pt x="1477" y="354"/>
                  <a:pt x="1477" y="355"/>
                  <a:pt x="1477" y="355"/>
                </a:cubicBezTo>
                <a:cubicBezTo>
                  <a:pt x="1477" y="355"/>
                  <a:pt x="1477" y="355"/>
                  <a:pt x="1477" y="355"/>
                </a:cubicBezTo>
                <a:cubicBezTo>
                  <a:pt x="1477" y="356"/>
                  <a:pt x="1477" y="356"/>
                  <a:pt x="1477" y="356"/>
                </a:cubicBezTo>
                <a:cubicBezTo>
                  <a:pt x="1477" y="357"/>
                  <a:pt x="1474" y="358"/>
                  <a:pt x="1474" y="359"/>
                </a:cubicBezTo>
                <a:cubicBezTo>
                  <a:pt x="1474" y="360"/>
                  <a:pt x="1472" y="360"/>
                  <a:pt x="1472" y="361"/>
                </a:cubicBezTo>
                <a:cubicBezTo>
                  <a:pt x="1472" y="361"/>
                  <a:pt x="1472" y="361"/>
                  <a:pt x="1472" y="362"/>
                </a:cubicBezTo>
                <a:cubicBezTo>
                  <a:pt x="1472" y="362"/>
                  <a:pt x="1472" y="362"/>
                  <a:pt x="1471" y="362"/>
                </a:cubicBezTo>
                <a:cubicBezTo>
                  <a:pt x="1471" y="362"/>
                  <a:pt x="1472" y="363"/>
                  <a:pt x="1471" y="363"/>
                </a:cubicBezTo>
                <a:cubicBezTo>
                  <a:pt x="1471" y="363"/>
                  <a:pt x="1471" y="363"/>
                  <a:pt x="1470" y="364"/>
                </a:cubicBezTo>
                <a:cubicBezTo>
                  <a:pt x="1470" y="365"/>
                  <a:pt x="1470" y="364"/>
                  <a:pt x="1469" y="364"/>
                </a:cubicBezTo>
                <a:cubicBezTo>
                  <a:pt x="1469" y="364"/>
                  <a:pt x="1469" y="364"/>
                  <a:pt x="1468" y="365"/>
                </a:cubicBezTo>
                <a:cubicBezTo>
                  <a:pt x="1466" y="365"/>
                  <a:pt x="1468" y="365"/>
                  <a:pt x="1467" y="365"/>
                </a:cubicBezTo>
                <a:cubicBezTo>
                  <a:pt x="1467" y="365"/>
                  <a:pt x="1467" y="365"/>
                  <a:pt x="1467" y="365"/>
                </a:cubicBezTo>
                <a:cubicBezTo>
                  <a:pt x="1467" y="366"/>
                  <a:pt x="1467" y="366"/>
                  <a:pt x="1466" y="366"/>
                </a:cubicBezTo>
                <a:cubicBezTo>
                  <a:pt x="1465" y="367"/>
                  <a:pt x="1465" y="366"/>
                  <a:pt x="1464" y="366"/>
                </a:cubicBezTo>
                <a:cubicBezTo>
                  <a:pt x="1464" y="366"/>
                  <a:pt x="1464" y="366"/>
                  <a:pt x="1464" y="366"/>
                </a:cubicBezTo>
                <a:cubicBezTo>
                  <a:pt x="1464" y="365"/>
                  <a:pt x="1464" y="365"/>
                  <a:pt x="1464" y="365"/>
                </a:cubicBezTo>
                <a:cubicBezTo>
                  <a:pt x="1464" y="365"/>
                  <a:pt x="1464" y="365"/>
                  <a:pt x="1464" y="364"/>
                </a:cubicBezTo>
                <a:cubicBezTo>
                  <a:pt x="1464" y="364"/>
                  <a:pt x="1464" y="364"/>
                  <a:pt x="1464" y="364"/>
                </a:cubicBezTo>
                <a:cubicBezTo>
                  <a:pt x="1465" y="363"/>
                  <a:pt x="1466" y="362"/>
                  <a:pt x="1466" y="361"/>
                </a:cubicBezTo>
                <a:cubicBezTo>
                  <a:pt x="1466" y="361"/>
                  <a:pt x="1463" y="363"/>
                  <a:pt x="1463" y="364"/>
                </a:cubicBezTo>
                <a:cubicBezTo>
                  <a:pt x="1463" y="365"/>
                  <a:pt x="1463" y="366"/>
                  <a:pt x="1463" y="367"/>
                </a:cubicBezTo>
                <a:cubicBezTo>
                  <a:pt x="1463" y="367"/>
                  <a:pt x="1462" y="367"/>
                  <a:pt x="1462" y="367"/>
                </a:cubicBezTo>
                <a:cubicBezTo>
                  <a:pt x="1462" y="367"/>
                  <a:pt x="1462" y="368"/>
                  <a:pt x="1462" y="368"/>
                </a:cubicBezTo>
                <a:cubicBezTo>
                  <a:pt x="1461" y="368"/>
                  <a:pt x="1461" y="370"/>
                  <a:pt x="1461" y="370"/>
                </a:cubicBezTo>
                <a:cubicBezTo>
                  <a:pt x="1460" y="370"/>
                  <a:pt x="1460" y="371"/>
                  <a:pt x="1460" y="371"/>
                </a:cubicBezTo>
                <a:cubicBezTo>
                  <a:pt x="1460" y="371"/>
                  <a:pt x="1460" y="372"/>
                  <a:pt x="1460" y="372"/>
                </a:cubicBezTo>
                <a:cubicBezTo>
                  <a:pt x="1460" y="372"/>
                  <a:pt x="1461" y="372"/>
                  <a:pt x="1461" y="372"/>
                </a:cubicBezTo>
                <a:cubicBezTo>
                  <a:pt x="1461" y="373"/>
                  <a:pt x="1460" y="373"/>
                  <a:pt x="1459" y="374"/>
                </a:cubicBezTo>
                <a:cubicBezTo>
                  <a:pt x="1459" y="375"/>
                  <a:pt x="1459" y="375"/>
                  <a:pt x="1457" y="374"/>
                </a:cubicBezTo>
                <a:cubicBezTo>
                  <a:pt x="1457" y="374"/>
                  <a:pt x="1457" y="374"/>
                  <a:pt x="1456" y="374"/>
                </a:cubicBezTo>
                <a:cubicBezTo>
                  <a:pt x="1456" y="374"/>
                  <a:pt x="1456" y="373"/>
                  <a:pt x="1456" y="373"/>
                </a:cubicBezTo>
                <a:cubicBezTo>
                  <a:pt x="1456" y="373"/>
                  <a:pt x="1455" y="373"/>
                  <a:pt x="1454" y="373"/>
                </a:cubicBezTo>
                <a:cubicBezTo>
                  <a:pt x="1453" y="373"/>
                  <a:pt x="1453" y="375"/>
                  <a:pt x="1452" y="375"/>
                </a:cubicBezTo>
                <a:cubicBezTo>
                  <a:pt x="1452" y="375"/>
                  <a:pt x="1451" y="375"/>
                  <a:pt x="1451" y="375"/>
                </a:cubicBezTo>
                <a:cubicBezTo>
                  <a:pt x="1449" y="375"/>
                  <a:pt x="1449" y="376"/>
                  <a:pt x="1448" y="376"/>
                </a:cubicBezTo>
                <a:cubicBezTo>
                  <a:pt x="1448" y="375"/>
                  <a:pt x="1448" y="375"/>
                  <a:pt x="1448" y="374"/>
                </a:cubicBezTo>
                <a:cubicBezTo>
                  <a:pt x="1447" y="374"/>
                  <a:pt x="1447" y="375"/>
                  <a:pt x="1446" y="375"/>
                </a:cubicBezTo>
                <a:cubicBezTo>
                  <a:pt x="1446" y="377"/>
                  <a:pt x="1446" y="375"/>
                  <a:pt x="1446" y="375"/>
                </a:cubicBezTo>
                <a:close/>
                <a:moveTo>
                  <a:pt x="471" y="337"/>
                </a:moveTo>
                <a:cubicBezTo>
                  <a:pt x="471" y="337"/>
                  <a:pt x="471" y="337"/>
                  <a:pt x="471" y="337"/>
                </a:cubicBezTo>
                <a:cubicBezTo>
                  <a:pt x="470" y="337"/>
                  <a:pt x="470" y="337"/>
                  <a:pt x="470" y="337"/>
                </a:cubicBezTo>
                <a:cubicBezTo>
                  <a:pt x="470" y="338"/>
                  <a:pt x="469" y="337"/>
                  <a:pt x="469" y="337"/>
                </a:cubicBezTo>
                <a:cubicBezTo>
                  <a:pt x="469" y="338"/>
                  <a:pt x="469" y="338"/>
                  <a:pt x="468" y="338"/>
                </a:cubicBezTo>
                <a:cubicBezTo>
                  <a:pt x="468" y="338"/>
                  <a:pt x="467" y="338"/>
                  <a:pt x="467" y="339"/>
                </a:cubicBezTo>
                <a:cubicBezTo>
                  <a:pt x="467" y="340"/>
                  <a:pt x="468" y="340"/>
                  <a:pt x="469" y="340"/>
                </a:cubicBezTo>
                <a:cubicBezTo>
                  <a:pt x="470" y="340"/>
                  <a:pt x="472" y="338"/>
                  <a:pt x="473" y="339"/>
                </a:cubicBezTo>
                <a:cubicBezTo>
                  <a:pt x="474" y="339"/>
                  <a:pt x="475" y="339"/>
                  <a:pt x="475" y="337"/>
                </a:cubicBezTo>
                <a:cubicBezTo>
                  <a:pt x="476" y="337"/>
                  <a:pt x="476" y="337"/>
                  <a:pt x="476" y="337"/>
                </a:cubicBezTo>
                <a:cubicBezTo>
                  <a:pt x="475" y="337"/>
                  <a:pt x="474" y="337"/>
                  <a:pt x="473" y="337"/>
                </a:cubicBezTo>
                <a:cubicBezTo>
                  <a:pt x="473" y="336"/>
                  <a:pt x="471" y="337"/>
                  <a:pt x="471" y="337"/>
                </a:cubicBezTo>
                <a:close/>
                <a:moveTo>
                  <a:pt x="1485" y="337"/>
                </a:moveTo>
                <a:cubicBezTo>
                  <a:pt x="1486" y="337"/>
                  <a:pt x="1486" y="337"/>
                  <a:pt x="1487" y="337"/>
                </a:cubicBezTo>
                <a:cubicBezTo>
                  <a:pt x="1487" y="337"/>
                  <a:pt x="1487" y="336"/>
                  <a:pt x="1487" y="336"/>
                </a:cubicBezTo>
                <a:cubicBezTo>
                  <a:pt x="1486" y="336"/>
                  <a:pt x="1485" y="336"/>
                  <a:pt x="1485" y="337"/>
                </a:cubicBezTo>
                <a:cubicBezTo>
                  <a:pt x="1486" y="337"/>
                  <a:pt x="1485" y="337"/>
                  <a:pt x="1485" y="337"/>
                </a:cubicBezTo>
                <a:close/>
                <a:moveTo>
                  <a:pt x="486" y="331"/>
                </a:moveTo>
                <a:cubicBezTo>
                  <a:pt x="485" y="331"/>
                  <a:pt x="484" y="331"/>
                  <a:pt x="484" y="332"/>
                </a:cubicBezTo>
                <a:cubicBezTo>
                  <a:pt x="485" y="331"/>
                  <a:pt x="486" y="332"/>
                  <a:pt x="486" y="331"/>
                </a:cubicBezTo>
                <a:cubicBezTo>
                  <a:pt x="485" y="331"/>
                  <a:pt x="486" y="331"/>
                  <a:pt x="486" y="331"/>
                </a:cubicBezTo>
                <a:close/>
                <a:moveTo>
                  <a:pt x="860" y="336"/>
                </a:moveTo>
                <a:cubicBezTo>
                  <a:pt x="861" y="337"/>
                  <a:pt x="862" y="333"/>
                  <a:pt x="862" y="332"/>
                </a:cubicBezTo>
                <a:cubicBezTo>
                  <a:pt x="862" y="331"/>
                  <a:pt x="862" y="332"/>
                  <a:pt x="862" y="331"/>
                </a:cubicBezTo>
                <a:cubicBezTo>
                  <a:pt x="863" y="331"/>
                  <a:pt x="863" y="330"/>
                  <a:pt x="863" y="330"/>
                </a:cubicBezTo>
                <a:cubicBezTo>
                  <a:pt x="862" y="330"/>
                  <a:pt x="862" y="330"/>
                  <a:pt x="862" y="330"/>
                </a:cubicBezTo>
                <a:cubicBezTo>
                  <a:pt x="862" y="329"/>
                  <a:pt x="862" y="329"/>
                  <a:pt x="862" y="328"/>
                </a:cubicBezTo>
                <a:cubicBezTo>
                  <a:pt x="862" y="327"/>
                  <a:pt x="862" y="325"/>
                  <a:pt x="861" y="325"/>
                </a:cubicBezTo>
                <a:cubicBezTo>
                  <a:pt x="861" y="325"/>
                  <a:pt x="859" y="328"/>
                  <a:pt x="859" y="328"/>
                </a:cubicBezTo>
                <a:cubicBezTo>
                  <a:pt x="858" y="328"/>
                  <a:pt x="857" y="328"/>
                  <a:pt x="857" y="330"/>
                </a:cubicBezTo>
                <a:cubicBezTo>
                  <a:pt x="857" y="330"/>
                  <a:pt x="857" y="331"/>
                  <a:pt x="857" y="331"/>
                </a:cubicBezTo>
                <a:cubicBezTo>
                  <a:pt x="858" y="331"/>
                  <a:pt x="857" y="334"/>
                  <a:pt x="857" y="334"/>
                </a:cubicBezTo>
                <a:cubicBezTo>
                  <a:pt x="858" y="335"/>
                  <a:pt x="859" y="336"/>
                  <a:pt x="860" y="336"/>
                </a:cubicBezTo>
                <a:cubicBezTo>
                  <a:pt x="860" y="336"/>
                  <a:pt x="860" y="336"/>
                  <a:pt x="860" y="336"/>
                </a:cubicBezTo>
                <a:close/>
                <a:moveTo>
                  <a:pt x="1513" y="323"/>
                </a:moveTo>
                <a:cubicBezTo>
                  <a:pt x="1513" y="323"/>
                  <a:pt x="1513" y="323"/>
                  <a:pt x="1513" y="323"/>
                </a:cubicBezTo>
                <a:cubicBezTo>
                  <a:pt x="1514" y="322"/>
                  <a:pt x="1514" y="323"/>
                  <a:pt x="1514" y="322"/>
                </a:cubicBezTo>
                <a:cubicBezTo>
                  <a:pt x="1514" y="322"/>
                  <a:pt x="1513" y="322"/>
                  <a:pt x="1512" y="322"/>
                </a:cubicBezTo>
                <a:cubicBezTo>
                  <a:pt x="1513" y="322"/>
                  <a:pt x="1512" y="322"/>
                  <a:pt x="1513" y="323"/>
                </a:cubicBezTo>
                <a:close/>
                <a:moveTo>
                  <a:pt x="1507" y="323"/>
                </a:moveTo>
                <a:cubicBezTo>
                  <a:pt x="1509" y="322"/>
                  <a:pt x="1508" y="322"/>
                  <a:pt x="1509" y="321"/>
                </a:cubicBezTo>
                <a:cubicBezTo>
                  <a:pt x="1510" y="319"/>
                  <a:pt x="1511" y="320"/>
                  <a:pt x="1512" y="318"/>
                </a:cubicBezTo>
                <a:cubicBezTo>
                  <a:pt x="1510" y="318"/>
                  <a:pt x="1510" y="318"/>
                  <a:pt x="1509" y="319"/>
                </a:cubicBezTo>
                <a:cubicBezTo>
                  <a:pt x="1509" y="320"/>
                  <a:pt x="1508" y="321"/>
                  <a:pt x="1507" y="323"/>
                </a:cubicBezTo>
                <a:cubicBezTo>
                  <a:pt x="1509" y="322"/>
                  <a:pt x="1507" y="323"/>
                  <a:pt x="1507" y="323"/>
                </a:cubicBezTo>
                <a:close/>
                <a:moveTo>
                  <a:pt x="526" y="310"/>
                </a:moveTo>
                <a:cubicBezTo>
                  <a:pt x="526" y="310"/>
                  <a:pt x="525" y="310"/>
                  <a:pt x="525" y="311"/>
                </a:cubicBezTo>
                <a:cubicBezTo>
                  <a:pt x="526" y="311"/>
                  <a:pt x="526" y="311"/>
                  <a:pt x="526" y="310"/>
                </a:cubicBezTo>
                <a:close/>
                <a:moveTo>
                  <a:pt x="430" y="311"/>
                </a:moveTo>
                <a:cubicBezTo>
                  <a:pt x="430" y="310"/>
                  <a:pt x="429" y="310"/>
                  <a:pt x="429" y="310"/>
                </a:cubicBezTo>
                <a:cubicBezTo>
                  <a:pt x="429" y="311"/>
                  <a:pt x="429" y="311"/>
                  <a:pt x="430" y="312"/>
                </a:cubicBezTo>
                <a:cubicBezTo>
                  <a:pt x="430" y="311"/>
                  <a:pt x="430" y="311"/>
                  <a:pt x="430" y="311"/>
                </a:cubicBezTo>
                <a:cubicBezTo>
                  <a:pt x="430" y="310"/>
                  <a:pt x="430" y="311"/>
                  <a:pt x="430" y="311"/>
                </a:cubicBezTo>
                <a:close/>
                <a:moveTo>
                  <a:pt x="1522" y="309"/>
                </a:moveTo>
                <a:cubicBezTo>
                  <a:pt x="1521" y="310"/>
                  <a:pt x="1520" y="315"/>
                  <a:pt x="1519" y="313"/>
                </a:cubicBezTo>
                <a:cubicBezTo>
                  <a:pt x="1519" y="312"/>
                  <a:pt x="1518" y="312"/>
                  <a:pt x="1518" y="313"/>
                </a:cubicBezTo>
                <a:cubicBezTo>
                  <a:pt x="1518" y="313"/>
                  <a:pt x="1518" y="314"/>
                  <a:pt x="1517" y="314"/>
                </a:cubicBezTo>
                <a:cubicBezTo>
                  <a:pt x="1516" y="314"/>
                  <a:pt x="1516" y="315"/>
                  <a:pt x="1515" y="315"/>
                </a:cubicBezTo>
                <a:cubicBezTo>
                  <a:pt x="1514" y="315"/>
                  <a:pt x="1515" y="316"/>
                  <a:pt x="1514" y="316"/>
                </a:cubicBezTo>
                <a:cubicBezTo>
                  <a:pt x="1513" y="316"/>
                  <a:pt x="1513" y="317"/>
                  <a:pt x="1514" y="317"/>
                </a:cubicBezTo>
                <a:cubicBezTo>
                  <a:pt x="1515" y="317"/>
                  <a:pt x="1516" y="315"/>
                  <a:pt x="1518" y="315"/>
                </a:cubicBezTo>
                <a:cubicBezTo>
                  <a:pt x="1519" y="315"/>
                  <a:pt x="1519" y="314"/>
                  <a:pt x="1519" y="314"/>
                </a:cubicBezTo>
                <a:cubicBezTo>
                  <a:pt x="1519" y="314"/>
                  <a:pt x="1520" y="314"/>
                  <a:pt x="1520" y="314"/>
                </a:cubicBezTo>
                <a:cubicBezTo>
                  <a:pt x="1520" y="313"/>
                  <a:pt x="1521" y="313"/>
                  <a:pt x="1521" y="313"/>
                </a:cubicBezTo>
                <a:cubicBezTo>
                  <a:pt x="1522" y="313"/>
                  <a:pt x="1521" y="313"/>
                  <a:pt x="1522" y="312"/>
                </a:cubicBezTo>
                <a:cubicBezTo>
                  <a:pt x="1522" y="312"/>
                  <a:pt x="1522" y="312"/>
                  <a:pt x="1522" y="311"/>
                </a:cubicBezTo>
                <a:cubicBezTo>
                  <a:pt x="1522" y="310"/>
                  <a:pt x="1522" y="310"/>
                  <a:pt x="1522" y="309"/>
                </a:cubicBezTo>
                <a:cubicBezTo>
                  <a:pt x="1521" y="311"/>
                  <a:pt x="1522" y="309"/>
                  <a:pt x="1522" y="309"/>
                </a:cubicBezTo>
                <a:close/>
                <a:moveTo>
                  <a:pt x="1479" y="328"/>
                </a:moveTo>
                <a:cubicBezTo>
                  <a:pt x="1479" y="329"/>
                  <a:pt x="1479" y="330"/>
                  <a:pt x="1480" y="331"/>
                </a:cubicBezTo>
                <a:cubicBezTo>
                  <a:pt x="1480" y="332"/>
                  <a:pt x="1481" y="331"/>
                  <a:pt x="1481" y="332"/>
                </a:cubicBezTo>
                <a:cubicBezTo>
                  <a:pt x="1481" y="333"/>
                  <a:pt x="1481" y="333"/>
                  <a:pt x="1481" y="334"/>
                </a:cubicBezTo>
                <a:cubicBezTo>
                  <a:pt x="1481" y="335"/>
                  <a:pt x="1481" y="335"/>
                  <a:pt x="1482" y="335"/>
                </a:cubicBezTo>
                <a:cubicBezTo>
                  <a:pt x="1482" y="334"/>
                  <a:pt x="1483" y="335"/>
                  <a:pt x="1483" y="334"/>
                </a:cubicBezTo>
                <a:cubicBezTo>
                  <a:pt x="1484" y="333"/>
                  <a:pt x="1484" y="334"/>
                  <a:pt x="1485" y="334"/>
                </a:cubicBezTo>
                <a:cubicBezTo>
                  <a:pt x="1486" y="334"/>
                  <a:pt x="1486" y="334"/>
                  <a:pt x="1486" y="333"/>
                </a:cubicBezTo>
                <a:cubicBezTo>
                  <a:pt x="1485" y="333"/>
                  <a:pt x="1485" y="332"/>
                  <a:pt x="1484" y="332"/>
                </a:cubicBezTo>
                <a:cubicBezTo>
                  <a:pt x="1484" y="332"/>
                  <a:pt x="1484" y="332"/>
                  <a:pt x="1484" y="332"/>
                </a:cubicBezTo>
                <a:cubicBezTo>
                  <a:pt x="1484" y="332"/>
                  <a:pt x="1483" y="331"/>
                  <a:pt x="1482" y="331"/>
                </a:cubicBezTo>
                <a:cubicBezTo>
                  <a:pt x="1482" y="331"/>
                  <a:pt x="1482" y="330"/>
                  <a:pt x="1482" y="330"/>
                </a:cubicBezTo>
                <a:cubicBezTo>
                  <a:pt x="1482" y="329"/>
                  <a:pt x="1484" y="330"/>
                  <a:pt x="1484" y="329"/>
                </a:cubicBezTo>
                <a:cubicBezTo>
                  <a:pt x="1484" y="328"/>
                  <a:pt x="1485" y="329"/>
                  <a:pt x="1485" y="329"/>
                </a:cubicBezTo>
                <a:cubicBezTo>
                  <a:pt x="1486" y="330"/>
                  <a:pt x="1486" y="329"/>
                  <a:pt x="1486" y="329"/>
                </a:cubicBezTo>
                <a:cubicBezTo>
                  <a:pt x="1487" y="329"/>
                  <a:pt x="1487" y="329"/>
                  <a:pt x="1488" y="329"/>
                </a:cubicBezTo>
                <a:cubicBezTo>
                  <a:pt x="1489" y="329"/>
                  <a:pt x="1490" y="330"/>
                  <a:pt x="1490" y="331"/>
                </a:cubicBezTo>
                <a:cubicBezTo>
                  <a:pt x="1491" y="332"/>
                  <a:pt x="1493" y="332"/>
                  <a:pt x="1495" y="332"/>
                </a:cubicBezTo>
                <a:cubicBezTo>
                  <a:pt x="1496" y="332"/>
                  <a:pt x="1496" y="328"/>
                  <a:pt x="1498" y="327"/>
                </a:cubicBezTo>
                <a:cubicBezTo>
                  <a:pt x="1499" y="327"/>
                  <a:pt x="1499" y="326"/>
                  <a:pt x="1501" y="326"/>
                </a:cubicBezTo>
                <a:cubicBezTo>
                  <a:pt x="1501" y="326"/>
                  <a:pt x="1502" y="327"/>
                  <a:pt x="1503" y="327"/>
                </a:cubicBezTo>
                <a:cubicBezTo>
                  <a:pt x="1503" y="326"/>
                  <a:pt x="1503" y="326"/>
                  <a:pt x="1505" y="326"/>
                </a:cubicBezTo>
                <a:cubicBezTo>
                  <a:pt x="1505" y="326"/>
                  <a:pt x="1506" y="325"/>
                  <a:pt x="1507" y="325"/>
                </a:cubicBezTo>
                <a:cubicBezTo>
                  <a:pt x="1507" y="324"/>
                  <a:pt x="1506" y="325"/>
                  <a:pt x="1506" y="324"/>
                </a:cubicBezTo>
                <a:cubicBezTo>
                  <a:pt x="1506" y="323"/>
                  <a:pt x="1505" y="323"/>
                  <a:pt x="1505" y="323"/>
                </a:cubicBezTo>
                <a:cubicBezTo>
                  <a:pt x="1505" y="322"/>
                  <a:pt x="1505" y="322"/>
                  <a:pt x="1505" y="321"/>
                </a:cubicBezTo>
                <a:cubicBezTo>
                  <a:pt x="1505" y="321"/>
                  <a:pt x="1504" y="321"/>
                  <a:pt x="1504" y="321"/>
                </a:cubicBezTo>
                <a:cubicBezTo>
                  <a:pt x="1503" y="321"/>
                  <a:pt x="1503" y="321"/>
                  <a:pt x="1502" y="321"/>
                </a:cubicBezTo>
                <a:cubicBezTo>
                  <a:pt x="1501" y="321"/>
                  <a:pt x="1501" y="319"/>
                  <a:pt x="1501" y="319"/>
                </a:cubicBezTo>
                <a:cubicBezTo>
                  <a:pt x="1500" y="319"/>
                  <a:pt x="1498" y="319"/>
                  <a:pt x="1498" y="320"/>
                </a:cubicBezTo>
                <a:cubicBezTo>
                  <a:pt x="1497" y="320"/>
                  <a:pt x="1497" y="320"/>
                  <a:pt x="1496" y="319"/>
                </a:cubicBezTo>
                <a:cubicBezTo>
                  <a:pt x="1495" y="319"/>
                  <a:pt x="1495" y="318"/>
                  <a:pt x="1494" y="317"/>
                </a:cubicBezTo>
                <a:cubicBezTo>
                  <a:pt x="1494" y="316"/>
                  <a:pt x="1493" y="315"/>
                  <a:pt x="1492" y="313"/>
                </a:cubicBezTo>
                <a:cubicBezTo>
                  <a:pt x="1492" y="313"/>
                  <a:pt x="1492" y="313"/>
                  <a:pt x="1492" y="313"/>
                </a:cubicBezTo>
                <a:cubicBezTo>
                  <a:pt x="1491" y="312"/>
                  <a:pt x="1491" y="313"/>
                  <a:pt x="1491" y="312"/>
                </a:cubicBezTo>
                <a:cubicBezTo>
                  <a:pt x="1490" y="311"/>
                  <a:pt x="1490" y="311"/>
                  <a:pt x="1489" y="310"/>
                </a:cubicBezTo>
                <a:cubicBezTo>
                  <a:pt x="1489" y="310"/>
                  <a:pt x="1489" y="310"/>
                  <a:pt x="1489" y="309"/>
                </a:cubicBezTo>
                <a:cubicBezTo>
                  <a:pt x="1487" y="310"/>
                  <a:pt x="1487" y="310"/>
                  <a:pt x="1486" y="312"/>
                </a:cubicBezTo>
                <a:cubicBezTo>
                  <a:pt x="1487" y="312"/>
                  <a:pt x="1488" y="313"/>
                  <a:pt x="1488" y="314"/>
                </a:cubicBezTo>
                <a:cubicBezTo>
                  <a:pt x="1489" y="315"/>
                  <a:pt x="1489" y="315"/>
                  <a:pt x="1489" y="316"/>
                </a:cubicBezTo>
                <a:cubicBezTo>
                  <a:pt x="1488" y="316"/>
                  <a:pt x="1488" y="317"/>
                  <a:pt x="1488" y="317"/>
                </a:cubicBezTo>
                <a:cubicBezTo>
                  <a:pt x="1488" y="318"/>
                  <a:pt x="1488" y="319"/>
                  <a:pt x="1488" y="319"/>
                </a:cubicBezTo>
                <a:cubicBezTo>
                  <a:pt x="1488" y="321"/>
                  <a:pt x="1486" y="321"/>
                  <a:pt x="1486" y="322"/>
                </a:cubicBezTo>
                <a:cubicBezTo>
                  <a:pt x="1487" y="323"/>
                  <a:pt x="1487" y="323"/>
                  <a:pt x="1487" y="324"/>
                </a:cubicBezTo>
                <a:cubicBezTo>
                  <a:pt x="1487" y="325"/>
                  <a:pt x="1487" y="325"/>
                  <a:pt x="1486" y="326"/>
                </a:cubicBezTo>
                <a:cubicBezTo>
                  <a:pt x="1485" y="326"/>
                  <a:pt x="1485" y="326"/>
                  <a:pt x="1484" y="325"/>
                </a:cubicBezTo>
                <a:cubicBezTo>
                  <a:pt x="1483" y="325"/>
                  <a:pt x="1483" y="324"/>
                  <a:pt x="1483" y="324"/>
                </a:cubicBezTo>
                <a:cubicBezTo>
                  <a:pt x="1482" y="324"/>
                  <a:pt x="1482" y="324"/>
                  <a:pt x="1482" y="324"/>
                </a:cubicBezTo>
                <a:cubicBezTo>
                  <a:pt x="1482" y="324"/>
                  <a:pt x="1482" y="324"/>
                  <a:pt x="1481" y="324"/>
                </a:cubicBezTo>
                <a:cubicBezTo>
                  <a:pt x="1482" y="324"/>
                  <a:pt x="1481" y="325"/>
                  <a:pt x="1481" y="324"/>
                </a:cubicBezTo>
                <a:cubicBezTo>
                  <a:pt x="1481" y="325"/>
                  <a:pt x="1482" y="325"/>
                  <a:pt x="1482" y="325"/>
                </a:cubicBezTo>
                <a:cubicBezTo>
                  <a:pt x="1482" y="326"/>
                  <a:pt x="1482" y="327"/>
                  <a:pt x="1481" y="327"/>
                </a:cubicBezTo>
                <a:cubicBezTo>
                  <a:pt x="1480" y="327"/>
                  <a:pt x="1480" y="328"/>
                  <a:pt x="1479" y="328"/>
                </a:cubicBezTo>
                <a:cubicBezTo>
                  <a:pt x="1479" y="330"/>
                  <a:pt x="1479" y="328"/>
                  <a:pt x="1479" y="328"/>
                </a:cubicBezTo>
                <a:close/>
                <a:moveTo>
                  <a:pt x="406" y="307"/>
                </a:moveTo>
                <a:cubicBezTo>
                  <a:pt x="406" y="306"/>
                  <a:pt x="406" y="307"/>
                  <a:pt x="406" y="306"/>
                </a:cubicBezTo>
                <a:cubicBezTo>
                  <a:pt x="406" y="307"/>
                  <a:pt x="406" y="307"/>
                  <a:pt x="406" y="308"/>
                </a:cubicBezTo>
                <a:cubicBezTo>
                  <a:pt x="406" y="308"/>
                  <a:pt x="407" y="307"/>
                  <a:pt x="406" y="307"/>
                </a:cubicBezTo>
                <a:cubicBezTo>
                  <a:pt x="406" y="306"/>
                  <a:pt x="406" y="307"/>
                  <a:pt x="406" y="307"/>
                </a:cubicBezTo>
                <a:close/>
                <a:moveTo>
                  <a:pt x="428" y="308"/>
                </a:moveTo>
                <a:cubicBezTo>
                  <a:pt x="428" y="308"/>
                  <a:pt x="428" y="308"/>
                  <a:pt x="428" y="308"/>
                </a:cubicBezTo>
                <a:cubicBezTo>
                  <a:pt x="426" y="307"/>
                  <a:pt x="425" y="306"/>
                  <a:pt x="422" y="306"/>
                </a:cubicBezTo>
                <a:cubicBezTo>
                  <a:pt x="422" y="308"/>
                  <a:pt x="427" y="308"/>
                  <a:pt x="428" y="308"/>
                </a:cubicBezTo>
                <a:close/>
                <a:moveTo>
                  <a:pt x="1526" y="309"/>
                </a:moveTo>
                <a:cubicBezTo>
                  <a:pt x="1526" y="309"/>
                  <a:pt x="1526" y="309"/>
                  <a:pt x="1526" y="310"/>
                </a:cubicBezTo>
                <a:cubicBezTo>
                  <a:pt x="1526" y="310"/>
                  <a:pt x="1526" y="310"/>
                  <a:pt x="1526" y="310"/>
                </a:cubicBezTo>
                <a:cubicBezTo>
                  <a:pt x="1527" y="310"/>
                  <a:pt x="1529" y="309"/>
                  <a:pt x="1529" y="308"/>
                </a:cubicBezTo>
                <a:cubicBezTo>
                  <a:pt x="1529" y="307"/>
                  <a:pt x="1530" y="306"/>
                  <a:pt x="1530" y="305"/>
                </a:cubicBezTo>
                <a:cubicBezTo>
                  <a:pt x="1529" y="306"/>
                  <a:pt x="1528" y="305"/>
                  <a:pt x="1528" y="306"/>
                </a:cubicBezTo>
                <a:cubicBezTo>
                  <a:pt x="1528" y="306"/>
                  <a:pt x="1528" y="307"/>
                  <a:pt x="1528" y="307"/>
                </a:cubicBezTo>
                <a:cubicBezTo>
                  <a:pt x="1527" y="307"/>
                  <a:pt x="1527" y="306"/>
                  <a:pt x="1527" y="307"/>
                </a:cubicBezTo>
                <a:cubicBezTo>
                  <a:pt x="1527" y="308"/>
                  <a:pt x="1527" y="308"/>
                  <a:pt x="1526" y="309"/>
                </a:cubicBezTo>
                <a:cubicBezTo>
                  <a:pt x="1526" y="309"/>
                  <a:pt x="1526" y="309"/>
                  <a:pt x="1526" y="309"/>
                </a:cubicBezTo>
                <a:close/>
                <a:moveTo>
                  <a:pt x="1105" y="306"/>
                </a:moveTo>
                <a:cubicBezTo>
                  <a:pt x="1106" y="306"/>
                  <a:pt x="1106" y="306"/>
                  <a:pt x="1105" y="305"/>
                </a:cubicBezTo>
                <a:cubicBezTo>
                  <a:pt x="1105" y="306"/>
                  <a:pt x="1105" y="306"/>
                  <a:pt x="1105" y="306"/>
                </a:cubicBezTo>
                <a:close/>
                <a:moveTo>
                  <a:pt x="420" y="306"/>
                </a:moveTo>
                <a:cubicBezTo>
                  <a:pt x="420" y="305"/>
                  <a:pt x="420" y="305"/>
                  <a:pt x="420" y="305"/>
                </a:cubicBezTo>
                <a:cubicBezTo>
                  <a:pt x="420" y="306"/>
                  <a:pt x="420" y="306"/>
                  <a:pt x="420" y="306"/>
                </a:cubicBezTo>
                <a:close/>
                <a:moveTo>
                  <a:pt x="534" y="306"/>
                </a:moveTo>
                <a:cubicBezTo>
                  <a:pt x="534" y="305"/>
                  <a:pt x="534" y="304"/>
                  <a:pt x="534" y="305"/>
                </a:cubicBezTo>
                <a:cubicBezTo>
                  <a:pt x="534" y="305"/>
                  <a:pt x="534" y="305"/>
                  <a:pt x="533" y="305"/>
                </a:cubicBezTo>
                <a:cubicBezTo>
                  <a:pt x="534" y="304"/>
                  <a:pt x="535" y="304"/>
                  <a:pt x="534" y="303"/>
                </a:cubicBezTo>
                <a:cubicBezTo>
                  <a:pt x="534" y="303"/>
                  <a:pt x="534" y="303"/>
                  <a:pt x="534" y="303"/>
                </a:cubicBezTo>
                <a:cubicBezTo>
                  <a:pt x="534" y="303"/>
                  <a:pt x="534" y="303"/>
                  <a:pt x="533" y="303"/>
                </a:cubicBezTo>
                <a:cubicBezTo>
                  <a:pt x="533" y="304"/>
                  <a:pt x="533" y="303"/>
                  <a:pt x="531" y="304"/>
                </a:cubicBezTo>
                <a:cubicBezTo>
                  <a:pt x="531" y="304"/>
                  <a:pt x="530" y="304"/>
                  <a:pt x="530" y="305"/>
                </a:cubicBezTo>
                <a:cubicBezTo>
                  <a:pt x="530" y="305"/>
                  <a:pt x="531" y="305"/>
                  <a:pt x="531" y="305"/>
                </a:cubicBezTo>
                <a:cubicBezTo>
                  <a:pt x="530" y="306"/>
                  <a:pt x="530" y="306"/>
                  <a:pt x="530" y="307"/>
                </a:cubicBezTo>
                <a:cubicBezTo>
                  <a:pt x="530" y="308"/>
                  <a:pt x="530" y="308"/>
                  <a:pt x="530" y="308"/>
                </a:cubicBezTo>
                <a:cubicBezTo>
                  <a:pt x="531" y="308"/>
                  <a:pt x="533" y="308"/>
                  <a:pt x="533" y="307"/>
                </a:cubicBezTo>
                <a:cubicBezTo>
                  <a:pt x="533" y="306"/>
                  <a:pt x="533" y="306"/>
                  <a:pt x="534" y="306"/>
                </a:cubicBezTo>
                <a:cubicBezTo>
                  <a:pt x="534" y="305"/>
                  <a:pt x="534" y="306"/>
                  <a:pt x="534" y="306"/>
                </a:cubicBezTo>
                <a:close/>
                <a:moveTo>
                  <a:pt x="1536" y="303"/>
                </a:moveTo>
                <a:cubicBezTo>
                  <a:pt x="1536" y="302"/>
                  <a:pt x="1536" y="302"/>
                  <a:pt x="1535" y="302"/>
                </a:cubicBezTo>
                <a:cubicBezTo>
                  <a:pt x="1535" y="302"/>
                  <a:pt x="1535" y="302"/>
                  <a:pt x="1536" y="303"/>
                </a:cubicBezTo>
                <a:close/>
                <a:moveTo>
                  <a:pt x="1536" y="302"/>
                </a:moveTo>
                <a:cubicBezTo>
                  <a:pt x="1536" y="303"/>
                  <a:pt x="1537" y="302"/>
                  <a:pt x="1537" y="301"/>
                </a:cubicBezTo>
                <a:cubicBezTo>
                  <a:pt x="1538" y="300"/>
                  <a:pt x="1538" y="301"/>
                  <a:pt x="1538" y="299"/>
                </a:cubicBezTo>
                <a:cubicBezTo>
                  <a:pt x="1536" y="300"/>
                  <a:pt x="1537" y="301"/>
                  <a:pt x="1536" y="302"/>
                </a:cubicBezTo>
                <a:close/>
                <a:moveTo>
                  <a:pt x="519" y="304"/>
                </a:moveTo>
                <a:cubicBezTo>
                  <a:pt x="520" y="305"/>
                  <a:pt x="521" y="305"/>
                  <a:pt x="522" y="304"/>
                </a:cubicBezTo>
                <a:cubicBezTo>
                  <a:pt x="521" y="304"/>
                  <a:pt x="521" y="303"/>
                  <a:pt x="521" y="302"/>
                </a:cubicBezTo>
                <a:cubicBezTo>
                  <a:pt x="521" y="302"/>
                  <a:pt x="521" y="302"/>
                  <a:pt x="521" y="302"/>
                </a:cubicBezTo>
                <a:cubicBezTo>
                  <a:pt x="520" y="302"/>
                  <a:pt x="518" y="302"/>
                  <a:pt x="516" y="302"/>
                </a:cubicBezTo>
                <a:cubicBezTo>
                  <a:pt x="516" y="302"/>
                  <a:pt x="517" y="301"/>
                  <a:pt x="516" y="301"/>
                </a:cubicBezTo>
                <a:cubicBezTo>
                  <a:pt x="515" y="301"/>
                  <a:pt x="516" y="302"/>
                  <a:pt x="516" y="302"/>
                </a:cubicBezTo>
                <a:cubicBezTo>
                  <a:pt x="515" y="302"/>
                  <a:pt x="515" y="302"/>
                  <a:pt x="514" y="302"/>
                </a:cubicBezTo>
                <a:cubicBezTo>
                  <a:pt x="514" y="302"/>
                  <a:pt x="514" y="302"/>
                  <a:pt x="514" y="301"/>
                </a:cubicBezTo>
                <a:cubicBezTo>
                  <a:pt x="514" y="301"/>
                  <a:pt x="513" y="301"/>
                  <a:pt x="513" y="301"/>
                </a:cubicBezTo>
                <a:cubicBezTo>
                  <a:pt x="513" y="300"/>
                  <a:pt x="514" y="299"/>
                  <a:pt x="514" y="298"/>
                </a:cubicBezTo>
                <a:cubicBezTo>
                  <a:pt x="512" y="298"/>
                  <a:pt x="513" y="298"/>
                  <a:pt x="513" y="299"/>
                </a:cubicBezTo>
                <a:cubicBezTo>
                  <a:pt x="512" y="300"/>
                  <a:pt x="512" y="300"/>
                  <a:pt x="512" y="300"/>
                </a:cubicBezTo>
                <a:cubicBezTo>
                  <a:pt x="512" y="300"/>
                  <a:pt x="512" y="301"/>
                  <a:pt x="511" y="300"/>
                </a:cubicBezTo>
                <a:cubicBezTo>
                  <a:pt x="512" y="302"/>
                  <a:pt x="512" y="302"/>
                  <a:pt x="513" y="302"/>
                </a:cubicBezTo>
                <a:cubicBezTo>
                  <a:pt x="514" y="302"/>
                  <a:pt x="513" y="303"/>
                  <a:pt x="514" y="303"/>
                </a:cubicBezTo>
                <a:cubicBezTo>
                  <a:pt x="515" y="303"/>
                  <a:pt x="515" y="303"/>
                  <a:pt x="516" y="303"/>
                </a:cubicBezTo>
                <a:cubicBezTo>
                  <a:pt x="516" y="304"/>
                  <a:pt x="517" y="304"/>
                  <a:pt x="517" y="304"/>
                </a:cubicBezTo>
                <a:cubicBezTo>
                  <a:pt x="518" y="304"/>
                  <a:pt x="518" y="303"/>
                  <a:pt x="518" y="303"/>
                </a:cubicBezTo>
                <a:cubicBezTo>
                  <a:pt x="519" y="303"/>
                  <a:pt x="519" y="303"/>
                  <a:pt x="520" y="303"/>
                </a:cubicBezTo>
                <a:cubicBezTo>
                  <a:pt x="520" y="303"/>
                  <a:pt x="520" y="303"/>
                  <a:pt x="519" y="304"/>
                </a:cubicBezTo>
                <a:cubicBezTo>
                  <a:pt x="519" y="304"/>
                  <a:pt x="519" y="304"/>
                  <a:pt x="519" y="304"/>
                </a:cubicBezTo>
                <a:close/>
                <a:moveTo>
                  <a:pt x="530" y="303"/>
                </a:moveTo>
                <a:cubicBezTo>
                  <a:pt x="529" y="303"/>
                  <a:pt x="529" y="303"/>
                  <a:pt x="529" y="303"/>
                </a:cubicBezTo>
                <a:cubicBezTo>
                  <a:pt x="529" y="302"/>
                  <a:pt x="530" y="302"/>
                  <a:pt x="530" y="301"/>
                </a:cubicBezTo>
                <a:cubicBezTo>
                  <a:pt x="530" y="300"/>
                  <a:pt x="530" y="300"/>
                  <a:pt x="530" y="300"/>
                </a:cubicBezTo>
                <a:cubicBezTo>
                  <a:pt x="531" y="300"/>
                  <a:pt x="530" y="299"/>
                  <a:pt x="531" y="299"/>
                </a:cubicBezTo>
                <a:cubicBezTo>
                  <a:pt x="531" y="299"/>
                  <a:pt x="533" y="299"/>
                  <a:pt x="533" y="299"/>
                </a:cubicBezTo>
                <a:cubicBezTo>
                  <a:pt x="533" y="299"/>
                  <a:pt x="533" y="298"/>
                  <a:pt x="534" y="298"/>
                </a:cubicBezTo>
                <a:cubicBezTo>
                  <a:pt x="534" y="298"/>
                  <a:pt x="534" y="298"/>
                  <a:pt x="534" y="297"/>
                </a:cubicBezTo>
                <a:cubicBezTo>
                  <a:pt x="533" y="297"/>
                  <a:pt x="532" y="298"/>
                  <a:pt x="531" y="298"/>
                </a:cubicBezTo>
                <a:cubicBezTo>
                  <a:pt x="530" y="299"/>
                  <a:pt x="530" y="298"/>
                  <a:pt x="529" y="298"/>
                </a:cubicBezTo>
                <a:cubicBezTo>
                  <a:pt x="529" y="298"/>
                  <a:pt x="529" y="299"/>
                  <a:pt x="528" y="299"/>
                </a:cubicBezTo>
                <a:cubicBezTo>
                  <a:pt x="527" y="300"/>
                  <a:pt x="528" y="300"/>
                  <a:pt x="528" y="301"/>
                </a:cubicBezTo>
                <a:cubicBezTo>
                  <a:pt x="527" y="301"/>
                  <a:pt x="527" y="302"/>
                  <a:pt x="527" y="301"/>
                </a:cubicBezTo>
                <a:cubicBezTo>
                  <a:pt x="526" y="302"/>
                  <a:pt x="527" y="302"/>
                  <a:pt x="526" y="302"/>
                </a:cubicBezTo>
                <a:cubicBezTo>
                  <a:pt x="525" y="303"/>
                  <a:pt x="526" y="303"/>
                  <a:pt x="526" y="304"/>
                </a:cubicBezTo>
                <a:cubicBezTo>
                  <a:pt x="525" y="304"/>
                  <a:pt x="525" y="304"/>
                  <a:pt x="525" y="305"/>
                </a:cubicBezTo>
                <a:cubicBezTo>
                  <a:pt x="525" y="305"/>
                  <a:pt x="525" y="306"/>
                  <a:pt x="525" y="307"/>
                </a:cubicBezTo>
                <a:cubicBezTo>
                  <a:pt x="525" y="307"/>
                  <a:pt x="526" y="308"/>
                  <a:pt x="527" y="308"/>
                </a:cubicBezTo>
                <a:cubicBezTo>
                  <a:pt x="527" y="308"/>
                  <a:pt x="527" y="308"/>
                  <a:pt x="527" y="308"/>
                </a:cubicBezTo>
                <a:cubicBezTo>
                  <a:pt x="528" y="308"/>
                  <a:pt x="528" y="308"/>
                  <a:pt x="528" y="308"/>
                </a:cubicBezTo>
                <a:cubicBezTo>
                  <a:pt x="528" y="308"/>
                  <a:pt x="528" y="308"/>
                  <a:pt x="527" y="308"/>
                </a:cubicBezTo>
                <a:cubicBezTo>
                  <a:pt x="527" y="307"/>
                  <a:pt x="528" y="306"/>
                  <a:pt x="528" y="305"/>
                </a:cubicBezTo>
                <a:cubicBezTo>
                  <a:pt x="529" y="304"/>
                  <a:pt x="529" y="304"/>
                  <a:pt x="530" y="303"/>
                </a:cubicBezTo>
                <a:close/>
                <a:moveTo>
                  <a:pt x="555" y="295"/>
                </a:moveTo>
                <a:cubicBezTo>
                  <a:pt x="555" y="296"/>
                  <a:pt x="555" y="297"/>
                  <a:pt x="556" y="298"/>
                </a:cubicBezTo>
                <a:cubicBezTo>
                  <a:pt x="556" y="297"/>
                  <a:pt x="556" y="294"/>
                  <a:pt x="555" y="295"/>
                </a:cubicBezTo>
                <a:cubicBezTo>
                  <a:pt x="555" y="296"/>
                  <a:pt x="555" y="295"/>
                  <a:pt x="555" y="295"/>
                </a:cubicBezTo>
                <a:close/>
                <a:moveTo>
                  <a:pt x="525" y="293"/>
                </a:moveTo>
                <a:cubicBezTo>
                  <a:pt x="525" y="293"/>
                  <a:pt x="523" y="293"/>
                  <a:pt x="523" y="294"/>
                </a:cubicBezTo>
                <a:cubicBezTo>
                  <a:pt x="524" y="294"/>
                  <a:pt x="526" y="293"/>
                  <a:pt x="525" y="293"/>
                </a:cubicBezTo>
                <a:cubicBezTo>
                  <a:pt x="524" y="293"/>
                  <a:pt x="525" y="293"/>
                  <a:pt x="525" y="293"/>
                </a:cubicBezTo>
                <a:close/>
                <a:moveTo>
                  <a:pt x="394" y="290"/>
                </a:moveTo>
                <a:cubicBezTo>
                  <a:pt x="394" y="289"/>
                  <a:pt x="394" y="289"/>
                  <a:pt x="394" y="289"/>
                </a:cubicBezTo>
                <a:cubicBezTo>
                  <a:pt x="394" y="289"/>
                  <a:pt x="393" y="289"/>
                  <a:pt x="393" y="289"/>
                </a:cubicBezTo>
                <a:cubicBezTo>
                  <a:pt x="393" y="289"/>
                  <a:pt x="393" y="289"/>
                  <a:pt x="394" y="290"/>
                </a:cubicBezTo>
                <a:close/>
                <a:moveTo>
                  <a:pt x="1548" y="288"/>
                </a:moveTo>
                <a:cubicBezTo>
                  <a:pt x="1547" y="288"/>
                  <a:pt x="1547" y="288"/>
                  <a:pt x="1548" y="288"/>
                </a:cubicBezTo>
                <a:cubicBezTo>
                  <a:pt x="1548" y="288"/>
                  <a:pt x="1548" y="288"/>
                  <a:pt x="1548" y="288"/>
                </a:cubicBezTo>
                <a:close/>
                <a:moveTo>
                  <a:pt x="399" y="286"/>
                </a:moveTo>
                <a:cubicBezTo>
                  <a:pt x="399" y="286"/>
                  <a:pt x="399" y="286"/>
                  <a:pt x="399" y="286"/>
                </a:cubicBezTo>
                <a:cubicBezTo>
                  <a:pt x="399" y="286"/>
                  <a:pt x="399" y="286"/>
                  <a:pt x="400" y="286"/>
                </a:cubicBezTo>
                <a:cubicBezTo>
                  <a:pt x="400" y="286"/>
                  <a:pt x="399" y="286"/>
                  <a:pt x="399" y="286"/>
                </a:cubicBezTo>
                <a:cubicBezTo>
                  <a:pt x="399" y="286"/>
                  <a:pt x="399" y="286"/>
                  <a:pt x="399" y="286"/>
                </a:cubicBezTo>
                <a:close/>
                <a:moveTo>
                  <a:pt x="1551" y="284"/>
                </a:moveTo>
                <a:cubicBezTo>
                  <a:pt x="1551" y="284"/>
                  <a:pt x="1551" y="283"/>
                  <a:pt x="1552" y="283"/>
                </a:cubicBezTo>
                <a:cubicBezTo>
                  <a:pt x="1551" y="283"/>
                  <a:pt x="1550" y="283"/>
                  <a:pt x="1551" y="284"/>
                </a:cubicBezTo>
                <a:cubicBezTo>
                  <a:pt x="1551" y="284"/>
                  <a:pt x="1551" y="284"/>
                  <a:pt x="1551" y="284"/>
                </a:cubicBezTo>
                <a:cubicBezTo>
                  <a:pt x="1551" y="284"/>
                  <a:pt x="1551" y="284"/>
                  <a:pt x="1551" y="284"/>
                </a:cubicBezTo>
                <a:close/>
                <a:moveTo>
                  <a:pt x="523" y="284"/>
                </a:moveTo>
                <a:cubicBezTo>
                  <a:pt x="523" y="283"/>
                  <a:pt x="522" y="282"/>
                  <a:pt x="522" y="282"/>
                </a:cubicBezTo>
                <a:cubicBezTo>
                  <a:pt x="521" y="282"/>
                  <a:pt x="521" y="282"/>
                  <a:pt x="520" y="282"/>
                </a:cubicBezTo>
                <a:cubicBezTo>
                  <a:pt x="520" y="281"/>
                  <a:pt x="520" y="281"/>
                  <a:pt x="519" y="281"/>
                </a:cubicBezTo>
                <a:cubicBezTo>
                  <a:pt x="519" y="279"/>
                  <a:pt x="518" y="280"/>
                  <a:pt x="516" y="279"/>
                </a:cubicBezTo>
                <a:cubicBezTo>
                  <a:pt x="514" y="279"/>
                  <a:pt x="513" y="278"/>
                  <a:pt x="511" y="278"/>
                </a:cubicBezTo>
                <a:cubicBezTo>
                  <a:pt x="511" y="279"/>
                  <a:pt x="510" y="279"/>
                  <a:pt x="512" y="279"/>
                </a:cubicBezTo>
                <a:cubicBezTo>
                  <a:pt x="513" y="279"/>
                  <a:pt x="515" y="281"/>
                  <a:pt x="515" y="282"/>
                </a:cubicBezTo>
                <a:cubicBezTo>
                  <a:pt x="515" y="283"/>
                  <a:pt x="516" y="283"/>
                  <a:pt x="517" y="283"/>
                </a:cubicBezTo>
                <a:cubicBezTo>
                  <a:pt x="518" y="283"/>
                  <a:pt x="518" y="283"/>
                  <a:pt x="519" y="284"/>
                </a:cubicBezTo>
                <a:cubicBezTo>
                  <a:pt x="519" y="284"/>
                  <a:pt x="520" y="284"/>
                  <a:pt x="521" y="284"/>
                </a:cubicBezTo>
                <a:cubicBezTo>
                  <a:pt x="521" y="285"/>
                  <a:pt x="522" y="285"/>
                  <a:pt x="523" y="285"/>
                </a:cubicBezTo>
                <a:cubicBezTo>
                  <a:pt x="523" y="285"/>
                  <a:pt x="523" y="284"/>
                  <a:pt x="523" y="284"/>
                </a:cubicBezTo>
                <a:close/>
                <a:moveTo>
                  <a:pt x="225" y="277"/>
                </a:moveTo>
                <a:cubicBezTo>
                  <a:pt x="225" y="277"/>
                  <a:pt x="225" y="277"/>
                  <a:pt x="225" y="277"/>
                </a:cubicBezTo>
                <a:cubicBezTo>
                  <a:pt x="225" y="278"/>
                  <a:pt x="225" y="279"/>
                  <a:pt x="227" y="279"/>
                </a:cubicBezTo>
                <a:cubicBezTo>
                  <a:pt x="226" y="278"/>
                  <a:pt x="225" y="277"/>
                  <a:pt x="225" y="277"/>
                </a:cubicBezTo>
                <a:close/>
                <a:moveTo>
                  <a:pt x="1558" y="276"/>
                </a:moveTo>
                <a:cubicBezTo>
                  <a:pt x="1558" y="276"/>
                  <a:pt x="1558" y="276"/>
                  <a:pt x="1558" y="276"/>
                </a:cubicBezTo>
                <a:cubicBezTo>
                  <a:pt x="1556" y="276"/>
                  <a:pt x="1555" y="277"/>
                  <a:pt x="1554" y="277"/>
                </a:cubicBezTo>
                <a:cubicBezTo>
                  <a:pt x="1554" y="278"/>
                  <a:pt x="1554" y="278"/>
                  <a:pt x="1554" y="279"/>
                </a:cubicBezTo>
                <a:cubicBezTo>
                  <a:pt x="1555" y="278"/>
                  <a:pt x="1556" y="278"/>
                  <a:pt x="1557" y="277"/>
                </a:cubicBezTo>
                <a:cubicBezTo>
                  <a:pt x="1557" y="277"/>
                  <a:pt x="1557" y="277"/>
                  <a:pt x="1558" y="276"/>
                </a:cubicBezTo>
                <a:close/>
                <a:moveTo>
                  <a:pt x="221" y="276"/>
                </a:moveTo>
                <a:cubicBezTo>
                  <a:pt x="221" y="275"/>
                  <a:pt x="219" y="275"/>
                  <a:pt x="221" y="276"/>
                </a:cubicBezTo>
                <a:close/>
                <a:moveTo>
                  <a:pt x="810" y="275"/>
                </a:moveTo>
                <a:cubicBezTo>
                  <a:pt x="811" y="274"/>
                  <a:pt x="809" y="274"/>
                  <a:pt x="809" y="275"/>
                </a:cubicBezTo>
                <a:cubicBezTo>
                  <a:pt x="810" y="275"/>
                  <a:pt x="810" y="275"/>
                  <a:pt x="810" y="275"/>
                </a:cubicBezTo>
                <a:close/>
                <a:moveTo>
                  <a:pt x="208" y="272"/>
                </a:moveTo>
                <a:cubicBezTo>
                  <a:pt x="207" y="272"/>
                  <a:pt x="205" y="272"/>
                  <a:pt x="206" y="274"/>
                </a:cubicBezTo>
                <a:cubicBezTo>
                  <a:pt x="207" y="274"/>
                  <a:pt x="207" y="274"/>
                  <a:pt x="207" y="274"/>
                </a:cubicBezTo>
                <a:cubicBezTo>
                  <a:pt x="207" y="275"/>
                  <a:pt x="207" y="275"/>
                  <a:pt x="207" y="275"/>
                </a:cubicBezTo>
                <a:cubicBezTo>
                  <a:pt x="207" y="276"/>
                  <a:pt x="208" y="277"/>
                  <a:pt x="208" y="278"/>
                </a:cubicBezTo>
                <a:cubicBezTo>
                  <a:pt x="209" y="278"/>
                  <a:pt x="209" y="277"/>
                  <a:pt x="210" y="277"/>
                </a:cubicBezTo>
                <a:cubicBezTo>
                  <a:pt x="210" y="277"/>
                  <a:pt x="210" y="276"/>
                  <a:pt x="210" y="276"/>
                </a:cubicBezTo>
                <a:cubicBezTo>
                  <a:pt x="210" y="277"/>
                  <a:pt x="211" y="277"/>
                  <a:pt x="211" y="278"/>
                </a:cubicBezTo>
                <a:cubicBezTo>
                  <a:pt x="211" y="278"/>
                  <a:pt x="212" y="278"/>
                  <a:pt x="212" y="277"/>
                </a:cubicBezTo>
                <a:cubicBezTo>
                  <a:pt x="212" y="277"/>
                  <a:pt x="213" y="277"/>
                  <a:pt x="213" y="277"/>
                </a:cubicBezTo>
                <a:cubicBezTo>
                  <a:pt x="214" y="277"/>
                  <a:pt x="215" y="277"/>
                  <a:pt x="215" y="278"/>
                </a:cubicBezTo>
                <a:cubicBezTo>
                  <a:pt x="215" y="279"/>
                  <a:pt x="215" y="279"/>
                  <a:pt x="214" y="280"/>
                </a:cubicBezTo>
                <a:cubicBezTo>
                  <a:pt x="215" y="280"/>
                  <a:pt x="214" y="280"/>
                  <a:pt x="215" y="280"/>
                </a:cubicBezTo>
                <a:cubicBezTo>
                  <a:pt x="215" y="280"/>
                  <a:pt x="216" y="280"/>
                  <a:pt x="217" y="280"/>
                </a:cubicBezTo>
                <a:cubicBezTo>
                  <a:pt x="217" y="280"/>
                  <a:pt x="217" y="280"/>
                  <a:pt x="218" y="280"/>
                </a:cubicBezTo>
                <a:cubicBezTo>
                  <a:pt x="218" y="280"/>
                  <a:pt x="218" y="281"/>
                  <a:pt x="218" y="281"/>
                </a:cubicBezTo>
                <a:cubicBezTo>
                  <a:pt x="219" y="281"/>
                  <a:pt x="219" y="281"/>
                  <a:pt x="219" y="281"/>
                </a:cubicBezTo>
                <a:cubicBezTo>
                  <a:pt x="219" y="281"/>
                  <a:pt x="219" y="282"/>
                  <a:pt x="219" y="282"/>
                </a:cubicBezTo>
                <a:cubicBezTo>
                  <a:pt x="219" y="282"/>
                  <a:pt x="221" y="282"/>
                  <a:pt x="221" y="283"/>
                </a:cubicBezTo>
                <a:cubicBezTo>
                  <a:pt x="221" y="283"/>
                  <a:pt x="221" y="283"/>
                  <a:pt x="222" y="282"/>
                </a:cubicBezTo>
                <a:cubicBezTo>
                  <a:pt x="222" y="283"/>
                  <a:pt x="222" y="283"/>
                  <a:pt x="222" y="284"/>
                </a:cubicBezTo>
                <a:cubicBezTo>
                  <a:pt x="221" y="284"/>
                  <a:pt x="222" y="285"/>
                  <a:pt x="223" y="285"/>
                </a:cubicBezTo>
                <a:cubicBezTo>
                  <a:pt x="223" y="286"/>
                  <a:pt x="224" y="285"/>
                  <a:pt x="224" y="286"/>
                </a:cubicBezTo>
                <a:cubicBezTo>
                  <a:pt x="225" y="286"/>
                  <a:pt x="225" y="286"/>
                  <a:pt x="226" y="286"/>
                </a:cubicBezTo>
                <a:cubicBezTo>
                  <a:pt x="226" y="287"/>
                  <a:pt x="228" y="287"/>
                  <a:pt x="229" y="287"/>
                </a:cubicBezTo>
                <a:cubicBezTo>
                  <a:pt x="229" y="287"/>
                  <a:pt x="230" y="287"/>
                  <a:pt x="230" y="287"/>
                </a:cubicBezTo>
                <a:cubicBezTo>
                  <a:pt x="230" y="288"/>
                  <a:pt x="231" y="287"/>
                  <a:pt x="231" y="287"/>
                </a:cubicBezTo>
                <a:cubicBezTo>
                  <a:pt x="231" y="288"/>
                  <a:pt x="232" y="288"/>
                  <a:pt x="233" y="288"/>
                </a:cubicBezTo>
                <a:cubicBezTo>
                  <a:pt x="233" y="287"/>
                  <a:pt x="233" y="285"/>
                  <a:pt x="232" y="285"/>
                </a:cubicBezTo>
                <a:cubicBezTo>
                  <a:pt x="232" y="285"/>
                  <a:pt x="230" y="284"/>
                  <a:pt x="230" y="284"/>
                </a:cubicBezTo>
                <a:cubicBezTo>
                  <a:pt x="230" y="283"/>
                  <a:pt x="230" y="283"/>
                  <a:pt x="230" y="283"/>
                </a:cubicBezTo>
                <a:cubicBezTo>
                  <a:pt x="230" y="283"/>
                  <a:pt x="229" y="283"/>
                  <a:pt x="229" y="282"/>
                </a:cubicBezTo>
                <a:cubicBezTo>
                  <a:pt x="228" y="281"/>
                  <a:pt x="228" y="281"/>
                  <a:pt x="226" y="280"/>
                </a:cubicBezTo>
                <a:cubicBezTo>
                  <a:pt x="226" y="280"/>
                  <a:pt x="222" y="279"/>
                  <a:pt x="222" y="279"/>
                </a:cubicBezTo>
                <a:cubicBezTo>
                  <a:pt x="222" y="278"/>
                  <a:pt x="222" y="278"/>
                  <a:pt x="222" y="277"/>
                </a:cubicBezTo>
                <a:cubicBezTo>
                  <a:pt x="222" y="277"/>
                  <a:pt x="221" y="277"/>
                  <a:pt x="221" y="277"/>
                </a:cubicBezTo>
                <a:cubicBezTo>
                  <a:pt x="221" y="276"/>
                  <a:pt x="219" y="275"/>
                  <a:pt x="219" y="275"/>
                </a:cubicBezTo>
                <a:cubicBezTo>
                  <a:pt x="219" y="274"/>
                  <a:pt x="217" y="274"/>
                  <a:pt x="216" y="274"/>
                </a:cubicBezTo>
                <a:cubicBezTo>
                  <a:pt x="215" y="274"/>
                  <a:pt x="215" y="274"/>
                  <a:pt x="214" y="274"/>
                </a:cubicBezTo>
                <a:cubicBezTo>
                  <a:pt x="214" y="274"/>
                  <a:pt x="214" y="274"/>
                  <a:pt x="213" y="274"/>
                </a:cubicBezTo>
                <a:cubicBezTo>
                  <a:pt x="213" y="274"/>
                  <a:pt x="213" y="274"/>
                  <a:pt x="213" y="273"/>
                </a:cubicBezTo>
                <a:cubicBezTo>
                  <a:pt x="212" y="273"/>
                  <a:pt x="211" y="273"/>
                  <a:pt x="210" y="273"/>
                </a:cubicBezTo>
                <a:cubicBezTo>
                  <a:pt x="209" y="272"/>
                  <a:pt x="209" y="272"/>
                  <a:pt x="209" y="272"/>
                </a:cubicBezTo>
                <a:cubicBezTo>
                  <a:pt x="208" y="272"/>
                  <a:pt x="208" y="272"/>
                  <a:pt x="208" y="272"/>
                </a:cubicBezTo>
                <a:cubicBezTo>
                  <a:pt x="207" y="272"/>
                  <a:pt x="208" y="272"/>
                  <a:pt x="208" y="272"/>
                </a:cubicBezTo>
                <a:close/>
                <a:moveTo>
                  <a:pt x="553" y="272"/>
                </a:moveTo>
                <a:cubicBezTo>
                  <a:pt x="553" y="271"/>
                  <a:pt x="553" y="271"/>
                  <a:pt x="552" y="271"/>
                </a:cubicBezTo>
                <a:cubicBezTo>
                  <a:pt x="553" y="272"/>
                  <a:pt x="553" y="272"/>
                  <a:pt x="553" y="272"/>
                </a:cubicBezTo>
                <a:close/>
                <a:moveTo>
                  <a:pt x="1664" y="270"/>
                </a:moveTo>
                <a:cubicBezTo>
                  <a:pt x="1664" y="271"/>
                  <a:pt x="1664" y="271"/>
                  <a:pt x="1665" y="271"/>
                </a:cubicBezTo>
                <a:cubicBezTo>
                  <a:pt x="1665" y="270"/>
                  <a:pt x="1665" y="270"/>
                  <a:pt x="1664" y="270"/>
                </a:cubicBezTo>
                <a:cubicBezTo>
                  <a:pt x="1664" y="270"/>
                  <a:pt x="1664" y="270"/>
                  <a:pt x="1664" y="270"/>
                </a:cubicBezTo>
                <a:close/>
                <a:moveTo>
                  <a:pt x="836" y="270"/>
                </a:moveTo>
                <a:cubicBezTo>
                  <a:pt x="836" y="268"/>
                  <a:pt x="835" y="269"/>
                  <a:pt x="834" y="268"/>
                </a:cubicBezTo>
                <a:cubicBezTo>
                  <a:pt x="834" y="270"/>
                  <a:pt x="835" y="270"/>
                  <a:pt x="836" y="270"/>
                </a:cubicBezTo>
                <a:cubicBezTo>
                  <a:pt x="836" y="269"/>
                  <a:pt x="836" y="270"/>
                  <a:pt x="836" y="270"/>
                </a:cubicBezTo>
                <a:close/>
                <a:moveTo>
                  <a:pt x="1683" y="268"/>
                </a:moveTo>
                <a:cubicBezTo>
                  <a:pt x="1683" y="268"/>
                  <a:pt x="1681" y="269"/>
                  <a:pt x="1682" y="269"/>
                </a:cubicBezTo>
                <a:cubicBezTo>
                  <a:pt x="1683" y="269"/>
                  <a:pt x="1683" y="269"/>
                  <a:pt x="1683" y="268"/>
                </a:cubicBezTo>
                <a:cubicBezTo>
                  <a:pt x="1683" y="268"/>
                  <a:pt x="1683" y="268"/>
                  <a:pt x="1683" y="268"/>
                </a:cubicBezTo>
                <a:cubicBezTo>
                  <a:pt x="1683" y="268"/>
                  <a:pt x="1683" y="268"/>
                  <a:pt x="1683" y="268"/>
                </a:cubicBezTo>
                <a:cubicBezTo>
                  <a:pt x="1683" y="268"/>
                  <a:pt x="1683" y="268"/>
                  <a:pt x="1683" y="268"/>
                </a:cubicBezTo>
                <a:close/>
                <a:moveTo>
                  <a:pt x="1679" y="269"/>
                </a:moveTo>
                <a:cubicBezTo>
                  <a:pt x="1679" y="269"/>
                  <a:pt x="1680" y="269"/>
                  <a:pt x="1681" y="269"/>
                </a:cubicBezTo>
                <a:cubicBezTo>
                  <a:pt x="1681" y="269"/>
                  <a:pt x="1680" y="268"/>
                  <a:pt x="1681" y="268"/>
                </a:cubicBezTo>
                <a:cubicBezTo>
                  <a:pt x="1680" y="268"/>
                  <a:pt x="1679" y="267"/>
                  <a:pt x="1678" y="267"/>
                </a:cubicBezTo>
                <a:cubicBezTo>
                  <a:pt x="1679" y="268"/>
                  <a:pt x="1679" y="269"/>
                  <a:pt x="1679" y="269"/>
                </a:cubicBezTo>
                <a:close/>
                <a:moveTo>
                  <a:pt x="553" y="266"/>
                </a:moveTo>
                <a:cubicBezTo>
                  <a:pt x="552" y="266"/>
                  <a:pt x="551" y="267"/>
                  <a:pt x="551" y="267"/>
                </a:cubicBezTo>
                <a:cubicBezTo>
                  <a:pt x="551" y="267"/>
                  <a:pt x="550" y="266"/>
                  <a:pt x="551" y="266"/>
                </a:cubicBezTo>
                <a:cubicBezTo>
                  <a:pt x="549" y="266"/>
                  <a:pt x="548" y="267"/>
                  <a:pt x="547" y="267"/>
                </a:cubicBezTo>
                <a:cubicBezTo>
                  <a:pt x="547" y="268"/>
                  <a:pt x="547" y="268"/>
                  <a:pt x="547" y="268"/>
                </a:cubicBezTo>
                <a:cubicBezTo>
                  <a:pt x="547" y="269"/>
                  <a:pt x="546" y="269"/>
                  <a:pt x="547" y="269"/>
                </a:cubicBezTo>
                <a:cubicBezTo>
                  <a:pt x="548" y="271"/>
                  <a:pt x="545" y="270"/>
                  <a:pt x="545" y="271"/>
                </a:cubicBezTo>
                <a:cubicBezTo>
                  <a:pt x="545" y="271"/>
                  <a:pt x="545" y="272"/>
                  <a:pt x="545" y="272"/>
                </a:cubicBezTo>
                <a:cubicBezTo>
                  <a:pt x="545" y="273"/>
                  <a:pt x="544" y="273"/>
                  <a:pt x="544" y="273"/>
                </a:cubicBezTo>
                <a:cubicBezTo>
                  <a:pt x="545" y="273"/>
                  <a:pt x="545" y="273"/>
                  <a:pt x="544" y="273"/>
                </a:cubicBezTo>
                <a:cubicBezTo>
                  <a:pt x="544" y="273"/>
                  <a:pt x="544" y="274"/>
                  <a:pt x="544" y="275"/>
                </a:cubicBezTo>
                <a:cubicBezTo>
                  <a:pt x="544" y="275"/>
                  <a:pt x="544" y="275"/>
                  <a:pt x="544" y="275"/>
                </a:cubicBezTo>
                <a:cubicBezTo>
                  <a:pt x="544" y="276"/>
                  <a:pt x="544" y="276"/>
                  <a:pt x="544" y="276"/>
                </a:cubicBezTo>
                <a:cubicBezTo>
                  <a:pt x="544" y="277"/>
                  <a:pt x="544" y="279"/>
                  <a:pt x="543" y="279"/>
                </a:cubicBezTo>
                <a:cubicBezTo>
                  <a:pt x="543" y="279"/>
                  <a:pt x="543" y="280"/>
                  <a:pt x="542" y="280"/>
                </a:cubicBezTo>
                <a:cubicBezTo>
                  <a:pt x="543" y="281"/>
                  <a:pt x="543" y="281"/>
                  <a:pt x="544" y="281"/>
                </a:cubicBezTo>
                <a:cubicBezTo>
                  <a:pt x="544" y="281"/>
                  <a:pt x="545" y="281"/>
                  <a:pt x="545" y="281"/>
                </a:cubicBezTo>
                <a:cubicBezTo>
                  <a:pt x="545" y="282"/>
                  <a:pt x="545" y="282"/>
                  <a:pt x="544" y="282"/>
                </a:cubicBezTo>
                <a:cubicBezTo>
                  <a:pt x="544" y="282"/>
                  <a:pt x="544" y="283"/>
                  <a:pt x="544" y="283"/>
                </a:cubicBezTo>
                <a:cubicBezTo>
                  <a:pt x="543" y="283"/>
                  <a:pt x="543" y="282"/>
                  <a:pt x="542" y="282"/>
                </a:cubicBezTo>
                <a:cubicBezTo>
                  <a:pt x="541" y="282"/>
                  <a:pt x="542" y="283"/>
                  <a:pt x="541" y="283"/>
                </a:cubicBezTo>
                <a:cubicBezTo>
                  <a:pt x="541" y="284"/>
                  <a:pt x="541" y="284"/>
                  <a:pt x="541" y="285"/>
                </a:cubicBezTo>
                <a:cubicBezTo>
                  <a:pt x="541" y="284"/>
                  <a:pt x="541" y="284"/>
                  <a:pt x="540" y="284"/>
                </a:cubicBezTo>
                <a:cubicBezTo>
                  <a:pt x="540" y="284"/>
                  <a:pt x="540" y="285"/>
                  <a:pt x="540" y="285"/>
                </a:cubicBezTo>
                <a:cubicBezTo>
                  <a:pt x="540" y="284"/>
                  <a:pt x="539" y="284"/>
                  <a:pt x="539" y="284"/>
                </a:cubicBezTo>
                <a:cubicBezTo>
                  <a:pt x="539" y="284"/>
                  <a:pt x="538" y="285"/>
                  <a:pt x="538" y="285"/>
                </a:cubicBezTo>
                <a:cubicBezTo>
                  <a:pt x="538" y="285"/>
                  <a:pt x="538" y="285"/>
                  <a:pt x="538" y="286"/>
                </a:cubicBezTo>
                <a:cubicBezTo>
                  <a:pt x="540" y="285"/>
                  <a:pt x="541" y="285"/>
                  <a:pt x="542" y="286"/>
                </a:cubicBezTo>
                <a:cubicBezTo>
                  <a:pt x="542" y="286"/>
                  <a:pt x="541" y="286"/>
                  <a:pt x="541" y="287"/>
                </a:cubicBezTo>
                <a:cubicBezTo>
                  <a:pt x="541" y="286"/>
                  <a:pt x="541" y="286"/>
                  <a:pt x="541" y="286"/>
                </a:cubicBezTo>
                <a:cubicBezTo>
                  <a:pt x="539" y="287"/>
                  <a:pt x="541" y="287"/>
                  <a:pt x="540" y="288"/>
                </a:cubicBezTo>
                <a:cubicBezTo>
                  <a:pt x="539" y="288"/>
                  <a:pt x="538" y="290"/>
                  <a:pt x="537" y="290"/>
                </a:cubicBezTo>
                <a:cubicBezTo>
                  <a:pt x="537" y="290"/>
                  <a:pt x="537" y="292"/>
                  <a:pt x="538" y="292"/>
                </a:cubicBezTo>
                <a:cubicBezTo>
                  <a:pt x="538" y="292"/>
                  <a:pt x="538" y="292"/>
                  <a:pt x="538" y="292"/>
                </a:cubicBezTo>
                <a:cubicBezTo>
                  <a:pt x="539" y="292"/>
                  <a:pt x="540" y="292"/>
                  <a:pt x="540" y="291"/>
                </a:cubicBezTo>
                <a:cubicBezTo>
                  <a:pt x="541" y="290"/>
                  <a:pt x="542" y="291"/>
                  <a:pt x="542" y="291"/>
                </a:cubicBezTo>
                <a:cubicBezTo>
                  <a:pt x="542" y="290"/>
                  <a:pt x="545" y="291"/>
                  <a:pt x="546" y="291"/>
                </a:cubicBezTo>
                <a:cubicBezTo>
                  <a:pt x="546" y="291"/>
                  <a:pt x="546" y="290"/>
                  <a:pt x="546" y="291"/>
                </a:cubicBezTo>
                <a:cubicBezTo>
                  <a:pt x="546" y="291"/>
                  <a:pt x="547" y="291"/>
                  <a:pt x="547" y="291"/>
                </a:cubicBezTo>
                <a:cubicBezTo>
                  <a:pt x="547" y="290"/>
                  <a:pt x="547" y="291"/>
                  <a:pt x="547" y="291"/>
                </a:cubicBezTo>
                <a:cubicBezTo>
                  <a:pt x="548" y="291"/>
                  <a:pt x="548" y="291"/>
                  <a:pt x="549" y="291"/>
                </a:cubicBezTo>
                <a:cubicBezTo>
                  <a:pt x="549" y="291"/>
                  <a:pt x="549" y="292"/>
                  <a:pt x="549" y="292"/>
                </a:cubicBezTo>
                <a:cubicBezTo>
                  <a:pt x="549" y="292"/>
                  <a:pt x="549" y="291"/>
                  <a:pt x="550" y="291"/>
                </a:cubicBezTo>
                <a:cubicBezTo>
                  <a:pt x="551" y="291"/>
                  <a:pt x="551" y="291"/>
                  <a:pt x="551" y="290"/>
                </a:cubicBezTo>
                <a:cubicBezTo>
                  <a:pt x="551" y="291"/>
                  <a:pt x="551" y="291"/>
                  <a:pt x="552" y="291"/>
                </a:cubicBezTo>
                <a:cubicBezTo>
                  <a:pt x="552" y="291"/>
                  <a:pt x="553" y="291"/>
                  <a:pt x="554" y="291"/>
                </a:cubicBezTo>
                <a:cubicBezTo>
                  <a:pt x="554" y="291"/>
                  <a:pt x="554" y="292"/>
                  <a:pt x="554" y="291"/>
                </a:cubicBezTo>
                <a:cubicBezTo>
                  <a:pt x="554" y="291"/>
                  <a:pt x="555" y="291"/>
                  <a:pt x="556" y="291"/>
                </a:cubicBezTo>
                <a:cubicBezTo>
                  <a:pt x="556" y="291"/>
                  <a:pt x="556" y="290"/>
                  <a:pt x="557" y="290"/>
                </a:cubicBezTo>
                <a:cubicBezTo>
                  <a:pt x="557" y="290"/>
                  <a:pt x="558" y="290"/>
                  <a:pt x="559" y="290"/>
                </a:cubicBezTo>
                <a:cubicBezTo>
                  <a:pt x="558" y="291"/>
                  <a:pt x="558" y="292"/>
                  <a:pt x="558" y="293"/>
                </a:cubicBezTo>
                <a:cubicBezTo>
                  <a:pt x="559" y="292"/>
                  <a:pt x="560" y="292"/>
                  <a:pt x="560" y="291"/>
                </a:cubicBezTo>
                <a:cubicBezTo>
                  <a:pt x="561" y="290"/>
                  <a:pt x="561" y="290"/>
                  <a:pt x="562" y="290"/>
                </a:cubicBezTo>
                <a:cubicBezTo>
                  <a:pt x="562" y="291"/>
                  <a:pt x="561" y="292"/>
                  <a:pt x="561" y="292"/>
                </a:cubicBezTo>
                <a:cubicBezTo>
                  <a:pt x="561" y="292"/>
                  <a:pt x="560" y="293"/>
                  <a:pt x="560" y="293"/>
                </a:cubicBezTo>
                <a:cubicBezTo>
                  <a:pt x="560" y="293"/>
                  <a:pt x="560" y="294"/>
                  <a:pt x="559" y="294"/>
                </a:cubicBezTo>
                <a:cubicBezTo>
                  <a:pt x="559" y="295"/>
                  <a:pt x="559" y="295"/>
                  <a:pt x="559" y="295"/>
                </a:cubicBezTo>
                <a:cubicBezTo>
                  <a:pt x="558" y="295"/>
                  <a:pt x="558" y="296"/>
                  <a:pt x="558" y="296"/>
                </a:cubicBezTo>
                <a:cubicBezTo>
                  <a:pt x="559" y="296"/>
                  <a:pt x="559" y="296"/>
                  <a:pt x="560" y="295"/>
                </a:cubicBezTo>
                <a:cubicBezTo>
                  <a:pt x="561" y="295"/>
                  <a:pt x="561" y="294"/>
                  <a:pt x="562" y="294"/>
                </a:cubicBezTo>
                <a:cubicBezTo>
                  <a:pt x="561" y="292"/>
                  <a:pt x="563" y="293"/>
                  <a:pt x="564" y="292"/>
                </a:cubicBezTo>
                <a:cubicBezTo>
                  <a:pt x="564" y="291"/>
                  <a:pt x="564" y="290"/>
                  <a:pt x="565" y="290"/>
                </a:cubicBezTo>
                <a:cubicBezTo>
                  <a:pt x="565" y="290"/>
                  <a:pt x="565" y="291"/>
                  <a:pt x="566" y="292"/>
                </a:cubicBezTo>
                <a:cubicBezTo>
                  <a:pt x="566" y="292"/>
                  <a:pt x="567" y="292"/>
                  <a:pt x="567" y="294"/>
                </a:cubicBezTo>
                <a:cubicBezTo>
                  <a:pt x="566" y="294"/>
                  <a:pt x="566" y="294"/>
                  <a:pt x="566" y="294"/>
                </a:cubicBezTo>
                <a:cubicBezTo>
                  <a:pt x="565" y="294"/>
                  <a:pt x="565" y="296"/>
                  <a:pt x="565" y="296"/>
                </a:cubicBezTo>
                <a:cubicBezTo>
                  <a:pt x="565" y="296"/>
                  <a:pt x="566" y="297"/>
                  <a:pt x="566" y="297"/>
                </a:cubicBezTo>
                <a:cubicBezTo>
                  <a:pt x="566" y="297"/>
                  <a:pt x="567" y="296"/>
                  <a:pt x="566" y="296"/>
                </a:cubicBezTo>
                <a:cubicBezTo>
                  <a:pt x="567" y="296"/>
                  <a:pt x="567" y="295"/>
                  <a:pt x="567" y="294"/>
                </a:cubicBezTo>
                <a:cubicBezTo>
                  <a:pt x="568" y="294"/>
                  <a:pt x="568" y="295"/>
                  <a:pt x="569" y="295"/>
                </a:cubicBezTo>
                <a:cubicBezTo>
                  <a:pt x="568" y="296"/>
                  <a:pt x="568" y="296"/>
                  <a:pt x="568" y="297"/>
                </a:cubicBezTo>
                <a:cubicBezTo>
                  <a:pt x="569" y="297"/>
                  <a:pt x="570" y="297"/>
                  <a:pt x="571" y="297"/>
                </a:cubicBezTo>
                <a:cubicBezTo>
                  <a:pt x="571" y="297"/>
                  <a:pt x="571" y="296"/>
                  <a:pt x="571" y="295"/>
                </a:cubicBezTo>
                <a:cubicBezTo>
                  <a:pt x="571" y="295"/>
                  <a:pt x="572" y="295"/>
                  <a:pt x="572" y="295"/>
                </a:cubicBezTo>
                <a:cubicBezTo>
                  <a:pt x="572" y="294"/>
                  <a:pt x="572" y="294"/>
                  <a:pt x="572" y="293"/>
                </a:cubicBezTo>
                <a:cubicBezTo>
                  <a:pt x="572" y="293"/>
                  <a:pt x="572" y="293"/>
                  <a:pt x="572" y="293"/>
                </a:cubicBezTo>
                <a:cubicBezTo>
                  <a:pt x="572" y="292"/>
                  <a:pt x="573" y="292"/>
                  <a:pt x="573" y="291"/>
                </a:cubicBezTo>
                <a:cubicBezTo>
                  <a:pt x="572" y="291"/>
                  <a:pt x="572" y="291"/>
                  <a:pt x="572" y="292"/>
                </a:cubicBezTo>
                <a:cubicBezTo>
                  <a:pt x="572" y="293"/>
                  <a:pt x="571" y="293"/>
                  <a:pt x="571" y="293"/>
                </a:cubicBezTo>
                <a:cubicBezTo>
                  <a:pt x="571" y="293"/>
                  <a:pt x="570" y="293"/>
                  <a:pt x="570" y="293"/>
                </a:cubicBezTo>
                <a:cubicBezTo>
                  <a:pt x="570" y="292"/>
                  <a:pt x="570" y="292"/>
                  <a:pt x="570" y="291"/>
                </a:cubicBezTo>
                <a:cubicBezTo>
                  <a:pt x="571" y="290"/>
                  <a:pt x="572" y="289"/>
                  <a:pt x="572" y="288"/>
                </a:cubicBezTo>
                <a:cubicBezTo>
                  <a:pt x="571" y="288"/>
                  <a:pt x="571" y="288"/>
                  <a:pt x="571" y="289"/>
                </a:cubicBezTo>
                <a:cubicBezTo>
                  <a:pt x="569" y="290"/>
                  <a:pt x="569" y="291"/>
                  <a:pt x="569" y="293"/>
                </a:cubicBezTo>
                <a:cubicBezTo>
                  <a:pt x="569" y="292"/>
                  <a:pt x="567" y="292"/>
                  <a:pt x="567" y="292"/>
                </a:cubicBezTo>
                <a:cubicBezTo>
                  <a:pt x="567" y="292"/>
                  <a:pt x="567" y="292"/>
                  <a:pt x="567" y="291"/>
                </a:cubicBezTo>
                <a:cubicBezTo>
                  <a:pt x="567" y="290"/>
                  <a:pt x="567" y="291"/>
                  <a:pt x="568" y="291"/>
                </a:cubicBezTo>
                <a:cubicBezTo>
                  <a:pt x="569" y="290"/>
                  <a:pt x="568" y="290"/>
                  <a:pt x="568" y="289"/>
                </a:cubicBezTo>
                <a:cubicBezTo>
                  <a:pt x="567" y="289"/>
                  <a:pt x="567" y="289"/>
                  <a:pt x="567" y="288"/>
                </a:cubicBezTo>
                <a:cubicBezTo>
                  <a:pt x="567" y="288"/>
                  <a:pt x="568" y="287"/>
                  <a:pt x="568" y="287"/>
                </a:cubicBezTo>
                <a:cubicBezTo>
                  <a:pt x="569" y="286"/>
                  <a:pt x="569" y="286"/>
                  <a:pt x="569" y="285"/>
                </a:cubicBezTo>
                <a:cubicBezTo>
                  <a:pt x="569" y="285"/>
                  <a:pt x="568" y="286"/>
                  <a:pt x="568" y="286"/>
                </a:cubicBezTo>
                <a:cubicBezTo>
                  <a:pt x="568" y="286"/>
                  <a:pt x="568" y="285"/>
                  <a:pt x="568" y="286"/>
                </a:cubicBezTo>
                <a:cubicBezTo>
                  <a:pt x="567" y="287"/>
                  <a:pt x="567" y="287"/>
                  <a:pt x="566" y="286"/>
                </a:cubicBezTo>
                <a:cubicBezTo>
                  <a:pt x="566" y="287"/>
                  <a:pt x="566" y="287"/>
                  <a:pt x="566" y="287"/>
                </a:cubicBezTo>
                <a:cubicBezTo>
                  <a:pt x="565" y="287"/>
                  <a:pt x="565" y="287"/>
                  <a:pt x="564" y="287"/>
                </a:cubicBezTo>
                <a:cubicBezTo>
                  <a:pt x="564" y="287"/>
                  <a:pt x="564" y="287"/>
                  <a:pt x="564" y="287"/>
                </a:cubicBezTo>
                <a:cubicBezTo>
                  <a:pt x="564" y="286"/>
                  <a:pt x="565" y="285"/>
                  <a:pt x="565" y="285"/>
                </a:cubicBezTo>
                <a:cubicBezTo>
                  <a:pt x="564" y="285"/>
                  <a:pt x="564" y="285"/>
                  <a:pt x="563" y="285"/>
                </a:cubicBezTo>
                <a:cubicBezTo>
                  <a:pt x="563" y="285"/>
                  <a:pt x="563" y="285"/>
                  <a:pt x="563" y="284"/>
                </a:cubicBezTo>
                <a:cubicBezTo>
                  <a:pt x="562" y="284"/>
                  <a:pt x="562" y="284"/>
                  <a:pt x="562" y="284"/>
                </a:cubicBezTo>
                <a:cubicBezTo>
                  <a:pt x="563" y="284"/>
                  <a:pt x="563" y="283"/>
                  <a:pt x="563" y="282"/>
                </a:cubicBezTo>
                <a:cubicBezTo>
                  <a:pt x="564" y="282"/>
                  <a:pt x="564" y="281"/>
                  <a:pt x="564" y="281"/>
                </a:cubicBezTo>
                <a:cubicBezTo>
                  <a:pt x="563" y="280"/>
                  <a:pt x="563" y="280"/>
                  <a:pt x="563" y="279"/>
                </a:cubicBezTo>
                <a:cubicBezTo>
                  <a:pt x="562" y="279"/>
                  <a:pt x="562" y="280"/>
                  <a:pt x="561" y="280"/>
                </a:cubicBezTo>
                <a:cubicBezTo>
                  <a:pt x="561" y="280"/>
                  <a:pt x="560" y="280"/>
                  <a:pt x="559" y="280"/>
                </a:cubicBezTo>
                <a:cubicBezTo>
                  <a:pt x="559" y="280"/>
                  <a:pt x="560" y="280"/>
                  <a:pt x="560" y="279"/>
                </a:cubicBezTo>
                <a:cubicBezTo>
                  <a:pt x="559" y="279"/>
                  <a:pt x="559" y="280"/>
                  <a:pt x="558" y="280"/>
                </a:cubicBezTo>
                <a:cubicBezTo>
                  <a:pt x="558" y="281"/>
                  <a:pt x="557" y="280"/>
                  <a:pt x="556" y="280"/>
                </a:cubicBezTo>
                <a:cubicBezTo>
                  <a:pt x="556" y="280"/>
                  <a:pt x="557" y="281"/>
                  <a:pt x="557" y="281"/>
                </a:cubicBezTo>
                <a:cubicBezTo>
                  <a:pt x="556" y="281"/>
                  <a:pt x="556" y="281"/>
                  <a:pt x="556" y="282"/>
                </a:cubicBezTo>
                <a:cubicBezTo>
                  <a:pt x="556" y="280"/>
                  <a:pt x="556" y="280"/>
                  <a:pt x="554" y="281"/>
                </a:cubicBezTo>
                <a:cubicBezTo>
                  <a:pt x="554" y="281"/>
                  <a:pt x="554" y="281"/>
                  <a:pt x="553" y="281"/>
                </a:cubicBezTo>
                <a:cubicBezTo>
                  <a:pt x="554" y="281"/>
                  <a:pt x="554" y="280"/>
                  <a:pt x="554" y="280"/>
                </a:cubicBezTo>
                <a:cubicBezTo>
                  <a:pt x="553" y="280"/>
                  <a:pt x="553" y="280"/>
                  <a:pt x="552" y="280"/>
                </a:cubicBezTo>
                <a:cubicBezTo>
                  <a:pt x="552" y="279"/>
                  <a:pt x="553" y="279"/>
                  <a:pt x="554" y="278"/>
                </a:cubicBezTo>
                <a:cubicBezTo>
                  <a:pt x="553" y="278"/>
                  <a:pt x="553" y="277"/>
                  <a:pt x="553" y="277"/>
                </a:cubicBezTo>
                <a:cubicBezTo>
                  <a:pt x="552" y="277"/>
                  <a:pt x="552" y="277"/>
                  <a:pt x="552" y="277"/>
                </a:cubicBezTo>
                <a:cubicBezTo>
                  <a:pt x="552" y="276"/>
                  <a:pt x="552" y="276"/>
                  <a:pt x="551" y="276"/>
                </a:cubicBezTo>
                <a:cubicBezTo>
                  <a:pt x="551" y="276"/>
                  <a:pt x="551" y="277"/>
                  <a:pt x="551" y="277"/>
                </a:cubicBezTo>
                <a:cubicBezTo>
                  <a:pt x="551" y="277"/>
                  <a:pt x="550" y="277"/>
                  <a:pt x="550" y="277"/>
                </a:cubicBezTo>
                <a:cubicBezTo>
                  <a:pt x="550" y="278"/>
                  <a:pt x="549" y="277"/>
                  <a:pt x="549" y="278"/>
                </a:cubicBezTo>
                <a:cubicBezTo>
                  <a:pt x="549" y="279"/>
                  <a:pt x="549" y="278"/>
                  <a:pt x="549" y="279"/>
                </a:cubicBezTo>
                <a:cubicBezTo>
                  <a:pt x="548" y="279"/>
                  <a:pt x="548" y="281"/>
                  <a:pt x="548" y="280"/>
                </a:cubicBezTo>
                <a:cubicBezTo>
                  <a:pt x="548" y="279"/>
                  <a:pt x="547" y="279"/>
                  <a:pt x="548" y="279"/>
                </a:cubicBezTo>
                <a:cubicBezTo>
                  <a:pt x="548" y="278"/>
                  <a:pt x="548" y="278"/>
                  <a:pt x="548" y="278"/>
                </a:cubicBezTo>
                <a:cubicBezTo>
                  <a:pt x="548" y="277"/>
                  <a:pt x="548" y="278"/>
                  <a:pt x="548" y="277"/>
                </a:cubicBezTo>
                <a:cubicBezTo>
                  <a:pt x="548" y="277"/>
                  <a:pt x="547" y="276"/>
                  <a:pt x="548" y="276"/>
                </a:cubicBezTo>
                <a:cubicBezTo>
                  <a:pt x="548" y="276"/>
                  <a:pt x="548" y="276"/>
                  <a:pt x="548" y="276"/>
                </a:cubicBezTo>
                <a:cubicBezTo>
                  <a:pt x="548" y="275"/>
                  <a:pt x="548" y="275"/>
                  <a:pt x="549" y="275"/>
                </a:cubicBezTo>
                <a:cubicBezTo>
                  <a:pt x="550" y="274"/>
                  <a:pt x="549" y="272"/>
                  <a:pt x="549" y="271"/>
                </a:cubicBezTo>
                <a:cubicBezTo>
                  <a:pt x="550" y="271"/>
                  <a:pt x="550" y="271"/>
                  <a:pt x="551" y="271"/>
                </a:cubicBezTo>
                <a:cubicBezTo>
                  <a:pt x="551" y="271"/>
                  <a:pt x="551" y="271"/>
                  <a:pt x="551" y="271"/>
                </a:cubicBezTo>
                <a:cubicBezTo>
                  <a:pt x="552" y="270"/>
                  <a:pt x="552" y="270"/>
                  <a:pt x="552" y="269"/>
                </a:cubicBezTo>
                <a:cubicBezTo>
                  <a:pt x="552" y="269"/>
                  <a:pt x="551" y="269"/>
                  <a:pt x="551" y="269"/>
                </a:cubicBezTo>
                <a:cubicBezTo>
                  <a:pt x="550" y="268"/>
                  <a:pt x="551" y="268"/>
                  <a:pt x="552" y="268"/>
                </a:cubicBezTo>
                <a:cubicBezTo>
                  <a:pt x="552" y="268"/>
                  <a:pt x="552" y="268"/>
                  <a:pt x="552" y="267"/>
                </a:cubicBezTo>
                <a:cubicBezTo>
                  <a:pt x="553" y="267"/>
                  <a:pt x="553" y="267"/>
                  <a:pt x="553" y="266"/>
                </a:cubicBezTo>
                <a:cubicBezTo>
                  <a:pt x="551" y="266"/>
                  <a:pt x="553" y="266"/>
                  <a:pt x="553" y="266"/>
                </a:cubicBezTo>
                <a:close/>
                <a:moveTo>
                  <a:pt x="1657" y="268"/>
                </a:moveTo>
                <a:cubicBezTo>
                  <a:pt x="1658" y="268"/>
                  <a:pt x="1658" y="267"/>
                  <a:pt x="1658" y="266"/>
                </a:cubicBezTo>
                <a:cubicBezTo>
                  <a:pt x="1657" y="267"/>
                  <a:pt x="1657" y="267"/>
                  <a:pt x="1657" y="268"/>
                </a:cubicBezTo>
                <a:cubicBezTo>
                  <a:pt x="1657" y="268"/>
                  <a:pt x="1657" y="268"/>
                  <a:pt x="1657" y="268"/>
                </a:cubicBezTo>
                <a:cubicBezTo>
                  <a:pt x="1658" y="267"/>
                  <a:pt x="1657" y="268"/>
                  <a:pt x="1657" y="268"/>
                </a:cubicBezTo>
                <a:close/>
                <a:moveTo>
                  <a:pt x="1693" y="267"/>
                </a:moveTo>
                <a:cubicBezTo>
                  <a:pt x="1694" y="267"/>
                  <a:pt x="1695" y="267"/>
                  <a:pt x="1696" y="267"/>
                </a:cubicBezTo>
                <a:cubicBezTo>
                  <a:pt x="1696" y="266"/>
                  <a:pt x="1696" y="266"/>
                  <a:pt x="1696" y="266"/>
                </a:cubicBezTo>
                <a:cubicBezTo>
                  <a:pt x="1697" y="266"/>
                  <a:pt x="1696" y="265"/>
                  <a:pt x="1696" y="264"/>
                </a:cubicBezTo>
                <a:cubicBezTo>
                  <a:pt x="1696" y="265"/>
                  <a:pt x="1695" y="265"/>
                  <a:pt x="1694" y="266"/>
                </a:cubicBezTo>
                <a:cubicBezTo>
                  <a:pt x="1693" y="266"/>
                  <a:pt x="1693" y="266"/>
                  <a:pt x="1693" y="267"/>
                </a:cubicBezTo>
                <a:close/>
                <a:moveTo>
                  <a:pt x="1713" y="264"/>
                </a:moveTo>
                <a:cubicBezTo>
                  <a:pt x="1712" y="264"/>
                  <a:pt x="1714" y="265"/>
                  <a:pt x="1714" y="264"/>
                </a:cubicBezTo>
                <a:cubicBezTo>
                  <a:pt x="1713" y="264"/>
                  <a:pt x="1713" y="264"/>
                  <a:pt x="1713" y="264"/>
                </a:cubicBezTo>
                <a:close/>
                <a:moveTo>
                  <a:pt x="207" y="263"/>
                </a:moveTo>
                <a:cubicBezTo>
                  <a:pt x="205" y="262"/>
                  <a:pt x="206" y="265"/>
                  <a:pt x="207" y="263"/>
                </a:cubicBezTo>
                <a:close/>
                <a:moveTo>
                  <a:pt x="204" y="261"/>
                </a:moveTo>
                <a:cubicBezTo>
                  <a:pt x="204" y="262"/>
                  <a:pt x="204" y="261"/>
                  <a:pt x="204" y="261"/>
                </a:cubicBezTo>
                <a:cubicBezTo>
                  <a:pt x="205" y="261"/>
                  <a:pt x="205" y="261"/>
                  <a:pt x="205" y="261"/>
                </a:cubicBezTo>
                <a:cubicBezTo>
                  <a:pt x="205" y="260"/>
                  <a:pt x="204" y="260"/>
                  <a:pt x="204" y="260"/>
                </a:cubicBezTo>
                <a:cubicBezTo>
                  <a:pt x="204" y="261"/>
                  <a:pt x="204" y="261"/>
                  <a:pt x="204" y="261"/>
                </a:cubicBezTo>
                <a:close/>
                <a:moveTo>
                  <a:pt x="1632" y="261"/>
                </a:moveTo>
                <a:cubicBezTo>
                  <a:pt x="1632" y="260"/>
                  <a:pt x="1632" y="261"/>
                  <a:pt x="1631" y="261"/>
                </a:cubicBezTo>
                <a:cubicBezTo>
                  <a:pt x="1630" y="260"/>
                  <a:pt x="1629" y="260"/>
                  <a:pt x="1628" y="260"/>
                </a:cubicBezTo>
                <a:cubicBezTo>
                  <a:pt x="1629" y="261"/>
                  <a:pt x="1629" y="260"/>
                  <a:pt x="1629" y="261"/>
                </a:cubicBezTo>
                <a:cubicBezTo>
                  <a:pt x="1629" y="261"/>
                  <a:pt x="1630" y="262"/>
                  <a:pt x="1630" y="262"/>
                </a:cubicBezTo>
                <a:cubicBezTo>
                  <a:pt x="1631" y="262"/>
                  <a:pt x="1631" y="261"/>
                  <a:pt x="1632" y="261"/>
                </a:cubicBezTo>
                <a:close/>
                <a:moveTo>
                  <a:pt x="4" y="260"/>
                </a:moveTo>
                <a:cubicBezTo>
                  <a:pt x="3" y="260"/>
                  <a:pt x="5" y="261"/>
                  <a:pt x="4" y="260"/>
                </a:cubicBezTo>
                <a:cubicBezTo>
                  <a:pt x="4" y="260"/>
                  <a:pt x="4" y="260"/>
                  <a:pt x="4" y="260"/>
                </a:cubicBezTo>
                <a:close/>
                <a:moveTo>
                  <a:pt x="1325" y="260"/>
                </a:moveTo>
                <a:cubicBezTo>
                  <a:pt x="1326" y="260"/>
                  <a:pt x="1326" y="258"/>
                  <a:pt x="1325" y="260"/>
                </a:cubicBezTo>
                <a:cubicBezTo>
                  <a:pt x="1325" y="260"/>
                  <a:pt x="1325" y="260"/>
                  <a:pt x="1325" y="260"/>
                </a:cubicBezTo>
                <a:close/>
                <a:moveTo>
                  <a:pt x="7" y="259"/>
                </a:moveTo>
                <a:cubicBezTo>
                  <a:pt x="7" y="259"/>
                  <a:pt x="7" y="259"/>
                  <a:pt x="8" y="259"/>
                </a:cubicBezTo>
                <a:cubicBezTo>
                  <a:pt x="7" y="259"/>
                  <a:pt x="7" y="259"/>
                  <a:pt x="7" y="259"/>
                </a:cubicBezTo>
                <a:cubicBezTo>
                  <a:pt x="7" y="259"/>
                  <a:pt x="7" y="259"/>
                  <a:pt x="7" y="259"/>
                </a:cubicBezTo>
                <a:close/>
                <a:moveTo>
                  <a:pt x="1724" y="258"/>
                </a:moveTo>
                <a:cubicBezTo>
                  <a:pt x="1725" y="259"/>
                  <a:pt x="1725" y="259"/>
                  <a:pt x="1723" y="259"/>
                </a:cubicBezTo>
                <a:cubicBezTo>
                  <a:pt x="1723" y="260"/>
                  <a:pt x="1722" y="263"/>
                  <a:pt x="1722" y="263"/>
                </a:cubicBezTo>
                <a:cubicBezTo>
                  <a:pt x="1722" y="263"/>
                  <a:pt x="1723" y="262"/>
                  <a:pt x="1723" y="262"/>
                </a:cubicBezTo>
                <a:cubicBezTo>
                  <a:pt x="1724" y="262"/>
                  <a:pt x="1724" y="262"/>
                  <a:pt x="1724" y="261"/>
                </a:cubicBezTo>
                <a:cubicBezTo>
                  <a:pt x="1724" y="261"/>
                  <a:pt x="1725" y="260"/>
                  <a:pt x="1725" y="259"/>
                </a:cubicBezTo>
                <a:cubicBezTo>
                  <a:pt x="1726" y="259"/>
                  <a:pt x="1727" y="258"/>
                  <a:pt x="1727" y="257"/>
                </a:cubicBezTo>
                <a:cubicBezTo>
                  <a:pt x="1726" y="257"/>
                  <a:pt x="1725" y="258"/>
                  <a:pt x="1724" y="258"/>
                </a:cubicBezTo>
                <a:cubicBezTo>
                  <a:pt x="1724" y="259"/>
                  <a:pt x="1724" y="258"/>
                  <a:pt x="1724" y="258"/>
                </a:cubicBezTo>
                <a:close/>
                <a:moveTo>
                  <a:pt x="429" y="258"/>
                </a:moveTo>
                <a:cubicBezTo>
                  <a:pt x="430" y="259"/>
                  <a:pt x="432" y="260"/>
                  <a:pt x="433" y="260"/>
                </a:cubicBezTo>
                <a:cubicBezTo>
                  <a:pt x="433" y="259"/>
                  <a:pt x="433" y="259"/>
                  <a:pt x="433" y="258"/>
                </a:cubicBezTo>
                <a:cubicBezTo>
                  <a:pt x="433" y="258"/>
                  <a:pt x="430" y="257"/>
                  <a:pt x="431" y="257"/>
                </a:cubicBezTo>
                <a:cubicBezTo>
                  <a:pt x="430" y="257"/>
                  <a:pt x="428" y="257"/>
                  <a:pt x="429" y="258"/>
                </a:cubicBezTo>
                <a:cubicBezTo>
                  <a:pt x="429" y="259"/>
                  <a:pt x="429" y="258"/>
                  <a:pt x="429" y="258"/>
                </a:cubicBezTo>
                <a:close/>
                <a:moveTo>
                  <a:pt x="1731" y="257"/>
                </a:moveTo>
                <a:cubicBezTo>
                  <a:pt x="1731" y="257"/>
                  <a:pt x="1731" y="257"/>
                  <a:pt x="1731" y="258"/>
                </a:cubicBezTo>
                <a:cubicBezTo>
                  <a:pt x="1730" y="258"/>
                  <a:pt x="1730" y="259"/>
                  <a:pt x="1729" y="259"/>
                </a:cubicBezTo>
                <a:cubicBezTo>
                  <a:pt x="1730" y="261"/>
                  <a:pt x="1733" y="258"/>
                  <a:pt x="1733" y="257"/>
                </a:cubicBezTo>
                <a:cubicBezTo>
                  <a:pt x="1732" y="256"/>
                  <a:pt x="1732" y="256"/>
                  <a:pt x="1731" y="257"/>
                </a:cubicBezTo>
                <a:cubicBezTo>
                  <a:pt x="1731" y="257"/>
                  <a:pt x="1731" y="257"/>
                  <a:pt x="1731" y="257"/>
                </a:cubicBezTo>
                <a:close/>
                <a:moveTo>
                  <a:pt x="847" y="256"/>
                </a:moveTo>
                <a:cubicBezTo>
                  <a:pt x="845" y="256"/>
                  <a:pt x="845" y="256"/>
                  <a:pt x="844" y="257"/>
                </a:cubicBezTo>
                <a:cubicBezTo>
                  <a:pt x="845" y="257"/>
                  <a:pt x="847" y="257"/>
                  <a:pt x="847" y="256"/>
                </a:cubicBezTo>
                <a:cubicBezTo>
                  <a:pt x="846" y="256"/>
                  <a:pt x="847" y="256"/>
                  <a:pt x="847" y="256"/>
                </a:cubicBezTo>
                <a:close/>
                <a:moveTo>
                  <a:pt x="200" y="256"/>
                </a:moveTo>
                <a:cubicBezTo>
                  <a:pt x="200" y="256"/>
                  <a:pt x="200" y="256"/>
                  <a:pt x="199" y="256"/>
                </a:cubicBezTo>
                <a:cubicBezTo>
                  <a:pt x="200" y="256"/>
                  <a:pt x="200" y="256"/>
                  <a:pt x="200" y="256"/>
                </a:cubicBezTo>
                <a:close/>
                <a:moveTo>
                  <a:pt x="192" y="259"/>
                </a:moveTo>
                <a:cubicBezTo>
                  <a:pt x="192" y="258"/>
                  <a:pt x="192" y="257"/>
                  <a:pt x="191" y="257"/>
                </a:cubicBezTo>
                <a:cubicBezTo>
                  <a:pt x="191" y="257"/>
                  <a:pt x="190" y="257"/>
                  <a:pt x="191" y="257"/>
                </a:cubicBezTo>
                <a:cubicBezTo>
                  <a:pt x="191" y="256"/>
                  <a:pt x="190" y="256"/>
                  <a:pt x="189" y="255"/>
                </a:cubicBezTo>
                <a:cubicBezTo>
                  <a:pt x="189" y="256"/>
                  <a:pt x="189" y="256"/>
                  <a:pt x="188" y="256"/>
                </a:cubicBezTo>
                <a:cubicBezTo>
                  <a:pt x="187" y="256"/>
                  <a:pt x="188" y="257"/>
                  <a:pt x="187" y="257"/>
                </a:cubicBezTo>
                <a:cubicBezTo>
                  <a:pt x="187" y="257"/>
                  <a:pt x="187" y="257"/>
                  <a:pt x="187" y="257"/>
                </a:cubicBezTo>
                <a:cubicBezTo>
                  <a:pt x="187" y="258"/>
                  <a:pt x="188" y="258"/>
                  <a:pt x="188" y="258"/>
                </a:cubicBezTo>
                <a:cubicBezTo>
                  <a:pt x="188" y="258"/>
                  <a:pt x="187" y="258"/>
                  <a:pt x="187" y="258"/>
                </a:cubicBezTo>
                <a:cubicBezTo>
                  <a:pt x="187" y="259"/>
                  <a:pt x="188" y="261"/>
                  <a:pt x="190" y="261"/>
                </a:cubicBezTo>
                <a:cubicBezTo>
                  <a:pt x="191" y="262"/>
                  <a:pt x="191" y="262"/>
                  <a:pt x="191" y="262"/>
                </a:cubicBezTo>
                <a:cubicBezTo>
                  <a:pt x="191" y="263"/>
                  <a:pt x="192" y="263"/>
                  <a:pt x="192" y="263"/>
                </a:cubicBezTo>
                <a:cubicBezTo>
                  <a:pt x="192" y="262"/>
                  <a:pt x="192" y="262"/>
                  <a:pt x="192" y="262"/>
                </a:cubicBezTo>
                <a:cubicBezTo>
                  <a:pt x="191" y="261"/>
                  <a:pt x="191" y="261"/>
                  <a:pt x="192" y="260"/>
                </a:cubicBezTo>
                <a:cubicBezTo>
                  <a:pt x="192" y="260"/>
                  <a:pt x="193" y="260"/>
                  <a:pt x="193" y="260"/>
                </a:cubicBezTo>
                <a:cubicBezTo>
                  <a:pt x="193" y="259"/>
                  <a:pt x="192" y="259"/>
                  <a:pt x="191" y="259"/>
                </a:cubicBezTo>
                <a:cubicBezTo>
                  <a:pt x="191" y="259"/>
                  <a:pt x="191" y="259"/>
                  <a:pt x="192" y="259"/>
                </a:cubicBezTo>
                <a:cubicBezTo>
                  <a:pt x="192" y="258"/>
                  <a:pt x="192" y="259"/>
                  <a:pt x="192" y="259"/>
                </a:cubicBezTo>
                <a:close/>
                <a:moveTo>
                  <a:pt x="15" y="255"/>
                </a:moveTo>
                <a:cubicBezTo>
                  <a:pt x="15" y="255"/>
                  <a:pt x="14" y="255"/>
                  <a:pt x="14" y="255"/>
                </a:cubicBezTo>
                <a:cubicBezTo>
                  <a:pt x="14" y="256"/>
                  <a:pt x="14" y="257"/>
                  <a:pt x="13" y="258"/>
                </a:cubicBezTo>
                <a:cubicBezTo>
                  <a:pt x="14" y="258"/>
                  <a:pt x="14" y="258"/>
                  <a:pt x="14" y="257"/>
                </a:cubicBezTo>
                <a:cubicBezTo>
                  <a:pt x="15" y="256"/>
                  <a:pt x="15" y="256"/>
                  <a:pt x="16" y="256"/>
                </a:cubicBezTo>
                <a:cubicBezTo>
                  <a:pt x="17" y="255"/>
                  <a:pt x="17" y="255"/>
                  <a:pt x="17" y="254"/>
                </a:cubicBezTo>
                <a:cubicBezTo>
                  <a:pt x="16" y="254"/>
                  <a:pt x="15" y="254"/>
                  <a:pt x="15" y="255"/>
                </a:cubicBezTo>
                <a:cubicBezTo>
                  <a:pt x="15" y="255"/>
                  <a:pt x="15" y="255"/>
                  <a:pt x="15" y="255"/>
                </a:cubicBezTo>
                <a:close/>
                <a:moveTo>
                  <a:pt x="1490" y="303"/>
                </a:moveTo>
                <a:cubicBezTo>
                  <a:pt x="1490" y="305"/>
                  <a:pt x="1490" y="305"/>
                  <a:pt x="1490" y="307"/>
                </a:cubicBezTo>
                <a:cubicBezTo>
                  <a:pt x="1490" y="307"/>
                  <a:pt x="1489" y="307"/>
                  <a:pt x="1489" y="307"/>
                </a:cubicBezTo>
                <a:cubicBezTo>
                  <a:pt x="1489" y="308"/>
                  <a:pt x="1490" y="307"/>
                  <a:pt x="1490" y="307"/>
                </a:cubicBezTo>
                <a:cubicBezTo>
                  <a:pt x="1491" y="307"/>
                  <a:pt x="1491" y="306"/>
                  <a:pt x="1491" y="305"/>
                </a:cubicBezTo>
                <a:cubicBezTo>
                  <a:pt x="1491" y="305"/>
                  <a:pt x="1492" y="304"/>
                  <a:pt x="1492" y="303"/>
                </a:cubicBezTo>
                <a:cubicBezTo>
                  <a:pt x="1492" y="303"/>
                  <a:pt x="1493" y="303"/>
                  <a:pt x="1493" y="303"/>
                </a:cubicBezTo>
                <a:cubicBezTo>
                  <a:pt x="1493" y="303"/>
                  <a:pt x="1494" y="304"/>
                  <a:pt x="1494" y="305"/>
                </a:cubicBezTo>
                <a:cubicBezTo>
                  <a:pt x="1495" y="305"/>
                  <a:pt x="1496" y="306"/>
                  <a:pt x="1496" y="307"/>
                </a:cubicBezTo>
                <a:cubicBezTo>
                  <a:pt x="1496" y="307"/>
                  <a:pt x="1496" y="308"/>
                  <a:pt x="1496" y="308"/>
                </a:cubicBezTo>
                <a:cubicBezTo>
                  <a:pt x="1497" y="308"/>
                  <a:pt x="1497" y="307"/>
                  <a:pt x="1497" y="306"/>
                </a:cubicBezTo>
                <a:cubicBezTo>
                  <a:pt x="1497" y="306"/>
                  <a:pt x="1497" y="306"/>
                  <a:pt x="1497" y="305"/>
                </a:cubicBezTo>
                <a:cubicBezTo>
                  <a:pt x="1497" y="305"/>
                  <a:pt x="1497" y="306"/>
                  <a:pt x="1497" y="305"/>
                </a:cubicBezTo>
                <a:cubicBezTo>
                  <a:pt x="1497" y="305"/>
                  <a:pt x="1497" y="303"/>
                  <a:pt x="1497" y="303"/>
                </a:cubicBezTo>
                <a:cubicBezTo>
                  <a:pt x="1496" y="303"/>
                  <a:pt x="1496" y="303"/>
                  <a:pt x="1496" y="303"/>
                </a:cubicBezTo>
                <a:cubicBezTo>
                  <a:pt x="1495" y="303"/>
                  <a:pt x="1495" y="302"/>
                  <a:pt x="1495" y="302"/>
                </a:cubicBezTo>
                <a:cubicBezTo>
                  <a:pt x="1495" y="301"/>
                  <a:pt x="1495" y="301"/>
                  <a:pt x="1495" y="300"/>
                </a:cubicBezTo>
                <a:cubicBezTo>
                  <a:pt x="1495" y="300"/>
                  <a:pt x="1495" y="300"/>
                  <a:pt x="1494" y="299"/>
                </a:cubicBezTo>
                <a:cubicBezTo>
                  <a:pt x="1494" y="299"/>
                  <a:pt x="1494" y="299"/>
                  <a:pt x="1494" y="299"/>
                </a:cubicBezTo>
                <a:cubicBezTo>
                  <a:pt x="1494" y="298"/>
                  <a:pt x="1494" y="298"/>
                  <a:pt x="1494" y="297"/>
                </a:cubicBezTo>
                <a:cubicBezTo>
                  <a:pt x="1494" y="297"/>
                  <a:pt x="1493" y="298"/>
                  <a:pt x="1493" y="297"/>
                </a:cubicBezTo>
                <a:cubicBezTo>
                  <a:pt x="1493" y="296"/>
                  <a:pt x="1494" y="296"/>
                  <a:pt x="1494" y="295"/>
                </a:cubicBezTo>
                <a:cubicBezTo>
                  <a:pt x="1494" y="294"/>
                  <a:pt x="1494" y="293"/>
                  <a:pt x="1494" y="292"/>
                </a:cubicBezTo>
                <a:cubicBezTo>
                  <a:pt x="1495" y="292"/>
                  <a:pt x="1495" y="292"/>
                  <a:pt x="1495" y="291"/>
                </a:cubicBezTo>
                <a:cubicBezTo>
                  <a:pt x="1495" y="290"/>
                  <a:pt x="1495" y="290"/>
                  <a:pt x="1495" y="289"/>
                </a:cubicBezTo>
                <a:cubicBezTo>
                  <a:pt x="1495" y="288"/>
                  <a:pt x="1495" y="288"/>
                  <a:pt x="1496" y="287"/>
                </a:cubicBezTo>
                <a:cubicBezTo>
                  <a:pt x="1496" y="286"/>
                  <a:pt x="1496" y="285"/>
                  <a:pt x="1497" y="285"/>
                </a:cubicBezTo>
                <a:cubicBezTo>
                  <a:pt x="1497" y="285"/>
                  <a:pt x="1497" y="285"/>
                  <a:pt x="1497" y="285"/>
                </a:cubicBezTo>
                <a:cubicBezTo>
                  <a:pt x="1497" y="284"/>
                  <a:pt x="1498" y="284"/>
                  <a:pt x="1499" y="284"/>
                </a:cubicBezTo>
                <a:cubicBezTo>
                  <a:pt x="1500" y="284"/>
                  <a:pt x="1500" y="285"/>
                  <a:pt x="1501" y="286"/>
                </a:cubicBezTo>
                <a:cubicBezTo>
                  <a:pt x="1502" y="287"/>
                  <a:pt x="1503" y="288"/>
                  <a:pt x="1503" y="286"/>
                </a:cubicBezTo>
                <a:cubicBezTo>
                  <a:pt x="1503" y="286"/>
                  <a:pt x="1502" y="285"/>
                  <a:pt x="1502" y="285"/>
                </a:cubicBezTo>
                <a:cubicBezTo>
                  <a:pt x="1501" y="285"/>
                  <a:pt x="1501" y="285"/>
                  <a:pt x="1501" y="284"/>
                </a:cubicBezTo>
                <a:cubicBezTo>
                  <a:pt x="1501" y="284"/>
                  <a:pt x="1501" y="283"/>
                  <a:pt x="1501" y="283"/>
                </a:cubicBezTo>
                <a:cubicBezTo>
                  <a:pt x="1500" y="283"/>
                  <a:pt x="1501" y="282"/>
                  <a:pt x="1500" y="282"/>
                </a:cubicBezTo>
                <a:cubicBezTo>
                  <a:pt x="1500" y="282"/>
                  <a:pt x="1500" y="283"/>
                  <a:pt x="1499" y="282"/>
                </a:cubicBezTo>
                <a:cubicBezTo>
                  <a:pt x="1499" y="281"/>
                  <a:pt x="1498" y="280"/>
                  <a:pt x="1497" y="280"/>
                </a:cubicBezTo>
                <a:cubicBezTo>
                  <a:pt x="1498" y="279"/>
                  <a:pt x="1497" y="278"/>
                  <a:pt x="1498" y="278"/>
                </a:cubicBezTo>
                <a:cubicBezTo>
                  <a:pt x="1498" y="277"/>
                  <a:pt x="1498" y="276"/>
                  <a:pt x="1498" y="275"/>
                </a:cubicBezTo>
                <a:cubicBezTo>
                  <a:pt x="1498" y="275"/>
                  <a:pt x="1498" y="275"/>
                  <a:pt x="1497" y="275"/>
                </a:cubicBezTo>
                <a:cubicBezTo>
                  <a:pt x="1497" y="274"/>
                  <a:pt x="1498" y="274"/>
                  <a:pt x="1497" y="274"/>
                </a:cubicBezTo>
                <a:cubicBezTo>
                  <a:pt x="1497" y="272"/>
                  <a:pt x="1497" y="270"/>
                  <a:pt x="1498" y="269"/>
                </a:cubicBezTo>
                <a:cubicBezTo>
                  <a:pt x="1498" y="269"/>
                  <a:pt x="1497" y="269"/>
                  <a:pt x="1497" y="269"/>
                </a:cubicBezTo>
                <a:cubicBezTo>
                  <a:pt x="1497" y="267"/>
                  <a:pt x="1498" y="266"/>
                  <a:pt x="1498" y="265"/>
                </a:cubicBezTo>
                <a:cubicBezTo>
                  <a:pt x="1498" y="264"/>
                  <a:pt x="1498" y="264"/>
                  <a:pt x="1498" y="263"/>
                </a:cubicBezTo>
                <a:cubicBezTo>
                  <a:pt x="1498" y="263"/>
                  <a:pt x="1498" y="263"/>
                  <a:pt x="1498" y="263"/>
                </a:cubicBezTo>
                <a:cubicBezTo>
                  <a:pt x="1498" y="263"/>
                  <a:pt x="1498" y="263"/>
                  <a:pt x="1498" y="262"/>
                </a:cubicBezTo>
                <a:cubicBezTo>
                  <a:pt x="1497" y="262"/>
                  <a:pt x="1497" y="262"/>
                  <a:pt x="1497" y="261"/>
                </a:cubicBezTo>
                <a:cubicBezTo>
                  <a:pt x="1497" y="261"/>
                  <a:pt x="1497" y="260"/>
                  <a:pt x="1496" y="260"/>
                </a:cubicBezTo>
                <a:cubicBezTo>
                  <a:pt x="1496" y="260"/>
                  <a:pt x="1497" y="260"/>
                  <a:pt x="1496" y="260"/>
                </a:cubicBezTo>
                <a:cubicBezTo>
                  <a:pt x="1496" y="260"/>
                  <a:pt x="1496" y="258"/>
                  <a:pt x="1496" y="258"/>
                </a:cubicBezTo>
                <a:cubicBezTo>
                  <a:pt x="1496" y="257"/>
                  <a:pt x="1496" y="257"/>
                  <a:pt x="1497" y="257"/>
                </a:cubicBezTo>
                <a:cubicBezTo>
                  <a:pt x="1497" y="256"/>
                  <a:pt x="1497" y="256"/>
                  <a:pt x="1497" y="255"/>
                </a:cubicBezTo>
                <a:cubicBezTo>
                  <a:pt x="1497" y="255"/>
                  <a:pt x="1497" y="255"/>
                  <a:pt x="1497" y="254"/>
                </a:cubicBezTo>
                <a:cubicBezTo>
                  <a:pt x="1497" y="254"/>
                  <a:pt x="1496" y="254"/>
                  <a:pt x="1496" y="254"/>
                </a:cubicBezTo>
                <a:cubicBezTo>
                  <a:pt x="1496" y="254"/>
                  <a:pt x="1496" y="254"/>
                  <a:pt x="1496" y="254"/>
                </a:cubicBezTo>
                <a:cubicBezTo>
                  <a:pt x="1496" y="254"/>
                  <a:pt x="1496" y="254"/>
                  <a:pt x="1496" y="253"/>
                </a:cubicBezTo>
                <a:cubicBezTo>
                  <a:pt x="1496" y="252"/>
                  <a:pt x="1496" y="251"/>
                  <a:pt x="1495" y="252"/>
                </a:cubicBezTo>
                <a:cubicBezTo>
                  <a:pt x="1494" y="254"/>
                  <a:pt x="1495" y="254"/>
                  <a:pt x="1493" y="254"/>
                </a:cubicBezTo>
                <a:cubicBezTo>
                  <a:pt x="1493" y="255"/>
                  <a:pt x="1493" y="256"/>
                  <a:pt x="1493" y="257"/>
                </a:cubicBezTo>
                <a:cubicBezTo>
                  <a:pt x="1494" y="257"/>
                  <a:pt x="1494" y="257"/>
                  <a:pt x="1494" y="258"/>
                </a:cubicBezTo>
                <a:cubicBezTo>
                  <a:pt x="1494" y="258"/>
                  <a:pt x="1494" y="258"/>
                  <a:pt x="1494" y="258"/>
                </a:cubicBezTo>
                <a:cubicBezTo>
                  <a:pt x="1494" y="259"/>
                  <a:pt x="1494" y="260"/>
                  <a:pt x="1493" y="260"/>
                </a:cubicBezTo>
                <a:cubicBezTo>
                  <a:pt x="1492" y="261"/>
                  <a:pt x="1491" y="261"/>
                  <a:pt x="1491" y="262"/>
                </a:cubicBezTo>
                <a:cubicBezTo>
                  <a:pt x="1491" y="263"/>
                  <a:pt x="1491" y="263"/>
                  <a:pt x="1491" y="263"/>
                </a:cubicBezTo>
                <a:cubicBezTo>
                  <a:pt x="1490" y="264"/>
                  <a:pt x="1490" y="265"/>
                  <a:pt x="1490" y="267"/>
                </a:cubicBezTo>
                <a:cubicBezTo>
                  <a:pt x="1489" y="266"/>
                  <a:pt x="1491" y="268"/>
                  <a:pt x="1490" y="268"/>
                </a:cubicBezTo>
                <a:cubicBezTo>
                  <a:pt x="1490" y="269"/>
                  <a:pt x="1490" y="270"/>
                  <a:pt x="1490" y="271"/>
                </a:cubicBezTo>
                <a:cubicBezTo>
                  <a:pt x="1490" y="271"/>
                  <a:pt x="1490" y="271"/>
                  <a:pt x="1490" y="271"/>
                </a:cubicBezTo>
                <a:cubicBezTo>
                  <a:pt x="1491" y="272"/>
                  <a:pt x="1490" y="272"/>
                  <a:pt x="1490" y="272"/>
                </a:cubicBezTo>
                <a:cubicBezTo>
                  <a:pt x="1491" y="272"/>
                  <a:pt x="1491" y="272"/>
                  <a:pt x="1491" y="273"/>
                </a:cubicBezTo>
                <a:cubicBezTo>
                  <a:pt x="1491" y="273"/>
                  <a:pt x="1491" y="274"/>
                  <a:pt x="1491" y="274"/>
                </a:cubicBezTo>
                <a:cubicBezTo>
                  <a:pt x="1491" y="275"/>
                  <a:pt x="1491" y="276"/>
                  <a:pt x="1491" y="277"/>
                </a:cubicBezTo>
                <a:cubicBezTo>
                  <a:pt x="1491" y="277"/>
                  <a:pt x="1491" y="281"/>
                  <a:pt x="1492" y="281"/>
                </a:cubicBezTo>
                <a:cubicBezTo>
                  <a:pt x="1491" y="281"/>
                  <a:pt x="1491" y="285"/>
                  <a:pt x="1491" y="286"/>
                </a:cubicBezTo>
                <a:cubicBezTo>
                  <a:pt x="1491" y="286"/>
                  <a:pt x="1491" y="285"/>
                  <a:pt x="1491" y="286"/>
                </a:cubicBezTo>
                <a:cubicBezTo>
                  <a:pt x="1491" y="287"/>
                  <a:pt x="1491" y="288"/>
                  <a:pt x="1491" y="288"/>
                </a:cubicBezTo>
                <a:cubicBezTo>
                  <a:pt x="1491" y="289"/>
                  <a:pt x="1491" y="290"/>
                  <a:pt x="1491" y="290"/>
                </a:cubicBezTo>
                <a:cubicBezTo>
                  <a:pt x="1490" y="290"/>
                  <a:pt x="1491" y="293"/>
                  <a:pt x="1491" y="293"/>
                </a:cubicBezTo>
                <a:cubicBezTo>
                  <a:pt x="1492" y="295"/>
                  <a:pt x="1491" y="297"/>
                  <a:pt x="1491" y="298"/>
                </a:cubicBezTo>
                <a:cubicBezTo>
                  <a:pt x="1491" y="299"/>
                  <a:pt x="1491" y="298"/>
                  <a:pt x="1491" y="299"/>
                </a:cubicBezTo>
                <a:cubicBezTo>
                  <a:pt x="1491" y="299"/>
                  <a:pt x="1490" y="299"/>
                  <a:pt x="1490" y="299"/>
                </a:cubicBezTo>
                <a:cubicBezTo>
                  <a:pt x="1490" y="300"/>
                  <a:pt x="1490" y="301"/>
                  <a:pt x="1491" y="301"/>
                </a:cubicBezTo>
                <a:cubicBezTo>
                  <a:pt x="1491" y="302"/>
                  <a:pt x="1491" y="303"/>
                  <a:pt x="1490" y="303"/>
                </a:cubicBezTo>
                <a:close/>
                <a:moveTo>
                  <a:pt x="23" y="252"/>
                </a:moveTo>
                <a:cubicBezTo>
                  <a:pt x="22" y="252"/>
                  <a:pt x="21" y="252"/>
                  <a:pt x="21" y="252"/>
                </a:cubicBezTo>
                <a:cubicBezTo>
                  <a:pt x="21" y="253"/>
                  <a:pt x="21" y="253"/>
                  <a:pt x="22" y="253"/>
                </a:cubicBezTo>
                <a:cubicBezTo>
                  <a:pt x="21" y="255"/>
                  <a:pt x="20" y="255"/>
                  <a:pt x="19" y="255"/>
                </a:cubicBezTo>
                <a:cubicBezTo>
                  <a:pt x="19" y="255"/>
                  <a:pt x="19" y="256"/>
                  <a:pt x="20" y="256"/>
                </a:cubicBezTo>
                <a:cubicBezTo>
                  <a:pt x="20" y="256"/>
                  <a:pt x="21" y="255"/>
                  <a:pt x="22" y="255"/>
                </a:cubicBezTo>
                <a:cubicBezTo>
                  <a:pt x="23" y="255"/>
                  <a:pt x="24" y="254"/>
                  <a:pt x="24" y="252"/>
                </a:cubicBezTo>
                <a:cubicBezTo>
                  <a:pt x="23" y="252"/>
                  <a:pt x="23" y="252"/>
                  <a:pt x="23" y="252"/>
                </a:cubicBezTo>
                <a:cubicBezTo>
                  <a:pt x="22" y="252"/>
                  <a:pt x="23" y="252"/>
                  <a:pt x="23" y="252"/>
                </a:cubicBezTo>
                <a:close/>
                <a:moveTo>
                  <a:pt x="196" y="251"/>
                </a:moveTo>
                <a:cubicBezTo>
                  <a:pt x="196" y="252"/>
                  <a:pt x="199" y="251"/>
                  <a:pt x="196" y="251"/>
                </a:cubicBezTo>
                <a:cubicBezTo>
                  <a:pt x="196" y="251"/>
                  <a:pt x="196" y="251"/>
                  <a:pt x="196" y="251"/>
                </a:cubicBezTo>
                <a:close/>
                <a:moveTo>
                  <a:pt x="188" y="256"/>
                </a:moveTo>
                <a:cubicBezTo>
                  <a:pt x="188" y="255"/>
                  <a:pt x="189" y="256"/>
                  <a:pt x="189" y="255"/>
                </a:cubicBezTo>
                <a:cubicBezTo>
                  <a:pt x="189" y="254"/>
                  <a:pt x="189" y="254"/>
                  <a:pt x="189" y="253"/>
                </a:cubicBezTo>
                <a:cubicBezTo>
                  <a:pt x="189" y="252"/>
                  <a:pt x="190" y="251"/>
                  <a:pt x="190" y="250"/>
                </a:cubicBezTo>
                <a:cubicBezTo>
                  <a:pt x="189" y="250"/>
                  <a:pt x="189" y="250"/>
                  <a:pt x="188" y="250"/>
                </a:cubicBezTo>
                <a:cubicBezTo>
                  <a:pt x="188" y="250"/>
                  <a:pt x="187" y="250"/>
                  <a:pt x="187" y="250"/>
                </a:cubicBezTo>
                <a:cubicBezTo>
                  <a:pt x="187" y="250"/>
                  <a:pt x="187" y="251"/>
                  <a:pt x="186" y="251"/>
                </a:cubicBezTo>
                <a:cubicBezTo>
                  <a:pt x="186" y="250"/>
                  <a:pt x="185" y="250"/>
                  <a:pt x="184" y="250"/>
                </a:cubicBezTo>
                <a:cubicBezTo>
                  <a:pt x="184" y="251"/>
                  <a:pt x="184" y="252"/>
                  <a:pt x="184" y="252"/>
                </a:cubicBezTo>
                <a:cubicBezTo>
                  <a:pt x="185" y="252"/>
                  <a:pt x="185" y="253"/>
                  <a:pt x="185" y="253"/>
                </a:cubicBezTo>
                <a:cubicBezTo>
                  <a:pt x="185" y="254"/>
                  <a:pt x="184" y="255"/>
                  <a:pt x="185" y="255"/>
                </a:cubicBezTo>
                <a:cubicBezTo>
                  <a:pt x="185" y="255"/>
                  <a:pt x="185" y="255"/>
                  <a:pt x="186" y="255"/>
                </a:cubicBezTo>
                <a:cubicBezTo>
                  <a:pt x="186" y="256"/>
                  <a:pt x="185" y="256"/>
                  <a:pt x="185" y="257"/>
                </a:cubicBezTo>
                <a:cubicBezTo>
                  <a:pt x="186" y="256"/>
                  <a:pt x="187" y="256"/>
                  <a:pt x="188" y="256"/>
                </a:cubicBezTo>
                <a:close/>
                <a:moveTo>
                  <a:pt x="1746" y="248"/>
                </a:moveTo>
                <a:cubicBezTo>
                  <a:pt x="1745" y="248"/>
                  <a:pt x="1742" y="248"/>
                  <a:pt x="1742" y="249"/>
                </a:cubicBezTo>
                <a:cubicBezTo>
                  <a:pt x="1741" y="250"/>
                  <a:pt x="1740" y="250"/>
                  <a:pt x="1740" y="252"/>
                </a:cubicBezTo>
                <a:cubicBezTo>
                  <a:pt x="1741" y="252"/>
                  <a:pt x="1742" y="252"/>
                  <a:pt x="1742" y="251"/>
                </a:cubicBezTo>
                <a:cubicBezTo>
                  <a:pt x="1742" y="250"/>
                  <a:pt x="1742" y="251"/>
                  <a:pt x="1743" y="251"/>
                </a:cubicBezTo>
                <a:cubicBezTo>
                  <a:pt x="1743" y="250"/>
                  <a:pt x="1743" y="250"/>
                  <a:pt x="1743" y="250"/>
                </a:cubicBezTo>
                <a:cubicBezTo>
                  <a:pt x="1744" y="250"/>
                  <a:pt x="1745" y="250"/>
                  <a:pt x="1745" y="250"/>
                </a:cubicBezTo>
                <a:cubicBezTo>
                  <a:pt x="1746" y="250"/>
                  <a:pt x="1746" y="250"/>
                  <a:pt x="1747" y="249"/>
                </a:cubicBezTo>
                <a:cubicBezTo>
                  <a:pt x="1749" y="249"/>
                  <a:pt x="1746" y="248"/>
                  <a:pt x="1746" y="248"/>
                </a:cubicBezTo>
                <a:cubicBezTo>
                  <a:pt x="1745" y="248"/>
                  <a:pt x="1746" y="248"/>
                  <a:pt x="1746" y="248"/>
                </a:cubicBezTo>
                <a:close/>
                <a:moveTo>
                  <a:pt x="1468" y="248"/>
                </a:moveTo>
                <a:cubicBezTo>
                  <a:pt x="1468" y="250"/>
                  <a:pt x="1468" y="249"/>
                  <a:pt x="1469" y="250"/>
                </a:cubicBezTo>
                <a:cubicBezTo>
                  <a:pt x="1470" y="250"/>
                  <a:pt x="1470" y="250"/>
                  <a:pt x="1471" y="250"/>
                </a:cubicBezTo>
                <a:cubicBezTo>
                  <a:pt x="1471" y="249"/>
                  <a:pt x="1471" y="249"/>
                  <a:pt x="1472" y="249"/>
                </a:cubicBezTo>
                <a:cubicBezTo>
                  <a:pt x="1472" y="248"/>
                  <a:pt x="1471" y="247"/>
                  <a:pt x="1470" y="247"/>
                </a:cubicBezTo>
                <a:cubicBezTo>
                  <a:pt x="1469" y="247"/>
                  <a:pt x="1469" y="248"/>
                  <a:pt x="1468" y="248"/>
                </a:cubicBezTo>
                <a:close/>
                <a:moveTo>
                  <a:pt x="1762" y="248"/>
                </a:moveTo>
                <a:cubicBezTo>
                  <a:pt x="1762" y="248"/>
                  <a:pt x="1763" y="249"/>
                  <a:pt x="1763" y="249"/>
                </a:cubicBezTo>
                <a:cubicBezTo>
                  <a:pt x="1763" y="249"/>
                  <a:pt x="1764" y="247"/>
                  <a:pt x="1764" y="246"/>
                </a:cubicBezTo>
                <a:cubicBezTo>
                  <a:pt x="1764" y="246"/>
                  <a:pt x="1764" y="246"/>
                  <a:pt x="1763" y="246"/>
                </a:cubicBezTo>
                <a:cubicBezTo>
                  <a:pt x="1763" y="246"/>
                  <a:pt x="1762" y="248"/>
                  <a:pt x="1762" y="248"/>
                </a:cubicBezTo>
                <a:cubicBezTo>
                  <a:pt x="1762" y="248"/>
                  <a:pt x="1762" y="248"/>
                  <a:pt x="1762" y="248"/>
                </a:cubicBezTo>
                <a:close/>
                <a:moveTo>
                  <a:pt x="871" y="250"/>
                </a:moveTo>
                <a:cubicBezTo>
                  <a:pt x="872" y="250"/>
                  <a:pt x="872" y="250"/>
                  <a:pt x="873" y="250"/>
                </a:cubicBezTo>
                <a:cubicBezTo>
                  <a:pt x="873" y="249"/>
                  <a:pt x="873" y="249"/>
                  <a:pt x="873" y="249"/>
                </a:cubicBezTo>
                <a:cubicBezTo>
                  <a:pt x="873" y="249"/>
                  <a:pt x="874" y="250"/>
                  <a:pt x="874" y="250"/>
                </a:cubicBezTo>
                <a:cubicBezTo>
                  <a:pt x="874" y="249"/>
                  <a:pt x="875" y="248"/>
                  <a:pt x="876" y="248"/>
                </a:cubicBezTo>
                <a:cubicBezTo>
                  <a:pt x="877" y="248"/>
                  <a:pt x="877" y="247"/>
                  <a:pt x="878" y="246"/>
                </a:cubicBezTo>
                <a:cubicBezTo>
                  <a:pt x="877" y="246"/>
                  <a:pt x="876" y="246"/>
                  <a:pt x="875" y="246"/>
                </a:cubicBezTo>
                <a:cubicBezTo>
                  <a:pt x="875" y="247"/>
                  <a:pt x="875" y="247"/>
                  <a:pt x="875" y="247"/>
                </a:cubicBezTo>
                <a:cubicBezTo>
                  <a:pt x="874" y="247"/>
                  <a:pt x="874" y="247"/>
                  <a:pt x="873" y="247"/>
                </a:cubicBezTo>
                <a:cubicBezTo>
                  <a:pt x="873" y="247"/>
                  <a:pt x="873" y="248"/>
                  <a:pt x="872" y="247"/>
                </a:cubicBezTo>
                <a:cubicBezTo>
                  <a:pt x="872" y="247"/>
                  <a:pt x="871" y="247"/>
                  <a:pt x="870" y="247"/>
                </a:cubicBezTo>
                <a:cubicBezTo>
                  <a:pt x="870" y="247"/>
                  <a:pt x="871" y="248"/>
                  <a:pt x="871" y="248"/>
                </a:cubicBezTo>
                <a:cubicBezTo>
                  <a:pt x="871" y="248"/>
                  <a:pt x="870" y="248"/>
                  <a:pt x="870" y="248"/>
                </a:cubicBezTo>
                <a:cubicBezTo>
                  <a:pt x="870" y="249"/>
                  <a:pt x="871" y="249"/>
                  <a:pt x="871" y="250"/>
                </a:cubicBezTo>
                <a:cubicBezTo>
                  <a:pt x="872" y="250"/>
                  <a:pt x="871" y="250"/>
                  <a:pt x="871" y="250"/>
                </a:cubicBezTo>
                <a:close/>
                <a:moveTo>
                  <a:pt x="1749" y="247"/>
                </a:moveTo>
                <a:cubicBezTo>
                  <a:pt x="1750" y="247"/>
                  <a:pt x="1750" y="247"/>
                  <a:pt x="1750" y="247"/>
                </a:cubicBezTo>
                <a:cubicBezTo>
                  <a:pt x="1750" y="247"/>
                  <a:pt x="1751" y="247"/>
                  <a:pt x="1751" y="247"/>
                </a:cubicBezTo>
                <a:cubicBezTo>
                  <a:pt x="1751" y="246"/>
                  <a:pt x="1751" y="246"/>
                  <a:pt x="1749" y="246"/>
                </a:cubicBezTo>
                <a:cubicBezTo>
                  <a:pt x="1749" y="246"/>
                  <a:pt x="1749" y="247"/>
                  <a:pt x="1749" y="247"/>
                </a:cubicBezTo>
                <a:cubicBezTo>
                  <a:pt x="1750" y="247"/>
                  <a:pt x="1749" y="247"/>
                  <a:pt x="1749" y="247"/>
                </a:cubicBezTo>
                <a:close/>
                <a:moveTo>
                  <a:pt x="868" y="249"/>
                </a:moveTo>
                <a:cubicBezTo>
                  <a:pt x="868" y="249"/>
                  <a:pt x="869" y="249"/>
                  <a:pt x="869" y="249"/>
                </a:cubicBezTo>
                <a:cubicBezTo>
                  <a:pt x="869" y="248"/>
                  <a:pt x="869" y="248"/>
                  <a:pt x="869" y="248"/>
                </a:cubicBezTo>
                <a:cubicBezTo>
                  <a:pt x="869" y="247"/>
                  <a:pt x="869" y="248"/>
                  <a:pt x="869" y="247"/>
                </a:cubicBezTo>
                <a:cubicBezTo>
                  <a:pt x="869" y="247"/>
                  <a:pt x="869" y="246"/>
                  <a:pt x="869" y="246"/>
                </a:cubicBezTo>
                <a:cubicBezTo>
                  <a:pt x="869" y="245"/>
                  <a:pt x="868" y="248"/>
                  <a:pt x="868" y="249"/>
                </a:cubicBezTo>
                <a:cubicBezTo>
                  <a:pt x="868" y="249"/>
                  <a:pt x="868" y="249"/>
                  <a:pt x="868" y="249"/>
                </a:cubicBezTo>
                <a:close/>
                <a:moveTo>
                  <a:pt x="1760" y="245"/>
                </a:moveTo>
                <a:cubicBezTo>
                  <a:pt x="1760" y="245"/>
                  <a:pt x="1760" y="245"/>
                  <a:pt x="1760" y="245"/>
                </a:cubicBezTo>
                <a:cubicBezTo>
                  <a:pt x="1760" y="246"/>
                  <a:pt x="1760" y="246"/>
                  <a:pt x="1761" y="246"/>
                </a:cubicBezTo>
                <a:cubicBezTo>
                  <a:pt x="1761" y="246"/>
                  <a:pt x="1762" y="246"/>
                  <a:pt x="1762" y="246"/>
                </a:cubicBezTo>
                <a:cubicBezTo>
                  <a:pt x="1762" y="245"/>
                  <a:pt x="1762" y="245"/>
                  <a:pt x="1761" y="245"/>
                </a:cubicBezTo>
                <a:cubicBezTo>
                  <a:pt x="1761" y="245"/>
                  <a:pt x="1760" y="245"/>
                  <a:pt x="1760" y="245"/>
                </a:cubicBezTo>
                <a:close/>
                <a:moveTo>
                  <a:pt x="43" y="244"/>
                </a:moveTo>
                <a:cubicBezTo>
                  <a:pt x="43" y="244"/>
                  <a:pt x="43" y="244"/>
                  <a:pt x="42" y="245"/>
                </a:cubicBezTo>
                <a:cubicBezTo>
                  <a:pt x="43" y="245"/>
                  <a:pt x="44" y="244"/>
                  <a:pt x="44" y="243"/>
                </a:cubicBezTo>
                <a:cubicBezTo>
                  <a:pt x="44" y="243"/>
                  <a:pt x="44" y="243"/>
                  <a:pt x="43" y="244"/>
                </a:cubicBezTo>
                <a:cubicBezTo>
                  <a:pt x="42" y="244"/>
                  <a:pt x="43" y="244"/>
                  <a:pt x="43" y="244"/>
                </a:cubicBezTo>
                <a:close/>
                <a:moveTo>
                  <a:pt x="38" y="243"/>
                </a:moveTo>
                <a:cubicBezTo>
                  <a:pt x="37" y="243"/>
                  <a:pt x="36" y="243"/>
                  <a:pt x="35" y="243"/>
                </a:cubicBezTo>
                <a:cubicBezTo>
                  <a:pt x="35" y="244"/>
                  <a:pt x="33" y="243"/>
                  <a:pt x="33" y="244"/>
                </a:cubicBezTo>
                <a:cubicBezTo>
                  <a:pt x="33" y="246"/>
                  <a:pt x="32" y="246"/>
                  <a:pt x="31" y="247"/>
                </a:cubicBezTo>
                <a:cubicBezTo>
                  <a:pt x="32" y="247"/>
                  <a:pt x="34" y="247"/>
                  <a:pt x="34" y="246"/>
                </a:cubicBezTo>
                <a:cubicBezTo>
                  <a:pt x="34" y="246"/>
                  <a:pt x="35" y="246"/>
                  <a:pt x="35" y="246"/>
                </a:cubicBezTo>
                <a:cubicBezTo>
                  <a:pt x="36" y="245"/>
                  <a:pt x="36" y="245"/>
                  <a:pt x="38" y="245"/>
                </a:cubicBezTo>
                <a:cubicBezTo>
                  <a:pt x="38" y="245"/>
                  <a:pt x="39" y="245"/>
                  <a:pt x="39" y="244"/>
                </a:cubicBezTo>
                <a:cubicBezTo>
                  <a:pt x="39" y="244"/>
                  <a:pt x="38" y="244"/>
                  <a:pt x="38" y="243"/>
                </a:cubicBezTo>
                <a:cubicBezTo>
                  <a:pt x="36" y="243"/>
                  <a:pt x="38" y="243"/>
                  <a:pt x="38" y="243"/>
                </a:cubicBezTo>
                <a:close/>
                <a:moveTo>
                  <a:pt x="889" y="245"/>
                </a:moveTo>
                <a:cubicBezTo>
                  <a:pt x="890" y="245"/>
                  <a:pt x="890" y="245"/>
                  <a:pt x="890" y="244"/>
                </a:cubicBezTo>
                <a:cubicBezTo>
                  <a:pt x="889" y="243"/>
                  <a:pt x="888" y="243"/>
                  <a:pt x="887" y="243"/>
                </a:cubicBezTo>
                <a:cubicBezTo>
                  <a:pt x="887" y="244"/>
                  <a:pt x="888" y="244"/>
                  <a:pt x="889" y="245"/>
                </a:cubicBezTo>
                <a:cubicBezTo>
                  <a:pt x="889" y="245"/>
                  <a:pt x="889" y="245"/>
                  <a:pt x="889" y="245"/>
                </a:cubicBezTo>
                <a:close/>
                <a:moveTo>
                  <a:pt x="774" y="261"/>
                </a:moveTo>
                <a:cubicBezTo>
                  <a:pt x="774" y="261"/>
                  <a:pt x="774" y="261"/>
                  <a:pt x="775" y="261"/>
                </a:cubicBezTo>
                <a:cubicBezTo>
                  <a:pt x="775" y="262"/>
                  <a:pt x="774" y="263"/>
                  <a:pt x="773" y="262"/>
                </a:cubicBezTo>
                <a:cubicBezTo>
                  <a:pt x="773" y="262"/>
                  <a:pt x="773" y="262"/>
                  <a:pt x="774" y="261"/>
                </a:cubicBezTo>
                <a:close/>
                <a:moveTo>
                  <a:pt x="769" y="267"/>
                </a:moveTo>
                <a:cubicBezTo>
                  <a:pt x="769" y="267"/>
                  <a:pt x="769" y="267"/>
                  <a:pt x="769" y="268"/>
                </a:cubicBezTo>
                <a:cubicBezTo>
                  <a:pt x="769" y="268"/>
                  <a:pt x="768" y="268"/>
                  <a:pt x="768" y="269"/>
                </a:cubicBezTo>
                <a:cubicBezTo>
                  <a:pt x="769" y="269"/>
                  <a:pt x="769" y="268"/>
                  <a:pt x="770" y="268"/>
                </a:cubicBezTo>
                <a:cubicBezTo>
                  <a:pt x="770" y="268"/>
                  <a:pt x="771" y="268"/>
                  <a:pt x="771" y="268"/>
                </a:cubicBezTo>
                <a:cubicBezTo>
                  <a:pt x="772" y="268"/>
                  <a:pt x="771" y="269"/>
                  <a:pt x="771" y="269"/>
                </a:cubicBezTo>
                <a:cubicBezTo>
                  <a:pt x="770" y="269"/>
                  <a:pt x="770" y="269"/>
                  <a:pt x="770" y="270"/>
                </a:cubicBezTo>
                <a:cubicBezTo>
                  <a:pt x="771" y="270"/>
                  <a:pt x="772" y="269"/>
                  <a:pt x="774" y="268"/>
                </a:cubicBezTo>
                <a:cubicBezTo>
                  <a:pt x="774" y="269"/>
                  <a:pt x="774" y="269"/>
                  <a:pt x="774" y="269"/>
                </a:cubicBezTo>
                <a:cubicBezTo>
                  <a:pt x="774" y="270"/>
                  <a:pt x="775" y="270"/>
                  <a:pt x="775" y="270"/>
                </a:cubicBezTo>
                <a:cubicBezTo>
                  <a:pt x="775" y="270"/>
                  <a:pt x="776" y="269"/>
                  <a:pt x="776" y="269"/>
                </a:cubicBezTo>
                <a:cubicBezTo>
                  <a:pt x="777" y="269"/>
                  <a:pt x="777" y="268"/>
                  <a:pt x="778" y="268"/>
                </a:cubicBezTo>
                <a:cubicBezTo>
                  <a:pt x="778" y="268"/>
                  <a:pt x="778" y="267"/>
                  <a:pt x="778" y="267"/>
                </a:cubicBezTo>
                <a:cubicBezTo>
                  <a:pt x="779" y="267"/>
                  <a:pt x="780" y="267"/>
                  <a:pt x="780" y="267"/>
                </a:cubicBezTo>
                <a:cubicBezTo>
                  <a:pt x="781" y="266"/>
                  <a:pt x="781" y="267"/>
                  <a:pt x="781" y="267"/>
                </a:cubicBezTo>
                <a:cubicBezTo>
                  <a:pt x="782" y="267"/>
                  <a:pt x="781" y="265"/>
                  <a:pt x="782" y="265"/>
                </a:cubicBezTo>
                <a:cubicBezTo>
                  <a:pt x="782" y="265"/>
                  <a:pt x="784" y="265"/>
                  <a:pt x="784" y="265"/>
                </a:cubicBezTo>
                <a:cubicBezTo>
                  <a:pt x="784" y="264"/>
                  <a:pt x="784" y="264"/>
                  <a:pt x="784" y="263"/>
                </a:cubicBezTo>
                <a:cubicBezTo>
                  <a:pt x="784" y="264"/>
                  <a:pt x="785" y="264"/>
                  <a:pt x="785" y="264"/>
                </a:cubicBezTo>
                <a:cubicBezTo>
                  <a:pt x="785" y="263"/>
                  <a:pt x="784" y="262"/>
                  <a:pt x="785" y="262"/>
                </a:cubicBezTo>
                <a:cubicBezTo>
                  <a:pt x="787" y="262"/>
                  <a:pt x="786" y="261"/>
                  <a:pt x="786" y="260"/>
                </a:cubicBezTo>
                <a:cubicBezTo>
                  <a:pt x="787" y="260"/>
                  <a:pt x="786" y="257"/>
                  <a:pt x="786" y="257"/>
                </a:cubicBezTo>
                <a:cubicBezTo>
                  <a:pt x="786" y="256"/>
                  <a:pt x="785" y="257"/>
                  <a:pt x="785" y="256"/>
                </a:cubicBezTo>
                <a:cubicBezTo>
                  <a:pt x="785" y="256"/>
                  <a:pt x="786" y="256"/>
                  <a:pt x="785" y="255"/>
                </a:cubicBezTo>
                <a:cubicBezTo>
                  <a:pt x="785" y="255"/>
                  <a:pt x="786" y="254"/>
                  <a:pt x="786" y="253"/>
                </a:cubicBezTo>
                <a:cubicBezTo>
                  <a:pt x="785" y="252"/>
                  <a:pt x="786" y="252"/>
                  <a:pt x="787" y="252"/>
                </a:cubicBezTo>
                <a:cubicBezTo>
                  <a:pt x="786" y="251"/>
                  <a:pt x="787" y="251"/>
                  <a:pt x="788" y="251"/>
                </a:cubicBezTo>
                <a:cubicBezTo>
                  <a:pt x="788" y="251"/>
                  <a:pt x="789" y="251"/>
                  <a:pt x="789" y="250"/>
                </a:cubicBezTo>
                <a:cubicBezTo>
                  <a:pt x="790" y="250"/>
                  <a:pt x="791" y="250"/>
                  <a:pt x="791" y="250"/>
                </a:cubicBezTo>
                <a:cubicBezTo>
                  <a:pt x="791" y="249"/>
                  <a:pt x="790" y="249"/>
                  <a:pt x="789" y="249"/>
                </a:cubicBezTo>
                <a:cubicBezTo>
                  <a:pt x="789" y="249"/>
                  <a:pt x="789" y="248"/>
                  <a:pt x="789" y="247"/>
                </a:cubicBezTo>
                <a:cubicBezTo>
                  <a:pt x="789" y="247"/>
                  <a:pt x="788" y="247"/>
                  <a:pt x="788" y="247"/>
                </a:cubicBezTo>
                <a:cubicBezTo>
                  <a:pt x="788" y="246"/>
                  <a:pt x="789" y="246"/>
                  <a:pt x="789" y="245"/>
                </a:cubicBezTo>
                <a:cubicBezTo>
                  <a:pt x="788" y="245"/>
                  <a:pt x="788" y="244"/>
                  <a:pt x="787" y="244"/>
                </a:cubicBezTo>
                <a:cubicBezTo>
                  <a:pt x="786" y="245"/>
                  <a:pt x="784" y="246"/>
                  <a:pt x="783" y="246"/>
                </a:cubicBezTo>
                <a:cubicBezTo>
                  <a:pt x="784" y="245"/>
                  <a:pt x="784" y="245"/>
                  <a:pt x="784" y="244"/>
                </a:cubicBezTo>
                <a:cubicBezTo>
                  <a:pt x="784" y="243"/>
                  <a:pt x="784" y="243"/>
                  <a:pt x="783" y="242"/>
                </a:cubicBezTo>
                <a:cubicBezTo>
                  <a:pt x="783" y="243"/>
                  <a:pt x="783" y="243"/>
                  <a:pt x="783" y="244"/>
                </a:cubicBezTo>
                <a:cubicBezTo>
                  <a:pt x="783" y="244"/>
                  <a:pt x="782" y="244"/>
                  <a:pt x="781" y="244"/>
                </a:cubicBezTo>
                <a:cubicBezTo>
                  <a:pt x="782" y="243"/>
                  <a:pt x="781" y="243"/>
                  <a:pt x="780" y="243"/>
                </a:cubicBezTo>
                <a:cubicBezTo>
                  <a:pt x="779" y="243"/>
                  <a:pt x="778" y="243"/>
                  <a:pt x="778" y="244"/>
                </a:cubicBezTo>
                <a:cubicBezTo>
                  <a:pt x="778" y="245"/>
                  <a:pt x="779" y="245"/>
                  <a:pt x="778" y="245"/>
                </a:cubicBezTo>
                <a:cubicBezTo>
                  <a:pt x="777" y="245"/>
                  <a:pt x="777" y="245"/>
                  <a:pt x="777" y="246"/>
                </a:cubicBezTo>
                <a:cubicBezTo>
                  <a:pt x="778" y="246"/>
                  <a:pt x="778" y="246"/>
                  <a:pt x="779" y="246"/>
                </a:cubicBezTo>
                <a:cubicBezTo>
                  <a:pt x="779" y="247"/>
                  <a:pt x="779" y="247"/>
                  <a:pt x="778" y="247"/>
                </a:cubicBezTo>
                <a:cubicBezTo>
                  <a:pt x="777" y="247"/>
                  <a:pt x="777" y="249"/>
                  <a:pt x="776" y="249"/>
                </a:cubicBezTo>
                <a:cubicBezTo>
                  <a:pt x="776" y="249"/>
                  <a:pt x="777" y="249"/>
                  <a:pt x="777" y="250"/>
                </a:cubicBezTo>
                <a:cubicBezTo>
                  <a:pt x="776" y="250"/>
                  <a:pt x="776" y="250"/>
                  <a:pt x="776" y="250"/>
                </a:cubicBezTo>
                <a:cubicBezTo>
                  <a:pt x="776" y="250"/>
                  <a:pt x="775" y="249"/>
                  <a:pt x="774" y="249"/>
                </a:cubicBezTo>
                <a:cubicBezTo>
                  <a:pt x="773" y="249"/>
                  <a:pt x="773" y="250"/>
                  <a:pt x="773" y="250"/>
                </a:cubicBezTo>
                <a:cubicBezTo>
                  <a:pt x="772" y="250"/>
                  <a:pt x="772" y="249"/>
                  <a:pt x="772" y="249"/>
                </a:cubicBezTo>
                <a:cubicBezTo>
                  <a:pt x="771" y="249"/>
                  <a:pt x="771" y="250"/>
                  <a:pt x="771" y="250"/>
                </a:cubicBezTo>
                <a:cubicBezTo>
                  <a:pt x="771" y="250"/>
                  <a:pt x="771" y="250"/>
                  <a:pt x="771" y="251"/>
                </a:cubicBezTo>
                <a:cubicBezTo>
                  <a:pt x="771" y="252"/>
                  <a:pt x="771" y="251"/>
                  <a:pt x="771" y="251"/>
                </a:cubicBezTo>
                <a:cubicBezTo>
                  <a:pt x="771" y="252"/>
                  <a:pt x="771" y="252"/>
                  <a:pt x="772" y="252"/>
                </a:cubicBezTo>
                <a:cubicBezTo>
                  <a:pt x="772" y="252"/>
                  <a:pt x="772" y="252"/>
                  <a:pt x="773" y="253"/>
                </a:cubicBezTo>
                <a:cubicBezTo>
                  <a:pt x="772" y="253"/>
                  <a:pt x="773" y="253"/>
                  <a:pt x="772" y="253"/>
                </a:cubicBezTo>
                <a:cubicBezTo>
                  <a:pt x="772" y="254"/>
                  <a:pt x="771" y="253"/>
                  <a:pt x="771" y="253"/>
                </a:cubicBezTo>
                <a:cubicBezTo>
                  <a:pt x="770" y="253"/>
                  <a:pt x="771" y="254"/>
                  <a:pt x="770" y="254"/>
                </a:cubicBezTo>
                <a:cubicBezTo>
                  <a:pt x="769" y="254"/>
                  <a:pt x="770" y="254"/>
                  <a:pt x="770" y="254"/>
                </a:cubicBezTo>
                <a:cubicBezTo>
                  <a:pt x="770" y="255"/>
                  <a:pt x="769" y="255"/>
                  <a:pt x="769" y="255"/>
                </a:cubicBezTo>
                <a:cubicBezTo>
                  <a:pt x="769" y="255"/>
                  <a:pt x="768" y="256"/>
                  <a:pt x="769" y="257"/>
                </a:cubicBezTo>
                <a:cubicBezTo>
                  <a:pt x="769" y="257"/>
                  <a:pt x="770" y="256"/>
                  <a:pt x="770" y="257"/>
                </a:cubicBezTo>
                <a:cubicBezTo>
                  <a:pt x="771" y="257"/>
                  <a:pt x="771" y="257"/>
                  <a:pt x="772" y="257"/>
                </a:cubicBezTo>
                <a:cubicBezTo>
                  <a:pt x="772" y="257"/>
                  <a:pt x="772" y="258"/>
                  <a:pt x="772" y="258"/>
                </a:cubicBezTo>
                <a:cubicBezTo>
                  <a:pt x="772" y="258"/>
                  <a:pt x="772" y="257"/>
                  <a:pt x="773" y="257"/>
                </a:cubicBezTo>
                <a:cubicBezTo>
                  <a:pt x="774" y="257"/>
                  <a:pt x="774" y="257"/>
                  <a:pt x="774" y="256"/>
                </a:cubicBezTo>
                <a:cubicBezTo>
                  <a:pt x="774" y="255"/>
                  <a:pt x="774" y="256"/>
                  <a:pt x="775" y="256"/>
                </a:cubicBezTo>
                <a:cubicBezTo>
                  <a:pt x="775" y="257"/>
                  <a:pt x="775" y="257"/>
                  <a:pt x="774" y="257"/>
                </a:cubicBezTo>
                <a:cubicBezTo>
                  <a:pt x="774" y="258"/>
                  <a:pt x="774" y="258"/>
                  <a:pt x="773" y="258"/>
                </a:cubicBezTo>
                <a:cubicBezTo>
                  <a:pt x="772" y="259"/>
                  <a:pt x="773" y="259"/>
                  <a:pt x="773" y="260"/>
                </a:cubicBezTo>
                <a:cubicBezTo>
                  <a:pt x="773" y="260"/>
                  <a:pt x="773" y="260"/>
                  <a:pt x="772" y="260"/>
                </a:cubicBezTo>
                <a:cubicBezTo>
                  <a:pt x="772" y="260"/>
                  <a:pt x="772" y="261"/>
                  <a:pt x="772" y="261"/>
                </a:cubicBezTo>
                <a:cubicBezTo>
                  <a:pt x="772" y="261"/>
                  <a:pt x="771" y="262"/>
                  <a:pt x="771" y="262"/>
                </a:cubicBezTo>
                <a:cubicBezTo>
                  <a:pt x="771" y="262"/>
                  <a:pt x="771" y="262"/>
                  <a:pt x="771" y="262"/>
                </a:cubicBezTo>
                <a:cubicBezTo>
                  <a:pt x="773" y="262"/>
                  <a:pt x="772" y="263"/>
                  <a:pt x="771" y="264"/>
                </a:cubicBezTo>
                <a:cubicBezTo>
                  <a:pt x="769" y="264"/>
                  <a:pt x="771" y="264"/>
                  <a:pt x="771" y="265"/>
                </a:cubicBezTo>
                <a:cubicBezTo>
                  <a:pt x="770" y="265"/>
                  <a:pt x="769" y="265"/>
                  <a:pt x="768" y="265"/>
                </a:cubicBezTo>
                <a:cubicBezTo>
                  <a:pt x="768" y="265"/>
                  <a:pt x="768" y="265"/>
                  <a:pt x="768" y="265"/>
                </a:cubicBezTo>
                <a:cubicBezTo>
                  <a:pt x="768" y="266"/>
                  <a:pt x="768" y="266"/>
                  <a:pt x="769" y="267"/>
                </a:cubicBezTo>
                <a:cubicBezTo>
                  <a:pt x="769" y="267"/>
                  <a:pt x="769" y="267"/>
                  <a:pt x="769" y="267"/>
                </a:cubicBezTo>
                <a:close/>
                <a:moveTo>
                  <a:pt x="866" y="245"/>
                </a:moveTo>
                <a:cubicBezTo>
                  <a:pt x="867" y="245"/>
                  <a:pt x="867" y="245"/>
                  <a:pt x="868" y="245"/>
                </a:cubicBezTo>
                <a:cubicBezTo>
                  <a:pt x="868" y="245"/>
                  <a:pt x="868" y="244"/>
                  <a:pt x="868" y="243"/>
                </a:cubicBezTo>
                <a:cubicBezTo>
                  <a:pt x="868" y="243"/>
                  <a:pt x="868" y="243"/>
                  <a:pt x="868" y="242"/>
                </a:cubicBezTo>
                <a:cubicBezTo>
                  <a:pt x="867" y="242"/>
                  <a:pt x="866" y="242"/>
                  <a:pt x="865" y="242"/>
                </a:cubicBezTo>
                <a:cubicBezTo>
                  <a:pt x="864" y="242"/>
                  <a:pt x="865" y="244"/>
                  <a:pt x="865" y="244"/>
                </a:cubicBezTo>
                <a:cubicBezTo>
                  <a:pt x="866" y="244"/>
                  <a:pt x="866" y="244"/>
                  <a:pt x="866" y="245"/>
                </a:cubicBezTo>
                <a:cubicBezTo>
                  <a:pt x="867" y="245"/>
                  <a:pt x="866" y="245"/>
                  <a:pt x="866" y="245"/>
                </a:cubicBezTo>
                <a:close/>
                <a:moveTo>
                  <a:pt x="187" y="242"/>
                </a:moveTo>
                <a:cubicBezTo>
                  <a:pt x="187" y="242"/>
                  <a:pt x="186" y="242"/>
                  <a:pt x="186" y="242"/>
                </a:cubicBezTo>
                <a:cubicBezTo>
                  <a:pt x="186" y="242"/>
                  <a:pt x="187" y="243"/>
                  <a:pt x="187" y="243"/>
                </a:cubicBezTo>
                <a:cubicBezTo>
                  <a:pt x="187" y="242"/>
                  <a:pt x="187" y="242"/>
                  <a:pt x="187" y="242"/>
                </a:cubicBezTo>
                <a:cubicBezTo>
                  <a:pt x="187" y="242"/>
                  <a:pt x="187" y="242"/>
                  <a:pt x="187" y="242"/>
                </a:cubicBezTo>
                <a:close/>
                <a:moveTo>
                  <a:pt x="54" y="244"/>
                </a:moveTo>
                <a:cubicBezTo>
                  <a:pt x="56" y="243"/>
                  <a:pt x="56" y="243"/>
                  <a:pt x="56" y="242"/>
                </a:cubicBezTo>
                <a:cubicBezTo>
                  <a:pt x="55" y="242"/>
                  <a:pt x="54" y="242"/>
                  <a:pt x="54" y="244"/>
                </a:cubicBezTo>
                <a:cubicBezTo>
                  <a:pt x="55" y="244"/>
                  <a:pt x="54" y="244"/>
                  <a:pt x="54" y="244"/>
                </a:cubicBezTo>
                <a:close/>
                <a:moveTo>
                  <a:pt x="916" y="241"/>
                </a:moveTo>
                <a:cubicBezTo>
                  <a:pt x="915" y="241"/>
                  <a:pt x="914" y="241"/>
                  <a:pt x="915" y="242"/>
                </a:cubicBezTo>
                <a:cubicBezTo>
                  <a:pt x="915" y="243"/>
                  <a:pt x="916" y="242"/>
                  <a:pt x="916" y="241"/>
                </a:cubicBezTo>
                <a:close/>
                <a:moveTo>
                  <a:pt x="790" y="242"/>
                </a:moveTo>
                <a:cubicBezTo>
                  <a:pt x="791" y="243"/>
                  <a:pt x="791" y="242"/>
                  <a:pt x="791" y="241"/>
                </a:cubicBezTo>
                <a:cubicBezTo>
                  <a:pt x="791" y="240"/>
                  <a:pt x="790" y="242"/>
                  <a:pt x="790" y="242"/>
                </a:cubicBezTo>
                <a:close/>
                <a:moveTo>
                  <a:pt x="787" y="241"/>
                </a:moveTo>
                <a:cubicBezTo>
                  <a:pt x="787" y="241"/>
                  <a:pt x="787" y="241"/>
                  <a:pt x="788" y="241"/>
                </a:cubicBezTo>
                <a:cubicBezTo>
                  <a:pt x="787" y="241"/>
                  <a:pt x="788" y="241"/>
                  <a:pt x="787" y="241"/>
                </a:cubicBezTo>
                <a:cubicBezTo>
                  <a:pt x="787" y="241"/>
                  <a:pt x="787" y="241"/>
                  <a:pt x="787" y="241"/>
                </a:cubicBezTo>
                <a:close/>
                <a:moveTo>
                  <a:pt x="53" y="240"/>
                </a:moveTo>
                <a:cubicBezTo>
                  <a:pt x="52" y="240"/>
                  <a:pt x="52" y="240"/>
                  <a:pt x="52" y="241"/>
                </a:cubicBezTo>
                <a:cubicBezTo>
                  <a:pt x="52" y="241"/>
                  <a:pt x="53" y="241"/>
                  <a:pt x="53" y="241"/>
                </a:cubicBezTo>
                <a:cubicBezTo>
                  <a:pt x="53" y="241"/>
                  <a:pt x="53" y="241"/>
                  <a:pt x="53" y="240"/>
                </a:cubicBezTo>
                <a:cubicBezTo>
                  <a:pt x="53" y="240"/>
                  <a:pt x="53" y="240"/>
                  <a:pt x="53" y="240"/>
                </a:cubicBezTo>
                <a:close/>
                <a:moveTo>
                  <a:pt x="1591" y="240"/>
                </a:moveTo>
                <a:cubicBezTo>
                  <a:pt x="1591" y="240"/>
                  <a:pt x="1591" y="240"/>
                  <a:pt x="1591" y="240"/>
                </a:cubicBezTo>
                <a:cubicBezTo>
                  <a:pt x="1591" y="240"/>
                  <a:pt x="1591" y="240"/>
                  <a:pt x="1591" y="240"/>
                </a:cubicBezTo>
                <a:close/>
                <a:moveTo>
                  <a:pt x="873" y="241"/>
                </a:moveTo>
                <a:cubicBezTo>
                  <a:pt x="873" y="241"/>
                  <a:pt x="872" y="241"/>
                  <a:pt x="872" y="240"/>
                </a:cubicBezTo>
                <a:cubicBezTo>
                  <a:pt x="872" y="239"/>
                  <a:pt x="872" y="239"/>
                  <a:pt x="871" y="239"/>
                </a:cubicBezTo>
                <a:cubicBezTo>
                  <a:pt x="871" y="239"/>
                  <a:pt x="870" y="239"/>
                  <a:pt x="870" y="240"/>
                </a:cubicBezTo>
                <a:cubicBezTo>
                  <a:pt x="870" y="241"/>
                  <a:pt x="870" y="241"/>
                  <a:pt x="869" y="241"/>
                </a:cubicBezTo>
                <a:cubicBezTo>
                  <a:pt x="869" y="242"/>
                  <a:pt x="869" y="242"/>
                  <a:pt x="870" y="242"/>
                </a:cubicBezTo>
                <a:cubicBezTo>
                  <a:pt x="871" y="243"/>
                  <a:pt x="870" y="244"/>
                  <a:pt x="870" y="245"/>
                </a:cubicBezTo>
                <a:cubicBezTo>
                  <a:pt x="870" y="245"/>
                  <a:pt x="872" y="245"/>
                  <a:pt x="872" y="245"/>
                </a:cubicBezTo>
                <a:cubicBezTo>
                  <a:pt x="872" y="244"/>
                  <a:pt x="872" y="244"/>
                  <a:pt x="873" y="244"/>
                </a:cubicBezTo>
                <a:cubicBezTo>
                  <a:pt x="873" y="244"/>
                  <a:pt x="873" y="245"/>
                  <a:pt x="873" y="244"/>
                </a:cubicBezTo>
                <a:cubicBezTo>
                  <a:pt x="873" y="245"/>
                  <a:pt x="873" y="246"/>
                  <a:pt x="873" y="246"/>
                </a:cubicBezTo>
                <a:cubicBezTo>
                  <a:pt x="874" y="246"/>
                  <a:pt x="875" y="246"/>
                  <a:pt x="875" y="245"/>
                </a:cubicBezTo>
                <a:cubicBezTo>
                  <a:pt x="875" y="244"/>
                  <a:pt x="875" y="244"/>
                  <a:pt x="876" y="244"/>
                </a:cubicBezTo>
                <a:cubicBezTo>
                  <a:pt x="878" y="243"/>
                  <a:pt x="876" y="242"/>
                  <a:pt x="875" y="242"/>
                </a:cubicBezTo>
                <a:cubicBezTo>
                  <a:pt x="876" y="241"/>
                  <a:pt x="876" y="241"/>
                  <a:pt x="877" y="241"/>
                </a:cubicBezTo>
                <a:cubicBezTo>
                  <a:pt x="877" y="240"/>
                  <a:pt x="877" y="239"/>
                  <a:pt x="876" y="239"/>
                </a:cubicBezTo>
                <a:cubicBezTo>
                  <a:pt x="876" y="238"/>
                  <a:pt x="876" y="237"/>
                  <a:pt x="876" y="237"/>
                </a:cubicBezTo>
                <a:cubicBezTo>
                  <a:pt x="875" y="237"/>
                  <a:pt x="874" y="237"/>
                  <a:pt x="874" y="237"/>
                </a:cubicBezTo>
                <a:cubicBezTo>
                  <a:pt x="873" y="237"/>
                  <a:pt x="873" y="238"/>
                  <a:pt x="873" y="238"/>
                </a:cubicBezTo>
                <a:cubicBezTo>
                  <a:pt x="873" y="238"/>
                  <a:pt x="873" y="239"/>
                  <a:pt x="873" y="239"/>
                </a:cubicBezTo>
                <a:cubicBezTo>
                  <a:pt x="873" y="239"/>
                  <a:pt x="874" y="239"/>
                  <a:pt x="874" y="240"/>
                </a:cubicBezTo>
                <a:cubicBezTo>
                  <a:pt x="873" y="240"/>
                  <a:pt x="873" y="240"/>
                  <a:pt x="873" y="241"/>
                </a:cubicBezTo>
                <a:close/>
                <a:moveTo>
                  <a:pt x="1763" y="237"/>
                </a:moveTo>
                <a:cubicBezTo>
                  <a:pt x="1762" y="238"/>
                  <a:pt x="1763" y="238"/>
                  <a:pt x="1762" y="239"/>
                </a:cubicBezTo>
                <a:cubicBezTo>
                  <a:pt x="1762" y="239"/>
                  <a:pt x="1762" y="240"/>
                  <a:pt x="1762" y="240"/>
                </a:cubicBezTo>
                <a:cubicBezTo>
                  <a:pt x="1762" y="240"/>
                  <a:pt x="1761" y="240"/>
                  <a:pt x="1760" y="241"/>
                </a:cubicBezTo>
                <a:cubicBezTo>
                  <a:pt x="1760" y="240"/>
                  <a:pt x="1760" y="240"/>
                  <a:pt x="1760" y="239"/>
                </a:cubicBezTo>
                <a:cubicBezTo>
                  <a:pt x="1759" y="239"/>
                  <a:pt x="1758" y="239"/>
                  <a:pt x="1758" y="240"/>
                </a:cubicBezTo>
                <a:cubicBezTo>
                  <a:pt x="1757" y="240"/>
                  <a:pt x="1758" y="240"/>
                  <a:pt x="1757" y="240"/>
                </a:cubicBezTo>
                <a:cubicBezTo>
                  <a:pt x="1757" y="240"/>
                  <a:pt x="1756" y="240"/>
                  <a:pt x="1756" y="240"/>
                </a:cubicBezTo>
                <a:cubicBezTo>
                  <a:pt x="1756" y="240"/>
                  <a:pt x="1755" y="241"/>
                  <a:pt x="1755" y="241"/>
                </a:cubicBezTo>
                <a:cubicBezTo>
                  <a:pt x="1755" y="241"/>
                  <a:pt x="1755" y="241"/>
                  <a:pt x="1755" y="241"/>
                </a:cubicBezTo>
                <a:cubicBezTo>
                  <a:pt x="1755" y="242"/>
                  <a:pt x="1754" y="241"/>
                  <a:pt x="1754" y="242"/>
                </a:cubicBezTo>
                <a:cubicBezTo>
                  <a:pt x="1754" y="243"/>
                  <a:pt x="1754" y="243"/>
                  <a:pt x="1753" y="243"/>
                </a:cubicBezTo>
                <a:cubicBezTo>
                  <a:pt x="1752" y="243"/>
                  <a:pt x="1753" y="243"/>
                  <a:pt x="1753" y="243"/>
                </a:cubicBezTo>
                <a:cubicBezTo>
                  <a:pt x="1752" y="243"/>
                  <a:pt x="1753" y="244"/>
                  <a:pt x="1752" y="244"/>
                </a:cubicBezTo>
                <a:cubicBezTo>
                  <a:pt x="1752" y="244"/>
                  <a:pt x="1752" y="246"/>
                  <a:pt x="1752" y="246"/>
                </a:cubicBezTo>
                <a:cubicBezTo>
                  <a:pt x="1753" y="246"/>
                  <a:pt x="1754" y="246"/>
                  <a:pt x="1754" y="245"/>
                </a:cubicBezTo>
                <a:cubicBezTo>
                  <a:pt x="1754" y="245"/>
                  <a:pt x="1754" y="245"/>
                  <a:pt x="1755" y="244"/>
                </a:cubicBezTo>
                <a:cubicBezTo>
                  <a:pt x="1755" y="244"/>
                  <a:pt x="1755" y="244"/>
                  <a:pt x="1755" y="243"/>
                </a:cubicBezTo>
                <a:cubicBezTo>
                  <a:pt x="1755" y="243"/>
                  <a:pt x="1755" y="244"/>
                  <a:pt x="1755" y="243"/>
                </a:cubicBezTo>
                <a:cubicBezTo>
                  <a:pt x="1755" y="243"/>
                  <a:pt x="1755" y="242"/>
                  <a:pt x="1755" y="242"/>
                </a:cubicBezTo>
                <a:cubicBezTo>
                  <a:pt x="1756" y="242"/>
                  <a:pt x="1757" y="243"/>
                  <a:pt x="1758" y="243"/>
                </a:cubicBezTo>
                <a:cubicBezTo>
                  <a:pt x="1759" y="243"/>
                  <a:pt x="1759" y="243"/>
                  <a:pt x="1760" y="242"/>
                </a:cubicBezTo>
                <a:cubicBezTo>
                  <a:pt x="1760" y="242"/>
                  <a:pt x="1761" y="242"/>
                  <a:pt x="1761" y="243"/>
                </a:cubicBezTo>
                <a:cubicBezTo>
                  <a:pt x="1762" y="242"/>
                  <a:pt x="1763" y="242"/>
                  <a:pt x="1764" y="241"/>
                </a:cubicBezTo>
                <a:cubicBezTo>
                  <a:pt x="1764" y="240"/>
                  <a:pt x="1764" y="241"/>
                  <a:pt x="1765" y="241"/>
                </a:cubicBezTo>
                <a:cubicBezTo>
                  <a:pt x="1765" y="241"/>
                  <a:pt x="1765" y="241"/>
                  <a:pt x="1765" y="240"/>
                </a:cubicBezTo>
                <a:cubicBezTo>
                  <a:pt x="1765" y="239"/>
                  <a:pt x="1765" y="238"/>
                  <a:pt x="1765" y="236"/>
                </a:cubicBezTo>
                <a:cubicBezTo>
                  <a:pt x="1764" y="237"/>
                  <a:pt x="1763" y="237"/>
                  <a:pt x="1763" y="237"/>
                </a:cubicBezTo>
                <a:cubicBezTo>
                  <a:pt x="1763" y="238"/>
                  <a:pt x="1763" y="237"/>
                  <a:pt x="1763" y="237"/>
                </a:cubicBezTo>
                <a:close/>
                <a:moveTo>
                  <a:pt x="789" y="239"/>
                </a:moveTo>
                <a:cubicBezTo>
                  <a:pt x="789" y="238"/>
                  <a:pt x="790" y="237"/>
                  <a:pt x="789" y="236"/>
                </a:cubicBezTo>
                <a:cubicBezTo>
                  <a:pt x="789" y="238"/>
                  <a:pt x="788" y="238"/>
                  <a:pt x="789" y="239"/>
                </a:cubicBezTo>
                <a:cubicBezTo>
                  <a:pt x="789" y="238"/>
                  <a:pt x="789" y="239"/>
                  <a:pt x="789" y="239"/>
                </a:cubicBezTo>
                <a:close/>
                <a:moveTo>
                  <a:pt x="786" y="237"/>
                </a:moveTo>
                <a:cubicBezTo>
                  <a:pt x="786" y="237"/>
                  <a:pt x="786" y="237"/>
                  <a:pt x="786" y="237"/>
                </a:cubicBezTo>
                <a:cubicBezTo>
                  <a:pt x="786" y="237"/>
                  <a:pt x="786" y="237"/>
                  <a:pt x="786" y="236"/>
                </a:cubicBezTo>
                <a:cubicBezTo>
                  <a:pt x="786" y="237"/>
                  <a:pt x="786" y="237"/>
                  <a:pt x="786" y="237"/>
                </a:cubicBezTo>
                <a:close/>
                <a:moveTo>
                  <a:pt x="439" y="235"/>
                </a:moveTo>
                <a:cubicBezTo>
                  <a:pt x="438" y="235"/>
                  <a:pt x="438" y="235"/>
                  <a:pt x="438" y="236"/>
                </a:cubicBezTo>
                <a:cubicBezTo>
                  <a:pt x="439" y="236"/>
                  <a:pt x="439" y="236"/>
                  <a:pt x="439" y="235"/>
                </a:cubicBezTo>
                <a:cubicBezTo>
                  <a:pt x="438" y="235"/>
                  <a:pt x="439" y="235"/>
                  <a:pt x="439" y="235"/>
                </a:cubicBezTo>
                <a:close/>
                <a:moveTo>
                  <a:pt x="180" y="235"/>
                </a:moveTo>
                <a:cubicBezTo>
                  <a:pt x="179" y="235"/>
                  <a:pt x="179" y="235"/>
                  <a:pt x="179" y="236"/>
                </a:cubicBezTo>
                <a:cubicBezTo>
                  <a:pt x="180" y="236"/>
                  <a:pt x="180" y="236"/>
                  <a:pt x="180" y="235"/>
                </a:cubicBezTo>
                <a:cubicBezTo>
                  <a:pt x="179" y="236"/>
                  <a:pt x="180" y="235"/>
                  <a:pt x="180" y="235"/>
                </a:cubicBezTo>
                <a:close/>
                <a:moveTo>
                  <a:pt x="188" y="234"/>
                </a:moveTo>
                <a:cubicBezTo>
                  <a:pt x="187" y="234"/>
                  <a:pt x="187" y="234"/>
                  <a:pt x="187" y="234"/>
                </a:cubicBezTo>
                <a:cubicBezTo>
                  <a:pt x="187" y="234"/>
                  <a:pt x="188" y="235"/>
                  <a:pt x="188" y="235"/>
                </a:cubicBezTo>
                <a:cubicBezTo>
                  <a:pt x="189" y="235"/>
                  <a:pt x="188" y="236"/>
                  <a:pt x="189" y="236"/>
                </a:cubicBezTo>
                <a:cubicBezTo>
                  <a:pt x="189" y="237"/>
                  <a:pt x="189" y="235"/>
                  <a:pt x="189" y="235"/>
                </a:cubicBezTo>
                <a:cubicBezTo>
                  <a:pt x="189" y="234"/>
                  <a:pt x="189" y="234"/>
                  <a:pt x="188" y="234"/>
                </a:cubicBezTo>
                <a:cubicBezTo>
                  <a:pt x="188" y="234"/>
                  <a:pt x="188" y="234"/>
                  <a:pt x="188" y="234"/>
                </a:cubicBezTo>
                <a:close/>
                <a:moveTo>
                  <a:pt x="788" y="233"/>
                </a:moveTo>
                <a:cubicBezTo>
                  <a:pt x="787" y="233"/>
                  <a:pt x="787" y="233"/>
                  <a:pt x="786" y="233"/>
                </a:cubicBezTo>
                <a:cubicBezTo>
                  <a:pt x="787" y="234"/>
                  <a:pt x="787" y="235"/>
                  <a:pt x="787" y="235"/>
                </a:cubicBezTo>
                <a:cubicBezTo>
                  <a:pt x="786" y="235"/>
                  <a:pt x="787" y="236"/>
                  <a:pt x="787" y="236"/>
                </a:cubicBezTo>
                <a:cubicBezTo>
                  <a:pt x="789" y="236"/>
                  <a:pt x="788" y="234"/>
                  <a:pt x="788" y="233"/>
                </a:cubicBezTo>
                <a:close/>
                <a:moveTo>
                  <a:pt x="192" y="242"/>
                </a:moveTo>
                <a:cubicBezTo>
                  <a:pt x="192" y="243"/>
                  <a:pt x="192" y="243"/>
                  <a:pt x="192" y="243"/>
                </a:cubicBezTo>
                <a:cubicBezTo>
                  <a:pt x="192" y="242"/>
                  <a:pt x="192" y="241"/>
                  <a:pt x="192" y="240"/>
                </a:cubicBezTo>
                <a:cubicBezTo>
                  <a:pt x="192" y="240"/>
                  <a:pt x="191" y="240"/>
                  <a:pt x="191" y="240"/>
                </a:cubicBezTo>
                <a:cubicBezTo>
                  <a:pt x="190" y="240"/>
                  <a:pt x="190" y="239"/>
                  <a:pt x="190" y="239"/>
                </a:cubicBezTo>
                <a:cubicBezTo>
                  <a:pt x="190" y="239"/>
                  <a:pt x="189" y="238"/>
                  <a:pt x="189" y="238"/>
                </a:cubicBezTo>
                <a:cubicBezTo>
                  <a:pt x="189" y="238"/>
                  <a:pt x="189" y="237"/>
                  <a:pt x="189" y="237"/>
                </a:cubicBezTo>
                <a:cubicBezTo>
                  <a:pt x="188" y="237"/>
                  <a:pt x="188" y="236"/>
                  <a:pt x="188" y="236"/>
                </a:cubicBezTo>
                <a:cubicBezTo>
                  <a:pt x="187" y="236"/>
                  <a:pt x="186" y="236"/>
                  <a:pt x="186" y="235"/>
                </a:cubicBezTo>
                <a:cubicBezTo>
                  <a:pt x="186" y="235"/>
                  <a:pt x="186" y="235"/>
                  <a:pt x="186" y="235"/>
                </a:cubicBezTo>
                <a:cubicBezTo>
                  <a:pt x="186" y="235"/>
                  <a:pt x="186" y="234"/>
                  <a:pt x="186" y="234"/>
                </a:cubicBezTo>
                <a:cubicBezTo>
                  <a:pt x="186" y="234"/>
                  <a:pt x="184" y="233"/>
                  <a:pt x="183" y="233"/>
                </a:cubicBezTo>
                <a:cubicBezTo>
                  <a:pt x="183" y="234"/>
                  <a:pt x="183" y="235"/>
                  <a:pt x="182" y="236"/>
                </a:cubicBezTo>
                <a:cubicBezTo>
                  <a:pt x="183" y="236"/>
                  <a:pt x="184" y="236"/>
                  <a:pt x="185" y="236"/>
                </a:cubicBezTo>
                <a:cubicBezTo>
                  <a:pt x="185" y="237"/>
                  <a:pt x="185" y="237"/>
                  <a:pt x="185" y="238"/>
                </a:cubicBezTo>
                <a:cubicBezTo>
                  <a:pt x="186" y="238"/>
                  <a:pt x="186" y="238"/>
                  <a:pt x="186" y="237"/>
                </a:cubicBezTo>
                <a:cubicBezTo>
                  <a:pt x="186" y="238"/>
                  <a:pt x="186" y="239"/>
                  <a:pt x="186" y="239"/>
                </a:cubicBezTo>
                <a:cubicBezTo>
                  <a:pt x="186" y="240"/>
                  <a:pt x="186" y="240"/>
                  <a:pt x="187" y="240"/>
                </a:cubicBezTo>
                <a:cubicBezTo>
                  <a:pt x="188" y="240"/>
                  <a:pt x="187" y="240"/>
                  <a:pt x="188" y="241"/>
                </a:cubicBezTo>
                <a:cubicBezTo>
                  <a:pt x="188" y="241"/>
                  <a:pt x="189" y="241"/>
                  <a:pt x="189" y="241"/>
                </a:cubicBezTo>
                <a:cubicBezTo>
                  <a:pt x="189" y="241"/>
                  <a:pt x="189" y="242"/>
                  <a:pt x="189" y="242"/>
                </a:cubicBezTo>
                <a:cubicBezTo>
                  <a:pt x="189" y="242"/>
                  <a:pt x="190" y="242"/>
                  <a:pt x="189" y="243"/>
                </a:cubicBezTo>
                <a:cubicBezTo>
                  <a:pt x="190" y="243"/>
                  <a:pt x="190" y="242"/>
                  <a:pt x="191" y="242"/>
                </a:cubicBezTo>
                <a:cubicBezTo>
                  <a:pt x="191" y="243"/>
                  <a:pt x="191" y="244"/>
                  <a:pt x="191" y="245"/>
                </a:cubicBezTo>
                <a:cubicBezTo>
                  <a:pt x="192" y="245"/>
                  <a:pt x="193" y="245"/>
                  <a:pt x="193" y="245"/>
                </a:cubicBezTo>
                <a:cubicBezTo>
                  <a:pt x="193" y="244"/>
                  <a:pt x="193" y="243"/>
                  <a:pt x="193" y="242"/>
                </a:cubicBezTo>
                <a:cubicBezTo>
                  <a:pt x="193" y="242"/>
                  <a:pt x="193" y="242"/>
                  <a:pt x="192" y="242"/>
                </a:cubicBezTo>
                <a:close/>
                <a:moveTo>
                  <a:pt x="186" y="233"/>
                </a:moveTo>
                <a:cubicBezTo>
                  <a:pt x="186" y="234"/>
                  <a:pt x="186" y="234"/>
                  <a:pt x="187" y="234"/>
                </a:cubicBezTo>
                <a:cubicBezTo>
                  <a:pt x="187" y="233"/>
                  <a:pt x="187" y="233"/>
                  <a:pt x="186" y="233"/>
                </a:cubicBezTo>
                <a:cubicBezTo>
                  <a:pt x="186" y="234"/>
                  <a:pt x="186" y="233"/>
                  <a:pt x="186" y="233"/>
                </a:cubicBezTo>
                <a:close/>
                <a:moveTo>
                  <a:pt x="437" y="234"/>
                </a:moveTo>
                <a:cubicBezTo>
                  <a:pt x="438" y="233"/>
                  <a:pt x="438" y="233"/>
                  <a:pt x="438" y="233"/>
                </a:cubicBezTo>
                <a:cubicBezTo>
                  <a:pt x="437" y="233"/>
                  <a:pt x="437" y="233"/>
                  <a:pt x="437" y="234"/>
                </a:cubicBezTo>
                <a:cubicBezTo>
                  <a:pt x="438" y="233"/>
                  <a:pt x="437" y="234"/>
                  <a:pt x="437" y="234"/>
                </a:cubicBezTo>
                <a:close/>
                <a:moveTo>
                  <a:pt x="189" y="233"/>
                </a:moveTo>
                <a:cubicBezTo>
                  <a:pt x="189" y="233"/>
                  <a:pt x="189" y="233"/>
                  <a:pt x="188" y="233"/>
                </a:cubicBezTo>
                <a:cubicBezTo>
                  <a:pt x="189" y="233"/>
                  <a:pt x="189" y="233"/>
                  <a:pt x="189" y="234"/>
                </a:cubicBezTo>
                <a:cubicBezTo>
                  <a:pt x="189" y="233"/>
                  <a:pt x="189" y="233"/>
                  <a:pt x="189" y="233"/>
                </a:cubicBezTo>
                <a:close/>
                <a:moveTo>
                  <a:pt x="859" y="231"/>
                </a:moveTo>
                <a:cubicBezTo>
                  <a:pt x="859" y="232"/>
                  <a:pt x="859" y="232"/>
                  <a:pt x="859" y="232"/>
                </a:cubicBezTo>
                <a:cubicBezTo>
                  <a:pt x="859" y="232"/>
                  <a:pt x="860" y="232"/>
                  <a:pt x="860" y="232"/>
                </a:cubicBezTo>
                <a:cubicBezTo>
                  <a:pt x="860" y="231"/>
                  <a:pt x="860" y="231"/>
                  <a:pt x="860" y="231"/>
                </a:cubicBezTo>
                <a:cubicBezTo>
                  <a:pt x="860" y="231"/>
                  <a:pt x="859" y="231"/>
                  <a:pt x="859" y="231"/>
                </a:cubicBezTo>
                <a:close/>
                <a:moveTo>
                  <a:pt x="441" y="234"/>
                </a:moveTo>
                <a:cubicBezTo>
                  <a:pt x="441" y="234"/>
                  <a:pt x="441" y="233"/>
                  <a:pt x="441" y="232"/>
                </a:cubicBezTo>
                <a:cubicBezTo>
                  <a:pt x="441" y="231"/>
                  <a:pt x="442" y="231"/>
                  <a:pt x="440" y="231"/>
                </a:cubicBezTo>
                <a:cubicBezTo>
                  <a:pt x="440" y="232"/>
                  <a:pt x="440" y="234"/>
                  <a:pt x="439" y="235"/>
                </a:cubicBezTo>
                <a:cubicBezTo>
                  <a:pt x="439" y="236"/>
                  <a:pt x="439" y="236"/>
                  <a:pt x="440" y="236"/>
                </a:cubicBezTo>
                <a:cubicBezTo>
                  <a:pt x="441" y="236"/>
                  <a:pt x="440" y="235"/>
                  <a:pt x="441" y="234"/>
                </a:cubicBezTo>
                <a:close/>
                <a:moveTo>
                  <a:pt x="439" y="230"/>
                </a:moveTo>
                <a:cubicBezTo>
                  <a:pt x="439" y="230"/>
                  <a:pt x="437" y="230"/>
                  <a:pt x="437" y="231"/>
                </a:cubicBezTo>
                <a:cubicBezTo>
                  <a:pt x="437" y="231"/>
                  <a:pt x="437" y="232"/>
                  <a:pt x="437" y="232"/>
                </a:cubicBezTo>
                <a:cubicBezTo>
                  <a:pt x="438" y="232"/>
                  <a:pt x="439" y="231"/>
                  <a:pt x="439" y="230"/>
                </a:cubicBezTo>
                <a:cubicBezTo>
                  <a:pt x="438" y="230"/>
                  <a:pt x="439" y="230"/>
                  <a:pt x="439" y="230"/>
                </a:cubicBezTo>
                <a:close/>
                <a:moveTo>
                  <a:pt x="185" y="231"/>
                </a:moveTo>
                <a:cubicBezTo>
                  <a:pt x="185" y="231"/>
                  <a:pt x="185" y="232"/>
                  <a:pt x="185" y="232"/>
                </a:cubicBezTo>
                <a:cubicBezTo>
                  <a:pt x="187" y="232"/>
                  <a:pt x="186" y="232"/>
                  <a:pt x="186" y="230"/>
                </a:cubicBezTo>
                <a:cubicBezTo>
                  <a:pt x="186" y="230"/>
                  <a:pt x="185" y="230"/>
                  <a:pt x="185" y="231"/>
                </a:cubicBezTo>
                <a:cubicBezTo>
                  <a:pt x="185" y="231"/>
                  <a:pt x="185" y="231"/>
                  <a:pt x="185" y="231"/>
                </a:cubicBezTo>
                <a:close/>
                <a:moveTo>
                  <a:pt x="781" y="228"/>
                </a:moveTo>
                <a:cubicBezTo>
                  <a:pt x="782" y="227"/>
                  <a:pt x="781" y="226"/>
                  <a:pt x="781" y="227"/>
                </a:cubicBezTo>
                <a:cubicBezTo>
                  <a:pt x="780" y="227"/>
                  <a:pt x="781" y="229"/>
                  <a:pt x="781" y="228"/>
                </a:cubicBezTo>
                <a:cubicBezTo>
                  <a:pt x="781" y="228"/>
                  <a:pt x="781" y="228"/>
                  <a:pt x="781" y="228"/>
                </a:cubicBezTo>
                <a:close/>
                <a:moveTo>
                  <a:pt x="88" y="228"/>
                </a:moveTo>
                <a:cubicBezTo>
                  <a:pt x="89" y="228"/>
                  <a:pt x="89" y="228"/>
                  <a:pt x="89" y="227"/>
                </a:cubicBezTo>
                <a:cubicBezTo>
                  <a:pt x="88" y="227"/>
                  <a:pt x="88" y="227"/>
                  <a:pt x="88" y="228"/>
                </a:cubicBezTo>
                <a:close/>
                <a:moveTo>
                  <a:pt x="171" y="227"/>
                </a:moveTo>
                <a:cubicBezTo>
                  <a:pt x="171" y="228"/>
                  <a:pt x="172" y="228"/>
                  <a:pt x="172" y="227"/>
                </a:cubicBezTo>
                <a:cubicBezTo>
                  <a:pt x="172" y="225"/>
                  <a:pt x="171" y="227"/>
                  <a:pt x="171" y="227"/>
                </a:cubicBezTo>
                <a:close/>
                <a:moveTo>
                  <a:pt x="787" y="228"/>
                </a:moveTo>
                <a:cubicBezTo>
                  <a:pt x="787" y="228"/>
                  <a:pt x="786" y="227"/>
                  <a:pt x="787" y="227"/>
                </a:cubicBezTo>
                <a:cubicBezTo>
                  <a:pt x="787" y="227"/>
                  <a:pt x="787" y="225"/>
                  <a:pt x="787" y="225"/>
                </a:cubicBezTo>
                <a:cubicBezTo>
                  <a:pt x="787" y="225"/>
                  <a:pt x="787" y="226"/>
                  <a:pt x="786" y="226"/>
                </a:cubicBezTo>
                <a:cubicBezTo>
                  <a:pt x="786" y="226"/>
                  <a:pt x="786" y="226"/>
                  <a:pt x="786" y="226"/>
                </a:cubicBezTo>
                <a:cubicBezTo>
                  <a:pt x="786" y="226"/>
                  <a:pt x="786" y="226"/>
                  <a:pt x="785" y="226"/>
                </a:cubicBezTo>
                <a:cubicBezTo>
                  <a:pt x="785" y="227"/>
                  <a:pt x="786" y="228"/>
                  <a:pt x="786" y="229"/>
                </a:cubicBezTo>
                <a:cubicBezTo>
                  <a:pt x="787" y="230"/>
                  <a:pt x="787" y="230"/>
                  <a:pt x="787" y="231"/>
                </a:cubicBezTo>
                <a:cubicBezTo>
                  <a:pt x="787" y="231"/>
                  <a:pt x="788" y="230"/>
                  <a:pt x="788" y="231"/>
                </a:cubicBezTo>
                <a:cubicBezTo>
                  <a:pt x="788" y="231"/>
                  <a:pt x="788" y="232"/>
                  <a:pt x="788" y="232"/>
                </a:cubicBezTo>
                <a:cubicBezTo>
                  <a:pt x="788" y="231"/>
                  <a:pt x="789" y="230"/>
                  <a:pt x="789" y="230"/>
                </a:cubicBezTo>
                <a:cubicBezTo>
                  <a:pt x="787" y="229"/>
                  <a:pt x="787" y="229"/>
                  <a:pt x="787" y="228"/>
                </a:cubicBezTo>
                <a:close/>
                <a:moveTo>
                  <a:pt x="781" y="225"/>
                </a:moveTo>
                <a:cubicBezTo>
                  <a:pt x="781" y="225"/>
                  <a:pt x="781" y="226"/>
                  <a:pt x="781" y="226"/>
                </a:cubicBezTo>
                <a:cubicBezTo>
                  <a:pt x="782" y="226"/>
                  <a:pt x="783" y="226"/>
                  <a:pt x="783" y="225"/>
                </a:cubicBezTo>
                <a:cubicBezTo>
                  <a:pt x="783" y="225"/>
                  <a:pt x="783" y="225"/>
                  <a:pt x="783" y="225"/>
                </a:cubicBezTo>
                <a:cubicBezTo>
                  <a:pt x="782" y="225"/>
                  <a:pt x="782" y="225"/>
                  <a:pt x="781" y="225"/>
                </a:cubicBezTo>
                <a:cubicBezTo>
                  <a:pt x="781" y="225"/>
                  <a:pt x="781" y="225"/>
                  <a:pt x="781" y="225"/>
                </a:cubicBezTo>
                <a:close/>
                <a:moveTo>
                  <a:pt x="181" y="232"/>
                </a:moveTo>
                <a:cubicBezTo>
                  <a:pt x="183" y="232"/>
                  <a:pt x="183" y="233"/>
                  <a:pt x="184" y="232"/>
                </a:cubicBezTo>
                <a:cubicBezTo>
                  <a:pt x="183" y="231"/>
                  <a:pt x="183" y="231"/>
                  <a:pt x="184" y="231"/>
                </a:cubicBezTo>
                <a:cubicBezTo>
                  <a:pt x="184" y="230"/>
                  <a:pt x="184" y="230"/>
                  <a:pt x="184" y="229"/>
                </a:cubicBezTo>
                <a:cubicBezTo>
                  <a:pt x="184" y="228"/>
                  <a:pt x="184" y="228"/>
                  <a:pt x="182" y="228"/>
                </a:cubicBezTo>
                <a:cubicBezTo>
                  <a:pt x="182" y="227"/>
                  <a:pt x="181" y="228"/>
                  <a:pt x="180" y="228"/>
                </a:cubicBezTo>
                <a:cubicBezTo>
                  <a:pt x="180" y="228"/>
                  <a:pt x="180" y="228"/>
                  <a:pt x="180" y="228"/>
                </a:cubicBezTo>
                <a:cubicBezTo>
                  <a:pt x="181" y="228"/>
                  <a:pt x="180" y="230"/>
                  <a:pt x="180" y="230"/>
                </a:cubicBezTo>
                <a:cubicBezTo>
                  <a:pt x="180" y="230"/>
                  <a:pt x="181" y="231"/>
                  <a:pt x="181" y="231"/>
                </a:cubicBezTo>
                <a:cubicBezTo>
                  <a:pt x="181" y="231"/>
                  <a:pt x="181" y="231"/>
                  <a:pt x="181" y="232"/>
                </a:cubicBezTo>
                <a:cubicBezTo>
                  <a:pt x="180" y="231"/>
                  <a:pt x="180" y="231"/>
                  <a:pt x="180" y="230"/>
                </a:cubicBezTo>
                <a:cubicBezTo>
                  <a:pt x="179" y="230"/>
                  <a:pt x="178" y="230"/>
                  <a:pt x="178" y="229"/>
                </a:cubicBezTo>
                <a:cubicBezTo>
                  <a:pt x="178" y="228"/>
                  <a:pt x="177" y="227"/>
                  <a:pt x="177" y="226"/>
                </a:cubicBezTo>
                <a:cubicBezTo>
                  <a:pt x="176" y="226"/>
                  <a:pt x="175" y="225"/>
                  <a:pt x="173" y="225"/>
                </a:cubicBezTo>
                <a:cubicBezTo>
                  <a:pt x="173" y="225"/>
                  <a:pt x="173" y="225"/>
                  <a:pt x="173" y="225"/>
                </a:cubicBezTo>
                <a:cubicBezTo>
                  <a:pt x="173" y="226"/>
                  <a:pt x="173" y="227"/>
                  <a:pt x="173" y="227"/>
                </a:cubicBezTo>
                <a:cubicBezTo>
                  <a:pt x="174" y="228"/>
                  <a:pt x="174" y="228"/>
                  <a:pt x="174" y="229"/>
                </a:cubicBezTo>
                <a:cubicBezTo>
                  <a:pt x="174" y="229"/>
                  <a:pt x="174" y="229"/>
                  <a:pt x="174" y="229"/>
                </a:cubicBezTo>
                <a:cubicBezTo>
                  <a:pt x="174" y="230"/>
                  <a:pt x="175" y="230"/>
                  <a:pt x="175" y="231"/>
                </a:cubicBezTo>
                <a:cubicBezTo>
                  <a:pt x="175" y="231"/>
                  <a:pt x="176" y="230"/>
                  <a:pt x="176" y="231"/>
                </a:cubicBezTo>
                <a:cubicBezTo>
                  <a:pt x="176" y="231"/>
                  <a:pt x="176" y="232"/>
                  <a:pt x="176" y="232"/>
                </a:cubicBezTo>
                <a:cubicBezTo>
                  <a:pt x="177" y="232"/>
                  <a:pt x="177" y="234"/>
                  <a:pt x="178" y="233"/>
                </a:cubicBezTo>
                <a:cubicBezTo>
                  <a:pt x="179" y="232"/>
                  <a:pt x="178" y="232"/>
                  <a:pt x="178" y="232"/>
                </a:cubicBezTo>
                <a:cubicBezTo>
                  <a:pt x="178" y="232"/>
                  <a:pt x="178" y="231"/>
                  <a:pt x="179" y="231"/>
                </a:cubicBezTo>
                <a:cubicBezTo>
                  <a:pt x="179" y="233"/>
                  <a:pt x="179" y="233"/>
                  <a:pt x="181" y="233"/>
                </a:cubicBezTo>
                <a:cubicBezTo>
                  <a:pt x="180" y="234"/>
                  <a:pt x="180" y="234"/>
                  <a:pt x="181" y="235"/>
                </a:cubicBezTo>
                <a:cubicBezTo>
                  <a:pt x="181" y="235"/>
                  <a:pt x="180" y="235"/>
                  <a:pt x="181" y="235"/>
                </a:cubicBezTo>
                <a:cubicBezTo>
                  <a:pt x="181" y="235"/>
                  <a:pt x="181" y="235"/>
                  <a:pt x="181" y="235"/>
                </a:cubicBezTo>
                <a:cubicBezTo>
                  <a:pt x="183" y="234"/>
                  <a:pt x="181" y="233"/>
                  <a:pt x="181" y="232"/>
                </a:cubicBezTo>
                <a:cubicBezTo>
                  <a:pt x="182" y="232"/>
                  <a:pt x="181" y="232"/>
                  <a:pt x="181" y="232"/>
                </a:cubicBezTo>
                <a:close/>
                <a:moveTo>
                  <a:pt x="908" y="225"/>
                </a:moveTo>
                <a:cubicBezTo>
                  <a:pt x="908" y="225"/>
                  <a:pt x="910" y="225"/>
                  <a:pt x="909" y="224"/>
                </a:cubicBezTo>
                <a:cubicBezTo>
                  <a:pt x="908" y="223"/>
                  <a:pt x="908" y="225"/>
                  <a:pt x="908" y="226"/>
                </a:cubicBezTo>
                <a:cubicBezTo>
                  <a:pt x="908" y="226"/>
                  <a:pt x="907" y="225"/>
                  <a:pt x="907" y="225"/>
                </a:cubicBezTo>
                <a:cubicBezTo>
                  <a:pt x="906" y="225"/>
                  <a:pt x="906" y="226"/>
                  <a:pt x="905" y="226"/>
                </a:cubicBezTo>
                <a:cubicBezTo>
                  <a:pt x="905" y="227"/>
                  <a:pt x="904" y="229"/>
                  <a:pt x="903" y="228"/>
                </a:cubicBezTo>
                <a:cubicBezTo>
                  <a:pt x="903" y="230"/>
                  <a:pt x="904" y="232"/>
                  <a:pt x="905" y="233"/>
                </a:cubicBezTo>
                <a:cubicBezTo>
                  <a:pt x="905" y="232"/>
                  <a:pt x="905" y="232"/>
                  <a:pt x="906" y="231"/>
                </a:cubicBezTo>
                <a:cubicBezTo>
                  <a:pt x="907" y="231"/>
                  <a:pt x="906" y="231"/>
                  <a:pt x="906" y="230"/>
                </a:cubicBezTo>
                <a:cubicBezTo>
                  <a:pt x="906" y="230"/>
                  <a:pt x="907" y="230"/>
                  <a:pt x="907" y="230"/>
                </a:cubicBezTo>
                <a:cubicBezTo>
                  <a:pt x="907" y="229"/>
                  <a:pt x="907" y="229"/>
                  <a:pt x="907" y="228"/>
                </a:cubicBezTo>
                <a:cubicBezTo>
                  <a:pt x="908" y="228"/>
                  <a:pt x="908" y="226"/>
                  <a:pt x="908" y="225"/>
                </a:cubicBezTo>
                <a:cubicBezTo>
                  <a:pt x="908" y="225"/>
                  <a:pt x="908" y="225"/>
                  <a:pt x="908" y="225"/>
                </a:cubicBezTo>
                <a:close/>
                <a:moveTo>
                  <a:pt x="922" y="224"/>
                </a:moveTo>
                <a:cubicBezTo>
                  <a:pt x="922" y="224"/>
                  <a:pt x="922" y="224"/>
                  <a:pt x="923" y="223"/>
                </a:cubicBezTo>
                <a:cubicBezTo>
                  <a:pt x="922" y="223"/>
                  <a:pt x="922" y="224"/>
                  <a:pt x="922" y="224"/>
                </a:cubicBezTo>
                <a:cubicBezTo>
                  <a:pt x="922" y="224"/>
                  <a:pt x="922" y="224"/>
                  <a:pt x="922" y="224"/>
                </a:cubicBezTo>
                <a:close/>
                <a:moveTo>
                  <a:pt x="181" y="223"/>
                </a:moveTo>
                <a:cubicBezTo>
                  <a:pt x="180" y="223"/>
                  <a:pt x="181" y="223"/>
                  <a:pt x="181" y="223"/>
                </a:cubicBezTo>
                <a:cubicBezTo>
                  <a:pt x="181" y="223"/>
                  <a:pt x="181" y="223"/>
                  <a:pt x="181" y="223"/>
                </a:cubicBezTo>
                <a:close/>
                <a:moveTo>
                  <a:pt x="92" y="222"/>
                </a:moveTo>
                <a:cubicBezTo>
                  <a:pt x="91" y="222"/>
                  <a:pt x="91" y="222"/>
                  <a:pt x="91" y="222"/>
                </a:cubicBezTo>
                <a:cubicBezTo>
                  <a:pt x="91" y="222"/>
                  <a:pt x="90" y="222"/>
                  <a:pt x="90" y="222"/>
                </a:cubicBezTo>
                <a:cubicBezTo>
                  <a:pt x="90" y="221"/>
                  <a:pt x="90" y="221"/>
                  <a:pt x="88" y="221"/>
                </a:cubicBezTo>
                <a:cubicBezTo>
                  <a:pt x="88" y="221"/>
                  <a:pt x="89" y="221"/>
                  <a:pt x="88" y="222"/>
                </a:cubicBezTo>
                <a:cubicBezTo>
                  <a:pt x="88" y="222"/>
                  <a:pt x="88" y="221"/>
                  <a:pt x="88" y="222"/>
                </a:cubicBezTo>
                <a:cubicBezTo>
                  <a:pt x="87" y="222"/>
                  <a:pt x="87" y="222"/>
                  <a:pt x="86" y="222"/>
                </a:cubicBezTo>
                <a:cubicBezTo>
                  <a:pt x="86" y="221"/>
                  <a:pt x="86" y="222"/>
                  <a:pt x="86" y="222"/>
                </a:cubicBezTo>
                <a:cubicBezTo>
                  <a:pt x="85" y="222"/>
                  <a:pt x="86" y="221"/>
                  <a:pt x="85" y="221"/>
                </a:cubicBezTo>
                <a:cubicBezTo>
                  <a:pt x="84" y="221"/>
                  <a:pt x="84" y="221"/>
                  <a:pt x="84" y="222"/>
                </a:cubicBezTo>
                <a:cubicBezTo>
                  <a:pt x="84" y="222"/>
                  <a:pt x="84" y="223"/>
                  <a:pt x="85" y="223"/>
                </a:cubicBezTo>
                <a:cubicBezTo>
                  <a:pt x="84" y="223"/>
                  <a:pt x="84" y="224"/>
                  <a:pt x="83" y="224"/>
                </a:cubicBezTo>
                <a:cubicBezTo>
                  <a:pt x="83" y="223"/>
                  <a:pt x="82" y="223"/>
                  <a:pt x="81" y="223"/>
                </a:cubicBezTo>
                <a:cubicBezTo>
                  <a:pt x="81" y="224"/>
                  <a:pt x="80" y="224"/>
                  <a:pt x="81" y="225"/>
                </a:cubicBezTo>
                <a:cubicBezTo>
                  <a:pt x="81" y="226"/>
                  <a:pt x="82" y="226"/>
                  <a:pt x="81" y="227"/>
                </a:cubicBezTo>
                <a:cubicBezTo>
                  <a:pt x="81" y="227"/>
                  <a:pt x="81" y="227"/>
                  <a:pt x="81" y="227"/>
                </a:cubicBezTo>
                <a:cubicBezTo>
                  <a:pt x="82" y="227"/>
                  <a:pt x="83" y="227"/>
                  <a:pt x="83" y="226"/>
                </a:cubicBezTo>
                <a:cubicBezTo>
                  <a:pt x="84" y="227"/>
                  <a:pt x="84" y="227"/>
                  <a:pt x="85" y="227"/>
                </a:cubicBezTo>
                <a:cubicBezTo>
                  <a:pt x="86" y="227"/>
                  <a:pt x="85" y="228"/>
                  <a:pt x="85" y="228"/>
                </a:cubicBezTo>
                <a:cubicBezTo>
                  <a:pt x="86" y="229"/>
                  <a:pt x="86" y="228"/>
                  <a:pt x="86" y="228"/>
                </a:cubicBezTo>
                <a:cubicBezTo>
                  <a:pt x="86" y="228"/>
                  <a:pt x="87" y="228"/>
                  <a:pt x="87" y="228"/>
                </a:cubicBezTo>
                <a:cubicBezTo>
                  <a:pt x="87" y="227"/>
                  <a:pt x="87" y="227"/>
                  <a:pt x="87" y="227"/>
                </a:cubicBezTo>
                <a:cubicBezTo>
                  <a:pt x="88" y="227"/>
                  <a:pt x="89" y="226"/>
                  <a:pt x="90" y="226"/>
                </a:cubicBezTo>
                <a:cubicBezTo>
                  <a:pt x="90" y="226"/>
                  <a:pt x="91" y="226"/>
                  <a:pt x="91" y="226"/>
                </a:cubicBezTo>
                <a:cubicBezTo>
                  <a:pt x="91" y="225"/>
                  <a:pt x="91" y="225"/>
                  <a:pt x="91" y="225"/>
                </a:cubicBezTo>
                <a:cubicBezTo>
                  <a:pt x="90" y="225"/>
                  <a:pt x="90" y="225"/>
                  <a:pt x="90" y="225"/>
                </a:cubicBezTo>
                <a:cubicBezTo>
                  <a:pt x="90" y="224"/>
                  <a:pt x="91" y="224"/>
                  <a:pt x="91" y="225"/>
                </a:cubicBezTo>
                <a:cubicBezTo>
                  <a:pt x="91" y="225"/>
                  <a:pt x="91" y="224"/>
                  <a:pt x="91" y="224"/>
                </a:cubicBezTo>
                <a:cubicBezTo>
                  <a:pt x="92" y="224"/>
                  <a:pt x="92" y="224"/>
                  <a:pt x="93" y="225"/>
                </a:cubicBezTo>
                <a:cubicBezTo>
                  <a:pt x="93" y="224"/>
                  <a:pt x="93" y="224"/>
                  <a:pt x="93" y="224"/>
                </a:cubicBezTo>
                <a:cubicBezTo>
                  <a:pt x="93" y="224"/>
                  <a:pt x="92" y="224"/>
                  <a:pt x="91" y="224"/>
                </a:cubicBezTo>
                <a:cubicBezTo>
                  <a:pt x="92" y="223"/>
                  <a:pt x="92" y="223"/>
                  <a:pt x="92" y="222"/>
                </a:cubicBezTo>
                <a:close/>
                <a:moveTo>
                  <a:pt x="167" y="221"/>
                </a:moveTo>
                <a:cubicBezTo>
                  <a:pt x="168" y="221"/>
                  <a:pt x="167" y="219"/>
                  <a:pt x="167" y="221"/>
                </a:cubicBezTo>
                <a:close/>
                <a:moveTo>
                  <a:pt x="178" y="225"/>
                </a:moveTo>
                <a:cubicBezTo>
                  <a:pt x="178" y="226"/>
                  <a:pt x="178" y="226"/>
                  <a:pt x="178" y="227"/>
                </a:cubicBezTo>
                <a:cubicBezTo>
                  <a:pt x="179" y="227"/>
                  <a:pt x="179" y="228"/>
                  <a:pt x="179" y="227"/>
                </a:cubicBezTo>
                <a:cubicBezTo>
                  <a:pt x="179" y="227"/>
                  <a:pt x="180" y="227"/>
                  <a:pt x="180" y="227"/>
                </a:cubicBezTo>
                <a:cubicBezTo>
                  <a:pt x="180" y="226"/>
                  <a:pt x="180" y="225"/>
                  <a:pt x="181" y="225"/>
                </a:cubicBezTo>
                <a:cubicBezTo>
                  <a:pt x="181" y="224"/>
                  <a:pt x="181" y="223"/>
                  <a:pt x="180" y="223"/>
                </a:cubicBezTo>
                <a:cubicBezTo>
                  <a:pt x="179" y="222"/>
                  <a:pt x="180" y="222"/>
                  <a:pt x="180" y="221"/>
                </a:cubicBezTo>
                <a:cubicBezTo>
                  <a:pt x="180" y="221"/>
                  <a:pt x="179" y="220"/>
                  <a:pt x="179" y="220"/>
                </a:cubicBezTo>
                <a:cubicBezTo>
                  <a:pt x="178" y="219"/>
                  <a:pt x="177" y="219"/>
                  <a:pt x="176" y="219"/>
                </a:cubicBezTo>
                <a:cubicBezTo>
                  <a:pt x="176" y="220"/>
                  <a:pt x="177" y="221"/>
                  <a:pt x="177" y="222"/>
                </a:cubicBezTo>
                <a:cubicBezTo>
                  <a:pt x="177" y="223"/>
                  <a:pt x="177" y="224"/>
                  <a:pt x="178" y="225"/>
                </a:cubicBezTo>
                <a:cubicBezTo>
                  <a:pt x="178" y="225"/>
                  <a:pt x="178" y="225"/>
                  <a:pt x="178" y="225"/>
                </a:cubicBezTo>
                <a:close/>
                <a:moveTo>
                  <a:pt x="89" y="219"/>
                </a:moveTo>
                <a:cubicBezTo>
                  <a:pt x="89" y="219"/>
                  <a:pt x="88" y="219"/>
                  <a:pt x="88" y="219"/>
                </a:cubicBezTo>
                <a:cubicBezTo>
                  <a:pt x="88" y="220"/>
                  <a:pt x="89" y="220"/>
                  <a:pt x="89" y="219"/>
                </a:cubicBezTo>
                <a:cubicBezTo>
                  <a:pt x="89" y="219"/>
                  <a:pt x="89" y="219"/>
                  <a:pt x="89" y="219"/>
                </a:cubicBezTo>
                <a:close/>
                <a:moveTo>
                  <a:pt x="921" y="219"/>
                </a:moveTo>
                <a:cubicBezTo>
                  <a:pt x="920" y="219"/>
                  <a:pt x="921" y="221"/>
                  <a:pt x="921" y="221"/>
                </a:cubicBezTo>
                <a:cubicBezTo>
                  <a:pt x="921" y="221"/>
                  <a:pt x="921" y="222"/>
                  <a:pt x="922" y="222"/>
                </a:cubicBezTo>
                <a:cubicBezTo>
                  <a:pt x="922" y="222"/>
                  <a:pt x="923" y="222"/>
                  <a:pt x="923" y="223"/>
                </a:cubicBezTo>
                <a:cubicBezTo>
                  <a:pt x="923" y="223"/>
                  <a:pt x="923" y="222"/>
                  <a:pt x="924" y="222"/>
                </a:cubicBezTo>
                <a:cubicBezTo>
                  <a:pt x="924" y="222"/>
                  <a:pt x="925" y="222"/>
                  <a:pt x="926" y="222"/>
                </a:cubicBezTo>
                <a:cubicBezTo>
                  <a:pt x="926" y="221"/>
                  <a:pt x="927" y="220"/>
                  <a:pt x="928" y="218"/>
                </a:cubicBezTo>
                <a:cubicBezTo>
                  <a:pt x="927" y="218"/>
                  <a:pt x="925" y="218"/>
                  <a:pt x="924" y="218"/>
                </a:cubicBezTo>
                <a:cubicBezTo>
                  <a:pt x="924" y="219"/>
                  <a:pt x="923" y="218"/>
                  <a:pt x="923" y="219"/>
                </a:cubicBezTo>
                <a:cubicBezTo>
                  <a:pt x="923" y="220"/>
                  <a:pt x="922" y="219"/>
                  <a:pt x="921" y="219"/>
                </a:cubicBezTo>
                <a:close/>
                <a:moveTo>
                  <a:pt x="785" y="223"/>
                </a:moveTo>
                <a:cubicBezTo>
                  <a:pt x="787" y="223"/>
                  <a:pt x="786" y="223"/>
                  <a:pt x="787" y="222"/>
                </a:cubicBezTo>
                <a:cubicBezTo>
                  <a:pt x="787" y="220"/>
                  <a:pt x="788" y="219"/>
                  <a:pt x="788" y="218"/>
                </a:cubicBezTo>
                <a:cubicBezTo>
                  <a:pt x="788" y="217"/>
                  <a:pt x="785" y="218"/>
                  <a:pt x="785" y="218"/>
                </a:cubicBezTo>
                <a:cubicBezTo>
                  <a:pt x="785" y="219"/>
                  <a:pt x="785" y="221"/>
                  <a:pt x="784" y="220"/>
                </a:cubicBezTo>
                <a:cubicBezTo>
                  <a:pt x="784" y="221"/>
                  <a:pt x="785" y="221"/>
                  <a:pt x="784" y="222"/>
                </a:cubicBezTo>
                <a:cubicBezTo>
                  <a:pt x="784" y="223"/>
                  <a:pt x="784" y="222"/>
                  <a:pt x="784" y="223"/>
                </a:cubicBezTo>
                <a:cubicBezTo>
                  <a:pt x="784" y="223"/>
                  <a:pt x="784" y="224"/>
                  <a:pt x="784" y="225"/>
                </a:cubicBezTo>
                <a:cubicBezTo>
                  <a:pt x="784" y="224"/>
                  <a:pt x="785" y="224"/>
                  <a:pt x="785" y="223"/>
                </a:cubicBezTo>
                <a:close/>
                <a:moveTo>
                  <a:pt x="790" y="228"/>
                </a:moveTo>
                <a:cubicBezTo>
                  <a:pt x="791" y="228"/>
                  <a:pt x="790" y="229"/>
                  <a:pt x="789" y="229"/>
                </a:cubicBezTo>
                <a:cubicBezTo>
                  <a:pt x="790" y="230"/>
                  <a:pt x="791" y="230"/>
                  <a:pt x="791" y="230"/>
                </a:cubicBezTo>
                <a:cubicBezTo>
                  <a:pt x="791" y="231"/>
                  <a:pt x="790" y="231"/>
                  <a:pt x="790" y="232"/>
                </a:cubicBezTo>
                <a:cubicBezTo>
                  <a:pt x="790" y="233"/>
                  <a:pt x="790" y="234"/>
                  <a:pt x="789" y="234"/>
                </a:cubicBezTo>
                <a:cubicBezTo>
                  <a:pt x="791" y="234"/>
                  <a:pt x="791" y="234"/>
                  <a:pt x="792" y="234"/>
                </a:cubicBezTo>
                <a:cubicBezTo>
                  <a:pt x="793" y="234"/>
                  <a:pt x="792" y="235"/>
                  <a:pt x="792" y="235"/>
                </a:cubicBezTo>
                <a:cubicBezTo>
                  <a:pt x="792" y="236"/>
                  <a:pt x="791" y="236"/>
                  <a:pt x="790" y="236"/>
                </a:cubicBezTo>
                <a:cubicBezTo>
                  <a:pt x="790" y="236"/>
                  <a:pt x="791" y="237"/>
                  <a:pt x="791" y="237"/>
                </a:cubicBezTo>
                <a:cubicBezTo>
                  <a:pt x="791" y="237"/>
                  <a:pt x="790" y="237"/>
                  <a:pt x="790" y="237"/>
                </a:cubicBezTo>
                <a:cubicBezTo>
                  <a:pt x="790" y="238"/>
                  <a:pt x="790" y="240"/>
                  <a:pt x="791" y="239"/>
                </a:cubicBezTo>
                <a:cubicBezTo>
                  <a:pt x="791" y="238"/>
                  <a:pt x="792" y="237"/>
                  <a:pt x="792" y="237"/>
                </a:cubicBezTo>
                <a:cubicBezTo>
                  <a:pt x="792" y="237"/>
                  <a:pt x="792" y="238"/>
                  <a:pt x="792" y="238"/>
                </a:cubicBezTo>
                <a:cubicBezTo>
                  <a:pt x="793" y="238"/>
                  <a:pt x="793" y="238"/>
                  <a:pt x="793" y="237"/>
                </a:cubicBezTo>
                <a:cubicBezTo>
                  <a:pt x="793" y="237"/>
                  <a:pt x="794" y="237"/>
                  <a:pt x="794" y="238"/>
                </a:cubicBezTo>
                <a:cubicBezTo>
                  <a:pt x="793" y="239"/>
                  <a:pt x="793" y="239"/>
                  <a:pt x="793" y="240"/>
                </a:cubicBezTo>
                <a:cubicBezTo>
                  <a:pt x="793" y="241"/>
                  <a:pt x="794" y="240"/>
                  <a:pt x="794" y="241"/>
                </a:cubicBezTo>
                <a:cubicBezTo>
                  <a:pt x="793" y="242"/>
                  <a:pt x="794" y="242"/>
                  <a:pt x="794" y="242"/>
                </a:cubicBezTo>
                <a:cubicBezTo>
                  <a:pt x="793" y="242"/>
                  <a:pt x="793" y="243"/>
                  <a:pt x="793" y="244"/>
                </a:cubicBezTo>
                <a:cubicBezTo>
                  <a:pt x="793" y="244"/>
                  <a:pt x="793" y="245"/>
                  <a:pt x="793" y="245"/>
                </a:cubicBezTo>
                <a:cubicBezTo>
                  <a:pt x="792" y="245"/>
                  <a:pt x="792" y="245"/>
                  <a:pt x="792" y="246"/>
                </a:cubicBezTo>
                <a:cubicBezTo>
                  <a:pt x="792" y="246"/>
                  <a:pt x="792" y="246"/>
                  <a:pt x="792" y="246"/>
                </a:cubicBezTo>
                <a:cubicBezTo>
                  <a:pt x="793" y="246"/>
                  <a:pt x="793" y="246"/>
                  <a:pt x="793" y="246"/>
                </a:cubicBezTo>
                <a:cubicBezTo>
                  <a:pt x="794" y="246"/>
                  <a:pt x="794" y="247"/>
                  <a:pt x="795" y="247"/>
                </a:cubicBezTo>
                <a:cubicBezTo>
                  <a:pt x="795" y="247"/>
                  <a:pt x="795" y="246"/>
                  <a:pt x="795" y="245"/>
                </a:cubicBezTo>
                <a:cubicBezTo>
                  <a:pt x="796" y="246"/>
                  <a:pt x="797" y="246"/>
                  <a:pt x="797" y="246"/>
                </a:cubicBezTo>
                <a:cubicBezTo>
                  <a:pt x="798" y="246"/>
                  <a:pt x="799" y="245"/>
                  <a:pt x="800" y="245"/>
                </a:cubicBezTo>
                <a:cubicBezTo>
                  <a:pt x="800" y="245"/>
                  <a:pt x="804" y="246"/>
                  <a:pt x="802" y="246"/>
                </a:cubicBezTo>
                <a:cubicBezTo>
                  <a:pt x="801" y="246"/>
                  <a:pt x="800" y="248"/>
                  <a:pt x="800" y="249"/>
                </a:cubicBezTo>
                <a:cubicBezTo>
                  <a:pt x="801" y="249"/>
                  <a:pt x="802" y="250"/>
                  <a:pt x="802" y="249"/>
                </a:cubicBezTo>
                <a:cubicBezTo>
                  <a:pt x="802" y="249"/>
                  <a:pt x="803" y="249"/>
                  <a:pt x="803" y="250"/>
                </a:cubicBezTo>
                <a:cubicBezTo>
                  <a:pt x="804" y="248"/>
                  <a:pt x="804" y="251"/>
                  <a:pt x="804" y="251"/>
                </a:cubicBezTo>
                <a:cubicBezTo>
                  <a:pt x="804" y="251"/>
                  <a:pt x="803" y="251"/>
                  <a:pt x="803" y="252"/>
                </a:cubicBezTo>
                <a:cubicBezTo>
                  <a:pt x="803" y="252"/>
                  <a:pt x="804" y="252"/>
                  <a:pt x="804" y="252"/>
                </a:cubicBezTo>
                <a:cubicBezTo>
                  <a:pt x="803" y="253"/>
                  <a:pt x="803" y="254"/>
                  <a:pt x="803" y="255"/>
                </a:cubicBezTo>
                <a:cubicBezTo>
                  <a:pt x="804" y="255"/>
                  <a:pt x="802" y="255"/>
                  <a:pt x="802" y="256"/>
                </a:cubicBezTo>
                <a:cubicBezTo>
                  <a:pt x="800" y="256"/>
                  <a:pt x="797" y="257"/>
                  <a:pt x="797" y="255"/>
                </a:cubicBezTo>
                <a:cubicBezTo>
                  <a:pt x="797" y="254"/>
                  <a:pt x="796" y="254"/>
                  <a:pt x="796" y="254"/>
                </a:cubicBezTo>
                <a:cubicBezTo>
                  <a:pt x="795" y="254"/>
                  <a:pt x="796" y="255"/>
                  <a:pt x="795" y="255"/>
                </a:cubicBezTo>
                <a:cubicBezTo>
                  <a:pt x="795" y="256"/>
                  <a:pt x="795" y="256"/>
                  <a:pt x="796" y="256"/>
                </a:cubicBezTo>
                <a:cubicBezTo>
                  <a:pt x="797" y="257"/>
                  <a:pt x="797" y="257"/>
                  <a:pt x="796" y="257"/>
                </a:cubicBezTo>
                <a:cubicBezTo>
                  <a:pt x="796" y="258"/>
                  <a:pt x="795" y="259"/>
                  <a:pt x="794" y="259"/>
                </a:cubicBezTo>
                <a:cubicBezTo>
                  <a:pt x="794" y="259"/>
                  <a:pt x="794" y="260"/>
                  <a:pt x="793" y="260"/>
                </a:cubicBezTo>
                <a:cubicBezTo>
                  <a:pt x="795" y="260"/>
                  <a:pt x="796" y="260"/>
                  <a:pt x="797" y="260"/>
                </a:cubicBezTo>
                <a:cubicBezTo>
                  <a:pt x="797" y="260"/>
                  <a:pt x="797" y="261"/>
                  <a:pt x="797" y="262"/>
                </a:cubicBezTo>
                <a:cubicBezTo>
                  <a:pt x="797" y="262"/>
                  <a:pt x="797" y="263"/>
                  <a:pt x="797" y="263"/>
                </a:cubicBezTo>
                <a:cubicBezTo>
                  <a:pt x="796" y="263"/>
                  <a:pt x="796" y="263"/>
                  <a:pt x="796" y="263"/>
                </a:cubicBezTo>
                <a:cubicBezTo>
                  <a:pt x="796" y="263"/>
                  <a:pt x="796" y="263"/>
                  <a:pt x="796" y="263"/>
                </a:cubicBezTo>
                <a:cubicBezTo>
                  <a:pt x="795" y="264"/>
                  <a:pt x="795" y="264"/>
                  <a:pt x="795" y="264"/>
                </a:cubicBezTo>
                <a:cubicBezTo>
                  <a:pt x="794" y="264"/>
                  <a:pt x="795" y="264"/>
                  <a:pt x="794" y="265"/>
                </a:cubicBezTo>
                <a:cubicBezTo>
                  <a:pt x="793" y="265"/>
                  <a:pt x="792" y="265"/>
                  <a:pt x="792" y="266"/>
                </a:cubicBezTo>
                <a:cubicBezTo>
                  <a:pt x="792" y="266"/>
                  <a:pt x="792" y="267"/>
                  <a:pt x="792" y="268"/>
                </a:cubicBezTo>
                <a:cubicBezTo>
                  <a:pt x="792" y="268"/>
                  <a:pt x="793" y="267"/>
                  <a:pt x="793" y="268"/>
                </a:cubicBezTo>
                <a:cubicBezTo>
                  <a:pt x="793" y="268"/>
                  <a:pt x="792" y="268"/>
                  <a:pt x="792" y="269"/>
                </a:cubicBezTo>
                <a:cubicBezTo>
                  <a:pt x="793" y="269"/>
                  <a:pt x="794" y="269"/>
                  <a:pt x="794" y="268"/>
                </a:cubicBezTo>
                <a:cubicBezTo>
                  <a:pt x="795" y="267"/>
                  <a:pt x="795" y="267"/>
                  <a:pt x="796" y="267"/>
                </a:cubicBezTo>
                <a:cubicBezTo>
                  <a:pt x="796" y="268"/>
                  <a:pt x="796" y="268"/>
                  <a:pt x="796" y="269"/>
                </a:cubicBezTo>
                <a:cubicBezTo>
                  <a:pt x="797" y="269"/>
                  <a:pt x="799" y="269"/>
                  <a:pt x="799" y="267"/>
                </a:cubicBezTo>
                <a:cubicBezTo>
                  <a:pt x="800" y="268"/>
                  <a:pt x="800" y="268"/>
                  <a:pt x="801" y="269"/>
                </a:cubicBezTo>
                <a:cubicBezTo>
                  <a:pt x="801" y="269"/>
                  <a:pt x="801" y="269"/>
                  <a:pt x="802" y="269"/>
                </a:cubicBezTo>
                <a:cubicBezTo>
                  <a:pt x="802" y="269"/>
                  <a:pt x="802" y="268"/>
                  <a:pt x="802" y="268"/>
                </a:cubicBezTo>
                <a:cubicBezTo>
                  <a:pt x="802" y="267"/>
                  <a:pt x="804" y="267"/>
                  <a:pt x="804" y="267"/>
                </a:cubicBezTo>
                <a:cubicBezTo>
                  <a:pt x="804" y="268"/>
                  <a:pt x="804" y="270"/>
                  <a:pt x="803" y="270"/>
                </a:cubicBezTo>
                <a:cubicBezTo>
                  <a:pt x="802" y="270"/>
                  <a:pt x="799" y="271"/>
                  <a:pt x="799" y="270"/>
                </a:cubicBezTo>
                <a:cubicBezTo>
                  <a:pt x="799" y="270"/>
                  <a:pt x="798" y="270"/>
                  <a:pt x="797" y="270"/>
                </a:cubicBezTo>
                <a:cubicBezTo>
                  <a:pt x="798" y="270"/>
                  <a:pt x="797" y="270"/>
                  <a:pt x="796" y="270"/>
                </a:cubicBezTo>
                <a:cubicBezTo>
                  <a:pt x="796" y="270"/>
                  <a:pt x="796" y="270"/>
                  <a:pt x="795" y="271"/>
                </a:cubicBezTo>
                <a:cubicBezTo>
                  <a:pt x="795" y="271"/>
                  <a:pt x="794" y="271"/>
                  <a:pt x="794" y="272"/>
                </a:cubicBezTo>
                <a:cubicBezTo>
                  <a:pt x="794" y="273"/>
                  <a:pt x="793" y="275"/>
                  <a:pt x="792" y="275"/>
                </a:cubicBezTo>
                <a:cubicBezTo>
                  <a:pt x="791" y="275"/>
                  <a:pt x="792" y="276"/>
                  <a:pt x="791" y="276"/>
                </a:cubicBezTo>
                <a:cubicBezTo>
                  <a:pt x="791" y="277"/>
                  <a:pt x="790" y="277"/>
                  <a:pt x="789" y="278"/>
                </a:cubicBezTo>
                <a:cubicBezTo>
                  <a:pt x="788" y="278"/>
                  <a:pt x="788" y="278"/>
                  <a:pt x="788" y="278"/>
                </a:cubicBezTo>
                <a:cubicBezTo>
                  <a:pt x="788" y="279"/>
                  <a:pt x="788" y="279"/>
                  <a:pt x="789" y="279"/>
                </a:cubicBezTo>
                <a:cubicBezTo>
                  <a:pt x="790" y="279"/>
                  <a:pt x="791" y="279"/>
                  <a:pt x="791" y="280"/>
                </a:cubicBezTo>
                <a:cubicBezTo>
                  <a:pt x="792" y="279"/>
                  <a:pt x="792" y="279"/>
                  <a:pt x="792" y="278"/>
                </a:cubicBezTo>
                <a:cubicBezTo>
                  <a:pt x="793" y="278"/>
                  <a:pt x="793" y="276"/>
                  <a:pt x="794" y="277"/>
                </a:cubicBezTo>
                <a:cubicBezTo>
                  <a:pt x="794" y="277"/>
                  <a:pt x="794" y="277"/>
                  <a:pt x="794" y="276"/>
                </a:cubicBezTo>
                <a:cubicBezTo>
                  <a:pt x="795" y="276"/>
                  <a:pt x="796" y="276"/>
                  <a:pt x="797" y="276"/>
                </a:cubicBezTo>
                <a:cubicBezTo>
                  <a:pt x="797" y="276"/>
                  <a:pt x="798" y="276"/>
                  <a:pt x="798" y="276"/>
                </a:cubicBezTo>
                <a:cubicBezTo>
                  <a:pt x="798" y="276"/>
                  <a:pt x="798" y="277"/>
                  <a:pt x="799" y="277"/>
                </a:cubicBezTo>
                <a:cubicBezTo>
                  <a:pt x="799" y="277"/>
                  <a:pt x="800" y="276"/>
                  <a:pt x="800" y="276"/>
                </a:cubicBezTo>
                <a:cubicBezTo>
                  <a:pt x="801" y="275"/>
                  <a:pt x="801" y="275"/>
                  <a:pt x="802" y="274"/>
                </a:cubicBezTo>
                <a:cubicBezTo>
                  <a:pt x="803" y="274"/>
                  <a:pt x="803" y="274"/>
                  <a:pt x="804" y="274"/>
                </a:cubicBezTo>
                <a:cubicBezTo>
                  <a:pt x="804" y="275"/>
                  <a:pt x="806" y="275"/>
                  <a:pt x="807" y="275"/>
                </a:cubicBezTo>
                <a:cubicBezTo>
                  <a:pt x="807" y="274"/>
                  <a:pt x="807" y="274"/>
                  <a:pt x="808" y="274"/>
                </a:cubicBezTo>
                <a:cubicBezTo>
                  <a:pt x="808" y="274"/>
                  <a:pt x="809" y="274"/>
                  <a:pt x="809" y="273"/>
                </a:cubicBezTo>
                <a:cubicBezTo>
                  <a:pt x="810" y="273"/>
                  <a:pt x="813" y="274"/>
                  <a:pt x="813" y="273"/>
                </a:cubicBezTo>
                <a:cubicBezTo>
                  <a:pt x="813" y="273"/>
                  <a:pt x="816" y="273"/>
                  <a:pt x="816" y="273"/>
                </a:cubicBezTo>
                <a:cubicBezTo>
                  <a:pt x="817" y="273"/>
                  <a:pt x="818" y="274"/>
                  <a:pt x="819" y="274"/>
                </a:cubicBezTo>
                <a:cubicBezTo>
                  <a:pt x="819" y="274"/>
                  <a:pt x="819" y="273"/>
                  <a:pt x="819" y="273"/>
                </a:cubicBezTo>
                <a:cubicBezTo>
                  <a:pt x="819" y="273"/>
                  <a:pt x="820" y="273"/>
                  <a:pt x="820" y="273"/>
                </a:cubicBezTo>
                <a:cubicBezTo>
                  <a:pt x="821" y="273"/>
                  <a:pt x="821" y="273"/>
                  <a:pt x="821" y="272"/>
                </a:cubicBezTo>
                <a:cubicBezTo>
                  <a:pt x="822" y="272"/>
                  <a:pt x="822" y="272"/>
                  <a:pt x="823" y="272"/>
                </a:cubicBezTo>
                <a:cubicBezTo>
                  <a:pt x="823" y="271"/>
                  <a:pt x="823" y="271"/>
                  <a:pt x="823" y="270"/>
                </a:cubicBezTo>
                <a:cubicBezTo>
                  <a:pt x="822" y="270"/>
                  <a:pt x="821" y="270"/>
                  <a:pt x="819" y="270"/>
                </a:cubicBezTo>
                <a:cubicBezTo>
                  <a:pt x="820" y="270"/>
                  <a:pt x="820" y="270"/>
                  <a:pt x="820" y="269"/>
                </a:cubicBezTo>
                <a:cubicBezTo>
                  <a:pt x="819" y="269"/>
                  <a:pt x="819" y="269"/>
                  <a:pt x="819" y="268"/>
                </a:cubicBezTo>
                <a:cubicBezTo>
                  <a:pt x="819" y="268"/>
                  <a:pt x="820" y="268"/>
                  <a:pt x="821" y="268"/>
                </a:cubicBezTo>
                <a:cubicBezTo>
                  <a:pt x="821" y="267"/>
                  <a:pt x="822" y="267"/>
                  <a:pt x="823" y="267"/>
                </a:cubicBezTo>
                <a:cubicBezTo>
                  <a:pt x="823" y="267"/>
                  <a:pt x="823" y="266"/>
                  <a:pt x="823" y="266"/>
                </a:cubicBezTo>
                <a:cubicBezTo>
                  <a:pt x="825" y="266"/>
                  <a:pt x="825" y="266"/>
                  <a:pt x="825" y="265"/>
                </a:cubicBezTo>
                <a:cubicBezTo>
                  <a:pt x="825" y="264"/>
                  <a:pt x="826" y="262"/>
                  <a:pt x="825" y="261"/>
                </a:cubicBezTo>
                <a:cubicBezTo>
                  <a:pt x="825" y="260"/>
                  <a:pt x="825" y="260"/>
                  <a:pt x="824" y="260"/>
                </a:cubicBezTo>
                <a:cubicBezTo>
                  <a:pt x="823" y="259"/>
                  <a:pt x="823" y="259"/>
                  <a:pt x="822" y="259"/>
                </a:cubicBezTo>
                <a:cubicBezTo>
                  <a:pt x="821" y="259"/>
                  <a:pt x="819" y="260"/>
                  <a:pt x="820" y="260"/>
                </a:cubicBezTo>
                <a:cubicBezTo>
                  <a:pt x="820" y="260"/>
                  <a:pt x="821" y="261"/>
                  <a:pt x="820" y="261"/>
                </a:cubicBezTo>
                <a:cubicBezTo>
                  <a:pt x="819" y="261"/>
                  <a:pt x="819" y="261"/>
                  <a:pt x="819" y="260"/>
                </a:cubicBezTo>
                <a:cubicBezTo>
                  <a:pt x="818" y="259"/>
                  <a:pt x="819" y="259"/>
                  <a:pt x="819" y="258"/>
                </a:cubicBezTo>
                <a:cubicBezTo>
                  <a:pt x="819" y="257"/>
                  <a:pt x="819" y="256"/>
                  <a:pt x="818" y="256"/>
                </a:cubicBezTo>
                <a:cubicBezTo>
                  <a:pt x="817" y="256"/>
                  <a:pt x="816" y="253"/>
                  <a:pt x="816" y="253"/>
                </a:cubicBezTo>
                <a:cubicBezTo>
                  <a:pt x="816" y="253"/>
                  <a:pt x="817" y="253"/>
                  <a:pt x="817" y="253"/>
                </a:cubicBezTo>
                <a:cubicBezTo>
                  <a:pt x="817" y="254"/>
                  <a:pt x="818" y="254"/>
                  <a:pt x="819" y="254"/>
                </a:cubicBezTo>
                <a:cubicBezTo>
                  <a:pt x="819" y="254"/>
                  <a:pt x="819" y="254"/>
                  <a:pt x="819" y="253"/>
                </a:cubicBezTo>
                <a:cubicBezTo>
                  <a:pt x="818" y="253"/>
                  <a:pt x="817" y="252"/>
                  <a:pt x="817" y="252"/>
                </a:cubicBezTo>
                <a:cubicBezTo>
                  <a:pt x="816" y="251"/>
                  <a:pt x="815" y="251"/>
                  <a:pt x="815" y="251"/>
                </a:cubicBezTo>
                <a:cubicBezTo>
                  <a:pt x="815" y="250"/>
                  <a:pt x="814" y="250"/>
                  <a:pt x="814" y="250"/>
                </a:cubicBezTo>
                <a:cubicBezTo>
                  <a:pt x="814" y="250"/>
                  <a:pt x="814" y="250"/>
                  <a:pt x="814" y="250"/>
                </a:cubicBezTo>
                <a:cubicBezTo>
                  <a:pt x="814" y="249"/>
                  <a:pt x="814" y="249"/>
                  <a:pt x="814" y="249"/>
                </a:cubicBezTo>
                <a:cubicBezTo>
                  <a:pt x="814" y="249"/>
                  <a:pt x="814" y="249"/>
                  <a:pt x="814" y="249"/>
                </a:cubicBezTo>
                <a:cubicBezTo>
                  <a:pt x="813" y="248"/>
                  <a:pt x="813" y="248"/>
                  <a:pt x="813" y="248"/>
                </a:cubicBezTo>
                <a:cubicBezTo>
                  <a:pt x="813" y="247"/>
                  <a:pt x="812" y="248"/>
                  <a:pt x="812" y="248"/>
                </a:cubicBezTo>
                <a:cubicBezTo>
                  <a:pt x="811" y="247"/>
                  <a:pt x="811" y="247"/>
                  <a:pt x="811" y="246"/>
                </a:cubicBezTo>
                <a:cubicBezTo>
                  <a:pt x="810" y="245"/>
                  <a:pt x="810" y="245"/>
                  <a:pt x="810" y="244"/>
                </a:cubicBezTo>
                <a:cubicBezTo>
                  <a:pt x="810" y="243"/>
                  <a:pt x="810" y="243"/>
                  <a:pt x="809" y="243"/>
                </a:cubicBezTo>
                <a:cubicBezTo>
                  <a:pt x="808" y="242"/>
                  <a:pt x="809" y="241"/>
                  <a:pt x="808" y="241"/>
                </a:cubicBezTo>
                <a:cubicBezTo>
                  <a:pt x="808" y="241"/>
                  <a:pt x="808" y="241"/>
                  <a:pt x="808" y="240"/>
                </a:cubicBezTo>
                <a:cubicBezTo>
                  <a:pt x="807" y="240"/>
                  <a:pt x="807" y="240"/>
                  <a:pt x="807" y="240"/>
                </a:cubicBezTo>
                <a:cubicBezTo>
                  <a:pt x="806" y="240"/>
                  <a:pt x="806" y="239"/>
                  <a:pt x="806" y="239"/>
                </a:cubicBezTo>
                <a:cubicBezTo>
                  <a:pt x="805" y="237"/>
                  <a:pt x="804" y="238"/>
                  <a:pt x="803" y="238"/>
                </a:cubicBezTo>
                <a:cubicBezTo>
                  <a:pt x="803" y="238"/>
                  <a:pt x="802" y="237"/>
                  <a:pt x="803" y="237"/>
                </a:cubicBezTo>
                <a:cubicBezTo>
                  <a:pt x="803" y="237"/>
                  <a:pt x="803" y="236"/>
                  <a:pt x="804" y="236"/>
                </a:cubicBezTo>
                <a:cubicBezTo>
                  <a:pt x="804" y="236"/>
                  <a:pt x="804" y="236"/>
                  <a:pt x="805" y="236"/>
                </a:cubicBezTo>
                <a:cubicBezTo>
                  <a:pt x="805" y="236"/>
                  <a:pt x="805" y="236"/>
                  <a:pt x="805" y="235"/>
                </a:cubicBezTo>
                <a:cubicBezTo>
                  <a:pt x="804" y="234"/>
                  <a:pt x="804" y="234"/>
                  <a:pt x="803" y="234"/>
                </a:cubicBezTo>
                <a:cubicBezTo>
                  <a:pt x="803" y="233"/>
                  <a:pt x="804" y="233"/>
                  <a:pt x="804" y="233"/>
                </a:cubicBezTo>
                <a:cubicBezTo>
                  <a:pt x="805" y="232"/>
                  <a:pt x="804" y="232"/>
                  <a:pt x="805" y="232"/>
                </a:cubicBezTo>
                <a:cubicBezTo>
                  <a:pt x="806" y="231"/>
                  <a:pt x="807" y="231"/>
                  <a:pt x="807" y="230"/>
                </a:cubicBezTo>
                <a:cubicBezTo>
                  <a:pt x="807" y="228"/>
                  <a:pt x="807" y="228"/>
                  <a:pt x="807" y="227"/>
                </a:cubicBezTo>
                <a:cubicBezTo>
                  <a:pt x="807" y="226"/>
                  <a:pt x="808" y="226"/>
                  <a:pt x="808" y="225"/>
                </a:cubicBezTo>
                <a:cubicBezTo>
                  <a:pt x="807" y="225"/>
                  <a:pt x="806" y="225"/>
                  <a:pt x="806" y="224"/>
                </a:cubicBezTo>
                <a:cubicBezTo>
                  <a:pt x="805" y="225"/>
                  <a:pt x="805" y="225"/>
                  <a:pt x="804" y="224"/>
                </a:cubicBezTo>
                <a:cubicBezTo>
                  <a:pt x="804" y="225"/>
                  <a:pt x="804" y="224"/>
                  <a:pt x="804" y="225"/>
                </a:cubicBezTo>
                <a:cubicBezTo>
                  <a:pt x="803" y="225"/>
                  <a:pt x="803" y="224"/>
                  <a:pt x="803" y="224"/>
                </a:cubicBezTo>
                <a:cubicBezTo>
                  <a:pt x="802" y="224"/>
                  <a:pt x="801" y="225"/>
                  <a:pt x="801" y="225"/>
                </a:cubicBezTo>
                <a:cubicBezTo>
                  <a:pt x="800" y="225"/>
                  <a:pt x="798" y="226"/>
                  <a:pt x="797" y="226"/>
                </a:cubicBezTo>
                <a:cubicBezTo>
                  <a:pt x="797" y="226"/>
                  <a:pt x="797" y="225"/>
                  <a:pt x="797" y="225"/>
                </a:cubicBezTo>
                <a:cubicBezTo>
                  <a:pt x="797" y="225"/>
                  <a:pt x="797" y="224"/>
                  <a:pt x="797" y="223"/>
                </a:cubicBezTo>
                <a:cubicBezTo>
                  <a:pt x="798" y="223"/>
                  <a:pt x="798" y="223"/>
                  <a:pt x="799" y="222"/>
                </a:cubicBezTo>
                <a:cubicBezTo>
                  <a:pt x="799" y="222"/>
                  <a:pt x="799" y="222"/>
                  <a:pt x="800" y="222"/>
                </a:cubicBezTo>
                <a:cubicBezTo>
                  <a:pt x="800" y="221"/>
                  <a:pt x="800" y="221"/>
                  <a:pt x="801" y="220"/>
                </a:cubicBezTo>
                <a:cubicBezTo>
                  <a:pt x="801" y="220"/>
                  <a:pt x="802" y="219"/>
                  <a:pt x="802" y="219"/>
                </a:cubicBezTo>
                <a:cubicBezTo>
                  <a:pt x="802" y="217"/>
                  <a:pt x="801" y="216"/>
                  <a:pt x="800" y="217"/>
                </a:cubicBezTo>
                <a:cubicBezTo>
                  <a:pt x="799" y="217"/>
                  <a:pt x="799" y="216"/>
                  <a:pt x="798" y="216"/>
                </a:cubicBezTo>
                <a:cubicBezTo>
                  <a:pt x="797" y="217"/>
                  <a:pt x="797" y="218"/>
                  <a:pt x="796" y="217"/>
                </a:cubicBezTo>
                <a:cubicBezTo>
                  <a:pt x="796" y="218"/>
                  <a:pt x="796" y="218"/>
                  <a:pt x="795" y="219"/>
                </a:cubicBezTo>
                <a:cubicBezTo>
                  <a:pt x="795" y="218"/>
                  <a:pt x="795" y="218"/>
                  <a:pt x="796" y="217"/>
                </a:cubicBezTo>
                <a:cubicBezTo>
                  <a:pt x="795" y="217"/>
                  <a:pt x="794" y="217"/>
                  <a:pt x="794" y="217"/>
                </a:cubicBezTo>
                <a:cubicBezTo>
                  <a:pt x="794" y="218"/>
                  <a:pt x="794" y="219"/>
                  <a:pt x="793" y="220"/>
                </a:cubicBezTo>
                <a:cubicBezTo>
                  <a:pt x="793" y="221"/>
                  <a:pt x="793" y="221"/>
                  <a:pt x="793" y="221"/>
                </a:cubicBezTo>
                <a:cubicBezTo>
                  <a:pt x="792" y="221"/>
                  <a:pt x="792" y="221"/>
                  <a:pt x="792" y="221"/>
                </a:cubicBezTo>
                <a:cubicBezTo>
                  <a:pt x="792" y="222"/>
                  <a:pt x="792" y="223"/>
                  <a:pt x="793" y="223"/>
                </a:cubicBezTo>
                <a:cubicBezTo>
                  <a:pt x="792" y="224"/>
                  <a:pt x="793" y="224"/>
                  <a:pt x="792" y="224"/>
                </a:cubicBezTo>
                <a:cubicBezTo>
                  <a:pt x="790" y="224"/>
                  <a:pt x="790" y="223"/>
                  <a:pt x="790" y="225"/>
                </a:cubicBezTo>
                <a:cubicBezTo>
                  <a:pt x="790" y="225"/>
                  <a:pt x="790" y="225"/>
                  <a:pt x="791" y="226"/>
                </a:cubicBezTo>
                <a:cubicBezTo>
                  <a:pt x="790" y="226"/>
                  <a:pt x="789" y="226"/>
                  <a:pt x="789" y="227"/>
                </a:cubicBezTo>
                <a:cubicBezTo>
                  <a:pt x="790" y="227"/>
                  <a:pt x="790" y="227"/>
                  <a:pt x="790" y="228"/>
                </a:cubicBezTo>
                <a:close/>
                <a:moveTo>
                  <a:pt x="92" y="217"/>
                </a:moveTo>
                <a:cubicBezTo>
                  <a:pt x="91" y="217"/>
                  <a:pt x="92" y="216"/>
                  <a:pt x="91" y="216"/>
                </a:cubicBezTo>
                <a:cubicBezTo>
                  <a:pt x="90" y="216"/>
                  <a:pt x="90" y="215"/>
                  <a:pt x="90" y="216"/>
                </a:cubicBezTo>
                <a:cubicBezTo>
                  <a:pt x="89" y="217"/>
                  <a:pt x="89" y="218"/>
                  <a:pt x="88" y="218"/>
                </a:cubicBezTo>
                <a:cubicBezTo>
                  <a:pt x="89" y="219"/>
                  <a:pt x="89" y="219"/>
                  <a:pt x="90" y="219"/>
                </a:cubicBezTo>
                <a:cubicBezTo>
                  <a:pt x="90" y="218"/>
                  <a:pt x="90" y="218"/>
                  <a:pt x="90" y="218"/>
                </a:cubicBezTo>
                <a:cubicBezTo>
                  <a:pt x="91" y="218"/>
                  <a:pt x="90" y="218"/>
                  <a:pt x="90" y="218"/>
                </a:cubicBezTo>
                <a:cubicBezTo>
                  <a:pt x="91" y="217"/>
                  <a:pt x="92" y="218"/>
                  <a:pt x="92" y="218"/>
                </a:cubicBezTo>
                <a:cubicBezTo>
                  <a:pt x="92" y="218"/>
                  <a:pt x="93" y="218"/>
                  <a:pt x="93" y="218"/>
                </a:cubicBezTo>
                <a:cubicBezTo>
                  <a:pt x="93" y="218"/>
                  <a:pt x="93" y="218"/>
                  <a:pt x="93" y="218"/>
                </a:cubicBezTo>
                <a:cubicBezTo>
                  <a:pt x="92" y="218"/>
                  <a:pt x="92" y="217"/>
                  <a:pt x="92" y="217"/>
                </a:cubicBezTo>
                <a:close/>
                <a:moveTo>
                  <a:pt x="1596" y="214"/>
                </a:moveTo>
                <a:cubicBezTo>
                  <a:pt x="1596" y="214"/>
                  <a:pt x="1594" y="215"/>
                  <a:pt x="1594" y="215"/>
                </a:cubicBezTo>
                <a:cubicBezTo>
                  <a:pt x="1594" y="215"/>
                  <a:pt x="1593" y="216"/>
                  <a:pt x="1593" y="216"/>
                </a:cubicBezTo>
                <a:cubicBezTo>
                  <a:pt x="1592" y="217"/>
                  <a:pt x="1592" y="218"/>
                  <a:pt x="1592" y="219"/>
                </a:cubicBezTo>
                <a:cubicBezTo>
                  <a:pt x="1592" y="219"/>
                  <a:pt x="1591" y="221"/>
                  <a:pt x="1592" y="221"/>
                </a:cubicBezTo>
                <a:cubicBezTo>
                  <a:pt x="1593" y="221"/>
                  <a:pt x="1592" y="221"/>
                  <a:pt x="1593" y="220"/>
                </a:cubicBezTo>
                <a:cubicBezTo>
                  <a:pt x="1594" y="220"/>
                  <a:pt x="1593" y="220"/>
                  <a:pt x="1594" y="219"/>
                </a:cubicBezTo>
                <a:cubicBezTo>
                  <a:pt x="1594" y="219"/>
                  <a:pt x="1594" y="219"/>
                  <a:pt x="1594" y="218"/>
                </a:cubicBezTo>
                <a:cubicBezTo>
                  <a:pt x="1595" y="218"/>
                  <a:pt x="1595" y="218"/>
                  <a:pt x="1596" y="217"/>
                </a:cubicBezTo>
                <a:cubicBezTo>
                  <a:pt x="1597" y="216"/>
                  <a:pt x="1596" y="215"/>
                  <a:pt x="1596" y="214"/>
                </a:cubicBezTo>
                <a:cubicBezTo>
                  <a:pt x="1595" y="214"/>
                  <a:pt x="1596" y="214"/>
                  <a:pt x="1596" y="214"/>
                </a:cubicBezTo>
                <a:close/>
                <a:moveTo>
                  <a:pt x="925" y="213"/>
                </a:moveTo>
                <a:cubicBezTo>
                  <a:pt x="925" y="214"/>
                  <a:pt x="924" y="215"/>
                  <a:pt x="924" y="214"/>
                </a:cubicBezTo>
                <a:cubicBezTo>
                  <a:pt x="923" y="214"/>
                  <a:pt x="923" y="215"/>
                  <a:pt x="923" y="215"/>
                </a:cubicBezTo>
                <a:cubicBezTo>
                  <a:pt x="924" y="215"/>
                  <a:pt x="924" y="216"/>
                  <a:pt x="924" y="217"/>
                </a:cubicBezTo>
                <a:cubicBezTo>
                  <a:pt x="925" y="217"/>
                  <a:pt x="925" y="215"/>
                  <a:pt x="926" y="215"/>
                </a:cubicBezTo>
                <a:cubicBezTo>
                  <a:pt x="926" y="215"/>
                  <a:pt x="926" y="214"/>
                  <a:pt x="926" y="214"/>
                </a:cubicBezTo>
                <a:cubicBezTo>
                  <a:pt x="925" y="213"/>
                  <a:pt x="925" y="213"/>
                  <a:pt x="925" y="213"/>
                </a:cubicBezTo>
                <a:cubicBezTo>
                  <a:pt x="925" y="214"/>
                  <a:pt x="925" y="213"/>
                  <a:pt x="925" y="213"/>
                </a:cubicBezTo>
                <a:close/>
                <a:moveTo>
                  <a:pt x="842" y="211"/>
                </a:moveTo>
                <a:cubicBezTo>
                  <a:pt x="842" y="211"/>
                  <a:pt x="842" y="211"/>
                  <a:pt x="842" y="211"/>
                </a:cubicBezTo>
                <a:cubicBezTo>
                  <a:pt x="842" y="211"/>
                  <a:pt x="842" y="211"/>
                  <a:pt x="842" y="210"/>
                </a:cubicBezTo>
                <a:cubicBezTo>
                  <a:pt x="842" y="211"/>
                  <a:pt x="842" y="211"/>
                  <a:pt x="842" y="211"/>
                </a:cubicBezTo>
                <a:close/>
                <a:moveTo>
                  <a:pt x="488" y="211"/>
                </a:moveTo>
                <a:cubicBezTo>
                  <a:pt x="488" y="211"/>
                  <a:pt x="489" y="211"/>
                  <a:pt x="489" y="211"/>
                </a:cubicBezTo>
                <a:cubicBezTo>
                  <a:pt x="489" y="210"/>
                  <a:pt x="489" y="210"/>
                  <a:pt x="488" y="210"/>
                </a:cubicBezTo>
                <a:cubicBezTo>
                  <a:pt x="488" y="210"/>
                  <a:pt x="488" y="211"/>
                  <a:pt x="488" y="211"/>
                </a:cubicBezTo>
                <a:close/>
                <a:moveTo>
                  <a:pt x="843" y="209"/>
                </a:moveTo>
                <a:cubicBezTo>
                  <a:pt x="842" y="209"/>
                  <a:pt x="842" y="209"/>
                  <a:pt x="842" y="210"/>
                </a:cubicBezTo>
                <a:cubicBezTo>
                  <a:pt x="843" y="210"/>
                  <a:pt x="843" y="209"/>
                  <a:pt x="843" y="209"/>
                </a:cubicBezTo>
                <a:close/>
                <a:moveTo>
                  <a:pt x="845" y="209"/>
                </a:moveTo>
                <a:cubicBezTo>
                  <a:pt x="845" y="208"/>
                  <a:pt x="845" y="209"/>
                  <a:pt x="844" y="208"/>
                </a:cubicBezTo>
                <a:cubicBezTo>
                  <a:pt x="844" y="209"/>
                  <a:pt x="844" y="209"/>
                  <a:pt x="845" y="209"/>
                </a:cubicBezTo>
                <a:close/>
                <a:moveTo>
                  <a:pt x="842" y="208"/>
                </a:moveTo>
                <a:cubicBezTo>
                  <a:pt x="843" y="208"/>
                  <a:pt x="842" y="208"/>
                  <a:pt x="842" y="208"/>
                </a:cubicBezTo>
                <a:cubicBezTo>
                  <a:pt x="842" y="208"/>
                  <a:pt x="842" y="208"/>
                  <a:pt x="842" y="208"/>
                </a:cubicBezTo>
                <a:close/>
                <a:moveTo>
                  <a:pt x="611" y="208"/>
                </a:moveTo>
                <a:cubicBezTo>
                  <a:pt x="612" y="208"/>
                  <a:pt x="609" y="207"/>
                  <a:pt x="609" y="208"/>
                </a:cubicBezTo>
                <a:cubicBezTo>
                  <a:pt x="608" y="209"/>
                  <a:pt x="611" y="209"/>
                  <a:pt x="611" y="208"/>
                </a:cubicBezTo>
                <a:close/>
                <a:moveTo>
                  <a:pt x="1736" y="207"/>
                </a:moveTo>
                <a:cubicBezTo>
                  <a:pt x="1735" y="207"/>
                  <a:pt x="1735" y="207"/>
                  <a:pt x="1735" y="207"/>
                </a:cubicBezTo>
                <a:cubicBezTo>
                  <a:pt x="1734" y="207"/>
                  <a:pt x="1734" y="207"/>
                  <a:pt x="1734" y="208"/>
                </a:cubicBezTo>
                <a:cubicBezTo>
                  <a:pt x="1734" y="208"/>
                  <a:pt x="1733" y="208"/>
                  <a:pt x="1733" y="208"/>
                </a:cubicBezTo>
                <a:cubicBezTo>
                  <a:pt x="1732" y="208"/>
                  <a:pt x="1731" y="208"/>
                  <a:pt x="1730" y="208"/>
                </a:cubicBezTo>
                <a:cubicBezTo>
                  <a:pt x="1730" y="209"/>
                  <a:pt x="1731" y="210"/>
                  <a:pt x="1732" y="210"/>
                </a:cubicBezTo>
                <a:cubicBezTo>
                  <a:pt x="1732" y="210"/>
                  <a:pt x="1734" y="211"/>
                  <a:pt x="1735" y="211"/>
                </a:cubicBezTo>
                <a:cubicBezTo>
                  <a:pt x="1735" y="211"/>
                  <a:pt x="1736" y="210"/>
                  <a:pt x="1736" y="210"/>
                </a:cubicBezTo>
                <a:cubicBezTo>
                  <a:pt x="1737" y="210"/>
                  <a:pt x="1738" y="210"/>
                  <a:pt x="1738" y="209"/>
                </a:cubicBezTo>
                <a:cubicBezTo>
                  <a:pt x="1738" y="208"/>
                  <a:pt x="1738" y="207"/>
                  <a:pt x="1737" y="207"/>
                </a:cubicBezTo>
                <a:cubicBezTo>
                  <a:pt x="1737" y="207"/>
                  <a:pt x="1736" y="207"/>
                  <a:pt x="1736" y="207"/>
                </a:cubicBezTo>
                <a:cubicBezTo>
                  <a:pt x="1735" y="207"/>
                  <a:pt x="1736" y="207"/>
                  <a:pt x="1736" y="207"/>
                </a:cubicBezTo>
                <a:close/>
                <a:moveTo>
                  <a:pt x="1709" y="206"/>
                </a:moveTo>
                <a:cubicBezTo>
                  <a:pt x="1708" y="206"/>
                  <a:pt x="1706" y="205"/>
                  <a:pt x="1705" y="205"/>
                </a:cubicBezTo>
                <a:cubicBezTo>
                  <a:pt x="1705" y="205"/>
                  <a:pt x="1705" y="206"/>
                  <a:pt x="1705" y="206"/>
                </a:cubicBezTo>
                <a:cubicBezTo>
                  <a:pt x="1704" y="207"/>
                  <a:pt x="1704" y="207"/>
                  <a:pt x="1704" y="208"/>
                </a:cubicBezTo>
                <a:cubicBezTo>
                  <a:pt x="1704" y="208"/>
                  <a:pt x="1704" y="208"/>
                  <a:pt x="1705" y="209"/>
                </a:cubicBezTo>
                <a:cubicBezTo>
                  <a:pt x="1705" y="209"/>
                  <a:pt x="1705" y="209"/>
                  <a:pt x="1705" y="210"/>
                </a:cubicBezTo>
                <a:cubicBezTo>
                  <a:pt x="1706" y="210"/>
                  <a:pt x="1706" y="210"/>
                  <a:pt x="1707" y="210"/>
                </a:cubicBezTo>
                <a:cubicBezTo>
                  <a:pt x="1708" y="209"/>
                  <a:pt x="1710" y="208"/>
                  <a:pt x="1710" y="208"/>
                </a:cubicBezTo>
                <a:cubicBezTo>
                  <a:pt x="1710" y="206"/>
                  <a:pt x="1710" y="207"/>
                  <a:pt x="1709" y="206"/>
                </a:cubicBezTo>
                <a:cubicBezTo>
                  <a:pt x="1707" y="206"/>
                  <a:pt x="1709" y="206"/>
                  <a:pt x="1709" y="206"/>
                </a:cubicBezTo>
                <a:close/>
                <a:moveTo>
                  <a:pt x="909" y="207"/>
                </a:moveTo>
                <a:cubicBezTo>
                  <a:pt x="910" y="207"/>
                  <a:pt x="912" y="207"/>
                  <a:pt x="912" y="208"/>
                </a:cubicBezTo>
                <a:cubicBezTo>
                  <a:pt x="913" y="207"/>
                  <a:pt x="914" y="206"/>
                  <a:pt x="912" y="205"/>
                </a:cubicBezTo>
                <a:cubicBezTo>
                  <a:pt x="912" y="205"/>
                  <a:pt x="912" y="205"/>
                  <a:pt x="912" y="205"/>
                </a:cubicBezTo>
                <a:cubicBezTo>
                  <a:pt x="912" y="205"/>
                  <a:pt x="912" y="205"/>
                  <a:pt x="911" y="205"/>
                </a:cubicBezTo>
                <a:cubicBezTo>
                  <a:pt x="911" y="205"/>
                  <a:pt x="911" y="204"/>
                  <a:pt x="910" y="204"/>
                </a:cubicBezTo>
                <a:cubicBezTo>
                  <a:pt x="910" y="205"/>
                  <a:pt x="911" y="206"/>
                  <a:pt x="911" y="206"/>
                </a:cubicBezTo>
                <a:cubicBezTo>
                  <a:pt x="910" y="206"/>
                  <a:pt x="910" y="206"/>
                  <a:pt x="909" y="207"/>
                </a:cubicBezTo>
                <a:cubicBezTo>
                  <a:pt x="911" y="207"/>
                  <a:pt x="909" y="207"/>
                  <a:pt x="909" y="207"/>
                </a:cubicBezTo>
                <a:close/>
                <a:moveTo>
                  <a:pt x="906" y="204"/>
                </a:moveTo>
                <a:cubicBezTo>
                  <a:pt x="907" y="204"/>
                  <a:pt x="906" y="203"/>
                  <a:pt x="906" y="204"/>
                </a:cubicBezTo>
                <a:cubicBezTo>
                  <a:pt x="906" y="204"/>
                  <a:pt x="906" y="204"/>
                  <a:pt x="906" y="204"/>
                </a:cubicBezTo>
                <a:close/>
                <a:moveTo>
                  <a:pt x="811" y="206"/>
                </a:moveTo>
                <a:cubicBezTo>
                  <a:pt x="812" y="206"/>
                  <a:pt x="811" y="207"/>
                  <a:pt x="811" y="208"/>
                </a:cubicBezTo>
                <a:cubicBezTo>
                  <a:pt x="813" y="207"/>
                  <a:pt x="812" y="207"/>
                  <a:pt x="812" y="206"/>
                </a:cubicBezTo>
                <a:cubicBezTo>
                  <a:pt x="812" y="206"/>
                  <a:pt x="812" y="206"/>
                  <a:pt x="812" y="206"/>
                </a:cubicBezTo>
                <a:cubicBezTo>
                  <a:pt x="813" y="205"/>
                  <a:pt x="812" y="205"/>
                  <a:pt x="812" y="205"/>
                </a:cubicBezTo>
                <a:cubicBezTo>
                  <a:pt x="812" y="204"/>
                  <a:pt x="812" y="204"/>
                  <a:pt x="812" y="203"/>
                </a:cubicBezTo>
                <a:cubicBezTo>
                  <a:pt x="812" y="203"/>
                  <a:pt x="811" y="204"/>
                  <a:pt x="811" y="205"/>
                </a:cubicBezTo>
                <a:cubicBezTo>
                  <a:pt x="811" y="205"/>
                  <a:pt x="811" y="205"/>
                  <a:pt x="810" y="206"/>
                </a:cubicBezTo>
                <a:cubicBezTo>
                  <a:pt x="810" y="206"/>
                  <a:pt x="810" y="206"/>
                  <a:pt x="810" y="207"/>
                </a:cubicBezTo>
                <a:cubicBezTo>
                  <a:pt x="811" y="207"/>
                  <a:pt x="811" y="207"/>
                  <a:pt x="811" y="206"/>
                </a:cubicBezTo>
                <a:close/>
                <a:moveTo>
                  <a:pt x="117" y="202"/>
                </a:moveTo>
                <a:cubicBezTo>
                  <a:pt x="117" y="203"/>
                  <a:pt x="117" y="204"/>
                  <a:pt x="116" y="204"/>
                </a:cubicBezTo>
                <a:cubicBezTo>
                  <a:pt x="116" y="205"/>
                  <a:pt x="115" y="205"/>
                  <a:pt x="116" y="206"/>
                </a:cubicBezTo>
                <a:cubicBezTo>
                  <a:pt x="116" y="205"/>
                  <a:pt x="117" y="204"/>
                  <a:pt x="118" y="204"/>
                </a:cubicBezTo>
                <a:cubicBezTo>
                  <a:pt x="118" y="203"/>
                  <a:pt x="118" y="202"/>
                  <a:pt x="117" y="202"/>
                </a:cubicBezTo>
                <a:cubicBezTo>
                  <a:pt x="117" y="204"/>
                  <a:pt x="117" y="202"/>
                  <a:pt x="117" y="202"/>
                </a:cubicBezTo>
                <a:close/>
                <a:moveTo>
                  <a:pt x="26" y="202"/>
                </a:moveTo>
                <a:cubicBezTo>
                  <a:pt x="26" y="203"/>
                  <a:pt x="25" y="202"/>
                  <a:pt x="25" y="203"/>
                </a:cubicBezTo>
                <a:cubicBezTo>
                  <a:pt x="24" y="203"/>
                  <a:pt x="24" y="203"/>
                  <a:pt x="24" y="204"/>
                </a:cubicBezTo>
                <a:cubicBezTo>
                  <a:pt x="24" y="204"/>
                  <a:pt x="23" y="203"/>
                  <a:pt x="23" y="203"/>
                </a:cubicBezTo>
                <a:cubicBezTo>
                  <a:pt x="22" y="203"/>
                  <a:pt x="21" y="203"/>
                  <a:pt x="21" y="204"/>
                </a:cubicBezTo>
                <a:cubicBezTo>
                  <a:pt x="21" y="205"/>
                  <a:pt x="25" y="207"/>
                  <a:pt x="26" y="206"/>
                </a:cubicBezTo>
                <a:cubicBezTo>
                  <a:pt x="27" y="206"/>
                  <a:pt x="27" y="206"/>
                  <a:pt x="27" y="206"/>
                </a:cubicBezTo>
                <a:cubicBezTo>
                  <a:pt x="28" y="206"/>
                  <a:pt x="28" y="205"/>
                  <a:pt x="28" y="205"/>
                </a:cubicBezTo>
                <a:cubicBezTo>
                  <a:pt x="29" y="205"/>
                  <a:pt x="29" y="205"/>
                  <a:pt x="29" y="205"/>
                </a:cubicBezTo>
                <a:cubicBezTo>
                  <a:pt x="29" y="204"/>
                  <a:pt x="29" y="202"/>
                  <a:pt x="29" y="202"/>
                </a:cubicBezTo>
                <a:cubicBezTo>
                  <a:pt x="28" y="202"/>
                  <a:pt x="27" y="202"/>
                  <a:pt x="26" y="202"/>
                </a:cubicBezTo>
                <a:cubicBezTo>
                  <a:pt x="26" y="202"/>
                  <a:pt x="26" y="202"/>
                  <a:pt x="26" y="202"/>
                </a:cubicBezTo>
                <a:close/>
                <a:moveTo>
                  <a:pt x="120" y="202"/>
                </a:moveTo>
                <a:cubicBezTo>
                  <a:pt x="121" y="202"/>
                  <a:pt x="121" y="202"/>
                  <a:pt x="120" y="201"/>
                </a:cubicBezTo>
                <a:cubicBezTo>
                  <a:pt x="120" y="202"/>
                  <a:pt x="120" y="202"/>
                  <a:pt x="120" y="202"/>
                </a:cubicBezTo>
                <a:close/>
                <a:moveTo>
                  <a:pt x="493" y="202"/>
                </a:moveTo>
                <a:cubicBezTo>
                  <a:pt x="494" y="202"/>
                  <a:pt x="494" y="202"/>
                  <a:pt x="494" y="202"/>
                </a:cubicBezTo>
                <a:cubicBezTo>
                  <a:pt x="495" y="202"/>
                  <a:pt x="495" y="201"/>
                  <a:pt x="495" y="201"/>
                </a:cubicBezTo>
                <a:cubicBezTo>
                  <a:pt x="494" y="201"/>
                  <a:pt x="493" y="201"/>
                  <a:pt x="493" y="201"/>
                </a:cubicBezTo>
                <a:cubicBezTo>
                  <a:pt x="493" y="201"/>
                  <a:pt x="493" y="202"/>
                  <a:pt x="493" y="202"/>
                </a:cubicBezTo>
                <a:close/>
                <a:moveTo>
                  <a:pt x="815" y="201"/>
                </a:moveTo>
                <a:cubicBezTo>
                  <a:pt x="815" y="201"/>
                  <a:pt x="815" y="202"/>
                  <a:pt x="815" y="201"/>
                </a:cubicBezTo>
                <a:cubicBezTo>
                  <a:pt x="815" y="201"/>
                  <a:pt x="815" y="201"/>
                  <a:pt x="815" y="201"/>
                </a:cubicBezTo>
                <a:close/>
                <a:moveTo>
                  <a:pt x="115" y="201"/>
                </a:moveTo>
                <a:cubicBezTo>
                  <a:pt x="115" y="201"/>
                  <a:pt x="115" y="201"/>
                  <a:pt x="115" y="201"/>
                </a:cubicBezTo>
                <a:cubicBezTo>
                  <a:pt x="116" y="201"/>
                  <a:pt x="116" y="201"/>
                  <a:pt x="116" y="201"/>
                </a:cubicBezTo>
                <a:cubicBezTo>
                  <a:pt x="116" y="201"/>
                  <a:pt x="116" y="201"/>
                  <a:pt x="115" y="201"/>
                </a:cubicBezTo>
                <a:close/>
                <a:moveTo>
                  <a:pt x="32" y="200"/>
                </a:moveTo>
                <a:cubicBezTo>
                  <a:pt x="34" y="201"/>
                  <a:pt x="34" y="201"/>
                  <a:pt x="35" y="200"/>
                </a:cubicBezTo>
                <a:cubicBezTo>
                  <a:pt x="36" y="200"/>
                  <a:pt x="35" y="199"/>
                  <a:pt x="35" y="198"/>
                </a:cubicBezTo>
                <a:cubicBezTo>
                  <a:pt x="34" y="198"/>
                  <a:pt x="34" y="198"/>
                  <a:pt x="33" y="198"/>
                </a:cubicBezTo>
                <a:cubicBezTo>
                  <a:pt x="32" y="197"/>
                  <a:pt x="32" y="198"/>
                  <a:pt x="31" y="199"/>
                </a:cubicBezTo>
                <a:cubicBezTo>
                  <a:pt x="32" y="199"/>
                  <a:pt x="32" y="200"/>
                  <a:pt x="32" y="200"/>
                </a:cubicBezTo>
                <a:cubicBezTo>
                  <a:pt x="33" y="201"/>
                  <a:pt x="32" y="200"/>
                  <a:pt x="32" y="200"/>
                </a:cubicBezTo>
                <a:close/>
                <a:moveTo>
                  <a:pt x="507" y="195"/>
                </a:moveTo>
                <a:cubicBezTo>
                  <a:pt x="508" y="195"/>
                  <a:pt x="509" y="195"/>
                  <a:pt x="509" y="194"/>
                </a:cubicBezTo>
                <a:cubicBezTo>
                  <a:pt x="508" y="194"/>
                  <a:pt x="507" y="194"/>
                  <a:pt x="507" y="194"/>
                </a:cubicBezTo>
                <a:cubicBezTo>
                  <a:pt x="507" y="194"/>
                  <a:pt x="507" y="195"/>
                  <a:pt x="507" y="195"/>
                </a:cubicBezTo>
                <a:cubicBezTo>
                  <a:pt x="509" y="195"/>
                  <a:pt x="507" y="195"/>
                  <a:pt x="507" y="195"/>
                </a:cubicBezTo>
                <a:close/>
                <a:moveTo>
                  <a:pt x="984" y="194"/>
                </a:moveTo>
                <a:cubicBezTo>
                  <a:pt x="984" y="195"/>
                  <a:pt x="985" y="193"/>
                  <a:pt x="984" y="193"/>
                </a:cubicBezTo>
                <a:cubicBezTo>
                  <a:pt x="984" y="194"/>
                  <a:pt x="984" y="194"/>
                  <a:pt x="984" y="194"/>
                </a:cubicBezTo>
                <a:close/>
                <a:moveTo>
                  <a:pt x="481" y="192"/>
                </a:moveTo>
                <a:cubicBezTo>
                  <a:pt x="481" y="192"/>
                  <a:pt x="482" y="192"/>
                  <a:pt x="482" y="192"/>
                </a:cubicBezTo>
                <a:cubicBezTo>
                  <a:pt x="484" y="191"/>
                  <a:pt x="481" y="190"/>
                  <a:pt x="480" y="190"/>
                </a:cubicBezTo>
                <a:cubicBezTo>
                  <a:pt x="480" y="191"/>
                  <a:pt x="481" y="191"/>
                  <a:pt x="481" y="192"/>
                </a:cubicBezTo>
                <a:close/>
                <a:moveTo>
                  <a:pt x="440" y="191"/>
                </a:moveTo>
                <a:cubicBezTo>
                  <a:pt x="440" y="191"/>
                  <a:pt x="440" y="191"/>
                  <a:pt x="440" y="191"/>
                </a:cubicBezTo>
                <a:cubicBezTo>
                  <a:pt x="439" y="191"/>
                  <a:pt x="440" y="189"/>
                  <a:pt x="440" y="188"/>
                </a:cubicBezTo>
                <a:cubicBezTo>
                  <a:pt x="439" y="189"/>
                  <a:pt x="437" y="191"/>
                  <a:pt x="437" y="192"/>
                </a:cubicBezTo>
                <a:cubicBezTo>
                  <a:pt x="437" y="193"/>
                  <a:pt x="438" y="192"/>
                  <a:pt x="438" y="193"/>
                </a:cubicBezTo>
                <a:cubicBezTo>
                  <a:pt x="439" y="194"/>
                  <a:pt x="440" y="192"/>
                  <a:pt x="440" y="191"/>
                </a:cubicBezTo>
                <a:close/>
                <a:moveTo>
                  <a:pt x="466" y="186"/>
                </a:moveTo>
                <a:cubicBezTo>
                  <a:pt x="465" y="186"/>
                  <a:pt x="466" y="186"/>
                  <a:pt x="465" y="186"/>
                </a:cubicBezTo>
                <a:cubicBezTo>
                  <a:pt x="465" y="186"/>
                  <a:pt x="466" y="186"/>
                  <a:pt x="466" y="186"/>
                </a:cubicBezTo>
                <a:cubicBezTo>
                  <a:pt x="466" y="185"/>
                  <a:pt x="466" y="186"/>
                  <a:pt x="466" y="185"/>
                </a:cubicBezTo>
                <a:cubicBezTo>
                  <a:pt x="466" y="185"/>
                  <a:pt x="466" y="185"/>
                  <a:pt x="466" y="186"/>
                </a:cubicBezTo>
                <a:cubicBezTo>
                  <a:pt x="465" y="186"/>
                  <a:pt x="466" y="186"/>
                  <a:pt x="466" y="186"/>
                </a:cubicBezTo>
                <a:close/>
                <a:moveTo>
                  <a:pt x="447" y="185"/>
                </a:moveTo>
                <a:cubicBezTo>
                  <a:pt x="447" y="185"/>
                  <a:pt x="447" y="185"/>
                  <a:pt x="447" y="185"/>
                </a:cubicBezTo>
                <a:cubicBezTo>
                  <a:pt x="448" y="186"/>
                  <a:pt x="448" y="186"/>
                  <a:pt x="449" y="186"/>
                </a:cubicBezTo>
                <a:cubicBezTo>
                  <a:pt x="449" y="185"/>
                  <a:pt x="448" y="184"/>
                  <a:pt x="447" y="185"/>
                </a:cubicBezTo>
                <a:cubicBezTo>
                  <a:pt x="447" y="185"/>
                  <a:pt x="447" y="185"/>
                  <a:pt x="447" y="185"/>
                </a:cubicBezTo>
                <a:close/>
                <a:moveTo>
                  <a:pt x="452" y="184"/>
                </a:moveTo>
                <a:cubicBezTo>
                  <a:pt x="452" y="185"/>
                  <a:pt x="452" y="185"/>
                  <a:pt x="452" y="186"/>
                </a:cubicBezTo>
                <a:cubicBezTo>
                  <a:pt x="452" y="186"/>
                  <a:pt x="453" y="186"/>
                  <a:pt x="453" y="186"/>
                </a:cubicBezTo>
                <a:cubicBezTo>
                  <a:pt x="453" y="186"/>
                  <a:pt x="453" y="186"/>
                  <a:pt x="453" y="185"/>
                </a:cubicBezTo>
                <a:cubicBezTo>
                  <a:pt x="453" y="184"/>
                  <a:pt x="453" y="184"/>
                  <a:pt x="452" y="184"/>
                </a:cubicBezTo>
                <a:cubicBezTo>
                  <a:pt x="452" y="185"/>
                  <a:pt x="452" y="184"/>
                  <a:pt x="452" y="184"/>
                </a:cubicBezTo>
                <a:close/>
                <a:moveTo>
                  <a:pt x="855" y="185"/>
                </a:moveTo>
                <a:cubicBezTo>
                  <a:pt x="855" y="185"/>
                  <a:pt x="855" y="184"/>
                  <a:pt x="854" y="184"/>
                </a:cubicBezTo>
                <a:cubicBezTo>
                  <a:pt x="854" y="184"/>
                  <a:pt x="854" y="184"/>
                  <a:pt x="855" y="185"/>
                </a:cubicBezTo>
                <a:close/>
                <a:moveTo>
                  <a:pt x="418" y="189"/>
                </a:moveTo>
                <a:cubicBezTo>
                  <a:pt x="420" y="188"/>
                  <a:pt x="422" y="188"/>
                  <a:pt x="423" y="186"/>
                </a:cubicBezTo>
                <a:cubicBezTo>
                  <a:pt x="423" y="185"/>
                  <a:pt x="425" y="185"/>
                  <a:pt x="425" y="185"/>
                </a:cubicBezTo>
                <a:cubicBezTo>
                  <a:pt x="425" y="184"/>
                  <a:pt x="425" y="184"/>
                  <a:pt x="424" y="184"/>
                </a:cubicBezTo>
                <a:cubicBezTo>
                  <a:pt x="424" y="184"/>
                  <a:pt x="423" y="184"/>
                  <a:pt x="423" y="184"/>
                </a:cubicBezTo>
                <a:cubicBezTo>
                  <a:pt x="423" y="185"/>
                  <a:pt x="422" y="185"/>
                  <a:pt x="421" y="186"/>
                </a:cubicBezTo>
                <a:cubicBezTo>
                  <a:pt x="420" y="186"/>
                  <a:pt x="420" y="187"/>
                  <a:pt x="419" y="187"/>
                </a:cubicBezTo>
                <a:cubicBezTo>
                  <a:pt x="419" y="187"/>
                  <a:pt x="417" y="187"/>
                  <a:pt x="417" y="187"/>
                </a:cubicBezTo>
                <a:cubicBezTo>
                  <a:pt x="417" y="188"/>
                  <a:pt x="415" y="189"/>
                  <a:pt x="415" y="190"/>
                </a:cubicBezTo>
                <a:cubicBezTo>
                  <a:pt x="415" y="190"/>
                  <a:pt x="416" y="189"/>
                  <a:pt x="416" y="190"/>
                </a:cubicBezTo>
                <a:cubicBezTo>
                  <a:pt x="417" y="190"/>
                  <a:pt x="418" y="190"/>
                  <a:pt x="418" y="189"/>
                </a:cubicBezTo>
                <a:cubicBezTo>
                  <a:pt x="419" y="189"/>
                  <a:pt x="418" y="189"/>
                  <a:pt x="418" y="189"/>
                </a:cubicBezTo>
                <a:close/>
                <a:moveTo>
                  <a:pt x="34" y="184"/>
                </a:moveTo>
                <a:cubicBezTo>
                  <a:pt x="35" y="184"/>
                  <a:pt x="34" y="184"/>
                  <a:pt x="35" y="184"/>
                </a:cubicBezTo>
                <a:cubicBezTo>
                  <a:pt x="34" y="183"/>
                  <a:pt x="34" y="183"/>
                  <a:pt x="33" y="183"/>
                </a:cubicBezTo>
                <a:cubicBezTo>
                  <a:pt x="33" y="183"/>
                  <a:pt x="32" y="183"/>
                  <a:pt x="32" y="184"/>
                </a:cubicBezTo>
                <a:cubicBezTo>
                  <a:pt x="33" y="184"/>
                  <a:pt x="34" y="184"/>
                  <a:pt x="34" y="184"/>
                </a:cubicBezTo>
                <a:cubicBezTo>
                  <a:pt x="35" y="184"/>
                  <a:pt x="34" y="184"/>
                  <a:pt x="34" y="184"/>
                </a:cubicBezTo>
                <a:close/>
                <a:moveTo>
                  <a:pt x="513" y="185"/>
                </a:moveTo>
                <a:cubicBezTo>
                  <a:pt x="514" y="185"/>
                  <a:pt x="515" y="185"/>
                  <a:pt x="515" y="184"/>
                </a:cubicBezTo>
                <a:cubicBezTo>
                  <a:pt x="515" y="183"/>
                  <a:pt x="515" y="183"/>
                  <a:pt x="515" y="182"/>
                </a:cubicBezTo>
                <a:cubicBezTo>
                  <a:pt x="514" y="183"/>
                  <a:pt x="512" y="182"/>
                  <a:pt x="511" y="182"/>
                </a:cubicBezTo>
                <a:cubicBezTo>
                  <a:pt x="512" y="183"/>
                  <a:pt x="511" y="183"/>
                  <a:pt x="510" y="183"/>
                </a:cubicBezTo>
                <a:cubicBezTo>
                  <a:pt x="510" y="183"/>
                  <a:pt x="510" y="184"/>
                  <a:pt x="511" y="184"/>
                </a:cubicBezTo>
                <a:cubicBezTo>
                  <a:pt x="512" y="184"/>
                  <a:pt x="511" y="184"/>
                  <a:pt x="511" y="185"/>
                </a:cubicBezTo>
                <a:cubicBezTo>
                  <a:pt x="511" y="186"/>
                  <a:pt x="513" y="185"/>
                  <a:pt x="513" y="185"/>
                </a:cubicBezTo>
                <a:cubicBezTo>
                  <a:pt x="514" y="185"/>
                  <a:pt x="513" y="185"/>
                  <a:pt x="513" y="185"/>
                </a:cubicBezTo>
                <a:close/>
                <a:moveTo>
                  <a:pt x="449" y="183"/>
                </a:moveTo>
                <a:cubicBezTo>
                  <a:pt x="448" y="183"/>
                  <a:pt x="448" y="182"/>
                  <a:pt x="448" y="182"/>
                </a:cubicBezTo>
                <a:cubicBezTo>
                  <a:pt x="447" y="182"/>
                  <a:pt x="447" y="182"/>
                  <a:pt x="447" y="183"/>
                </a:cubicBezTo>
                <a:cubicBezTo>
                  <a:pt x="448" y="183"/>
                  <a:pt x="448" y="183"/>
                  <a:pt x="448" y="184"/>
                </a:cubicBezTo>
                <a:cubicBezTo>
                  <a:pt x="449" y="183"/>
                  <a:pt x="449" y="183"/>
                  <a:pt x="449" y="183"/>
                </a:cubicBezTo>
                <a:close/>
                <a:moveTo>
                  <a:pt x="1722" y="188"/>
                </a:moveTo>
                <a:cubicBezTo>
                  <a:pt x="1723" y="188"/>
                  <a:pt x="1723" y="187"/>
                  <a:pt x="1723" y="187"/>
                </a:cubicBezTo>
                <a:cubicBezTo>
                  <a:pt x="1724" y="187"/>
                  <a:pt x="1724" y="187"/>
                  <a:pt x="1724" y="187"/>
                </a:cubicBezTo>
                <a:cubicBezTo>
                  <a:pt x="1724" y="187"/>
                  <a:pt x="1725" y="187"/>
                  <a:pt x="1725" y="187"/>
                </a:cubicBezTo>
                <a:cubicBezTo>
                  <a:pt x="1725" y="186"/>
                  <a:pt x="1723" y="186"/>
                  <a:pt x="1723" y="186"/>
                </a:cubicBezTo>
                <a:cubicBezTo>
                  <a:pt x="1722" y="186"/>
                  <a:pt x="1722" y="186"/>
                  <a:pt x="1721" y="186"/>
                </a:cubicBezTo>
                <a:cubicBezTo>
                  <a:pt x="1721" y="186"/>
                  <a:pt x="1721" y="185"/>
                  <a:pt x="1721" y="185"/>
                </a:cubicBezTo>
                <a:cubicBezTo>
                  <a:pt x="1720" y="185"/>
                  <a:pt x="1720" y="185"/>
                  <a:pt x="1720" y="184"/>
                </a:cubicBezTo>
                <a:cubicBezTo>
                  <a:pt x="1720" y="184"/>
                  <a:pt x="1719" y="183"/>
                  <a:pt x="1719" y="183"/>
                </a:cubicBezTo>
                <a:cubicBezTo>
                  <a:pt x="1718" y="182"/>
                  <a:pt x="1718" y="183"/>
                  <a:pt x="1717" y="182"/>
                </a:cubicBezTo>
                <a:cubicBezTo>
                  <a:pt x="1717" y="182"/>
                  <a:pt x="1717" y="182"/>
                  <a:pt x="1716" y="182"/>
                </a:cubicBezTo>
                <a:cubicBezTo>
                  <a:pt x="1716" y="182"/>
                  <a:pt x="1716" y="182"/>
                  <a:pt x="1716" y="183"/>
                </a:cubicBezTo>
                <a:cubicBezTo>
                  <a:pt x="1716" y="183"/>
                  <a:pt x="1713" y="184"/>
                  <a:pt x="1712" y="184"/>
                </a:cubicBezTo>
                <a:cubicBezTo>
                  <a:pt x="1711" y="184"/>
                  <a:pt x="1711" y="183"/>
                  <a:pt x="1711" y="182"/>
                </a:cubicBezTo>
                <a:cubicBezTo>
                  <a:pt x="1711" y="182"/>
                  <a:pt x="1711" y="182"/>
                  <a:pt x="1711" y="182"/>
                </a:cubicBezTo>
                <a:cubicBezTo>
                  <a:pt x="1710" y="182"/>
                  <a:pt x="1711" y="184"/>
                  <a:pt x="1711" y="184"/>
                </a:cubicBezTo>
                <a:cubicBezTo>
                  <a:pt x="1710" y="184"/>
                  <a:pt x="1710" y="184"/>
                  <a:pt x="1710" y="185"/>
                </a:cubicBezTo>
                <a:cubicBezTo>
                  <a:pt x="1710" y="186"/>
                  <a:pt x="1710" y="186"/>
                  <a:pt x="1712" y="186"/>
                </a:cubicBezTo>
                <a:cubicBezTo>
                  <a:pt x="1713" y="186"/>
                  <a:pt x="1717" y="183"/>
                  <a:pt x="1718" y="185"/>
                </a:cubicBezTo>
                <a:cubicBezTo>
                  <a:pt x="1718" y="186"/>
                  <a:pt x="1719" y="186"/>
                  <a:pt x="1719" y="186"/>
                </a:cubicBezTo>
                <a:cubicBezTo>
                  <a:pt x="1719" y="187"/>
                  <a:pt x="1720" y="188"/>
                  <a:pt x="1720" y="188"/>
                </a:cubicBezTo>
                <a:cubicBezTo>
                  <a:pt x="1721" y="188"/>
                  <a:pt x="1721" y="189"/>
                  <a:pt x="1721" y="189"/>
                </a:cubicBezTo>
                <a:cubicBezTo>
                  <a:pt x="1722" y="189"/>
                  <a:pt x="1722" y="189"/>
                  <a:pt x="1723" y="189"/>
                </a:cubicBezTo>
                <a:cubicBezTo>
                  <a:pt x="1723" y="189"/>
                  <a:pt x="1723" y="188"/>
                  <a:pt x="1722" y="188"/>
                </a:cubicBezTo>
                <a:cubicBezTo>
                  <a:pt x="1723" y="188"/>
                  <a:pt x="1722" y="188"/>
                  <a:pt x="1722" y="188"/>
                </a:cubicBezTo>
                <a:close/>
                <a:moveTo>
                  <a:pt x="861" y="179"/>
                </a:moveTo>
                <a:cubicBezTo>
                  <a:pt x="861" y="179"/>
                  <a:pt x="860" y="178"/>
                  <a:pt x="860" y="179"/>
                </a:cubicBezTo>
                <a:cubicBezTo>
                  <a:pt x="860" y="179"/>
                  <a:pt x="859" y="179"/>
                  <a:pt x="859" y="179"/>
                </a:cubicBezTo>
                <a:cubicBezTo>
                  <a:pt x="859" y="179"/>
                  <a:pt x="858" y="180"/>
                  <a:pt x="858" y="180"/>
                </a:cubicBezTo>
                <a:cubicBezTo>
                  <a:pt x="859" y="180"/>
                  <a:pt x="860" y="179"/>
                  <a:pt x="861" y="179"/>
                </a:cubicBezTo>
                <a:close/>
                <a:moveTo>
                  <a:pt x="466" y="178"/>
                </a:moveTo>
                <a:cubicBezTo>
                  <a:pt x="467" y="178"/>
                  <a:pt x="467" y="178"/>
                  <a:pt x="467" y="177"/>
                </a:cubicBezTo>
                <a:cubicBezTo>
                  <a:pt x="466" y="177"/>
                  <a:pt x="466" y="178"/>
                  <a:pt x="466" y="178"/>
                </a:cubicBezTo>
                <a:close/>
                <a:moveTo>
                  <a:pt x="13" y="180"/>
                </a:moveTo>
                <a:cubicBezTo>
                  <a:pt x="14" y="180"/>
                  <a:pt x="14" y="180"/>
                  <a:pt x="14" y="180"/>
                </a:cubicBezTo>
                <a:cubicBezTo>
                  <a:pt x="13" y="180"/>
                  <a:pt x="12" y="180"/>
                  <a:pt x="11" y="180"/>
                </a:cubicBezTo>
                <a:cubicBezTo>
                  <a:pt x="10" y="179"/>
                  <a:pt x="9" y="179"/>
                  <a:pt x="9" y="178"/>
                </a:cubicBezTo>
                <a:cubicBezTo>
                  <a:pt x="9" y="178"/>
                  <a:pt x="9" y="178"/>
                  <a:pt x="9" y="178"/>
                </a:cubicBezTo>
                <a:cubicBezTo>
                  <a:pt x="9" y="177"/>
                  <a:pt x="8" y="178"/>
                  <a:pt x="8" y="177"/>
                </a:cubicBezTo>
                <a:cubicBezTo>
                  <a:pt x="8" y="176"/>
                  <a:pt x="7" y="177"/>
                  <a:pt x="6" y="176"/>
                </a:cubicBezTo>
                <a:cubicBezTo>
                  <a:pt x="6" y="176"/>
                  <a:pt x="4" y="176"/>
                  <a:pt x="4" y="177"/>
                </a:cubicBezTo>
                <a:cubicBezTo>
                  <a:pt x="3" y="178"/>
                  <a:pt x="2" y="176"/>
                  <a:pt x="2" y="177"/>
                </a:cubicBezTo>
                <a:cubicBezTo>
                  <a:pt x="2" y="177"/>
                  <a:pt x="1" y="177"/>
                  <a:pt x="1" y="177"/>
                </a:cubicBezTo>
                <a:cubicBezTo>
                  <a:pt x="0" y="176"/>
                  <a:pt x="0" y="177"/>
                  <a:pt x="0" y="178"/>
                </a:cubicBezTo>
                <a:cubicBezTo>
                  <a:pt x="0" y="178"/>
                  <a:pt x="0" y="179"/>
                  <a:pt x="0" y="180"/>
                </a:cubicBezTo>
                <a:cubicBezTo>
                  <a:pt x="1" y="180"/>
                  <a:pt x="1" y="179"/>
                  <a:pt x="2" y="179"/>
                </a:cubicBezTo>
                <a:cubicBezTo>
                  <a:pt x="4" y="178"/>
                  <a:pt x="7" y="179"/>
                  <a:pt x="8" y="180"/>
                </a:cubicBezTo>
                <a:cubicBezTo>
                  <a:pt x="9" y="180"/>
                  <a:pt x="8" y="181"/>
                  <a:pt x="9" y="181"/>
                </a:cubicBezTo>
                <a:cubicBezTo>
                  <a:pt x="10" y="181"/>
                  <a:pt x="10" y="181"/>
                  <a:pt x="11" y="181"/>
                </a:cubicBezTo>
                <a:cubicBezTo>
                  <a:pt x="11" y="182"/>
                  <a:pt x="10" y="183"/>
                  <a:pt x="11" y="183"/>
                </a:cubicBezTo>
                <a:cubicBezTo>
                  <a:pt x="12" y="183"/>
                  <a:pt x="12" y="183"/>
                  <a:pt x="12" y="182"/>
                </a:cubicBezTo>
                <a:cubicBezTo>
                  <a:pt x="12" y="181"/>
                  <a:pt x="12" y="181"/>
                  <a:pt x="12" y="181"/>
                </a:cubicBezTo>
                <a:cubicBezTo>
                  <a:pt x="13" y="181"/>
                  <a:pt x="13" y="181"/>
                  <a:pt x="13" y="180"/>
                </a:cubicBezTo>
                <a:close/>
                <a:moveTo>
                  <a:pt x="506" y="169"/>
                </a:moveTo>
                <a:cubicBezTo>
                  <a:pt x="509" y="169"/>
                  <a:pt x="506" y="169"/>
                  <a:pt x="506" y="169"/>
                </a:cubicBezTo>
                <a:close/>
                <a:moveTo>
                  <a:pt x="934" y="167"/>
                </a:moveTo>
                <a:cubicBezTo>
                  <a:pt x="934" y="168"/>
                  <a:pt x="933" y="168"/>
                  <a:pt x="934" y="168"/>
                </a:cubicBezTo>
                <a:cubicBezTo>
                  <a:pt x="934" y="168"/>
                  <a:pt x="934" y="168"/>
                  <a:pt x="934" y="167"/>
                </a:cubicBezTo>
                <a:close/>
                <a:moveTo>
                  <a:pt x="426" y="181"/>
                </a:moveTo>
                <a:cubicBezTo>
                  <a:pt x="428" y="180"/>
                  <a:pt x="428" y="179"/>
                  <a:pt x="428" y="178"/>
                </a:cubicBezTo>
                <a:cubicBezTo>
                  <a:pt x="428" y="177"/>
                  <a:pt x="429" y="178"/>
                  <a:pt x="429" y="177"/>
                </a:cubicBezTo>
                <a:cubicBezTo>
                  <a:pt x="429" y="176"/>
                  <a:pt x="428" y="176"/>
                  <a:pt x="427" y="176"/>
                </a:cubicBezTo>
                <a:cubicBezTo>
                  <a:pt x="427" y="177"/>
                  <a:pt x="426" y="176"/>
                  <a:pt x="425" y="177"/>
                </a:cubicBezTo>
                <a:cubicBezTo>
                  <a:pt x="425" y="177"/>
                  <a:pt x="424" y="178"/>
                  <a:pt x="424" y="178"/>
                </a:cubicBezTo>
                <a:cubicBezTo>
                  <a:pt x="424" y="177"/>
                  <a:pt x="424" y="177"/>
                  <a:pt x="424" y="176"/>
                </a:cubicBezTo>
                <a:cubicBezTo>
                  <a:pt x="424" y="176"/>
                  <a:pt x="424" y="176"/>
                  <a:pt x="424" y="176"/>
                </a:cubicBezTo>
                <a:cubicBezTo>
                  <a:pt x="423" y="175"/>
                  <a:pt x="423" y="173"/>
                  <a:pt x="423" y="173"/>
                </a:cubicBezTo>
                <a:cubicBezTo>
                  <a:pt x="422" y="173"/>
                  <a:pt x="422" y="173"/>
                  <a:pt x="422" y="173"/>
                </a:cubicBezTo>
                <a:cubicBezTo>
                  <a:pt x="422" y="172"/>
                  <a:pt x="422" y="172"/>
                  <a:pt x="422" y="172"/>
                </a:cubicBezTo>
                <a:cubicBezTo>
                  <a:pt x="421" y="172"/>
                  <a:pt x="421" y="172"/>
                  <a:pt x="421" y="171"/>
                </a:cubicBezTo>
                <a:cubicBezTo>
                  <a:pt x="420" y="171"/>
                  <a:pt x="419" y="170"/>
                  <a:pt x="419" y="170"/>
                </a:cubicBezTo>
                <a:cubicBezTo>
                  <a:pt x="419" y="169"/>
                  <a:pt x="419" y="169"/>
                  <a:pt x="418" y="169"/>
                </a:cubicBezTo>
                <a:cubicBezTo>
                  <a:pt x="418" y="168"/>
                  <a:pt x="418" y="169"/>
                  <a:pt x="418" y="168"/>
                </a:cubicBezTo>
                <a:cubicBezTo>
                  <a:pt x="418" y="168"/>
                  <a:pt x="416" y="168"/>
                  <a:pt x="415" y="168"/>
                </a:cubicBezTo>
                <a:cubicBezTo>
                  <a:pt x="415" y="168"/>
                  <a:pt x="414" y="167"/>
                  <a:pt x="414" y="167"/>
                </a:cubicBezTo>
                <a:cubicBezTo>
                  <a:pt x="413" y="168"/>
                  <a:pt x="413" y="168"/>
                  <a:pt x="412" y="169"/>
                </a:cubicBezTo>
                <a:cubicBezTo>
                  <a:pt x="412" y="168"/>
                  <a:pt x="411" y="168"/>
                  <a:pt x="411" y="168"/>
                </a:cubicBezTo>
                <a:cubicBezTo>
                  <a:pt x="411" y="167"/>
                  <a:pt x="411" y="166"/>
                  <a:pt x="412" y="166"/>
                </a:cubicBezTo>
                <a:cubicBezTo>
                  <a:pt x="412" y="166"/>
                  <a:pt x="412" y="166"/>
                  <a:pt x="413" y="165"/>
                </a:cubicBezTo>
                <a:cubicBezTo>
                  <a:pt x="412" y="165"/>
                  <a:pt x="412" y="165"/>
                  <a:pt x="412" y="165"/>
                </a:cubicBezTo>
                <a:cubicBezTo>
                  <a:pt x="412" y="165"/>
                  <a:pt x="412" y="165"/>
                  <a:pt x="411" y="165"/>
                </a:cubicBezTo>
                <a:cubicBezTo>
                  <a:pt x="411" y="165"/>
                  <a:pt x="411" y="164"/>
                  <a:pt x="411" y="164"/>
                </a:cubicBezTo>
                <a:cubicBezTo>
                  <a:pt x="410" y="164"/>
                  <a:pt x="409" y="166"/>
                  <a:pt x="409" y="167"/>
                </a:cubicBezTo>
                <a:cubicBezTo>
                  <a:pt x="409" y="168"/>
                  <a:pt x="410" y="169"/>
                  <a:pt x="409" y="170"/>
                </a:cubicBezTo>
                <a:cubicBezTo>
                  <a:pt x="409" y="171"/>
                  <a:pt x="409" y="170"/>
                  <a:pt x="409" y="170"/>
                </a:cubicBezTo>
                <a:cubicBezTo>
                  <a:pt x="409" y="171"/>
                  <a:pt x="409" y="171"/>
                  <a:pt x="409" y="171"/>
                </a:cubicBezTo>
                <a:cubicBezTo>
                  <a:pt x="409" y="172"/>
                  <a:pt x="409" y="172"/>
                  <a:pt x="409" y="173"/>
                </a:cubicBezTo>
                <a:cubicBezTo>
                  <a:pt x="410" y="173"/>
                  <a:pt x="410" y="173"/>
                  <a:pt x="410" y="174"/>
                </a:cubicBezTo>
                <a:cubicBezTo>
                  <a:pt x="410" y="175"/>
                  <a:pt x="410" y="175"/>
                  <a:pt x="409" y="176"/>
                </a:cubicBezTo>
                <a:cubicBezTo>
                  <a:pt x="408" y="176"/>
                  <a:pt x="406" y="177"/>
                  <a:pt x="405" y="178"/>
                </a:cubicBezTo>
                <a:cubicBezTo>
                  <a:pt x="404" y="179"/>
                  <a:pt x="405" y="180"/>
                  <a:pt x="406" y="181"/>
                </a:cubicBezTo>
                <a:cubicBezTo>
                  <a:pt x="406" y="181"/>
                  <a:pt x="407" y="181"/>
                  <a:pt x="407" y="181"/>
                </a:cubicBezTo>
                <a:cubicBezTo>
                  <a:pt x="407" y="181"/>
                  <a:pt x="407" y="180"/>
                  <a:pt x="407" y="180"/>
                </a:cubicBezTo>
                <a:cubicBezTo>
                  <a:pt x="408" y="180"/>
                  <a:pt x="409" y="180"/>
                  <a:pt x="409" y="180"/>
                </a:cubicBezTo>
                <a:cubicBezTo>
                  <a:pt x="409" y="180"/>
                  <a:pt x="409" y="179"/>
                  <a:pt x="410" y="180"/>
                </a:cubicBezTo>
                <a:cubicBezTo>
                  <a:pt x="409" y="181"/>
                  <a:pt x="409" y="184"/>
                  <a:pt x="411" y="183"/>
                </a:cubicBezTo>
                <a:cubicBezTo>
                  <a:pt x="412" y="183"/>
                  <a:pt x="413" y="183"/>
                  <a:pt x="414" y="182"/>
                </a:cubicBezTo>
                <a:cubicBezTo>
                  <a:pt x="414" y="182"/>
                  <a:pt x="414" y="181"/>
                  <a:pt x="414" y="181"/>
                </a:cubicBezTo>
                <a:cubicBezTo>
                  <a:pt x="416" y="180"/>
                  <a:pt x="415" y="178"/>
                  <a:pt x="415" y="177"/>
                </a:cubicBezTo>
                <a:cubicBezTo>
                  <a:pt x="415" y="176"/>
                  <a:pt x="415" y="176"/>
                  <a:pt x="416" y="175"/>
                </a:cubicBezTo>
                <a:cubicBezTo>
                  <a:pt x="416" y="175"/>
                  <a:pt x="417" y="175"/>
                  <a:pt x="417" y="174"/>
                </a:cubicBezTo>
                <a:cubicBezTo>
                  <a:pt x="418" y="174"/>
                  <a:pt x="419" y="174"/>
                  <a:pt x="420" y="174"/>
                </a:cubicBezTo>
                <a:cubicBezTo>
                  <a:pt x="420" y="175"/>
                  <a:pt x="420" y="175"/>
                  <a:pt x="420" y="176"/>
                </a:cubicBezTo>
                <a:cubicBezTo>
                  <a:pt x="420" y="177"/>
                  <a:pt x="419" y="177"/>
                  <a:pt x="419" y="177"/>
                </a:cubicBezTo>
                <a:cubicBezTo>
                  <a:pt x="419" y="178"/>
                  <a:pt x="419" y="178"/>
                  <a:pt x="420" y="178"/>
                </a:cubicBezTo>
                <a:cubicBezTo>
                  <a:pt x="421" y="179"/>
                  <a:pt x="421" y="178"/>
                  <a:pt x="421" y="179"/>
                </a:cubicBezTo>
                <a:cubicBezTo>
                  <a:pt x="422" y="180"/>
                  <a:pt x="422" y="179"/>
                  <a:pt x="423" y="179"/>
                </a:cubicBezTo>
                <a:cubicBezTo>
                  <a:pt x="423" y="179"/>
                  <a:pt x="424" y="180"/>
                  <a:pt x="424" y="180"/>
                </a:cubicBezTo>
                <a:cubicBezTo>
                  <a:pt x="426" y="180"/>
                  <a:pt x="426" y="180"/>
                  <a:pt x="426" y="181"/>
                </a:cubicBezTo>
                <a:cubicBezTo>
                  <a:pt x="428" y="180"/>
                  <a:pt x="426" y="181"/>
                  <a:pt x="426" y="181"/>
                </a:cubicBezTo>
                <a:close/>
                <a:moveTo>
                  <a:pt x="883" y="164"/>
                </a:moveTo>
                <a:cubicBezTo>
                  <a:pt x="883" y="162"/>
                  <a:pt x="883" y="163"/>
                  <a:pt x="883" y="164"/>
                </a:cubicBezTo>
                <a:cubicBezTo>
                  <a:pt x="883" y="164"/>
                  <a:pt x="883" y="164"/>
                  <a:pt x="883" y="164"/>
                </a:cubicBezTo>
                <a:close/>
                <a:moveTo>
                  <a:pt x="413" y="164"/>
                </a:moveTo>
                <a:cubicBezTo>
                  <a:pt x="413" y="164"/>
                  <a:pt x="413" y="163"/>
                  <a:pt x="413" y="163"/>
                </a:cubicBezTo>
                <a:cubicBezTo>
                  <a:pt x="412" y="163"/>
                  <a:pt x="411" y="162"/>
                  <a:pt x="411" y="162"/>
                </a:cubicBezTo>
                <a:cubicBezTo>
                  <a:pt x="411" y="163"/>
                  <a:pt x="411" y="164"/>
                  <a:pt x="411" y="164"/>
                </a:cubicBezTo>
                <a:cubicBezTo>
                  <a:pt x="412" y="164"/>
                  <a:pt x="412" y="164"/>
                  <a:pt x="412" y="164"/>
                </a:cubicBezTo>
                <a:cubicBezTo>
                  <a:pt x="412" y="164"/>
                  <a:pt x="412" y="164"/>
                  <a:pt x="412" y="164"/>
                </a:cubicBezTo>
                <a:cubicBezTo>
                  <a:pt x="413" y="164"/>
                  <a:pt x="413" y="164"/>
                  <a:pt x="413" y="164"/>
                </a:cubicBezTo>
                <a:cubicBezTo>
                  <a:pt x="413" y="164"/>
                  <a:pt x="413" y="164"/>
                  <a:pt x="413" y="164"/>
                </a:cubicBezTo>
                <a:close/>
                <a:moveTo>
                  <a:pt x="732" y="178"/>
                </a:moveTo>
                <a:cubicBezTo>
                  <a:pt x="732" y="178"/>
                  <a:pt x="732" y="177"/>
                  <a:pt x="732" y="177"/>
                </a:cubicBezTo>
                <a:cubicBezTo>
                  <a:pt x="733" y="177"/>
                  <a:pt x="734" y="177"/>
                  <a:pt x="735" y="177"/>
                </a:cubicBezTo>
                <a:cubicBezTo>
                  <a:pt x="735" y="179"/>
                  <a:pt x="735" y="178"/>
                  <a:pt x="736" y="178"/>
                </a:cubicBezTo>
                <a:cubicBezTo>
                  <a:pt x="737" y="178"/>
                  <a:pt x="737" y="177"/>
                  <a:pt x="737" y="177"/>
                </a:cubicBezTo>
                <a:cubicBezTo>
                  <a:pt x="738" y="177"/>
                  <a:pt x="738" y="177"/>
                  <a:pt x="739" y="178"/>
                </a:cubicBezTo>
                <a:cubicBezTo>
                  <a:pt x="739" y="177"/>
                  <a:pt x="740" y="177"/>
                  <a:pt x="740" y="177"/>
                </a:cubicBezTo>
                <a:cubicBezTo>
                  <a:pt x="740" y="177"/>
                  <a:pt x="740" y="176"/>
                  <a:pt x="740" y="176"/>
                </a:cubicBezTo>
                <a:cubicBezTo>
                  <a:pt x="741" y="176"/>
                  <a:pt x="741" y="176"/>
                  <a:pt x="741" y="176"/>
                </a:cubicBezTo>
                <a:cubicBezTo>
                  <a:pt x="742" y="175"/>
                  <a:pt x="742" y="176"/>
                  <a:pt x="743" y="176"/>
                </a:cubicBezTo>
                <a:cubicBezTo>
                  <a:pt x="743" y="176"/>
                  <a:pt x="744" y="175"/>
                  <a:pt x="744" y="175"/>
                </a:cubicBezTo>
                <a:cubicBezTo>
                  <a:pt x="744" y="175"/>
                  <a:pt x="746" y="175"/>
                  <a:pt x="746" y="175"/>
                </a:cubicBezTo>
                <a:cubicBezTo>
                  <a:pt x="747" y="173"/>
                  <a:pt x="748" y="174"/>
                  <a:pt x="747" y="172"/>
                </a:cubicBezTo>
                <a:cubicBezTo>
                  <a:pt x="749" y="172"/>
                  <a:pt x="748" y="171"/>
                  <a:pt x="749" y="171"/>
                </a:cubicBezTo>
                <a:cubicBezTo>
                  <a:pt x="750" y="171"/>
                  <a:pt x="750" y="171"/>
                  <a:pt x="750" y="170"/>
                </a:cubicBezTo>
                <a:cubicBezTo>
                  <a:pt x="751" y="170"/>
                  <a:pt x="752" y="171"/>
                  <a:pt x="753" y="170"/>
                </a:cubicBezTo>
                <a:cubicBezTo>
                  <a:pt x="753" y="170"/>
                  <a:pt x="753" y="169"/>
                  <a:pt x="752" y="169"/>
                </a:cubicBezTo>
                <a:cubicBezTo>
                  <a:pt x="754" y="168"/>
                  <a:pt x="752" y="168"/>
                  <a:pt x="752" y="168"/>
                </a:cubicBezTo>
                <a:cubicBezTo>
                  <a:pt x="752" y="167"/>
                  <a:pt x="753" y="167"/>
                  <a:pt x="752" y="166"/>
                </a:cubicBezTo>
                <a:cubicBezTo>
                  <a:pt x="752" y="166"/>
                  <a:pt x="752" y="165"/>
                  <a:pt x="751" y="165"/>
                </a:cubicBezTo>
                <a:cubicBezTo>
                  <a:pt x="750" y="165"/>
                  <a:pt x="750" y="164"/>
                  <a:pt x="749" y="164"/>
                </a:cubicBezTo>
                <a:cubicBezTo>
                  <a:pt x="748" y="164"/>
                  <a:pt x="748" y="165"/>
                  <a:pt x="747" y="165"/>
                </a:cubicBezTo>
                <a:cubicBezTo>
                  <a:pt x="747" y="164"/>
                  <a:pt x="748" y="163"/>
                  <a:pt x="748" y="162"/>
                </a:cubicBezTo>
                <a:cubicBezTo>
                  <a:pt x="747" y="162"/>
                  <a:pt x="747" y="162"/>
                  <a:pt x="747" y="161"/>
                </a:cubicBezTo>
                <a:cubicBezTo>
                  <a:pt x="747" y="161"/>
                  <a:pt x="747" y="160"/>
                  <a:pt x="747" y="160"/>
                </a:cubicBezTo>
                <a:cubicBezTo>
                  <a:pt x="748" y="160"/>
                  <a:pt x="747" y="160"/>
                  <a:pt x="748" y="160"/>
                </a:cubicBezTo>
                <a:cubicBezTo>
                  <a:pt x="749" y="160"/>
                  <a:pt x="749" y="159"/>
                  <a:pt x="749" y="159"/>
                </a:cubicBezTo>
                <a:cubicBezTo>
                  <a:pt x="749" y="159"/>
                  <a:pt x="748" y="159"/>
                  <a:pt x="748" y="159"/>
                </a:cubicBezTo>
                <a:cubicBezTo>
                  <a:pt x="748" y="159"/>
                  <a:pt x="748" y="159"/>
                  <a:pt x="748" y="159"/>
                </a:cubicBezTo>
                <a:cubicBezTo>
                  <a:pt x="747" y="160"/>
                  <a:pt x="745" y="160"/>
                  <a:pt x="745" y="160"/>
                </a:cubicBezTo>
                <a:cubicBezTo>
                  <a:pt x="745" y="160"/>
                  <a:pt x="744" y="159"/>
                  <a:pt x="744" y="159"/>
                </a:cubicBezTo>
                <a:cubicBezTo>
                  <a:pt x="744" y="159"/>
                  <a:pt x="744" y="159"/>
                  <a:pt x="743" y="158"/>
                </a:cubicBezTo>
                <a:cubicBezTo>
                  <a:pt x="742" y="158"/>
                  <a:pt x="743" y="157"/>
                  <a:pt x="742" y="157"/>
                </a:cubicBezTo>
                <a:cubicBezTo>
                  <a:pt x="741" y="157"/>
                  <a:pt x="741" y="157"/>
                  <a:pt x="740" y="158"/>
                </a:cubicBezTo>
                <a:cubicBezTo>
                  <a:pt x="740" y="158"/>
                  <a:pt x="740" y="159"/>
                  <a:pt x="740" y="159"/>
                </a:cubicBezTo>
                <a:cubicBezTo>
                  <a:pt x="740" y="160"/>
                  <a:pt x="739" y="161"/>
                  <a:pt x="738" y="160"/>
                </a:cubicBezTo>
                <a:cubicBezTo>
                  <a:pt x="738" y="160"/>
                  <a:pt x="737" y="159"/>
                  <a:pt x="736" y="160"/>
                </a:cubicBezTo>
                <a:cubicBezTo>
                  <a:pt x="736" y="161"/>
                  <a:pt x="736" y="161"/>
                  <a:pt x="735" y="161"/>
                </a:cubicBezTo>
                <a:cubicBezTo>
                  <a:pt x="735" y="161"/>
                  <a:pt x="734" y="161"/>
                  <a:pt x="734" y="161"/>
                </a:cubicBezTo>
                <a:cubicBezTo>
                  <a:pt x="733" y="161"/>
                  <a:pt x="732" y="161"/>
                  <a:pt x="732" y="161"/>
                </a:cubicBezTo>
                <a:cubicBezTo>
                  <a:pt x="732" y="160"/>
                  <a:pt x="731" y="160"/>
                  <a:pt x="731" y="160"/>
                </a:cubicBezTo>
                <a:cubicBezTo>
                  <a:pt x="731" y="160"/>
                  <a:pt x="731" y="160"/>
                  <a:pt x="731" y="160"/>
                </a:cubicBezTo>
                <a:cubicBezTo>
                  <a:pt x="731" y="161"/>
                  <a:pt x="731" y="162"/>
                  <a:pt x="731" y="163"/>
                </a:cubicBezTo>
                <a:cubicBezTo>
                  <a:pt x="731" y="163"/>
                  <a:pt x="729" y="163"/>
                  <a:pt x="729" y="162"/>
                </a:cubicBezTo>
                <a:cubicBezTo>
                  <a:pt x="729" y="162"/>
                  <a:pt x="730" y="161"/>
                  <a:pt x="729" y="161"/>
                </a:cubicBezTo>
                <a:cubicBezTo>
                  <a:pt x="729" y="160"/>
                  <a:pt x="729" y="160"/>
                  <a:pt x="729" y="159"/>
                </a:cubicBezTo>
                <a:cubicBezTo>
                  <a:pt x="729" y="159"/>
                  <a:pt x="728" y="159"/>
                  <a:pt x="728" y="159"/>
                </a:cubicBezTo>
                <a:cubicBezTo>
                  <a:pt x="728" y="160"/>
                  <a:pt x="728" y="160"/>
                  <a:pt x="727" y="160"/>
                </a:cubicBezTo>
                <a:cubicBezTo>
                  <a:pt x="727" y="161"/>
                  <a:pt x="726" y="161"/>
                  <a:pt x="726" y="161"/>
                </a:cubicBezTo>
                <a:cubicBezTo>
                  <a:pt x="725" y="161"/>
                  <a:pt x="725" y="161"/>
                  <a:pt x="725" y="161"/>
                </a:cubicBezTo>
                <a:cubicBezTo>
                  <a:pt x="725" y="162"/>
                  <a:pt x="725" y="163"/>
                  <a:pt x="724" y="163"/>
                </a:cubicBezTo>
                <a:cubicBezTo>
                  <a:pt x="723" y="162"/>
                  <a:pt x="723" y="162"/>
                  <a:pt x="723" y="160"/>
                </a:cubicBezTo>
                <a:cubicBezTo>
                  <a:pt x="721" y="161"/>
                  <a:pt x="721" y="160"/>
                  <a:pt x="721" y="162"/>
                </a:cubicBezTo>
                <a:cubicBezTo>
                  <a:pt x="721" y="163"/>
                  <a:pt x="721" y="164"/>
                  <a:pt x="721" y="165"/>
                </a:cubicBezTo>
                <a:cubicBezTo>
                  <a:pt x="720" y="165"/>
                  <a:pt x="721" y="164"/>
                  <a:pt x="719" y="164"/>
                </a:cubicBezTo>
                <a:cubicBezTo>
                  <a:pt x="719" y="165"/>
                  <a:pt x="719" y="167"/>
                  <a:pt x="718" y="167"/>
                </a:cubicBezTo>
                <a:cubicBezTo>
                  <a:pt x="718" y="167"/>
                  <a:pt x="718" y="167"/>
                  <a:pt x="718" y="167"/>
                </a:cubicBezTo>
                <a:cubicBezTo>
                  <a:pt x="717" y="167"/>
                  <a:pt x="717" y="167"/>
                  <a:pt x="716" y="166"/>
                </a:cubicBezTo>
                <a:cubicBezTo>
                  <a:pt x="716" y="165"/>
                  <a:pt x="716" y="165"/>
                  <a:pt x="717" y="164"/>
                </a:cubicBezTo>
                <a:cubicBezTo>
                  <a:pt x="717" y="164"/>
                  <a:pt x="717" y="163"/>
                  <a:pt x="716" y="163"/>
                </a:cubicBezTo>
                <a:cubicBezTo>
                  <a:pt x="716" y="163"/>
                  <a:pt x="717" y="162"/>
                  <a:pt x="717" y="162"/>
                </a:cubicBezTo>
                <a:cubicBezTo>
                  <a:pt x="716" y="162"/>
                  <a:pt x="716" y="162"/>
                  <a:pt x="716" y="162"/>
                </a:cubicBezTo>
                <a:cubicBezTo>
                  <a:pt x="716" y="161"/>
                  <a:pt x="716" y="161"/>
                  <a:pt x="716" y="161"/>
                </a:cubicBezTo>
                <a:cubicBezTo>
                  <a:pt x="716" y="160"/>
                  <a:pt x="716" y="161"/>
                  <a:pt x="716" y="161"/>
                </a:cubicBezTo>
                <a:cubicBezTo>
                  <a:pt x="715" y="160"/>
                  <a:pt x="715" y="160"/>
                  <a:pt x="714" y="159"/>
                </a:cubicBezTo>
                <a:cubicBezTo>
                  <a:pt x="714" y="159"/>
                  <a:pt x="712" y="159"/>
                  <a:pt x="713" y="160"/>
                </a:cubicBezTo>
                <a:cubicBezTo>
                  <a:pt x="711" y="159"/>
                  <a:pt x="711" y="159"/>
                  <a:pt x="711" y="160"/>
                </a:cubicBezTo>
                <a:cubicBezTo>
                  <a:pt x="711" y="161"/>
                  <a:pt x="712" y="161"/>
                  <a:pt x="713" y="161"/>
                </a:cubicBezTo>
                <a:cubicBezTo>
                  <a:pt x="713" y="162"/>
                  <a:pt x="713" y="162"/>
                  <a:pt x="713" y="163"/>
                </a:cubicBezTo>
                <a:cubicBezTo>
                  <a:pt x="713" y="163"/>
                  <a:pt x="712" y="162"/>
                  <a:pt x="712" y="162"/>
                </a:cubicBezTo>
                <a:cubicBezTo>
                  <a:pt x="710" y="162"/>
                  <a:pt x="710" y="162"/>
                  <a:pt x="709" y="161"/>
                </a:cubicBezTo>
                <a:cubicBezTo>
                  <a:pt x="709" y="160"/>
                  <a:pt x="709" y="159"/>
                  <a:pt x="708" y="160"/>
                </a:cubicBezTo>
                <a:cubicBezTo>
                  <a:pt x="708" y="160"/>
                  <a:pt x="708" y="160"/>
                  <a:pt x="708" y="160"/>
                </a:cubicBezTo>
                <a:cubicBezTo>
                  <a:pt x="707" y="161"/>
                  <a:pt x="708" y="160"/>
                  <a:pt x="708" y="161"/>
                </a:cubicBezTo>
                <a:cubicBezTo>
                  <a:pt x="708" y="161"/>
                  <a:pt x="708" y="161"/>
                  <a:pt x="708" y="161"/>
                </a:cubicBezTo>
                <a:cubicBezTo>
                  <a:pt x="707" y="161"/>
                  <a:pt x="707" y="161"/>
                  <a:pt x="706" y="161"/>
                </a:cubicBezTo>
                <a:cubicBezTo>
                  <a:pt x="706" y="161"/>
                  <a:pt x="707" y="162"/>
                  <a:pt x="707" y="162"/>
                </a:cubicBezTo>
                <a:cubicBezTo>
                  <a:pt x="708" y="162"/>
                  <a:pt x="708" y="162"/>
                  <a:pt x="708" y="163"/>
                </a:cubicBezTo>
                <a:cubicBezTo>
                  <a:pt x="708" y="164"/>
                  <a:pt x="708" y="164"/>
                  <a:pt x="707" y="164"/>
                </a:cubicBezTo>
                <a:cubicBezTo>
                  <a:pt x="706" y="165"/>
                  <a:pt x="706" y="165"/>
                  <a:pt x="705" y="166"/>
                </a:cubicBezTo>
                <a:cubicBezTo>
                  <a:pt x="705" y="166"/>
                  <a:pt x="704" y="166"/>
                  <a:pt x="703" y="165"/>
                </a:cubicBezTo>
                <a:cubicBezTo>
                  <a:pt x="703" y="166"/>
                  <a:pt x="703" y="166"/>
                  <a:pt x="703" y="166"/>
                </a:cubicBezTo>
                <a:cubicBezTo>
                  <a:pt x="704" y="167"/>
                  <a:pt x="705" y="167"/>
                  <a:pt x="706" y="167"/>
                </a:cubicBezTo>
                <a:cubicBezTo>
                  <a:pt x="707" y="166"/>
                  <a:pt x="707" y="166"/>
                  <a:pt x="707" y="165"/>
                </a:cubicBezTo>
                <a:cubicBezTo>
                  <a:pt x="708" y="166"/>
                  <a:pt x="708" y="166"/>
                  <a:pt x="709" y="165"/>
                </a:cubicBezTo>
                <a:cubicBezTo>
                  <a:pt x="710" y="165"/>
                  <a:pt x="711" y="165"/>
                  <a:pt x="712" y="164"/>
                </a:cubicBezTo>
                <a:cubicBezTo>
                  <a:pt x="712" y="165"/>
                  <a:pt x="712" y="165"/>
                  <a:pt x="713" y="165"/>
                </a:cubicBezTo>
                <a:cubicBezTo>
                  <a:pt x="713" y="166"/>
                  <a:pt x="713" y="166"/>
                  <a:pt x="713" y="166"/>
                </a:cubicBezTo>
                <a:cubicBezTo>
                  <a:pt x="712" y="166"/>
                  <a:pt x="712" y="166"/>
                  <a:pt x="712" y="166"/>
                </a:cubicBezTo>
                <a:cubicBezTo>
                  <a:pt x="711" y="166"/>
                  <a:pt x="712" y="166"/>
                  <a:pt x="711" y="166"/>
                </a:cubicBezTo>
                <a:cubicBezTo>
                  <a:pt x="711" y="167"/>
                  <a:pt x="711" y="167"/>
                  <a:pt x="711" y="168"/>
                </a:cubicBezTo>
                <a:cubicBezTo>
                  <a:pt x="712" y="168"/>
                  <a:pt x="713" y="168"/>
                  <a:pt x="713" y="168"/>
                </a:cubicBezTo>
                <a:cubicBezTo>
                  <a:pt x="713" y="168"/>
                  <a:pt x="713" y="169"/>
                  <a:pt x="712" y="169"/>
                </a:cubicBezTo>
                <a:cubicBezTo>
                  <a:pt x="712" y="169"/>
                  <a:pt x="711" y="169"/>
                  <a:pt x="710" y="168"/>
                </a:cubicBezTo>
                <a:cubicBezTo>
                  <a:pt x="710" y="168"/>
                  <a:pt x="710" y="169"/>
                  <a:pt x="710" y="169"/>
                </a:cubicBezTo>
                <a:cubicBezTo>
                  <a:pt x="709" y="169"/>
                  <a:pt x="708" y="170"/>
                  <a:pt x="707" y="170"/>
                </a:cubicBezTo>
                <a:cubicBezTo>
                  <a:pt x="706" y="170"/>
                  <a:pt x="706" y="170"/>
                  <a:pt x="705" y="170"/>
                </a:cubicBezTo>
                <a:cubicBezTo>
                  <a:pt x="705" y="172"/>
                  <a:pt x="705" y="172"/>
                  <a:pt x="707" y="172"/>
                </a:cubicBezTo>
                <a:cubicBezTo>
                  <a:pt x="707" y="172"/>
                  <a:pt x="708" y="171"/>
                  <a:pt x="708" y="171"/>
                </a:cubicBezTo>
                <a:cubicBezTo>
                  <a:pt x="708" y="171"/>
                  <a:pt x="709" y="171"/>
                  <a:pt x="709" y="171"/>
                </a:cubicBezTo>
                <a:cubicBezTo>
                  <a:pt x="710" y="171"/>
                  <a:pt x="710" y="171"/>
                  <a:pt x="711" y="171"/>
                </a:cubicBezTo>
                <a:cubicBezTo>
                  <a:pt x="712" y="171"/>
                  <a:pt x="712" y="171"/>
                  <a:pt x="712" y="172"/>
                </a:cubicBezTo>
                <a:cubicBezTo>
                  <a:pt x="712" y="173"/>
                  <a:pt x="713" y="174"/>
                  <a:pt x="713" y="173"/>
                </a:cubicBezTo>
                <a:cubicBezTo>
                  <a:pt x="713" y="173"/>
                  <a:pt x="714" y="173"/>
                  <a:pt x="714" y="173"/>
                </a:cubicBezTo>
                <a:cubicBezTo>
                  <a:pt x="714" y="173"/>
                  <a:pt x="714" y="173"/>
                  <a:pt x="714" y="173"/>
                </a:cubicBezTo>
                <a:cubicBezTo>
                  <a:pt x="714" y="174"/>
                  <a:pt x="714" y="174"/>
                  <a:pt x="716" y="174"/>
                </a:cubicBezTo>
                <a:cubicBezTo>
                  <a:pt x="715" y="175"/>
                  <a:pt x="714" y="175"/>
                  <a:pt x="714" y="175"/>
                </a:cubicBezTo>
                <a:cubicBezTo>
                  <a:pt x="713" y="176"/>
                  <a:pt x="713" y="176"/>
                  <a:pt x="712" y="176"/>
                </a:cubicBezTo>
                <a:cubicBezTo>
                  <a:pt x="712" y="176"/>
                  <a:pt x="710" y="176"/>
                  <a:pt x="710" y="177"/>
                </a:cubicBezTo>
                <a:cubicBezTo>
                  <a:pt x="710" y="178"/>
                  <a:pt x="712" y="178"/>
                  <a:pt x="713" y="178"/>
                </a:cubicBezTo>
                <a:cubicBezTo>
                  <a:pt x="714" y="178"/>
                  <a:pt x="713" y="178"/>
                  <a:pt x="714" y="178"/>
                </a:cubicBezTo>
                <a:cubicBezTo>
                  <a:pt x="714" y="178"/>
                  <a:pt x="714" y="177"/>
                  <a:pt x="715" y="177"/>
                </a:cubicBezTo>
                <a:cubicBezTo>
                  <a:pt x="715" y="177"/>
                  <a:pt x="717" y="178"/>
                  <a:pt x="717" y="177"/>
                </a:cubicBezTo>
                <a:cubicBezTo>
                  <a:pt x="718" y="177"/>
                  <a:pt x="717" y="177"/>
                  <a:pt x="718" y="178"/>
                </a:cubicBezTo>
                <a:cubicBezTo>
                  <a:pt x="719" y="178"/>
                  <a:pt x="719" y="177"/>
                  <a:pt x="720" y="178"/>
                </a:cubicBezTo>
                <a:cubicBezTo>
                  <a:pt x="721" y="178"/>
                  <a:pt x="722" y="178"/>
                  <a:pt x="723" y="179"/>
                </a:cubicBezTo>
                <a:cubicBezTo>
                  <a:pt x="723" y="179"/>
                  <a:pt x="721" y="180"/>
                  <a:pt x="721" y="181"/>
                </a:cubicBezTo>
                <a:cubicBezTo>
                  <a:pt x="722" y="181"/>
                  <a:pt x="723" y="180"/>
                  <a:pt x="723" y="180"/>
                </a:cubicBezTo>
                <a:cubicBezTo>
                  <a:pt x="723" y="181"/>
                  <a:pt x="725" y="181"/>
                  <a:pt x="726" y="181"/>
                </a:cubicBezTo>
                <a:cubicBezTo>
                  <a:pt x="727" y="181"/>
                  <a:pt x="728" y="181"/>
                  <a:pt x="730" y="180"/>
                </a:cubicBezTo>
                <a:cubicBezTo>
                  <a:pt x="731" y="180"/>
                  <a:pt x="730" y="181"/>
                  <a:pt x="731" y="181"/>
                </a:cubicBezTo>
                <a:cubicBezTo>
                  <a:pt x="732" y="181"/>
                  <a:pt x="732" y="179"/>
                  <a:pt x="733" y="179"/>
                </a:cubicBezTo>
                <a:cubicBezTo>
                  <a:pt x="733" y="179"/>
                  <a:pt x="732" y="179"/>
                  <a:pt x="732" y="178"/>
                </a:cubicBezTo>
                <a:close/>
                <a:moveTo>
                  <a:pt x="416" y="158"/>
                </a:moveTo>
                <a:cubicBezTo>
                  <a:pt x="418" y="158"/>
                  <a:pt x="415" y="156"/>
                  <a:pt x="416" y="158"/>
                </a:cubicBezTo>
                <a:close/>
                <a:moveTo>
                  <a:pt x="711" y="157"/>
                </a:moveTo>
                <a:cubicBezTo>
                  <a:pt x="710" y="157"/>
                  <a:pt x="709" y="157"/>
                  <a:pt x="709" y="158"/>
                </a:cubicBezTo>
                <a:cubicBezTo>
                  <a:pt x="709" y="158"/>
                  <a:pt x="710" y="158"/>
                  <a:pt x="710" y="158"/>
                </a:cubicBezTo>
                <a:cubicBezTo>
                  <a:pt x="711" y="158"/>
                  <a:pt x="711" y="158"/>
                  <a:pt x="712" y="158"/>
                </a:cubicBezTo>
                <a:cubicBezTo>
                  <a:pt x="712" y="158"/>
                  <a:pt x="713" y="158"/>
                  <a:pt x="714" y="158"/>
                </a:cubicBezTo>
                <a:cubicBezTo>
                  <a:pt x="714" y="158"/>
                  <a:pt x="713" y="157"/>
                  <a:pt x="713" y="157"/>
                </a:cubicBezTo>
                <a:cubicBezTo>
                  <a:pt x="712" y="157"/>
                  <a:pt x="711" y="157"/>
                  <a:pt x="711" y="157"/>
                </a:cubicBezTo>
                <a:cubicBezTo>
                  <a:pt x="709" y="157"/>
                  <a:pt x="711" y="157"/>
                  <a:pt x="711" y="157"/>
                </a:cubicBezTo>
                <a:close/>
                <a:moveTo>
                  <a:pt x="44" y="155"/>
                </a:moveTo>
                <a:cubicBezTo>
                  <a:pt x="44" y="154"/>
                  <a:pt x="44" y="153"/>
                  <a:pt x="43" y="154"/>
                </a:cubicBezTo>
                <a:cubicBezTo>
                  <a:pt x="44" y="154"/>
                  <a:pt x="44" y="155"/>
                  <a:pt x="44" y="155"/>
                </a:cubicBezTo>
                <a:close/>
                <a:moveTo>
                  <a:pt x="406" y="149"/>
                </a:moveTo>
                <a:cubicBezTo>
                  <a:pt x="406" y="148"/>
                  <a:pt x="406" y="148"/>
                  <a:pt x="406" y="147"/>
                </a:cubicBezTo>
                <a:cubicBezTo>
                  <a:pt x="405" y="147"/>
                  <a:pt x="404" y="147"/>
                  <a:pt x="405" y="148"/>
                </a:cubicBezTo>
                <a:cubicBezTo>
                  <a:pt x="405" y="148"/>
                  <a:pt x="405" y="148"/>
                  <a:pt x="406" y="149"/>
                </a:cubicBezTo>
                <a:close/>
                <a:moveTo>
                  <a:pt x="1733" y="146"/>
                </a:moveTo>
                <a:cubicBezTo>
                  <a:pt x="1733" y="146"/>
                  <a:pt x="1733" y="146"/>
                  <a:pt x="1733" y="146"/>
                </a:cubicBezTo>
                <a:cubicBezTo>
                  <a:pt x="1733" y="146"/>
                  <a:pt x="1733" y="146"/>
                  <a:pt x="1733" y="146"/>
                </a:cubicBezTo>
                <a:cubicBezTo>
                  <a:pt x="1733" y="146"/>
                  <a:pt x="1733" y="146"/>
                  <a:pt x="1733" y="146"/>
                </a:cubicBezTo>
                <a:close/>
                <a:moveTo>
                  <a:pt x="884" y="146"/>
                </a:moveTo>
                <a:cubicBezTo>
                  <a:pt x="884" y="146"/>
                  <a:pt x="884" y="146"/>
                  <a:pt x="885" y="146"/>
                </a:cubicBezTo>
                <a:cubicBezTo>
                  <a:pt x="884" y="145"/>
                  <a:pt x="884" y="144"/>
                  <a:pt x="884" y="144"/>
                </a:cubicBezTo>
                <a:cubicBezTo>
                  <a:pt x="883" y="144"/>
                  <a:pt x="883" y="145"/>
                  <a:pt x="883" y="145"/>
                </a:cubicBezTo>
                <a:cubicBezTo>
                  <a:pt x="881" y="146"/>
                  <a:pt x="884" y="147"/>
                  <a:pt x="884" y="146"/>
                </a:cubicBezTo>
                <a:close/>
                <a:moveTo>
                  <a:pt x="346" y="144"/>
                </a:moveTo>
                <a:cubicBezTo>
                  <a:pt x="346" y="144"/>
                  <a:pt x="345" y="144"/>
                  <a:pt x="345" y="143"/>
                </a:cubicBezTo>
                <a:cubicBezTo>
                  <a:pt x="345" y="144"/>
                  <a:pt x="345" y="144"/>
                  <a:pt x="346" y="144"/>
                </a:cubicBezTo>
                <a:close/>
                <a:moveTo>
                  <a:pt x="464" y="145"/>
                </a:moveTo>
                <a:cubicBezTo>
                  <a:pt x="465" y="145"/>
                  <a:pt x="468" y="146"/>
                  <a:pt x="467" y="144"/>
                </a:cubicBezTo>
                <a:cubicBezTo>
                  <a:pt x="467" y="143"/>
                  <a:pt x="466" y="143"/>
                  <a:pt x="465" y="143"/>
                </a:cubicBezTo>
                <a:cubicBezTo>
                  <a:pt x="464" y="143"/>
                  <a:pt x="464" y="144"/>
                  <a:pt x="464" y="145"/>
                </a:cubicBezTo>
                <a:close/>
                <a:moveTo>
                  <a:pt x="889" y="143"/>
                </a:moveTo>
                <a:cubicBezTo>
                  <a:pt x="889" y="143"/>
                  <a:pt x="889" y="142"/>
                  <a:pt x="889" y="142"/>
                </a:cubicBezTo>
                <a:cubicBezTo>
                  <a:pt x="888" y="142"/>
                  <a:pt x="888" y="143"/>
                  <a:pt x="888" y="143"/>
                </a:cubicBezTo>
                <a:cubicBezTo>
                  <a:pt x="887" y="144"/>
                  <a:pt x="886" y="144"/>
                  <a:pt x="886" y="145"/>
                </a:cubicBezTo>
                <a:cubicBezTo>
                  <a:pt x="886" y="145"/>
                  <a:pt x="886" y="145"/>
                  <a:pt x="886" y="145"/>
                </a:cubicBezTo>
                <a:cubicBezTo>
                  <a:pt x="887" y="145"/>
                  <a:pt x="888" y="144"/>
                  <a:pt x="889" y="143"/>
                </a:cubicBezTo>
                <a:cubicBezTo>
                  <a:pt x="889" y="142"/>
                  <a:pt x="889" y="143"/>
                  <a:pt x="889" y="143"/>
                </a:cubicBezTo>
                <a:close/>
                <a:moveTo>
                  <a:pt x="24" y="142"/>
                </a:moveTo>
                <a:cubicBezTo>
                  <a:pt x="25" y="142"/>
                  <a:pt x="25" y="142"/>
                  <a:pt x="25" y="142"/>
                </a:cubicBezTo>
                <a:cubicBezTo>
                  <a:pt x="25" y="142"/>
                  <a:pt x="25" y="142"/>
                  <a:pt x="24" y="142"/>
                </a:cubicBezTo>
                <a:cubicBezTo>
                  <a:pt x="25" y="142"/>
                  <a:pt x="24" y="142"/>
                  <a:pt x="24" y="142"/>
                </a:cubicBezTo>
                <a:close/>
                <a:moveTo>
                  <a:pt x="455" y="146"/>
                </a:moveTo>
                <a:cubicBezTo>
                  <a:pt x="455" y="146"/>
                  <a:pt x="455" y="147"/>
                  <a:pt x="455" y="148"/>
                </a:cubicBezTo>
                <a:cubicBezTo>
                  <a:pt x="455" y="148"/>
                  <a:pt x="457" y="149"/>
                  <a:pt x="457" y="149"/>
                </a:cubicBezTo>
                <a:cubicBezTo>
                  <a:pt x="457" y="148"/>
                  <a:pt x="458" y="148"/>
                  <a:pt x="459" y="148"/>
                </a:cubicBezTo>
                <a:cubicBezTo>
                  <a:pt x="459" y="148"/>
                  <a:pt x="459" y="147"/>
                  <a:pt x="460" y="146"/>
                </a:cubicBezTo>
                <a:cubicBezTo>
                  <a:pt x="460" y="145"/>
                  <a:pt x="461" y="143"/>
                  <a:pt x="460" y="143"/>
                </a:cubicBezTo>
                <a:cubicBezTo>
                  <a:pt x="460" y="143"/>
                  <a:pt x="459" y="143"/>
                  <a:pt x="459" y="142"/>
                </a:cubicBezTo>
                <a:cubicBezTo>
                  <a:pt x="459" y="141"/>
                  <a:pt x="458" y="141"/>
                  <a:pt x="457" y="142"/>
                </a:cubicBezTo>
                <a:cubicBezTo>
                  <a:pt x="457" y="142"/>
                  <a:pt x="456" y="142"/>
                  <a:pt x="455" y="142"/>
                </a:cubicBezTo>
                <a:cubicBezTo>
                  <a:pt x="455" y="143"/>
                  <a:pt x="455" y="143"/>
                  <a:pt x="455" y="144"/>
                </a:cubicBezTo>
                <a:cubicBezTo>
                  <a:pt x="454" y="144"/>
                  <a:pt x="454" y="146"/>
                  <a:pt x="455" y="146"/>
                </a:cubicBezTo>
                <a:close/>
                <a:moveTo>
                  <a:pt x="343" y="143"/>
                </a:moveTo>
                <a:cubicBezTo>
                  <a:pt x="343" y="143"/>
                  <a:pt x="343" y="141"/>
                  <a:pt x="342" y="141"/>
                </a:cubicBezTo>
                <a:cubicBezTo>
                  <a:pt x="342" y="142"/>
                  <a:pt x="343" y="143"/>
                  <a:pt x="343" y="143"/>
                </a:cubicBezTo>
                <a:cubicBezTo>
                  <a:pt x="343" y="143"/>
                  <a:pt x="343" y="143"/>
                  <a:pt x="343" y="143"/>
                </a:cubicBezTo>
                <a:close/>
                <a:moveTo>
                  <a:pt x="1091" y="141"/>
                </a:moveTo>
                <a:cubicBezTo>
                  <a:pt x="1093" y="141"/>
                  <a:pt x="1091" y="140"/>
                  <a:pt x="1091" y="141"/>
                </a:cubicBezTo>
                <a:cubicBezTo>
                  <a:pt x="1092" y="141"/>
                  <a:pt x="1091" y="141"/>
                  <a:pt x="1091" y="141"/>
                </a:cubicBezTo>
                <a:close/>
                <a:moveTo>
                  <a:pt x="570" y="141"/>
                </a:moveTo>
                <a:cubicBezTo>
                  <a:pt x="570" y="141"/>
                  <a:pt x="570" y="141"/>
                  <a:pt x="570" y="141"/>
                </a:cubicBezTo>
                <a:cubicBezTo>
                  <a:pt x="570" y="141"/>
                  <a:pt x="570" y="141"/>
                  <a:pt x="570" y="141"/>
                </a:cubicBezTo>
                <a:cubicBezTo>
                  <a:pt x="570" y="141"/>
                  <a:pt x="570" y="141"/>
                  <a:pt x="570" y="141"/>
                </a:cubicBezTo>
                <a:close/>
                <a:moveTo>
                  <a:pt x="466" y="139"/>
                </a:moveTo>
                <a:cubicBezTo>
                  <a:pt x="466" y="139"/>
                  <a:pt x="466" y="140"/>
                  <a:pt x="466" y="141"/>
                </a:cubicBezTo>
                <a:cubicBezTo>
                  <a:pt x="466" y="142"/>
                  <a:pt x="466" y="141"/>
                  <a:pt x="467" y="141"/>
                </a:cubicBezTo>
                <a:cubicBezTo>
                  <a:pt x="467" y="140"/>
                  <a:pt x="467" y="139"/>
                  <a:pt x="466" y="139"/>
                </a:cubicBezTo>
                <a:cubicBezTo>
                  <a:pt x="466" y="140"/>
                  <a:pt x="466" y="139"/>
                  <a:pt x="466" y="139"/>
                </a:cubicBezTo>
                <a:close/>
                <a:moveTo>
                  <a:pt x="891" y="138"/>
                </a:moveTo>
                <a:cubicBezTo>
                  <a:pt x="890" y="138"/>
                  <a:pt x="889" y="139"/>
                  <a:pt x="889" y="139"/>
                </a:cubicBezTo>
                <a:cubicBezTo>
                  <a:pt x="889" y="139"/>
                  <a:pt x="888" y="139"/>
                  <a:pt x="889" y="140"/>
                </a:cubicBezTo>
                <a:cubicBezTo>
                  <a:pt x="889" y="140"/>
                  <a:pt x="890" y="140"/>
                  <a:pt x="891" y="140"/>
                </a:cubicBezTo>
                <a:cubicBezTo>
                  <a:pt x="891" y="139"/>
                  <a:pt x="891" y="139"/>
                  <a:pt x="891" y="138"/>
                </a:cubicBezTo>
                <a:cubicBezTo>
                  <a:pt x="890" y="138"/>
                  <a:pt x="891" y="138"/>
                  <a:pt x="891" y="138"/>
                </a:cubicBezTo>
                <a:close/>
                <a:moveTo>
                  <a:pt x="317" y="139"/>
                </a:moveTo>
                <a:cubicBezTo>
                  <a:pt x="317" y="139"/>
                  <a:pt x="318" y="140"/>
                  <a:pt x="319" y="140"/>
                </a:cubicBezTo>
                <a:cubicBezTo>
                  <a:pt x="320" y="140"/>
                  <a:pt x="320" y="140"/>
                  <a:pt x="320" y="139"/>
                </a:cubicBezTo>
                <a:cubicBezTo>
                  <a:pt x="320" y="139"/>
                  <a:pt x="320" y="139"/>
                  <a:pt x="320" y="138"/>
                </a:cubicBezTo>
                <a:cubicBezTo>
                  <a:pt x="319" y="138"/>
                  <a:pt x="318" y="139"/>
                  <a:pt x="317" y="139"/>
                </a:cubicBezTo>
                <a:cubicBezTo>
                  <a:pt x="317" y="139"/>
                  <a:pt x="317" y="139"/>
                  <a:pt x="317" y="139"/>
                </a:cubicBezTo>
                <a:close/>
                <a:moveTo>
                  <a:pt x="893" y="144"/>
                </a:moveTo>
                <a:cubicBezTo>
                  <a:pt x="893" y="143"/>
                  <a:pt x="893" y="142"/>
                  <a:pt x="894" y="143"/>
                </a:cubicBezTo>
                <a:cubicBezTo>
                  <a:pt x="894" y="144"/>
                  <a:pt x="895" y="142"/>
                  <a:pt x="896" y="142"/>
                </a:cubicBezTo>
                <a:cubicBezTo>
                  <a:pt x="897" y="142"/>
                  <a:pt x="897" y="141"/>
                  <a:pt x="897" y="140"/>
                </a:cubicBezTo>
                <a:cubicBezTo>
                  <a:pt x="898" y="139"/>
                  <a:pt x="897" y="139"/>
                  <a:pt x="897" y="138"/>
                </a:cubicBezTo>
                <a:cubicBezTo>
                  <a:pt x="896" y="138"/>
                  <a:pt x="895" y="138"/>
                  <a:pt x="895" y="139"/>
                </a:cubicBezTo>
                <a:cubicBezTo>
                  <a:pt x="895" y="140"/>
                  <a:pt x="895" y="140"/>
                  <a:pt x="894" y="140"/>
                </a:cubicBezTo>
                <a:cubicBezTo>
                  <a:pt x="894" y="140"/>
                  <a:pt x="894" y="138"/>
                  <a:pt x="894" y="138"/>
                </a:cubicBezTo>
                <a:cubicBezTo>
                  <a:pt x="894" y="137"/>
                  <a:pt x="893" y="137"/>
                  <a:pt x="893" y="137"/>
                </a:cubicBezTo>
                <a:cubicBezTo>
                  <a:pt x="893" y="138"/>
                  <a:pt x="892" y="140"/>
                  <a:pt x="892" y="141"/>
                </a:cubicBezTo>
                <a:cubicBezTo>
                  <a:pt x="891" y="141"/>
                  <a:pt x="890" y="142"/>
                  <a:pt x="890" y="143"/>
                </a:cubicBezTo>
                <a:cubicBezTo>
                  <a:pt x="891" y="143"/>
                  <a:pt x="892" y="142"/>
                  <a:pt x="892" y="143"/>
                </a:cubicBezTo>
                <a:cubicBezTo>
                  <a:pt x="892" y="144"/>
                  <a:pt x="891" y="144"/>
                  <a:pt x="893" y="144"/>
                </a:cubicBezTo>
                <a:close/>
                <a:moveTo>
                  <a:pt x="443" y="138"/>
                </a:moveTo>
                <a:cubicBezTo>
                  <a:pt x="442" y="138"/>
                  <a:pt x="441" y="137"/>
                  <a:pt x="440" y="137"/>
                </a:cubicBezTo>
                <a:cubicBezTo>
                  <a:pt x="440" y="138"/>
                  <a:pt x="440" y="138"/>
                  <a:pt x="440" y="139"/>
                </a:cubicBezTo>
                <a:cubicBezTo>
                  <a:pt x="441" y="139"/>
                  <a:pt x="442" y="139"/>
                  <a:pt x="443" y="139"/>
                </a:cubicBezTo>
                <a:cubicBezTo>
                  <a:pt x="443" y="139"/>
                  <a:pt x="443" y="138"/>
                  <a:pt x="443" y="138"/>
                </a:cubicBezTo>
                <a:cubicBezTo>
                  <a:pt x="441" y="138"/>
                  <a:pt x="443" y="138"/>
                  <a:pt x="443" y="138"/>
                </a:cubicBezTo>
                <a:close/>
                <a:moveTo>
                  <a:pt x="334" y="137"/>
                </a:moveTo>
                <a:cubicBezTo>
                  <a:pt x="335" y="137"/>
                  <a:pt x="334" y="136"/>
                  <a:pt x="334" y="136"/>
                </a:cubicBezTo>
                <a:cubicBezTo>
                  <a:pt x="334" y="136"/>
                  <a:pt x="332" y="137"/>
                  <a:pt x="332" y="137"/>
                </a:cubicBezTo>
                <a:cubicBezTo>
                  <a:pt x="332" y="138"/>
                  <a:pt x="332" y="138"/>
                  <a:pt x="332" y="138"/>
                </a:cubicBezTo>
                <a:cubicBezTo>
                  <a:pt x="333" y="138"/>
                  <a:pt x="334" y="138"/>
                  <a:pt x="334" y="137"/>
                </a:cubicBezTo>
                <a:close/>
                <a:moveTo>
                  <a:pt x="896" y="136"/>
                </a:moveTo>
                <a:cubicBezTo>
                  <a:pt x="897" y="137"/>
                  <a:pt x="897" y="134"/>
                  <a:pt x="896" y="136"/>
                </a:cubicBezTo>
                <a:close/>
                <a:moveTo>
                  <a:pt x="898" y="135"/>
                </a:moveTo>
                <a:cubicBezTo>
                  <a:pt x="898" y="134"/>
                  <a:pt x="897" y="135"/>
                  <a:pt x="897" y="135"/>
                </a:cubicBezTo>
                <a:cubicBezTo>
                  <a:pt x="897" y="135"/>
                  <a:pt x="898" y="135"/>
                  <a:pt x="898" y="135"/>
                </a:cubicBezTo>
                <a:close/>
                <a:moveTo>
                  <a:pt x="341" y="136"/>
                </a:moveTo>
                <a:cubicBezTo>
                  <a:pt x="341" y="136"/>
                  <a:pt x="341" y="135"/>
                  <a:pt x="341" y="134"/>
                </a:cubicBezTo>
                <a:cubicBezTo>
                  <a:pt x="341" y="134"/>
                  <a:pt x="341" y="134"/>
                  <a:pt x="341" y="134"/>
                </a:cubicBezTo>
                <a:cubicBezTo>
                  <a:pt x="340" y="135"/>
                  <a:pt x="339" y="135"/>
                  <a:pt x="338" y="135"/>
                </a:cubicBezTo>
                <a:cubicBezTo>
                  <a:pt x="338" y="135"/>
                  <a:pt x="338" y="136"/>
                  <a:pt x="339" y="136"/>
                </a:cubicBezTo>
                <a:cubicBezTo>
                  <a:pt x="339" y="136"/>
                  <a:pt x="339" y="136"/>
                  <a:pt x="339" y="136"/>
                </a:cubicBezTo>
                <a:cubicBezTo>
                  <a:pt x="339" y="136"/>
                  <a:pt x="340" y="136"/>
                  <a:pt x="341" y="136"/>
                </a:cubicBezTo>
                <a:cubicBezTo>
                  <a:pt x="341" y="136"/>
                  <a:pt x="341" y="136"/>
                  <a:pt x="341" y="136"/>
                </a:cubicBezTo>
                <a:close/>
                <a:moveTo>
                  <a:pt x="1581" y="134"/>
                </a:moveTo>
                <a:cubicBezTo>
                  <a:pt x="1581" y="133"/>
                  <a:pt x="1580" y="135"/>
                  <a:pt x="1582" y="135"/>
                </a:cubicBezTo>
                <a:cubicBezTo>
                  <a:pt x="1581" y="134"/>
                  <a:pt x="1581" y="134"/>
                  <a:pt x="1581" y="134"/>
                </a:cubicBezTo>
                <a:close/>
                <a:moveTo>
                  <a:pt x="1053" y="137"/>
                </a:moveTo>
                <a:cubicBezTo>
                  <a:pt x="1054" y="136"/>
                  <a:pt x="1055" y="135"/>
                  <a:pt x="1055" y="135"/>
                </a:cubicBezTo>
                <a:cubicBezTo>
                  <a:pt x="1055" y="134"/>
                  <a:pt x="1054" y="134"/>
                  <a:pt x="1054" y="133"/>
                </a:cubicBezTo>
                <a:cubicBezTo>
                  <a:pt x="1054" y="133"/>
                  <a:pt x="1053" y="133"/>
                  <a:pt x="1053" y="133"/>
                </a:cubicBezTo>
                <a:cubicBezTo>
                  <a:pt x="1053" y="132"/>
                  <a:pt x="1051" y="132"/>
                  <a:pt x="1051" y="132"/>
                </a:cubicBezTo>
                <a:cubicBezTo>
                  <a:pt x="1051" y="133"/>
                  <a:pt x="1050" y="133"/>
                  <a:pt x="1050" y="133"/>
                </a:cubicBezTo>
                <a:cubicBezTo>
                  <a:pt x="1049" y="134"/>
                  <a:pt x="1049" y="135"/>
                  <a:pt x="1049" y="136"/>
                </a:cubicBezTo>
                <a:cubicBezTo>
                  <a:pt x="1050" y="136"/>
                  <a:pt x="1049" y="137"/>
                  <a:pt x="1050" y="137"/>
                </a:cubicBezTo>
                <a:cubicBezTo>
                  <a:pt x="1050" y="138"/>
                  <a:pt x="1051" y="138"/>
                  <a:pt x="1051" y="138"/>
                </a:cubicBezTo>
                <a:cubicBezTo>
                  <a:pt x="1052" y="139"/>
                  <a:pt x="1052" y="139"/>
                  <a:pt x="1052" y="139"/>
                </a:cubicBezTo>
                <a:cubicBezTo>
                  <a:pt x="1053" y="139"/>
                  <a:pt x="1052" y="137"/>
                  <a:pt x="1053" y="137"/>
                </a:cubicBezTo>
                <a:cubicBezTo>
                  <a:pt x="1054" y="137"/>
                  <a:pt x="1053" y="137"/>
                  <a:pt x="1053" y="137"/>
                </a:cubicBezTo>
                <a:close/>
                <a:moveTo>
                  <a:pt x="444" y="133"/>
                </a:moveTo>
                <a:cubicBezTo>
                  <a:pt x="444" y="133"/>
                  <a:pt x="444" y="132"/>
                  <a:pt x="444" y="132"/>
                </a:cubicBezTo>
                <a:cubicBezTo>
                  <a:pt x="443" y="132"/>
                  <a:pt x="443" y="132"/>
                  <a:pt x="443" y="132"/>
                </a:cubicBezTo>
                <a:cubicBezTo>
                  <a:pt x="444" y="133"/>
                  <a:pt x="444" y="133"/>
                  <a:pt x="444" y="133"/>
                </a:cubicBezTo>
                <a:cubicBezTo>
                  <a:pt x="444" y="133"/>
                  <a:pt x="444" y="133"/>
                  <a:pt x="444" y="133"/>
                </a:cubicBezTo>
                <a:close/>
                <a:moveTo>
                  <a:pt x="339" y="133"/>
                </a:moveTo>
                <a:cubicBezTo>
                  <a:pt x="338" y="132"/>
                  <a:pt x="338" y="132"/>
                  <a:pt x="338" y="132"/>
                </a:cubicBezTo>
                <a:cubicBezTo>
                  <a:pt x="338" y="133"/>
                  <a:pt x="338" y="133"/>
                  <a:pt x="339" y="133"/>
                </a:cubicBezTo>
                <a:cubicBezTo>
                  <a:pt x="338" y="132"/>
                  <a:pt x="339" y="133"/>
                  <a:pt x="339" y="133"/>
                </a:cubicBezTo>
                <a:close/>
                <a:moveTo>
                  <a:pt x="899" y="137"/>
                </a:moveTo>
                <a:cubicBezTo>
                  <a:pt x="899" y="137"/>
                  <a:pt x="900" y="137"/>
                  <a:pt x="900" y="137"/>
                </a:cubicBezTo>
                <a:cubicBezTo>
                  <a:pt x="901" y="136"/>
                  <a:pt x="901" y="136"/>
                  <a:pt x="902" y="136"/>
                </a:cubicBezTo>
                <a:cubicBezTo>
                  <a:pt x="902" y="136"/>
                  <a:pt x="902" y="136"/>
                  <a:pt x="902" y="136"/>
                </a:cubicBezTo>
                <a:cubicBezTo>
                  <a:pt x="903" y="136"/>
                  <a:pt x="903" y="135"/>
                  <a:pt x="903" y="135"/>
                </a:cubicBezTo>
                <a:cubicBezTo>
                  <a:pt x="904" y="134"/>
                  <a:pt x="903" y="132"/>
                  <a:pt x="903" y="131"/>
                </a:cubicBezTo>
                <a:cubicBezTo>
                  <a:pt x="902" y="131"/>
                  <a:pt x="902" y="132"/>
                  <a:pt x="902" y="132"/>
                </a:cubicBezTo>
                <a:cubicBezTo>
                  <a:pt x="901" y="132"/>
                  <a:pt x="901" y="132"/>
                  <a:pt x="900" y="133"/>
                </a:cubicBezTo>
                <a:cubicBezTo>
                  <a:pt x="900" y="134"/>
                  <a:pt x="899" y="133"/>
                  <a:pt x="899" y="134"/>
                </a:cubicBezTo>
                <a:cubicBezTo>
                  <a:pt x="899" y="135"/>
                  <a:pt x="899" y="135"/>
                  <a:pt x="899" y="135"/>
                </a:cubicBezTo>
                <a:cubicBezTo>
                  <a:pt x="899" y="136"/>
                  <a:pt x="899" y="135"/>
                  <a:pt x="899" y="136"/>
                </a:cubicBezTo>
                <a:cubicBezTo>
                  <a:pt x="899" y="136"/>
                  <a:pt x="899" y="137"/>
                  <a:pt x="899" y="137"/>
                </a:cubicBezTo>
                <a:cubicBezTo>
                  <a:pt x="900" y="137"/>
                  <a:pt x="899" y="137"/>
                  <a:pt x="899" y="137"/>
                </a:cubicBezTo>
                <a:close/>
                <a:moveTo>
                  <a:pt x="457" y="133"/>
                </a:moveTo>
                <a:cubicBezTo>
                  <a:pt x="457" y="132"/>
                  <a:pt x="457" y="132"/>
                  <a:pt x="457" y="131"/>
                </a:cubicBezTo>
                <a:cubicBezTo>
                  <a:pt x="456" y="131"/>
                  <a:pt x="456" y="132"/>
                  <a:pt x="455" y="132"/>
                </a:cubicBezTo>
                <a:cubicBezTo>
                  <a:pt x="456" y="133"/>
                  <a:pt x="456" y="133"/>
                  <a:pt x="457" y="133"/>
                </a:cubicBezTo>
                <a:close/>
                <a:moveTo>
                  <a:pt x="1580" y="131"/>
                </a:moveTo>
                <a:cubicBezTo>
                  <a:pt x="1580" y="131"/>
                  <a:pt x="1580" y="132"/>
                  <a:pt x="1580" y="132"/>
                </a:cubicBezTo>
                <a:cubicBezTo>
                  <a:pt x="1580" y="131"/>
                  <a:pt x="1580" y="131"/>
                  <a:pt x="1580" y="131"/>
                </a:cubicBezTo>
                <a:close/>
                <a:moveTo>
                  <a:pt x="447" y="130"/>
                </a:moveTo>
                <a:cubicBezTo>
                  <a:pt x="445" y="130"/>
                  <a:pt x="445" y="130"/>
                  <a:pt x="445" y="131"/>
                </a:cubicBezTo>
                <a:cubicBezTo>
                  <a:pt x="445" y="131"/>
                  <a:pt x="445" y="131"/>
                  <a:pt x="445" y="132"/>
                </a:cubicBezTo>
                <a:cubicBezTo>
                  <a:pt x="446" y="131"/>
                  <a:pt x="447" y="131"/>
                  <a:pt x="447" y="130"/>
                </a:cubicBezTo>
                <a:close/>
                <a:moveTo>
                  <a:pt x="436" y="130"/>
                </a:moveTo>
                <a:cubicBezTo>
                  <a:pt x="436" y="130"/>
                  <a:pt x="436" y="130"/>
                  <a:pt x="436" y="130"/>
                </a:cubicBezTo>
                <a:cubicBezTo>
                  <a:pt x="436" y="130"/>
                  <a:pt x="436" y="130"/>
                  <a:pt x="436" y="129"/>
                </a:cubicBezTo>
                <a:cubicBezTo>
                  <a:pt x="436" y="130"/>
                  <a:pt x="436" y="130"/>
                  <a:pt x="436" y="130"/>
                </a:cubicBezTo>
                <a:close/>
                <a:moveTo>
                  <a:pt x="441" y="128"/>
                </a:moveTo>
                <a:cubicBezTo>
                  <a:pt x="441" y="129"/>
                  <a:pt x="440" y="129"/>
                  <a:pt x="439" y="129"/>
                </a:cubicBezTo>
                <a:cubicBezTo>
                  <a:pt x="438" y="129"/>
                  <a:pt x="437" y="129"/>
                  <a:pt x="436" y="129"/>
                </a:cubicBezTo>
                <a:cubicBezTo>
                  <a:pt x="436" y="129"/>
                  <a:pt x="437" y="131"/>
                  <a:pt x="437" y="131"/>
                </a:cubicBezTo>
                <a:cubicBezTo>
                  <a:pt x="438" y="130"/>
                  <a:pt x="439" y="131"/>
                  <a:pt x="439" y="132"/>
                </a:cubicBezTo>
                <a:cubicBezTo>
                  <a:pt x="441" y="131"/>
                  <a:pt x="443" y="130"/>
                  <a:pt x="444" y="128"/>
                </a:cubicBezTo>
                <a:cubicBezTo>
                  <a:pt x="443" y="128"/>
                  <a:pt x="442" y="128"/>
                  <a:pt x="441" y="128"/>
                </a:cubicBezTo>
                <a:cubicBezTo>
                  <a:pt x="441" y="128"/>
                  <a:pt x="441" y="128"/>
                  <a:pt x="441" y="128"/>
                </a:cubicBezTo>
                <a:close/>
                <a:moveTo>
                  <a:pt x="357" y="129"/>
                </a:moveTo>
                <a:cubicBezTo>
                  <a:pt x="357" y="129"/>
                  <a:pt x="357" y="129"/>
                  <a:pt x="356" y="129"/>
                </a:cubicBezTo>
                <a:cubicBezTo>
                  <a:pt x="356" y="129"/>
                  <a:pt x="356" y="129"/>
                  <a:pt x="355" y="129"/>
                </a:cubicBezTo>
                <a:cubicBezTo>
                  <a:pt x="355" y="129"/>
                  <a:pt x="355" y="128"/>
                  <a:pt x="354" y="128"/>
                </a:cubicBezTo>
                <a:cubicBezTo>
                  <a:pt x="354" y="128"/>
                  <a:pt x="353" y="129"/>
                  <a:pt x="353" y="129"/>
                </a:cubicBezTo>
                <a:cubicBezTo>
                  <a:pt x="353" y="129"/>
                  <a:pt x="353" y="128"/>
                  <a:pt x="353" y="128"/>
                </a:cubicBezTo>
                <a:cubicBezTo>
                  <a:pt x="352" y="128"/>
                  <a:pt x="351" y="128"/>
                  <a:pt x="351" y="129"/>
                </a:cubicBezTo>
                <a:cubicBezTo>
                  <a:pt x="351" y="129"/>
                  <a:pt x="351" y="130"/>
                  <a:pt x="351" y="130"/>
                </a:cubicBezTo>
                <a:cubicBezTo>
                  <a:pt x="350" y="130"/>
                  <a:pt x="350" y="129"/>
                  <a:pt x="350" y="129"/>
                </a:cubicBezTo>
                <a:cubicBezTo>
                  <a:pt x="349" y="129"/>
                  <a:pt x="349" y="129"/>
                  <a:pt x="349" y="130"/>
                </a:cubicBezTo>
                <a:cubicBezTo>
                  <a:pt x="348" y="131"/>
                  <a:pt x="348" y="132"/>
                  <a:pt x="348" y="132"/>
                </a:cubicBezTo>
                <a:cubicBezTo>
                  <a:pt x="348" y="134"/>
                  <a:pt x="347" y="134"/>
                  <a:pt x="345" y="134"/>
                </a:cubicBezTo>
                <a:cubicBezTo>
                  <a:pt x="344" y="135"/>
                  <a:pt x="345" y="136"/>
                  <a:pt x="346" y="136"/>
                </a:cubicBezTo>
                <a:cubicBezTo>
                  <a:pt x="346" y="136"/>
                  <a:pt x="347" y="136"/>
                  <a:pt x="347" y="136"/>
                </a:cubicBezTo>
                <a:cubicBezTo>
                  <a:pt x="347" y="136"/>
                  <a:pt x="347" y="137"/>
                  <a:pt x="347" y="137"/>
                </a:cubicBezTo>
                <a:cubicBezTo>
                  <a:pt x="348" y="137"/>
                  <a:pt x="347" y="137"/>
                  <a:pt x="347" y="137"/>
                </a:cubicBezTo>
                <a:cubicBezTo>
                  <a:pt x="348" y="137"/>
                  <a:pt x="348" y="137"/>
                  <a:pt x="349" y="137"/>
                </a:cubicBezTo>
                <a:cubicBezTo>
                  <a:pt x="349" y="137"/>
                  <a:pt x="349" y="136"/>
                  <a:pt x="349" y="136"/>
                </a:cubicBezTo>
                <a:cubicBezTo>
                  <a:pt x="350" y="136"/>
                  <a:pt x="350" y="136"/>
                  <a:pt x="350" y="136"/>
                </a:cubicBezTo>
                <a:cubicBezTo>
                  <a:pt x="350" y="137"/>
                  <a:pt x="351" y="137"/>
                  <a:pt x="350" y="137"/>
                </a:cubicBezTo>
                <a:cubicBezTo>
                  <a:pt x="350" y="138"/>
                  <a:pt x="350" y="138"/>
                  <a:pt x="351" y="138"/>
                </a:cubicBezTo>
                <a:cubicBezTo>
                  <a:pt x="352" y="138"/>
                  <a:pt x="352" y="139"/>
                  <a:pt x="352" y="139"/>
                </a:cubicBezTo>
                <a:cubicBezTo>
                  <a:pt x="352" y="139"/>
                  <a:pt x="353" y="140"/>
                  <a:pt x="353" y="140"/>
                </a:cubicBezTo>
                <a:cubicBezTo>
                  <a:pt x="353" y="141"/>
                  <a:pt x="354" y="140"/>
                  <a:pt x="354" y="140"/>
                </a:cubicBezTo>
                <a:cubicBezTo>
                  <a:pt x="354" y="140"/>
                  <a:pt x="354" y="140"/>
                  <a:pt x="354" y="140"/>
                </a:cubicBezTo>
                <a:cubicBezTo>
                  <a:pt x="354" y="140"/>
                  <a:pt x="355" y="140"/>
                  <a:pt x="355" y="140"/>
                </a:cubicBezTo>
                <a:cubicBezTo>
                  <a:pt x="356" y="140"/>
                  <a:pt x="356" y="140"/>
                  <a:pt x="356" y="140"/>
                </a:cubicBezTo>
                <a:cubicBezTo>
                  <a:pt x="356" y="139"/>
                  <a:pt x="356" y="139"/>
                  <a:pt x="356" y="138"/>
                </a:cubicBezTo>
                <a:cubicBezTo>
                  <a:pt x="356" y="138"/>
                  <a:pt x="357" y="138"/>
                  <a:pt x="357" y="139"/>
                </a:cubicBezTo>
                <a:cubicBezTo>
                  <a:pt x="358" y="139"/>
                  <a:pt x="359" y="139"/>
                  <a:pt x="360" y="139"/>
                </a:cubicBezTo>
                <a:cubicBezTo>
                  <a:pt x="360" y="137"/>
                  <a:pt x="361" y="138"/>
                  <a:pt x="362" y="138"/>
                </a:cubicBezTo>
                <a:cubicBezTo>
                  <a:pt x="363" y="138"/>
                  <a:pt x="363" y="138"/>
                  <a:pt x="363" y="137"/>
                </a:cubicBezTo>
                <a:cubicBezTo>
                  <a:pt x="363" y="137"/>
                  <a:pt x="363" y="137"/>
                  <a:pt x="363" y="137"/>
                </a:cubicBezTo>
                <a:cubicBezTo>
                  <a:pt x="363" y="137"/>
                  <a:pt x="362" y="137"/>
                  <a:pt x="362" y="137"/>
                </a:cubicBezTo>
                <a:cubicBezTo>
                  <a:pt x="362" y="137"/>
                  <a:pt x="362" y="136"/>
                  <a:pt x="362" y="136"/>
                </a:cubicBezTo>
                <a:cubicBezTo>
                  <a:pt x="361" y="136"/>
                  <a:pt x="361" y="133"/>
                  <a:pt x="361" y="132"/>
                </a:cubicBezTo>
                <a:cubicBezTo>
                  <a:pt x="361" y="132"/>
                  <a:pt x="361" y="132"/>
                  <a:pt x="360" y="132"/>
                </a:cubicBezTo>
                <a:cubicBezTo>
                  <a:pt x="360" y="132"/>
                  <a:pt x="360" y="131"/>
                  <a:pt x="359" y="131"/>
                </a:cubicBezTo>
                <a:cubicBezTo>
                  <a:pt x="359" y="130"/>
                  <a:pt x="358" y="130"/>
                  <a:pt x="358" y="130"/>
                </a:cubicBezTo>
                <a:cubicBezTo>
                  <a:pt x="358" y="129"/>
                  <a:pt x="358" y="129"/>
                  <a:pt x="357" y="129"/>
                </a:cubicBezTo>
                <a:close/>
                <a:moveTo>
                  <a:pt x="905" y="128"/>
                </a:moveTo>
                <a:cubicBezTo>
                  <a:pt x="905" y="128"/>
                  <a:pt x="905" y="129"/>
                  <a:pt x="904" y="129"/>
                </a:cubicBezTo>
                <a:cubicBezTo>
                  <a:pt x="904" y="130"/>
                  <a:pt x="904" y="131"/>
                  <a:pt x="905" y="131"/>
                </a:cubicBezTo>
                <a:cubicBezTo>
                  <a:pt x="906" y="130"/>
                  <a:pt x="906" y="130"/>
                  <a:pt x="906" y="130"/>
                </a:cubicBezTo>
                <a:cubicBezTo>
                  <a:pt x="906" y="130"/>
                  <a:pt x="906" y="130"/>
                  <a:pt x="907" y="130"/>
                </a:cubicBezTo>
                <a:cubicBezTo>
                  <a:pt x="907" y="130"/>
                  <a:pt x="907" y="130"/>
                  <a:pt x="907" y="129"/>
                </a:cubicBezTo>
                <a:cubicBezTo>
                  <a:pt x="907" y="129"/>
                  <a:pt x="907" y="129"/>
                  <a:pt x="907" y="129"/>
                </a:cubicBezTo>
                <a:cubicBezTo>
                  <a:pt x="907" y="129"/>
                  <a:pt x="907" y="128"/>
                  <a:pt x="908" y="128"/>
                </a:cubicBezTo>
                <a:cubicBezTo>
                  <a:pt x="907" y="128"/>
                  <a:pt x="907" y="128"/>
                  <a:pt x="907" y="127"/>
                </a:cubicBezTo>
                <a:cubicBezTo>
                  <a:pt x="906" y="128"/>
                  <a:pt x="906" y="128"/>
                  <a:pt x="905" y="128"/>
                </a:cubicBezTo>
                <a:close/>
                <a:moveTo>
                  <a:pt x="383" y="128"/>
                </a:moveTo>
                <a:cubicBezTo>
                  <a:pt x="383" y="128"/>
                  <a:pt x="383" y="128"/>
                  <a:pt x="383" y="128"/>
                </a:cubicBezTo>
                <a:cubicBezTo>
                  <a:pt x="383" y="127"/>
                  <a:pt x="383" y="127"/>
                  <a:pt x="383" y="127"/>
                </a:cubicBezTo>
                <a:cubicBezTo>
                  <a:pt x="383" y="127"/>
                  <a:pt x="383" y="128"/>
                  <a:pt x="383" y="128"/>
                </a:cubicBezTo>
                <a:close/>
                <a:moveTo>
                  <a:pt x="1618" y="131"/>
                </a:moveTo>
                <a:cubicBezTo>
                  <a:pt x="1619" y="130"/>
                  <a:pt x="1620" y="130"/>
                  <a:pt x="1621" y="129"/>
                </a:cubicBezTo>
                <a:cubicBezTo>
                  <a:pt x="1620" y="129"/>
                  <a:pt x="1619" y="128"/>
                  <a:pt x="1619" y="127"/>
                </a:cubicBezTo>
                <a:cubicBezTo>
                  <a:pt x="1618" y="127"/>
                  <a:pt x="1616" y="127"/>
                  <a:pt x="1616" y="128"/>
                </a:cubicBezTo>
                <a:cubicBezTo>
                  <a:pt x="1616" y="128"/>
                  <a:pt x="1616" y="129"/>
                  <a:pt x="1616" y="129"/>
                </a:cubicBezTo>
                <a:cubicBezTo>
                  <a:pt x="1617" y="130"/>
                  <a:pt x="1618" y="130"/>
                  <a:pt x="1618" y="131"/>
                </a:cubicBezTo>
                <a:cubicBezTo>
                  <a:pt x="1619" y="130"/>
                  <a:pt x="1618" y="131"/>
                  <a:pt x="1618" y="131"/>
                </a:cubicBezTo>
                <a:close/>
                <a:moveTo>
                  <a:pt x="409" y="130"/>
                </a:moveTo>
                <a:cubicBezTo>
                  <a:pt x="408" y="129"/>
                  <a:pt x="406" y="128"/>
                  <a:pt x="406" y="128"/>
                </a:cubicBezTo>
                <a:cubicBezTo>
                  <a:pt x="406" y="128"/>
                  <a:pt x="406" y="127"/>
                  <a:pt x="406" y="127"/>
                </a:cubicBezTo>
                <a:cubicBezTo>
                  <a:pt x="406" y="127"/>
                  <a:pt x="405" y="127"/>
                  <a:pt x="405" y="127"/>
                </a:cubicBezTo>
                <a:cubicBezTo>
                  <a:pt x="405" y="127"/>
                  <a:pt x="405" y="126"/>
                  <a:pt x="405" y="126"/>
                </a:cubicBezTo>
                <a:cubicBezTo>
                  <a:pt x="405" y="126"/>
                  <a:pt x="405" y="127"/>
                  <a:pt x="405" y="127"/>
                </a:cubicBezTo>
                <a:cubicBezTo>
                  <a:pt x="405" y="127"/>
                  <a:pt x="405" y="127"/>
                  <a:pt x="405" y="127"/>
                </a:cubicBezTo>
                <a:cubicBezTo>
                  <a:pt x="405" y="128"/>
                  <a:pt x="405" y="129"/>
                  <a:pt x="406" y="130"/>
                </a:cubicBezTo>
                <a:cubicBezTo>
                  <a:pt x="406" y="131"/>
                  <a:pt x="407" y="130"/>
                  <a:pt x="409" y="130"/>
                </a:cubicBezTo>
                <a:close/>
                <a:moveTo>
                  <a:pt x="1105" y="132"/>
                </a:moveTo>
                <a:cubicBezTo>
                  <a:pt x="1105" y="132"/>
                  <a:pt x="1105" y="132"/>
                  <a:pt x="1106" y="132"/>
                </a:cubicBezTo>
                <a:cubicBezTo>
                  <a:pt x="1105" y="131"/>
                  <a:pt x="1105" y="130"/>
                  <a:pt x="1104" y="129"/>
                </a:cubicBezTo>
                <a:cubicBezTo>
                  <a:pt x="1104" y="129"/>
                  <a:pt x="1103" y="129"/>
                  <a:pt x="1103" y="129"/>
                </a:cubicBezTo>
                <a:cubicBezTo>
                  <a:pt x="1102" y="129"/>
                  <a:pt x="1102" y="129"/>
                  <a:pt x="1102" y="128"/>
                </a:cubicBezTo>
                <a:cubicBezTo>
                  <a:pt x="1102" y="128"/>
                  <a:pt x="1101" y="128"/>
                  <a:pt x="1101" y="128"/>
                </a:cubicBezTo>
                <a:cubicBezTo>
                  <a:pt x="1100" y="128"/>
                  <a:pt x="1100" y="127"/>
                  <a:pt x="1099" y="127"/>
                </a:cubicBezTo>
                <a:cubicBezTo>
                  <a:pt x="1099" y="126"/>
                  <a:pt x="1098" y="125"/>
                  <a:pt x="1097" y="125"/>
                </a:cubicBezTo>
                <a:cubicBezTo>
                  <a:pt x="1096" y="125"/>
                  <a:pt x="1096" y="125"/>
                  <a:pt x="1096" y="126"/>
                </a:cubicBezTo>
                <a:cubicBezTo>
                  <a:pt x="1096" y="126"/>
                  <a:pt x="1096" y="126"/>
                  <a:pt x="1096" y="127"/>
                </a:cubicBezTo>
                <a:cubicBezTo>
                  <a:pt x="1096" y="127"/>
                  <a:pt x="1096" y="127"/>
                  <a:pt x="1095" y="127"/>
                </a:cubicBezTo>
                <a:cubicBezTo>
                  <a:pt x="1095" y="128"/>
                  <a:pt x="1096" y="131"/>
                  <a:pt x="1097" y="130"/>
                </a:cubicBezTo>
                <a:cubicBezTo>
                  <a:pt x="1097" y="130"/>
                  <a:pt x="1099" y="130"/>
                  <a:pt x="1100" y="130"/>
                </a:cubicBezTo>
                <a:cubicBezTo>
                  <a:pt x="1100" y="131"/>
                  <a:pt x="1100" y="131"/>
                  <a:pt x="1100" y="131"/>
                </a:cubicBezTo>
                <a:cubicBezTo>
                  <a:pt x="1100" y="131"/>
                  <a:pt x="1101" y="131"/>
                  <a:pt x="1101" y="131"/>
                </a:cubicBezTo>
                <a:cubicBezTo>
                  <a:pt x="1101" y="131"/>
                  <a:pt x="1100" y="132"/>
                  <a:pt x="1101" y="132"/>
                </a:cubicBezTo>
                <a:cubicBezTo>
                  <a:pt x="1102" y="132"/>
                  <a:pt x="1103" y="132"/>
                  <a:pt x="1103" y="132"/>
                </a:cubicBezTo>
                <a:cubicBezTo>
                  <a:pt x="1104" y="132"/>
                  <a:pt x="1105" y="132"/>
                  <a:pt x="1105" y="132"/>
                </a:cubicBezTo>
                <a:close/>
                <a:moveTo>
                  <a:pt x="910" y="125"/>
                </a:moveTo>
                <a:cubicBezTo>
                  <a:pt x="909" y="125"/>
                  <a:pt x="909" y="125"/>
                  <a:pt x="908" y="125"/>
                </a:cubicBezTo>
                <a:cubicBezTo>
                  <a:pt x="908" y="125"/>
                  <a:pt x="907" y="126"/>
                  <a:pt x="907" y="126"/>
                </a:cubicBezTo>
                <a:cubicBezTo>
                  <a:pt x="907" y="127"/>
                  <a:pt x="908" y="128"/>
                  <a:pt x="909" y="128"/>
                </a:cubicBezTo>
                <a:cubicBezTo>
                  <a:pt x="909" y="127"/>
                  <a:pt x="910" y="126"/>
                  <a:pt x="910" y="125"/>
                </a:cubicBezTo>
                <a:cubicBezTo>
                  <a:pt x="909" y="125"/>
                  <a:pt x="910" y="125"/>
                  <a:pt x="910" y="125"/>
                </a:cubicBezTo>
                <a:close/>
                <a:moveTo>
                  <a:pt x="408" y="125"/>
                </a:moveTo>
                <a:cubicBezTo>
                  <a:pt x="408" y="124"/>
                  <a:pt x="407" y="124"/>
                  <a:pt x="406" y="124"/>
                </a:cubicBezTo>
                <a:cubicBezTo>
                  <a:pt x="407" y="125"/>
                  <a:pt x="407" y="125"/>
                  <a:pt x="408" y="125"/>
                </a:cubicBezTo>
                <a:close/>
                <a:moveTo>
                  <a:pt x="1087" y="124"/>
                </a:moveTo>
                <a:cubicBezTo>
                  <a:pt x="1088" y="124"/>
                  <a:pt x="1088" y="124"/>
                  <a:pt x="1088" y="124"/>
                </a:cubicBezTo>
                <a:cubicBezTo>
                  <a:pt x="1089" y="123"/>
                  <a:pt x="1088" y="123"/>
                  <a:pt x="1087" y="123"/>
                </a:cubicBezTo>
                <a:cubicBezTo>
                  <a:pt x="1087" y="123"/>
                  <a:pt x="1087" y="124"/>
                  <a:pt x="1087" y="124"/>
                </a:cubicBezTo>
                <a:cubicBezTo>
                  <a:pt x="1088" y="124"/>
                  <a:pt x="1087" y="124"/>
                  <a:pt x="1087" y="124"/>
                </a:cubicBezTo>
                <a:close/>
                <a:moveTo>
                  <a:pt x="915" y="125"/>
                </a:moveTo>
                <a:cubicBezTo>
                  <a:pt x="916" y="124"/>
                  <a:pt x="916" y="124"/>
                  <a:pt x="916" y="123"/>
                </a:cubicBezTo>
                <a:cubicBezTo>
                  <a:pt x="914" y="123"/>
                  <a:pt x="914" y="125"/>
                  <a:pt x="915" y="125"/>
                </a:cubicBezTo>
                <a:cubicBezTo>
                  <a:pt x="916" y="124"/>
                  <a:pt x="915" y="125"/>
                  <a:pt x="915" y="125"/>
                </a:cubicBezTo>
                <a:close/>
                <a:moveTo>
                  <a:pt x="946" y="123"/>
                </a:moveTo>
                <a:cubicBezTo>
                  <a:pt x="946" y="123"/>
                  <a:pt x="946" y="123"/>
                  <a:pt x="945" y="123"/>
                </a:cubicBezTo>
                <a:cubicBezTo>
                  <a:pt x="945" y="123"/>
                  <a:pt x="945" y="123"/>
                  <a:pt x="946" y="123"/>
                </a:cubicBezTo>
                <a:cubicBezTo>
                  <a:pt x="945" y="123"/>
                  <a:pt x="946" y="123"/>
                  <a:pt x="946" y="123"/>
                </a:cubicBezTo>
                <a:close/>
                <a:moveTo>
                  <a:pt x="923" y="123"/>
                </a:moveTo>
                <a:cubicBezTo>
                  <a:pt x="924" y="123"/>
                  <a:pt x="926" y="123"/>
                  <a:pt x="925" y="123"/>
                </a:cubicBezTo>
                <a:cubicBezTo>
                  <a:pt x="924" y="122"/>
                  <a:pt x="923" y="122"/>
                  <a:pt x="923" y="123"/>
                </a:cubicBezTo>
                <a:close/>
                <a:moveTo>
                  <a:pt x="911" y="123"/>
                </a:moveTo>
                <a:cubicBezTo>
                  <a:pt x="911" y="123"/>
                  <a:pt x="911" y="124"/>
                  <a:pt x="912" y="125"/>
                </a:cubicBezTo>
                <a:cubicBezTo>
                  <a:pt x="912" y="125"/>
                  <a:pt x="912" y="125"/>
                  <a:pt x="913" y="125"/>
                </a:cubicBezTo>
                <a:cubicBezTo>
                  <a:pt x="913" y="124"/>
                  <a:pt x="912" y="123"/>
                  <a:pt x="911" y="123"/>
                </a:cubicBezTo>
                <a:cubicBezTo>
                  <a:pt x="911" y="124"/>
                  <a:pt x="911" y="123"/>
                  <a:pt x="911" y="123"/>
                </a:cubicBezTo>
                <a:close/>
                <a:moveTo>
                  <a:pt x="1529" y="123"/>
                </a:moveTo>
                <a:cubicBezTo>
                  <a:pt x="1529" y="123"/>
                  <a:pt x="1530" y="123"/>
                  <a:pt x="1530" y="122"/>
                </a:cubicBezTo>
                <a:cubicBezTo>
                  <a:pt x="1529" y="122"/>
                  <a:pt x="1529" y="122"/>
                  <a:pt x="1529" y="123"/>
                </a:cubicBezTo>
                <a:cubicBezTo>
                  <a:pt x="1530" y="123"/>
                  <a:pt x="1529" y="123"/>
                  <a:pt x="1529" y="123"/>
                </a:cubicBezTo>
                <a:close/>
                <a:moveTo>
                  <a:pt x="928" y="124"/>
                </a:moveTo>
                <a:cubicBezTo>
                  <a:pt x="928" y="124"/>
                  <a:pt x="928" y="124"/>
                  <a:pt x="928" y="124"/>
                </a:cubicBezTo>
                <a:cubicBezTo>
                  <a:pt x="929" y="123"/>
                  <a:pt x="929" y="122"/>
                  <a:pt x="930" y="121"/>
                </a:cubicBezTo>
                <a:cubicBezTo>
                  <a:pt x="928" y="121"/>
                  <a:pt x="928" y="121"/>
                  <a:pt x="927" y="121"/>
                </a:cubicBezTo>
                <a:cubicBezTo>
                  <a:pt x="926" y="122"/>
                  <a:pt x="927" y="121"/>
                  <a:pt x="926" y="122"/>
                </a:cubicBezTo>
                <a:cubicBezTo>
                  <a:pt x="926" y="123"/>
                  <a:pt x="927" y="123"/>
                  <a:pt x="928" y="124"/>
                </a:cubicBezTo>
                <a:cubicBezTo>
                  <a:pt x="928" y="124"/>
                  <a:pt x="928" y="124"/>
                  <a:pt x="928" y="124"/>
                </a:cubicBezTo>
                <a:close/>
                <a:moveTo>
                  <a:pt x="339" y="123"/>
                </a:moveTo>
                <a:cubicBezTo>
                  <a:pt x="339" y="122"/>
                  <a:pt x="340" y="121"/>
                  <a:pt x="340" y="120"/>
                </a:cubicBezTo>
                <a:cubicBezTo>
                  <a:pt x="339" y="120"/>
                  <a:pt x="339" y="120"/>
                  <a:pt x="339" y="121"/>
                </a:cubicBezTo>
                <a:cubicBezTo>
                  <a:pt x="339" y="121"/>
                  <a:pt x="338" y="121"/>
                  <a:pt x="338" y="122"/>
                </a:cubicBezTo>
                <a:cubicBezTo>
                  <a:pt x="338" y="122"/>
                  <a:pt x="338" y="123"/>
                  <a:pt x="338" y="123"/>
                </a:cubicBezTo>
                <a:cubicBezTo>
                  <a:pt x="338" y="123"/>
                  <a:pt x="339" y="123"/>
                  <a:pt x="339" y="123"/>
                </a:cubicBezTo>
                <a:cubicBezTo>
                  <a:pt x="339" y="121"/>
                  <a:pt x="339" y="123"/>
                  <a:pt x="339" y="123"/>
                </a:cubicBezTo>
                <a:close/>
                <a:moveTo>
                  <a:pt x="1533" y="120"/>
                </a:moveTo>
                <a:cubicBezTo>
                  <a:pt x="1533" y="120"/>
                  <a:pt x="1533" y="120"/>
                  <a:pt x="1533" y="119"/>
                </a:cubicBezTo>
                <a:cubicBezTo>
                  <a:pt x="1532" y="120"/>
                  <a:pt x="1531" y="121"/>
                  <a:pt x="1530" y="122"/>
                </a:cubicBezTo>
                <a:cubicBezTo>
                  <a:pt x="1531" y="122"/>
                  <a:pt x="1533" y="122"/>
                  <a:pt x="1533" y="121"/>
                </a:cubicBezTo>
                <a:cubicBezTo>
                  <a:pt x="1533" y="121"/>
                  <a:pt x="1533" y="120"/>
                  <a:pt x="1533" y="120"/>
                </a:cubicBezTo>
                <a:close/>
                <a:moveTo>
                  <a:pt x="692" y="122"/>
                </a:moveTo>
                <a:cubicBezTo>
                  <a:pt x="692" y="121"/>
                  <a:pt x="694" y="122"/>
                  <a:pt x="694" y="122"/>
                </a:cubicBezTo>
                <a:cubicBezTo>
                  <a:pt x="695" y="122"/>
                  <a:pt x="695" y="122"/>
                  <a:pt x="696" y="122"/>
                </a:cubicBezTo>
                <a:cubicBezTo>
                  <a:pt x="696" y="122"/>
                  <a:pt x="697" y="122"/>
                  <a:pt x="698" y="122"/>
                </a:cubicBezTo>
                <a:cubicBezTo>
                  <a:pt x="699" y="121"/>
                  <a:pt x="698" y="120"/>
                  <a:pt x="698" y="120"/>
                </a:cubicBezTo>
                <a:cubicBezTo>
                  <a:pt x="698" y="119"/>
                  <a:pt x="698" y="119"/>
                  <a:pt x="697" y="119"/>
                </a:cubicBezTo>
                <a:cubicBezTo>
                  <a:pt x="696" y="119"/>
                  <a:pt x="694" y="120"/>
                  <a:pt x="694" y="119"/>
                </a:cubicBezTo>
                <a:cubicBezTo>
                  <a:pt x="693" y="119"/>
                  <a:pt x="693" y="119"/>
                  <a:pt x="692" y="119"/>
                </a:cubicBezTo>
                <a:cubicBezTo>
                  <a:pt x="692" y="119"/>
                  <a:pt x="691" y="119"/>
                  <a:pt x="690" y="119"/>
                </a:cubicBezTo>
                <a:cubicBezTo>
                  <a:pt x="689" y="119"/>
                  <a:pt x="687" y="120"/>
                  <a:pt x="687" y="120"/>
                </a:cubicBezTo>
                <a:cubicBezTo>
                  <a:pt x="687" y="120"/>
                  <a:pt x="686" y="120"/>
                  <a:pt x="685" y="120"/>
                </a:cubicBezTo>
                <a:cubicBezTo>
                  <a:pt x="685" y="121"/>
                  <a:pt x="685" y="122"/>
                  <a:pt x="685" y="123"/>
                </a:cubicBezTo>
                <a:cubicBezTo>
                  <a:pt x="687" y="122"/>
                  <a:pt x="689" y="122"/>
                  <a:pt x="691" y="122"/>
                </a:cubicBezTo>
                <a:cubicBezTo>
                  <a:pt x="691" y="122"/>
                  <a:pt x="692" y="122"/>
                  <a:pt x="692" y="122"/>
                </a:cubicBezTo>
                <a:close/>
                <a:moveTo>
                  <a:pt x="1669" y="124"/>
                </a:moveTo>
                <a:cubicBezTo>
                  <a:pt x="1670" y="124"/>
                  <a:pt x="1670" y="124"/>
                  <a:pt x="1670" y="124"/>
                </a:cubicBezTo>
                <a:cubicBezTo>
                  <a:pt x="1671" y="124"/>
                  <a:pt x="1672" y="125"/>
                  <a:pt x="1673" y="125"/>
                </a:cubicBezTo>
                <a:cubicBezTo>
                  <a:pt x="1674" y="124"/>
                  <a:pt x="1674" y="124"/>
                  <a:pt x="1674" y="124"/>
                </a:cubicBezTo>
                <a:cubicBezTo>
                  <a:pt x="1675" y="124"/>
                  <a:pt x="1675" y="123"/>
                  <a:pt x="1675" y="123"/>
                </a:cubicBezTo>
                <a:cubicBezTo>
                  <a:pt x="1675" y="123"/>
                  <a:pt x="1676" y="123"/>
                  <a:pt x="1676" y="124"/>
                </a:cubicBezTo>
                <a:cubicBezTo>
                  <a:pt x="1676" y="124"/>
                  <a:pt x="1677" y="124"/>
                  <a:pt x="1678" y="124"/>
                </a:cubicBezTo>
                <a:cubicBezTo>
                  <a:pt x="1680" y="124"/>
                  <a:pt x="1681" y="124"/>
                  <a:pt x="1683" y="125"/>
                </a:cubicBezTo>
                <a:cubicBezTo>
                  <a:pt x="1684" y="124"/>
                  <a:pt x="1684" y="123"/>
                  <a:pt x="1684" y="122"/>
                </a:cubicBezTo>
                <a:cubicBezTo>
                  <a:pt x="1683" y="122"/>
                  <a:pt x="1682" y="121"/>
                  <a:pt x="1682" y="121"/>
                </a:cubicBezTo>
                <a:cubicBezTo>
                  <a:pt x="1681" y="121"/>
                  <a:pt x="1681" y="121"/>
                  <a:pt x="1680" y="121"/>
                </a:cubicBezTo>
                <a:cubicBezTo>
                  <a:pt x="1680" y="120"/>
                  <a:pt x="1680" y="120"/>
                  <a:pt x="1679" y="120"/>
                </a:cubicBezTo>
                <a:cubicBezTo>
                  <a:pt x="1679" y="120"/>
                  <a:pt x="1679" y="120"/>
                  <a:pt x="1679" y="120"/>
                </a:cubicBezTo>
                <a:cubicBezTo>
                  <a:pt x="1678" y="120"/>
                  <a:pt x="1678" y="120"/>
                  <a:pt x="1677" y="120"/>
                </a:cubicBezTo>
                <a:cubicBezTo>
                  <a:pt x="1677" y="120"/>
                  <a:pt x="1676" y="119"/>
                  <a:pt x="1676" y="119"/>
                </a:cubicBezTo>
                <a:cubicBezTo>
                  <a:pt x="1676" y="119"/>
                  <a:pt x="1675" y="119"/>
                  <a:pt x="1675" y="119"/>
                </a:cubicBezTo>
                <a:cubicBezTo>
                  <a:pt x="1674" y="117"/>
                  <a:pt x="1673" y="120"/>
                  <a:pt x="1672" y="120"/>
                </a:cubicBezTo>
                <a:cubicBezTo>
                  <a:pt x="1672" y="120"/>
                  <a:pt x="1671" y="120"/>
                  <a:pt x="1671" y="120"/>
                </a:cubicBezTo>
                <a:cubicBezTo>
                  <a:pt x="1671" y="120"/>
                  <a:pt x="1671" y="120"/>
                  <a:pt x="1671" y="120"/>
                </a:cubicBezTo>
                <a:cubicBezTo>
                  <a:pt x="1670" y="120"/>
                  <a:pt x="1670" y="120"/>
                  <a:pt x="1670" y="121"/>
                </a:cubicBezTo>
                <a:cubicBezTo>
                  <a:pt x="1669" y="122"/>
                  <a:pt x="1668" y="122"/>
                  <a:pt x="1668" y="123"/>
                </a:cubicBezTo>
                <a:cubicBezTo>
                  <a:pt x="1667" y="123"/>
                  <a:pt x="1667" y="124"/>
                  <a:pt x="1667" y="124"/>
                </a:cubicBezTo>
                <a:cubicBezTo>
                  <a:pt x="1668" y="124"/>
                  <a:pt x="1669" y="124"/>
                  <a:pt x="1669" y="124"/>
                </a:cubicBezTo>
                <a:close/>
                <a:moveTo>
                  <a:pt x="1540" y="122"/>
                </a:moveTo>
                <a:cubicBezTo>
                  <a:pt x="1540" y="122"/>
                  <a:pt x="1540" y="122"/>
                  <a:pt x="1541" y="122"/>
                </a:cubicBezTo>
                <a:cubicBezTo>
                  <a:pt x="1539" y="122"/>
                  <a:pt x="1539" y="121"/>
                  <a:pt x="1539" y="120"/>
                </a:cubicBezTo>
                <a:cubicBezTo>
                  <a:pt x="1539" y="119"/>
                  <a:pt x="1537" y="118"/>
                  <a:pt x="1536" y="118"/>
                </a:cubicBezTo>
                <a:cubicBezTo>
                  <a:pt x="1535" y="118"/>
                  <a:pt x="1535" y="118"/>
                  <a:pt x="1535" y="119"/>
                </a:cubicBezTo>
                <a:cubicBezTo>
                  <a:pt x="1535" y="121"/>
                  <a:pt x="1534" y="120"/>
                  <a:pt x="1534" y="121"/>
                </a:cubicBezTo>
                <a:cubicBezTo>
                  <a:pt x="1534" y="122"/>
                  <a:pt x="1533" y="123"/>
                  <a:pt x="1534" y="123"/>
                </a:cubicBezTo>
                <a:cubicBezTo>
                  <a:pt x="1536" y="123"/>
                  <a:pt x="1539" y="124"/>
                  <a:pt x="1540" y="122"/>
                </a:cubicBezTo>
                <a:close/>
                <a:moveTo>
                  <a:pt x="931" y="118"/>
                </a:moveTo>
                <a:cubicBezTo>
                  <a:pt x="931" y="118"/>
                  <a:pt x="932" y="119"/>
                  <a:pt x="932" y="119"/>
                </a:cubicBezTo>
                <a:cubicBezTo>
                  <a:pt x="932" y="119"/>
                  <a:pt x="933" y="119"/>
                  <a:pt x="933" y="119"/>
                </a:cubicBezTo>
                <a:cubicBezTo>
                  <a:pt x="932" y="118"/>
                  <a:pt x="932" y="119"/>
                  <a:pt x="932" y="118"/>
                </a:cubicBezTo>
                <a:cubicBezTo>
                  <a:pt x="932" y="118"/>
                  <a:pt x="932" y="118"/>
                  <a:pt x="931" y="118"/>
                </a:cubicBezTo>
                <a:cubicBezTo>
                  <a:pt x="932" y="118"/>
                  <a:pt x="931" y="118"/>
                  <a:pt x="931" y="118"/>
                </a:cubicBezTo>
                <a:close/>
                <a:moveTo>
                  <a:pt x="925" y="120"/>
                </a:moveTo>
                <a:cubicBezTo>
                  <a:pt x="926" y="120"/>
                  <a:pt x="926" y="119"/>
                  <a:pt x="926" y="118"/>
                </a:cubicBezTo>
                <a:cubicBezTo>
                  <a:pt x="925" y="118"/>
                  <a:pt x="925" y="118"/>
                  <a:pt x="924" y="119"/>
                </a:cubicBezTo>
                <a:cubicBezTo>
                  <a:pt x="924" y="120"/>
                  <a:pt x="922" y="119"/>
                  <a:pt x="922" y="119"/>
                </a:cubicBezTo>
                <a:cubicBezTo>
                  <a:pt x="921" y="119"/>
                  <a:pt x="921" y="119"/>
                  <a:pt x="921" y="120"/>
                </a:cubicBezTo>
                <a:cubicBezTo>
                  <a:pt x="921" y="121"/>
                  <a:pt x="921" y="120"/>
                  <a:pt x="920" y="120"/>
                </a:cubicBezTo>
                <a:cubicBezTo>
                  <a:pt x="920" y="121"/>
                  <a:pt x="921" y="121"/>
                  <a:pt x="921" y="122"/>
                </a:cubicBezTo>
                <a:cubicBezTo>
                  <a:pt x="921" y="122"/>
                  <a:pt x="922" y="121"/>
                  <a:pt x="923" y="121"/>
                </a:cubicBezTo>
                <a:cubicBezTo>
                  <a:pt x="923" y="121"/>
                  <a:pt x="924" y="121"/>
                  <a:pt x="923" y="121"/>
                </a:cubicBezTo>
                <a:cubicBezTo>
                  <a:pt x="924" y="121"/>
                  <a:pt x="925" y="121"/>
                  <a:pt x="925" y="120"/>
                </a:cubicBezTo>
                <a:cubicBezTo>
                  <a:pt x="926" y="120"/>
                  <a:pt x="925" y="120"/>
                  <a:pt x="925" y="120"/>
                </a:cubicBezTo>
                <a:close/>
                <a:moveTo>
                  <a:pt x="1530" y="119"/>
                </a:moveTo>
                <a:cubicBezTo>
                  <a:pt x="1532" y="120"/>
                  <a:pt x="1531" y="118"/>
                  <a:pt x="1532" y="118"/>
                </a:cubicBezTo>
                <a:cubicBezTo>
                  <a:pt x="1532" y="117"/>
                  <a:pt x="1532" y="117"/>
                  <a:pt x="1531" y="116"/>
                </a:cubicBezTo>
                <a:cubicBezTo>
                  <a:pt x="1531" y="117"/>
                  <a:pt x="1531" y="118"/>
                  <a:pt x="1530" y="118"/>
                </a:cubicBezTo>
                <a:cubicBezTo>
                  <a:pt x="1529" y="119"/>
                  <a:pt x="1529" y="119"/>
                  <a:pt x="1528" y="120"/>
                </a:cubicBezTo>
                <a:cubicBezTo>
                  <a:pt x="1527" y="120"/>
                  <a:pt x="1527" y="121"/>
                  <a:pt x="1526" y="121"/>
                </a:cubicBezTo>
                <a:cubicBezTo>
                  <a:pt x="1526" y="121"/>
                  <a:pt x="1525" y="123"/>
                  <a:pt x="1525" y="123"/>
                </a:cubicBezTo>
                <a:cubicBezTo>
                  <a:pt x="1526" y="123"/>
                  <a:pt x="1527" y="123"/>
                  <a:pt x="1528" y="122"/>
                </a:cubicBezTo>
                <a:cubicBezTo>
                  <a:pt x="1528" y="122"/>
                  <a:pt x="1529" y="121"/>
                  <a:pt x="1529" y="121"/>
                </a:cubicBezTo>
                <a:cubicBezTo>
                  <a:pt x="1529" y="120"/>
                  <a:pt x="1530" y="120"/>
                  <a:pt x="1530" y="119"/>
                </a:cubicBezTo>
                <a:close/>
                <a:moveTo>
                  <a:pt x="1530" y="116"/>
                </a:moveTo>
                <a:cubicBezTo>
                  <a:pt x="1530" y="117"/>
                  <a:pt x="1530" y="117"/>
                  <a:pt x="1530" y="118"/>
                </a:cubicBezTo>
                <a:cubicBezTo>
                  <a:pt x="1530" y="118"/>
                  <a:pt x="1530" y="117"/>
                  <a:pt x="1530" y="116"/>
                </a:cubicBezTo>
                <a:cubicBezTo>
                  <a:pt x="1530" y="116"/>
                  <a:pt x="1530" y="116"/>
                  <a:pt x="1530" y="116"/>
                </a:cubicBezTo>
                <a:cubicBezTo>
                  <a:pt x="1530" y="117"/>
                  <a:pt x="1530" y="116"/>
                  <a:pt x="1530" y="116"/>
                </a:cubicBezTo>
                <a:close/>
                <a:moveTo>
                  <a:pt x="940" y="119"/>
                </a:moveTo>
                <a:cubicBezTo>
                  <a:pt x="940" y="119"/>
                  <a:pt x="940" y="119"/>
                  <a:pt x="940" y="119"/>
                </a:cubicBezTo>
                <a:cubicBezTo>
                  <a:pt x="941" y="119"/>
                  <a:pt x="941" y="119"/>
                  <a:pt x="942" y="119"/>
                </a:cubicBezTo>
                <a:cubicBezTo>
                  <a:pt x="942" y="118"/>
                  <a:pt x="942" y="118"/>
                  <a:pt x="941" y="118"/>
                </a:cubicBezTo>
                <a:cubicBezTo>
                  <a:pt x="942" y="117"/>
                  <a:pt x="941" y="117"/>
                  <a:pt x="940" y="116"/>
                </a:cubicBezTo>
                <a:cubicBezTo>
                  <a:pt x="940" y="117"/>
                  <a:pt x="940" y="117"/>
                  <a:pt x="939" y="117"/>
                </a:cubicBezTo>
                <a:cubicBezTo>
                  <a:pt x="939" y="117"/>
                  <a:pt x="939" y="118"/>
                  <a:pt x="939" y="118"/>
                </a:cubicBezTo>
                <a:cubicBezTo>
                  <a:pt x="939" y="119"/>
                  <a:pt x="940" y="119"/>
                  <a:pt x="939" y="119"/>
                </a:cubicBezTo>
                <a:cubicBezTo>
                  <a:pt x="940" y="119"/>
                  <a:pt x="940" y="119"/>
                  <a:pt x="940" y="119"/>
                </a:cubicBezTo>
                <a:close/>
                <a:moveTo>
                  <a:pt x="570" y="116"/>
                </a:moveTo>
                <a:cubicBezTo>
                  <a:pt x="570" y="116"/>
                  <a:pt x="571" y="116"/>
                  <a:pt x="570" y="116"/>
                </a:cubicBezTo>
                <a:cubicBezTo>
                  <a:pt x="569" y="116"/>
                  <a:pt x="569" y="116"/>
                  <a:pt x="568" y="117"/>
                </a:cubicBezTo>
                <a:cubicBezTo>
                  <a:pt x="569" y="117"/>
                  <a:pt x="570" y="117"/>
                  <a:pt x="570" y="116"/>
                </a:cubicBezTo>
                <a:close/>
                <a:moveTo>
                  <a:pt x="564" y="115"/>
                </a:moveTo>
                <a:cubicBezTo>
                  <a:pt x="564" y="116"/>
                  <a:pt x="564" y="116"/>
                  <a:pt x="563" y="116"/>
                </a:cubicBezTo>
                <a:cubicBezTo>
                  <a:pt x="563" y="116"/>
                  <a:pt x="563" y="117"/>
                  <a:pt x="564" y="117"/>
                </a:cubicBezTo>
                <a:cubicBezTo>
                  <a:pt x="564" y="117"/>
                  <a:pt x="565" y="117"/>
                  <a:pt x="565" y="117"/>
                </a:cubicBezTo>
                <a:cubicBezTo>
                  <a:pt x="565" y="116"/>
                  <a:pt x="565" y="115"/>
                  <a:pt x="564" y="115"/>
                </a:cubicBezTo>
                <a:close/>
                <a:moveTo>
                  <a:pt x="473" y="115"/>
                </a:moveTo>
                <a:cubicBezTo>
                  <a:pt x="473" y="114"/>
                  <a:pt x="472" y="114"/>
                  <a:pt x="473" y="114"/>
                </a:cubicBezTo>
                <a:cubicBezTo>
                  <a:pt x="473" y="114"/>
                  <a:pt x="473" y="114"/>
                  <a:pt x="472" y="113"/>
                </a:cubicBezTo>
                <a:cubicBezTo>
                  <a:pt x="472" y="114"/>
                  <a:pt x="472" y="114"/>
                  <a:pt x="473" y="115"/>
                </a:cubicBezTo>
                <a:close/>
                <a:moveTo>
                  <a:pt x="1426" y="113"/>
                </a:moveTo>
                <a:cubicBezTo>
                  <a:pt x="1426" y="113"/>
                  <a:pt x="1426" y="113"/>
                  <a:pt x="1426" y="113"/>
                </a:cubicBezTo>
                <a:cubicBezTo>
                  <a:pt x="1426" y="112"/>
                  <a:pt x="1426" y="113"/>
                  <a:pt x="1425" y="113"/>
                </a:cubicBezTo>
                <a:cubicBezTo>
                  <a:pt x="1426" y="113"/>
                  <a:pt x="1426" y="113"/>
                  <a:pt x="1426" y="113"/>
                </a:cubicBezTo>
                <a:cubicBezTo>
                  <a:pt x="1426" y="113"/>
                  <a:pt x="1426" y="113"/>
                  <a:pt x="1426" y="113"/>
                </a:cubicBezTo>
                <a:close/>
                <a:moveTo>
                  <a:pt x="1423" y="113"/>
                </a:moveTo>
                <a:cubicBezTo>
                  <a:pt x="1425" y="113"/>
                  <a:pt x="1425" y="113"/>
                  <a:pt x="1425" y="112"/>
                </a:cubicBezTo>
                <a:cubicBezTo>
                  <a:pt x="1425" y="112"/>
                  <a:pt x="1424" y="112"/>
                  <a:pt x="1423" y="112"/>
                </a:cubicBezTo>
                <a:cubicBezTo>
                  <a:pt x="1423" y="112"/>
                  <a:pt x="1423" y="112"/>
                  <a:pt x="1423" y="113"/>
                </a:cubicBezTo>
                <a:cubicBezTo>
                  <a:pt x="1425" y="113"/>
                  <a:pt x="1423" y="113"/>
                  <a:pt x="1423" y="113"/>
                </a:cubicBezTo>
                <a:close/>
                <a:moveTo>
                  <a:pt x="1418" y="110"/>
                </a:moveTo>
                <a:cubicBezTo>
                  <a:pt x="1417" y="110"/>
                  <a:pt x="1417" y="110"/>
                  <a:pt x="1416" y="110"/>
                </a:cubicBezTo>
                <a:cubicBezTo>
                  <a:pt x="1417" y="112"/>
                  <a:pt x="1417" y="112"/>
                  <a:pt x="1418" y="112"/>
                </a:cubicBezTo>
                <a:cubicBezTo>
                  <a:pt x="1418" y="111"/>
                  <a:pt x="1418" y="110"/>
                  <a:pt x="1418" y="110"/>
                </a:cubicBezTo>
                <a:cubicBezTo>
                  <a:pt x="1417" y="110"/>
                  <a:pt x="1418" y="110"/>
                  <a:pt x="1418" y="110"/>
                </a:cubicBezTo>
                <a:close/>
                <a:moveTo>
                  <a:pt x="1423" y="110"/>
                </a:moveTo>
                <a:cubicBezTo>
                  <a:pt x="1423" y="111"/>
                  <a:pt x="1423" y="111"/>
                  <a:pt x="1424" y="111"/>
                </a:cubicBezTo>
                <a:cubicBezTo>
                  <a:pt x="1425" y="111"/>
                  <a:pt x="1425" y="111"/>
                  <a:pt x="1425" y="110"/>
                </a:cubicBezTo>
                <a:cubicBezTo>
                  <a:pt x="1425" y="110"/>
                  <a:pt x="1425" y="110"/>
                  <a:pt x="1425" y="109"/>
                </a:cubicBezTo>
                <a:cubicBezTo>
                  <a:pt x="1424" y="109"/>
                  <a:pt x="1423" y="109"/>
                  <a:pt x="1422" y="108"/>
                </a:cubicBezTo>
                <a:cubicBezTo>
                  <a:pt x="1422" y="109"/>
                  <a:pt x="1421" y="110"/>
                  <a:pt x="1421" y="110"/>
                </a:cubicBezTo>
                <a:cubicBezTo>
                  <a:pt x="1422" y="110"/>
                  <a:pt x="1422" y="110"/>
                  <a:pt x="1423" y="110"/>
                </a:cubicBezTo>
                <a:close/>
                <a:moveTo>
                  <a:pt x="1411" y="110"/>
                </a:moveTo>
                <a:cubicBezTo>
                  <a:pt x="1413" y="111"/>
                  <a:pt x="1414" y="111"/>
                  <a:pt x="1415" y="111"/>
                </a:cubicBezTo>
                <a:cubicBezTo>
                  <a:pt x="1415" y="110"/>
                  <a:pt x="1415" y="109"/>
                  <a:pt x="1414" y="109"/>
                </a:cubicBezTo>
                <a:cubicBezTo>
                  <a:pt x="1414" y="109"/>
                  <a:pt x="1414" y="109"/>
                  <a:pt x="1414" y="108"/>
                </a:cubicBezTo>
                <a:cubicBezTo>
                  <a:pt x="1414" y="108"/>
                  <a:pt x="1414" y="108"/>
                  <a:pt x="1414" y="109"/>
                </a:cubicBezTo>
                <a:cubicBezTo>
                  <a:pt x="1413" y="109"/>
                  <a:pt x="1411" y="109"/>
                  <a:pt x="1411" y="109"/>
                </a:cubicBezTo>
                <a:cubicBezTo>
                  <a:pt x="1411" y="110"/>
                  <a:pt x="1411" y="110"/>
                  <a:pt x="1411" y="110"/>
                </a:cubicBezTo>
                <a:cubicBezTo>
                  <a:pt x="1413" y="111"/>
                  <a:pt x="1411" y="110"/>
                  <a:pt x="1411" y="110"/>
                </a:cubicBezTo>
                <a:close/>
                <a:moveTo>
                  <a:pt x="1428" y="111"/>
                </a:moveTo>
                <a:cubicBezTo>
                  <a:pt x="1428" y="111"/>
                  <a:pt x="1429" y="111"/>
                  <a:pt x="1429" y="110"/>
                </a:cubicBezTo>
                <a:cubicBezTo>
                  <a:pt x="1429" y="109"/>
                  <a:pt x="1428" y="108"/>
                  <a:pt x="1427" y="108"/>
                </a:cubicBezTo>
                <a:cubicBezTo>
                  <a:pt x="1427" y="108"/>
                  <a:pt x="1427" y="109"/>
                  <a:pt x="1427" y="109"/>
                </a:cubicBezTo>
                <a:cubicBezTo>
                  <a:pt x="1427" y="109"/>
                  <a:pt x="1427" y="109"/>
                  <a:pt x="1427" y="109"/>
                </a:cubicBezTo>
                <a:cubicBezTo>
                  <a:pt x="1427" y="110"/>
                  <a:pt x="1427" y="110"/>
                  <a:pt x="1428" y="111"/>
                </a:cubicBezTo>
                <a:close/>
                <a:moveTo>
                  <a:pt x="1423" y="107"/>
                </a:moveTo>
                <a:cubicBezTo>
                  <a:pt x="1424" y="108"/>
                  <a:pt x="1424" y="108"/>
                  <a:pt x="1425" y="108"/>
                </a:cubicBezTo>
                <a:cubicBezTo>
                  <a:pt x="1425" y="107"/>
                  <a:pt x="1424" y="107"/>
                  <a:pt x="1423" y="107"/>
                </a:cubicBezTo>
                <a:cubicBezTo>
                  <a:pt x="1424" y="108"/>
                  <a:pt x="1423" y="107"/>
                  <a:pt x="1423" y="107"/>
                </a:cubicBezTo>
                <a:close/>
                <a:moveTo>
                  <a:pt x="1416" y="109"/>
                </a:moveTo>
                <a:cubicBezTo>
                  <a:pt x="1416" y="110"/>
                  <a:pt x="1417" y="109"/>
                  <a:pt x="1417" y="109"/>
                </a:cubicBezTo>
                <a:cubicBezTo>
                  <a:pt x="1417" y="108"/>
                  <a:pt x="1416" y="108"/>
                  <a:pt x="1416" y="107"/>
                </a:cubicBezTo>
                <a:cubicBezTo>
                  <a:pt x="1416" y="108"/>
                  <a:pt x="1415" y="108"/>
                  <a:pt x="1416" y="109"/>
                </a:cubicBezTo>
                <a:close/>
                <a:moveTo>
                  <a:pt x="1399" y="106"/>
                </a:moveTo>
                <a:cubicBezTo>
                  <a:pt x="1400" y="106"/>
                  <a:pt x="1401" y="107"/>
                  <a:pt x="1402" y="107"/>
                </a:cubicBezTo>
                <a:cubicBezTo>
                  <a:pt x="1402" y="105"/>
                  <a:pt x="1399" y="106"/>
                  <a:pt x="1399" y="106"/>
                </a:cubicBezTo>
                <a:cubicBezTo>
                  <a:pt x="1400" y="106"/>
                  <a:pt x="1399" y="106"/>
                  <a:pt x="1399" y="106"/>
                </a:cubicBezTo>
                <a:close/>
                <a:moveTo>
                  <a:pt x="1419" y="107"/>
                </a:moveTo>
                <a:cubicBezTo>
                  <a:pt x="1420" y="107"/>
                  <a:pt x="1421" y="106"/>
                  <a:pt x="1421" y="106"/>
                </a:cubicBezTo>
                <a:cubicBezTo>
                  <a:pt x="1420" y="106"/>
                  <a:pt x="1418" y="107"/>
                  <a:pt x="1418" y="108"/>
                </a:cubicBezTo>
                <a:cubicBezTo>
                  <a:pt x="1419" y="108"/>
                  <a:pt x="1419" y="108"/>
                  <a:pt x="1419" y="107"/>
                </a:cubicBezTo>
                <a:cubicBezTo>
                  <a:pt x="1420" y="107"/>
                  <a:pt x="1419" y="107"/>
                  <a:pt x="1419" y="107"/>
                </a:cubicBezTo>
                <a:close/>
                <a:moveTo>
                  <a:pt x="1186" y="109"/>
                </a:moveTo>
                <a:cubicBezTo>
                  <a:pt x="1186" y="110"/>
                  <a:pt x="1187" y="109"/>
                  <a:pt x="1188" y="108"/>
                </a:cubicBezTo>
                <a:cubicBezTo>
                  <a:pt x="1188" y="108"/>
                  <a:pt x="1188" y="108"/>
                  <a:pt x="1188" y="108"/>
                </a:cubicBezTo>
                <a:cubicBezTo>
                  <a:pt x="1188" y="108"/>
                  <a:pt x="1189" y="108"/>
                  <a:pt x="1189" y="108"/>
                </a:cubicBezTo>
                <a:cubicBezTo>
                  <a:pt x="1189" y="107"/>
                  <a:pt x="1190" y="109"/>
                  <a:pt x="1190" y="108"/>
                </a:cubicBezTo>
                <a:cubicBezTo>
                  <a:pt x="1190" y="108"/>
                  <a:pt x="1191" y="108"/>
                  <a:pt x="1191" y="108"/>
                </a:cubicBezTo>
                <a:cubicBezTo>
                  <a:pt x="1191" y="108"/>
                  <a:pt x="1192" y="107"/>
                  <a:pt x="1192" y="107"/>
                </a:cubicBezTo>
                <a:cubicBezTo>
                  <a:pt x="1192" y="106"/>
                  <a:pt x="1191" y="106"/>
                  <a:pt x="1190" y="106"/>
                </a:cubicBezTo>
                <a:cubicBezTo>
                  <a:pt x="1189" y="105"/>
                  <a:pt x="1191" y="105"/>
                  <a:pt x="1189" y="105"/>
                </a:cubicBezTo>
                <a:cubicBezTo>
                  <a:pt x="1188" y="105"/>
                  <a:pt x="1188" y="105"/>
                  <a:pt x="1188" y="106"/>
                </a:cubicBezTo>
                <a:cubicBezTo>
                  <a:pt x="1187" y="107"/>
                  <a:pt x="1185" y="107"/>
                  <a:pt x="1185" y="108"/>
                </a:cubicBezTo>
                <a:cubicBezTo>
                  <a:pt x="1185" y="109"/>
                  <a:pt x="1185" y="109"/>
                  <a:pt x="1186" y="109"/>
                </a:cubicBezTo>
                <a:cubicBezTo>
                  <a:pt x="1186" y="110"/>
                  <a:pt x="1186" y="109"/>
                  <a:pt x="1186" y="109"/>
                </a:cubicBezTo>
                <a:close/>
                <a:moveTo>
                  <a:pt x="1429" y="105"/>
                </a:moveTo>
                <a:cubicBezTo>
                  <a:pt x="1428" y="105"/>
                  <a:pt x="1427" y="105"/>
                  <a:pt x="1426" y="105"/>
                </a:cubicBezTo>
                <a:cubicBezTo>
                  <a:pt x="1425" y="105"/>
                  <a:pt x="1424" y="106"/>
                  <a:pt x="1425" y="106"/>
                </a:cubicBezTo>
                <a:cubicBezTo>
                  <a:pt x="1426" y="106"/>
                  <a:pt x="1427" y="106"/>
                  <a:pt x="1427" y="106"/>
                </a:cubicBezTo>
                <a:cubicBezTo>
                  <a:pt x="1429" y="106"/>
                  <a:pt x="1429" y="106"/>
                  <a:pt x="1429" y="105"/>
                </a:cubicBezTo>
                <a:cubicBezTo>
                  <a:pt x="1428" y="105"/>
                  <a:pt x="1429" y="105"/>
                  <a:pt x="1429" y="105"/>
                </a:cubicBezTo>
                <a:close/>
                <a:moveTo>
                  <a:pt x="1412" y="107"/>
                </a:moveTo>
                <a:cubicBezTo>
                  <a:pt x="1412" y="107"/>
                  <a:pt x="1412" y="107"/>
                  <a:pt x="1412" y="107"/>
                </a:cubicBezTo>
                <a:cubicBezTo>
                  <a:pt x="1412" y="107"/>
                  <a:pt x="1412" y="106"/>
                  <a:pt x="1412" y="106"/>
                </a:cubicBezTo>
                <a:cubicBezTo>
                  <a:pt x="1413" y="106"/>
                  <a:pt x="1414" y="106"/>
                  <a:pt x="1414" y="106"/>
                </a:cubicBezTo>
                <a:cubicBezTo>
                  <a:pt x="1414" y="105"/>
                  <a:pt x="1413" y="104"/>
                  <a:pt x="1412" y="104"/>
                </a:cubicBezTo>
                <a:cubicBezTo>
                  <a:pt x="1412" y="104"/>
                  <a:pt x="1412" y="105"/>
                  <a:pt x="1412" y="105"/>
                </a:cubicBezTo>
                <a:cubicBezTo>
                  <a:pt x="1411" y="105"/>
                  <a:pt x="1412" y="105"/>
                  <a:pt x="1412" y="106"/>
                </a:cubicBezTo>
                <a:cubicBezTo>
                  <a:pt x="1412" y="106"/>
                  <a:pt x="1412" y="106"/>
                  <a:pt x="1411" y="106"/>
                </a:cubicBezTo>
                <a:cubicBezTo>
                  <a:pt x="1412" y="106"/>
                  <a:pt x="1411" y="106"/>
                  <a:pt x="1412" y="107"/>
                </a:cubicBezTo>
                <a:close/>
                <a:moveTo>
                  <a:pt x="1425" y="104"/>
                </a:moveTo>
                <a:cubicBezTo>
                  <a:pt x="1424" y="104"/>
                  <a:pt x="1422" y="103"/>
                  <a:pt x="1422" y="105"/>
                </a:cubicBezTo>
                <a:cubicBezTo>
                  <a:pt x="1423" y="105"/>
                  <a:pt x="1425" y="105"/>
                  <a:pt x="1425" y="104"/>
                </a:cubicBezTo>
                <a:close/>
                <a:moveTo>
                  <a:pt x="1421" y="104"/>
                </a:moveTo>
                <a:cubicBezTo>
                  <a:pt x="1421" y="103"/>
                  <a:pt x="1421" y="103"/>
                  <a:pt x="1421" y="104"/>
                </a:cubicBezTo>
                <a:cubicBezTo>
                  <a:pt x="1421" y="104"/>
                  <a:pt x="1421" y="104"/>
                  <a:pt x="1421" y="104"/>
                </a:cubicBezTo>
                <a:close/>
                <a:moveTo>
                  <a:pt x="1403" y="104"/>
                </a:moveTo>
                <a:cubicBezTo>
                  <a:pt x="1403" y="104"/>
                  <a:pt x="1402" y="104"/>
                  <a:pt x="1402" y="105"/>
                </a:cubicBezTo>
                <a:cubicBezTo>
                  <a:pt x="1403" y="105"/>
                  <a:pt x="1403" y="105"/>
                  <a:pt x="1404" y="105"/>
                </a:cubicBezTo>
                <a:cubicBezTo>
                  <a:pt x="1404" y="104"/>
                  <a:pt x="1403" y="104"/>
                  <a:pt x="1403" y="104"/>
                </a:cubicBezTo>
                <a:cubicBezTo>
                  <a:pt x="1403" y="104"/>
                  <a:pt x="1403" y="104"/>
                  <a:pt x="1403" y="104"/>
                </a:cubicBezTo>
                <a:close/>
                <a:moveTo>
                  <a:pt x="1417" y="104"/>
                </a:moveTo>
                <a:cubicBezTo>
                  <a:pt x="1417" y="103"/>
                  <a:pt x="1417" y="103"/>
                  <a:pt x="1418" y="103"/>
                </a:cubicBezTo>
                <a:cubicBezTo>
                  <a:pt x="1417" y="103"/>
                  <a:pt x="1417" y="103"/>
                  <a:pt x="1417" y="103"/>
                </a:cubicBezTo>
                <a:cubicBezTo>
                  <a:pt x="1417" y="103"/>
                  <a:pt x="1417" y="103"/>
                  <a:pt x="1417" y="104"/>
                </a:cubicBezTo>
                <a:close/>
                <a:moveTo>
                  <a:pt x="1416" y="103"/>
                </a:moveTo>
                <a:cubicBezTo>
                  <a:pt x="1416" y="103"/>
                  <a:pt x="1415" y="103"/>
                  <a:pt x="1415" y="104"/>
                </a:cubicBezTo>
                <a:cubicBezTo>
                  <a:pt x="1415" y="104"/>
                  <a:pt x="1416" y="104"/>
                  <a:pt x="1416" y="103"/>
                </a:cubicBezTo>
                <a:cubicBezTo>
                  <a:pt x="1415" y="103"/>
                  <a:pt x="1416" y="103"/>
                  <a:pt x="1416" y="103"/>
                </a:cubicBezTo>
                <a:close/>
                <a:moveTo>
                  <a:pt x="1170" y="104"/>
                </a:moveTo>
                <a:cubicBezTo>
                  <a:pt x="1170" y="102"/>
                  <a:pt x="1170" y="102"/>
                  <a:pt x="1168" y="102"/>
                </a:cubicBezTo>
                <a:cubicBezTo>
                  <a:pt x="1168" y="103"/>
                  <a:pt x="1169" y="103"/>
                  <a:pt x="1170" y="104"/>
                </a:cubicBezTo>
                <a:cubicBezTo>
                  <a:pt x="1170" y="103"/>
                  <a:pt x="1170" y="104"/>
                  <a:pt x="1170" y="104"/>
                </a:cubicBezTo>
                <a:close/>
                <a:moveTo>
                  <a:pt x="1421" y="103"/>
                </a:moveTo>
                <a:cubicBezTo>
                  <a:pt x="1421" y="102"/>
                  <a:pt x="1421" y="101"/>
                  <a:pt x="1419" y="101"/>
                </a:cubicBezTo>
                <a:cubicBezTo>
                  <a:pt x="1419" y="101"/>
                  <a:pt x="1419" y="103"/>
                  <a:pt x="1419" y="103"/>
                </a:cubicBezTo>
                <a:cubicBezTo>
                  <a:pt x="1420" y="103"/>
                  <a:pt x="1420" y="103"/>
                  <a:pt x="1421" y="103"/>
                </a:cubicBezTo>
                <a:close/>
                <a:moveTo>
                  <a:pt x="357" y="100"/>
                </a:moveTo>
                <a:cubicBezTo>
                  <a:pt x="357" y="100"/>
                  <a:pt x="357" y="100"/>
                  <a:pt x="356" y="100"/>
                </a:cubicBezTo>
                <a:cubicBezTo>
                  <a:pt x="357" y="100"/>
                  <a:pt x="357" y="100"/>
                  <a:pt x="357" y="100"/>
                </a:cubicBezTo>
                <a:close/>
                <a:moveTo>
                  <a:pt x="1193" y="104"/>
                </a:moveTo>
                <a:cubicBezTo>
                  <a:pt x="1194" y="104"/>
                  <a:pt x="1195" y="104"/>
                  <a:pt x="1195" y="103"/>
                </a:cubicBezTo>
                <a:cubicBezTo>
                  <a:pt x="1196" y="102"/>
                  <a:pt x="1196" y="103"/>
                  <a:pt x="1196" y="102"/>
                </a:cubicBezTo>
                <a:cubicBezTo>
                  <a:pt x="1196" y="101"/>
                  <a:pt x="1196" y="101"/>
                  <a:pt x="1196" y="100"/>
                </a:cubicBezTo>
                <a:cubicBezTo>
                  <a:pt x="1195" y="100"/>
                  <a:pt x="1195" y="100"/>
                  <a:pt x="1195" y="100"/>
                </a:cubicBezTo>
                <a:cubicBezTo>
                  <a:pt x="1195" y="99"/>
                  <a:pt x="1195" y="99"/>
                  <a:pt x="1194" y="100"/>
                </a:cubicBezTo>
                <a:cubicBezTo>
                  <a:pt x="1193" y="100"/>
                  <a:pt x="1193" y="100"/>
                  <a:pt x="1192" y="101"/>
                </a:cubicBezTo>
                <a:cubicBezTo>
                  <a:pt x="1192" y="101"/>
                  <a:pt x="1191" y="101"/>
                  <a:pt x="1192" y="102"/>
                </a:cubicBezTo>
                <a:cubicBezTo>
                  <a:pt x="1192" y="103"/>
                  <a:pt x="1193" y="103"/>
                  <a:pt x="1193" y="104"/>
                </a:cubicBezTo>
                <a:close/>
                <a:moveTo>
                  <a:pt x="714" y="112"/>
                </a:moveTo>
                <a:cubicBezTo>
                  <a:pt x="714" y="112"/>
                  <a:pt x="717" y="112"/>
                  <a:pt x="717" y="112"/>
                </a:cubicBezTo>
                <a:cubicBezTo>
                  <a:pt x="717" y="111"/>
                  <a:pt x="717" y="111"/>
                  <a:pt x="717" y="111"/>
                </a:cubicBezTo>
                <a:cubicBezTo>
                  <a:pt x="716" y="110"/>
                  <a:pt x="715" y="110"/>
                  <a:pt x="714" y="110"/>
                </a:cubicBezTo>
                <a:cubicBezTo>
                  <a:pt x="715" y="109"/>
                  <a:pt x="716" y="109"/>
                  <a:pt x="716" y="108"/>
                </a:cubicBezTo>
                <a:cubicBezTo>
                  <a:pt x="714" y="108"/>
                  <a:pt x="711" y="107"/>
                  <a:pt x="711" y="106"/>
                </a:cubicBezTo>
                <a:cubicBezTo>
                  <a:pt x="712" y="106"/>
                  <a:pt x="713" y="106"/>
                  <a:pt x="713" y="107"/>
                </a:cubicBezTo>
                <a:cubicBezTo>
                  <a:pt x="714" y="107"/>
                  <a:pt x="715" y="106"/>
                  <a:pt x="716" y="106"/>
                </a:cubicBezTo>
                <a:cubicBezTo>
                  <a:pt x="715" y="105"/>
                  <a:pt x="716" y="106"/>
                  <a:pt x="716" y="104"/>
                </a:cubicBezTo>
                <a:cubicBezTo>
                  <a:pt x="715" y="104"/>
                  <a:pt x="713" y="103"/>
                  <a:pt x="712" y="103"/>
                </a:cubicBezTo>
                <a:cubicBezTo>
                  <a:pt x="711" y="104"/>
                  <a:pt x="711" y="104"/>
                  <a:pt x="711" y="104"/>
                </a:cubicBezTo>
                <a:cubicBezTo>
                  <a:pt x="710" y="104"/>
                  <a:pt x="710" y="104"/>
                  <a:pt x="710" y="104"/>
                </a:cubicBezTo>
                <a:cubicBezTo>
                  <a:pt x="709" y="104"/>
                  <a:pt x="709" y="104"/>
                  <a:pt x="710" y="104"/>
                </a:cubicBezTo>
                <a:cubicBezTo>
                  <a:pt x="710" y="103"/>
                  <a:pt x="711" y="103"/>
                  <a:pt x="711" y="103"/>
                </a:cubicBezTo>
                <a:cubicBezTo>
                  <a:pt x="712" y="103"/>
                  <a:pt x="712" y="103"/>
                  <a:pt x="713" y="102"/>
                </a:cubicBezTo>
                <a:cubicBezTo>
                  <a:pt x="711" y="102"/>
                  <a:pt x="710" y="102"/>
                  <a:pt x="709" y="102"/>
                </a:cubicBezTo>
                <a:cubicBezTo>
                  <a:pt x="709" y="101"/>
                  <a:pt x="709" y="101"/>
                  <a:pt x="710" y="100"/>
                </a:cubicBezTo>
                <a:cubicBezTo>
                  <a:pt x="708" y="100"/>
                  <a:pt x="707" y="100"/>
                  <a:pt x="706" y="99"/>
                </a:cubicBezTo>
                <a:cubicBezTo>
                  <a:pt x="705" y="99"/>
                  <a:pt x="704" y="98"/>
                  <a:pt x="703" y="99"/>
                </a:cubicBezTo>
                <a:cubicBezTo>
                  <a:pt x="702" y="99"/>
                  <a:pt x="702" y="99"/>
                  <a:pt x="702" y="99"/>
                </a:cubicBezTo>
                <a:cubicBezTo>
                  <a:pt x="700" y="99"/>
                  <a:pt x="701" y="100"/>
                  <a:pt x="699" y="100"/>
                </a:cubicBezTo>
                <a:cubicBezTo>
                  <a:pt x="700" y="101"/>
                  <a:pt x="701" y="102"/>
                  <a:pt x="700" y="102"/>
                </a:cubicBezTo>
                <a:cubicBezTo>
                  <a:pt x="700" y="102"/>
                  <a:pt x="699" y="102"/>
                  <a:pt x="699" y="102"/>
                </a:cubicBezTo>
                <a:cubicBezTo>
                  <a:pt x="698" y="101"/>
                  <a:pt x="697" y="101"/>
                  <a:pt x="696" y="101"/>
                </a:cubicBezTo>
                <a:cubicBezTo>
                  <a:pt x="696" y="101"/>
                  <a:pt x="695" y="101"/>
                  <a:pt x="694" y="101"/>
                </a:cubicBezTo>
                <a:cubicBezTo>
                  <a:pt x="693" y="102"/>
                  <a:pt x="693" y="103"/>
                  <a:pt x="693" y="104"/>
                </a:cubicBezTo>
                <a:cubicBezTo>
                  <a:pt x="693" y="104"/>
                  <a:pt x="694" y="104"/>
                  <a:pt x="695" y="104"/>
                </a:cubicBezTo>
                <a:cubicBezTo>
                  <a:pt x="695" y="104"/>
                  <a:pt x="695" y="105"/>
                  <a:pt x="695" y="105"/>
                </a:cubicBezTo>
                <a:cubicBezTo>
                  <a:pt x="695" y="106"/>
                  <a:pt x="696" y="106"/>
                  <a:pt x="696" y="105"/>
                </a:cubicBezTo>
                <a:cubicBezTo>
                  <a:pt x="697" y="105"/>
                  <a:pt x="697" y="105"/>
                  <a:pt x="698" y="105"/>
                </a:cubicBezTo>
                <a:cubicBezTo>
                  <a:pt x="698" y="104"/>
                  <a:pt x="699" y="104"/>
                  <a:pt x="700" y="104"/>
                </a:cubicBezTo>
                <a:cubicBezTo>
                  <a:pt x="701" y="104"/>
                  <a:pt x="701" y="103"/>
                  <a:pt x="701" y="102"/>
                </a:cubicBezTo>
                <a:cubicBezTo>
                  <a:pt x="702" y="102"/>
                  <a:pt x="702" y="102"/>
                  <a:pt x="703" y="103"/>
                </a:cubicBezTo>
                <a:cubicBezTo>
                  <a:pt x="703" y="104"/>
                  <a:pt x="704" y="103"/>
                  <a:pt x="704" y="104"/>
                </a:cubicBezTo>
                <a:cubicBezTo>
                  <a:pt x="704" y="103"/>
                  <a:pt x="706" y="104"/>
                  <a:pt x="707" y="104"/>
                </a:cubicBezTo>
                <a:cubicBezTo>
                  <a:pt x="708" y="104"/>
                  <a:pt x="707" y="105"/>
                  <a:pt x="706" y="105"/>
                </a:cubicBezTo>
                <a:cubicBezTo>
                  <a:pt x="706" y="106"/>
                  <a:pt x="706" y="105"/>
                  <a:pt x="707" y="106"/>
                </a:cubicBezTo>
                <a:cubicBezTo>
                  <a:pt x="707" y="106"/>
                  <a:pt x="706" y="107"/>
                  <a:pt x="707" y="107"/>
                </a:cubicBezTo>
                <a:cubicBezTo>
                  <a:pt x="707" y="108"/>
                  <a:pt x="707" y="108"/>
                  <a:pt x="707" y="108"/>
                </a:cubicBezTo>
                <a:cubicBezTo>
                  <a:pt x="707" y="108"/>
                  <a:pt x="708" y="109"/>
                  <a:pt x="708" y="109"/>
                </a:cubicBezTo>
                <a:cubicBezTo>
                  <a:pt x="708" y="109"/>
                  <a:pt x="709" y="109"/>
                  <a:pt x="709" y="109"/>
                </a:cubicBezTo>
                <a:cubicBezTo>
                  <a:pt x="709" y="109"/>
                  <a:pt x="709" y="110"/>
                  <a:pt x="710" y="110"/>
                </a:cubicBezTo>
                <a:cubicBezTo>
                  <a:pt x="711" y="110"/>
                  <a:pt x="711" y="110"/>
                  <a:pt x="711" y="110"/>
                </a:cubicBezTo>
                <a:cubicBezTo>
                  <a:pt x="712" y="110"/>
                  <a:pt x="712" y="110"/>
                  <a:pt x="712" y="111"/>
                </a:cubicBezTo>
                <a:cubicBezTo>
                  <a:pt x="712" y="111"/>
                  <a:pt x="713" y="111"/>
                  <a:pt x="713" y="111"/>
                </a:cubicBezTo>
                <a:cubicBezTo>
                  <a:pt x="713" y="111"/>
                  <a:pt x="713" y="111"/>
                  <a:pt x="713" y="112"/>
                </a:cubicBezTo>
                <a:cubicBezTo>
                  <a:pt x="714" y="112"/>
                  <a:pt x="714" y="112"/>
                  <a:pt x="714" y="112"/>
                </a:cubicBezTo>
                <a:close/>
                <a:moveTo>
                  <a:pt x="357" y="98"/>
                </a:moveTo>
                <a:cubicBezTo>
                  <a:pt x="357" y="98"/>
                  <a:pt x="358" y="99"/>
                  <a:pt x="358" y="98"/>
                </a:cubicBezTo>
                <a:cubicBezTo>
                  <a:pt x="358" y="97"/>
                  <a:pt x="357" y="97"/>
                  <a:pt x="356" y="97"/>
                </a:cubicBezTo>
                <a:cubicBezTo>
                  <a:pt x="356" y="98"/>
                  <a:pt x="356" y="98"/>
                  <a:pt x="357" y="98"/>
                </a:cubicBezTo>
                <a:close/>
                <a:moveTo>
                  <a:pt x="1153" y="100"/>
                </a:moveTo>
                <a:cubicBezTo>
                  <a:pt x="1154" y="100"/>
                  <a:pt x="1154" y="100"/>
                  <a:pt x="1155" y="100"/>
                </a:cubicBezTo>
                <a:cubicBezTo>
                  <a:pt x="1156" y="100"/>
                  <a:pt x="1155" y="100"/>
                  <a:pt x="1155" y="99"/>
                </a:cubicBezTo>
                <a:cubicBezTo>
                  <a:pt x="1156" y="99"/>
                  <a:pt x="1156" y="98"/>
                  <a:pt x="1156" y="98"/>
                </a:cubicBezTo>
                <a:cubicBezTo>
                  <a:pt x="1156" y="97"/>
                  <a:pt x="1156" y="97"/>
                  <a:pt x="1155" y="97"/>
                </a:cubicBezTo>
                <a:cubicBezTo>
                  <a:pt x="1154" y="96"/>
                  <a:pt x="1155" y="96"/>
                  <a:pt x="1154" y="96"/>
                </a:cubicBezTo>
                <a:cubicBezTo>
                  <a:pt x="1154" y="96"/>
                  <a:pt x="1153" y="96"/>
                  <a:pt x="1153" y="97"/>
                </a:cubicBezTo>
                <a:cubicBezTo>
                  <a:pt x="1152" y="97"/>
                  <a:pt x="1153" y="98"/>
                  <a:pt x="1153" y="99"/>
                </a:cubicBezTo>
                <a:cubicBezTo>
                  <a:pt x="1152" y="99"/>
                  <a:pt x="1152" y="99"/>
                  <a:pt x="1152" y="100"/>
                </a:cubicBezTo>
                <a:cubicBezTo>
                  <a:pt x="1151" y="100"/>
                  <a:pt x="1151" y="100"/>
                  <a:pt x="1151" y="101"/>
                </a:cubicBezTo>
                <a:cubicBezTo>
                  <a:pt x="1152" y="101"/>
                  <a:pt x="1153" y="101"/>
                  <a:pt x="1153" y="100"/>
                </a:cubicBezTo>
                <a:close/>
                <a:moveTo>
                  <a:pt x="313" y="101"/>
                </a:moveTo>
                <a:cubicBezTo>
                  <a:pt x="312" y="101"/>
                  <a:pt x="312" y="101"/>
                  <a:pt x="311" y="100"/>
                </a:cubicBezTo>
                <a:cubicBezTo>
                  <a:pt x="311" y="100"/>
                  <a:pt x="311" y="99"/>
                  <a:pt x="311" y="99"/>
                </a:cubicBezTo>
                <a:cubicBezTo>
                  <a:pt x="311" y="99"/>
                  <a:pt x="311" y="99"/>
                  <a:pt x="311" y="99"/>
                </a:cubicBezTo>
                <a:cubicBezTo>
                  <a:pt x="310" y="97"/>
                  <a:pt x="310" y="99"/>
                  <a:pt x="309" y="98"/>
                </a:cubicBezTo>
                <a:cubicBezTo>
                  <a:pt x="309" y="98"/>
                  <a:pt x="308" y="96"/>
                  <a:pt x="307" y="96"/>
                </a:cubicBezTo>
                <a:cubicBezTo>
                  <a:pt x="307" y="96"/>
                  <a:pt x="306" y="96"/>
                  <a:pt x="306" y="97"/>
                </a:cubicBezTo>
                <a:cubicBezTo>
                  <a:pt x="306" y="98"/>
                  <a:pt x="306" y="98"/>
                  <a:pt x="305" y="100"/>
                </a:cubicBezTo>
                <a:cubicBezTo>
                  <a:pt x="306" y="100"/>
                  <a:pt x="306" y="101"/>
                  <a:pt x="306" y="101"/>
                </a:cubicBezTo>
                <a:cubicBezTo>
                  <a:pt x="306" y="102"/>
                  <a:pt x="306" y="103"/>
                  <a:pt x="306" y="103"/>
                </a:cubicBezTo>
                <a:cubicBezTo>
                  <a:pt x="307" y="104"/>
                  <a:pt x="307" y="105"/>
                  <a:pt x="308" y="105"/>
                </a:cubicBezTo>
                <a:cubicBezTo>
                  <a:pt x="309" y="105"/>
                  <a:pt x="309" y="105"/>
                  <a:pt x="310" y="105"/>
                </a:cubicBezTo>
                <a:cubicBezTo>
                  <a:pt x="311" y="105"/>
                  <a:pt x="310" y="105"/>
                  <a:pt x="311" y="105"/>
                </a:cubicBezTo>
                <a:cubicBezTo>
                  <a:pt x="311" y="105"/>
                  <a:pt x="311" y="106"/>
                  <a:pt x="312" y="106"/>
                </a:cubicBezTo>
                <a:cubicBezTo>
                  <a:pt x="312" y="106"/>
                  <a:pt x="313" y="106"/>
                  <a:pt x="313" y="106"/>
                </a:cubicBezTo>
                <a:cubicBezTo>
                  <a:pt x="313" y="106"/>
                  <a:pt x="314" y="106"/>
                  <a:pt x="315" y="106"/>
                </a:cubicBezTo>
                <a:cubicBezTo>
                  <a:pt x="315" y="105"/>
                  <a:pt x="315" y="104"/>
                  <a:pt x="314" y="103"/>
                </a:cubicBezTo>
                <a:cubicBezTo>
                  <a:pt x="313" y="103"/>
                  <a:pt x="313" y="102"/>
                  <a:pt x="313" y="101"/>
                </a:cubicBezTo>
                <a:cubicBezTo>
                  <a:pt x="312" y="101"/>
                  <a:pt x="313" y="101"/>
                  <a:pt x="313" y="101"/>
                </a:cubicBezTo>
                <a:close/>
                <a:moveTo>
                  <a:pt x="339" y="131"/>
                </a:moveTo>
                <a:cubicBezTo>
                  <a:pt x="340" y="130"/>
                  <a:pt x="340" y="130"/>
                  <a:pt x="339" y="129"/>
                </a:cubicBezTo>
                <a:cubicBezTo>
                  <a:pt x="339" y="128"/>
                  <a:pt x="339" y="129"/>
                  <a:pt x="339" y="128"/>
                </a:cubicBezTo>
                <a:cubicBezTo>
                  <a:pt x="339" y="128"/>
                  <a:pt x="339" y="128"/>
                  <a:pt x="339" y="127"/>
                </a:cubicBezTo>
                <a:cubicBezTo>
                  <a:pt x="339" y="126"/>
                  <a:pt x="339" y="125"/>
                  <a:pt x="339" y="125"/>
                </a:cubicBezTo>
                <a:cubicBezTo>
                  <a:pt x="338" y="125"/>
                  <a:pt x="336" y="124"/>
                  <a:pt x="336" y="125"/>
                </a:cubicBezTo>
                <a:cubicBezTo>
                  <a:pt x="335" y="125"/>
                  <a:pt x="330" y="125"/>
                  <a:pt x="330" y="123"/>
                </a:cubicBezTo>
                <a:cubicBezTo>
                  <a:pt x="330" y="122"/>
                  <a:pt x="328" y="122"/>
                  <a:pt x="328" y="121"/>
                </a:cubicBezTo>
                <a:cubicBezTo>
                  <a:pt x="328" y="120"/>
                  <a:pt x="328" y="120"/>
                  <a:pt x="327" y="120"/>
                </a:cubicBezTo>
                <a:cubicBezTo>
                  <a:pt x="327" y="121"/>
                  <a:pt x="327" y="122"/>
                  <a:pt x="327" y="123"/>
                </a:cubicBezTo>
                <a:cubicBezTo>
                  <a:pt x="326" y="122"/>
                  <a:pt x="324" y="122"/>
                  <a:pt x="324" y="121"/>
                </a:cubicBezTo>
                <a:cubicBezTo>
                  <a:pt x="323" y="120"/>
                  <a:pt x="322" y="119"/>
                  <a:pt x="321" y="118"/>
                </a:cubicBezTo>
                <a:cubicBezTo>
                  <a:pt x="321" y="117"/>
                  <a:pt x="320" y="116"/>
                  <a:pt x="320" y="116"/>
                </a:cubicBezTo>
                <a:cubicBezTo>
                  <a:pt x="320" y="115"/>
                  <a:pt x="320" y="114"/>
                  <a:pt x="319" y="114"/>
                </a:cubicBezTo>
                <a:cubicBezTo>
                  <a:pt x="318" y="113"/>
                  <a:pt x="317" y="112"/>
                  <a:pt x="318" y="110"/>
                </a:cubicBezTo>
                <a:cubicBezTo>
                  <a:pt x="317" y="110"/>
                  <a:pt x="317" y="108"/>
                  <a:pt x="316" y="108"/>
                </a:cubicBezTo>
                <a:cubicBezTo>
                  <a:pt x="316" y="108"/>
                  <a:pt x="316" y="107"/>
                  <a:pt x="316" y="107"/>
                </a:cubicBezTo>
                <a:cubicBezTo>
                  <a:pt x="316" y="107"/>
                  <a:pt x="315" y="107"/>
                  <a:pt x="315" y="107"/>
                </a:cubicBezTo>
                <a:cubicBezTo>
                  <a:pt x="313" y="107"/>
                  <a:pt x="312" y="107"/>
                  <a:pt x="310" y="107"/>
                </a:cubicBezTo>
                <a:cubicBezTo>
                  <a:pt x="310" y="107"/>
                  <a:pt x="310" y="107"/>
                  <a:pt x="309" y="107"/>
                </a:cubicBezTo>
                <a:cubicBezTo>
                  <a:pt x="308" y="108"/>
                  <a:pt x="308" y="108"/>
                  <a:pt x="308" y="107"/>
                </a:cubicBezTo>
                <a:cubicBezTo>
                  <a:pt x="307" y="106"/>
                  <a:pt x="306" y="107"/>
                  <a:pt x="306" y="108"/>
                </a:cubicBezTo>
                <a:cubicBezTo>
                  <a:pt x="306" y="109"/>
                  <a:pt x="305" y="109"/>
                  <a:pt x="305" y="110"/>
                </a:cubicBezTo>
                <a:cubicBezTo>
                  <a:pt x="305" y="110"/>
                  <a:pt x="305" y="111"/>
                  <a:pt x="305" y="111"/>
                </a:cubicBezTo>
                <a:cubicBezTo>
                  <a:pt x="304" y="111"/>
                  <a:pt x="303" y="112"/>
                  <a:pt x="302" y="112"/>
                </a:cubicBezTo>
                <a:cubicBezTo>
                  <a:pt x="302" y="112"/>
                  <a:pt x="302" y="111"/>
                  <a:pt x="301" y="111"/>
                </a:cubicBezTo>
                <a:cubicBezTo>
                  <a:pt x="301" y="111"/>
                  <a:pt x="301" y="110"/>
                  <a:pt x="301" y="110"/>
                </a:cubicBezTo>
                <a:cubicBezTo>
                  <a:pt x="301" y="110"/>
                  <a:pt x="302" y="109"/>
                  <a:pt x="302" y="108"/>
                </a:cubicBezTo>
                <a:cubicBezTo>
                  <a:pt x="302" y="108"/>
                  <a:pt x="303" y="107"/>
                  <a:pt x="303" y="107"/>
                </a:cubicBezTo>
                <a:cubicBezTo>
                  <a:pt x="303" y="106"/>
                  <a:pt x="304" y="105"/>
                  <a:pt x="304" y="105"/>
                </a:cubicBezTo>
                <a:cubicBezTo>
                  <a:pt x="304" y="104"/>
                  <a:pt x="302" y="105"/>
                  <a:pt x="302" y="104"/>
                </a:cubicBezTo>
                <a:cubicBezTo>
                  <a:pt x="302" y="103"/>
                  <a:pt x="301" y="103"/>
                  <a:pt x="301" y="102"/>
                </a:cubicBezTo>
                <a:cubicBezTo>
                  <a:pt x="301" y="102"/>
                  <a:pt x="300" y="102"/>
                  <a:pt x="300" y="101"/>
                </a:cubicBezTo>
                <a:cubicBezTo>
                  <a:pt x="300" y="101"/>
                  <a:pt x="300" y="101"/>
                  <a:pt x="300" y="100"/>
                </a:cubicBezTo>
                <a:cubicBezTo>
                  <a:pt x="299" y="101"/>
                  <a:pt x="299" y="101"/>
                  <a:pt x="298" y="100"/>
                </a:cubicBezTo>
                <a:cubicBezTo>
                  <a:pt x="297" y="100"/>
                  <a:pt x="297" y="99"/>
                  <a:pt x="296" y="99"/>
                </a:cubicBezTo>
                <a:cubicBezTo>
                  <a:pt x="296" y="101"/>
                  <a:pt x="296" y="102"/>
                  <a:pt x="294" y="102"/>
                </a:cubicBezTo>
                <a:cubicBezTo>
                  <a:pt x="293" y="103"/>
                  <a:pt x="294" y="103"/>
                  <a:pt x="294" y="104"/>
                </a:cubicBezTo>
                <a:cubicBezTo>
                  <a:pt x="293" y="104"/>
                  <a:pt x="292" y="104"/>
                  <a:pt x="291" y="104"/>
                </a:cubicBezTo>
                <a:cubicBezTo>
                  <a:pt x="291" y="103"/>
                  <a:pt x="291" y="102"/>
                  <a:pt x="290" y="102"/>
                </a:cubicBezTo>
                <a:cubicBezTo>
                  <a:pt x="290" y="101"/>
                  <a:pt x="288" y="100"/>
                  <a:pt x="287" y="100"/>
                </a:cubicBezTo>
                <a:cubicBezTo>
                  <a:pt x="287" y="99"/>
                  <a:pt x="286" y="99"/>
                  <a:pt x="286" y="99"/>
                </a:cubicBezTo>
                <a:cubicBezTo>
                  <a:pt x="285" y="99"/>
                  <a:pt x="284" y="99"/>
                  <a:pt x="284" y="99"/>
                </a:cubicBezTo>
                <a:cubicBezTo>
                  <a:pt x="284" y="100"/>
                  <a:pt x="285" y="101"/>
                  <a:pt x="284" y="101"/>
                </a:cubicBezTo>
                <a:cubicBezTo>
                  <a:pt x="284" y="101"/>
                  <a:pt x="284" y="103"/>
                  <a:pt x="283" y="104"/>
                </a:cubicBezTo>
                <a:cubicBezTo>
                  <a:pt x="284" y="104"/>
                  <a:pt x="283" y="105"/>
                  <a:pt x="284" y="105"/>
                </a:cubicBezTo>
                <a:cubicBezTo>
                  <a:pt x="284" y="105"/>
                  <a:pt x="284" y="106"/>
                  <a:pt x="284" y="106"/>
                </a:cubicBezTo>
                <a:cubicBezTo>
                  <a:pt x="284" y="106"/>
                  <a:pt x="284" y="106"/>
                  <a:pt x="284" y="106"/>
                </a:cubicBezTo>
                <a:cubicBezTo>
                  <a:pt x="284" y="107"/>
                  <a:pt x="284" y="108"/>
                  <a:pt x="283" y="108"/>
                </a:cubicBezTo>
                <a:cubicBezTo>
                  <a:pt x="283" y="108"/>
                  <a:pt x="282" y="108"/>
                  <a:pt x="282" y="107"/>
                </a:cubicBezTo>
                <a:cubicBezTo>
                  <a:pt x="282" y="107"/>
                  <a:pt x="280" y="107"/>
                  <a:pt x="280" y="107"/>
                </a:cubicBezTo>
                <a:cubicBezTo>
                  <a:pt x="279" y="105"/>
                  <a:pt x="280" y="107"/>
                  <a:pt x="279" y="106"/>
                </a:cubicBezTo>
                <a:cubicBezTo>
                  <a:pt x="279" y="106"/>
                  <a:pt x="279" y="105"/>
                  <a:pt x="278" y="105"/>
                </a:cubicBezTo>
                <a:cubicBezTo>
                  <a:pt x="278" y="105"/>
                  <a:pt x="277" y="105"/>
                  <a:pt x="277" y="104"/>
                </a:cubicBezTo>
                <a:cubicBezTo>
                  <a:pt x="277" y="103"/>
                  <a:pt x="277" y="103"/>
                  <a:pt x="276" y="103"/>
                </a:cubicBezTo>
                <a:cubicBezTo>
                  <a:pt x="276" y="102"/>
                  <a:pt x="276" y="101"/>
                  <a:pt x="277" y="101"/>
                </a:cubicBezTo>
                <a:cubicBezTo>
                  <a:pt x="277" y="100"/>
                  <a:pt x="277" y="99"/>
                  <a:pt x="277" y="98"/>
                </a:cubicBezTo>
                <a:cubicBezTo>
                  <a:pt x="277" y="97"/>
                  <a:pt x="277" y="97"/>
                  <a:pt x="276" y="96"/>
                </a:cubicBezTo>
                <a:cubicBezTo>
                  <a:pt x="276" y="96"/>
                  <a:pt x="276" y="96"/>
                  <a:pt x="276" y="96"/>
                </a:cubicBezTo>
                <a:cubicBezTo>
                  <a:pt x="275" y="95"/>
                  <a:pt x="272" y="95"/>
                  <a:pt x="272" y="97"/>
                </a:cubicBezTo>
                <a:cubicBezTo>
                  <a:pt x="271" y="98"/>
                  <a:pt x="270" y="98"/>
                  <a:pt x="269" y="98"/>
                </a:cubicBezTo>
                <a:cubicBezTo>
                  <a:pt x="269" y="99"/>
                  <a:pt x="269" y="99"/>
                  <a:pt x="268" y="99"/>
                </a:cubicBezTo>
                <a:cubicBezTo>
                  <a:pt x="267" y="99"/>
                  <a:pt x="268" y="100"/>
                  <a:pt x="267" y="100"/>
                </a:cubicBezTo>
                <a:cubicBezTo>
                  <a:pt x="266" y="100"/>
                  <a:pt x="265" y="100"/>
                  <a:pt x="264" y="100"/>
                </a:cubicBezTo>
                <a:cubicBezTo>
                  <a:pt x="264" y="100"/>
                  <a:pt x="264" y="100"/>
                  <a:pt x="264" y="100"/>
                </a:cubicBezTo>
                <a:cubicBezTo>
                  <a:pt x="264" y="101"/>
                  <a:pt x="263" y="100"/>
                  <a:pt x="263" y="100"/>
                </a:cubicBezTo>
                <a:cubicBezTo>
                  <a:pt x="262" y="100"/>
                  <a:pt x="263" y="100"/>
                  <a:pt x="262" y="100"/>
                </a:cubicBezTo>
                <a:cubicBezTo>
                  <a:pt x="262" y="100"/>
                  <a:pt x="262" y="100"/>
                  <a:pt x="261" y="100"/>
                </a:cubicBezTo>
                <a:cubicBezTo>
                  <a:pt x="261" y="100"/>
                  <a:pt x="262" y="101"/>
                  <a:pt x="261" y="101"/>
                </a:cubicBezTo>
                <a:cubicBezTo>
                  <a:pt x="261" y="101"/>
                  <a:pt x="261" y="101"/>
                  <a:pt x="260" y="101"/>
                </a:cubicBezTo>
                <a:cubicBezTo>
                  <a:pt x="260" y="101"/>
                  <a:pt x="260" y="102"/>
                  <a:pt x="259" y="102"/>
                </a:cubicBezTo>
                <a:cubicBezTo>
                  <a:pt x="259" y="102"/>
                  <a:pt x="258" y="102"/>
                  <a:pt x="258" y="102"/>
                </a:cubicBezTo>
                <a:cubicBezTo>
                  <a:pt x="258" y="102"/>
                  <a:pt x="258" y="102"/>
                  <a:pt x="258" y="102"/>
                </a:cubicBezTo>
                <a:cubicBezTo>
                  <a:pt x="258" y="102"/>
                  <a:pt x="258" y="102"/>
                  <a:pt x="257" y="103"/>
                </a:cubicBezTo>
                <a:cubicBezTo>
                  <a:pt x="257" y="103"/>
                  <a:pt x="256" y="103"/>
                  <a:pt x="256" y="104"/>
                </a:cubicBezTo>
                <a:cubicBezTo>
                  <a:pt x="256" y="104"/>
                  <a:pt x="255" y="104"/>
                  <a:pt x="256" y="105"/>
                </a:cubicBezTo>
                <a:cubicBezTo>
                  <a:pt x="256" y="105"/>
                  <a:pt x="256" y="105"/>
                  <a:pt x="256" y="106"/>
                </a:cubicBezTo>
                <a:cubicBezTo>
                  <a:pt x="256" y="107"/>
                  <a:pt x="256" y="108"/>
                  <a:pt x="255" y="108"/>
                </a:cubicBezTo>
                <a:cubicBezTo>
                  <a:pt x="254" y="107"/>
                  <a:pt x="254" y="108"/>
                  <a:pt x="254" y="108"/>
                </a:cubicBezTo>
                <a:cubicBezTo>
                  <a:pt x="253" y="109"/>
                  <a:pt x="253" y="109"/>
                  <a:pt x="252" y="110"/>
                </a:cubicBezTo>
                <a:cubicBezTo>
                  <a:pt x="252" y="110"/>
                  <a:pt x="252" y="110"/>
                  <a:pt x="252" y="110"/>
                </a:cubicBezTo>
                <a:cubicBezTo>
                  <a:pt x="251" y="110"/>
                  <a:pt x="251" y="111"/>
                  <a:pt x="251" y="111"/>
                </a:cubicBezTo>
                <a:cubicBezTo>
                  <a:pt x="250" y="112"/>
                  <a:pt x="250" y="114"/>
                  <a:pt x="251" y="114"/>
                </a:cubicBezTo>
                <a:cubicBezTo>
                  <a:pt x="252" y="114"/>
                  <a:pt x="253" y="113"/>
                  <a:pt x="253" y="114"/>
                </a:cubicBezTo>
                <a:cubicBezTo>
                  <a:pt x="254" y="114"/>
                  <a:pt x="255" y="114"/>
                  <a:pt x="255" y="113"/>
                </a:cubicBezTo>
                <a:cubicBezTo>
                  <a:pt x="256" y="112"/>
                  <a:pt x="256" y="113"/>
                  <a:pt x="257" y="113"/>
                </a:cubicBezTo>
                <a:cubicBezTo>
                  <a:pt x="257" y="113"/>
                  <a:pt x="256" y="113"/>
                  <a:pt x="257" y="114"/>
                </a:cubicBezTo>
                <a:cubicBezTo>
                  <a:pt x="257" y="114"/>
                  <a:pt x="259" y="114"/>
                  <a:pt x="258" y="114"/>
                </a:cubicBezTo>
                <a:cubicBezTo>
                  <a:pt x="257" y="115"/>
                  <a:pt x="256" y="114"/>
                  <a:pt x="255" y="115"/>
                </a:cubicBezTo>
                <a:cubicBezTo>
                  <a:pt x="254" y="115"/>
                  <a:pt x="255" y="116"/>
                  <a:pt x="256" y="116"/>
                </a:cubicBezTo>
                <a:cubicBezTo>
                  <a:pt x="257" y="116"/>
                  <a:pt x="260" y="117"/>
                  <a:pt x="260" y="115"/>
                </a:cubicBezTo>
                <a:cubicBezTo>
                  <a:pt x="260" y="113"/>
                  <a:pt x="260" y="114"/>
                  <a:pt x="262" y="115"/>
                </a:cubicBezTo>
                <a:cubicBezTo>
                  <a:pt x="262" y="115"/>
                  <a:pt x="263" y="115"/>
                  <a:pt x="264" y="115"/>
                </a:cubicBezTo>
                <a:cubicBezTo>
                  <a:pt x="265" y="115"/>
                  <a:pt x="264" y="114"/>
                  <a:pt x="265" y="114"/>
                </a:cubicBezTo>
                <a:cubicBezTo>
                  <a:pt x="266" y="114"/>
                  <a:pt x="266" y="114"/>
                  <a:pt x="267" y="114"/>
                </a:cubicBezTo>
                <a:cubicBezTo>
                  <a:pt x="268" y="114"/>
                  <a:pt x="269" y="113"/>
                  <a:pt x="271" y="113"/>
                </a:cubicBezTo>
                <a:cubicBezTo>
                  <a:pt x="272" y="114"/>
                  <a:pt x="272" y="114"/>
                  <a:pt x="272" y="114"/>
                </a:cubicBezTo>
                <a:cubicBezTo>
                  <a:pt x="272" y="115"/>
                  <a:pt x="270" y="115"/>
                  <a:pt x="270" y="115"/>
                </a:cubicBezTo>
                <a:cubicBezTo>
                  <a:pt x="270" y="115"/>
                  <a:pt x="270" y="114"/>
                  <a:pt x="269" y="114"/>
                </a:cubicBezTo>
                <a:cubicBezTo>
                  <a:pt x="269" y="115"/>
                  <a:pt x="268" y="114"/>
                  <a:pt x="268" y="114"/>
                </a:cubicBezTo>
                <a:cubicBezTo>
                  <a:pt x="268" y="115"/>
                  <a:pt x="267" y="114"/>
                  <a:pt x="267" y="115"/>
                </a:cubicBezTo>
                <a:cubicBezTo>
                  <a:pt x="267" y="115"/>
                  <a:pt x="266" y="115"/>
                  <a:pt x="266" y="115"/>
                </a:cubicBezTo>
                <a:cubicBezTo>
                  <a:pt x="266" y="116"/>
                  <a:pt x="266" y="116"/>
                  <a:pt x="266" y="116"/>
                </a:cubicBezTo>
                <a:cubicBezTo>
                  <a:pt x="265" y="116"/>
                  <a:pt x="264" y="116"/>
                  <a:pt x="264" y="116"/>
                </a:cubicBezTo>
                <a:cubicBezTo>
                  <a:pt x="263" y="116"/>
                  <a:pt x="264" y="116"/>
                  <a:pt x="263" y="116"/>
                </a:cubicBezTo>
                <a:cubicBezTo>
                  <a:pt x="263" y="116"/>
                  <a:pt x="263" y="116"/>
                  <a:pt x="263" y="116"/>
                </a:cubicBezTo>
                <a:cubicBezTo>
                  <a:pt x="262" y="116"/>
                  <a:pt x="262" y="116"/>
                  <a:pt x="261" y="117"/>
                </a:cubicBezTo>
                <a:cubicBezTo>
                  <a:pt x="260" y="117"/>
                  <a:pt x="259" y="118"/>
                  <a:pt x="258" y="118"/>
                </a:cubicBezTo>
                <a:cubicBezTo>
                  <a:pt x="257" y="118"/>
                  <a:pt x="256" y="118"/>
                  <a:pt x="257" y="119"/>
                </a:cubicBezTo>
                <a:cubicBezTo>
                  <a:pt x="257" y="120"/>
                  <a:pt x="257" y="120"/>
                  <a:pt x="258" y="120"/>
                </a:cubicBezTo>
                <a:cubicBezTo>
                  <a:pt x="258" y="120"/>
                  <a:pt x="258" y="121"/>
                  <a:pt x="258" y="121"/>
                </a:cubicBezTo>
                <a:cubicBezTo>
                  <a:pt x="259" y="121"/>
                  <a:pt x="259" y="120"/>
                  <a:pt x="259" y="121"/>
                </a:cubicBezTo>
                <a:cubicBezTo>
                  <a:pt x="260" y="121"/>
                  <a:pt x="261" y="121"/>
                  <a:pt x="261" y="120"/>
                </a:cubicBezTo>
                <a:cubicBezTo>
                  <a:pt x="262" y="120"/>
                  <a:pt x="263" y="121"/>
                  <a:pt x="264" y="121"/>
                </a:cubicBezTo>
                <a:cubicBezTo>
                  <a:pt x="264" y="120"/>
                  <a:pt x="267" y="120"/>
                  <a:pt x="268" y="120"/>
                </a:cubicBezTo>
                <a:cubicBezTo>
                  <a:pt x="269" y="121"/>
                  <a:pt x="269" y="120"/>
                  <a:pt x="270" y="120"/>
                </a:cubicBezTo>
                <a:cubicBezTo>
                  <a:pt x="271" y="120"/>
                  <a:pt x="271" y="121"/>
                  <a:pt x="271" y="121"/>
                </a:cubicBezTo>
                <a:cubicBezTo>
                  <a:pt x="273" y="121"/>
                  <a:pt x="274" y="120"/>
                  <a:pt x="275" y="120"/>
                </a:cubicBezTo>
                <a:cubicBezTo>
                  <a:pt x="276" y="120"/>
                  <a:pt x="277" y="121"/>
                  <a:pt x="278" y="121"/>
                </a:cubicBezTo>
                <a:cubicBezTo>
                  <a:pt x="279" y="120"/>
                  <a:pt x="279" y="120"/>
                  <a:pt x="280" y="120"/>
                </a:cubicBezTo>
                <a:cubicBezTo>
                  <a:pt x="281" y="120"/>
                  <a:pt x="280" y="119"/>
                  <a:pt x="281" y="119"/>
                </a:cubicBezTo>
                <a:cubicBezTo>
                  <a:pt x="282" y="119"/>
                  <a:pt x="281" y="120"/>
                  <a:pt x="282" y="120"/>
                </a:cubicBezTo>
                <a:cubicBezTo>
                  <a:pt x="284" y="120"/>
                  <a:pt x="282" y="120"/>
                  <a:pt x="283" y="121"/>
                </a:cubicBezTo>
                <a:cubicBezTo>
                  <a:pt x="283" y="121"/>
                  <a:pt x="284" y="121"/>
                  <a:pt x="285" y="121"/>
                </a:cubicBezTo>
                <a:cubicBezTo>
                  <a:pt x="285" y="121"/>
                  <a:pt x="285" y="120"/>
                  <a:pt x="286" y="120"/>
                </a:cubicBezTo>
                <a:cubicBezTo>
                  <a:pt x="288" y="120"/>
                  <a:pt x="288" y="120"/>
                  <a:pt x="288" y="121"/>
                </a:cubicBezTo>
                <a:cubicBezTo>
                  <a:pt x="287" y="121"/>
                  <a:pt x="287" y="121"/>
                  <a:pt x="286" y="122"/>
                </a:cubicBezTo>
                <a:cubicBezTo>
                  <a:pt x="286" y="122"/>
                  <a:pt x="287" y="123"/>
                  <a:pt x="286" y="123"/>
                </a:cubicBezTo>
                <a:cubicBezTo>
                  <a:pt x="285" y="123"/>
                  <a:pt x="285" y="123"/>
                  <a:pt x="285" y="123"/>
                </a:cubicBezTo>
                <a:cubicBezTo>
                  <a:pt x="285" y="123"/>
                  <a:pt x="284" y="124"/>
                  <a:pt x="284" y="124"/>
                </a:cubicBezTo>
                <a:cubicBezTo>
                  <a:pt x="283" y="124"/>
                  <a:pt x="282" y="124"/>
                  <a:pt x="282" y="124"/>
                </a:cubicBezTo>
                <a:cubicBezTo>
                  <a:pt x="281" y="124"/>
                  <a:pt x="280" y="124"/>
                  <a:pt x="278" y="124"/>
                </a:cubicBezTo>
                <a:cubicBezTo>
                  <a:pt x="278" y="124"/>
                  <a:pt x="278" y="124"/>
                  <a:pt x="278" y="124"/>
                </a:cubicBezTo>
                <a:cubicBezTo>
                  <a:pt x="278" y="123"/>
                  <a:pt x="276" y="124"/>
                  <a:pt x="276" y="123"/>
                </a:cubicBezTo>
                <a:cubicBezTo>
                  <a:pt x="276" y="123"/>
                  <a:pt x="276" y="124"/>
                  <a:pt x="276" y="124"/>
                </a:cubicBezTo>
                <a:cubicBezTo>
                  <a:pt x="275" y="124"/>
                  <a:pt x="274" y="124"/>
                  <a:pt x="273" y="124"/>
                </a:cubicBezTo>
                <a:cubicBezTo>
                  <a:pt x="273" y="124"/>
                  <a:pt x="273" y="124"/>
                  <a:pt x="273" y="124"/>
                </a:cubicBezTo>
                <a:cubicBezTo>
                  <a:pt x="272" y="124"/>
                  <a:pt x="271" y="124"/>
                  <a:pt x="271" y="124"/>
                </a:cubicBezTo>
                <a:cubicBezTo>
                  <a:pt x="270" y="125"/>
                  <a:pt x="271" y="125"/>
                  <a:pt x="270" y="125"/>
                </a:cubicBezTo>
                <a:cubicBezTo>
                  <a:pt x="269" y="126"/>
                  <a:pt x="268" y="126"/>
                  <a:pt x="267" y="126"/>
                </a:cubicBezTo>
                <a:cubicBezTo>
                  <a:pt x="267" y="125"/>
                  <a:pt x="264" y="126"/>
                  <a:pt x="263" y="126"/>
                </a:cubicBezTo>
                <a:cubicBezTo>
                  <a:pt x="263" y="125"/>
                  <a:pt x="262" y="125"/>
                  <a:pt x="261" y="125"/>
                </a:cubicBezTo>
                <a:cubicBezTo>
                  <a:pt x="262" y="126"/>
                  <a:pt x="262" y="127"/>
                  <a:pt x="262" y="127"/>
                </a:cubicBezTo>
                <a:cubicBezTo>
                  <a:pt x="261" y="128"/>
                  <a:pt x="261" y="129"/>
                  <a:pt x="261" y="129"/>
                </a:cubicBezTo>
                <a:cubicBezTo>
                  <a:pt x="262" y="129"/>
                  <a:pt x="262" y="129"/>
                  <a:pt x="262" y="130"/>
                </a:cubicBezTo>
                <a:cubicBezTo>
                  <a:pt x="262" y="130"/>
                  <a:pt x="263" y="131"/>
                  <a:pt x="263" y="131"/>
                </a:cubicBezTo>
                <a:cubicBezTo>
                  <a:pt x="264" y="131"/>
                  <a:pt x="264" y="131"/>
                  <a:pt x="265" y="132"/>
                </a:cubicBezTo>
                <a:cubicBezTo>
                  <a:pt x="265" y="134"/>
                  <a:pt x="269" y="134"/>
                  <a:pt x="271" y="134"/>
                </a:cubicBezTo>
                <a:cubicBezTo>
                  <a:pt x="271" y="134"/>
                  <a:pt x="271" y="133"/>
                  <a:pt x="272" y="134"/>
                </a:cubicBezTo>
                <a:cubicBezTo>
                  <a:pt x="272" y="134"/>
                  <a:pt x="273" y="134"/>
                  <a:pt x="273" y="134"/>
                </a:cubicBezTo>
                <a:cubicBezTo>
                  <a:pt x="273" y="135"/>
                  <a:pt x="275" y="135"/>
                  <a:pt x="275" y="135"/>
                </a:cubicBezTo>
                <a:cubicBezTo>
                  <a:pt x="276" y="135"/>
                  <a:pt x="276" y="137"/>
                  <a:pt x="276" y="137"/>
                </a:cubicBezTo>
                <a:cubicBezTo>
                  <a:pt x="276" y="138"/>
                  <a:pt x="276" y="138"/>
                  <a:pt x="276" y="139"/>
                </a:cubicBezTo>
                <a:cubicBezTo>
                  <a:pt x="277" y="139"/>
                  <a:pt x="278" y="139"/>
                  <a:pt x="279" y="139"/>
                </a:cubicBezTo>
                <a:cubicBezTo>
                  <a:pt x="279" y="139"/>
                  <a:pt x="280" y="140"/>
                  <a:pt x="281" y="140"/>
                </a:cubicBezTo>
                <a:cubicBezTo>
                  <a:pt x="282" y="140"/>
                  <a:pt x="282" y="140"/>
                  <a:pt x="283" y="140"/>
                </a:cubicBezTo>
                <a:cubicBezTo>
                  <a:pt x="284" y="140"/>
                  <a:pt x="285" y="140"/>
                  <a:pt x="285" y="139"/>
                </a:cubicBezTo>
                <a:cubicBezTo>
                  <a:pt x="285" y="138"/>
                  <a:pt x="285" y="138"/>
                  <a:pt x="286" y="138"/>
                </a:cubicBezTo>
                <a:cubicBezTo>
                  <a:pt x="286" y="138"/>
                  <a:pt x="287" y="138"/>
                  <a:pt x="287" y="138"/>
                </a:cubicBezTo>
                <a:cubicBezTo>
                  <a:pt x="287" y="138"/>
                  <a:pt x="287" y="139"/>
                  <a:pt x="288" y="139"/>
                </a:cubicBezTo>
                <a:cubicBezTo>
                  <a:pt x="288" y="138"/>
                  <a:pt x="289" y="138"/>
                  <a:pt x="289" y="138"/>
                </a:cubicBezTo>
                <a:cubicBezTo>
                  <a:pt x="290" y="138"/>
                  <a:pt x="292" y="139"/>
                  <a:pt x="293" y="138"/>
                </a:cubicBezTo>
                <a:cubicBezTo>
                  <a:pt x="294" y="138"/>
                  <a:pt x="298" y="137"/>
                  <a:pt x="298" y="137"/>
                </a:cubicBezTo>
                <a:cubicBezTo>
                  <a:pt x="298" y="136"/>
                  <a:pt x="298" y="136"/>
                  <a:pt x="298" y="136"/>
                </a:cubicBezTo>
                <a:cubicBezTo>
                  <a:pt x="300" y="136"/>
                  <a:pt x="300" y="135"/>
                  <a:pt x="302" y="135"/>
                </a:cubicBezTo>
                <a:cubicBezTo>
                  <a:pt x="303" y="135"/>
                  <a:pt x="303" y="134"/>
                  <a:pt x="304" y="134"/>
                </a:cubicBezTo>
                <a:cubicBezTo>
                  <a:pt x="305" y="134"/>
                  <a:pt x="306" y="134"/>
                  <a:pt x="307" y="133"/>
                </a:cubicBezTo>
                <a:cubicBezTo>
                  <a:pt x="308" y="133"/>
                  <a:pt x="309" y="132"/>
                  <a:pt x="309" y="131"/>
                </a:cubicBezTo>
                <a:cubicBezTo>
                  <a:pt x="310" y="131"/>
                  <a:pt x="312" y="131"/>
                  <a:pt x="313" y="130"/>
                </a:cubicBezTo>
                <a:cubicBezTo>
                  <a:pt x="313" y="129"/>
                  <a:pt x="313" y="129"/>
                  <a:pt x="315" y="129"/>
                </a:cubicBezTo>
                <a:cubicBezTo>
                  <a:pt x="315" y="129"/>
                  <a:pt x="315" y="129"/>
                  <a:pt x="316" y="129"/>
                </a:cubicBezTo>
                <a:cubicBezTo>
                  <a:pt x="315" y="130"/>
                  <a:pt x="315" y="131"/>
                  <a:pt x="314" y="132"/>
                </a:cubicBezTo>
                <a:cubicBezTo>
                  <a:pt x="313" y="133"/>
                  <a:pt x="315" y="133"/>
                  <a:pt x="316" y="133"/>
                </a:cubicBezTo>
                <a:cubicBezTo>
                  <a:pt x="317" y="133"/>
                  <a:pt x="319" y="134"/>
                  <a:pt x="319" y="134"/>
                </a:cubicBezTo>
                <a:cubicBezTo>
                  <a:pt x="319" y="134"/>
                  <a:pt x="319" y="135"/>
                  <a:pt x="319" y="135"/>
                </a:cubicBezTo>
                <a:cubicBezTo>
                  <a:pt x="319" y="135"/>
                  <a:pt x="320" y="135"/>
                  <a:pt x="320" y="135"/>
                </a:cubicBezTo>
                <a:cubicBezTo>
                  <a:pt x="321" y="135"/>
                  <a:pt x="321" y="134"/>
                  <a:pt x="321" y="135"/>
                </a:cubicBezTo>
                <a:cubicBezTo>
                  <a:pt x="321" y="135"/>
                  <a:pt x="322" y="135"/>
                  <a:pt x="322" y="135"/>
                </a:cubicBezTo>
                <a:cubicBezTo>
                  <a:pt x="323" y="136"/>
                  <a:pt x="323" y="136"/>
                  <a:pt x="323" y="136"/>
                </a:cubicBezTo>
                <a:cubicBezTo>
                  <a:pt x="324" y="136"/>
                  <a:pt x="325" y="135"/>
                  <a:pt x="326" y="136"/>
                </a:cubicBezTo>
                <a:cubicBezTo>
                  <a:pt x="327" y="136"/>
                  <a:pt x="326" y="137"/>
                  <a:pt x="328" y="137"/>
                </a:cubicBezTo>
                <a:cubicBezTo>
                  <a:pt x="328" y="137"/>
                  <a:pt x="328" y="136"/>
                  <a:pt x="328" y="136"/>
                </a:cubicBezTo>
                <a:cubicBezTo>
                  <a:pt x="328" y="135"/>
                  <a:pt x="328" y="135"/>
                  <a:pt x="329" y="135"/>
                </a:cubicBezTo>
                <a:cubicBezTo>
                  <a:pt x="329" y="135"/>
                  <a:pt x="330" y="135"/>
                  <a:pt x="330" y="136"/>
                </a:cubicBezTo>
                <a:cubicBezTo>
                  <a:pt x="331" y="136"/>
                  <a:pt x="331" y="136"/>
                  <a:pt x="332" y="135"/>
                </a:cubicBezTo>
                <a:cubicBezTo>
                  <a:pt x="332" y="135"/>
                  <a:pt x="332" y="135"/>
                  <a:pt x="332" y="135"/>
                </a:cubicBezTo>
                <a:cubicBezTo>
                  <a:pt x="332" y="135"/>
                  <a:pt x="333" y="135"/>
                  <a:pt x="333" y="135"/>
                </a:cubicBezTo>
                <a:cubicBezTo>
                  <a:pt x="334" y="134"/>
                  <a:pt x="335" y="133"/>
                  <a:pt x="335" y="133"/>
                </a:cubicBezTo>
                <a:cubicBezTo>
                  <a:pt x="334" y="132"/>
                  <a:pt x="334" y="133"/>
                  <a:pt x="334" y="133"/>
                </a:cubicBezTo>
                <a:cubicBezTo>
                  <a:pt x="333" y="132"/>
                  <a:pt x="334" y="132"/>
                  <a:pt x="334" y="131"/>
                </a:cubicBezTo>
                <a:cubicBezTo>
                  <a:pt x="334" y="131"/>
                  <a:pt x="332" y="131"/>
                  <a:pt x="331" y="131"/>
                </a:cubicBezTo>
                <a:cubicBezTo>
                  <a:pt x="331" y="131"/>
                  <a:pt x="331" y="132"/>
                  <a:pt x="330" y="133"/>
                </a:cubicBezTo>
                <a:cubicBezTo>
                  <a:pt x="330" y="132"/>
                  <a:pt x="329" y="132"/>
                  <a:pt x="329" y="132"/>
                </a:cubicBezTo>
                <a:cubicBezTo>
                  <a:pt x="329" y="132"/>
                  <a:pt x="329" y="132"/>
                  <a:pt x="329" y="132"/>
                </a:cubicBezTo>
                <a:cubicBezTo>
                  <a:pt x="328" y="132"/>
                  <a:pt x="328" y="132"/>
                  <a:pt x="328" y="132"/>
                </a:cubicBezTo>
                <a:cubicBezTo>
                  <a:pt x="327" y="131"/>
                  <a:pt x="327" y="131"/>
                  <a:pt x="326" y="130"/>
                </a:cubicBezTo>
                <a:cubicBezTo>
                  <a:pt x="326" y="130"/>
                  <a:pt x="326" y="129"/>
                  <a:pt x="326" y="129"/>
                </a:cubicBezTo>
                <a:cubicBezTo>
                  <a:pt x="326" y="128"/>
                  <a:pt x="328" y="129"/>
                  <a:pt x="328" y="129"/>
                </a:cubicBezTo>
                <a:cubicBezTo>
                  <a:pt x="329" y="129"/>
                  <a:pt x="329" y="130"/>
                  <a:pt x="330" y="130"/>
                </a:cubicBezTo>
                <a:cubicBezTo>
                  <a:pt x="332" y="130"/>
                  <a:pt x="333" y="130"/>
                  <a:pt x="334" y="131"/>
                </a:cubicBezTo>
                <a:cubicBezTo>
                  <a:pt x="334" y="129"/>
                  <a:pt x="334" y="129"/>
                  <a:pt x="333" y="129"/>
                </a:cubicBezTo>
                <a:cubicBezTo>
                  <a:pt x="332" y="129"/>
                  <a:pt x="332" y="128"/>
                  <a:pt x="333" y="128"/>
                </a:cubicBezTo>
                <a:cubicBezTo>
                  <a:pt x="333" y="128"/>
                  <a:pt x="334" y="128"/>
                  <a:pt x="334" y="127"/>
                </a:cubicBezTo>
                <a:cubicBezTo>
                  <a:pt x="335" y="128"/>
                  <a:pt x="336" y="129"/>
                  <a:pt x="337" y="129"/>
                </a:cubicBezTo>
                <a:cubicBezTo>
                  <a:pt x="337" y="129"/>
                  <a:pt x="337" y="129"/>
                  <a:pt x="337" y="130"/>
                </a:cubicBezTo>
                <a:cubicBezTo>
                  <a:pt x="337" y="131"/>
                  <a:pt x="338" y="131"/>
                  <a:pt x="339" y="131"/>
                </a:cubicBezTo>
                <a:cubicBezTo>
                  <a:pt x="339" y="130"/>
                  <a:pt x="339" y="131"/>
                  <a:pt x="339" y="131"/>
                </a:cubicBezTo>
                <a:close/>
                <a:moveTo>
                  <a:pt x="1401" y="101"/>
                </a:moveTo>
                <a:cubicBezTo>
                  <a:pt x="1401" y="103"/>
                  <a:pt x="1401" y="103"/>
                  <a:pt x="1403" y="103"/>
                </a:cubicBezTo>
                <a:cubicBezTo>
                  <a:pt x="1403" y="103"/>
                  <a:pt x="1404" y="103"/>
                  <a:pt x="1405" y="103"/>
                </a:cubicBezTo>
                <a:cubicBezTo>
                  <a:pt x="1405" y="103"/>
                  <a:pt x="1406" y="104"/>
                  <a:pt x="1407" y="104"/>
                </a:cubicBezTo>
                <a:cubicBezTo>
                  <a:pt x="1407" y="105"/>
                  <a:pt x="1405" y="104"/>
                  <a:pt x="1405" y="105"/>
                </a:cubicBezTo>
                <a:cubicBezTo>
                  <a:pt x="1405" y="106"/>
                  <a:pt x="1406" y="107"/>
                  <a:pt x="1406" y="107"/>
                </a:cubicBezTo>
                <a:cubicBezTo>
                  <a:pt x="1407" y="106"/>
                  <a:pt x="1408" y="106"/>
                  <a:pt x="1408" y="106"/>
                </a:cubicBezTo>
                <a:cubicBezTo>
                  <a:pt x="1408" y="105"/>
                  <a:pt x="1408" y="105"/>
                  <a:pt x="1408" y="105"/>
                </a:cubicBezTo>
                <a:cubicBezTo>
                  <a:pt x="1409" y="105"/>
                  <a:pt x="1409" y="105"/>
                  <a:pt x="1410" y="104"/>
                </a:cubicBezTo>
                <a:cubicBezTo>
                  <a:pt x="1410" y="104"/>
                  <a:pt x="1411" y="104"/>
                  <a:pt x="1411" y="104"/>
                </a:cubicBezTo>
                <a:cubicBezTo>
                  <a:pt x="1412" y="104"/>
                  <a:pt x="1411" y="104"/>
                  <a:pt x="1411" y="104"/>
                </a:cubicBezTo>
                <a:cubicBezTo>
                  <a:pt x="1412" y="103"/>
                  <a:pt x="1412" y="103"/>
                  <a:pt x="1413" y="103"/>
                </a:cubicBezTo>
                <a:cubicBezTo>
                  <a:pt x="1415" y="103"/>
                  <a:pt x="1413" y="103"/>
                  <a:pt x="1414" y="103"/>
                </a:cubicBezTo>
                <a:cubicBezTo>
                  <a:pt x="1414" y="102"/>
                  <a:pt x="1414" y="102"/>
                  <a:pt x="1414" y="102"/>
                </a:cubicBezTo>
                <a:cubicBezTo>
                  <a:pt x="1415" y="102"/>
                  <a:pt x="1416" y="101"/>
                  <a:pt x="1416" y="100"/>
                </a:cubicBezTo>
                <a:cubicBezTo>
                  <a:pt x="1416" y="100"/>
                  <a:pt x="1416" y="99"/>
                  <a:pt x="1416" y="99"/>
                </a:cubicBezTo>
                <a:cubicBezTo>
                  <a:pt x="1416" y="99"/>
                  <a:pt x="1414" y="99"/>
                  <a:pt x="1413" y="99"/>
                </a:cubicBezTo>
                <a:cubicBezTo>
                  <a:pt x="1413" y="99"/>
                  <a:pt x="1412" y="98"/>
                  <a:pt x="1412" y="98"/>
                </a:cubicBezTo>
                <a:cubicBezTo>
                  <a:pt x="1412" y="97"/>
                  <a:pt x="1411" y="97"/>
                  <a:pt x="1410" y="97"/>
                </a:cubicBezTo>
                <a:cubicBezTo>
                  <a:pt x="1410" y="97"/>
                  <a:pt x="1409" y="97"/>
                  <a:pt x="1409" y="96"/>
                </a:cubicBezTo>
                <a:cubicBezTo>
                  <a:pt x="1409" y="96"/>
                  <a:pt x="1409" y="96"/>
                  <a:pt x="1408" y="96"/>
                </a:cubicBezTo>
                <a:cubicBezTo>
                  <a:pt x="1408" y="95"/>
                  <a:pt x="1408" y="95"/>
                  <a:pt x="1408" y="95"/>
                </a:cubicBezTo>
                <a:cubicBezTo>
                  <a:pt x="1407" y="95"/>
                  <a:pt x="1407" y="95"/>
                  <a:pt x="1406" y="95"/>
                </a:cubicBezTo>
                <a:cubicBezTo>
                  <a:pt x="1405" y="95"/>
                  <a:pt x="1403" y="96"/>
                  <a:pt x="1401" y="96"/>
                </a:cubicBezTo>
                <a:cubicBezTo>
                  <a:pt x="1401" y="96"/>
                  <a:pt x="1400" y="97"/>
                  <a:pt x="1400" y="97"/>
                </a:cubicBezTo>
                <a:cubicBezTo>
                  <a:pt x="1399" y="98"/>
                  <a:pt x="1400" y="98"/>
                  <a:pt x="1399" y="98"/>
                </a:cubicBezTo>
                <a:cubicBezTo>
                  <a:pt x="1399" y="99"/>
                  <a:pt x="1399" y="100"/>
                  <a:pt x="1399" y="100"/>
                </a:cubicBezTo>
                <a:cubicBezTo>
                  <a:pt x="1399" y="100"/>
                  <a:pt x="1399" y="100"/>
                  <a:pt x="1399" y="100"/>
                </a:cubicBezTo>
                <a:cubicBezTo>
                  <a:pt x="1399" y="101"/>
                  <a:pt x="1400" y="101"/>
                  <a:pt x="1401" y="101"/>
                </a:cubicBezTo>
                <a:close/>
                <a:moveTo>
                  <a:pt x="1481" y="99"/>
                </a:moveTo>
                <a:cubicBezTo>
                  <a:pt x="1481" y="101"/>
                  <a:pt x="1482" y="100"/>
                  <a:pt x="1484" y="100"/>
                </a:cubicBezTo>
                <a:cubicBezTo>
                  <a:pt x="1484" y="100"/>
                  <a:pt x="1484" y="100"/>
                  <a:pt x="1484" y="100"/>
                </a:cubicBezTo>
                <a:cubicBezTo>
                  <a:pt x="1484" y="101"/>
                  <a:pt x="1485" y="101"/>
                  <a:pt x="1486" y="101"/>
                </a:cubicBezTo>
                <a:cubicBezTo>
                  <a:pt x="1487" y="101"/>
                  <a:pt x="1488" y="101"/>
                  <a:pt x="1489" y="100"/>
                </a:cubicBezTo>
                <a:cubicBezTo>
                  <a:pt x="1489" y="101"/>
                  <a:pt x="1490" y="101"/>
                  <a:pt x="1490" y="101"/>
                </a:cubicBezTo>
                <a:cubicBezTo>
                  <a:pt x="1491" y="101"/>
                  <a:pt x="1490" y="101"/>
                  <a:pt x="1491" y="101"/>
                </a:cubicBezTo>
                <a:cubicBezTo>
                  <a:pt x="1491" y="101"/>
                  <a:pt x="1492" y="101"/>
                  <a:pt x="1492" y="101"/>
                </a:cubicBezTo>
                <a:cubicBezTo>
                  <a:pt x="1492" y="101"/>
                  <a:pt x="1492" y="102"/>
                  <a:pt x="1493" y="102"/>
                </a:cubicBezTo>
                <a:cubicBezTo>
                  <a:pt x="1494" y="102"/>
                  <a:pt x="1494" y="102"/>
                  <a:pt x="1495" y="102"/>
                </a:cubicBezTo>
                <a:cubicBezTo>
                  <a:pt x="1496" y="102"/>
                  <a:pt x="1496" y="102"/>
                  <a:pt x="1496" y="102"/>
                </a:cubicBezTo>
                <a:cubicBezTo>
                  <a:pt x="1497" y="102"/>
                  <a:pt x="1498" y="102"/>
                  <a:pt x="1498" y="102"/>
                </a:cubicBezTo>
                <a:cubicBezTo>
                  <a:pt x="1498" y="101"/>
                  <a:pt x="1498" y="101"/>
                  <a:pt x="1498" y="100"/>
                </a:cubicBezTo>
                <a:cubicBezTo>
                  <a:pt x="1498" y="100"/>
                  <a:pt x="1498" y="100"/>
                  <a:pt x="1498" y="100"/>
                </a:cubicBezTo>
                <a:cubicBezTo>
                  <a:pt x="1498" y="100"/>
                  <a:pt x="1498" y="99"/>
                  <a:pt x="1498" y="98"/>
                </a:cubicBezTo>
                <a:cubicBezTo>
                  <a:pt x="1498" y="98"/>
                  <a:pt x="1497" y="98"/>
                  <a:pt x="1496" y="97"/>
                </a:cubicBezTo>
                <a:cubicBezTo>
                  <a:pt x="1496" y="97"/>
                  <a:pt x="1497" y="97"/>
                  <a:pt x="1496" y="97"/>
                </a:cubicBezTo>
                <a:cubicBezTo>
                  <a:pt x="1495" y="97"/>
                  <a:pt x="1495" y="96"/>
                  <a:pt x="1494" y="95"/>
                </a:cubicBezTo>
                <a:cubicBezTo>
                  <a:pt x="1494" y="95"/>
                  <a:pt x="1494" y="96"/>
                  <a:pt x="1493" y="95"/>
                </a:cubicBezTo>
                <a:cubicBezTo>
                  <a:pt x="1493" y="94"/>
                  <a:pt x="1492" y="94"/>
                  <a:pt x="1491" y="94"/>
                </a:cubicBezTo>
                <a:cubicBezTo>
                  <a:pt x="1490" y="94"/>
                  <a:pt x="1491" y="94"/>
                  <a:pt x="1490" y="94"/>
                </a:cubicBezTo>
                <a:cubicBezTo>
                  <a:pt x="1489" y="94"/>
                  <a:pt x="1489" y="94"/>
                  <a:pt x="1489" y="94"/>
                </a:cubicBezTo>
                <a:cubicBezTo>
                  <a:pt x="1488" y="95"/>
                  <a:pt x="1488" y="95"/>
                  <a:pt x="1488" y="95"/>
                </a:cubicBezTo>
                <a:cubicBezTo>
                  <a:pt x="1487" y="95"/>
                  <a:pt x="1487" y="95"/>
                  <a:pt x="1487" y="95"/>
                </a:cubicBezTo>
                <a:cubicBezTo>
                  <a:pt x="1487" y="95"/>
                  <a:pt x="1487" y="95"/>
                  <a:pt x="1487" y="95"/>
                </a:cubicBezTo>
                <a:cubicBezTo>
                  <a:pt x="1487" y="95"/>
                  <a:pt x="1486" y="95"/>
                  <a:pt x="1486" y="95"/>
                </a:cubicBezTo>
                <a:cubicBezTo>
                  <a:pt x="1486" y="96"/>
                  <a:pt x="1486" y="96"/>
                  <a:pt x="1485" y="96"/>
                </a:cubicBezTo>
                <a:cubicBezTo>
                  <a:pt x="1485" y="96"/>
                  <a:pt x="1485" y="96"/>
                  <a:pt x="1485" y="97"/>
                </a:cubicBezTo>
                <a:cubicBezTo>
                  <a:pt x="1484" y="97"/>
                  <a:pt x="1484" y="98"/>
                  <a:pt x="1483" y="98"/>
                </a:cubicBezTo>
                <a:cubicBezTo>
                  <a:pt x="1483" y="99"/>
                  <a:pt x="1482" y="99"/>
                  <a:pt x="1481" y="99"/>
                </a:cubicBezTo>
                <a:cubicBezTo>
                  <a:pt x="1481" y="100"/>
                  <a:pt x="1481" y="99"/>
                  <a:pt x="1481" y="99"/>
                </a:cubicBezTo>
                <a:close/>
                <a:moveTo>
                  <a:pt x="480" y="167"/>
                </a:moveTo>
                <a:cubicBezTo>
                  <a:pt x="479" y="168"/>
                  <a:pt x="481" y="168"/>
                  <a:pt x="481" y="167"/>
                </a:cubicBezTo>
                <a:cubicBezTo>
                  <a:pt x="482" y="167"/>
                  <a:pt x="482" y="167"/>
                  <a:pt x="483" y="168"/>
                </a:cubicBezTo>
                <a:cubicBezTo>
                  <a:pt x="483" y="169"/>
                  <a:pt x="483" y="170"/>
                  <a:pt x="483" y="170"/>
                </a:cubicBezTo>
                <a:cubicBezTo>
                  <a:pt x="483" y="171"/>
                  <a:pt x="484" y="173"/>
                  <a:pt x="484" y="174"/>
                </a:cubicBezTo>
                <a:cubicBezTo>
                  <a:pt x="483" y="174"/>
                  <a:pt x="482" y="174"/>
                  <a:pt x="482" y="174"/>
                </a:cubicBezTo>
                <a:cubicBezTo>
                  <a:pt x="482" y="173"/>
                  <a:pt x="483" y="173"/>
                  <a:pt x="482" y="173"/>
                </a:cubicBezTo>
                <a:cubicBezTo>
                  <a:pt x="481" y="173"/>
                  <a:pt x="481" y="174"/>
                  <a:pt x="480" y="174"/>
                </a:cubicBezTo>
                <a:cubicBezTo>
                  <a:pt x="479" y="174"/>
                  <a:pt x="480" y="174"/>
                  <a:pt x="480" y="173"/>
                </a:cubicBezTo>
                <a:cubicBezTo>
                  <a:pt x="480" y="173"/>
                  <a:pt x="479" y="173"/>
                  <a:pt x="479" y="173"/>
                </a:cubicBezTo>
                <a:cubicBezTo>
                  <a:pt x="478" y="173"/>
                  <a:pt x="478" y="173"/>
                  <a:pt x="478" y="173"/>
                </a:cubicBezTo>
                <a:cubicBezTo>
                  <a:pt x="478" y="173"/>
                  <a:pt x="478" y="173"/>
                  <a:pt x="478" y="173"/>
                </a:cubicBezTo>
                <a:cubicBezTo>
                  <a:pt x="478" y="173"/>
                  <a:pt x="477" y="173"/>
                  <a:pt x="477" y="173"/>
                </a:cubicBezTo>
                <a:cubicBezTo>
                  <a:pt x="477" y="172"/>
                  <a:pt x="477" y="172"/>
                  <a:pt x="478" y="172"/>
                </a:cubicBezTo>
                <a:cubicBezTo>
                  <a:pt x="479" y="171"/>
                  <a:pt x="479" y="171"/>
                  <a:pt x="479" y="170"/>
                </a:cubicBezTo>
                <a:cubicBezTo>
                  <a:pt x="478" y="169"/>
                  <a:pt x="478" y="169"/>
                  <a:pt x="477" y="169"/>
                </a:cubicBezTo>
                <a:cubicBezTo>
                  <a:pt x="477" y="168"/>
                  <a:pt x="478" y="168"/>
                  <a:pt x="478" y="167"/>
                </a:cubicBezTo>
                <a:cubicBezTo>
                  <a:pt x="477" y="167"/>
                  <a:pt x="478" y="167"/>
                  <a:pt x="477" y="167"/>
                </a:cubicBezTo>
                <a:cubicBezTo>
                  <a:pt x="478" y="167"/>
                  <a:pt x="479" y="167"/>
                  <a:pt x="480" y="167"/>
                </a:cubicBezTo>
                <a:close/>
                <a:moveTo>
                  <a:pt x="480" y="152"/>
                </a:moveTo>
                <a:cubicBezTo>
                  <a:pt x="481" y="152"/>
                  <a:pt x="480" y="151"/>
                  <a:pt x="480" y="151"/>
                </a:cubicBezTo>
                <a:cubicBezTo>
                  <a:pt x="480" y="150"/>
                  <a:pt x="480" y="150"/>
                  <a:pt x="481" y="150"/>
                </a:cubicBezTo>
                <a:cubicBezTo>
                  <a:pt x="481" y="150"/>
                  <a:pt x="482" y="150"/>
                  <a:pt x="482" y="151"/>
                </a:cubicBezTo>
                <a:cubicBezTo>
                  <a:pt x="482" y="151"/>
                  <a:pt x="483" y="152"/>
                  <a:pt x="484" y="153"/>
                </a:cubicBezTo>
                <a:cubicBezTo>
                  <a:pt x="484" y="153"/>
                  <a:pt x="484" y="153"/>
                  <a:pt x="484" y="153"/>
                </a:cubicBezTo>
                <a:cubicBezTo>
                  <a:pt x="484" y="153"/>
                  <a:pt x="484" y="153"/>
                  <a:pt x="485" y="153"/>
                </a:cubicBezTo>
                <a:cubicBezTo>
                  <a:pt x="485" y="153"/>
                  <a:pt x="485" y="153"/>
                  <a:pt x="486" y="153"/>
                </a:cubicBezTo>
                <a:cubicBezTo>
                  <a:pt x="486" y="153"/>
                  <a:pt x="486" y="153"/>
                  <a:pt x="487" y="154"/>
                </a:cubicBezTo>
                <a:cubicBezTo>
                  <a:pt x="487" y="154"/>
                  <a:pt x="488" y="154"/>
                  <a:pt x="489" y="154"/>
                </a:cubicBezTo>
                <a:cubicBezTo>
                  <a:pt x="489" y="154"/>
                  <a:pt x="489" y="154"/>
                  <a:pt x="490" y="154"/>
                </a:cubicBezTo>
                <a:cubicBezTo>
                  <a:pt x="490" y="154"/>
                  <a:pt x="490" y="155"/>
                  <a:pt x="490" y="155"/>
                </a:cubicBezTo>
                <a:cubicBezTo>
                  <a:pt x="490" y="156"/>
                  <a:pt x="491" y="155"/>
                  <a:pt x="491" y="155"/>
                </a:cubicBezTo>
                <a:cubicBezTo>
                  <a:pt x="491" y="156"/>
                  <a:pt x="491" y="156"/>
                  <a:pt x="491" y="156"/>
                </a:cubicBezTo>
                <a:cubicBezTo>
                  <a:pt x="492" y="156"/>
                  <a:pt x="492" y="157"/>
                  <a:pt x="491" y="157"/>
                </a:cubicBezTo>
                <a:cubicBezTo>
                  <a:pt x="491" y="158"/>
                  <a:pt x="491" y="158"/>
                  <a:pt x="490" y="158"/>
                </a:cubicBezTo>
                <a:cubicBezTo>
                  <a:pt x="489" y="158"/>
                  <a:pt x="489" y="157"/>
                  <a:pt x="488" y="157"/>
                </a:cubicBezTo>
                <a:cubicBezTo>
                  <a:pt x="488" y="158"/>
                  <a:pt x="488" y="158"/>
                  <a:pt x="487" y="158"/>
                </a:cubicBezTo>
                <a:cubicBezTo>
                  <a:pt x="487" y="158"/>
                  <a:pt x="487" y="158"/>
                  <a:pt x="487" y="159"/>
                </a:cubicBezTo>
                <a:cubicBezTo>
                  <a:pt x="487" y="159"/>
                  <a:pt x="486" y="158"/>
                  <a:pt x="486" y="158"/>
                </a:cubicBezTo>
                <a:cubicBezTo>
                  <a:pt x="485" y="158"/>
                  <a:pt x="485" y="158"/>
                  <a:pt x="484" y="159"/>
                </a:cubicBezTo>
                <a:cubicBezTo>
                  <a:pt x="483" y="160"/>
                  <a:pt x="483" y="161"/>
                  <a:pt x="482" y="160"/>
                </a:cubicBezTo>
                <a:cubicBezTo>
                  <a:pt x="482" y="160"/>
                  <a:pt x="482" y="159"/>
                  <a:pt x="481" y="159"/>
                </a:cubicBezTo>
                <a:cubicBezTo>
                  <a:pt x="481" y="159"/>
                  <a:pt x="481" y="158"/>
                  <a:pt x="481" y="157"/>
                </a:cubicBezTo>
                <a:cubicBezTo>
                  <a:pt x="481" y="157"/>
                  <a:pt x="481" y="157"/>
                  <a:pt x="481" y="157"/>
                </a:cubicBezTo>
                <a:cubicBezTo>
                  <a:pt x="481" y="156"/>
                  <a:pt x="481" y="157"/>
                  <a:pt x="481" y="156"/>
                </a:cubicBezTo>
                <a:cubicBezTo>
                  <a:pt x="480" y="155"/>
                  <a:pt x="479" y="154"/>
                  <a:pt x="480" y="152"/>
                </a:cubicBezTo>
                <a:close/>
                <a:moveTo>
                  <a:pt x="482" y="121"/>
                </a:moveTo>
                <a:cubicBezTo>
                  <a:pt x="482" y="121"/>
                  <a:pt x="483" y="121"/>
                  <a:pt x="484" y="122"/>
                </a:cubicBezTo>
                <a:cubicBezTo>
                  <a:pt x="483" y="123"/>
                  <a:pt x="483" y="123"/>
                  <a:pt x="482" y="123"/>
                </a:cubicBezTo>
                <a:cubicBezTo>
                  <a:pt x="482" y="123"/>
                  <a:pt x="482" y="122"/>
                  <a:pt x="482" y="121"/>
                </a:cubicBezTo>
                <a:cubicBezTo>
                  <a:pt x="482" y="121"/>
                  <a:pt x="482" y="121"/>
                  <a:pt x="482" y="121"/>
                </a:cubicBezTo>
                <a:close/>
                <a:moveTo>
                  <a:pt x="485" y="125"/>
                </a:moveTo>
                <a:cubicBezTo>
                  <a:pt x="486" y="125"/>
                  <a:pt x="486" y="124"/>
                  <a:pt x="486" y="125"/>
                </a:cubicBezTo>
                <a:cubicBezTo>
                  <a:pt x="486" y="126"/>
                  <a:pt x="486" y="126"/>
                  <a:pt x="485" y="126"/>
                </a:cubicBezTo>
                <a:cubicBezTo>
                  <a:pt x="485" y="125"/>
                  <a:pt x="485" y="125"/>
                  <a:pt x="485" y="125"/>
                </a:cubicBezTo>
                <a:cubicBezTo>
                  <a:pt x="486" y="125"/>
                  <a:pt x="485" y="125"/>
                  <a:pt x="485" y="125"/>
                </a:cubicBezTo>
                <a:close/>
                <a:moveTo>
                  <a:pt x="489" y="127"/>
                </a:moveTo>
                <a:cubicBezTo>
                  <a:pt x="490" y="129"/>
                  <a:pt x="490" y="128"/>
                  <a:pt x="488" y="128"/>
                </a:cubicBezTo>
                <a:cubicBezTo>
                  <a:pt x="488" y="128"/>
                  <a:pt x="488" y="128"/>
                  <a:pt x="488" y="128"/>
                </a:cubicBezTo>
                <a:cubicBezTo>
                  <a:pt x="487" y="128"/>
                  <a:pt x="487" y="128"/>
                  <a:pt x="486" y="128"/>
                </a:cubicBezTo>
                <a:cubicBezTo>
                  <a:pt x="487" y="127"/>
                  <a:pt x="488" y="127"/>
                  <a:pt x="489" y="127"/>
                </a:cubicBezTo>
                <a:cubicBezTo>
                  <a:pt x="490" y="128"/>
                  <a:pt x="489" y="127"/>
                  <a:pt x="489" y="127"/>
                </a:cubicBezTo>
                <a:close/>
                <a:moveTo>
                  <a:pt x="506" y="174"/>
                </a:moveTo>
                <a:cubicBezTo>
                  <a:pt x="506" y="174"/>
                  <a:pt x="506" y="174"/>
                  <a:pt x="506" y="175"/>
                </a:cubicBezTo>
                <a:cubicBezTo>
                  <a:pt x="506" y="174"/>
                  <a:pt x="505" y="174"/>
                  <a:pt x="505" y="173"/>
                </a:cubicBezTo>
                <a:cubicBezTo>
                  <a:pt x="505" y="174"/>
                  <a:pt x="506" y="174"/>
                  <a:pt x="506" y="174"/>
                </a:cubicBezTo>
                <a:close/>
                <a:moveTo>
                  <a:pt x="476" y="120"/>
                </a:moveTo>
                <a:cubicBezTo>
                  <a:pt x="476" y="120"/>
                  <a:pt x="476" y="120"/>
                  <a:pt x="476" y="120"/>
                </a:cubicBezTo>
                <a:cubicBezTo>
                  <a:pt x="476" y="119"/>
                  <a:pt x="476" y="119"/>
                  <a:pt x="476" y="120"/>
                </a:cubicBezTo>
                <a:close/>
                <a:moveTo>
                  <a:pt x="444" y="110"/>
                </a:moveTo>
                <a:cubicBezTo>
                  <a:pt x="444" y="110"/>
                  <a:pt x="444" y="110"/>
                  <a:pt x="444" y="111"/>
                </a:cubicBezTo>
                <a:cubicBezTo>
                  <a:pt x="444" y="110"/>
                  <a:pt x="444" y="110"/>
                  <a:pt x="444" y="110"/>
                </a:cubicBezTo>
                <a:cubicBezTo>
                  <a:pt x="444" y="110"/>
                  <a:pt x="444" y="110"/>
                  <a:pt x="444" y="110"/>
                </a:cubicBezTo>
                <a:close/>
                <a:moveTo>
                  <a:pt x="478" y="117"/>
                </a:moveTo>
                <a:cubicBezTo>
                  <a:pt x="478" y="117"/>
                  <a:pt x="479" y="117"/>
                  <a:pt x="480" y="117"/>
                </a:cubicBezTo>
                <a:cubicBezTo>
                  <a:pt x="481" y="116"/>
                  <a:pt x="479" y="115"/>
                  <a:pt x="478" y="115"/>
                </a:cubicBezTo>
                <a:cubicBezTo>
                  <a:pt x="478" y="115"/>
                  <a:pt x="478" y="116"/>
                  <a:pt x="478" y="116"/>
                </a:cubicBezTo>
                <a:cubicBezTo>
                  <a:pt x="477" y="115"/>
                  <a:pt x="477" y="114"/>
                  <a:pt x="476" y="113"/>
                </a:cubicBezTo>
                <a:cubicBezTo>
                  <a:pt x="476" y="113"/>
                  <a:pt x="475" y="113"/>
                  <a:pt x="474" y="113"/>
                </a:cubicBezTo>
                <a:cubicBezTo>
                  <a:pt x="474" y="114"/>
                  <a:pt x="474" y="114"/>
                  <a:pt x="473" y="114"/>
                </a:cubicBezTo>
                <a:cubicBezTo>
                  <a:pt x="473" y="115"/>
                  <a:pt x="474" y="116"/>
                  <a:pt x="474" y="116"/>
                </a:cubicBezTo>
                <a:cubicBezTo>
                  <a:pt x="474" y="116"/>
                  <a:pt x="473" y="117"/>
                  <a:pt x="473" y="117"/>
                </a:cubicBezTo>
                <a:cubicBezTo>
                  <a:pt x="473" y="117"/>
                  <a:pt x="473" y="116"/>
                  <a:pt x="473" y="116"/>
                </a:cubicBezTo>
                <a:cubicBezTo>
                  <a:pt x="473" y="115"/>
                  <a:pt x="472" y="115"/>
                  <a:pt x="472" y="115"/>
                </a:cubicBezTo>
                <a:cubicBezTo>
                  <a:pt x="472" y="116"/>
                  <a:pt x="471" y="115"/>
                  <a:pt x="471" y="116"/>
                </a:cubicBezTo>
                <a:cubicBezTo>
                  <a:pt x="471" y="116"/>
                  <a:pt x="471" y="117"/>
                  <a:pt x="471" y="116"/>
                </a:cubicBezTo>
                <a:cubicBezTo>
                  <a:pt x="470" y="116"/>
                  <a:pt x="472" y="114"/>
                  <a:pt x="470" y="114"/>
                </a:cubicBezTo>
                <a:cubicBezTo>
                  <a:pt x="470" y="114"/>
                  <a:pt x="470" y="113"/>
                  <a:pt x="470" y="113"/>
                </a:cubicBezTo>
                <a:cubicBezTo>
                  <a:pt x="469" y="113"/>
                  <a:pt x="469" y="113"/>
                  <a:pt x="469" y="114"/>
                </a:cubicBezTo>
                <a:cubicBezTo>
                  <a:pt x="469" y="114"/>
                  <a:pt x="468" y="115"/>
                  <a:pt x="468" y="116"/>
                </a:cubicBezTo>
                <a:cubicBezTo>
                  <a:pt x="467" y="116"/>
                  <a:pt x="467" y="115"/>
                  <a:pt x="466" y="115"/>
                </a:cubicBezTo>
                <a:cubicBezTo>
                  <a:pt x="467" y="115"/>
                  <a:pt x="467" y="114"/>
                  <a:pt x="467" y="114"/>
                </a:cubicBezTo>
                <a:cubicBezTo>
                  <a:pt x="467" y="114"/>
                  <a:pt x="466" y="114"/>
                  <a:pt x="466" y="114"/>
                </a:cubicBezTo>
                <a:cubicBezTo>
                  <a:pt x="465" y="113"/>
                  <a:pt x="466" y="113"/>
                  <a:pt x="465" y="113"/>
                </a:cubicBezTo>
                <a:cubicBezTo>
                  <a:pt x="466" y="112"/>
                  <a:pt x="468" y="112"/>
                  <a:pt x="468" y="111"/>
                </a:cubicBezTo>
                <a:cubicBezTo>
                  <a:pt x="468" y="111"/>
                  <a:pt x="468" y="110"/>
                  <a:pt x="468" y="109"/>
                </a:cubicBezTo>
                <a:cubicBezTo>
                  <a:pt x="468" y="109"/>
                  <a:pt x="467" y="108"/>
                  <a:pt x="467" y="108"/>
                </a:cubicBezTo>
                <a:cubicBezTo>
                  <a:pt x="467" y="108"/>
                  <a:pt x="466" y="108"/>
                  <a:pt x="465" y="108"/>
                </a:cubicBezTo>
                <a:cubicBezTo>
                  <a:pt x="465" y="108"/>
                  <a:pt x="465" y="107"/>
                  <a:pt x="465" y="108"/>
                </a:cubicBezTo>
                <a:cubicBezTo>
                  <a:pt x="465" y="107"/>
                  <a:pt x="466" y="107"/>
                  <a:pt x="466" y="107"/>
                </a:cubicBezTo>
                <a:cubicBezTo>
                  <a:pt x="466" y="107"/>
                  <a:pt x="466" y="106"/>
                  <a:pt x="466" y="105"/>
                </a:cubicBezTo>
                <a:cubicBezTo>
                  <a:pt x="466" y="105"/>
                  <a:pt x="465" y="106"/>
                  <a:pt x="465" y="105"/>
                </a:cubicBezTo>
                <a:cubicBezTo>
                  <a:pt x="465" y="104"/>
                  <a:pt x="465" y="104"/>
                  <a:pt x="464" y="104"/>
                </a:cubicBezTo>
                <a:cubicBezTo>
                  <a:pt x="464" y="104"/>
                  <a:pt x="464" y="104"/>
                  <a:pt x="464" y="104"/>
                </a:cubicBezTo>
                <a:cubicBezTo>
                  <a:pt x="464" y="104"/>
                  <a:pt x="463" y="104"/>
                  <a:pt x="463" y="104"/>
                </a:cubicBezTo>
                <a:cubicBezTo>
                  <a:pt x="462" y="104"/>
                  <a:pt x="462" y="104"/>
                  <a:pt x="462" y="104"/>
                </a:cubicBezTo>
                <a:cubicBezTo>
                  <a:pt x="461" y="104"/>
                  <a:pt x="460" y="104"/>
                  <a:pt x="460" y="105"/>
                </a:cubicBezTo>
                <a:cubicBezTo>
                  <a:pt x="459" y="105"/>
                  <a:pt x="458" y="105"/>
                  <a:pt x="458" y="105"/>
                </a:cubicBezTo>
                <a:cubicBezTo>
                  <a:pt x="458" y="104"/>
                  <a:pt x="457" y="105"/>
                  <a:pt x="457" y="104"/>
                </a:cubicBezTo>
                <a:cubicBezTo>
                  <a:pt x="457" y="104"/>
                  <a:pt x="455" y="104"/>
                  <a:pt x="454" y="104"/>
                </a:cubicBezTo>
                <a:cubicBezTo>
                  <a:pt x="454" y="104"/>
                  <a:pt x="454" y="103"/>
                  <a:pt x="454" y="103"/>
                </a:cubicBezTo>
                <a:cubicBezTo>
                  <a:pt x="453" y="103"/>
                  <a:pt x="452" y="103"/>
                  <a:pt x="451" y="103"/>
                </a:cubicBezTo>
                <a:cubicBezTo>
                  <a:pt x="451" y="102"/>
                  <a:pt x="450" y="102"/>
                  <a:pt x="449" y="102"/>
                </a:cubicBezTo>
                <a:cubicBezTo>
                  <a:pt x="448" y="102"/>
                  <a:pt x="447" y="102"/>
                  <a:pt x="446" y="101"/>
                </a:cubicBezTo>
                <a:cubicBezTo>
                  <a:pt x="446" y="102"/>
                  <a:pt x="442" y="102"/>
                  <a:pt x="443" y="104"/>
                </a:cubicBezTo>
                <a:cubicBezTo>
                  <a:pt x="444" y="104"/>
                  <a:pt x="444" y="104"/>
                  <a:pt x="444" y="104"/>
                </a:cubicBezTo>
                <a:cubicBezTo>
                  <a:pt x="445" y="104"/>
                  <a:pt x="446" y="105"/>
                  <a:pt x="446" y="105"/>
                </a:cubicBezTo>
                <a:cubicBezTo>
                  <a:pt x="447" y="105"/>
                  <a:pt x="447" y="105"/>
                  <a:pt x="448" y="106"/>
                </a:cubicBezTo>
                <a:cubicBezTo>
                  <a:pt x="448" y="106"/>
                  <a:pt x="450" y="107"/>
                  <a:pt x="450" y="107"/>
                </a:cubicBezTo>
                <a:cubicBezTo>
                  <a:pt x="449" y="108"/>
                  <a:pt x="449" y="107"/>
                  <a:pt x="448" y="107"/>
                </a:cubicBezTo>
                <a:cubicBezTo>
                  <a:pt x="448" y="107"/>
                  <a:pt x="449" y="107"/>
                  <a:pt x="448" y="107"/>
                </a:cubicBezTo>
                <a:cubicBezTo>
                  <a:pt x="447" y="107"/>
                  <a:pt x="446" y="107"/>
                  <a:pt x="446" y="107"/>
                </a:cubicBezTo>
                <a:cubicBezTo>
                  <a:pt x="444" y="106"/>
                  <a:pt x="444" y="105"/>
                  <a:pt x="443" y="106"/>
                </a:cubicBezTo>
                <a:cubicBezTo>
                  <a:pt x="443" y="107"/>
                  <a:pt x="443" y="108"/>
                  <a:pt x="444" y="109"/>
                </a:cubicBezTo>
                <a:cubicBezTo>
                  <a:pt x="443" y="109"/>
                  <a:pt x="443" y="108"/>
                  <a:pt x="442" y="108"/>
                </a:cubicBezTo>
                <a:cubicBezTo>
                  <a:pt x="442" y="109"/>
                  <a:pt x="442" y="109"/>
                  <a:pt x="441" y="109"/>
                </a:cubicBezTo>
                <a:cubicBezTo>
                  <a:pt x="441" y="110"/>
                  <a:pt x="441" y="110"/>
                  <a:pt x="442" y="110"/>
                </a:cubicBezTo>
                <a:cubicBezTo>
                  <a:pt x="442" y="111"/>
                  <a:pt x="442" y="111"/>
                  <a:pt x="442" y="112"/>
                </a:cubicBezTo>
                <a:cubicBezTo>
                  <a:pt x="441" y="111"/>
                  <a:pt x="440" y="111"/>
                  <a:pt x="440" y="110"/>
                </a:cubicBezTo>
                <a:cubicBezTo>
                  <a:pt x="440" y="109"/>
                  <a:pt x="441" y="110"/>
                  <a:pt x="441" y="109"/>
                </a:cubicBezTo>
                <a:cubicBezTo>
                  <a:pt x="441" y="108"/>
                  <a:pt x="441" y="107"/>
                  <a:pt x="441" y="106"/>
                </a:cubicBezTo>
                <a:cubicBezTo>
                  <a:pt x="441" y="106"/>
                  <a:pt x="441" y="106"/>
                  <a:pt x="441" y="106"/>
                </a:cubicBezTo>
                <a:cubicBezTo>
                  <a:pt x="440" y="106"/>
                  <a:pt x="439" y="107"/>
                  <a:pt x="437" y="107"/>
                </a:cubicBezTo>
                <a:cubicBezTo>
                  <a:pt x="437" y="107"/>
                  <a:pt x="437" y="107"/>
                  <a:pt x="437" y="106"/>
                </a:cubicBezTo>
                <a:cubicBezTo>
                  <a:pt x="438" y="107"/>
                  <a:pt x="438" y="106"/>
                  <a:pt x="437" y="106"/>
                </a:cubicBezTo>
                <a:cubicBezTo>
                  <a:pt x="437" y="105"/>
                  <a:pt x="436" y="105"/>
                  <a:pt x="436" y="106"/>
                </a:cubicBezTo>
                <a:cubicBezTo>
                  <a:pt x="435" y="106"/>
                  <a:pt x="436" y="106"/>
                  <a:pt x="435" y="106"/>
                </a:cubicBezTo>
                <a:cubicBezTo>
                  <a:pt x="435" y="106"/>
                  <a:pt x="435" y="106"/>
                  <a:pt x="435" y="106"/>
                </a:cubicBezTo>
                <a:cubicBezTo>
                  <a:pt x="435" y="107"/>
                  <a:pt x="434" y="106"/>
                  <a:pt x="434" y="107"/>
                </a:cubicBezTo>
                <a:cubicBezTo>
                  <a:pt x="434" y="108"/>
                  <a:pt x="433" y="108"/>
                  <a:pt x="432" y="108"/>
                </a:cubicBezTo>
                <a:cubicBezTo>
                  <a:pt x="433" y="108"/>
                  <a:pt x="433" y="109"/>
                  <a:pt x="433" y="109"/>
                </a:cubicBezTo>
                <a:cubicBezTo>
                  <a:pt x="434" y="110"/>
                  <a:pt x="434" y="111"/>
                  <a:pt x="433" y="111"/>
                </a:cubicBezTo>
                <a:cubicBezTo>
                  <a:pt x="432" y="111"/>
                  <a:pt x="431" y="112"/>
                  <a:pt x="431" y="110"/>
                </a:cubicBezTo>
                <a:cubicBezTo>
                  <a:pt x="430" y="110"/>
                  <a:pt x="429" y="111"/>
                  <a:pt x="429" y="110"/>
                </a:cubicBezTo>
                <a:cubicBezTo>
                  <a:pt x="430" y="110"/>
                  <a:pt x="431" y="110"/>
                  <a:pt x="431" y="110"/>
                </a:cubicBezTo>
                <a:cubicBezTo>
                  <a:pt x="431" y="109"/>
                  <a:pt x="431" y="107"/>
                  <a:pt x="432" y="107"/>
                </a:cubicBezTo>
                <a:cubicBezTo>
                  <a:pt x="432" y="106"/>
                  <a:pt x="431" y="107"/>
                  <a:pt x="431" y="107"/>
                </a:cubicBezTo>
                <a:cubicBezTo>
                  <a:pt x="431" y="106"/>
                  <a:pt x="431" y="105"/>
                  <a:pt x="431" y="104"/>
                </a:cubicBezTo>
                <a:cubicBezTo>
                  <a:pt x="431" y="103"/>
                  <a:pt x="429" y="102"/>
                  <a:pt x="429" y="102"/>
                </a:cubicBezTo>
                <a:cubicBezTo>
                  <a:pt x="429" y="101"/>
                  <a:pt x="429" y="99"/>
                  <a:pt x="430" y="99"/>
                </a:cubicBezTo>
                <a:cubicBezTo>
                  <a:pt x="431" y="99"/>
                  <a:pt x="431" y="98"/>
                  <a:pt x="430" y="98"/>
                </a:cubicBezTo>
                <a:cubicBezTo>
                  <a:pt x="430" y="98"/>
                  <a:pt x="430" y="98"/>
                  <a:pt x="430" y="97"/>
                </a:cubicBezTo>
                <a:cubicBezTo>
                  <a:pt x="431" y="97"/>
                  <a:pt x="431" y="96"/>
                  <a:pt x="431" y="95"/>
                </a:cubicBezTo>
                <a:cubicBezTo>
                  <a:pt x="432" y="94"/>
                  <a:pt x="425" y="93"/>
                  <a:pt x="425" y="93"/>
                </a:cubicBezTo>
                <a:cubicBezTo>
                  <a:pt x="425" y="94"/>
                  <a:pt x="421" y="94"/>
                  <a:pt x="421" y="95"/>
                </a:cubicBezTo>
                <a:cubicBezTo>
                  <a:pt x="421" y="95"/>
                  <a:pt x="421" y="95"/>
                  <a:pt x="421" y="95"/>
                </a:cubicBezTo>
                <a:cubicBezTo>
                  <a:pt x="421" y="96"/>
                  <a:pt x="420" y="96"/>
                  <a:pt x="419" y="96"/>
                </a:cubicBezTo>
                <a:cubicBezTo>
                  <a:pt x="418" y="96"/>
                  <a:pt x="418" y="96"/>
                  <a:pt x="418" y="97"/>
                </a:cubicBezTo>
                <a:cubicBezTo>
                  <a:pt x="416" y="97"/>
                  <a:pt x="417" y="97"/>
                  <a:pt x="415" y="97"/>
                </a:cubicBezTo>
                <a:cubicBezTo>
                  <a:pt x="415" y="98"/>
                  <a:pt x="416" y="98"/>
                  <a:pt x="416" y="98"/>
                </a:cubicBezTo>
                <a:cubicBezTo>
                  <a:pt x="415" y="99"/>
                  <a:pt x="415" y="99"/>
                  <a:pt x="415" y="100"/>
                </a:cubicBezTo>
                <a:cubicBezTo>
                  <a:pt x="415" y="100"/>
                  <a:pt x="416" y="100"/>
                  <a:pt x="416" y="100"/>
                </a:cubicBezTo>
                <a:cubicBezTo>
                  <a:pt x="415" y="100"/>
                  <a:pt x="414" y="100"/>
                  <a:pt x="413" y="100"/>
                </a:cubicBezTo>
                <a:cubicBezTo>
                  <a:pt x="413" y="100"/>
                  <a:pt x="413" y="100"/>
                  <a:pt x="413" y="100"/>
                </a:cubicBezTo>
                <a:cubicBezTo>
                  <a:pt x="412" y="100"/>
                  <a:pt x="412" y="101"/>
                  <a:pt x="412" y="102"/>
                </a:cubicBezTo>
                <a:cubicBezTo>
                  <a:pt x="412" y="102"/>
                  <a:pt x="412" y="103"/>
                  <a:pt x="412" y="104"/>
                </a:cubicBezTo>
                <a:cubicBezTo>
                  <a:pt x="412" y="105"/>
                  <a:pt x="413" y="104"/>
                  <a:pt x="413" y="105"/>
                </a:cubicBezTo>
                <a:cubicBezTo>
                  <a:pt x="413" y="105"/>
                  <a:pt x="414" y="105"/>
                  <a:pt x="414" y="105"/>
                </a:cubicBezTo>
                <a:cubicBezTo>
                  <a:pt x="414" y="106"/>
                  <a:pt x="416" y="105"/>
                  <a:pt x="417" y="105"/>
                </a:cubicBezTo>
                <a:cubicBezTo>
                  <a:pt x="415" y="106"/>
                  <a:pt x="417" y="108"/>
                  <a:pt x="417" y="108"/>
                </a:cubicBezTo>
                <a:cubicBezTo>
                  <a:pt x="416" y="108"/>
                  <a:pt x="416" y="107"/>
                  <a:pt x="415" y="107"/>
                </a:cubicBezTo>
                <a:cubicBezTo>
                  <a:pt x="415" y="107"/>
                  <a:pt x="414" y="107"/>
                  <a:pt x="413" y="107"/>
                </a:cubicBezTo>
                <a:cubicBezTo>
                  <a:pt x="412" y="107"/>
                  <a:pt x="412" y="106"/>
                  <a:pt x="411" y="107"/>
                </a:cubicBezTo>
                <a:cubicBezTo>
                  <a:pt x="411" y="108"/>
                  <a:pt x="411" y="109"/>
                  <a:pt x="412" y="109"/>
                </a:cubicBezTo>
                <a:cubicBezTo>
                  <a:pt x="412" y="109"/>
                  <a:pt x="412" y="109"/>
                  <a:pt x="412" y="109"/>
                </a:cubicBezTo>
                <a:cubicBezTo>
                  <a:pt x="413" y="110"/>
                  <a:pt x="414" y="110"/>
                  <a:pt x="415" y="110"/>
                </a:cubicBezTo>
                <a:cubicBezTo>
                  <a:pt x="415" y="111"/>
                  <a:pt x="414" y="112"/>
                  <a:pt x="413" y="113"/>
                </a:cubicBezTo>
                <a:cubicBezTo>
                  <a:pt x="414" y="114"/>
                  <a:pt x="414" y="115"/>
                  <a:pt x="414" y="116"/>
                </a:cubicBezTo>
                <a:cubicBezTo>
                  <a:pt x="414" y="116"/>
                  <a:pt x="413" y="116"/>
                  <a:pt x="412" y="115"/>
                </a:cubicBezTo>
                <a:cubicBezTo>
                  <a:pt x="412" y="114"/>
                  <a:pt x="411" y="115"/>
                  <a:pt x="410" y="115"/>
                </a:cubicBezTo>
                <a:cubicBezTo>
                  <a:pt x="410" y="115"/>
                  <a:pt x="409" y="116"/>
                  <a:pt x="409" y="116"/>
                </a:cubicBezTo>
                <a:cubicBezTo>
                  <a:pt x="408" y="116"/>
                  <a:pt x="408" y="116"/>
                  <a:pt x="407" y="116"/>
                </a:cubicBezTo>
                <a:cubicBezTo>
                  <a:pt x="407" y="116"/>
                  <a:pt x="407" y="116"/>
                  <a:pt x="407" y="116"/>
                </a:cubicBezTo>
                <a:cubicBezTo>
                  <a:pt x="406" y="116"/>
                  <a:pt x="406" y="116"/>
                  <a:pt x="407" y="115"/>
                </a:cubicBezTo>
                <a:cubicBezTo>
                  <a:pt x="409" y="115"/>
                  <a:pt x="409" y="114"/>
                  <a:pt x="411" y="114"/>
                </a:cubicBezTo>
                <a:cubicBezTo>
                  <a:pt x="411" y="112"/>
                  <a:pt x="410" y="112"/>
                  <a:pt x="409" y="111"/>
                </a:cubicBezTo>
                <a:cubicBezTo>
                  <a:pt x="407" y="110"/>
                  <a:pt x="408" y="106"/>
                  <a:pt x="407" y="104"/>
                </a:cubicBezTo>
                <a:cubicBezTo>
                  <a:pt x="408" y="104"/>
                  <a:pt x="408" y="104"/>
                  <a:pt x="408" y="104"/>
                </a:cubicBezTo>
                <a:cubicBezTo>
                  <a:pt x="408" y="104"/>
                  <a:pt x="408" y="103"/>
                  <a:pt x="407" y="103"/>
                </a:cubicBezTo>
                <a:cubicBezTo>
                  <a:pt x="408" y="102"/>
                  <a:pt x="408" y="101"/>
                  <a:pt x="408" y="100"/>
                </a:cubicBezTo>
                <a:cubicBezTo>
                  <a:pt x="408" y="100"/>
                  <a:pt x="408" y="100"/>
                  <a:pt x="408" y="100"/>
                </a:cubicBezTo>
                <a:cubicBezTo>
                  <a:pt x="408" y="100"/>
                  <a:pt x="408" y="99"/>
                  <a:pt x="408" y="99"/>
                </a:cubicBezTo>
                <a:cubicBezTo>
                  <a:pt x="408" y="99"/>
                  <a:pt x="409" y="99"/>
                  <a:pt x="409" y="98"/>
                </a:cubicBezTo>
                <a:cubicBezTo>
                  <a:pt x="409" y="98"/>
                  <a:pt x="409" y="97"/>
                  <a:pt x="410" y="97"/>
                </a:cubicBezTo>
                <a:cubicBezTo>
                  <a:pt x="411" y="97"/>
                  <a:pt x="410" y="97"/>
                  <a:pt x="410" y="97"/>
                </a:cubicBezTo>
                <a:cubicBezTo>
                  <a:pt x="411" y="97"/>
                  <a:pt x="411" y="97"/>
                  <a:pt x="411" y="97"/>
                </a:cubicBezTo>
                <a:cubicBezTo>
                  <a:pt x="412" y="96"/>
                  <a:pt x="412" y="96"/>
                  <a:pt x="412" y="96"/>
                </a:cubicBezTo>
                <a:cubicBezTo>
                  <a:pt x="414" y="95"/>
                  <a:pt x="417" y="95"/>
                  <a:pt x="419" y="95"/>
                </a:cubicBezTo>
                <a:cubicBezTo>
                  <a:pt x="419" y="95"/>
                  <a:pt x="419" y="95"/>
                  <a:pt x="420" y="95"/>
                </a:cubicBezTo>
                <a:cubicBezTo>
                  <a:pt x="419" y="94"/>
                  <a:pt x="419" y="93"/>
                  <a:pt x="418" y="93"/>
                </a:cubicBezTo>
                <a:cubicBezTo>
                  <a:pt x="418" y="93"/>
                  <a:pt x="417" y="93"/>
                  <a:pt x="417" y="93"/>
                </a:cubicBezTo>
                <a:cubicBezTo>
                  <a:pt x="417" y="93"/>
                  <a:pt x="417" y="93"/>
                  <a:pt x="416" y="93"/>
                </a:cubicBezTo>
                <a:cubicBezTo>
                  <a:pt x="415" y="93"/>
                  <a:pt x="414" y="93"/>
                  <a:pt x="413" y="93"/>
                </a:cubicBezTo>
                <a:cubicBezTo>
                  <a:pt x="412" y="93"/>
                  <a:pt x="411" y="93"/>
                  <a:pt x="410" y="93"/>
                </a:cubicBezTo>
                <a:cubicBezTo>
                  <a:pt x="410" y="93"/>
                  <a:pt x="409" y="93"/>
                  <a:pt x="409" y="93"/>
                </a:cubicBezTo>
                <a:cubicBezTo>
                  <a:pt x="409" y="93"/>
                  <a:pt x="408" y="93"/>
                  <a:pt x="408" y="94"/>
                </a:cubicBezTo>
                <a:cubicBezTo>
                  <a:pt x="406" y="94"/>
                  <a:pt x="407" y="93"/>
                  <a:pt x="406" y="93"/>
                </a:cubicBezTo>
                <a:cubicBezTo>
                  <a:pt x="405" y="93"/>
                  <a:pt x="403" y="94"/>
                  <a:pt x="402" y="94"/>
                </a:cubicBezTo>
                <a:cubicBezTo>
                  <a:pt x="401" y="94"/>
                  <a:pt x="400" y="93"/>
                  <a:pt x="399" y="95"/>
                </a:cubicBezTo>
                <a:cubicBezTo>
                  <a:pt x="398" y="95"/>
                  <a:pt x="398" y="95"/>
                  <a:pt x="397" y="96"/>
                </a:cubicBezTo>
                <a:cubicBezTo>
                  <a:pt x="397" y="96"/>
                  <a:pt x="397" y="96"/>
                  <a:pt x="397" y="97"/>
                </a:cubicBezTo>
                <a:cubicBezTo>
                  <a:pt x="397" y="97"/>
                  <a:pt x="397" y="98"/>
                  <a:pt x="397" y="98"/>
                </a:cubicBezTo>
                <a:cubicBezTo>
                  <a:pt x="397" y="98"/>
                  <a:pt x="397" y="98"/>
                  <a:pt x="397" y="98"/>
                </a:cubicBezTo>
                <a:cubicBezTo>
                  <a:pt x="397" y="98"/>
                  <a:pt x="395" y="99"/>
                  <a:pt x="395" y="99"/>
                </a:cubicBezTo>
                <a:cubicBezTo>
                  <a:pt x="394" y="100"/>
                  <a:pt x="395" y="100"/>
                  <a:pt x="395" y="101"/>
                </a:cubicBezTo>
                <a:cubicBezTo>
                  <a:pt x="395" y="101"/>
                  <a:pt x="394" y="102"/>
                  <a:pt x="394" y="102"/>
                </a:cubicBezTo>
                <a:cubicBezTo>
                  <a:pt x="394" y="103"/>
                  <a:pt x="392" y="103"/>
                  <a:pt x="392" y="104"/>
                </a:cubicBezTo>
                <a:cubicBezTo>
                  <a:pt x="392" y="105"/>
                  <a:pt x="392" y="105"/>
                  <a:pt x="391" y="105"/>
                </a:cubicBezTo>
                <a:cubicBezTo>
                  <a:pt x="390" y="106"/>
                  <a:pt x="391" y="106"/>
                  <a:pt x="391" y="107"/>
                </a:cubicBezTo>
                <a:cubicBezTo>
                  <a:pt x="391" y="108"/>
                  <a:pt x="392" y="108"/>
                  <a:pt x="391" y="108"/>
                </a:cubicBezTo>
                <a:cubicBezTo>
                  <a:pt x="390" y="109"/>
                  <a:pt x="391" y="109"/>
                  <a:pt x="390" y="109"/>
                </a:cubicBezTo>
                <a:cubicBezTo>
                  <a:pt x="389" y="110"/>
                  <a:pt x="390" y="110"/>
                  <a:pt x="390" y="110"/>
                </a:cubicBezTo>
                <a:cubicBezTo>
                  <a:pt x="389" y="110"/>
                  <a:pt x="389" y="110"/>
                  <a:pt x="389" y="110"/>
                </a:cubicBezTo>
                <a:cubicBezTo>
                  <a:pt x="389" y="110"/>
                  <a:pt x="389" y="111"/>
                  <a:pt x="389" y="111"/>
                </a:cubicBezTo>
                <a:cubicBezTo>
                  <a:pt x="389" y="112"/>
                  <a:pt x="391" y="112"/>
                  <a:pt x="392" y="112"/>
                </a:cubicBezTo>
                <a:cubicBezTo>
                  <a:pt x="392" y="113"/>
                  <a:pt x="393" y="113"/>
                  <a:pt x="393" y="113"/>
                </a:cubicBezTo>
                <a:cubicBezTo>
                  <a:pt x="393" y="114"/>
                  <a:pt x="393" y="114"/>
                  <a:pt x="392" y="114"/>
                </a:cubicBezTo>
                <a:cubicBezTo>
                  <a:pt x="392" y="114"/>
                  <a:pt x="393" y="115"/>
                  <a:pt x="393" y="115"/>
                </a:cubicBezTo>
                <a:cubicBezTo>
                  <a:pt x="394" y="116"/>
                  <a:pt x="394" y="116"/>
                  <a:pt x="395" y="116"/>
                </a:cubicBezTo>
                <a:cubicBezTo>
                  <a:pt x="397" y="116"/>
                  <a:pt x="398" y="116"/>
                  <a:pt x="400" y="116"/>
                </a:cubicBezTo>
                <a:cubicBezTo>
                  <a:pt x="400" y="116"/>
                  <a:pt x="402" y="117"/>
                  <a:pt x="401" y="117"/>
                </a:cubicBezTo>
                <a:cubicBezTo>
                  <a:pt x="401" y="118"/>
                  <a:pt x="399" y="118"/>
                  <a:pt x="399" y="117"/>
                </a:cubicBezTo>
                <a:cubicBezTo>
                  <a:pt x="399" y="117"/>
                  <a:pt x="398" y="117"/>
                  <a:pt x="398" y="117"/>
                </a:cubicBezTo>
                <a:cubicBezTo>
                  <a:pt x="398" y="118"/>
                  <a:pt x="398" y="119"/>
                  <a:pt x="398" y="119"/>
                </a:cubicBezTo>
                <a:cubicBezTo>
                  <a:pt x="398" y="119"/>
                  <a:pt x="399" y="119"/>
                  <a:pt x="399" y="119"/>
                </a:cubicBezTo>
                <a:cubicBezTo>
                  <a:pt x="399" y="119"/>
                  <a:pt x="399" y="120"/>
                  <a:pt x="399" y="120"/>
                </a:cubicBezTo>
                <a:cubicBezTo>
                  <a:pt x="399" y="120"/>
                  <a:pt x="399" y="120"/>
                  <a:pt x="399" y="121"/>
                </a:cubicBezTo>
                <a:cubicBezTo>
                  <a:pt x="400" y="120"/>
                  <a:pt x="400" y="120"/>
                  <a:pt x="400" y="121"/>
                </a:cubicBezTo>
                <a:cubicBezTo>
                  <a:pt x="401" y="121"/>
                  <a:pt x="402" y="121"/>
                  <a:pt x="402" y="121"/>
                </a:cubicBezTo>
                <a:cubicBezTo>
                  <a:pt x="402" y="122"/>
                  <a:pt x="401" y="122"/>
                  <a:pt x="401" y="123"/>
                </a:cubicBezTo>
                <a:cubicBezTo>
                  <a:pt x="402" y="123"/>
                  <a:pt x="403" y="123"/>
                  <a:pt x="404" y="123"/>
                </a:cubicBezTo>
                <a:cubicBezTo>
                  <a:pt x="404" y="122"/>
                  <a:pt x="405" y="122"/>
                  <a:pt x="405" y="121"/>
                </a:cubicBezTo>
                <a:cubicBezTo>
                  <a:pt x="405" y="121"/>
                  <a:pt x="406" y="121"/>
                  <a:pt x="407" y="122"/>
                </a:cubicBezTo>
                <a:cubicBezTo>
                  <a:pt x="407" y="122"/>
                  <a:pt x="407" y="122"/>
                  <a:pt x="407" y="123"/>
                </a:cubicBezTo>
                <a:cubicBezTo>
                  <a:pt x="407" y="123"/>
                  <a:pt x="407" y="123"/>
                  <a:pt x="408" y="123"/>
                </a:cubicBezTo>
                <a:cubicBezTo>
                  <a:pt x="408" y="123"/>
                  <a:pt x="408" y="123"/>
                  <a:pt x="408" y="123"/>
                </a:cubicBezTo>
                <a:cubicBezTo>
                  <a:pt x="409" y="124"/>
                  <a:pt x="409" y="124"/>
                  <a:pt x="410" y="125"/>
                </a:cubicBezTo>
                <a:cubicBezTo>
                  <a:pt x="410" y="125"/>
                  <a:pt x="410" y="125"/>
                  <a:pt x="410" y="126"/>
                </a:cubicBezTo>
                <a:cubicBezTo>
                  <a:pt x="410" y="126"/>
                  <a:pt x="411" y="126"/>
                  <a:pt x="412" y="126"/>
                </a:cubicBezTo>
                <a:cubicBezTo>
                  <a:pt x="412" y="126"/>
                  <a:pt x="412" y="126"/>
                  <a:pt x="412" y="126"/>
                </a:cubicBezTo>
                <a:cubicBezTo>
                  <a:pt x="412" y="126"/>
                  <a:pt x="412" y="126"/>
                  <a:pt x="412" y="126"/>
                </a:cubicBezTo>
                <a:cubicBezTo>
                  <a:pt x="413" y="126"/>
                  <a:pt x="413" y="126"/>
                  <a:pt x="413" y="126"/>
                </a:cubicBezTo>
                <a:cubicBezTo>
                  <a:pt x="413" y="125"/>
                  <a:pt x="413" y="125"/>
                  <a:pt x="413" y="124"/>
                </a:cubicBezTo>
                <a:cubicBezTo>
                  <a:pt x="414" y="125"/>
                  <a:pt x="415" y="125"/>
                  <a:pt x="415" y="126"/>
                </a:cubicBezTo>
                <a:cubicBezTo>
                  <a:pt x="415" y="126"/>
                  <a:pt x="417" y="126"/>
                  <a:pt x="417" y="126"/>
                </a:cubicBezTo>
                <a:cubicBezTo>
                  <a:pt x="418" y="126"/>
                  <a:pt x="418" y="126"/>
                  <a:pt x="419" y="127"/>
                </a:cubicBezTo>
                <a:cubicBezTo>
                  <a:pt x="419" y="127"/>
                  <a:pt x="424" y="127"/>
                  <a:pt x="424" y="126"/>
                </a:cubicBezTo>
                <a:cubicBezTo>
                  <a:pt x="424" y="125"/>
                  <a:pt x="425" y="127"/>
                  <a:pt x="425" y="127"/>
                </a:cubicBezTo>
                <a:cubicBezTo>
                  <a:pt x="426" y="127"/>
                  <a:pt x="425" y="127"/>
                  <a:pt x="426" y="127"/>
                </a:cubicBezTo>
                <a:cubicBezTo>
                  <a:pt x="426" y="127"/>
                  <a:pt x="427" y="127"/>
                  <a:pt x="428" y="127"/>
                </a:cubicBezTo>
                <a:cubicBezTo>
                  <a:pt x="429" y="128"/>
                  <a:pt x="430" y="128"/>
                  <a:pt x="431" y="127"/>
                </a:cubicBezTo>
                <a:cubicBezTo>
                  <a:pt x="430" y="127"/>
                  <a:pt x="429" y="126"/>
                  <a:pt x="429" y="126"/>
                </a:cubicBezTo>
                <a:cubicBezTo>
                  <a:pt x="428" y="124"/>
                  <a:pt x="428" y="124"/>
                  <a:pt x="427" y="124"/>
                </a:cubicBezTo>
                <a:cubicBezTo>
                  <a:pt x="427" y="123"/>
                  <a:pt x="426" y="123"/>
                  <a:pt x="426" y="123"/>
                </a:cubicBezTo>
                <a:cubicBezTo>
                  <a:pt x="426" y="123"/>
                  <a:pt x="428" y="123"/>
                  <a:pt x="428" y="123"/>
                </a:cubicBezTo>
                <a:cubicBezTo>
                  <a:pt x="428" y="124"/>
                  <a:pt x="430" y="125"/>
                  <a:pt x="430" y="126"/>
                </a:cubicBezTo>
                <a:cubicBezTo>
                  <a:pt x="431" y="126"/>
                  <a:pt x="431" y="126"/>
                  <a:pt x="431" y="126"/>
                </a:cubicBezTo>
                <a:cubicBezTo>
                  <a:pt x="432" y="126"/>
                  <a:pt x="432" y="127"/>
                  <a:pt x="433" y="127"/>
                </a:cubicBezTo>
                <a:cubicBezTo>
                  <a:pt x="433" y="127"/>
                  <a:pt x="434" y="128"/>
                  <a:pt x="434" y="129"/>
                </a:cubicBezTo>
                <a:cubicBezTo>
                  <a:pt x="434" y="129"/>
                  <a:pt x="435" y="129"/>
                  <a:pt x="435" y="129"/>
                </a:cubicBezTo>
                <a:cubicBezTo>
                  <a:pt x="436" y="129"/>
                  <a:pt x="435" y="128"/>
                  <a:pt x="435" y="128"/>
                </a:cubicBezTo>
                <a:cubicBezTo>
                  <a:pt x="436" y="128"/>
                  <a:pt x="435" y="128"/>
                  <a:pt x="435" y="128"/>
                </a:cubicBezTo>
                <a:cubicBezTo>
                  <a:pt x="435" y="128"/>
                  <a:pt x="435" y="127"/>
                  <a:pt x="435" y="127"/>
                </a:cubicBezTo>
                <a:cubicBezTo>
                  <a:pt x="435" y="126"/>
                  <a:pt x="434" y="127"/>
                  <a:pt x="434" y="126"/>
                </a:cubicBezTo>
                <a:cubicBezTo>
                  <a:pt x="434" y="126"/>
                  <a:pt x="434" y="125"/>
                  <a:pt x="434" y="125"/>
                </a:cubicBezTo>
                <a:cubicBezTo>
                  <a:pt x="433" y="124"/>
                  <a:pt x="433" y="124"/>
                  <a:pt x="433" y="123"/>
                </a:cubicBezTo>
                <a:cubicBezTo>
                  <a:pt x="434" y="123"/>
                  <a:pt x="435" y="123"/>
                  <a:pt x="436" y="123"/>
                </a:cubicBezTo>
                <a:cubicBezTo>
                  <a:pt x="436" y="123"/>
                  <a:pt x="436" y="123"/>
                  <a:pt x="436" y="123"/>
                </a:cubicBezTo>
                <a:cubicBezTo>
                  <a:pt x="437" y="123"/>
                  <a:pt x="438" y="123"/>
                  <a:pt x="439" y="124"/>
                </a:cubicBezTo>
                <a:cubicBezTo>
                  <a:pt x="440" y="124"/>
                  <a:pt x="441" y="126"/>
                  <a:pt x="442" y="126"/>
                </a:cubicBezTo>
                <a:cubicBezTo>
                  <a:pt x="443" y="125"/>
                  <a:pt x="444" y="126"/>
                  <a:pt x="445" y="125"/>
                </a:cubicBezTo>
                <a:cubicBezTo>
                  <a:pt x="446" y="124"/>
                  <a:pt x="445" y="123"/>
                  <a:pt x="445" y="122"/>
                </a:cubicBezTo>
                <a:cubicBezTo>
                  <a:pt x="444" y="122"/>
                  <a:pt x="444" y="123"/>
                  <a:pt x="443" y="123"/>
                </a:cubicBezTo>
                <a:cubicBezTo>
                  <a:pt x="443" y="123"/>
                  <a:pt x="443" y="122"/>
                  <a:pt x="443" y="122"/>
                </a:cubicBezTo>
                <a:cubicBezTo>
                  <a:pt x="443" y="121"/>
                  <a:pt x="444" y="121"/>
                  <a:pt x="444" y="121"/>
                </a:cubicBezTo>
                <a:cubicBezTo>
                  <a:pt x="446" y="120"/>
                  <a:pt x="445" y="120"/>
                  <a:pt x="446" y="122"/>
                </a:cubicBezTo>
                <a:cubicBezTo>
                  <a:pt x="446" y="122"/>
                  <a:pt x="446" y="122"/>
                  <a:pt x="446" y="123"/>
                </a:cubicBezTo>
                <a:cubicBezTo>
                  <a:pt x="447" y="124"/>
                  <a:pt x="447" y="123"/>
                  <a:pt x="448" y="124"/>
                </a:cubicBezTo>
                <a:cubicBezTo>
                  <a:pt x="448" y="122"/>
                  <a:pt x="448" y="123"/>
                  <a:pt x="449" y="123"/>
                </a:cubicBezTo>
                <a:cubicBezTo>
                  <a:pt x="450" y="123"/>
                  <a:pt x="451" y="126"/>
                  <a:pt x="451" y="127"/>
                </a:cubicBezTo>
                <a:cubicBezTo>
                  <a:pt x="451" y="127"/>
                  <a:pt x="451" y="128"/>
                  <a:pt x="451" y="128"/>
                </a:cubicBezTo>
                <a:cubicBezTo>
                  <a:pt x="452" y="128"/>
                  <a:pt x="452" y="128"/>
                  <a:pt x="452" y="127"/>
                </a:cubicBezTo>
                <a:cubicBezTo>
                  <a:pt x="452" y="126"/>
                  <a:pt x="452" y="126"/>
                  <a:pt x="452" y="126"/>
                </a:cubicBezTo>
                <a:cubicBezTo>
                  <a:pt x="452" y="126"/>
                  <a:pt x="453" y="126"/>
                  <a:pt x="453" y="126"/>
                </a:cubicBezTo>
                <a:cubicBezTo>
                  <a:pt x="454" y="125"/>
                  <a:pt x="454" y="125"/>
                  <a:pt x="455" y="126"/>
                </a:cubicBezTo>
                <a:cubicBezTo>
                  <a:pt x="455" y="126"/>
                  <a:pt x="455" y="126"/>
                  <a:pt x="455" y="126"/>
                </a:cubicBezTo>
                <a:cubicBezTo>
                  <a:pt x="455" y="127"/>
                  <a:pt x="455" y="127"/>
                  <a:pt x="455" y="127"/>
                </a:cubicBezTo>
                <a:cubicBezTo>
                  <a:pt x="455" y="128"/>
                  <a:pt x="457" y="126"/>
                  <a:pt x="457" y="128"/>
                </a:cubicBezTo>
                <a:cubicBezTo>
                  <a:pt x="456" y="128"/>
                  <a:pt x="456" y="128"/>
                  <a:pt x="456" y="128"/>
                </a:cubicBezTo>
                <a:cubicBezTo>
                  <a:pt x="456" y="128"/>
                  <a:pt x="456" y="129"/>
                  <a:pt x="456" y="129"/>
                </a:cubicBezTo>
                <a:cubicBezTo>
                  <a:pt x="457" y="129"/>
                  <a:pt x="458" y="129"/>
                  <a:pt x="458" y="127"/>
                </a:cubicBezTo>
                <a:cubicBezTo>
                  <a:pt x="459" y="128"/>
                  <a:pt x="460" y="127"/>
                  <a:pt x="460" y="127"/>
                </a:cubicBezTo>
                <a:cubicBezTo>
                  <a:pt x="461" y="127"/>
                  <a:pt x="461" y="128"/>
                  <a:pt x="461" y="129"/>
                </a:cubicBezTo>
                <a:cubicBezTo>
                  <a:pt x="460" y="129"/>
                  <a:pt x="459" y="128"/>
                  <a:pt x="459" y="129"/>
                </a:cubicBezTo>
                <a:cubicBezTo>
                  <a:pt x="459" y="130"/>
                  <a:pt x="459" y="130"/>
                  <a:pt x="459" y="131"/>
                </a:cubicBezTo>
                <a:cubicBezTo>
                  <a:pt x="459" y="131"/>
                  <a:pt x="459" y="131"/>
                  <a:pt x="459" y="131"/>
                </a:cubicBezTo>
                <a:cubicBezTo>
                  <a:pt x="459" y="132"/>
                  <a:pt x="460" y="132"/>
                  <a:pt x="461" y="132"/>
                </a:cubicBezTo>
                <a:cubicBezTo>
                  <a:pt x="462" y="132"/>
                  <a:pt x="462" y="133"/>
                  <a:pt x="462" y="134"/>
                </a:cubicBezTo>
                <a:cubicBezTo>
                  <a:pt x="462" y="133"/>
                  <a:pt x="461" y="133"/>
                  <a:pt x="460" y="133"/>
                </a:cubicBezTo>
                <a:cubicBezTo>
                  <a:pt x="460" y="134"/>
                  <a:pt x="460" y="136"/>
                  <a:pt x="459" y="135"/>
                </a:cubicBezTo>
                <a:cubicBezTo>
                  <a:pt x="459" y="137"/>
                  <a:pt x="459" y="137"/>
                  <a:pt x="461" y="137"/>
                </a:cubicBezTo>
                <a:cubicBezTo>
                  <a:pt x="461" y="137"/>
                  <a:pt x="461" y="139"/>
                  <a:pt x="461" y="139"/>
                </a:cubicBezTo>
                <a:cubicBezTo>
                  <a:pt x="462" y="139"/>
                  <a:pt x="463" y="139"/>
                  <a:pt x="463" y="138"/>
                </a:cubicBezTo>
                <a:cubicBezTo>
                  <a:pt x="464" y="138"/>
                  <a:pt x="464" y="138"/>
                  <a:pt x="464" y="137"/>
                </a:cubicBezTo>
                <a:cubicBezTo>
                  <a:pt x="464" y="137"/>
                  <a:pt x="465" y="137"/>
                  <a:pt x="465" y="137"/>
                </a:cubicBezTo>
                <a:cubicBezTo>
                  <a:pt x="465" y="136"/>
                  <a:pt x="466" y="136"/>
                  <a:pt x="466" y="135"/>
                </a:cubicBezTo>
                <a:cubicBezTo>
                  <a:pt x="467" y="136"/>
                  <a:pt x="467" y="136"/>
                  <a:pt x="468" y="135"/>
                </a:cubicBezTo>
                <a:cubicBezTo>
                  <a:pt x="468" y="135"/>
                  <a:pt x="468" y="135"/>
                  <a:pt x="469" y="134"/>
                </a:cubicBezTo>
                <a:cubicBezTo>
                  <a:pt x="469" y="135"/>
                  <a:pt x="469" y="136"/>
                  <a:pt x="469" y="136"/>
                </a:cubicBezTo>
                <a:cubicBezTo>
                  <a:pt x="469" y="137"/>
                  <a:pt x="468" y="137"/>
                  <a:pt x="468" y="137"/>
                </a:cubicBezTo>
                <a:cubicBezTo>
                  <a:pt x="467" y="138"/>
                  <a:pt x="468" y="139"/>
                  <a:pt x="468" y="139"/>
                </a:cubicBezTo>
                <a:cubicBezTo>
                  <a:pt x="468" y="141"/>
                  <a:pt x="470" y="139"/>
                  <a:pt x="470" y="141"/>
                </a:cubicBezTo>
                <a:cubicBezTo>
                  <a:pt x="471" y="142"/>
                  <a:pt x="471" y="142"/>
                  <a:pt x="473" y="142"/>
                </a:cubicBezTo>
                <a:cubicBezTo>
                  <a:pt x="472" y="143"/>
                  <a:pt x="472" y="143"/>
                  <a:pt x="472" y="144"/>
                </a:cubicBezTo>
                <a:cubicBezTo>
                  <a:pt x="472" y="144"/>
                  <a:pt x="473" y="144"/>
                  <a:pt x="473" y="144"/>
                </a:cubicBezTo>
                <a:cubicBezTo>
                  <a:pt x="473" y="145"/>
                  <a:pt x="472" y="146"/>
                  <a:pt x="473" y="146"/>
                </a:cubicBezTo>
                <a:cubicBezTo>
                  <a:pt x="473" y="147"/>
                  <a:pt x="473" y="148"/>
                  <a:pt x="474" y="148"/>
                </a:cubicBezTo>
                <a:cubicBezTo>
                  <a:pt x="474" y="148"/>
                  <a:pt x="474" y="149"/>
                  <a:pt x="474" y="150"/>
                </a:cubicBezTo>
                <a:cubicBezTo>
                  <a:pt x="474" y="150"/>
                  <a:pt x="473" y="149"/>
                  <a:pt x="473" y="149"/>
                </a:cubicBezTo>
                <a:cubicBezTo>
                  <a:pt x="473" y="150"/>
                  <a:pt x="472" y="150"/>
                  <a:pt x="472" y="150"/>
                </a:cubicBezTo>
                <a:cubicBezTo>
                  <a:pt x="471" y="150"/>
                  <a:pt x="472" y="151"/>
                  <a:pt x="471" y="151"/>
                </a:cubicBezTo>
                <a:cubicBezTo>
                  <a:pt x="470" y="153"/>
                  <a:pt x="473" y="153"/>
                  <a:pt x="474" y="154"/>
                </a:cubicBezTo>
                <a:cubicBezTo>
                  <a:pt x="473" y="154"/>
                  <a:pt x="472" y="155"/>
                  <a:pt x="472" y="154"/>
                </a:cubicBezTo>
                <a:cubicBezTo>
                  <a:pt x="472" y="154"/>
                  <a:pt x="471" y="154"/>
                  <a:pt x="471" y="154"/>
                </a:cubicBezTo>
                <a:cubicBezTo>
                  <a:pt x="470" y="154"/>
                  <a:pt x="471" y="155"/>
                  <a:pt x="471" y="155"/>
                </a:cubicBezTo>
                <a:cubicBezTo>
                  <a:pt x="470" y="155"/>
                  <a:pt x="470" y="156"/>
                  <a:pt x="469" y="156"/>
                </a:cubicBezTo>
                <a:cubicBezTo>
                  <a:pt x="469" y="156"/>
                  <a:pt x="469" y="157"/>
                  <a:pt x="469" y="157"/>
                </a:cubicBezTo>
                <a:cubicBezTo>
                  <a:pt x="468" y="157"/>
                  <a:pt x="469" y="157"/>
                  <a:pt x="469" y="158"/>
                </a:cubicBezTo>
                <a:cubicBezTo>
                  <a:pt x="469" y="158"/>
                  <a:pt x="468" y="158"/>
                  <a:pt x="468" y="158"/>
                </a:cubicBezTo>
                <a:cubicBezTo>
                  <a:pt x="468" y="159"/>
                  <a:pt x="468" y="159"/>
                  <a:pt x="467" y="159"/>
                </a:cubicBezTo>
                <a:cubicBezTo>
                  <a:pt x="467" y="159"/>
                  <a:pt x="467" y="159"/>
                  <a:pt x="467" y="159"/>
                </a:cubicBezTo>
                <a:cubicBezTo>
                  <a:pt x="467" y="159"/>
                  <a:pt x="466" y="160"/>
                  <a:pt x="465" y="160"/>
                </a:cubicBezTo>
                <a:cubicBezTo>
                  <a:pt x="465" y="161"/>
                  <a:pt x="466" y="161"/>
                  <a:pt x="467" y="162"/>
                </a:cubicBezTo>
                <a:cubicBezTo>
                  <a:pt x="467" y="163"/>
                  <a:pt x="468" y="162"/>
                  <a:pt x="468" y="163"/>
                </a:cubicBezTo>
                <a:cubicBezTo>
                  <a:pt x="469" y="164"/>
                  <a:pt x="469" y="165"/>
                  <a:pt x="470" y="166"/>
                </a:cubicBezTo>
                <a:cubicBezTo>
                  <a:pt x="470" y="166"/>
                  <a:pt x="471" y="167"/>
                  <a:pt x="471" y="167"/>
                </a:cubicBezTo>
                <a:cubicBezTo>
                  <a:pt x="472" y="168"/>
                  <a:pt x="471" y="168"/>
                  <a:pt x="470" y="169"/>
                </a:cubicBezTo>
                <a:cubicBezTo>
                  <a:pt x="470" y="168"/>
                  <a:pt x="468" y="169"/>
                  <a:pt x="468" y="169"/>
                </a:cubicBezTo>
                <a:cubicBezTo>
                  <a:pt x="467" y="169"/>
                  <a:pt x="464" y="169"/>
                  <a:pt x="464" y="170"/>
                </a:cubicBezTo>
                <a:cubicBezTo>
                  <a:pt x="464" y="170"/>
                  <a:pt x="462" y="170"/>
                  <a:pt x="462" y="169"/>
                </a:cubicBezTo>
                <a:cubicBezTo>
                  <a:pt x="462" y="169"/>
                  <a:pt x="460" y="169"/>
                  <a:pt x="461" y="170"/>
                </a:cubicBezTo>
                <a:cubicBezTo>
                  <a:pt x="460" y="170"/>
                  <a:pt x="459" y="170"/>
                  <a:pt x="459" y="169"/>
                </a:cubicBezTo>
                <a:cubicBezTo>
                  <a:pt x="458" y="170"/>
                  <a:pt x="458" y="169"/>
                  <a:pt x="458" y="170"/>
                </a:cubicBezTo>
                <a:cubicBezTo>
                  <a:pt x="458" y="171"/>
                  <a:pt x="457" y="170"/>
                  <a:pt x="457" y="170"/>
                </a:cubicBezTo>
                <a:cubicBezTo>
                  <a:pt x="456" y="170"/>
                  <a:pt x="456" y="170"/>
                  <a:pt x="456" y="171"/>
                </a:cubicBezTo>
                <a:cubicBezTo>
                  <a:pt x="455" y="171"/>
                  <a:pt x="453" y="171"/>
                  <a:pt x="454" y="170"/>
                </a:cubicBezTo>
                <a:cubicBezTo>
                  <a:pt x="453" y="170"/>
                  <a:pt x="453" y="171"/>
                  <a:pt x="453" y="171"/>
                </a:cubicBezTo>
                <a:cubicBezTo>
                  <a:pt x="452" y="171"/>
                  <a:pt x="452" y="170"/>
                  <a:pt x="452" y="170"/>
                </a:cubicBezTo>
                <a:cubicBezTo>
                  <a:pt x="451" y="170"/>
                  <a:pt x="449" y="170"/>
                  <a:pt x="449" y="171"/>
                </a:cubicBezTo>
                <a:cubicBezTo>
                  <a:pt x="449" y="171"/>
                  <a:pt x="449" y="172"/>
                  <a:pt x="449" y="172"/>
                </a:cubicBezTo>
                <a:cubicBezTo>
                  <a:pt x="448" y="173"/>
                  <a:pt x="448" y="174"/>
                  <a:pt x="448" y="175"/>
                </a:cubicBezTo>
                <a:cubicBezTo>
                  <a:pt x="448" y="175"/>
                  <a:pt x="448" y="175"/>
                  <a:pt x="448" y="175"/>
                </a:cubicBezTo>
                <a:cubicBezTo>
                  <a:pt x="448" y="176"/>
                  <a:pt x="448" y="176"/>
                  <a:pt x="447" y="177"/>
                </a:cubicBezTo>
                <a:cubicBezTo>
                  <a:pt x="446" y="178"/>
                  <a:pt x="447" y="178"/>
                  <a:pt x="448" y="179"/>
                </a:cubicBezTo>
                <a:cubicBezTo>
                  <a:pt x="448" y="180"/>
                  <a:pt x="448" y="180"/>
                  <a:pt x="449" y="180"/>
                </a:cubicBezTo>
                <a:cubicBezTo>
                  <a:pt x="449" y="180"/>
                  <a:pt x="450" y="180"/>
                  <a:pt x="450" y="181"/>
                </a:cubicBezTo>
                <a:cubicBezTo>
                  <a:pt x="450" y="181"/>
                  <a:pt x="450" y="181"/>
                  <a:pt x="451" y="180"/>
                </a:cubicBezTo>
                <a:cubicBezTo>
                  <a:pt x="452" y="180"/>
                  <a:pt x="451" y="181"/>
                  <a:pt x="452" y="181"/>
                </a:cubicBezTo>
                <a:cubicBezTo>
                  <a:pt x="453" y="181"/>
                  <a:pt x="455" y="181"/>
                  <a:pt x="455" y="180"/>
                </a:cubicBezTo>
                <a:cubicBezTo>
                  <a:pt x="455" y="179"/>
                  <a:pt x="457" y="180"/>
                  <a:pt x="457" y="179"/>
                </a:cubicBezTo>
                <a:cubicBezTo>
                  <a:pt x="457" y="178"/>
                  <a:pt x="457" y="179"/>
                  <a:pt x="458" y="178"/>
                </a:cubicBezTo>
                <a:cubicBezTo>
                  <a:pt x="459" y="177"/>
                  <a:pt x="459" y="176"/>
                  <a:pt x="460" y="178"/>
                </a:cubicBezTo>
                <a:cubicBezTo>
                  <a:pt x="461" y="178"/>
                  <a:pt x="461" y="178"/>
                  <a:pt x="461" y="179"/>
                </a:cubicBezTo>
                <a:cubicBezTo>
                  <a:pt x="462" y="179"/>
                  <a:pt x="462" y="178"/>
                  <a:pt x="463" y="178"/>
                </a:cubicBezTo>
                <a:cubicBezTo>
                  <a:pt x="464" y="177"/>
                  <a:pt x="462" y="176"/>
                  <a:pt x="462" y="176"/>
                </a:cubicBezTo>
                <a:cubicBezTo>
                  <a:pt x="461" y="176"/>
                  <a:pt x="461" y="176"/>
                  <a:pt x="461" y="175"/>
                </a:cubicBezTo>
                <a:cubicBezTo>
                  <a:pt x="461" y="175"/>
                  <a:pt x="461" y="175"/>
                  <a:pt x="462" y="175"/>
                </a:cubicBezTo>
                <a:cubicBezTo>
                  <a:pt x="462" y="174"/>
                  <a:pt x="462" y="174"/>
                  <a:pt x="463" y="174"/>
                </a:cubicBezTo>
                <a:cubicBezTo>
                  <a:pt x="463" y="174"/>
                  <a:pt x="463" y="175"/>
                  <a:pt x="463" y="176"/>
                </a:cubicBezTo>
                <a:cubicBezTo>
                  <a:pt x="463" y="176"/>
                  <a:pt x="464" y="176"/>
                  <a:pt x="464" y="176"/>
                </a:cubicBezTo>
                <a:cubicBezTo>
                  <a:pt x="465" y="177"/>
                  <a:pt x="465" y="176"/>
                  <a:pt x="466" y="176"/>
                </a:cubicBezTo>
                <a:cubicBezTo>
                  <a:pt x="466" y="176"/>
                  <a:pt x="465" y="175"/>
                  <a:pt x="465" y="175"/>
                </a:cubicBezTo>
                <a:cubicBezTo>
                  <a:pt x="465" y="175"/>
                  <a:pt x="466" y="175"/>
                  <a:pt x="466" y="175"/>
                </a:cubicBezTo>
                <a:cubicBezTo>
                  <a:pt x="466" y="175"/>
                  <a:pt x="466" y="176"/>
                  <a:pt x="466" y="176"/>
                </a:cubicBezTo>
                <a:cubicBezTo>
                  <a:pt x="466" y="176"/>
                  <a:pt x="467" y="176"/>
                  <a:pt x="467" y="177"/>
                </a:cubicBezTo>
                <a:cubicBezTo>
                  <a:pt x="468" y="177"/>
                  <a:pt x="468" y="178"/>
                  <a:pt x="468" y="178"/>
                </a:cubicBezTo>
                <a:cubicBezTo>
                  <a:pt x="468" y="178"/>
                  <a:pt x="469" y="177"/>
                  <a:pt x="469" y="177"/>
                </a:cubicBezTo>
                <a:cubicBezTo>
                  <a:pt x="469" y="177"/>
                  <a:pt x="470" y="177"/>
                  <a:pt x="470" y="177"/>
                </a:cubicBezTo>
                <a:cubicBezTo>
                  <a:pt x="471" y="177"/>
                  <a:pt x="470" y="178"/>
                  <a:pt x="471" y="179"/>
                </a:cubicBezTo>
                <a:cubicBezTo>
                  <a:pt x="472" y="179"/>
                  <a:pt x="472" y="180"/>
                  <a:pt x="472" y="180"/>
                </a:cubicBezTo>
                <a:cubicBezTo>
                  <a:pt x="472" y="181"/>
                  <a:pt x="472" y="181"/>
                  <a:pt x="473" y="181"/>
                </a:cubicBezTo>
                <a:cubicBezTo>
                  <a:pt x="474" y="181"/>
                  <a:pt x="474" y="181"/>
                  <a:pt x="474" y="182"/>
                </a:cubicBezTo>
                <a:cubicBezTo>
                  <a:pt x="474" y="183"/>
                  <a:pt x="474" y="184"/>
                  <a:pt x="474" y="185"/>
                </a:cubicBezTo>
                <a:cubicBezTo>
                  <a:pt x="475" y="185"/>
                  <a:pt x="475" y="185"/>
                  <a:pt x="475" y="184"/>
                </a:cubicBezTo>
                <a:cubicBezTo>
                  <a:pt x="476" y="184"/>
                  <a:pt x="476" y="185"/>
                  <a:pt x="476" y="186"/>
                </a:cubicBezTo>
                <a:cubicBezTo>
                  <a:pt x="477" y="185"/>
                  <a:pt x="477" y="186"/>
                  <a:pt x="477" y="184"/>
                </a:cubicBezTo>
                <a:cubicBezTo>
                  <a:pt x="478" y="184"/>
                  <a:pt x="478" y="185"/>
                  <a:pt x="479" y="185"/>
                </a:cubicBezTo>
                <a:cubicBezTo>
                  <a:pt x="479" y="185"/>
                  <a:pt x="480" y="185"/>
                  <a:pt x="480" y="185"/>
                </a:cubicBezTo>
                <a:cubicBezTo>
                  <a:pt x="480" y="186"/>
                  <a:pt x="480" y="187"/>
                  <a:pt x="479" y="187"/>
                </a:cubicBezTo>
                <a:cubicBezTo>
                  <a:pt x="478" y="187"/>
                  <a:pt x="477" y="187"/>
                  <a:pt x="476" y="188"/>
                </a:cubicBezTo>
                <a:cubicBezTo>
                  <a:pt x="477" y="188"/>
                  <a:pt x="479" y="188"/>
                  <a:pt x="480" y="189"/>
                </a:cubicBezTo>
                <a:cubicBezTo>
                  <a:pt x="480" y="190"/>
                  <a:pt x="481" y="188"/>
                  <a:pt x="482" y="189"/>
                </a:cubicBezTo>
                <a:cubicBezTo>
                  <a:pt x="482" y="190"/>
                  <a:pt x="484" y="190"/>
                  <a:pt x="485" y="189"/>
                </a:cubicBezTo>
                <a:cubicBezTo>
                  <a:pt x="486" y="189"/>
                  <a:pt x="486" y="188"/>
                  <a:pt x="486" y="188"/>
                </a:cubicBezTo>
                <a:cubicBezTo>
                  <a:pt x="487" y="188"/>
                  <a:pt x="487" y="188"/>
                  <a:pt x="487" y="189"/>
                </a:cubicBezTo>
                <a:cubicBezTo>
                  <a:pt x="488" y="188"/>
                  <a:pt x="491" y="189"/>
                  <a:pt x="491" y="189"/>
                </a:cubicBezTo>
                <a:cubicBezTo>
                  <a:pt x="492" y="189"/>
                  <a:pt x="492" y="189"/>
                  <a:pt x="493" y="188"/>
                </a:cubicBezTo>
                <a:cubicBezTo>
                  <a:pt x="493" y="189"/>
                  <a:pt x="493" y="189"/>
                  <a:pt x="494" y="189"/>
                </a:cubicBezTo>
                <a:cubicBezTo>
                  <a:pt x="494" y="189"/>
                  <a:pt x="495" y="189"/>
                  <a:pt x="495" y="189"/>
                </a:cubicBezTo>
                <a:cubicBezTo>
                  <a:pt x="496" y="189"/>
                  <a:pt x="497" y="189"/>
                  <a:pt x="498" y="189"/>
                </a:cubicBezTo>
                <a:cubicBezTo>
                  <a:pt x="498" y="190"/>
                  <a:pt x="499" y="190"/>
                  <a:pt x="500" y="190"/>
                </a:cubicBezTo>
                <a:cubicBezTo>
                  <a:pt x="500" y="190"/>
                  <a:pt x="500" y="190"/>
                  <a:pt x="500" y="190"/>
                </a:cubicBezTo>
                <a:cubicBezTo>
                  <a:pt x="501" y="190"/>
                  <a:pt x="501" y="190"/>
                  <a:pt x="501" y="190"/>
                </a:cubicBezTo>
                <a:cubicBezTo>
                  <a:pt x="501" y="190"/>
                  <a:pt x="502" y="190"/>
                  <a:pt x="502" y="190"/>
                </a:cubicBezTo>
                <a:cubicBezTo>
                  <a:pt x="502" y="191"/>
                  <a:pt x="503" y="191"/>
                  <a:pt x="504" y="191"/>
                </a:cubicBezTo>
                <a:cubicBezTo>
                  <a:pt x="505" y="191"/>
                  <a:pt x="505" y="191"/>
                  <a:pt x="505" y="190"/>
                </a:cubicBezTo>
                <a:cubicBezTo>
                  <a:pt x="505" y="189"/>
                  <a:pt x="505" y="188"/>
                  <a:pt x="506" y="188"/>
                </a:cubicBezTo>
                <a:cubicBezTo>
                  <a:pt x="504" y="187"/>
                  <a:pt x="502" y="187"/>
                  <a:pt x="501" y="187"/>
                </a:cubicBezTo>
                <a:cubicBezTo>
                  <a:pt x="501" y="186"/>
                  <a:pt x="501" y="186"/>
                  <a:pt x="501" y="185"/>
                </a:cubicBezTo>
                <a:cubicBezTo>
                  <a:pt x="501" y="185"/>
                  <a:pt x="500" y="185"/>
                  <a:pt x="500" y="185"/>
                </a:cubicBezTo>
                <a:cubicBezTo>
                  <a:pt x="500" y="185"/>
                  <a:pt x="501" y="185"/>
                  <a:pt x="500" y="184"/>
                </a:cubicBezTo>
                <a:cubicBezTo>
                  <a:pt x="499" y="184"/>
                  <a:pt x="497" y="183"/>
                  <a:pt x="496" y="184"/>
                </a:cubicBezTo>
                <a:cubicBezTo>
                  <a:pt x="495" y="184"/>
                  <a:pt x="496" y="184"/>
                  <a:pt x="496" y="183"/>
                </a:cubicBezTo>
                <a:cubicBezTo>
                  <a:pt x="494" y="183"/>
                  <a:pt x="493" y="182"/>
                  <a:pt x="492" y="181"/>
                </a:cubicBezTo>
                <a:cubicBezTo>
                  <a:pt x="491" y="180"/>
                  <a:pt x="491" y="180"/>
                  <a:pt x="490" y="179"/>
                </a:cubicBezTo>
                <a:cubicBezTo>
                  <a:pt x="489" y="179"/>
                  <a:pt x="489" y="178"/>
                  <a:pt x="489" y="178"/>
                </a:cubicBezTo>
                <a:cubicBezTo>
                  <a:pt x="489" y="178"/>
                  <a:pt x="489" y="178"/>
                  <a:pt x="489" y="178"/>
                </a:cubicBezTo>
                <a:cubicBezTo>
                  <a:pt x="489" y="177"/>
                  <a:pt x="490" y="177"/>
                  <a:pt x="491" y="177"/>
                </a:cubicBezTo>
                <a:cubicBezTo>
                  <a:pt x="491" y="178"/>
                  <a:pt x="494" y="178"/>
                  <a:pt x="494" y="178"/>
                </a:cubicBezTo>
                <a:cubicBezTo>
                  <a:pt x="495" y="178"/>
                  <a:pt x="495" y="179"/>
                  <a:pt x="496" y="179"/>
                </a:cubicBezTo>
                <a:cubicBezTo>
                  <a:pt x="496" y="178"/>
                  <a:pt x="496" y="178"/>
                  <a:pt x="495" y="177"/>
                </a:cubicBezTo>
                <a:cubicBezTo>
                  <a:pt x="497" y="177"/>
                  <a:pt x="498" y="179"/>
                  <a:pt x="500" y="179"/>
                </a:cubicBezTo>
                <a:cubicBezTo>
                  <a:pt x="500" y="179"/>
                  <a:pt x="502" y="178"/>
                  <a:pt x="503" y="178"/>
                </a:cubicBezTo>
                <a:cubicBezTo>
                  <a:pt x="503" y="178"/>
                  <a:pt x="503" y="179"/>
                  <a:pt x="503" y="179"/>
                </a:cubicBezTo>
                <a:cubicBezTo>
                  <a:pt x="503" y="179"/>
                  <a:pt x="503" y="179"/>
                  <a:pt x="504" y="179"/>
                </a:cubicBezTo>
                <a:cubicBezTo>
                  <a:pt x="505" y="179"/>
                  <a:pt x="504" y="179"/>
                  <a:pt x="504" y="180"/>
                </a:cubicBezTo>
                <a:cubicBezTo>
                  <a:pt x="505" y="180"/>
                  <a:pt x="505" y="180"/>
                  <a:pt x="506" y="179"/>
                </a:cubicBezTo>
                <a:cubicBezTo>
                  <a:pt x="506" y="180"/>
                  <a:pt x="506" y="180"/>
                  <a:pt x="507" y="180"/>
                </a:cubicBezTo>
                <a:cubicBezTo>
                  <a:pt x="507" y="181"/>
                  <a:pt x="507" y="180"/>
                  <a:pt x="507" y="181"/>
                </a:cubicBezTo>
                <a:cubicBezTo>
                  <a:pt x="507" y="181"/>
                  <a:pt x="507" y="181"/>
                  <a:pt x="507" y="182"/>
                </a:cubicBezTo>
                <a:cubicBezTo>
                  <a:pt x="508" y="182"/>
                  <a:pt x="508" y="182"/>
                  <a:pt x="509" y="182"/>
                </a:cubicBezTo>
                <a:cubicBezTo>
                  <a:pt x="509" y="182"/>
                  <a:pt x="510" y="181"/>
                  <a:pt x="509" y="181"/>
                </a:cubicBezTo>
                <a:cubicBezTo>
                  <a:pt x="509" y="181"/>
                  <a:pt x="509" y="181"/>
                  <a:pt x="508" y="181"/>
                </a:cubicBezTo>
                <a:cubicBezTo>
                  <a:pt x="508" y="181"/>
                  <a:pt x="508" y="180"/>
                  <a:pt x="507" y="179"/>
                </a:cubicBezTo>
                <a:cubicBezTo>
                  <a:pt x="507" y="178"/>
                  <a:pt x="506" y="179"/>
                  <a:pt x="506" y="179"/>
                </a:cubicBezTo>
                <a:cubicBezTo>
                  <a:pt x="505" y="178"/>
                  <a:pt x="506" y="178"/>
                  <a:pt x="506" y="178"/>
                </a:cubicBezTo>
                <a:cubicBezTo>
                  <a:pt x="507" y="178"/>
                  <a:pt x="507" y="178"/>
                  <a:pt x="508" y="178"/>
                </a:cubicBezTo>
                <a:cubicBezTo>
                  <a:pt x="508" y="177"/>
                  <a:pt x="507" y="176"/>
                  <a:pt x="507" y="175"/>
                </a:cubicBezTo>
                <a:cubicBezTo>
                  <a:pt x="508" y="175"/>
                  <a:pt x="508" y="175"/>
                  <a:pt x="509" y="176"/>
                </a:cubicBezTo>
                <a:cubicBezTo>
                  <a:pt x="509" y="175"/>
                  <a:pt x="509" y="174"/>
                  <a:pt x="510" y="174"/>
                </a:cubicBezTo>
                <a:cubicBezTo>
                  <a:pt x="509" y="174"/>
                  <a:pt x="508" y="172"/>
                  <a:pt x="508" y="172"/>
                </a:cubicBezTo>
                <a:cubicBezTo>
                  <a:pt x="508" y="171"/>
                  <a:pt x="508" y="171"/>
                  <a:pt x="507" y="170"/>
                </a:cubicBezTo>
                <a:cubicBezTo>
                  <a:pt x="506" y="171"/>
                  <a:pt x="507" y="172"/>
                  <a:pt x="507" y="172"/>
                </a:cubicBezTo>
                <a:cubicBezTo>
                  <a:pt x="506" y="172"/>
                  <a:pt x="506" y="172"/>
                  <a:pt x="506" y="171"/>
                </a:cubicBezTo>
                <a:cubicBezTo>
                  <a:pt x="506" y="170"/>
                  <a:pt x="504" y="171"/>
                  <a:pt x="505" y="171"/>
                </a:cubicBezTo>
                <a:cubicBezTo>
                  <a:pt x="503" y="171"/>
                  <a:pt x="505" y="170"/>
                  <a:pt x="504" y="170"/>
                </a:cubicBezTo>
                <a:cubicBezTo>
                  <a:pt x="503" y="170"/>
                  <a:pt x="503" y="169"/>
                  <a:pt x="502" y="169"/>
                </a:cubicBezTo>
                <a:cubicBezTo>
                  <a:pt x="502" y="169"/>
                  <a:pt x="502" y="169"/>
                  <a:pt x="501" y="169"/>
                </a:cubicBezTo>
                <a:cubicBezTo>
                  <a:pt x="500" y="169"/>
                  <a:pt x="500" y="168"/>
                  <a:pt x="500" y="168"/>
                </a:cubicBezTo>
                <a:cubicBezTo>
                  <a:pt x="500" y="167"/>
                  <a:pt x="499" y="167"/>
                  <a:pt x="499" y="167"/>
                </a:cubicBezTo>
                <a:cubicBezTo>
                  <a:pt x="499" y="166"/>
                  <a:pt x="499" y="165"/>
                  <a:pt x="498" y="165"/>
                </a:cubicBezTo>
                <a:cubicBezTo>
                  <a:pt x="498" y="165"/>
                  <a:pt x="498" y="163"/>
                  <a:pt x="498" y="163"/>
                </a:cubicBezTo>
                <a:cubicBezTo>
                  <a:pt x="497" y="163"/>
                  <a:pt x="498" y="163"/>
                  <a:pt x="497" y="163"/>
                </a:cubicBezTo>
                <a:cubicBezTo>
                  <a:pt x="497" y="163"/>
                  <a:pt x="496" y="164"/>
                  <a:pt x="496" y="164"/>
                </a:cubicBezTo>
                <a:cubicBezTo>
                  <a:pt x="495" y="163"/>
                  <a:pt x="495" y="163"/>
                  <a:pt x="495" y="162"/>
                </a:cubicBezTo>
                <a:cubicBezTo>
                  <a:pt x="494" y="162"/>
                  <a:pt x="494" y="162"/>
                  <a:pt x="494" y="161"/>
                </a:cubicBezTo>
                <a:cubicBezTo>
                  <a:pt x="494" y="161"/>
                  <a:pt x="494" y="161"/>
                  <a:pt x="494" y="161"/>
                </a:cubicBezTo>
                <a:cubicBezTo>
                  <a:pt x="494" y="161"/>
                  <a:pt x="494" y="160"/>
                  <a:pt x="494" y="160"/>
                </a:cubicBezTo>
                <a:cubicBezTo>
                  <a:pt x="494" y="160"/>
                  <a:pt x="494" y="160"/>
                  <a:pt x="495" y="160"/>
                </a:cubicBezTo>
                <a:cubicBezTo>
                  <a:pt x="495" y="159"/>
                  <a:pt x="495" y="160"/>
                  <a:pt x="496" y="161"/>
                </a:cubicBezTo>
                <a:cubicBezTo>
                  <a:pt x="496" y="161"/>
                  <a:pt x="497" y="161"/>
                  <a:pt x="497" y="161"/>
                </a:cubicBezTo>
                <a:cubicBezTo>
                  <a:pt x="497" y="160"/>
                  <a:pt x="497" y="160"/>
                  <a:pt x="497" y="160"/>
                </a:cubicBezTo>
                <a:cubicBezTo>
                  <a:pt x="497" y="159"/>
                  <a:pt x="497" y="159"/>
                  <a:pt x="496" y="158"/>
                </a:cubicBezTo>
                <a:cubicBezTo>
                  <a:pt x="496" y="158"/>
                  <a:pt x="496" y="158"/>
                  <a:pt x="496" y="158"/>
                </a:cubicBezTo>
                <a:cubicBezTo>
                  <a:pt x="496" y="157"/>
                  <a:pt x="496" y="157"/>
                  <a:pt x="496" y="156"/>
                </a:cubicBezTo>
                <a:cubicBezTo>
                  <a:pt x="496" y="156"/>
                  <a:pt x="495" y="156"/>
                  <a:pt x="495" y="156"/>
                </a:cubicBezTo>
                <a:cubicBezTo>
                  <a:pt x="495" y="155"/>
                  <a:pt x="496" y="156"/>
                  <a:pt x="496" y="156"/>
                </a:cubicBezTo>
                <a:cubicBezTo>
                  <a:pt x="497" y="157"/>
                  <a:pt x="497" y="158"/>
                  <a:pt x="497" y="158"/>
                </a:cubicBezTo>
                <a:cubicBezTo>
                  <a:pt x="497" y="158"/>
                  <a:pt x="498" y="158"/>
                  <a:pt x="498" y="158"/>
                </a:cubicBezTo>
                <a:cubicBezTo>
                  <a:pt x="498" y="158"/>
                  <a:pt x="498" y="157"/>
                  <a:pt x="498" y="157"/>
                </a:cubicBezTo>
                <a:cubicBezTo>
                  <a:pt x="498" y="157"/>
                  <a:pt x="498" y="156"/>
                  <a:pt x="498" y="155"/>
                </a:cubicBezTo>
                <a:cubicBezTo>
                  <a:pt x="498" y="155"/>
                  <a:pt x="497" y="155"/>
                  <a:pt x="497" y="155"/>
                </a:cubicBezTo>
                <a:cubicBezTo>
                  <a:pt x="498" y="155"/>
                  <a:pt x="499" y="155"/>
                  <a:pt x="499" y="155"/>
                </a:cubicBezTo>
                <a:cubicBezTo>
                  <a:pt x="499" y="155"/>
                  <a:pt x="500" y="155"/>
                  <a:pt x="500" y="155"/>
                </a:cubicBezTo>
                <a:cubicBezTo>
                  <a:pt x="500" y="156"/>
                  <a:pt x="499" y="157"/>
                  <a:pt x="501" y="157"/>
                </a:cubicBezTo>
                <a:cubicBezTo>
                  <a:pt x="501" y="158"/>
                  <a:pt x="501" y="158"/>
                  <a:pt x="501" y="159"/>
                </a:cubicBezTo>
                <a:cubicBezTo>
                  <a:pt x="502" y="159"/>
                  <a:pt x="501" y="160"/>
                  <a:pt x="502" y="160"/>
                </a:cubicBezTo>
                <a:cubicBezTo>
                  <a:pt x="502" y="160"/>
                  <a:pt x="503" y="160"/>
                  <a:pt x="503" y="160"/>
                </a:cubicBezTo>
                <a:cubicBezTo>
                  <a:pt x="503" y="161"/>
                  <a:pt x="504" y="160"/>
                  <a:pt x="504" y="160"/>
                </a:cubicBezTo>
                <a:cubicBezTo>
                  <a:pt x="504" y="160"/>
                  <a:pt x="504" y="161"/>
                  <a:pt x="504" y="161"/>
                </a:cubicBezTo>
                <a:cubicBezTo>
                  <a:pt x="505" y="161"/>
                  <a:pt x="505" y="161"/>
                  <a:pt x="506" y="161"/>
                </a:cubicBezTo>
                <a:cubicBezTo>
                  <a:pt x="507" y="161"/>
                  <a:pt x="506" y="161"/>
                  <a:pt x="507" y="161"/>
                </a:cubicBezTo>
                <a:cubicBezTo>
                  <a:pt x="507" y="161"/>
                  <a:pt x="508" y="160"/>
                  <a:pt x="508" y="160"/>
                </a:cubicBezTo>
                <a:cubicBezTo>
                  <a:pt x="508" y="161"/>
                  <a:pt x="508" y="161"/>
                  <a:pt x="507" y="162"/>
                </a:cubicBezTo>
                <a:cubicBezTo>
                  <a:pt x="506" y="162"/>
                  <a:pt x="506" y="162"/>
                  <a:pt x="507" y="162"/>
                </a:cubicBezTo>
                <a:cubicBezTo>
                  <a:pt x="507" y="162"/>
                  <a:pt x="508" y="163"/>
                  <a:pt x="508" y="162"/>
                </a:cubicBezTo>
                <a:cubicBezTo>
                  <a:pt x="508" y="162"/>
                  <a:pt x="509" y="162"/>
                  <a:pt x="509" y="162"/>
                </a:cubicBezTo>
                <a:cubicBezTo>
                  <a:pt x="509" y="163"/>
                  <a:pt x="509" y="163"/>
                  <a:pt x="508" y="163"/>
                </a:cubicBezTo>
                <a:cubicBezTo>
                  <a:pt x="509" y="163"/>
                  <a:pt x="510" y="163"/>
                  <a:pt x="511" y="163"/>
                </a:cubicBezTo>
                <a:cubicBezTo>
                  <a:pt x="511" y="164"/>
                  <a:pt x="510" y="164"/>
                  <a:pt x="510" y="165"/>
                </a:cubicBezTo>
                <a:cubicBezTo>
                  <a:pt x="511" y="165"/>
                  <a:pt x="512" y="165"/>
                  <a:pt x="513" y="165"/>
                </a:cubicBezTo>
                <a:cubicBezTo>
                  <a:pt x="514" y="166"/>
                  <a:pt x="511" y="165"/>
                  <a:pt x="511" y="166"/>
                </a:cubicBezTo>
                <a:cubicBezTo>
                  <a:pt x="511" y="167"/>
                  <a:pt x="512" y="168"/>
                  <a:pt x="513" y="167"/>
                </a:cubicBezTo>
                <a:cubicBezTo>
                  <a:pt x="514" y="166"/>
                  <a:pt x="513" y="167"/>
                  <a:pt x="514" y="167"/>
                </a:cubicBezTo>
                <a:cubicBezTo>
                  <a:pt x="514" y="168"/>
                  <a:pt x="514" y="167"/>
                  <a:pt x="514" y="168"/>
                </a:cubicBezTo>
                <a:cubicBezTo>
                  <a:pt x="514" y="168"/>
                  <a:pt x="515" y="168"/>
                  <a:pt x="515" y="168"/>
                </a:cubicBezTo>
                <a:cubicBezTo>
                  <a:pt x="515" y="168"/>
                  <a:pt x="516" y="168"/>
                  <a:pt x="516" y="168"/>
                </a:cubicBezTo>
                <a:cubicBezTo>
                  <a:pt x="516" y="169"/>
                  <a:pt x="517" y="169"/>
                  <a:pt x="517" y="169"/>
                </a:cubicBezTo>
                <a:cubicBezTo>
                  <a:pt x="518" y="169"/>
                  <a:pt x="517" y="168"/>
                  <a:pt x="518" y="168"/>
                </a:cubicBezTo>
                <a:cubicBezTo>
                  <a:pt x="518" y="168"/>
                  <a:pt x="518" y="168"/>
                  <a:pt x="518" y="168"/>
                </a:cubicBezTo>
                <a:cubicBezTo>
                  <a:pt x="519" y="168"/>
                  <a:pt x="519" y="167"/>
                  <a:pt x="519" y="167"/>
                </a:cubicBezTo>
                <a:cubicBezTo>
                  <a:pt x="518" y="167"/>
                  <a:pt x="518" y="165"/>
                  <a:pt x="518" y="165"/>
                </a:cubicBezTo>
                <a:cubicBezTo>
                  <a:pt x="518" y="164"/>
                  <a:pt x="517" y="164"/>
                  <a:pt x="516" y="164"/>
                </a:cubicBezTo>
                <a:cubicBezTo>
                  <a:pt x="517" y="163"/>
                  <a:pt x="517" y="162"/>
                  <a:pt x="517" y="162"/>
                </a:cubicBezTo>
                <a:cubicBezTo>
                  <a:pt x="518" y="162"/>
                  <a:pt x="517" y="163"/>
                  <a:pt x="518" y="163"/>
                </a:cubicBezTo>
                <a:cubicBezTo>
                  <a:pt x="519" y="163"/>
                  <a:pt x="520" y="164"/>
                  <a:pt x="519" y="163"/>
                </a:cubicBezTo>
                <a:cubicBezTo>
                  <a:pt x="520" y="163"/>
                  <a:pt x="521" y="163"/>
                  <a:pt x="521" y="163"/>
                </a:cubicBezTo>
                <a:cubicBezTo>
                  <a:pt x="521" y="162"/>
                  <a:pt x="521" y="162"/>
                  <a:pt x="520" y="162"/>
                </a:cubicBezTo>
                <a:cubicBezTo>
                  <a:pt x="520" y="161"/>
                  <a:pt x="520" y="161"/>
                  <a:pt x="520" y="160"/>
                </a:cubicBezTo>
                <a:cubicBezTo>
                  <a:pt x="520" y="161"/>
                  <a:pt x="521" y="161"/>
                  <a:pt x="521" y="161"/>
                </a:cubicBezTo>
                <a:cubicBezTo>
                  <a:pt x="521" y="160"/>
                  <a:pt x="520" y="160"/>
                  <a:pt x="521" y="159"/>
                </a:cubicBezTo>
                <a:cubicBezTo>
                  <a:pt x="521" y="158"/>
                  <a:pt x="521" y="158"/>
                  <a:pt x="522" y="158"/>
                </a:cubicBezTo>
                <a:cubicBezTo>
                  <a:pt x="522" y="158"/>
                  <a:pt x="523" y="158"/>
                  <a:pt x="523" y="158"/>
                </a:cubicBezTo>
                <a:cubicBezTo>
                  <a:pt x="524" y="157"/>
                  <a:pt x="523" y="156"/>
                  <a:pt x="522" y="156"/>
                </a:cubicBezTo>
                <a:cubicBezTo>
                  <a:pt x="523" y="155"/>
                  <a:pt x="523" y="155"/>
                  <a:pt x="524" y="155"/>
                </a:cubicBezTo>
                <a:cubicBezTo>
                  <a:pt x="524" y="155"/>
                  <a:pt x="525" y="156"/>
                  <a:pt x="525" y="156"/>
                </a:cubicBezTo>
                <a:cubicBezTo>
                  <a:pt x="525" y="158"/>
                  <a:pt x="526" y="157"/>
                  <a:pt x="527" y="157"/>
                </a:cubicBezTo>
                <a:cubicBezTo>
                  <a:pt x="527" y="156"/>
                  <a:pt x="526" y="156"/>
                  <a:pt x="526" y="156"/>
                </a:cubicBezTo>
                <a:cubicBezTo>
                  <a:pt x="527" y="155"/>
                  <a:pt x="526" y="154"/>
                  <a:pt x="526" y="154"/>
                </a:cubicBezTo>
                <a:cubicBezTo>
                  <a:pt x="526" y="154"/>
                  <a:pt x="527" y="154"/>
                  <a:pt x="528" y="154"/>
                </a:cubicBezTo>
                <a:cubicBezTo>
                  <a:pt x="528" y="154"/>
                  <a:pt x="529" y="153"/>
                  <a:pt x="528" y="153"/>
                </a:cubicBezTo>
                <a:cubicBezTo>
                  <a:pt x="527" y="152"/>
                  <a:pt x="527" y="151"/>
                  <a:pt x="526" y="150"/>
                </a:cubicBezTo>
                <a:cubicBezTo>
                  <a:pt x="525" y="150"/>
                  <a:pt x="524" y="150"/>
                  <a:pt x="524" y="149"/>
                </a:cubicBezTo>
                <a:cubicBezTo>
                  <a:pt x="523" y="149"/>
                  <a:pt x="524" y="150"/>
                  <a:pt x="524" y="151"/>
                </a:cubicBezTo>
                <a:cubicBezTo>
                  <a:pt x="523" y="151"/>
                  <a:pt x="523" y="151"/>
                  <a:pt x="522" y="151"/>
                </a:cubicBezTo>
                <a:cubicBezTo>
                  <a:pt x="522" y="151"/>
                  <a:pt x="522" y="152"/>
                  <a:pt x="521" y="152"/>
                </a:cubicBezTo>
                <a:cubicBezTo>
                  <a:pt x="521" y="152"/>
                  <a:pt x="521" y="151"/>
                  <a:pt x="521" y="151"/>
                </a:cubicBezTo>
                <a:cubicBezTo>
                  <a:pt x="520" y="151"/>
                  <a:pt x="521" y="151"/>
                  <a:pt x="520" y="151"/>
                </a:cubicBezTo>
                <a:cubicBezTo>
                  <a:pt x="520" y="151"/>
                  <a:pt x="520" y="151"/>
                  <a:pt x="520" y="152"/>
                </a:cubicBezTo>
                <a:cubicBezTo>
                  <a:pt x="520" y="153"/>
                  <a:pt x="520" y="153"/>
                  <a:pt x="519" y="153"/>
                </a:cubicBezTo>
                <a:cubicBezTo>
                  <a:pt x="519" y="152"/>
                  <a:pt x="519" y="151"/>
                  <a:pt x="519" y="151"/>
                </a:cubicBezTo>
                <a:cubicBezTo>
                  <a:pt x="519" y="150"/>
                  <a:pt x="520" y="150"/>
                  <a:pt x="520" y="149"/>
                </a:cubicBezTo>
                <a:cubicBezTo>
                  <a:pt x="519" y="150"/>
                  <a:pt x="519" y="149"/>
                  <a:pt x="518" y="149"/>
                </a:cubicBezTo>
                <a:cubicBezTo>
                  <a:pt x="518" y="150"/>
                  <a:pt x="518" y="150"/>
                  <a:pt x="518" y="151"/>
                </a:cubicBezTo>
                <a:cubicBezTo>
                  <a:pt x="518" y="152"/>
                  <a:pt x="517" y="152"/>
                  <a:pt x="517" y="151"/>
                </a:cubicBezTo>
                <a:cubicBezTo>
                  <a:pt x="517" y="151"/>
                  <a:pt x="517" y="151"/>
                  <a:pt x="516" y="151"/>
                </a:cubicBezTo>
                <a:cubicBezTo>
                  <a:pt x="516" y="150"/>
                  <a:pt x="515" y="150"/>
                  <a:pt x="514" y="151"/>
                </a:cubicBezTo>
                <a:cubicBezTo>
                  <a:pt x="514" y="150"/>
                  <a:pt x="514" y="150"/>
                  <a:pt x="514" y="150"/>
                </a:cubicBezTo>
                <a:cubicBezTo>
                  <a:pt x="513" y="150"/>
                  <a:pt x="513" y="150"/>
                  <a:pt x="512" y="150"/>
                </a:cubicBezTo>
                <a:cubicBezTo>
                  <a:pt x="512" y="150"/>
                  <a:pt x="512" y="150"/>
                  <a:pt x="512" y="150"/>
                </a:cubicBezTo>
                <a:cubicBezTo>
                  <a:pt x="512" y="149"/>
                  <a:pt x="512" y="149"/>
                  <a:pt x="513" y="149"/>
                </a:cubicBezTo>
                <a:cubicBezTo>
                  <a:pt x="513" y="149"/>
                  <a:pt x="514" y="148"/>
                  <a:pt x="513" y="148"/>
                </a:cubicBezTo>
                <a:cubicBezTo>
                  <a:pt x="513" y="148"/>
                  <a:pt x="513" y="147"/>
                  <a:pt x="513" y="147"/>
                </a:cubicBezTo>
                <a:cubicBezTo>
                  <a:pt x="513" y="147"/>
                  <a:pt x="513" y="147"/>
                  <a:pt x="512" y="146"/>
                </a:cubicBezTo>
                <a:cubicBezTo>
                  <a:pt x="512" y="146"/>
                  <a:pt x="512" y="146"/>
                  <a:pt x="511" y="146"/>
                </a:cubicBezTo>
                <a:cubicBezTo>
                  <a:pt x="511" y="146"/>
                  <a:pt x="511" y="145"/>
                  <a:pt x="511" y="145"/>
                </a:cubicBezTo>
                <a:cubicBezTo>
                  <a:pt x="510" y="145"/>
                  <a:pt x="510" y="145"/>
                  <a:pt x="510" y="146"/>
                </a:cubicBezTo>
                <a:cubicBezTo>
                  <a:pt x="510" y="147"/>
                  <a:pt x="510" y="148"/>
                  <a:pt x="509" y="148"/>
                </a:cubicBezTo>
                <a:cubicBezTo>
                  <a:pt x="509" y="147"/>
                  <a:pt x="509" y="147"/>
                  <a:pt x="509" y="146"/>
                </a:cubicBezTo>
                <a:cubicBezTo>
                  <a:pt x="509" y="146"/>
                  <a:pt x="508" y="146"/>
                  <a:pt x="509" y="145"/>
                </a:cubicBezTo>
                <a:cubicBezTo>
                  <a:pt x="510" y="144"/>
                  <a:pt x="510" y="144"/>
                  <a:pt x="509" y="143"/>
                </a:cubicBezTo>
                <a:cubicBezTo>
                  <a:pt x="508" y="144"/>
                  <a:pt x="508" y="144"/>
                  <a:pt x="507" y="144"/>
                </a:cubicBezTo>
                <a:cubicBezTo>
                  <a:pt x="507" y="145"/>
                  <a:pt x="507" y="146"/>
                  <a:pt x="507" y="146"/>
                </a:cubicBezTo>
                <a:cubicBezTo>
                  <a:pt x="507" y="146"/>
                  <a:pt x="506" y="147"/>
                  <a:pt x="506" y="146"/>
                </a:cubicBezTo>
                <a:cubicBezTo>
                  <a:pt x="506" y="146"/>
                  <a:pt x="506" y="145"/>
                  <a:pt x="506" y="145"/>
                </a:cubicBezTo>
                <a:cubicBezTo>
                  <a:pt x="506" y="145"/>
                  <a:pt x="506" y="144"/>
                  <a:pt x="506" y="144"/>
                </a:cubicBezTo>
                <a:cubicBezTo>
                  <a:pt x="505" y="144"/>
                  <a:pt x="505" y="148"/>
                  <a:pt x="504" y="146"/>
                </a:cubicBezTo>
                <a:cubicBezTo>
                  <a:pt x="504" y="145"/>
                  <a:pt x="503" y="146"/>
                  <a:pt x="503" y="146"/>
                </a:cubicBezTo>
                <a:cubicBezTo>
                  <a:pt x="502" y="147"/>
                  <a:pt x="503" y="147"/>
                  <a:pt x="501" y="147"/>
                </a:cubicBezTo>
                <a:cubicBezTo>
                  <a:pt x="502" y="146"/>
                  <a:pt x="502" y="145"/>
                  <a:pt x="503" y="144"/>
                </a:cubicBezTo>
                <a:cubicBezTo>
                  <a:pt x="502" y="144"/>
                  <a:pt x="502" y="144"/>
                  <a:pt x="501" y="144"/>
                </a:cubicBezTo>
                <a:cubicBezTo>
                  <a:pt x="501" y="144"/>
                  <a:pt x="501" y="144"/>
                  <a:pt x="501" y="145"/>
                </a:cubicBezTo>
                <a:cubicBezTo>
                  <a:pt x="501" y="145"/>
                  <a:pt x="501" y="145"/>
                  <a:pt x="501" y="145"/>
                </a:cubicBezTo>
                <a:cubicBezTo>
                  <a:pt x="501" y="143"/>
                  <a:pt x="501" y="144"/>
                  <a:pt x="500" y="144"/>
                </a:cubicBezTo>
                <a:cubicBezTo>
                  <a:pt x="499" y="143"/>
                  <a:pt x="501" y="143"/>
                  <a:pt x="499" y="143"/>
                </a:cubicBezTo>
                <a:cubicBezTo>
                  <a:pt x="499" y="143"/>
                  <a:pt x="499" y="143"/>
                  <a:pt x="498" y="143"/>
                </a:cubicBezTo>
                <a:cubicBezTo>
                  <a:pt x="498" y="142"/>
                  <a:pt x="499" y="142"/>
                  <a:pt x="499" y="141"/>
                </a:cubicBezTo>
                <a:cubicBezTo>
                  <a:pt x="499" y="141"/>
                  <a:pt x="499" y="141"/>
                  <a:pt x="498" y="141"/>
                </a:cubicBezTo>
                <a:cubicBezTo>
                  <a:pt x="497" y="141"/>
                  <a:pt x="497" y="141"/>
                  <a:pt x="497" y="142"/>
                </a:cubicBezTo>
                <a:cubicBezTo>
                  <a:pt x="496" y="142"/>
                  <a:pt x="497" y="140"/>
                  <a:pt x="497" y="140"/>
                </a:cubicBezTo>
                <a:cubicBezTo>
                  <a:pt x="496" y="139"/>
                  <a:pt x="495" y="140"/>
                  <a:pt x="494" y="140"/>
                </a:cubicBezTo>
                <a:cubicBezTo>
                  <a:pt x="493" y="140"/>
                  <a:pt x="493" y="139"/>
                  <a:pt x="492" y="139"/>
                </a:cubicBezTo>
                <a:cubicBezTo>
                  <a:pt x="493" y="137"/>
                  <a:pt x="490" y="139"/>
                  <a:pt x="491" y="137"/>
                </a:cubicBezTo>
                <a:cubicBezTo>
                  <a:pt x="492" y="138"/>
                  <a:pt x="493" y="138"/>
                  <a:pt x="494" y="137"/>
                </a:cubicBezTo>
                <a:cubicBezTo>
                  <a:pt x="495" y="137"/>
                  <a:pt x="495" y="135"/>
                  <a:pt x="496" y="136"/>
                </a:cubicBezTo>
                <a:cubicBezTo>
                  <a:pt x="495" y="135"/>
                  <a:pt x="495" y="134"/>
                  <a:pt x="494" y="134"/>
                </a:cubicBezTo>
                <a:cubicBezTo>
                  <a:pt x="494" y="133"/>
                  <a:pt x="493" y="133"/>
                  <a:pt x="493" y="132"/>
                </a:cubicBezTo>
                <a:cubicBezTo>
                  <a:pt x="494" y="132"/>
                  <a:pt x="494" y="132"/>
                  <a:pt x="495" y="133"/>
                </a:cubicBezTo>
                <a:cubicBezTo>
                  <a:pt x="495" y="133"/>
                  <a:pt x="494" y="133"/>
                  <a:pt x="495" y="133"/>
                </a:cubicBezTo>
                <a:cubicBezTo>
                  <a:pt x="496" y="133"/>
                  <a:pt x="497" y="133"/>
                  <a:pt x="499" y="133"/>
                </a:cubicBezTo>
                <a:cubicBezTo>
                  <a:pt x="499" y="133"/>
                  <a:pt x="499" y="133"/>
                  <a:pt x="499" y="133"/>
                </a:cubicBezTo>
                <a:cubicBezTo>
                  <a:pt x="499" y="132"/>
                  <a:pt x="498" y="131"/>
                  <a:pt x="496" y="131"/>
                </a:cubicBezTo>
                <a:cubicBezTo>
                  <a:pt x="496" y="131"/>
                  <a:pt x="496" y="131"/>
                  <a:pt x="496" y="131"/>
                </a:cubicBezTo>
                <a:cubicBezTo>
                  <a:pt x="496" y="131"/>
                  <a:pt x="495" y="131"/>
                  <a:pt x="495" y="130"/>
                </a:cubicBezTo>
                <a:cubicBezTo>
                  <a:pt x="495" y="130"/>
                  <a:pt x="493" y="130"/>
                  <a:pt x="493" y="130"/>
                </a:cubicBezTo>
                <a:cubicBezTo>
                  <a:pt x="493" y="130"/>
                  <a:pt x="493" y="131"/>
                  <a:pt x="493" y="131"/>
                </a:cubicBezTo>
                <a:cubicBezTo>
                  <a:pt x="493" y="131"/>
                  <a:pt x="492" y="130"/>
                  <a:pt x="492" y="130"/>
                </a:cubicBezTo>
                <a:cubicBezTo>
                  <a:pt x="492" y="129"/>
                  <a:pt x="492" y="129"/>
                  <a:pt x="491" y="129"/>
                </a:cubicBezTo>
                <a:cubicBezTo>
                  <a:pt x="491" y="129"/>
                  <a:pt x="491" y="128"/>
                  <a:pt x="491" y="128"/>
                </a:cubicBezTo>
                <a:cubicBezTo>
                  <a:pt x="492" y="128"/>
                  <a:pt x="493" y="128"/>
                  <a:pt x="494" y="128"/>
                </a:cubicBezTo>
                <a:cubicBezTo>
                  <a:pt x="494" y="128"/>
                  <a:pt x="494" y="128"/>
                  <a:pt x="495" y="128"/>
                </a:cubicBezTo>
                <a:cubicBezTo>
                  <a:pt x="495" y="127"/>
                  <a:pt x="496" y="128"/>
                  <a:pt x="496" y="127"/>
                </a:cubicBezTo>
                <a:cubicBezTo>
                  <a:pt x="496" y="127"/>
                  <a:pt x="496" y="126"/>
                  <a:pt x="497" y="126"/>
                </a:cubicBezTo>
                <a:cubicBezTo>
                  <a:pt x="497" y="124"/>
                  <a:pt x="496" y="124"/>
                  <a:pt x="494" y="123"/>
                </a:cubicBezTo>
                <a:cubicBezTo>
                  <a:pt x="494" y="122"/>
                  <a:pt x="493" y="123"/>
                  <a:pt x="493" y="123"/>
                </a:cubicBezTo>
                <a:cubicBezTo>
                  <a:pt x="493" y="124"/>
                  <a:pt x="493" y="124"/>
                  <a:pt x="493" y="125"/>
                </a:cubicBezTo>
                <a:cubicBezTo>
                  <a:pt x="492" y="126"/>
                  <a:pt x="492" y="125"/>
                  <a:pt x="491" y="126"/>
                </a:cubicBezTo>
                <a:cubicBezTo>
                  <a:pt x="491" y="124"/>
                  <a:pt x="491" y="124"/>
                  <a:pt x="489" y="124"/>
                </a:cubicBezTo>
                <a:cubicBezTo>
                  <a:pt x="489" y="124"/>
                  <a:pt x="488" y="124"/>
                  <a:pt x="489" y="123"/>
                </a:cubicBezTo>
                <a:cubicBezTo>
                  <a:pt x="489" y="123"/>
                  <a:pt x="490" y="123"/>
                  <a:pt x="490" y="122"/>
                </a:cubicBezTo>
                <a:cubicBezTo>
                  <a:pt x="491" y="122"/>
                  <a:pt x="491" y="122"/>
                  <a:pt x="492" y="122"/>
                </a:cubicBezTo>
                <a:cubicBezTo>
                  <a:pt x="492" y="121"/>
                  <a:pt x="490" y="122"/>
                  <a:pt x="489" y="120"/>
                </a:cubicBezTo>
                <a:cubicBezTo>
                  <a:pt x="489" y="119"/>
                  <a:pt x="489" y="119"/>
                  <a:pt x="488" y="119"/>
                </a:cubicBezTo>
                <a:cubicBezTo>
                  <a:pt x="487" y="119"/>
                  <a:pt x="487" y="119"/>
                  <a:pt x="486" y="120"/>
                </a:cubicBezTo>
                <a:cubicBezTo>
                  <a:pt x="485" y="120"/>
                  <a:pt x="486" y="121"/>
                  <a:pt x="485" y="121"/>
                </a:cubicBezTo>
                <a:cubicBezTo>
                  <a:pt x="484" y="121"/>
                  <a:pt x="484" y="121"/>
                  <a:pt x="484" y="121"/>
                </a:cubicBezTo>
                <a:cubicBezTo>
                  <a:pt x="484" y="120"/>
                  <a:pt x="485" y="120"/>
                  <a:pt x="486" y="119"/>
                </a:cubicBezTo>
                <a:cubicBezTo>
                  <a:pt x="485" y="119"/>
                  <a:pt x="484" y="119"/>
                  <a:pt x="483" y="119"/>
                </a:cubicBezTo>
                <a:cubicBezTo>
                  <a:pt x="483" y="120"/>
                  <a:pt x="482" y="121"/>
                  <a:pt x="482" y="121"/>
                </a:cubicBezTo>
                <a:cubicBezTo>
                  <a:pt x="481" y="121"/>
                  <a:pt x="481" y="121"/>
                  <a:pt x="481" y="120"/>
                </a:cubicBezTo>
                <a:cubicBezTo>
                  <a:pt x="481" y="120"/>
                  <a:pt x="481" y="119"/>
                  <a:pt x="481" y="119"/>
                </a:cubicBezTo>
                <a:cubicBezTo>
                  <a:pt x="482" y="119"/>
                  <a:pt x="482" y="119"/>
                  <a:pt x="483" y="118"/>
                </a:cubicBezTo>
                <a:cubicBezTo>
                  <a:pt x="484" y="118"/>
                  <a:pt x="484" y="117"/>
                  <a:pt x="483" y="117"/>
                </a:cubicBezTo>
                <a:cubicBezTo>
                  <a:pt x="482" y="117"/>
                  <a:pt x="482" y="117"/>
                  <a:pt x="481" y="117"/>
                </a:cubicBezTo>
                <a:cubicBezTo>
                  <a:pt x="481" y="117"/>
                  <a:pt x="481" y="117"/>
                  <a:pt x="481" y="116"/>
                </a:cubicBezTo>
                <a:cubicBezTo>
                  <a:pt x="481" y="116"/>
                  <a:pt x="481" y="117"/>
                  <a:pt x="480" y="117"/>
                </a:cubicBezTo>
                <a:cubicBezTo>
                  <a:pt x="480" y="117"/>
                  <a:pt x="481" y="117"/>
                  <a:pt x="481" y="118"/>
                </a:cubicBezTo>
                <a:cubicBezTo>
                  <a:pt x="480" y="118"/>
                  <a:pt x="480" y="118"/>
                  <a:pt x="480" y="118"/>
                </a:cubicBezTo>
                <a:cubicBezTo>
                  <a:pt x="479" y="118"/>
                  <a:pt x="480" y="119"/>
                  <a:pt x="479" y="119"/>
                </a:cubicBezTo>
                <a:cubicBezTo>
                  <a:pt x="479" y="118"/>
                  <a:pt x="479" y="118"/>
                  <a:pt x="479" y="118"/>
                </a:cubicBezTo>
                <a:cubicBezTo>
                  <a:pt x="478" y="118"/>
                  <a:pt x="478" y="118"/>
                  <a:pt x="477" y="118"/>
                </a:cubicBezTo>
                <a:cubicBezTo>
                  <a:pt x="478" y="117"/>
                  <a:pt x="478" y="118"/>
                  <a:pt x="478" y="117"/>
                </a:cubicBezTo>
                <a:close/>
                <a:moveTo>
                  <a:pt x="1482" y="92"/>
                </a:moveTo>
                <a:cubicBezTo>
                  <a:pt x="1482" y="93"/>
                  <a:pt x="1482" y="93"/>
                  <a:pt x="1482" y="94"/>
                </a:cubicBezTo>
                <a:cubicBezTo>
                  <a:pt x="1482" y="94"/>
                  <a:pt x="1483" y="94"/>
                  <a:pt x="1483" y="95"/>
                </a:cubicBezTo>
                <a:cubicBezTo>
                  <a:pt x="1483" y="95"/>
                  <a:pt x="1483" y="95"/>
                  <a:pt x="1484" y="94"/>
                </a:cubicBezTo>
                <a:cubicBezTo>
                  <a:pt x="1485" y="94"/>
                  <a:pt x="1484" y="93"/>
                  <a:pt x="1484" y="92"/>
                </a:cubicBezTo>
                <a:cubicBezTo>
                  <a:pt x="1484" y="92"/>
                  <a:pt x="1483" y="92"/>
                  <a:pt x="1482" y="92"/>
                </a:cubicBezTo>
                <a:cubicBezTo>
                  <a:pt x="1482" y="92"/>
                  <a:pt x="1482" y="92"/>
                  <a:pt x="1482" y="92"/>
                </a:cubicBezTo>
                <a:close/>
                <a:moveTo>
                  <a:pt x="1350" y="92"/>
                </a:moveTo>
                <a:cubicBezTo>
                  <a:pt x="1350" y="93"/>
                  <a:pt x="1349" y="94"/>
                  <a:pt x="1349" y="95"/>
                </a:cubicBezTo>
                <a:cubicBezTo>
                  <a:pt x="1350" y="95"/>
                  <a:pt x="1351" y="94"/>
                  <a:pt x="1352" y="94"/>
                </a:cubicBezTo>
                <a:cubicBezTo>
                  <a:pt x="1352" y="93"/>
                  <a:pt x="1353" y="92"/>
                  <a:pt x="1353" y="91"/>
                </a:cubicBezTo>
                <a:cubicBezTo>
                  <a:pt x="1353" y="91"/>
                  <a:pt x="1352" y="91"/>
                  <a:pt x="1352" y="91"/>
                </a:cubicBezTo>
                <a:cubicBezTo>
                  <a:pt x="1352" y="92"/>
                  <a:pt x="1351" y="92"/>
                  <a:pt x="1350" y="92"/>
                </a:cubicBezTo>
                <a:cubicBezTo>
                  <a:pt x="1350" y="93"/>
                  <a:pt x="1350" y="92"/>
                  <a:pt x="1350" y="92"/>
                </a:cubicBezTo>
                <a:close/>
                <a:moveTo>
                  <a:pt x="450" y="96"/>
                </a:moveTo>
                <a:cubicBezTo>
                  <a:pt x="450" y="95"/>
                  <a:pt x="450" y="95"/>
                  <a:pt x="450" y="95"/>
                </a:cubicBezTo>
                <a:cubicBezTo>
                  <a:pt x="450" y="92"/>
                  <a:pt x="450" y="95"/>
                  <a:pt x="450" y="94"/>
                </a:cubicBezTo>
                <a:cubicBezTo>
                  <a:pt x="449" y="93"/>
                  <a:pt x="450" y="92"/>
                  <a:pt x="449" y="92"/>
                </a:cubicBezTo>
                <a:cubicBezTo>
                  <a:pt x="448" y="92"/>
                  <a:pt x="448" y="92"/>
                  <a:pt x="448" y="92"/>
                </a:cubicBezTo>
                <a:cubicBezTo>
                  <a:pt x="448" y="92"/>
                  <a:pt x="448" y="92"/>
                  <a:pt x="448" y="92"/>
                </a:cubicBezTo>
                <a:cubicBezTo>
                  <a:pt x="447" y="92"/>
                  <a:pt x="447" y="92"/>
                  <a:pt x="446" y="91"/>
                </a:cubicBezTo>
                <a:cubicBezTo>
                  <a:pt x="446" y="92"/>
                  <a:pt x="446" y="92"/>
                  <a:pt x="446" y="92"/>
                </a:cubicBezTo>
                <a:cubicBezTo>
                  <a:pt x="445" y="92"/>
                  <a:pt x="445" y="92"/>
                  <a:pt x="445" y="92"/>
                </a:cubicBezTo>
                <a:cubicBezTo>
                  <a:pt x="444" y="92"/>
                  <a:pt x="445" y="92"/>
                  <a:pt x="444" y="92"/>
                </a:cubicBezTo>
                <a:cubicBezTo>
                  <a:pt x="444" y="92"/>
                  <a:pt x="444" y="92"/>
                  <a:pt x="443" y="92"/>
                </a:cubicBezTo>
                <a:cubicBezTo>
                  <a:pt x="443" y="92"/>
                  <a:pt x="443" y="92"/>
                  <a:pt x="443" y="92"/>
                </a:cubicBezTo>
                <a:cubicBezTo>
                  <a:pt x="443" y="93"/>
                  <a:pt x="442" y="92"/>
                  <a:pt x="442" y="93"/>
                </a:cubicBezTo>
                <a:cubicBezTo>
                  <a:pt x="442" y="93"/>
                  <a:pt x="441" y="94"/>
                  <a:pt x="441" y="93"/>
                </a:cubicBezTo>
                <a:cubicBezTo>
                  <a:pt x="441" y="93"/>
                  <a:pt x="440" y="93"/>
                  <a:pt x="440" y="93"/>
                </a:cubicBezTo>
                <a:cubicBezTo>
                  <a:pt x="440" y="93"/>
                  <a:pt x="440" y="93"/>
                  <a:pt x="440" y="92"/>
                </a:cubicBezTo>
                <a:cubicBezTo>
                  <a:pt x="440" y="92"/>
                  <a:pt x="438" y="92"/>
                  <a:pt x="438" y="92"/>
                </a:cubicBezTo>
                <a:cubicBezTo>
                  <a:pt x="437" y="92"/>
                  <a:pt x="437" y="92"/>
                  <a:pt x="436" y="92"/>
                </a:cubicBezTo>
                <a:cubicBezTo>
                  <a:pt x="436" y="93"/>
                  <a:pt x="436" y="93"/>
                  <a:pt x="435" y="93"/>
                </a:cubicBezTo>
                <a:cubicBezTo>
                  <a:pt x="434" y="93"/>
                  <a:pt x="435" y="93"/>
                  <a:pt x="435" y="93"/>
                </a:cubicBezTo>
                <a:cubicBezTo>
                  <a:pt x="434" y="94"/>
                  <a:pt x="434" y="93"/>
                  <a:pt x="433" y="94"/>
                </a:cubicBezTo>
                <a:cubicBezTo>
                  <a:pt x="433" y="94"/>
                  <a:pt x="432" y="95"/>
                  <a:pt x="432" y="95"/>
                </a:cubicBezTo>
                <a:cubicBezTo>
                  <a:pt x="431" y="96"/>
                  <a:pt x="432" y="96"/>
                  <a:pt x="432" y="96"/>
                </a:cubicBezTo>
                <a:cubicBezTo>
                  <a:pt x="432" y="96"/>
                  <a:pt x="431" y="96"/>
                  <a:pt x="431" y="97"/>
                </a:cubicBezTo>
                <a:cubicBezTo>
                  <a:pt x="432" y="98"/>
                  <a:pt x="432" y="98"/>
                  <a:pt x="431" y="99"/>
                </a:cubicBezTo>
                <a:cubicBezTo>
                  <a:pt x="431" y="99"/>
                  <a:pt x="431" y="100"/>
                  <a:pt x="431" y="100"/>
                </a:cubicBezTo>
                <a:cubicBezTo>
                  <a:pt x="430" y="100"/>
                  <a:pt x="431" y="101"/>
                  <a:pt x="431" y="101"/>
                </a:cubicBezTo>
                <a:cubicBezTo>
                  <a:pt x="431" y="102"/>
                  <a:pt x="432" y="103"/>
                  <a:pt x="433" y="104"/>
                </a:cubicBezTo>
                <a:cubicBezTo>
                  <a:pt x="434" y="104"/>
                  <a:pt x="435" y="104"/>
                  <a:pt x="436" y="103"/>
                </a:cubicBezTo>
                <a:cubicBezTo>
                  <a:pt x="437" y="102"/>
                  <a:pt x="437" y="103"/>
                  <a:pt x="438" y="103"/>
                </a:cubicBezTo>
                <a:cubicBezTo>
                  <a:pt x="440" y="103"/>
                  <a:pt x="441" y="103"/>
                  <a:pt x="442" y="103"/>
                </a:cubicBezTo>
                <a:cubicBezTo>
                  <a:pt x="442" y="103"/>
                  <a:pt x="442" y="103"/>
                  <a:pt x="442" y="103"/>
                </a:cubicBezTo>
                <a:cubicBezTo>
                  <a:pt x="443" y="103"/>
                  <a:pt x="443" y="102"/>
                  <a:pt x="443" y="102"/>
                </a:cubicBezTo>
                <a:cubicBezTo>
                  <a:pt x="443" y="102"/>
                  <a:pt x="444" y="102"/>
                  <a:pt x="444" y="102"/>
                </a:cubicBezTo>
                <a:cubicBezTo>
                  <a:pt x="444" y="102"/>
                  <a:pt x="445" y="100"/>
                  <a:pt x="445" y="100"/>
                </a:cubicBezTo>
                <a:cubicBezTo>
                  <a:pt x="446" y="100"/>
                  <a:pt x="447" y="101"/>
                  <a:pt x="447" y="100"/>
                </a:cubicBezTo>
                <a:cubicBezTo>
                  <a:pt x="449" y="99"/>
                  <a:pt x="448" y="100"/>
                  <a:pt x="450" y="100"/>
                </a:cubicBezTo>
                <a:cubicBezTo>
                  <a:pt x="451" y="100"/>
                  <a:pt x="452" y="99"/>
                  <a:pt x="452" y="98"/>
                </a:cubicBezTo>
                <a:cubicBezTo>
                  <a:pt x="452" y="97"/>
                  <a:pt x="451" y="98"/>
                  <a:pt x="451" y="97"/>
                </a:cubicBezTo>
                <a:cubicBezTo>
                  <a:pt x="451" y="96"/>
                  <a:pt x="451" y="97"/>
                  <a:pt x="451" y="96"/>
                </a:cubicBezTo>
                <a:cubicBezTo>
                  <a:pt x="451" y="96"/>
                  <a:pt x="451" y="96"/>
                  <a:pt x="450" y="96"/>
                </a:cubicBezTo>
                <a:cubicBezTo>
                  <a:pt x="450" y="95"/>
                  <a:pt x="450" y="96"/>
                  <a:pt x="450" y="96"/>
                </a:cubicBezTo>
                <a:close/>
                <a:moveTo>
                  <a:pt x="497" y="683"/>
                </a:moveTo>
                <a:cubicBezTo>
                  <a:pt x="496" y="682"/>
                  <a:pt x="495" y="681"/>
                  <a:pt x="495" y="680"/>
                </a:cubicBezTo>
                <a:cubicBezTo>
                  <a:pt x="496" y="680"/>
                  <a:pt x="496" y="680"/>
                  <a:pt x="496" y="681"/>
                </a:cubicBezTo>
                <a:cubicBezTo>
                  <a:pt x="496" y="681"/>
                  <a:pt x="496" y="682"/>
                  <a:pt x="496" y="682"/>
                </a:cubicBezTo>
                <a:cubicBezTo>
                  <a:pt x="496" y="682"/>
                  <a:pt x="497" y="682"/>
                  <a:pt x="497" y="683"/>
                </a:cubicBezTo>
                <a:cubicBezTo>
                  <a:pt x="496" y="683"/>
                  <a:pt x="497" y="683"/>
                  <a:pt x="497" y="683"/>
                </a:cubicBezTo>
                <a:close/>
                <a:moveTo>
                  <a:pt x="488" y="667"/>
                </a:moveTo>
                <a:cubicBezTo>
                  <a:pt x="488" y="667"/>
                  <a:pt x="488" y="667"/>
                  <a:pt x="488" y="667"/>
                </a:cubicBezTo>
                <a:cubicBezTo>
                  <a:pt x="487" y="667"/>
                  <a:pt x="487" y="666"/>
                  <a:pt x="486" y="666"/>
                </a:cubicBezTo>
                <a:cubicBezTo>
                  <a:pt x="486" y="666"/>
                  <a:pt x="485" y="665"/>
                  <a:pt x="485" y="665"/>
                </a:cubicBezTo>
                <a:cubicBezTo>
                  <a:pt x="484" y="664"/>
                  <a:pt x="484" y="664"/>
                  <a:pt x="483" y="665"/>
                </a:cubicBezTo>
                <a:cubicBezTo>
                  <a:pt x="483" y="664"/>
                  <a:pt x="483" y="664"/>
                  <a:pt x="483" y="663"/>
                </a:cubicBezTo>
                <a:cubicBezTo>
                  <a:pt x="483" y="662"/>
                  <a:pt x="483" y="662"/>
                  <a:pt x="484" y="662"/>
                </a:cubicBezTo>
                <a:cubicBezTo>
                  <a:pt x="485" y="661"/>
                  <a:pt x="484" y="662"/>
                  <a:pt x="485" y="662"/>
                </a:cubicBezTo>
                <a:cubicBezTo>
                  <a:pt x="485" y="662"/>
                  <a:pt x="485" y="663"/>
                  <a:pt x="485" y="663"/>
                </a:cubicBezTo>
                <a:cubicBezTo>
                  <a:pt x="486" y="663"/>
                  <a:pt x="485" y="664"/>
                  <a:pt x="485" y="664"/>
                </a:cubicBezTo>
                <a:cubicBezTo>
                  <a:pt x="485" y="665"/>
                  <a:pt x="486" y="665"/>
                  <a:pt x="487" y="665"/>
                </a:cubicBezTo>
                <a:cubicBezTo>
                  <a:pt x="487" y="665"/>
                  <a:pt x="487" y="665"/>
                  <a:pt x="488" y="666"/>
                </a:cubicBezTo>
                <a:cubicBezTo>
                  <a:pt x="488" y="666"/>
                  <a:pt x="488" y="666"/>
                  <a:pt x="488" y="667"/>
                </a:cubicBezTo>
                <a:close/>
                <a:moveTo>
                  <a:pt x="475" y="896"/>
                </a:moveTo>
                <a:cubicBezTo>
                  <a:pt x="474" y="896"/>
                  <a:pt x="474" y="896"/>
                  <a:pt x="474" y="895"/>
                </a:cubicBezTo>
                <a:cubicBezTo>
                  <a:pt x="474" y="895"/>
                  <a:pt x="475" y="895"/>
                  <a:pt x="475" y="894"/>
                </a:cubicBezTo>
                <a:cubicBezTo>
                  <a:pt x="475" y="893"/>
                  <a:pt x="475" y="893"/>
                  <a:pt x="476" y="893"/>
                </a:cubicBezTo>
                <a:cubicBezTo>
                  <a:pt x="476" y="893"/>
                  <a:pt x="475" y="893"/>
                  <a:pt x="476" y="893"/>
                </a:cubicBezTo>
                <a:cubicBezTo>
                  <a:pt x="476" y="893"/>
                  <a:pt x="476" y="893"/>
                  <a:pt x="476" y="893"/>
                </a:cubicBezTo>
                <a:cubicBezTo>
                  <a:pt x="478" y="894"/>
                  <a:pt x="476" y="895"/>
                  <a:pt x="475" y="896"/>
                </a:cubicBezTo>
                <a:close/>
                <a:moveTo>
                  <a:pt x="473" y="891"/>
                </a:moveTo>
                <a:cubicBezTo>
                  <a:pt x="474" y="892"/>
                  <a:pt x="475" y="892"/>
                  <a:pt x="476" y="892"/>
                </a:cubicBezTo>
                <a:cubicBezTo>
                  <a:pt x="475" y="893"/>
                  <a:pt x="473" y="892"/>
                  <a:pt x="473" y="891"/>
                </a:cubicBezTo>
                <a:cubicBezTo>
                  <a:pt x="473" y="892"/>
                  <a:pt x="473" y="891"/>
                  <a:pt x="473" y="891"/>
                </a:cubicBezTo>
                <a:close/>
                <a:moveTo>
                  <a:pt x="470" y="895"/>
                </a:moveTo>
                <a:cubicBezTo>
                  <a:pt x="470" y="894"/>
                  <a:pt x="471" y="893"/>
                  <a:pt x="472" y="893"/>
                </a:cubicBezTo>
                <a:cubicBezTo>
                  <a:pt x="472" y="894"/>
                  <a:pt x="472" y="894"/>
                  <a:pt x="472" y="895"/>
                </a:cubicBezTo>
                <a:cubicBezTo>
                  <a:pt x="471" y="895"/>
                  <a:pt x="471" y="895"/>
                  <a:pt x="470" y="895"/>
                </a:cubicBezTo>
                <a:cubicBezTo>
                  <a:pt x="470" y="894"/>
                  <a:pt x="470" y="895"/>
                  <a:pt x="470" y="895"/>
                </a:cubicBezTo>
                <a:close/>
                <a:moveTo>
                  <a:pt x="414" y="514"/>
                </a:moveTo>
                <a:cubicBezTo>
                  <a:pt x="413" y="514"/>
                  <a:pt x="412" y="513"/>
                  <a:pt x="411" y="513"/>
                </a:cubicBezTo>
                <a:cubicBezTo>
                  <a:pt x="410" y="513"/>
                  <a:pt x="410" y="513"/>
                  <a:pt x="410" y="512"/>
                </a:cubicBezTo>
                <a:cubicBezTo>
                  <a:pt x="409" y="512"/>
                  <a:pt x="409" y="510"/>
                  <a:pt x="408" y="511"/>
                </a:cubicBezTo>
                <a:cubicBezTo>
                  <a:pt x="408" y="510"/>
                  <a:pt x="408" y="509"/>
                  <a:pt x="409" y="508"/>
                </a:cubicBezTo>
                <a:cubicBezTo>
                  <a:pt x="409" y="508"/>
                  <a:pt x="410" y="509"/>
                  <a:pt x="410" y="509"/>
                </a:cubicBezTo>
                <a:cubicBezTo>
                  <a:pt x="411" y="511"/>
                  <a:pt x="412" y="509"/>
                  <a:pt x="412" y="511"/>
                </a:cubicBezTo>
                <a:cubicBezTo>
                  <a:pt x="412" y="511"/>
                  <a:pt x="413" y="512"/>
                  <a:pt x="413" y="512"/>
                </a:cubicBezTo>
                <a:cubicBezTo>
                  <a:pt x="414" y="513"/>
                  <a:pt x="414" y="513"/>
                  <a:pt x="414" y="514"/>
                </a:cubicBezTo>
                <a:cubicBezTo>
                  <a:pt x="412" y="513"/>
                  <a:pt x="414" y="514"/>
                  <a:pt x="414" y="514"/>
                </a:cubicBezTo>
                <a:close/>
                <a:moveTo>
                  <a:pt x="407" y="507"/>
                </a:moveTo>
                <a:cubicBezTo>
                  <a:pt x="406" y="507"/>
                  <a:pt x="405" y="506"/>
                  <a:pt x="405" y="505"/>
                </a:cubicBezTo>
                <a:cubicBezTo>
                  <a:pt x="406" y="505"/>
                  <a:pt x="407" y="505"/>
                  <a:pt x="407" y="506"/>
                </a:cubicBezTo>
                <a:cubicBezTo>
                  <a:pt x="408" y="506"/>
                  <a:pt x="407" y="507"/>
                  <a:pt x="407" y="507"/>
                </a:cubicBezTo>
                <a:cubicBezTo>
                  <a:pt x="406" y="507"/>
                  <a:pt x="407" y="507"/>
                  <a:pt x="407" y="507"/>
                </a:cubicBezTo>
                <a:close/>
                <a:moveTo>
                  <a:pt x="350" y="275"/>
                </a:moveTo>
                <a:cubicBezTo>
                  <a:pt x="349" y="275"/>
                  <a:pt x="349" y="275"/>
                  <a:pt x="348" y="275"/>
                </a:cubicBezTo>
                <a:cubicBezTo>
                  <a:pt x="348" y="275"/>
                  <a:pt x="347" y="272"/>
                  <a:pt x="347" y="271"/>
                </a:cubicBezTo>
                <a:cubicBezTo>
                  <a:pt x="347" y="270"/>
                  <a:pt x="347" y="270"/>
                  <a:pt x="347" y="269"/>
                </a:cubicBezTo>
                <a:cubicBezTo>
                  <a:pt x="346" y="269"/>
                  <a:pt x="346" y="269"/>
                  <a:pt x="346" y="268"/>
                </a:cubicBezTo>
                <a:cubicBezTo>
                  <a:pt x="345" y="268"/>
                  <a:pt x="345" y="268"/>
                  <a:pt x="345" y="267"/>
                </a:cubicBezTo>
                <a:cubicBezTo>
                  <a:pt x="345" y="267"/>
                  <a:pt x="344" y="267"/>
                  <a:pt x="344" y="267"/>
                </a:cubicBezTo>
                <a:cubicBezTo>
                  <a:pt x="343" y="266"/>
                  <a:pt x="343" y="264"/>
                  <a:pt x="344" y="264"/>
                </a:cubicBezTo>
                <a:cubicBezTo>
                  <a:pt x="345" y="263"/>
                  <a:pt x="346" y="265"/>
                  <a:pt x="346" y="266"/>
                </a:cubicBezTo>
                <a:cubicBezTo>
                  <a:pt x="346" y="266"/>
                  <a:pt x="347" y="266"/>
                  <a:pt x="347" y="266"/>
                </a:cubicBezTo>
                <a:cubicBezTo>
                  <a:pt x="347" y="266"/>
                  <a:pt x="347" y="267"/>
                  <a:pt x="348" y="268"/>
                </a:cubicBezTo>
                <a:cubicBezTo>
                  <a:pt x="348" y="269"/>
                  <a:pt x="348" y="269"/>
                  <a:pt x="349" y="269"/>
                </a:cubicBezTo>
                <a:cubicBezTo>
                  <a:pt x="349" y="269"/>
                  <a:pt x="349" y="270"/>
                  <a:pt x="349" y="271"/>
                </a:cubicBezTo>
                <a:cubicBezTo>
                  <a:pt x="349" y="272"/>
                  <a:pt x="350" y="272"/>
                  <a:pt x="351" y="273"/>
                </a:cubicBezTo>
                <a:cubicBezTo>
                  <a:pt x="351" y="274"/>
                  <a:pt x="350" y="274"/>
                  <a:pt x="350" y="275"/>
                </a:cubicBezTo>
                <a:close/>
                <a:moveTo>
                  <a:pt x="343" y="264"/>
                </a:moveTo>
                <a:cubicBezTo>
                  <a:pt x="342" y="264"/>
                  <a:pt x="341" y="264"/>
                  <a:pt x="341" y="264"/>
                </a:cubicBezTo>
                <a:cubicBezTo>
                  <a:pt x="341" y="264"/>
                  <a:pt x="340" y="263"/>
                  <a:pt x="340" y="263"/>
                </a:cubicBezTo>
                <a:cubicBezTo>
                  <a:pt x="340" y="262"/>
                  <a:pt x="340" y="262"/>
                  <a:pt x="340" y="261"/>
                </a:cubicBezTo>
                <a:cubicBezTo>
                  <a:pt x="341" y="260"/>
                  <a:pt x="340" y="260"/>
                  <a:pt x="340" y="259"/>
                </a:cubicBezTo>
                <a:cubicBezTo>
                  <a:pt x="340" y="257"/>
                  <a:pt x="339" y="258"/>
                  <a:pt x="339" y="257"/>
                </a:cubicBezTo>
                <a:cubicBezTo>
                  <a:pt x="338" y="256"/>
                  <a:pt x="338" y="256"/>
                  <a:pt x="337" y="256"/>
                </a:cubicBezTo>
                <a:cubicBezTo>
                  <a:pt x="337" y="256"/>
                  <a:pt x="337" y="256"/>
                  <a:pt x="337" y="255"/>
                </a:cubicBezTo>
                <a:cubicBezTo>
                  <a:pt x="338" y="255"/>
                  <a:pt x="339" y="255"/>
                  <a:pt x="340" y="255"/>
                </a:cubicBezTo>
                <a:cubicBezTo>
                  <a:pt x="340" y="254"/>
                  <a:pt x="339" y="253"/>
                  <a:pt x="340" y="253"/>
                </a:cubicBezTo>
                <a:cubicBezTo>
                  <a:pt x="341" y="254"/>
                  <a:pt x="341" y="255"/>
                  <a:pt x="341" y="255"/>
                </a:cubicBezTo>
                <a:cubicBezTo>
                  <a:pt x="341" y="256"/>
                  <a:pt x="342" y="256"/>
                  <a:pt x="342" y="256"/>
                </a:cubicBezTo>
                <a:cubicBezTo>
                  <a:pt x="343" y="257"/>
                  <a:pt x="343" y="258"/>
                  <a:pt x="343" y="259"/>
                </a:cubicBezTo>
                <a:cubicBezTo>
                  <a:pt x="343" y="260"/>
                  <a:pt x="342" y="262"/>
                  <a:pt x="343" y="264"/>
                </a:cubicBezTo>
                <a:cubicBezTo>
                  <a:pt x="341" y="264"/>
                  <a:pt x="343" y="264"/>
                  <a:pt x="343" y="264"/>
                </a:cubicBezTo>
                <a:close/>
                <a:moveTo>
                  <a:pt x="344" y="253"/>
                </a:moveTo>
                <a:cubicBezTo>
                  <a:pt x="344" y="253"/>
                  <a:pt x="344" y="253"/>
                  <a:pt x="344" y="253"/>
                </a:cubicBezTo>
                <a:cubicBezTo>
                  <a:pt x="345" y="252"/>
                  <a:pt x="345" y="252"/>
                  <a:pt x="345" y="251"/>
                </a:cubicBezTo>
                <a:cubicBezTo>
                  <a:pt x="346" y="251"/>
                  <a:pt x="346" y="249"/>
                  <a:pt x="346" y="249"/>
                </a:cubicBezTo>
                <a:cubicBezTo>
                  <a:pt x="347" y="249"/>
                  <a:pt x="348" y="249"/>
                  <a:pt x="349" y="249"/>
                </a:cubicBezTo>
                <a:cubicBezTo>
                  <a:pt x="349" y="248"/>
                  <a:pt x="349" y="248"/>
                  <a:pt x="349" y="247"/>
                </a:cubicBezTo>
                <a:cubicBezTo>
                  <a:pt x="349" y="247"/>
                  <a:pt x="349" y="246"/>
                  <a:pt x="350" y="246"/>
                </a:cubicBezTo>
                <a:cubicBezTo>
                  <a:pt x="350" y="247"/>
                  <a:pt x="350" y="248"/>
                  <a:pt x="350" y="248"/>
                </a:cubicBezTo>
                <a:cubicBezTo>
                  <a:pt x="350" y="248"/>
                  <a:pt x="351" y="248"/>
                  <a:pt x="351" y="248"/>
                </a:cubicBezTo>
                <a:cubicBezTo>
                  <a:pt x="351" y="249"/>
                  <a:pt x="350" y="250"/>
                  <a:pt x="350" y="251"/>
                </a:cubicBezTo>
                <a:cubicBezTo>
                  <a:pt x="351" y="251"/>
                  <a:pt x="351" y="252"/>
                  <a:pt x="351" y="252"/>
                </a:cubicBezTo>
                <a:cubicBezTo>
                  <a:pt x="351" y="252"/>
                  <a:pt x="351" y="252"/>
                  <a:pt x="351" y="252"/>
                </a:cubicBezTo>
                <a:cubicBezTo>
                  <a:pt x="351" y="253"/>
                  <a:pt x="351" y="254"/>
                  <a:pt x="352" y="254"/>
                </a:cubicBezTo>
                <a:cubicBezTo>
                  <a:pt x="352" y="255"/>
                  <a:pt x="352" y="255"/>
                  <a:pt x="352" y="256"/>
                </a:cubicBezTo>
                <a:cubicBezTo>
                  <a:pt x="352" y="256"/>
                  <a:pt x="353" y="256"/>
                  <a:pt x="353" y="257"/>
                </a:cubicBezTo>
                <a:cubicBezTo>
                  <a:pt x="353" y="257"/>
                  <a:pt x="353" y="257"/>
                  <a:pt x="353" y="257"/>
                </a:cubicBezTo>
                <a:cubicBezTo>
                  <a:pt x="353" y="258"/>
                  <a:pt x="353" y="258"/>
                  <a:pt x="354" y="258"/>
                </a:cubicBezTo>
                <a:cubicBezTo>
                  <a:pt x="354" y="258"/>
                  <a:pt x="354" y="259"/>
                  <a:pt x="354" y="259"/>
                </a:cubicBezTo>
                <a:cubicBezTo>
                  <a:pt x="356" y="260"/>
                  <a:pt x="355" y="260"/>
                  <a:pt x="355" y="261"/>
                </a:cubicBezTo>
                <a:cubicBezTo>
                  <a:pt x="355" y="261"/>
                  <a:pt x="355" y="261"/>
                  <a:pt x="355" y="262"/>
                </a:cubicBezTo>
                <a:cubicBezTo>
                  <a:pt x="355" y="262"/>
                  <a:pt x="355" y="262"/>
                  <a:pt x="356" y="262"/>
                </a:cubicBezTo>
                <a:cubicBezTo>
                  <a:pt x="356" y="262"/>
                  <a:pt x="356" y="263"/>
                  <a:pt x="356" y="264"/>
                </a:cubicBezTo>
                <a:cubicBezTo>
                  <a:pt x="356" y="264"/>
                  <a:pt x="357" y="264"/>
                  <a:pt x="357" y="264"/>
                </a:cubicBezTo>
                <a:cubicBezTo>
                  <a:pt x="357" y="265"/>
                  <a:pt x="357" y="265"/>
                  <a:pt x="358" y="266"/>
                </a:cubicBezTo>
                <a:cubicBezTo>
                  <a:pt x="359" y="266"/>
                  <a:pt x="359" y="266"/>
                  <a:pt x="360" y="266"/>
                </a:cubicBezTo>
                <a:cubicBezTo>
                  <a:pt x="360" y="267"/>
                  <a:pt x="360" y="268"/>
                  <a:pt x="359" y="268"/>
                </a:cubicBezTo>
                <a:cubicBezTo>
                  <a:pt x="359" y="269"/>
                  <a:pt x="359" y="269"/>
                  <a:pt x="359" y="270"/>
                </a:cubicBezTo>
                <a:cubicBezTo>
                  <a:pt x="359" y="271"/>
                  <a:pt x="359" y="270"/>
                  <a:pt x="360" y="270"/>
                </a:cubicBezTo>
                <a:cubicBezTo>
                  <a:pt x="360" y="271"/>
                  <a:pt x="360" y="271"/>
                  <a:pt x="360" y="272"/>
                </a:cubicBezTo>
                <a:cubicBezTo>
                  <a:pt x="360" y="272"/>
                  <a:pt x="360" y="272"/>
                  <a:pt x="360" y="272"/>
                </a:cubicBezTo>
                <a:cubicBezTo>
                  <a:pt x="360" y="272"/>
                  <a:pt x="358" y="272"/>
                  <a:pt x="358" y="272"/>
                </a:cubicBezTo>
                <a:cubicBezTo>
                  <a:pt x="358" y="273"/>
                  <a:pt x="359" y="273"/>
                  <a:pt x="358" y="273"/>
                </a:cubicBezTo>
                <a:cubicBezTo>
                  <a:pt x="356" y="273"/>
                  <a:pt x="357" y="273"/>
                  <a:pt x="356" y="272"/>
                </a:cubicBezTo>
                <a:cubicBezTo>
                  <a:pt x="356" y="271"/>
                  <a:pt x="355" y="269"/>
                  <a:pt x="356" y="269"/>
                </a:cubicBezTo>
                <a:cubicBezTo>
                  <a:pt x="356" y="268"/>
                  <a:pt x="356" y="268"/>
                  <a:pt x="356" y="268"/>
                </a:cubicBezTo>
                <a:cubicBezTo>
                  <a:pt x="356" y="268"/>
                  <a:pt x="356" y="267"/>
                  <a:pt x="356" y="266"/>
                </a:cubicBezTo>
                <a:cubicBezTo>
                  <a:pt x="356" y="266"/>
                  <a:pt x="353" y="266"/>
                  <a:pt x="355" y="266"/>
                </a:cubicBezTo>
                <a:cubicBezTo>
                  <a:pt x="355" y="265"/>
                  <a:pt x="355" y="264"/>
                  <a:pt x="354" y="264"/>
                </a:cubicBezTo>
                <a:cubicBezTo>
                  <a:pt x="352" y="264"/>
                  <a:pt x="352" y="264"/>
                  <a:pt x="352" y="262"/>
                </a:cubicBezTo>
                <a:cubicBezTo>
                  <a:pt x="352" y="262"/>
                  <a:pt x="353" y="262"/>
                  <a:pt x="353" y="261"/>
                </a:cubicBezTo>
                <a:cubicBezTo>
                  <a:pt x="352" y="261"/>
                  <a:pt x="352" y="261"/>
                  <a:pt x="352" y="260"/>
                </a:cubicBezTo>
                <a:cubicBezTo>
                  <a:pt x="351" y="260"/>
                  <a:pt x="351" y="261"/>
                  <a:pt x="350" y="260"/>
                </a:cubicBezTo>
                <a:cubicBezTo>
                  <a:pt x="349" y="259"/>
                  <a:pt x="349" y="259"/>
                  <a:pt x="348" y="258"/>
                </a:cubicBezTo>
                <a:cubicBezTo>
                  <a:pt x="347" y="258"/>
                  <a:pt x="345" y="257"/>
                  <a:pt x="346" y="256"/>
                </a:cubicBezTo>
                <a:cubicBezTo>
                  <a:pt x="346" y="255"/>
                  <a:pt x="347" y="255"/>
                  <a:pt x="347" y="255"/>
                </a:cubicBezTo>
                <a:cubicBezTo>
                  <a:pt x="347" y="255"/>
                  <a:pt x="345" y="255"/>
                  <a:pt x="345" y="255"/>
                </a:cubicBezTo>
                <a:cubicBezTo>
                  <a:pt x="345" y="255"/>
                  <a:pt x="344" y="253"/>
                  <a:pt x="344" y="253"/>
                </a:cubicBezTo>
                <a:close/>
                <a:moveTo>
                  <a:pt x="333" y="222"/>
                </a:moveTo>
                <a:cubicBezTo>
                  <a:pt x="332" y="222"/>
                  <a:pt x="333" y="222"/>
                  <a:pt x="333" y="223"/>
                </a:cubicBezTo>
                <a:cubicBezTo>
                  <a:pt x="332" y="224"/>
                  <a:pt x="331" y="223"/>
                  <a:pt x="332" y="225"/>
                </a:cubicBezTo>
                <a:cubicBezTo>
                  <a:pt x="332" y="225"/>
                  <a:pt x="333" y="225"/>
                  <a:pt x="332" y="226"/>
                </a:cubicBezTo>
                <a:cubicBezTo>
                  <a:pt x="332" y="226"/>
                  <a:pt x="331" y="226"/>
                  <a:pt x="331" y="227"/>
                </a:cubicBezTo>
                <a:cubicBezTo>
                  <a:pt x="331" y="227"/>
                  <a:pt x="332" y="228"/>
                  <a:pt x="331" y="228"/>
                </a:cubicBezTo>
                <a:cubicBezTo>
                  <a:pt x="330" y="228"/>
                  <a:pt x="331" y="230"/>
                  <a:pt x="330" y="230"/>
                </a:cubicBezTo>
                <a:cubicBezTo>
                  <a:pt x="330" y="231"/>
                  <a:pt x="329" y="231"/>
                  <a:pt x="328" y="231"/>
                </a:cubicBezTo>
                <a:cubicBezTo>
                  <a:pt x="328" y="231"/>
                  <a:pt x="328" y="230"/>
                  <a:pt x="328" y="230"/>
                </a:cubicBezTo>
                <a:cubicBezTo>
                  <a:pt x="328" y="230"/>
                  <a:pt x="328" y="228"/>
                  <a:pt x="328" y="228"/>
                </a:cubicBezTo>
                <a:cubicBezTo>
                  <a:pt x="328" y="226"/>
                  <a:pt x="327" y="226"/>
                  <a:pt x="327" y="225"/>
                </a:cubicBezTo>
                <a:cubicBezTo>
                  <a:pt x="328" y="225"/>
                  <a:pt x="328" y="225"/>
                  <a:pt x="328" y="225"/>
                </a:cubicBezTo>
                <a:cubicBezTo>
                  <a:pt x="328" y="224"/>
                  <a:pt x="328" y="224"/>
                  <a:pt x="329" y="223"/>
                </a:cubicBezTo>
                <a:cubicBezTo>
                  <a:pt x="329" y="223"/>
                  <a:pt x="329" y="223"/>
                  <a:pt x="329" y="222"/>
                </a:cubicBezTo>
                <a:cubicBezTo>
                  <a:pt x="329" y="221"/>
                  <a:pt x="330" y="222"/>
                  <a:pt x="330" y="221"/>
                </a:cubicBezTo>
                <a:cubicBezTo>
                  <a:pt x="330" y="220"/>
                  <a:pt x="331" y="220"/>
                  <a:pt x="332" y="220"/>
                </a:cubicBezTo>
                <a:cubicBezTo>
                  <a:pt x="332" y="221"/>
                  <a:pt x="332" y="221"/>
                  <a:pt x="334" y="221"/>
                </a:cubicBezTo>
                <a:cubicBezTo>
                  <a:pt x="333" y="221"/>
                  <a:pt x="333" y="222"/>
                  <a:pt x="333" y="222"/>
                </a:cubicBezTo>
                <a:close/>
                <a:moveTo>
                  <a:pt x="326" y="233"/>
                </a:moveTo>
                <a:cubicBezTo>
                  <a:pt x="326" y="234"/>
                  <a:pt x="325" y="233"/>
                  <a:pt x="325" y="233"/>
                </a:cubicBezTo>
                <a:cubicBezTo>
                  <a:pt x="325" y="233"/>
                  <a:pt x="325" y="232"/>
                  <a:pt x="325" y="232"/>
                </a:cubicBezTo>
                <a:cubicBezTo>
                  <a:pt x="325" y="232"/>
                  <a:pt x="325" y="232"/>
                  <a:pt x="325" y="232"/>
                </a:cubicBezTo>
                <a:cubicBezTo>
                  <a:pt x="326" y="232"/>
                  <a:pt x="326" y="232"/>
                  <a:pt x="327" y="232"/>
                </a:cubicBezTo>
                <a:cubicBezTo>
                  <a:pt x="326" y="232"/>
                  <a:pt x="326" y="233"/>
                  <a:pt x="326" y="233"/>
                </a:cubicBezTo>
                <a:close/>
                <a:moveTo>
                  <a:pt x="327" y="216"/>
                </a:moveTo>
                <a:cubicBezTo>
                  <a:pt x="328" y="217"/>
                  <a:pt x="328" y="217"/>
                  <a:pt x="328" y="218"/>
                </a:cubicBezTo>
                <a:cubicBezTo>
                  <a:pt x="327" y="219"/>
                  <a:pt x="327" y="221"/>
                  <a:pt x="326" y="219"/>
                </a:cubicBezTo>
                <a:cubicBezTo>
                  <a:pt x="326" y="219"/>
                  <a:pt x="325" y="218"/>
                  <a:pt x="325" y="218"/>
                </a:cubicBezTo>
                <a:cubicBezTo>
                  <a:pt x="325" y="217"/>
                  <a:pt x="327" y="217"/>
                  <a:pt x="327" y="216"/>
                </a:cubicBezTo>
                <a:cubicBezTo>
                  <a:pt x="327" y="216"/>
                  <a:pt x="327" y="216"/>
                  <a:pt x="327" y="216"/>
                </a:cubicBezTo>
                <a:close/>
                <a:moveTo>
                  <a:pt x="306" y="208"/>
                </a:moveTo>
                <a:cubicBezTo>
                  <a:pt x="306" y="207"/>
                  <a:pt x="305" y="208"/>
                  <a:pt x="304" y="208"/>
                </a:cubicBezTo>
                <a:cubicBezTo>
                  <a:pt x="303" y="210"/>
                  <a:pt x="303" y="209"/>
                  <a:pt x="302" y="210"/>
                </a:cubicBezTo>
                <a:cubicBezTo>
                  <a:pt x="301" y="210"/>
                  <a:pt x="300" y="210"/>
                  <a:pt x="300" y="211"/>
                </a:cubicBezTo>
                <a:cubicBezTo>
                  <a:pt x="299" y="211"/>
                  <a:pt x="299" y="212"/>
                  <a:pt x="298" y="212"/>
                </a:cubicBezTo>
                <a:cubicBezTo>
                  <a:pt x="298" y="212"/>
                  <a:pt x="298" y="212"/>
                  <a:pt x="298" y="212"/>
                </a:cubicBezTo>
                <a:cubicBezTo>
                  <a:pt x="297" y="212"/>
                  <a:pt x="297" y="213"/>
                  <a:pt x="296" y="213"/>
                </a:cubicBezTo>
                <a:cubicBezTo>
                  <a:pt x="296" y="213"/>
                  <a:pt x="295" y="214"/>
                  <a:pt x="294" y="214"/>
                </a:cubicBezTo>
                <a:cubicBezTo>
                  <a:pt x="293" y="215"/>
                  <a:pt x="293" y="216"/>
                  <a:pt x="292" y="216"/>
                </a:cubicBezTo>
                <a:cubicBezTo>
                  <a:pt x="292" y="217"/>
                  <a:pt x="292" y="218"/>
                  <a:pt x="292" y="218"/>
                </a:cubicBezTo>
                <a:cubicBezTo>
                  <a:pt x="291" y="218"/>
                  <a:pt x="290" y="218"/>
                  <a:pt x="289" y="218"/>
                </a:cubicBezTo>
                <a:cubicBezTo>
                  <a:pt x="289" y="218"/>
                  <a:pt x="289" y="217"/>
                  <a:pt x="288" y="217"/>
                </a:cubicBezTo>
                <a:cubicBezTo>
                  <a:pt x="288" y="217"/>
                  <a:pt x="288" y="216"/>
                  <a:pt x="288" y="216"/>
                </a:cubicBezTo>
                <a:cubicBezTo>
                  <a:pt x="288" y="216"/>
                  <a:pt x="290" y="215"/>
                  <a:pt x="290" y="215"/>
                </a:cubicBezTo>
                <a:cubicBezTo>
                  <a:pt x="291" y="213"/>
                  <a:pt x="291" y="213"/>
                  <a:pt x="293" y="212"/>
                </a:cubicBezTo>
                <a:cubicBezTo>
                  <a:pt x="293" y="212"/>
                  <a:pt x="295" y="210"/>
                  <a:pt x="295" y="210"/>
                </a:cubicBezTo>
                <a:cubicBezTo>
                  <a:pt x="295" y="208"/>
                  <a:pt x="296" y="208"/>
                  <a:pt x="297" y="207"/>
                </a:cubicBezTo>
                <a:cubicBezTo>
                  <a:pt x="298" y="207"/>
                  <a:pt x="299" y="207"/>
                  <a:pt x="300" y="208"/>
                </a:cubicBezTo>
                <a:cubicBezTo>
                  <a:pt x="300" y="208"/>
                  <a:pt x="300" y="209"/>
                  <a:pt x="300" y="208"/>
                </a:cubicBezTo>
                <a:cubicBezTo>
                  <a:pt x="300" y="208"/>
                  <a:pt x="300" y="208"/>
                  <a:pt x="301" y="208"/>
                </a:cubicBezTo>
                <a:cubicBezTo>
                  <a:pt x="301" y="208"/>
                  <a:pt x="302" y="208"/>
                  <a:pt x="302" y="208"/>
                </a:cubicBezTo>
                <a:cubicBezTo>
                  <a:pt x="302" y="208"/>
                  <a:pt x="302" y="207"/>
                  <a:pt x="303" y="207"/>
                </a:cubicBezTo>
                <a:cubicBezTo>
                  <a:pt x="303" y="207"/>
                  <a:pt x="305" y="207"/>
                  <a:pt x="305" y="208"/>
                </a:cubicBezTo>
                <a:cubicBezTo>
                  <a:pt x="305" y="208"/>
                  <a:pt x="306" y="207"/>
                  <a:pt x="307" y="208"/>
                </a:cubicBezTo>
                <a:cubicBezTo>
                  <a:pt x="308" y="208"/>
                  <a:pt x="309" y="208"/>
                  <a:pt x="309" y="208"/>
                </a:cubicBezTo>
                <a:cubicBezTo>
                  <a:pt x="309" y="209"/>
                  <a:pt x="307" y="209"/>
                  <a:pt x="306" y="208"/>
                </a:cubicBezTo>
                <a:close/>
                <a:moveTo>
                  <a:pt x="287" y="188"/>
                </a:moveTo>
                <a:cubicBezTo>
                  <a:pt x="287" y="189"/>
                  <a:pt x="287" y="189"/>
                  <a:pt x="286" y="190"/>
                </a:cubicBezTo>
                <a:cubicBezTo>
                  <a:pt x="286" y="190"/>
                  <a:pt x="286" y="190"/>
                  <a:pt x="285" y="190"/>
                </a:cubicBezTo>
                <a:cubicBezTo>
                  <a:pt x="285" y="190"/>
                  <a:pt x="284" y="191"/>
                  <a:pt x="284" y="191"/>
                </a:cubicBezTo>
                <a:cubicBezTo>
                  <a:pt x="284" y="192"/>
                  <a:pt x="283" y="191"/>
                  <a:pt x="283" y="192"/>
                </a:cubicBezTo>
                <a:cubicBezTo>
                  <a:pt x="283" y="192"/>
                  <a:pt x="284" y="192"/>
                  <a:pt x="283" y="192"/>
                </a:cubicBezTo>
                <a:cubicBezTo>
                  <a:pt x="283" y="193"/>
                  <a:pt x="281" y="194"/>
                  <a:pt x="281" y="194"/>
                </a:cubicBezTo>
                <a:cubicBezTo>
                  <a:pt x="280" y="194"/>
                  <a:pt x="280" y="193"/>
                  <a:pt x="279" y="193"/>
                </a:cubicBezTo>
                <a:cubicBezTo>
                  <a:pt x="278" y="193"/>
                  <a:pt x="277" y="193"/>
                  <a:pt x="277" y="194"/>
                </a:cubicBezTo>
                <a:cubicBezTo>
                  <a:pt x="277" y="194"/>
                  <a:pt x="276" y="195"/>
                  <a:pt x="276" y="195"/>
                </a:cubicBezTo>
                <a:cubicBezTo>
                  <a:pt x="276" y="196"/>
                  <a:pt x="274" y="196"/>
                  <a:pt x="274" y="197"/>
                </a:cubicBezTo>
                <a:cubicBezTo>
                  <a:pt x="274" y="197"/>
                  <a:pt x="273" y="196"/>
                  <a:pt x="272" y="197"/>
                </a:cubicBezTo>
                <a:cubicBezTo>
                  <a:pt x="272" y="197"/>
                  <a:pt x="272" y="197"/>
                  <a:pt x="272" y="197"/>
                </a:cubicBezTo>
                <a:cubicBezTo>
                  <a:pt x="271" y="197"/>
                  <a:pt x="270" y="197"/>
                  <a:pt x="270" y="197"/>
                </a:cubicBezTo>
                <a:cubicBezTo>
                  <a:pt x="269" y="197"/>
                  <a:pt x="269" y="197"/>
                  <a:pt x="268" y="197"/>
                </a:cubicBezTo>
                <a:cubicBezTo>
                  <a:pt x="268" y="197"/>
                  <a:pt x="266" y="198"/>
                  <a:pt x="266" y="198"/>
                </a:cubicBezTo>
                <a:cubicBezTo>
                  <a:pt x="266" y="198"/>
                  <a:pt x="266" y="197"/>
                  <a:pt x="265" y="197"/>
                </a:cubicBezTo>
                <a:cubicBezTo>
                  <a:pt x="264" y="197"/>
                  <a:pt x="265" y="197"/>
                  <a:pt x="264" y="196"/>
                </a:cubicBezTo>
                <a:cubicBezTo>
                  <a:pt x="264" y="195"/>
                  <a:pt x="264" y="195"/>
                  <a:pt x="263" y="195"/>
                </a:cubicBezTo>
                <a:cubicBezTo>
                  <a:pt x="263" y="195"/>
                  <a:pt x="262" y="195"/>
                  <a:pt x="262" y="195"/>
                </a:cubicBezTo>
                <a:cubicBezTo>
                  <a:pt x="262" y="195"/>
                  <a:pt x="260" y="194"/>
                  <a:pt x="260" y="194"/>
                </a:cubicBezTo>
                <a:cubicBezTo>
                  <a:pt x="260" y="194"/>
                  <a:pt x="259" y="193"/>
                  <a:pt x="259" y="193"/>
                </a:cubicBezTo>
                <a:cubicBezTo>
                  <a:pt x="258" y="193"/>
                  <a:pt x="258" y="193"/>
                  <a:pt x="258" y="192"/>
                </a:cubicBezTo>
                <a:cubicBezTo>
                  <a:pt x="259" y="192"/>
                  <a:pt x="259" y="192"/>
                  <a:pt x="260" y="192"/>
                </a:cubicBezTo>
                <a:cubicBezTo>
                  <a:pt x="260" y="193"/>
                  <a:pt x="260" y="193"/>
                  <a:pt x="260" y="193"/>
                </a:cubicBezTo>
                <a:cubicBezTo>
                  <a:pt x="261" y="193"/>
                  <a:pt x="262" y="192"/>
                  <a:pt x="262" y="193"/>
                </a:cubicBezTo>
                <a:cubicBezTo>
                  <a:pt x="264" y="193"/>
                  <a:pt x="266" y="191"/>
                  <a:pt x="268" y="190"/>
                </a:cubicBezTo>
                <a:cubicBezTo>
                  <a:pt x="269" y="190"/>
                  <a:pt x="269" y="189"/>
                  <a:pt x="270" y="189"/>
                </a:cubicBezTo>
                <a:cubicBezTo>
                  <a:pt x="271" y="189"/>
                  <a:pt x="272" y="189"/>
                  <a:pt x="272" y="189"/>
                </a:cubicBezTo>
                <a:cubicBezTo>
                  <a:pt x="273" y="188"/>
                  <a:pt x="273" y="188"/>
                  <a:pt x="272" y="187"/>
                </a:cubicBezTo>
                <a:cubicBezTo>
                  <a:pt x="272" y="187"/>
                  <a:pt x="272" y="187"/>
                  <a:pt x="271" y="187"/>
                </a:cubicBezTo>
                <a:cubicBezTo>
                  <a:pt x="271" y="186"/>
                  <a:pt x="270" y="186"/>
                  <a:pt x="270" y="185"/>
                </a:cubicBezTo>
                <a:cubicBezTo>
                  <a:pt x="270" y="185"/>
                  <a:pt x="270" y="184"/>
                  <a:pt x="270" y="184"/>
                </a:cubicBezTo>
                <a:cubicBezTo>
                  <a:pt x="269" y="184"/>
                  <a:pt x="270" y="184"/>
                  <a:pt x="270" y="184"/>
                </a:cubicBezTo>
                <a:cubicBezTo>
                  <a:pt x="269" y="183"/>
                  <a:pt x="269" y="184"/>
                  <a:pt x="269" y="183"/>
                </a:cubicBezTo>
                <a:cubicBezTo>
                  <a:pt x="269" y="183"/>
                  <a:pt x="269" y="183"/>
                  <a:pt x="269" y="182"/>
                </a:cubicBezTo>
                <a:cubicBezTo>
                  <a:pt x="269" y="182"/>
                  <a:pt x="268" y="181"/>
                  <a:pt x="267" y="180"/>
                </a:cubicBezTo>
                <a:cubicBezTo>
                  <a:pt x="268" y="180"/>
                  <a:pt x="268" y="180"/>
                  <a:pt x="269" y="180"/>
                </a:cubicBezTo>
                <a:cubicBezTo>
                  <a:pt x="269" y="180"/>
                  <a:pt x="269" y="181"/>
                  <a:pt x="270" y="181"/>
                </a:cubicBezTo>
                <a:cubicBezTo>
                  <a:pt x="270" y="181"/>
                  <a:pt x="270" y="181"/>
                  <a:pt x="271" y="181"/>
                </a:cubicBezTo>
                <a:cubicBezTo>
                  <a:pt x="271" y="181"/>
                  <a:pt x="271" y="181"/>
                  <a:pt x="272" y="181"/>
                </a:cubicBezTo>
                <a:cubicBezTo>
                  <a:pt x="272" y="182"/>
                  <a:pt x="271" y="182"/>
                  <a:pt x="272" y="182"/>
                </a:cubicBezTo>
                <a:cubicBezTo>
                  <a:pt x="274" y="182"/>
                  <a:pt x="274" y="182"/>
                  <a:pt x="274" y="183"/>
                </a:cubicBezTo>
                <a:cubicBezTo>
                  <a:pt x="273" y="183"/>
                  <a:pt x="273" y="185"/>
                  <a:pt x="274" y="185"/>
                </a:cubicBezTo>
                <a:cubicBezTo>
                  <a:pt x="274" y="185"/>
                  <a:pt x="274" y="186"/>
                  <a:pt x="274" y="186"/>
                </a:cubicBezTo>
                <a:cubicBezTo>
                  <a:pt x="275" y="187"/>
                  <a:pt x="275" y="187"/>
                  <a:pt x="276" y="187"/>
                </a:cubicBezTo>
                <a:cubicBezTo>
                  <a:pt x="278" y="187"/>
                  <a:pt x="280" y="187"/>
                  <a:pt x="282" y="187"/>
                </a:cubicBezTo>
                <a:cubicBezTo>
                  <a:pt x="283" y="187"/>
                  <a:pt x="283" y="187"/>
                  <a:pt x="284" y="186"/>
                </a:cubicBezTo>
                <a:cubicBezTo>
                  <a:pt x="285" y="186"/>
                  <a:pt x="285" y="186"/>
                  <a:pt x="286" y="185"/>
                </a:cubicBezTo>
                <a:cubicBezTo>
                  <a:pt x="286" y="185"/>
                  <a:pt x="286" y="185"/>
                  <a:pt x="286" y="185"/>
                </a:cubicBezTo>
                <a:cubicBezTo>
                  <a:pt x="286" y="184"/>
                  <a:pt x="286" y="184"/>
                  <a:pt x="287" y="184"/>
                </a:cubicBezTo>
                <a:cubicBezTo>
                  <a:pt x="288" y="183"/>
                  <a:pt x="289" y="183"/>
                  <a:pt x="290" y="182"/>
                </a:cubicBezTo>
                <a:cubicBezTo>
                  <a:pt x="290" y="181"/>
                  <a:pt x="291" y="181"/>
                  <a:pt x="291" y="181"/>
                </a:cubicBezTo>
                <a:cubicBezTo>
                  <a:pt x="292" y="181"/>
                  <a:pt x="291" y="180"/>
                  <a:pt x="292" y="180"/>
                </a:cubicBezTo>
                <a:cubicBezTo>
                  <a:pt x="292" y="180"/>
                  <a:pt x="293" y="180"/>
                  <a:pt x="293" y="180"/>
                </a:cubicBezTo>
                <a:cubicBezTo>
                  <a:pt x="294" y="180"/>
                  <a:pt x="293" y="180"/>
                  <a:pt x="294" y="180"/>
                </a:cubicBezTo>
                <a:cubicBezTo>
                  <a:pt x="295" y="180"/>
                  <a:pt x="298" y="180"/>
                  <a:pt x="298" y="181"/>
                </a:cubicBezTo>
                <a:cubicBezTo>
                  <a:pt x="297" y="181"/>
                  <a:pt x="296" y="181"/>
                  <a:pt x="295" y="180"/>
                </a:cubicBezTo>
                <a:cubicBezTo>
                  <a:pt x="295" y="181"/>
                  <a:pt x="296" y="182"/>
                  <a:pt x="296" y="182"/>
                </a:cubicBezTo>
                <a:cubicBezTo>
                  <a:pt x="295" y="182"/>
                  <a:pt x="294" y="182"/>
                  <a:pt x="294" y="184"/>
                </a:cubicBezTo>
                <a:cubicBezTo>
                  <a:pt x="294" y="184"/>
                  <a:pt x="294" y="184"/>
                  <a:pt x="293" y="184"/>
                </a:cubicBezTo>
                <a:cubicBezTo>
                  <a:pt x="293" y="184"/>
                  <a:pt x="292" y="184"/>
                  <a:pt x="292" y="185"/>
                </a:cubicBezTo>
                <a:cubicBezTo>
                  <a:pt x="292" y="185"/>
                  <a:pt x="292" y="185"/>
                  <a:pt x="291" y="186"/>
                </a:cubicBezTo>
                <a:cubicBezTo>
                  <a:pt x="291" y="186"/>
                  <a:pt x="290" y="187"/>
                  <a:pt x="290" y="187"/>
                </a:cubicBezTo>
                <a:cubicBezTo>
                  <a:pt x="289" y="187"/>
                  <a:pt x="289" y="187"/>
                  <a:pt x="289" y="187"/>
                </a:cubicBezTo>
                <a:cubicBezTo>
                  <a:pt x="288" y="187"/>
                  <a:pt x="288" y="187"/>
                  <a:pt x="288" y="188"/>
                </a:cubicBezTo>
                <a:cubicBezTo>
                  <a:pt x="287" y="188"/>
                  <a:pt x="287" y="188"/>
                  <a:pt x="287" y="188"/>
                </a:cubicBezTo>
                <a:close/>
                <a:moveTo>
                  <a:pt x="283" y="336"/>
                </a:moveTo>
                <a:cubicBezTo>
                  <a:pt x="282" y="336"/>
                  <a:pt x="281" y="334"/>
                  <a:pt x="280" y="333"/>
                </a:cubicBezTo>
                <a:cubicBezTo>
                  <a:pt x="280" y="333"/>
                  <a:pt x="279" y="333"/>
                  <a:pt x="280" y="332"/>
                </a:cubicBezTo>
                <a:cubicBezTo>
                  <a:pt x="280" y="331"/>
                  <a:pt x="280" y="330"/>
                  <a:pt x="280" y="330"/>
                </a:cubicBezTo>
                <a:cubicBezTo>
                  <a:pt x="281" y="330"/>
                  <a:pt x="280" y="332"/>
                  <a:pt x="281" y="332"/>
                </a:cubicBezTo>
                <a:cubicBezTo>
                  <a:pt x="282" y="332"/>
                  <a:pt x="282" y="332"/>
                  <a:pt x="282" y="332"/>
                </a:cubicBezTo>
                <a:cubicBezTo>
                  <a:pt x="283" y="332"/>
                  <a:pt x="283" y="331"/>
                  <a:pt x="283" y="331"/>
                </a:cubicBezTo>
                <a:cubicBezTo>
                  <a:pt x="283" y="332"/>
                  <a:pt x="283" y="333"/>
                  <a:pt x="284" y="333"/>
                </a:cubicBezTo>
                <a:cubicBezTo>
                  <a:pt x="285" y="334"/>
                  <a:pt x="284" y="335"/>
                  <a:pt x="283" y="336"/>
                </a:cubicBezTo>
                <a:close/>
                <a:moveTo>
                  <a:pt x="257" y="163"/>
                </a:moveTo>
                <a:cubicBezTo>
                  <a:pt x="256" y="165"/>
                  <a:pt x="254" y="164"/>
                  <a:pt x="252" y="164"/>
                </a:cubicBezTo>
                <a:cubicBezTo>
                  <a:pt x="252" y="164"/>
                  <a:pt x="252" y="164"/>
                  <a:pt x="252" y="164"/>
                </a:cubicBezTo>
                <a:cubicBezTo>
                  <a:pt x="251" y="163"/>
                  <a:pt x="251" y="163"/>
                  <a:pt x="250" y="163"/>
                </a:cubicBezTo>
                <a:cubicBezTo>
                  <a:pt x="250" y="163"/>
                  <a:pt x="249" y="164"/>
                  <a:pt x="249" y="164"/>
                </a:cubicBezTo>
                <a:cubicBezTo>
                  <a:pt x="249" y="165"/>
                  <a:pt x="249" y="165"/>
                  <a:pt x="251" y="166"/>
                </a:cubicBezTo>
                <a:cubicBezTo>
                  <a:pt x="251" y="166"/>
                  <a:pt x="252" y="167"/>
                  <a:pt x="253" y="167"/>
                </a:cubicBezTo>
                <a:cubicBezTo>
                  <a:pt x="254" y="167"/>
                  <a:pt x="253" y="167"/>
                  <a:pt x="253" y="168"/>
                </a:cubicBezTo>
                <a:cubicBezTo>
                  <a:pt x="253" y="168"/>
                  <a:pt x="253" y="167"/>
                  <a:pt x="252" y="167"/>
                </a:cubicBezTo>
                <a:cubicBezTo>
                  <a:pt x="251" y="167"/>
                  <a:pt x="251" y="167"/>
                  <a:pt x="251" y="167"/>
                </a:cubicBezTo>
                <a:cubicBezTo>
                  <a:pt x="249" y="167"/>
                  <a:pt x="247" y="168"/>
                  <a:pt x="245" y="168"/>
                </a:cubicBezTo>
                <a:cubicBezTo>
                  <a:pt x="245" y="168"/>
                  <a:pt x="244" y="168"/>
                  <a:pt x="244" y="169"/>
                </a:cubicBezTo>
                <a:cubicBezTo>
                  <a:pt x="244" y="169"/>
                  <a:pt x="244" y="169"/>
                  <a:pt x="243" y="169"/>
                </a:cubicBezTo>
                <a:cubicBezTo>
                  <a:pt x="242" y="170"/>
                  <a:pt x="242" y="170"/>
                  <a:pt x="242" y="171"/>
                </a:cubicBezTo>
                <a:cubicBezTo>
                  <a:pt x="242" y="171"/>
                  <a:pt x="241" y="171"/>
                  <a:pt x="241" y="171"/>
                </a:cubicBezTo>
                <a:cubicBezTo>
                  <a:pt x="241" y="170"/>
                  <a:pt x="241" y="170"/>
                  <a:pt x="241" y="169"/>
                </a:cubicBezTo>
                <a:cubicBezTo>
                  <a:pt x="241" y="169"/>
                  <a:pt x="242" y="169"/>
                  <a:pt x="242" y="169"/>
                </a:cubicBezTo>
                <a:cubicBezTo>
                  <a:pt x="242" y="169"/>
                  <a:pt x="243" y="169"/>
                  <a:pt x="243" y="168"/>
                </a:cubicBezTo>
                <a:cubicBezTo>
                  <a:pt x="243" y="168"/>
                  <a:pt x="244" y="168"/>
                  <a:pt x="244" y="167"/>
                </a:cubicBezTo>
                <a:cubicBezTo>
                  <a:pt x="245" y="167"/>
                  <a:pt x="248" y="166"/>
                  <a:pt x="248" y="166"/>
                </a:cubicBezTo>
                <a:cubicBezTo>
                  <a:pt x="248" y="165"/>
                  <a:pt x="246" y="165"/>
                  <a:pt x="245" y="165"/>
                </a:cubicBezTo>
                <a:cubicBezTo>
                  <a:pt x="245" y="165"/>
                  <a:pt x="244" y="165"/>
                  <a:pt x="243" y="165"/>
                </a:cubicBezTo>
                <a:cubicBezTo>
                  <a:pt x="243" y="165"/>
                  <a:pt x="243" y="165"/>
                  <a:pt x="243" y="165"/>
                </a:cubicBezTo>
                <a:cubicBezTo>
                  <a:pt x="242" y="166"/>
                  <a:pt x="241" y="166"/>
                  <a:pt x="241" y="167"/>
                </a:cubicBezTo>
                <a:cubicBezTo>
                  <a:pt x="241" y="167"/>
                  <a:pt x="241" y="167"/>
                  <a:pt x="240" y="168"/>
                </a:cubicBezTo>
                <a:cubicBezTo>
                  <a:pt x="240" y="168"/>
                  <a:pt x="240" y="169"/>
                  <a:pt x="240" y="169"/>
                </a:cubicBezTo>
                <a:cubicBezTo>
                  <a:pt x="240" y="170"/>
                  <a:pt x="239" y="170"/>
                  <a:pt x="239" y="170"/>
                </a:cubicBezTo>
                <a:cubicBezTo>
                  <a:pt x="238" y="170"/>
                  <a:pt x="237" y="170"/>
                  <a:pt x="235" y="169"/>
                </a:cubicBezTo>
                <a:cubicBezTo>
                  <a:pt x="234" y="169"/>
                  <a:pt x="234" y="169"/>
                  <a:pt x="234" y="168"/>
                </a:cubicBezTo>
                <a:cubicBezTo>
                  <a:pt x="233" y="168"/>
                  <a:pt x="232" y="168"/>
                  <a:pt x="233" y="167"/>
                </a:cubicBezTo>
                <a:cubicBezTo>
                  <a:pt x="233" y="167"/>
                  <a:pt x="233" y="167"/>
                  <a:pt x="234" y="167"/>
                </a:cubicBezTo>
                <a:cubicBezTo>
                  <a:pt x="234" y="165"/>
                  <a:pt x="233" y="165"/>
                  <a:pt x="234" y="164"/>
                </a:cubicBezTo>
                <a:cubicBezTo>
                  <a:pt x="234" y="164"/>
                  <a:pt x="236" y="163"/>
                  <a:pt x="236" y="163"/>
                </a:cubicBezTo>
                <a:cubicBezTo>
                  <a:pt x="236" y="162"/>
                  <a:pt x="236" y="162"/>
                  <a:pt x="236" y="161"/>
                </a:cubicBezTo>
                <a:cubicBezTo>
                  <a:pt x="235" y="161"/>
                  <a:pt x="234" y="160"/>
                  <a:pt x="234" y="159"/>
                </a:cubicBezTo>
                <a:cubicBezTo>
                  <a:pt x="236" y="159"/>
                  <a:pt x="238" y="160"/>
                  <a:pt x="240" y="160"/>
                </a:cubicBezTo>
                <a:cubicBezTo>
                  <a:pt x="240" y="160"/>
                  <a:pt x="240" y="159"/>
                  <a:pt x="240" y="159"/>
                </a:cubicBezTo>
                <a:cubicBezTo>
                  <a:pt x="240" y="158"/>
                  <a:pt x="239" y="160"/>
                  <a:pt x="239" y="158"/>
                </a:cubicBezTo>
                <a:cubicBezTo>
                  <a:pt x="238" y="157"/>
                  <a:pt x="238" y="157"/>
                  <a:pt x="236" y="157"/>
                </a:cubicBezTo>
                <a:cubicBezTo>
                  <a:pt x="236" y="157"/>
                  <a:pt x="235" y="157"/>
                  <a:pt x="234" y="157"/>
                </a:cubicBezTo>
                <a:cubicBezTo>
                  <a:pt x="234" y="157"/>
                  <a:pt x="234" y="156"/>
                  <a:pt x="234" y="156"/>
                </a:cubicBezTo>
                <a:cubicBezTo>
                  <a:pt x="233" y="156"/>
                  <a:pt x="233" y="156"/>
                  <a:pt x="232" y="156"/>
                </a:cubicBezTo>
                <a:cubicBezTo>
                  <a:pt x="232" y="156"/>
                  <a:pt x="232" y="156"/>
                  <a:pt x="232" y="156"/>
                </a:cubicBezTo>
                <a:cubicBezTo>
                  <a:pt x="231" y="156"/>
                  <a:pt x="231" y="156"/>
                  <a:pt x="230" y="156"/>
                </a:cubicBezTo>
                <a:cubicBezTo>
                  <a:pt x="230" y="157"/>
                  <a:pt x="229" y="156"/>
                  <a:pt x="228" y="156"/>
                </a:cubicBezTo>
                <a:cubicBezTo>
                  <a:pt x="228" y="156"/>
                  <a:pt x="228" y="155"/>
                  <a:pt x="228" y="155"/>
                </a:cubicBezTo>
                <a:cubicBezTo>
                  <a:pt x="229" y="155"/>
                  <a:pt x="230" y="155"/>
                  <a:pt x="231" y="155"/>
                </a:cubicBezTo>
                <a:cubicBezTo>
                  <a:pt x="232" y="154"/>
                  <a:pt x="232" y="154"/>
                  <a:pt x="233" y="154"/>
                </a:cubicBezTo>
                <a:cubicBezTo>
                  <a:pt x="233" y="154"/>
                  <a:pt x="234" y="155"/>
                  <a:pt x="235" y="155"/>
                </a:cubicBezTo>
                <a:cubicBezTo>
                  <a:pt x="235" y="155"/>
                  <a:pt x="237" y="154"/>
                  <a:pt x="237" y="154"/>
                </a:cubicBezTo>
                <a:cubicBezTo>
                  <a:pt x="237" y="154"/>
                  <a:pt x="238" y="154"/>
                  <a:pt x="239" y="154"/>
                </a:cubicBezTo>
                <a:cubicBezTo>
                  <a:pt x="240" y="154"/>
                  <a:pt x="239" y="153"/>
                  <a:pt x="240" y="153"/>
                </a:cubicBezTo>
                <a:cubicBezTo>
                  <a:pt x="240" y="153"/>
                  <a:pt x="241" y="153"/>
                  <a:pt x="241" y="153"/>
                </a:cubicBezTo>
                <a:cubicBezTo>
                  <a:pt x="241" y="153"/>
                  <a:pt x="245" y="152"/>
                  <a:pt x="245" y="152"/>
                </a:cubicBezTo>
                <a:cubicBezTo>
                  <a:pt x="246" y="152"/>
                  <a:pt x="246" y="152"/>
                  <a:pt x="247" y="152"/>
                </a:cubicBezTo>
                <a:cubicBezTo>
                  <a:pt x="247" y="152"/>
                  <a:pt x="248" y="152"/>
                  <a:pt x="248" y="152"/>
                </a:cubicBezTo>
                <a:cubicBezTo>
                  <a:pt x="249" y="152"/>
                  <a:pt x="249" y="152"/>
                  <a:pt x="249" y="152"/>
                </a:cubicBezTo>
                <a:cubicBezTo>
                  <a:pt x="250" y="152"/>
                  <a:pt x="250" y="153"/>
                  <a:pt x="251" y="153"/>
                </a:cubicBezTo>
                <a:cubicBezTo>
                  <a:pt x="251" y="153"/>
                  <a:pt x="253" y="153"/>
                  <a:pt x="253" y="154"/>
                </a:cubicBezTo>
                <a:cubicBezTo>
                  <a:pt x="252" y="154"/>
                  <a:pt x="251" y="154"/>
                  <a:pt x="250" y="154"/>
                </a:cubicBezTo>
                <a:cubicBezTo>
                  <a:pt x="249" y="154"/>
                  <a:pt x="248" y="154"/>
                  <a:pt x="248" y="155"/>
                </a:cubicBezTo>
                <a:cubicBezTo>
                  <a:pt x="247" y="155"/>
                  <a:pt x="247" y="155"/>
                  <a:pt x="246" y="155"/>
                </a:cubicBezTo>
                <a:cubicBezTo>
                  <a:pt x="247" y="156"/>
                  <a:pt x="247" y="156"/>
                  <a:pt x="248" y="156"/>
                </a:cubicBezTo>
                <a:cubicBezTo>
                  <a:pt x="249" y="156"/>
                  <a:pt x="250" y="157"/>
                  <a:pt x="251" y="157"/>
                </a:cubicBezTo>
                <a:cubicBezTo>
                  <a:pt x="252" y="157"/>
                  <a:pt x="253" y="158"/>
                  <a:pt x="254" y="158"/>
                </a:cubicBezTo>
                <a:cubicBezTo>
                  <a:pt x="255" y="158"/>
                  <a:pt x="256" y="158"/>
                  <a:pt x="257" y="157"/>
                </a:cubicBezTo>
                <a:cubicBezTo>
                  <a:pt x="258" y="157"/>
                  <a:pt x="258" y="157"/>
                  <a:pt x="259" y="158"/>
                </a:cubicBezTo>
                <a:cubicBezTo>
                  <a:pt x="259" y="159"/>
                  <a:pt x="258" y="160"/>
                  <a:pt x="258" y="161"/>
                </a:cubicBezTo>
                <a:cubicBezTo>
                  <a:pt x="257" y="161"/>
                  <a:pt x="257" y="161"/>
                  <a:pt x="257" y="162"/>
                </a:cubicBezTo>
                <a:cubicBezTo>
                  <a:pt x="257" y="162"/>
                  <a:pt x="258" y="163"/>
                  <a:pt x="258" y="163"/>
                </a:cubicBezTo>
                <a:cubicBezTo>
                  <a:pt x="258" y="163"/>
                  <a:pt x="257" y="163"/>
                  <a:pt x="257" y="163"/>
                </a:cubicBezTo>
                <a:cubicBezTo>
                  <a:pt x="257" y="164"/>
                  <a:pt x="257" y="163"/>
                  <a:pt x="257" y="163"/>
                </a:cubicBezTo>
                <a:close/>
                <a:moveTo>
                  <a:pt x="257" y="180"/>
                </a:moveTo>
                <a:cubicBezTo>
                  <a:pt x="257" y="181"/>
                  <a:pt x="255" y="180"/>
                  <a:pt x="255" y="180"/>
                </a:cubicBezTo>
                <a:cubicBezTo>
                  <a:pt x="253" y="180"/>
                  <a:pt x="252" y="182"/>
                  <a:pt x="251" y="182"/>
                </a:cubicBezTo>
                <a:cubicBezTo>
                  <a:pt x="250" y="182"/>
                  <a:pt x="250" y="182"/>
                  <a:pt x="250" y="181"/>
                </a:cubicBezTo>
                <a:cubicBezTo>
                  <a:pt x="250" y="181"/>
                  <a:pt x="250" y="181"/>
                  <a:pt x="249" y="181"/>
                </a:cubicBezTo>
                <a:cubicBezTo>
                  <a:pt x="249" y="181"/>
                  <a:pt x="248" y="181"/>
                  <a:pt x="248" y="181"/>
                </a:cubicBezTo>
                <a:cubicBezTo>
                  <a:pt x="247" y="181"/>
                  <a:pt x="247" y="180"/>
                  <a:pt x="247" y="180"/>
                </a:cubicBezTo>
                <a:cubicBezTo>
                  <a:pt x="247" y="180"/>
                  <a:pt x="246" y="181"/>
                  <a:pt x="245" y="181"/>
                </a:cubicBezTo>
                <a:cubicBezTo>
                  <a:pt x="245" y="180"/>
                  <a:pt x="244" y="180"/>
                  <a:pt x="244" y="180"/>
                </a:cubicBezTo>
                <a:cubicBezTo>
                  <a:pt x="243" y="180"/>
                  <a:pt x="244" y="180"/>
                  <a:pt x="244" y="180"/>
                </a:cubicBezTo>
                <a:cubicBezTo>
                  <a:pt x="245" y="180"/>
                  <a:pt x="246" y="179"/>
                  <a:pt x="247" y="179"/>
                </a:cubicBezTo>
                <a:cubicBezTo>
                  <a:pt x="248" y="179"/>
                  <a:pt x="247" y="178"/>
                  <a:pt x="248" y="178"/>
                </a:cubicBezTo>
                <a:cubicBezTo>
                  <a:pt x="249" y="178"/>
                  <a:pt x="250" y="178"/>
                  <a:pt x="251" y="178"/>
                </a:cubicBezTo>
                <a:cubicBezTo>
                  <a:pt x="252" y="178"/>
                  <a:pt x="252" y="178"/>
                  <a:pt x="252" y="179"/>
                </a:cubicBezTo>
                <a:cubicBezTo>
                  <a:pt x="252" y="179"/>
                  <a:pt x="252" y="180"/>
                  <a:pt x="252" y="180"/>
                </a:cubicBezTo>
                <a:cubicBezTo>
                  <a:pt x="254" y="180"/>
                  <a:pt x="256" y="179"/>
                  <a:pt x="257" y="179"/>
                </a:cubicBezTo>
                <a:cubicBezTo>
                  <a:pt x="257" y="180"/>
                  <a:pt x="257" y="180"/>
                  <a:pt x="257" y="180"/>
                </a:cubicBezTo>
                <a:close/>
                <a:moveTo>
                  <a:pt x="235" y="295"/>
                </a:moveTo>
                <a:cubicBezTo>
                  <a:pt x="234" y="295"/>
                  <a:pt x="234" y="296"/>
                  <a:pt x="233" y="296"/>
                </a:cubicBezTo>
                <a:cubicBezTo>
                  <a:pt x="233" y="297"/>
                  <a:pt x="233" y="297"/>
                  <a:pt x="232" y="297"/>
                </a:cubicBezTo>
                <a:cubicBezTo>
                  <a:pt x="232" y="296"/>
                  <a:pt x="233" y="295"/>
                  <a:pt x="234" y="295"/>
                </a:cubicBezTo>
                <a:cubicBezTo>
                  <a:pt x="235" y="295"/>
                  <a:pt x="235" y="295"/>
                  <a:pt x="235" y="295"/>
                </a:cubicBezTo>
                <a:cubicBezTo>
                  <a:pt x="234" y="295"/>
                  <a:pt x="235" y="295"/>
                  <a:pt x="235" y="295"/>
                </a:cubicBezTo>
                <a:close/>
                <a:moveTo>
                  <a:pt x="205" y="253"/>
                </a:moveTo>
                <a:cubicBezTo>
                  <a:pt x="204" y="253"/>
                  <a:pt x="205" y="252"/>
                  <a:pt x="205" y="253"/>
                </a:cubicBezTo>
                <a:close/>
                <a:moveTo>
                  <a:pt x="196" y="133"/>
                </a:moveTo>
                <a:cubicBezTo>
                  <a:pt x="194" y="133"/>
                  <a:pt x="196" y="131"/>
                  <a:pt x="196" y="133"/>
                </a:cubicBezTo>
                <a:close/>
                <a:moveTo>
                  <a:pt x="174" y="212"/>
                </a:moveTo>
                <a:cubicBezTo>
                  <a:pt x="174" y="212"/>
                  <a:pt x="173" y="212"/>
                  <a:pt x="173" y="212"/>
                </a:cubicBezTo>
                <a:cubicBezTo>
                  <a:pt x="173" y="211"/>
                  <a:pt x="173" y="211"/>
                  <a:pt x="174" y="211"/>
                </a:cubicBezTo>
                <a:cubicBezTo>
                  <a:pt x="174" y="211"/>
                  <a:pt x="174" y="210"/>
                  <a:pt x="174" y="211"/>
                </a:cubicBezTo>
                <a:cubicBezTo>
                  <a:pt x="174" y="211"/>
                  <a:pt x="174" y="211"/>
                  <a:pt x="174" y="212"/>
                </a:cubicBezTo>
                <a:close/>
                <a:moveTo>
                  <a:pt x="171" y="217"/>
                </a:moveTo>
                <a:cubicBezTo>
                  <a:pt x="171" y="217"/>
                  <a:pt x="171" y="217"/>
                  <a:pt x="171" y="217"/>
                </a:cubicBezTo>
                <a:cubicBezTo>
                  <a:pt x="171" y="216"/>
                  <a:pt x="170" y="216"/>
                  <a:pt x="170" y="216"/>
                </a:cubicBezTo>
                <a:cubicBezTo>
                  <a:pt x="170" y="215"/>
                  <a:pt x="169" y="215"/>
                  <a:pt x="169" y="215"/>
                </a:cubicBezTo>
                <a:cubicBezTo>
                  <a:pt x="168" y="215"/>
                  <a:pt x="168" y="215"/>
                  <a:pt x="167" y="215"/>
                </a:cubicBezTo>
                <a:cubicBezTo>
                  <a:pt x="167" y="215"/>
                  <a:pt x="167" y="214"/>
                  <a:pt x="167" y="213"/>
                </a:cubicBezTo>
                <a:cubicBezTo>
                  <a:pt x="167" y="213"/>
                  <a:pt x="167" y="213"/>
                  <a:pt x="167" y="213"/>
                </a:cubicBezTo>
                <a:cubicBezTo>
                  <a:pt x="168" y="213"/>
                  <a:pt x="170" y="213"/>
                  <a:pt x="170" y="214"/>
                </a:cubicBezTo>
                <a:cubicBezTo>
                  <a:pt x="170" y="215"/>
                  <a:pt x="171" y="216"/>
                  <a:pt x="171" y="217"/>
                </a:cubicBezTo>
                <a:close/>
                <a:moveTo>
                  <a:pt x="65" y="211"/>
                </a:moveTo>
                <a:cubicBezTo>
                  <a:pt x="65" y="211"/>
                  <a:pt x="65" y="212"/>
                  <a:pt x="65" y="210"/>
                </a:cubicBezTo>
                <a:cubicBezTo>
                  <a:pt x="65" y="211"/>
                  <a:pt x="65" y="211"/>
                  <a:pt x="65" y="211"/>
                </a:cubicBezTo>
                <a:close/>
                <a:moveTo>
                  <a:pt x="366" y="105"/>
                </a:moveTo>
                <a:cubicBezTo>
                  <a:pt x="366" y="104"/>
                  <a:pt x="366" y="104"/>
                  <a:pt x="366" y="103"/>
                </a:cubicBezTo>
                <a:cubicBezTo>
                  <a:pt x="367" y="103"/>
                  <a:pt x="367" y="103"/>
                  <a:pt x="368" y="104"/>
                </a:cubicBezTo>
                <a:cubicBezTo>
                  <a:pt x="368" y="104"/>
                  <a:pt x="367" y="104"/>
                  <a:pt x="366" y="105"/>
                </a:cubicBezTo>
                <a:cubicBezTo>
                  <a:pt x="366" y="104"/>
                  <a:pt x="366" y="105"/>
                  <a:pt x="366" y="105"/>
                </a:cubicBezTo>
                <a:close/>
                <a:moveTo>
                  <a:pt x="381" y="298"/>
                </a:moveTo>
                <a:cubicBezTo>
                  <a:pt x="381" y="298"/>
                  <a:pt x="382" y="298"/>
                  <a:pt x="382" y="297"/>
                </a:cubicBezTo>
                <a:cubicBezTo>
                  <a:pt x="382" y="297"/>
                  <a:pt x="382" y="297"/>
                  <a:pt x="382" y="296"/>
                </a:cubicBezTo>
                <a:cubicBezTo>
                  <a:pt x="383" y="296"/>
                  <a:pt x="383" y="296"/>
                  <a:pt x="384" y="296"/>
                </a:cubicBezTo>
                <a:cubicBezTo>
                  <a:pt x="384" y="295"/>
                  <a:pt x="385" y="295"/>
                  <a:pt x="385" y="295"/>
                </a:cubicBezTo>
                <a:cubicBezTo>
                  <a:pt x="386" y="295"/>
                  <a:pt x="386" y="294"/>
                  <a:pt x="387" y="294"/>
                </a:cubicBezTo>
                <a:cubicBezTo>
                  <a:pt x="387" y="293"/>
                  <a:pt x="388" y="293"/>
                  <a:pt x="388" y="293"/>
                </a:cubicBezTo>
                <a:cubicBezTo>
                  <a:pt x="389" y="293"/>
                  <a:pt x="388" y="293"/>
                  <a:pt x="389" y="293"/>
                </a:cubicBezTo>
                <a:cubicBezTo>
                  <a:pt x="390" y="292"/>
                  <a:pt x="390" y="291"/>
                  <a:pt x="391" y="291"/>
                </a:cubicBezTo>
                <a:cubicBezTo>
                  <a:pt x="391" y="291"/>
                  <a:pt x="391" y="292"/>
                  <a:pt x="392" y="291"/>
                </a:cubicBezTo>
                <a:cubicBezTo>
                  <a:pt x="392" y="290"/>
                  <a:pt x="392" y="290"/>
                  <a:pt x="392" y="290"/>
                </a:cubicBezTo>
                <a:cubicBezTo>
                  <a:pt x="393" y="290"/>
                  <a:pt x="392" y="289"/>
                  <a:pt x="392" y="289"/>
                </a:cubicBezTo>
                <a:cubicBezTo>
                  <a:pt x="392" y="288"/>
                  <a:pt x="393" y="288"/>
                  <a:pt x="393" y="288"/>
                </a:cubicBezTo>
                <a:cubicBezTo>
                  <a:pt x="393" y="288"/>
                  <a:pt x="394" y="288"/>
                  <a:pt x="395" y="288"/>
                </a:cubicBezTo>
                <a:cubicBezTo>
                  <a:pt x="395" y="287"/>
                  <a:pt x="396" y="288"/>
                  <a:pt x="396" y="287"/>
                </a:cubicBezTo>
                <a:cubicBezTo>
                  <a:pt x="396" y="286"/>
                  <a:pt x="396" y="286"/>
                  <a:pt x="397" y="286"/>
                </a:cubicBezTo>
                <a:cubicBezTo>
                  <a:pt x="397" y="286"/>
                  <a:pt x="397" y="287"/>
                  <a:pt x="397" y="287"/>
                </a:cubicBezTo>
                <a:cubicBezTo>
                  <a:pt x="397" y="287"/>
                  <a:pt x="397" y="287"/>
                  <a:pt x="398" y="287"/>
                </a:cubicBezTo>
                <a:cubicBezTo>
                  <a:pt x="398" y="286"/>
                  <a:pt x="398" y="287"/>
                  <a:pt x="398" y="286"/>
                </a:cubicBezTo>
                <a:cubicBezTo>
                  <a:pt x="397" y="285"/>
                  <a:pt x="398" y="285"/>
                  <a:pt x="398" y="285"/>
                </a:cubicBezTo>
                <a:cubicBezTo>
                  <a:pt x="399" y="285"/>
                  <a:pt x="400" y="285"/>
                  <a:pt x="401" y="285"/>
                </a:cubicBezTo>
                <a:cubicBezTo>
                  <a:pt x="401" y="285"/>
                  <a:pt x="402" y="285"/>
                  <a:pt x="402" y="285"/>
                </a:cubicBezTo>
                <a:cubicBezTo>
                  <a:pt x="403" y="285"/>
                  <a:pt x="403" y="286"/>
                  <a:pt x="404" y="285"/>
                </a:cubicBezTo>
                <a:cubicBezTo>
                  <a:pt x="404" y="285"/>
                  <a:pt x="405" y="285"/>
                  <a:pt x="405" y="285"/>
                </a:cubicBezTo>
                <a:cubicBezTo>
                  <a:pt x="405" y="286"/>
                  <a:pt x="405" y="286"/>
                  <a:pt x="406" y="287"/>
                </a:cubicBezTo>
                <a:cubicBezTo>
                  <a:pt x="406" y="287"/>
                  <a:pt x="406" y="287"/>
                  <a:pt x="406" y="287"/>
                </a:cubicBezTo>
                <a:cubicBezTo>
                  <a:pt x="406" y="287"/>
                  <a:pt x="406" y="288"/>
                  <a:pt x="406" y="288"/>
                </a:cubicBezTo>
                <a:cubicBezTo>
                  <a:pt x="406" y="289"/>
                  <a:pt x="406" y="288"/>
                  <a:pt x="406" y="289"/>
                </a:cubicBezTo>
                <a:cubicBezTo>
                  <a:pt x="406" y="289"/>
                  <a:pt x="406" y="289"/>
                  <a:pt x="407" y="289"/>
                </a:cubicBezTo>
                <a:cubicBezTo>
                  <a:pt x="408" y="290"/>
                  <a:pt x="408" y="291"/>
                  <a:pt x="409" y="291"/>
                </a:cubicBezTo>
                <a:cubicBezTo>
                  <a:pt x="409" y="292"/>
                  <a:pt x="407" y="291"/>
                  <a:pt x="409" y="292"/>
                </a:cubicBezTo>
                <a:cubicBezTo>
                  <a:pt x="410" y="292"/>
                  <a:pt x="410" y="292"/>
                  <a:pt x="411" y="292"/>
                </a:cubicBezTo>
                <a:cubicBezTo>
                  <a:pt x="411" y="291"/>
                  <a:pt x="413" y="292"/>
                  <a:pt x="413" y="293"/>
                </a:cubicBezTo>
                <a:cubicBezTo>
                  <a:pt x="412" y="294"/>
                  <a:pt x="413" y="295"/>
                  <a:pt x="415" y="296"/>
                </a:cubicBezTo>
                <a:cubicBezTo>
                  <a:pt x="414" y="296"/>
                  <a:pt x="414" y="296"/>
                  <a:pt x="414" y="297"/>
                </a:cubicBezTo>
                <a:cubicBezTo>
                  <a:pt x="414" y="298"/>
                  <a:pt x="414" y="298"/>
                  <a:pt x="415" y="298"/>
                </a:cubicBezTo>
                <a:cubicBezTo>
                  <a:pt x="415" y="299"/>
                  <a:pt x="415" y="300"/>
                  <a:pt x="415" y="300"/>
                </a:cubicBezTo>
                <a:cubicBezTo>
                  <a:pt x="415" y="302"/>
                  <a:pt x="416" y="301"/>
                  <a:pt x="417" y="301"/>
                </a:cubicBezTo>
                <a:cubicBezTo>
                  <a:pt x="418" y="302"/>
                  <a:pt x="418" y="303"/>
                  <a:pt x="419" y="303"/>
                </a:cubicBezTo>
                <a:cubicBezTo>
                  <a:pt x="420" y="303"/>
                  <a:pt x="420" y="304"/>
                  <a:pt x="420" y="303"/>
                </a:cubicBezTo>
                <a:cubicBezTo>
                  <a:pt x="420" y="303"/>
                  <a:pt x="421" y="304"/>
                  <a:pt x="421" y="304"/>
                </a:cubicBezTo>
                <a:cubicBezTo>
                  <a:pt x="421" y="304"/>
                  <a:pt x="424" y="303"/>
                  <a:pt x="424" y="304"/>
                </a:cubicBezTo>
                <a:cubicBezTo>
                  <a:pt x="424" y="304"/>
                  <a:pt x="424" y="304"/>
                  <a:pt x="424" y="304"/>
                </a:cubicBezTo>
                <a:cubicBezTo>
                  <a:pt x="425" y="304"/>
                  <a:pt x="424" y="304"/>
                  <a:pt x="425" y="304"/>
                </a:cubicBezTo>
                <a:cubicBezTo>
                  <a:pt x="425" y="304"/>
                  <a:pt x="426" y="304"/>
                  <a:pt x="426" y="304"/>
                </a:cubicBezTo>
                <a:cubicBezTo>
                  <a:pt x="427" y="304"/>
                  <a:pt x="427" y="304"/>
                  <a:pt x="428" y="305"/>
                </a:cubicBezTo>
                <a:cubicBezTo>
                  <a:pt x="429" y="306"/>
                  <a:pt x="430" y="305"/>
                  <a:pt x="431" y="305"/>
                </a:cubicBezTo>
                <a:cubicBezTo>
                  <a:pt x="432" y="305"/>
                  <a:pt x="432" y="305"/>
                  <a:pt x="433" y="305"/>
                </a:cubicBezTo>
                <a:cubicBezTo>
                  <a:pt x="433" y="305"/>
                  <a:pt x="433" y="305"/>
                  <a:pt x="433" y="305"/>
                </a:cubicBezTo>
                <a:cubicBezTo>
                  <a:pt x="433" y="306"/>
                  <a:pt x="433" y="306"/>
                  <a:pt x="433" y="306"/>
                </a:cubicBezTo>
                <a:cubicBezTo>
                  <a:pt x="434" y="306"/>
                  <a:pt x="434" y="306"/>
                  <a:pt x="434" y="306"/>
                </a:cubicBezTo>
                <a:cubicBezTo>
                  <a:pt x="434" y="306"/>
                  <a:pt x="435" y="307"/>
                  <a:pt x="435" y="307"/>
                </a:cubicBezTo>
                <a:cubicBezTo>
                  <a:pt x="435" y="307"/>
                  <a:pt x="435" y="307"/>
                  <a:pt x="435" y="307"/>
                </a:cubicBezTo>
                <a:cubicBezTo>
                  <a:pt x="435" y="308"/>
                  <a:pt x="436" y="307"/>
                  <a:pt x="437" y="307"/>
                </a:cubicBezTo>
                <a:cubicBezTo>
                  <a:pt x="437" y="309"/>
                  <a:pt x="437" y="310"/>
                  <a:pt x="437" y="311"/>
                </a:cubicBezTo>
                <a:cubicBezTo>
                  <a:pt x="438" y="312"/>
                  <a:pt x="438" y="312"/>
                  <a:pt x="439" y="312"/>
                </a:cubicBezTo>
                <a:cubicBezTo>
                  <a:pt x="439" y="312"/>
                  <a:pt x="438" y="313"/>
                  <a:pt x="438" y="314"/>
                </a:cubicBezTo>
                <a:cubicBezTo>
                  <a:pt x="438" y="313"/>
                  <a:pt x="437" y="313"/>
                  <a:pt x="436" y="314"/>
                </a:cubicBezTo>
                <a:cubicBezTo>
                  <a:pt x="436" y="314"/>
                  <a:pt x="437" y="315"/>
                  <a:pt x="437" y="315"/>
                </a:cubicBezTo>
                <a:cubicBezTo>
                  <a:pt x="437" y="315"/>
                  <a:pt x="437" y="316"/>
                  <a:pt x="436" y="316"/>
                </a:cubicBezTo>
                <a:cubicBezTo>
                  <a:pt x="436" y="316"/>
                  <a:pt x="435" y="316"/>
                  <a:pt x="435" y="315"/>
                </a:cubicBezTo>
                <a:cubicBezTo>
                  <a:pt x="435" y="314"/>
                  <a:pt x="433" y="315"/>
                  <a:pt x="433" y="314"/>
                </a:cubicBezTo>
                <a:cubicBezTo>
                  <a:pt x="433" y="314"/>
                  <a:pt x="432" y="314"/>
                  <a:pt x="432" y="314"/>
                </a:cubicBezTo>
                <a:cubicBezTo>
                  <a:pt x="432" y="313"/>
                  <a:pt x="432" y="314"/>
                  <a:pt x="432" y="313"/>
                </a:cubicBezTo>
                <a:cubicBezTo>
                  <a:pt x="431" y="312"/>
                  <a:pt x="431" y="314"/>
                  <a:pt x="430" y="314"/>
                </a:cubicBezTo>
                <a:cubicBezTo>
                  <a:pt x="430" y="314"/>
                  <a:pt x="429" y="315"/>
                  <a:pt x="429" y="316"/>
                </a:cubicBezTo>
                <a:cubicBezTo>
                  <a:pt x="429" y="315"/>
                  <a:pt x="428" y="316"/>
                  <a:pt x="428" y="316"/>
                </a:cubicBezTo>
                <a:cubicBezTo>
                  <a:pt x="428" y="317"/>
                  <a:pt x="428" y="318"/>
                  <a:pt x="428" y="319"/>
                </a:cubicBezTo>
                <a:cubicBezTo>
                  <a:pt x="428" y="319"/>
                  <a:pt x="428" y="319"/>
                  <a:pt x="428" y="319"/>
                </a:cubicBezTo>
                <a:cubicBezTo>
                  <a:pt x="428" y="320"/>
                  <a:pt x="428" y="321"/>
                  <a:pt x="428" y="323"/>
                </a:cubicBezTo>
                <a:cubicBezTo>
                  <a:pt x="427" y="323"/>
                  <a:pt x="426" y="323"/>
                  <a:pt x="425" y="324"/>
                </a:cubicBezTo>
                <a:cubicBezTo>
                  <a:pt x="424" y="323"/>
                  <a:pt x="424" y="319"/>
                  <a:pt x="423" y="318"/>
                </a:cubicBezTo>
                <a:cubicBezTo>
                  <a:pt x="422" y="318"/>
                  <a:pt x="422" y="318"/>
                  <a:pt x="421" y="318"/>
                </a:cubicBezTo>
                <a:cubicBezTo>
                  <a:pt x="421" y="318"/>
                  <a:pt x="421" y="318"/>
                  <a:pt x="420" y="319"/>
                </a:cubicBezTo>
                <a:cubicBezTo>
                  <a:pt x="420" y="319"/>
                  <a:pt x="419" y="320"/>
                  <a:pt x="418" y="320"/>
                </a:cubicBezTo>
                <a:cubicBezTo>
                  <a:pt x="417" y="319"/>
                  <a:pt x="420" y="316"/>
                  <a:pt x="420" y="315"/>
                </a:cubicBezTo>
                <a:cubicBezTo>
                  <a:pt x="421" y="313"/>
                  <a:pt x="420" y="313"/>
                  <a:pt x="420" y="312"/>
                </a:cubicBezTo>
                <a:cubicBezTo>
                  <a:pt x="420" y="311"/>
                  <a:pt x="419" y="312"/>
                  <a:pt x="419" y="311"/>
                </a:cubicBezTo>
                <a:cubicBezTo>
                  <a:pt x="419" y="311"/>
                  <a:pt x="420" y="310"/>
                  <a:pt x="420" y="310"/>
                </a:cubicBezTo>
                <a:cubicBezTo>
                  <a:pt x="419" y="310"/>
                  <a:pt x="419" y="309"/>
                  <a:pt x="419" y="309"/>
                </a:cubicBezTo>
                <a:cubicBezTo>
                  <a:pt x="418" y="308"/>
                  <a:pt x="418" y="308"/>
                  <a:pt x="417" y="308"/>
                </a:cubicBezTo>
                <a:cubicBezTo>
                  <a:pt x="417" y="308"/>
                  <a:pt x="416" y="308"/>
                  <a:pt x="416" y="308"/>
                </a:cubicBezTo>
                <a:cubicBezTo>
                  <a:pt x="415" y="307"/>
                  <a:pt x="415" y="306"/>
                  <a:pt x="414" y="307"/>
                </a:cubicBezTo>
                <a:cubicBezTo>
                  <a:pt x="413" y="307"/>
                  <a:pt x="413" y="307"/>
                  <a:pt x="413" y="308"/>
                </a:cubicBezTo>
                <a:cubicBezTo>
                  <a:pt x="413" y="309"/>
                  <a:pt x="413" y="309"/>
                  <a:pt x="412" y="309"/>
                </a:cubicBezTo>
                <a:cubicBezTo>
                  <a:pt x="411" y="309"/>
                  <a:pt x="410" y="310"/>
                  <a:pt x="410" y="311"/>
                </a:cubicBezTo>
                <a:cubicBezTo>
                  <a:pt x="410" y="312"/>
                  <a:pt x="409" y="311"/>
                  <a:pt x="408" y="311"/>
                </a:cubicBezTo>
                <a:cubicBezTo>
                  <a:pt x="407" y="311"/>
                  <a:pt x="407" y="315"/>
                  <a:pt x="407" y="316"/>
                </a:cubicBezTo>
                <a:cubicBezTo>
                  <a:pt x="407" y="317"/>
                  <a:pt x="407" y="316"/>
                  <a:pt x="406" y="317"/>
                </a:cubicBezTo>
                <a:cubicBezTo>
                  <a:pt x="405" y="317"/>
                  <a:pt x="406" y="319"/>
                  <a:pt x="406" y="320"/>
                </a:cubicBezTo>
                <a:cubicBezTo>
                  <a:pt x="406" y="321"/>
                  <a:pt x="406" y="321"/>
                  <a:pt x="406" y="322"/>
                </a:cubicBezTo>
                <a:cubicBezTo>
                  <a:pt x="406" y="324"/>
                  <a:pt x="406" y="322"/>
                  <a:pt x="406" y="322"/>
                </a:cubicBezTo>
                <a:cubicBezTo>
                  <a:pt x="406" y="322"/>
                  <a:pt x="406" y="323"/>
                  <a:pt x="406" y="323"/>
                </a:cubicBezTo>
                <a:cubicBezTo>
                  <a:pt x="406" y="323"/>
                  <a:pt x="407" y="323"/>
                  <a:pt x="407" y="323"/>
                </a:cubicBezTo>
                <a:cubicBezTo>
                  <a:pt x="407" y="325"/>
                  <a:pt x="407" y="326"/>
                  <a:pt x="406" y="327"/>
                </a:cubicBezTo>
                <a:cubicBezTo>
                  <a:pt x="405" y="329"/>
                  <a:pt x="405" y="329"/>
                  <a:pt x="405" y="330"/>
                </a:cubicBezTo>
                <a:cubicBezTo>
                  <a:pt x="405" y="331"/>
                  <a:pt x="403" y="332"/>
                  <a:pt x="402" y="332"/>
                </a:cubicBezTo>
                <a:cubicBezTo>
                  <a:pt x="400" y="332"/>
                  <a:pt x="400" y="330"/>
                  <a:pt x="400" y="328"/>
                </a:cubicBezTo>
                <a:cubicBezTo>
                  <a:pt x="400" y="328"/>
                  <a:pt x="399" y="328"/>
                  <a:pt x="399" y="328"/>
                </a:cubicBezTo>
                <a:cubicBezTo>
                  <a:pt x="399" y="327"/>
                  <a:pt x="399" y="326"/>
                  <a:pt x="399" y="326"/>
                </a:cubicBezTo>
                <a:cubicBezTo>
                  <a:pt x="399" y="326"/>
                  <a:pt x="399" y="326"/>
                  <a:pt x="399" y="326"/>
                </a:cubicBezTo>
                <a:cubicBezTo>
                  <a:pt x="399" y="325"/>
                  <a:pt x="399" y="325"/>
                  <a:pt x="399" y="325"/>
                </a:cubicBezTo>
                <a:cubicBezTo>
                  <a:pt x="399" y="324"/>
                  <a:pt x="399" y="325"/>
                  <a:pt x="399" y="325"/>
                </a:cubicBezTo>
                <a:cubicBezTo>
                  <a:pt x="399" y="324"/>
                  <a:pt x="399" y="324"/>
                  <a:pt x="399" y="323"/>
                </a:cubicBezTo>
                <a:cubicBezTo>
                  <a:pt x="399" y="322"/>
                  <a:pt x="400" y="324"/>
                  <a:pt x="399" y="322"/>
                </a:cubicBezTo>
                <a:cubicBezTo>
                  <a:pt x="400" y="322"/>
                  <a:pt x="399" y="321"/>
                  <a:pt x="399" y="321"/>
                </a:cubicBezTo>
                <a:cubicBezTo>
                  <a:pt x="400" y="321"/>
                  <a:pt x="400" y="318"/>
                  <a:pt x="400" y="318"/>
                </a:cubicBezTo>
                <a:cubicBezTo>
                  <a:pt x="400" y="318"/>
                  <a:pt x="400" y="318"/>
                  <a:pt x="400" y="318"/>
                </a:cubicBezTo>
                <a:cubicBezTo>
                  <a:pt x="400" y="317"/>
                  <a:pt x="401" y="317"/>
                  <a:pt x="401" y="316"/>
                </a:cubicBezTo>
                <a:cubicBezTo>
                  <a:pt x="402" y="314"/>
                  <a:pt x="402" y="313"/>
                  <a:pt x="402" y="311"/>
                </a:cubicBezTo>
                <a:cubicBezTo>
                  <a:pt x="401" y="311"/>
                  <a:pt x="401" y="312"/>
                  <a:pt x="400" y="313"/>
                </a:cubicBezTo>
                <a:cubicBezTo>
                  <a:pt x="400" y="314"/>
                  <a:pt x="400" y="315"/>
                  <a:pt x="398" y="315"/>
                </a:cubicBezTo>
                <a:cubicBezTo>
                  <a:pt x="398" y="313"/>
                  <a:pt x="399" y="313"/>
                  <a:pt x="400" y="312"/>
                </a:cubicBezTo>
                <a:cubicBezTo>
                  <a:pt x="401" y="311"/>
                  <a:pt x="401" y="311"/>
                  <a:pt x="401" y="310"/>
                </a:cubicBezTo>
                <a:cubicBezTo>
                  <a:pt x="401" y="309"/>
                  <a:pt x="401" y="310"/>
                  <a:pt x="401" y="309"/>
                </a:cubicBezTo>
                <a:cubicBezTo>
                  <a:pt x="402" y="308"/>
                  <a:pt x="402" y="308"/>
                  <a:pt x="402" y="307"/>
                </a:cubicBezTo>
                <a:cubicBezTo>
                  <a:pt x="402" y="307"/>
                  <a:pt x="402" y="307"/>
                  <a:pt x="402" y="307"/>
                </a:cubicBezTo>
                <a:cubicBezTo>
                  <a:pt x="403" y="307"/>
                  <a:pt x="403" y="307"/>
                  <a:pt x="403" y="306"/>
                </a:cubicBezTo>
                <a:cubicBezTo>
                  <a:pt x="404" y="305"/>
                  <a:pt x="404" y="307"/>
                  <a:pt x="404" y="307"/>
                </a:cubicBezTo>
                <a:cubicBezTo>
                  <a:pt x="406" y="307"/>
                  <a:pt x="404" y="306"/>
                  <a:pt x="406" y="305"/>
                </a:cubicBezTo>
                <a:cubicBezTo>
                  <a:pt x="407" y="305"/>
                  <a:pt x="408" y="306"/>
                  <a:pt x="409" y="305"/>
                </a:cubicBezTo>
                <a:cubicBezTo>
                  <a:pt x="409" y="305"/>
                  <a:pt x="409" y="305"/>
                  <a:pt x="409" y="305"/>
                </a:cubicBezTo>
                <a:cubicBezTo>
                  <a:pt x="410" y="304"/>
                  <a:pt x="410" y="304"/>
                  <a:pt x="411" y="304"/>
                </a:cubicBezTo>
                <a:cubicBezTo>
                  <a:pt x="412" y="305"/>
                  <a:pt x="413" y="305"/>
                  <a:pt x="414" y="305"/>
                </a:cubicBezTo>
                <a:cubicBezTo>
                  <a:pt x="414" y="304"/>
                  <a:pt x="414" y="304"/>
                  <a:pt x="415" y="304"/>
                </a:cubicBezTo>
                <a:cubicBezTo>
                  <a:pt x="416" y="304"/>
                  <a:pt x="416" y="305"/>
                  <a:pt x="416" y="305"/>
                </a:cubicBezTo>
                <a:cubicBezTo>
                  <a:pt x="416" y="305"/>
                  <a:pt x="417" y="305"/>
                  <a:pt x="417" y="305"/>
                </a:cubicBezTo>
                <a:cubicBezTo>
                  <a:pt x="417" y="304"/>
                  <a:pt x="417" y="304"/>
                  <a:pt x="416" y="303"/>
                </a:cubicBezTo>
                <a:cubicBezTo>
                  <a:pt x="416" y="302"/>
                  <a:pt x="416" y="302"/>
                  <a:pt x="415" y="302"/>
                </a:cubicBezTo>
                <a:cubicBezTo>
                  <a:pt x="414" y="302"/>
                  <a:pt x="413" y="302"/>
                  <a:pt x="413" y="303"/>
                </a:cubicBezTo>
                <a:cubicBezTo>
                  <a:pt x="413" y="301"/>
                  <a:pt x="413" y="300"/>
                  <a:pt x="412" y="299"/>
                </a:cubicBezTo>
                <a:cubicBezTo>
                  <a:pt x="411" y="300"/>
                  <a:pt x="411" y="300"/>
                  <a:pt x="409" y="301"/>
                </a:cubicBezTo>
                <a:cubicBezTo>
                  <a:pt x="408" y="301"/>
                  <a:pt x="407" y="301"/>
                  <a:pt x="407" y="302"/>
                </a:cubicBezTo>
                <a:cubicBezTo>
                  <a:pt x="406" y="302"/>
                  <a:pt x="404" y="302"/>
                  <a:pt x="404" y="302"/>
                </a:cubicBezTo>
                <a:cubicBezTo>
                  <a:pt x="403" y="302"/>
                  <a:pt x="403" y="302"/>
                  <a:pt x="402" y="302"/>
                </a:cubicBezTo>
                <a:cubicBezTo>
                  <a:pt x="401" y="302"/>
                  <a:pt x="401" y="302"/>
                  <a:pt x="401" y="301"/>
                </a:cubicBezTo>
                <a:cubicBezTo>
                  <a:pt x="401" y="300"/>
                  <a:pt x="400" y="300"/>
                  <a:pt x="400" y="298"/>
                </a:cubicBezTo>
                <a:cubicBezTo>
                  <a:pt x="398" y="298"/>
                  <a:pt x="397" y="299"/>
                  <a:pt x="396" y="299"/>
                </a:cubicBezTo>
                <a:cubicBezTo>
                  <a:pt x="396" y="299"/>
                  <a:pt x="396" y="299"/>
                  <a:pt x="395" y="299"/>
                </a:cubicBezTo>
                <a:cubicBezTo>
                  <a:pt x="396" y="298"/>
                  <a:pt x="396" y="297"/>
                  <a:pt x="396" y="297"/>
                </a:cubicBezTo>
                <a:cubicBezTo>
                  <a:pt x="397" y="297"/>
                  <a:pt x="396" y="297"/>
                  <a:pt x="397" y="297"/>
                </a:cubicBezTo>
                <a:cubicBezTo>
                  <a:pt x="398" y="297"/>
                  <a:pt x="398" y="296"/>
                  <a:pt x="399" y="296"/>
                </a:cubicBezTo>
                <a:cubicBezTo>
                  <a:pt x="399" y="294"/>
                  <a:pt x="399" y="294"/>
                  <a:pt x="397" y="295"/>
                </a:cubicBezTo>
                <a:cubicBezTo>
                  <a:pt x="397" y="295"/>
                  <a:pt x="396" y="296"/>
                  <a:pt x="395" y="296"/>
                </a:cubicBezTo>
                <a:cubicBezTo>
                  <a:pt x="394" y="296"/>
                  <a:pt x="395" y="296"/>
                  <a:pt x="394" y="297"/>
                </a:cubicBezTo>
                <a:cubicBezTo>
                  <a:pt x="394" y="297"/>
                  <a:pt x="394" y="297"/>
                  <a:pt x="394" y="297"/>
                </a:cubicBezTo>
                <a:cubicBezTo>
                  <a:pt x="393" y="298"/>
                  <a:pt x="393" y="298"/>
                  <a:pt x="392" y="299"/>
                </a:cubicBezTo>
                <a:cubicBezTo>
                  <a:pt x="391" y="299"/>
                  <a:pt x="391" y="299"/>
                  <a:pt x="390" y="299"/>
                </a:cubicBezTo>
                <a:cubicBezTo>
                  <a:pt x="389" y="299"/>
                  <a:pt x="389" y="299"/>
                  <a:pt x="388" y="300"/>
                </a:cubicBezTo>
                <a:cubicBezTo>
                  <a:pt x="388" y="301"/>
                  <a:pt x="387" y="300"/>
                  <a:pt x="387" y="300"/>
                </a:cubicBezTo>
                <a:cubicBezTo>
                  <a:pt x="386" y="300"/>
                  <a:pt x="386" y="301"/>
                  <a:pt x="386" y="300"/>
                </a:cubicBezTo>
                <a:cubicBezTo>
                  <a:pt x="386" y="299"/>
                  <a:pt x="385" y="300"/>
                  <a:pt x="385" y="299"/>
                </a:cubicBezTo>
                <a:cubicBezTo>
                  <a:pt x="384" y="299"/>
                  <a:pt x="382" y="299"/>
                  <a:pt x="381" y="299"/>
                </a:cubicBezTo>
                <a:cubicBezTo>
                  <a:pt x="381" y="299"/>
                  <a:pt x="380" y="299"/>
                  <a:pt x="380" y="299"/>
                </a:cubicBezTo>
                <a:cubicBezTo>
                  <a:pt x="380" y="299"/>
                  <a:pt x="380" y="298"/>
                  <a:pt x="381" y="298"/>
                </a:cubicBezTo>
                <a:close/>
                <a:moveTo>
                  <a:pt x="395" y="278"/>
                </a:moveTo>
                <a:cubicBezTo>
                  <a:pt x="395" y="277"/>
                  <a:pt x="395" y="277"/>
                  <a:pt x="396" y="276"/>
                </a:cubicBezTo>
                <a:cubicBezTo>
                  <a:pt x="397" y="275"/>
                  <a:pt x="398" y="276"/>
                  <a:pt x="399" y="277"/>
                </a:cubicBezTo>
                <a:cubicBezTo>
                  <a:pt x="399" y="278"/>
                  <a:pt x="399" y="278"/>
                  <a:pt x="400" y="279"/>
                </a:cubicBezTo>
                <a:cubicBezTo>
                  <a:pt x="400" y="279"/>
                  <a:pt x="400" y="280"/>
                  <a:pt x="400" y="280"/>
                </a:cubicBezTo>
                <a:cubicBezTo>
                  <a:pt x="400" y="281"/>
                  <a:pt x="400" y="281"/>
                  <a:pt x="399" y="281"/>
                </a:cubicBezTo>
                <a:cubicBezTo>
                  <a:pt x="398" y="281"/>
                  <a:pt x="398" y="281"/>
                  <a:pt x="398" y="281"/>
                </a:cubicBezTo>
                <a:cubicBezTo>
                  <a:pt x="398" y="280"/>
                  <a:pt x="397" y="281"/>
                  <a:pt x="396" y="281"/>
                </a:cubicBezTo>
                <a:cubicBezTo>
                  <a:pt x="396" y="280"/>
                  <a:pt x="396" y="280"/>
                  <a:pt x="396" y="279"/>
                </a:cubicBezTo>
                <a:cubicBezTo>
                  <a:pt x="395" y="279"/>
                  <a:pt x="396" y="280"/>
                  <a:pt x="396" y="280"/>
                </a:cubicBezTo>
                <a:cubicBezTo>
                  <a:pt x="395" y="281"/>
                  <a:pt x="395" y="280"/>
                  <a:pt x="395" y="279"/>
                </a:cubicBezTo>
                <a:cubicBezTo>
                  <a:pt x="395" y="279"/>
                  <a:pt x="395" y="278"/>
                  <a:pt x="395" y="278"/>
                </a:cubicBezTo>
                <a:close/>
                <a:moveTo>
                  <a:pt x="434" y="302"/>
                </a:moveTo>
                <a:cubicBezTo>
                  <a:pt x="434" y="302"/>
                  <a:pt x="436" y="302"/>
                  <a:pt x="436" y="302"/>
                </a:cubicBezTo>
                <a:cubicBezTo>
                  <a:pt x="437" y="302"/>
                  <a:pt x="437" y="302"/>
                  <a:pt x="438" y="302"/>
                </a:cubicBezTo>
                <a:cubicBezTo>
                  <a:pt x="438" y="302"/>
                  <a:pt x="438" y="304"/>
                  <a:pt x="437" y="304"/>
                </a:cubicBezTo>
                <a:cubicBezTo>
                  <a:pt x="436" y="304"/>
                  <a:pt x="437" y="303"/>
                  <a:pt x="436" y="303"/>
                </a:cubicBezTo>
                <a:cubicBezTo>
                  <a:pt x="435" y="303"/>
                  <a:pt x="433" y="303"/>
                  <a:pt x="434" y="302"/>
                </a:cubicBezTo>
                <a:close/>
                <a:moveTo>
                  <a:pt x="440" y="314"/>
                </a:moveTo>
                <a:cubicBezTo>
                  <a:pt x="441" y="314"/>
                  <a:pt x="440" y="315"/>
                  <a:pt x="440" y="315"/>
                </a:cubicBezTo>
                <a:cubicBezTo>
                  <a:pt x="440" y="316"/>
                  <a:pt x="439" y="318"/>
                  <a:pt x="439" y="317"/>
                </a:cubicBezTo>
                <a:cubicBezTo>
                  <a:pt x="438" y="316"/>
                  <a:pt x="439" y="315"/>
                  <a:pt x="440" y="314"/>
                </a:cubicBezTo>
                <a:close/>
                <a:moveTo>
                  <a:pt x="441" y="319"/>
                </a:moveTo>
                <a:cubicBezTo>
                  <a:pt x="443" y="319"/>
                  <a:pt x="445" y="319"/>
                  <a:pt x="447" y="319"/>
                </a:cubicBezTo>
                <a:cubicBezTo>
                  <a:pt x="448" y="319"/>
                  <a:pt x="448" y="320"/>
                  <a:pt x="449" y="320"/>
                </a:cubicBezTo>
                <a:cubicBezTo>
                  <a:pt x="449" y="320"/>
                  <a:pt x="449" y="320"/>
                  <a:pt x="449" y="320"/>
                </a:cubicBezTo>
                <a:cubicBezTo>
                  <a:pt x="450" y="320"/>
                  <a:pt x="450" y="320"/>
                  <a:pt x="450" y="319"/>
                </a:cubicBezTo>
                <a:cubicBezTo>
                  <a:pt x="451" y="319"/>
                  <a:pt x="451" y="319"/>
                  <a:pt x="451" y="318"/>
                </a:cubicBezTo>
                <a:cubicBezTo>
                  <a:pt x="451" y="319"/>
                  <a:pt x="450" y="319"/>
                  <a:pt x="449" y="319"/>
                </a:cubicBezTo>
                <a:cubicBezTo>
                  <a:pt x="449" y="319"/>
                  <a:pt x="449" y="318"/>
                  <a:pt x="449" y="318"/>
                </a:cubicBezTo>
                <a:cubicBezTo>
                  <a:pt x="448" y="318"/>
                  <a:pt x="448" y="318"/>
                  <a:pt x="448" y="318"/>
                </a:cubicBezTo>
                <a:cubicBezTo>
                  <a:pt x="445" y="316"/>
                  <a:pt x="449" y="317"/>
                  <a:pt x="450" y="316"/>
                </a:cubicBezTo>
                <a:cubicBezTo>
                  <a:pt x="450" y="317"/>
                  <a:pt x="452" y="317"/>
                  <a:pt x="452" y="317"/>
                </a:cubicBezTo>
                <a:cubicBezTo>
                  <a:pt x="453" y="317"/>
                  <a:pt x="453" y="317"/>
                  <a:pt x="454" y="316"/>
                </a:cubicBezTo>
                <a:cubicBezTo>
                  <a:pt x="455" y="316"/>
                  <a:pt x="456" y="314"/>
                  <a:pt x="457" y="314"/>
                </a:cubicBezTo>
                <a:cubicBezTo>
                  <a:pt x="457" y="315"/>
                  <a:pt x="457" y="316"/>
                  <a:pt x="457" y="316"/>
                </a:cubicBezTo>
                <a:cubicBezTo>
                  <a:pt x="456" y="317"/>
                  <a:pt x="456" y="317"/>
                  <a:pt x="455" y="317"/>
                </a:cubicBezTo>
                <a:cubicBezTo>
                  <a:pt x="455" y="317"/>
                  <a:pt x="455" y="318"/>
                  <a:pt x="455" y="318"/>
                </a:cubicBezTo>
                <a:cubicBezTo>
                  <a:pt x="455" y="318"/>
                  <a:pt x="456" y="319"/>
                  <a:pt x="455" y="319"/>
                </a:cubicBezTo>
                <a:cubicBezTo>
                  <a:pt x="455" y="319"/>
                  <a:pt x="454" y="320"/>
                  <a:pt x="454" y="320"/>
                </a:cubicBezTo>
                <a:cubicBezTo>
                  <a:pt x="454" y="320"/>
                  <a:pt x="455" y="321"/>
                  <a:pt x="455" y="321"/>
                </a:cubicBezTo>
                <a:cubicBezTo>
                  <a:pt x="454" y="321"/>
                  <a:pt x="455" y="322"/>
                  <a:pt x="454" y="322"/>
                </a:cubicBezTo>
                <a:cubicBezTo>
                  <a:pt x="453" y="322"/>
                  <a:pt x="452" y="322"/>
                  <a:pt x="452" y="322"/>
                </a:cubicBezTo>
                <a:cubicBezTo>
                  <a:pt x="451" y="322"/>
                  <a:pt x="451" y="322"/>
                  <a:pt x="451" y="323"/>
                </a:cubicBezTo>
                <a:cubicBezTo>
                  <a:pt x="450" y="323"/>
                  <a:pt x="449" y="323"/>
                  <a:pt x="449" y="323"/>
                </a:cubicBezTo>
                <a:cubicBezTo>
                  <a:pt x="448" y="323"/>
                  <a:pt x="448" y="323"/>
                  <a:pt x="447" y="323"/>
                </a:cubicBezTo>
                <a:cubicBezTo>
                  <a:pt x="446" y="323"/>
                  <a:pt x="446" y="323"/>
                  <a:pt x="446" y="323"/>
                </a:cubicBezTo>
                <a:cubicBezTo>
                  <a:pt x="446" y="323"/>
                  <a:pt x="446" y="323"/>
                  <a:pt x="446" y="323"/>
                </a:cubicBezTo>
                <a:cubicBezTo>
                  <a:pt x="444" y="322"/>
                  <a:pt x="444" y="323"/>
                  <a:pt x="443" y="323"/>
                </a:cubicBezTo>
                <a:cubicBezTo>
                  <a:pt x="442" y="323"/>
                  <a:pt x="441" y="323"/>
                  <a:pt x="440" y="323"/>
                </a:cubicBezTo>
                <a:cubicBezTo>
                  <a:pt x="440" y="324"/>
                  <a:pt x="441" y="324"/>
                  <a:pt x="441" y="325"/>
                </a:cubicBezTo>
                <a:cubicBezTo>
                  <a:pt x="441" y="326"/>
                  <a:pt x="441" y="326"/>
                  <a:pt x="440" y="326"/>
                </a:cubicBezTo>
                <a:cubicBezTo>
                  <a:pt x="440" y="326"/>
                  <a:pt x="440" y="326"/>
                  <a:pt x="440" y="327"/>
                </a:cubicBezTo>
                <a:cubicBezTo>
                  <a:pt x="440" y="327"/>
                  <a:pt x="439" y="328"/>
                  <a:pt x="439" y="328"/>
                </a:cubicBezTo>
                <a:cubicBezTo>
                  <a:pt x="438" y="329"/>
                  <a:pt x="438" y="329"/>
                  <a:pt x="438" y="329"/>
                </a:cubicBezTo>
                <a:cubicBezTo>
                  <a:pt x="437" y="329"/>
                  <a:pt x="437" y="329"/>
                  <a:pt x="437" y="329"/>
                </a:cubicBezTo>
                <a:cubicBezTo>
                  <a:pt x="437" y="329"/>
                  <a:pt x="436" y="329"/>
                  <a:pt x="436" y="329"/>
                </a:cubicBezTo>
                <a:cubicBezTo>
                  <a:pt x="436" y="329"/>
                  <a:pt x="436" y="330"/>
                  <a:pt x="436" y="330"/>
                </a:cubicBezTo>
                <a:cubicBezTo>
                  <a:pt x="436" y="330"/>
                  <a:pt x="435" y="329"/>
                  <a:pt x="435" y="330"/>
                </a:cubicBezTo>
                <a:cubicBezTo>
                  <a:pt x="434" y="330"/>
                  <a:pt x="435" y="330"/>
                  <a:pt x="434" y="330"/>
                </a:cubicBezTo>
                <a:cubicBezTo>
                  <a:pt x="434" y="330"/>
                  <a:pt x="433" y="331"/>
                  <a:pt x="433" y="331"/>
                </a:cubicBezTo>
                <a:cubicBezTo>
                  <a:pt x="432" y="331"/>
                  <a:pt x="435" y="331"/>
                  <a:pt x="432" y="331"/>
                </a:cubicBezTo>
                <a:cubicBezTo>
                  <a:pt x="432" y="331"/>
                  <a:pt x="431" y="331"/>
                  <a:pt x="430" y="331"/>
                </a:cubicBezTo>
                <a:cubicBezTo>
                  <a:pt x="429" y="331"/>
                  <a:pt x="429" y="333"/>
                  <a:pt x="428" y="334"/>
                </a:cubicBezTo>
                <a:cubicBezTo>
                  <a:pt x="427" y="334"/>
                  <a:pt x="427" y="334"/>
                  <a:pt x="426" y="334"/>
                </a:cubicBezTo>
                <a:cubicBezTo>
                  <a:pt x="426" y="334"/>
                  <a:pt x="425" y="334"/>
                  <a:pt x="425" y="334"/>
                </a:cubicBezTo>
                <a:cubicBezTo>
                  <a:pt x="425" y="334"/>
                  <a:pt x="425" y="335"/>
                  <a:pt x="425" y="335"/>
                </a:cubicBezTo>
                <a:cubicBezTo>
                  <a:pt x="425" y="335"/>
                  <a:pt x="424" y="335"/>
                  <a:pt x="423" y="335"/>
                </a:cubicBezTo>
                <a:cubicBezTo>
                  <a:pt x="423" y="335"/>
                  <a:pt x="423" y="335"/>
                  <a:pt x="422" y="335"/>
                </a:cubicBezTo>
                <a:cubicBezTo>
                  <a:pt x="422" y="335"/>
                  <a:pt x="422" y="335"/>
                  <a:pt x="422" y="334"/>
                </a:cubicBezTo>
                <a:cubicBezTo>
                  <a:pt x="422" y="334"/>
                  <a:pt x="421" y="334"/>
                  <a:pt x="422" y="334"/>
                </a:cubicBezTo>
                <a:cubicBezTo>
                  <a:pt x="423" y="334"/>
                  <a:pt x="423" y="333"/>
                  <a:pt x="423" y="333"/>
                </a:cubicBezTo>
                <a:cubicBezTo>
                  <a:pt x="422" y="333"/>
                  <a:pt x="422" y="333"/>
                  <a:pt x="422" y="333"/>
                </a:cubicBezTo>
                <a:cubicBezTo>
                  <a:pt x="421" y="333"/>
                  <a:pt x="421" y="332"/>
                  <a:pt x="421" y="332"/>
                </a:cubicBezTo>
                <a:cubicBezTo>
                  <a:pt x="421" y="332"/>
                  <a:pt x="420" y="332"/>
                  <a:pt x="420" y="333"/>
                </a:cubicBezTo>
                <a:cubicBezTo>
                  <a:pt x="420" y="332"/>
                  <a:pt x="420" y="331"/>
                  <a:pt x="420" y="331"/>
                </a:cubicBezTo>
                <a:cubicBezTo>
                  <a:pt x="420" y="330"/>
                  <a:pt x="421" y="330"/>
                  <a:pt x="421" y="330"/>
                </a:cubicBezTo>
                <a:cubicBezTo>
                  <a:pt x="422" y="330"/>
                  <a:pt x="423" y="328"/>
                  <a:pt x="423" y="327"/>
                </a:cubicBezTo>
                <a:cubicBezTo>
                  <a:pt x="423" y="326"/>
                  <a:pt x="423" y="326"/>
                  <a:pt x="424" y="326"/>
                </a:cubicBezTo>
                <a:cubicBezTo>
                  <a:pt x="424" y="327"/>
                  <a:pt x="424" y="328"/>
                  <a:pt x="423" y="328"/>
                </a:cubicBezTo>
                <a:cubicBezTo>
                  <a:pt x="422" y="329"/>
                  <a:pt x="422" y="330"/>
                  <a:pt x="423" y="330"/>
                </a:cubicBezTo>
                <a:cubicBezTo>
                  <a:pt x="423" y="330"/>
                  <a:pt x="424" y="330"/>
                  <a:pt x="425" y="330"/>
                </a:cubicBezTo>
                <a:cubicBezTo>
                  <a:pt x="424" y="330"/>
                  <a:pt x="427" y="329"/>
                  <a:pt x="426" y="330"/>
                </a:cubicBezTo>
                <a:cubicBezTo>
                  <a:pt x="426" y="329"/>
                  <a:pt x="426" y="329"/>
                  <a:pt x="426" y="329"/>
                </a:cubicBezTo>
                <a:cubicBezTo>
                  <a:pt x="427" y="329"/>
                  <a:pt x="428" y="329"/>
                  <a:pt x="428" y="328"/>
                </a:cubicBezTo>
                <a:cubicBezTo>
                  <a:pt x="428" y="328"/>
                  <a:pt x="429" y="327"/>
                  <a:pt x="429" y="327"/>
                </a:cubicBezTo>
                <a:cubicBezTo>
                  <a:pt x="430" y="327"/>
                  <a:pt x="430" y="327"/>
                  <a:pt x="430" y="327"/>
                </a:cubicBezTo>
                <a:cubicBezTo>
                  <a:pt x="431" y="326"/>
                  <a:pt x="432" y="326"/>
                  <a:pt x="433" y="326"/>
                </a:cubicBezTo>
                <a:cubicBezTo>
                  <a:pt x="434" y="326"/>
                  <a:pt x="435" y="324"/>
                  <a:pt x="436" y="324"/>
                </a:cubicBezTo>
                <a:cubicBezTo>
                  <a:pt x="437" y="324"/>
                  <a:pt x="438" y="324"/>
                  <a:pt x="438" y="324"/>
                </a:cubicBezTo>
                <a:cubicBezTo>
                  <a:pt x="439" y="324"/>
                  <a:pt x="440" y="324"/>
                  <a:pt x="439" y="323"/>
                </a:cubicBezTo>
                <a:cubicBezTo>
                  <a:pt x="439" y="322"/>
                  <a:pt x="438" y="323"/>
                  <a:pt x="438" y="322"/>
                </a:cubicBezTo>
                <a:cubicBezTo>
                  <a:pt x="437" y="322"/>
                  <a:pt x="439" y="321"/>
                  <a:pt x="439" y="321"/>
                </a:cubicBezTo>
                <a:cubicBezTo>
                  <a:pt x="439" y="321"/>
                  <a:pt x="439" y="320"/>
                  <a:pt x="439" y="320"/>
                </a:cubicBezTo>
                <a:cubicBezTo>
                  <a:pt x="440" y="320"/>
                  <a:pt x="441" y="320"/>
                  <a:pt x="441" y="319"/>
                </a:cubicBezTo>
                <a:close/>
                <a:moveTo>
                  <a:pt x="382" y="406"/>
                </a:moveTo>
                <a:cubicBezTo>
                  <a:pt x="382" y="406"/>
                  <a:pt x="381" y="405"/>
                  <a:pt x="381" y="404"/>
                </a:cubicBezTo>
                <a:cubicBezTo>
                  <a:pt x="382" y="404"/>
                  <a:pt x="382" y="404"/>
                  <a:pt x="382" y="405"/>
                </a:cubicBezTo>
                <a:cubicBezTo>
                  <a:pt x="382" y="406"/>
                  <a:pt x="382" y="406"/>
                  <a:pt x="382" y="406"/>
                </a:cubicBezTo>
                <a:cubicBezTo>
                  <a:pt x="382" y="406"/>
                  <a:pt x="382" y="406"/>
                  <a:pt x="382" y="406"/>
                </a:cubicBezTo>
                <a:close/>
                <a:moveTo>
                  <a:pt x="462" y="233"/>
                </a:moveTo>
                <a:cubicBezTo>
                  <a:pt x="463" y="233"/>
                  <a:pt x="464" y="234"/>
                  <a:pt x="464" y="234"/>
                </a:cubicBezTo>
                <a:cubicBezTo>
                  <a:pt x="465" y="234"/>
                  <a:pt x="465" y="235"/>
                  <a:pt x="464" y="235"/>
                </a:cubicBezTo>
                <a:cubicBezTo>
                  <a:pt x="464" y="235"/>
                  <a:pt x="464" y="235"/>
                  <a:pt x="463" y="235"/>
                </a:cubicBezTo>
                <a:cubicBezTo>
                  <a:pt x="461" y="235"/>
                  <a:pt x="462" y="234"/>
                  <a:pt x="462" y="233"/>
                </a:cubicBezTo>
                <a:cubicBezTo>
                  <a:pt x="464" y="233"/>
                  <a:pt x="462" y="233"/>
                  <a:pt x="462" y="233"/>
                </a:cubicBezTo>
                <a:close/>
                <a:moveTo>
                  <a:pt x="467" y="308"/>
                </a:moveTo>
                <a:cubicBezTo>
                  <a:pt x="467" y="309"/>
                  <a:pt x="466" y="309"/>
                  <a:pt x="465" y="310"/>
                </a:cubicBezTo>
                <a:cubicBezTo>
                  <a:pt x="465" y="310"/>
                  <a:pt x="464" y="311"/>
                  <a:pt x="464" y="311"/>
                </a:cubicBezTo>
                <a:cubicBezTo>
                  <a:pt x="463" y="311"/>
                  <a:pt x="463" y="311"/>
                  <a:pt x="464" y="310"/>
                </a:cubicBezTo>
                <a:cubicBezTo>
                  <a:pt x="464" y="310"/>
                  <a:pt x="465" y="310"/>
                  <a:pt x="465" y="309"/>
                </a:cubicBezTo>
                <a:cubicBezTo>
                  <a:pt x="465" y="309"/>
                  <a:pt x="463" y="309"/>
                  <a:pt x="463" y="308"/>
                </a:cubicBezTo>
                <a:cubicBezTo>
                  <a:pt x="463" y="308"/>
                  <a:pt x="464" y="308"/>
                  <a:pt x="464" y="308"/>
                </a:cubicBezTo>
                <a:cubicBezTo>
                  <a:pt x="465" y="308"/>
                  <a:pt x="467" y="308"/>
                  <a:pt x="466" y="309"/>
                </a:cubicBezTo>
                <a:cubicBezTo>
                  <a:pt x="467" y="309"/>
                  <a:pt x="467" y="309"/>
                  <a:pt x="467" y="308"/>
                </a:cubicBezTo>
                <a:cubicBezTo>
                  <a:pt x="467" y="310"/>
                  <a:pt x="467" y="308"/>
                  <a:pt x="467" y="308"/>
                </a:cubicBezTo>
                <a:close/>
                <a:moveTo>
                  <a:pt x="467" y="272"/>
                </a:moveTo>
                <a:cubicBezTo>
                  <a:pt x="468" y="272"/>
                  <a:pt x="468" y="272"/>
                  <a:pt x="469" y="271"/>
                </a:cubicBezTo>
                <a:cubicBezTo>
                  <a:pt x="470" y="270"/>
                  <a:pt x="470" y="270"/>
                  <a:pt x="471" y="269"/>
                </a:cubicBezTo>
                <a:cubicBezTo>
                  <a:pt x="472" y="269"/>
                  <a:pt x="472" y="268"/>
                  <a:pt x="473" y="268"/>
                </a:cubicBezTo>
                <a:cubicBezTo>
                  <a:pt x="473" y="268"/>
                  <a:pt x="474" y="268"/>
                  <a:pt x="474" y="269"/>
                </a:cubicBezTo>
                <a:cubicBezTo>
                  <a:pt x="473" y="270"/>
                  <a:pt x="473" y="270"/>
                  <a:pt x="472" y="271"/>
                </a:cubicBezTo>
                <a:cubicBezTo>
                  <a:pt x="472" y="271"/>
                  <a:pt x="471" y="271"/>
                  <a:pt x="471" y="272"/>
                </a:cubicBezTo>
                <a:cubicBezTo>
                  <a:pt x="471" y="272"/>
                  <a:pt x="471" y="272"/>
                  <a:pt x="470" y="272"/>
                </a:cubicBezTo>
                <a:cubicBezTo>
                  <a:pt x="470" y="272"/>
                  <a:pt x="471" y="272"/>
                  <a:pt x="470" y="273"/>
                </a:cubicBezTo>
                <a:cubicBezTo>
                  <a:pt x="470" y="273"/>
                  <a:pt x="470" y="273"/>
                  <a:pt x="470" y="273"/>
                </a:cubicBezTo>
                <a:cubicBezTo>
                  <a:pt x="469" y="273"/>
                  <a:pt x="467" y="273"/>
                  <a:pt x="467" y="272"/>
                </a:cubicBezTo>
                <a:cubicBezTo>
                  <a:pt x="467" y="272"/>
                  <a:pt x="467" y="272"/>
                  <a:pt x="467" y="272"/>
                </a:cubicBezTo>
                <a:close/>
                <a:moveTo>
                  <a:pt x="468" y="238"/>
                </a:moveTo>
                <a:cubicBezTo>
                  <a:pt x="468" y="238"/>
                  <a:pt x="469" y="237"/>
                  <a:pt x="469" y="237"/>
                </a:cubicBezTo>
                <a:cubicBezTo>
                  <a:pt x="469" y="238"/>
                  <a:pt x="469" y="238"/>
                  <a:pt x="469" y="239"/>
                </a:cubicBezTo>
                <a:cubicBezTo>
                  <a:pt x="468" y="239"/>
                  <a:pt x="468" y="239"/>
                  <a:pt x="468" y="238"/>
                </a:cubicBezTo>
                <a:close/>
                <a:moveTo>
                  <a:pt x="470" y="245"/>
                </a:moveTo>
                <a:cubicBezTo>
                  <a:pt x="470" y="245"/>
                  <a:pt x="469" y="246"/>
                  <a:pt x="469" y="245"/>
                </a:cubicBezTo>
                <a:cubicBezTo>
                  <a:pt x="469" y="245"/>
                  <a:pt x="469" y="245"/>
                  <a:pt x="469" y="245"/>
                </a:cubicBezTo>
                <a:cubicBezTo>
                  <a:pt x="470" y="245"/>
                  <a:pt x="470" y="245"/>
                  <a:pt x="470" y="245"/>
                </a:cubicBezTo>
                <a:cubicBezTo>
                  <a:pt x="470" y="245"/>
                  <a:pt x="470" y="245"/>
                  <a:pt x="470" y="245"/>
                </a:cubicBezTo>
                <a:close/>
                <a:moveTo>
                  <a:pt x="474" y="270"/>
                </a:moveTo>
                <a:cubicBezTo>
                  <a:pt x="475" y="270"/>
                  <a:pt x="476" y="270"/>
                  <a:pt x="476" y="270"/>
                </a:cubicBezTo>
                <a:cubicBezTo>
                  <a:pt x="477" y="271"/>
                  <a:pt x="476" y="270"/>
                  <a:pt x="475" y="271"/>
                </a:cubicBezTo>
                <a:cubicBezTo>
                  <a:pt x="475" y="271"/>
                  <a:pt x="475" y="271"/>
                  <a:pt x="474" y="271"/>
                </a:cubicBezTo>
                <a:cubicBezTo>
                  <a:pt x="474" y="271"/>
                  <a:pt x="474" y="270"/>
                  <a:pt x="474" y="270"/>
                </a:cubicBezTo>
                <a:cubicBezTo>
                  <a:pt x="475" y="270"/>
                  <a:pt x="474" y="270"/>
                  <a:pt x="474" y="270"/>
                </a:cubicBezTo>
                <a:close/>
                <a:moveTo>
                  <a:pt x="469" y="316"/>
                </a:moveTo>
                <a:cubicBezTo>
                  <a:pt x="469" y="316"/>
                  <a:pt x="469" y="316"/>
                  <a:pt x="469" y="316"/>
                </a:cubicBezTo>
                <a:cubicBezTo>
                  <a:pt x="469" y="315"/>
                  <a:pt x="469" y="312"/>
                  <a:pt x="469" y="313"/>
                </a:cubicBezTo>
                <a:cubicBezTo>
                  <a:pt x="470" y="314"/>
                  <a:pt x="469" y="315"/>
                  <a:pt x="469" y="316"/>
                </a:cubicBezTo>
                <a:close/>
                <a:moveTo>
                  <a:pt x="488" y="257"/>
                </a:moveTo>
                <a:cubicBezTo>
                  <a:pt x="489" y="258"/>
                  <a:pt x="489" y="258"/>
                  <a:pt x="489" y="259"/>
                </a:cubicBezTo>
                <a:cubicBezTo>
                  <a:pt x="488" y="260"/>
                  <a:pt x="488" y="260"/>
                  <a:pt x="488" y="261"/>
                </a:cubicBezTo>
                <a:cubicBezTo>
                  <a:pt x="487" y="260"/>
                  <a:pt x="487" y="260"/>
                  <a:pt x="486" y="261"/>
                </a:cubicBezTo>
                <a:cubicBezTo>
                  <a:pt x="486" y="261"/>
                  <a:pt x="486" y="261"/>
                  <a:pt x="485" y="261"/>
                </a:cubicBezTo>
                <a:cubicBezTo>
                  <a:pt x="486" y="259"/>
                  <a:pt x="487" y="258"/>
                  <a:pt x="488" y="257"/>
                </a:cubicBezTo>
                <a:cubicBezTo>
                  <a:pt x="488" y="257"/>
                  <a:pt x="488" y="257"/>
                  <a:pt x="488" y="257"/>
                </a:cubicBezTo>
                <a:close/>
                <a:moveTo>
                  <a:pt x="491" y="250"/>
                </a:moveTo>
                <a:cubicBezTo>
                  <a:pt x="492" y="250"/>
                  <a:pt x="492" y="250"/>
                  <a:pt x="492" y="248"/>
                </a:cubicBezTo>
                <a:cubicBezTo>
                  <a:pt x="492" y="248"/>
                  <a:pt x="493" y="248"/>
                  <a:pt x="493" y="248"/>
                </a:cubicBezTo>
                <a:cubicBezTo>
                  <a:pt x="493" y="249"/>
                  <a:pt x="493" y="250"/>
                  <a:pt x="493" y="250"/>
                </a:cubicBezTo>
                <a:cubicBezTo>
                  <a:pt x="493" y="251"/>
                  <a:pt x="492" y="251"/>
                  <a:pt x="492" y="251"/>
                </a:cubicBezTo>
                <a:cubicBezTo>
                  <a:pt x="492" y="251"/>
                  <a:pt x="492" y="252"/>
                  <a:pt x="492" y="252"/>
                </a:cubicBezTo>
                <a:cubicBezTo>
                  <a:pt x="492" y="252"/>
                  <a:pt x="492" y="252"/>
                  <a:pt x="491" y="252"/>
                </a:cubicBezTo>
                <a:cubicBezTo>
                  <a:pt x="491" y="252"/>
                  <a:pt x="491" y="253"/>
                  <a:pt x="491" y="253"/>
                </a:cubicBezTo>
                <a:cubicBezTo>
                  <a:pt x="490" y="253"/>
                  <a:pt x="491" y="251"/>
                  <a:pt x="491" y="250"/>
                </a:cubicBezTo>
                <a:cubicBezTo>
                  <a:pt x="491" y="250"/>
                  <a:pt x="491" y="250"/>
                  <a:pt x="491" y="250"/>
                </a:cubicBezTo>
                <a:close/>
                <a:moveTo>
                  <a:pt x="503" y="243"/>
                </a:moveTo>
                <a:cubicBezTo>
                  <a:pt x="503" y="243"/>
                  <a:pt x="503" y="243"/>
                  <a:pt x="503" y="244"/>
                </a:cubicBezTo>
                <a:cubicBezTo>
                  <a:pt x="503" y="244"/>
                  <a:pt x="502" y="242"/>
                  <a:pt x="502" y="242"/>
                </a:cubicBezTo>
                <a:cubicBezTo>
                  <a:pt x="502" y="242"/>
                  <a:pt x="502" y="242"/>
                  <a:pt x="503" y="243"/>
                </a:cubicBezTo>
                <a:close/>
                <a:moveTo>
                  <a:pt x="514" y="254"/>
                </a:moveTo>
                <a:cubicBezTo>
                  <a:pt x="514" y="256"/>
                  <a:pt x="513" y="256"/>
                  <a:pt x="512" y="256"/>
                </a:cubicBezTo>
                <a:cubicBezTo>
                  <a:pt x="512" y="255"/>
                  <a:pt x="511" y="254"/>
                  <a:pt x="511" y="253"/>
                </a:cubicBezTo>
                <a:cubicBezTo>
                  <a:pt x="512" y="253"/>
                  <a:pt x="512" y="254"/>
                  <a:pt x="514" y="254"/>
                </a:cubicBezTo>
                <a:close/>
                <a:moveTo>
                  <a:pt x="495" y="305"/>
                </a:moveTo>
                <a:cubicBezTo>
                  <a:pt x="496" y="305"/>
                  <a:pt x="494" y="307"/>
                  <a:pt x="495" y="305"/>
                </a:cubicBezTo>
                <a:close/>
                <a:moveTo>
                  <a:pt x="652" y="621"/>
                </a:moveTo>
                <a:cubicBezTo>
                  <a:pt x="652" y="620"/>
                  <a:pt x="653" y="616"/>
                  <a:pt x="651" y="616"/>
                </a:cubicBezTo>
                <a:cubicBezTo>
                  <a:pt x="651" y="615"/>
                  <a:pt x="652" y="615"/>
                  <a:pt x="652" y="613"/>
                </a:cubicBezTo>
                <a:cubicBezTo>
                  <a:pt x="651" y="612"/>
                  <a:pt x="650" y="612"/>
                  <a:pt x="650" y="610"/>
                </a:cubicBezTo>
                <a:cubicBezTo>
                  <a:pt x="650" y="610"/>
                  <a:pt x="649" y="610"/>
                  <a:pt x="649" y="609"/>
                </a:cubicBezTo>
                <a:cubicBezTo>
                  <a:pt x="649" y="609"/>
                  <a:pt x="649" y="609"/>
                  <a:pt x="649" y="609"/>
                </a:cubicBezTo>
                <a:cubicBezTo>
                  <a:pt x="649" y="608"/>
                  <a:pt x="649" y="609"/>
                  <a:pt x="649" y="608"/>
                </a:cubicBezTo>
                <a:cubicBezTo>
                  <a:pt x="648" y="608"/>
                  <a:pt x="649" y="607"/>
                  <a:pt x="648" y="607"/>
                </a:cubicBezTo>
                <a:cubicBezTo>
                  <a:pt x="648" y="606"/>
                  <a:pt x="648" y="607"/>
                  <a:pt x="648" y="606"/>
                </a:cubicBezTo>
                <a:cubicBezTo>
                  <a:pt x="648" y="606"/>
                  <a:pt x="647" y="606"/>
                  <a:pt x="647" y="606"/>
                </a:cubicBezTo>
                <a:cubicBezTo>
                  <a:pt x="646" y="605"/>
                  <a:pt x="645" y="604"/>
                  <a:pt x="644" y="605"/>
                </a:cubicBezTo>
                <a:cubicBezTo>
                  <a:pt x="643" y="605"/>
                  <a:pt x="643" y="605"/>
                  <a:pt x="643" y="605"/>
                </a:cubicBezTo>
                <a:cubicBezTo>
                  <a:pt x="643" y="604"/>
                  <a:pt x="643" y="604"/>
                  <a:pt x="643" y="604"/>
                </a:cubicBezTo>
                <a:cubicBezTo>
                  <a:pt x="642" y="604"/>
                  <a:pt x="641" y="604"/>
                  <a:pt x="641" y="604"/>
                </a:cubicBezTo>
                <a:cubicBezTo>
                  <a:pt x="640" y="604"/>
                  <a:pt x="640" y="605"/>
                  <a:pt x="640" y="605"/>
                </a:cubicBezTo>
                <a:cubicBezTo>
                  <a:pt x="640" y="604"/>
                  <a:pt x="640" y="604"/>
                  <a:pt x="640" y="604"/>
                </a:cubicBezTo>
                <a:cubicBezTo>
                  <a:pt x="639" y="603"/>
                  <a:pt x="639" y="603"/>
                  <a:pt x="638" y="602"/>
                </a:cubicBezTo>
                <a:cubicBezTo>
                  <a:pt x="638" y="601"/>
                  <a:pt x="638" y="601"/>
                  <a:pt x="637" y="601"/>
                </a:cubicBezTo>
                <a:cubicBezTo>
                  <a:pt x="637" y="601"/>
                  <a:pt x="637" y="600"/>
                  <a:pt x="636" y="600"/>
                </a:cubicBezTo>
                <a:cubicBezTo>
                  <a:pt x="635" y="599"/>
                  <a:pt x="634" y="598"/>
                  <a:pt x="634" y="598"/>
                </a:cubicBezTo>
                <a:cubicBezTo>
                  <a:pt x="633" y="597"/>
                  <a:pt x="633" y="597"/>
                  <a:pt x="633" y="597"/>
                </a:cubicBezTo>
                <a:cubicBezTo>
                  <a:pt x="632" y="597"/>
                  <a:pt x="632" y="596"/>
                  <a:pt x="632" y="596"/>
                </a:cubicBezTo>
                <a:cubicBezTo>
                  <a:pt x="632" y="596"/>
                  <a:pt x="631" y="596"/>
                  <a:pt x="631" y="596"/>
                </a:cubicBezTo>
                <a:cubicBezTo>
                  <a:pt x="631" y="595"/>
                  <a:pt x="631" y="595"/>
                  <a:pt x="630" y="595"/>
                </a:cubicBezTo>
                <a:cubicBezTo>
                  <a:pt x="630" y="595"/>
                  <a:pt x="630" y="595"/>
                  <a:pt x="630" y="595"/>
                </a:cubicBezTo>
                <a:cubicBezTo>
                  <a:pt x="630" y="595"/>
                  <a:pt x="629" y="595"/>
                  <a:pt x="629" y="595"/>
                </a:cubicBezTo>
                <a:cubicBezTo>
                  <a:pt x="629" y="595"/>
                  <a:pt x="629" y="595"/>
                  <a:pt x="629" y="595"/>
                </a:cubicBezTo>
                <a:cubicBezTo>
                  <a:pt x="629" y="595"/>
                  <a:pt x="628" y="595"/>
                  <a:pt x="628" y="595"/>
                </a:cubicBezTo>
                <a:cubicBezTo>
                  <a:pt x="628" y="595"/>
                  <a:pt x="628" y="594"/>
                  <a:pt x="628" y="594"/>
                </a:cubicBezTo>
                <a:cubicBezTo>
                  <a:pt x="627" y="594"/>
                  <a:pt x="627" y="593"/>
                  <a:pt x="626" y="593"/>
                </a:cubicBezTo>
                <a:cubicBezTo>
                  <a:pt x="625" y="593"/>
                  <a:pt x="624" y="594"/>
                  <a:pt x="624" y="594"/>
                </a:cubicBezTo>
                <a:cubicBezTo>
                  <a:pt x="623" y="594"/>
                  <a:pt x="623" y="593"/>
                  <a:pt x="623" y="593"/>
                </a:cubicBezTo>
                <a:cubicBezTo>
                  <a:pt x="622" y="593"/>
                  <a:pt x="622" y="593"/>
                  <a:pt x="622" y="593"/>
                </a:cubicBezTo>
                <a:cubicBezTo>
                  <a:pt x="621" y="593"/>
                  <a:pt x="622" y="593"/>
                  <a:pt x="621" y="593"/>
                </a:cubicBezTo>
                <a:cubicBezTo>
                  <a:pt x="621" y="593"/>
                  <a:pt x="620" y="593"/>
                  <a:pt x="620" y="593"/>
                </a:cubicBezTo>
                <a:cubicBezTo>
                  <a:pt x="620" y="593"/>
                  <a:pt x="619" y="593"/>
                  <a:pt x="619" y="593"/>
                </a:cubicBezTo>
                <a:cubicBezTo>
                  <a:pt x="619" y="593"/>
                  <a:pt x="619" y="592"/>
                  <a:pt x="618" y="592"/>
                </a:cubicBezTo>
                <a:cubicBezTo>
                  <a:pt x="618" y="592"/>
                  <a:pt x="616" y="591"/>
                  <a:pt x="616" y="593"/>
                </a:cubicBezTo>
                <a:cubicBezTo>
                  <a:pt x="616" y="593"/>
                  <a:pt x="616" y="593"/>
                  <a:pt x="615" y="593"/>
                </a:cubicBezTo>
                <a:cubicBezTo>
                  <a:pt x="615" y="593"/>
                  <a:pt x="615" y="592"/>
                  <a:pt x="615" y="592"/>
                </a:cubicBezTo>
                <a:cubicBezTo>
                  <a:pt x="614" y="592"/>
                  <a:pt x="614" y="590"/>
                  <a:pt x="613" y="590"/>
                </a:cubicBezTo>
                <a:cubicBezTo>
                  <a:pt x="613" y="590"/>
                  <a:pt x="611" y="590"/>
                  <a:pt x="611" y="590"/>
                </a:cubicBezTo>
                <a:cubicBezTo>
                  <a:pt x="611" y="591"/>
                  <a:pt x="611" y="590"/>
                  <a:pt x="610" y="590"/>
                </a:cubicBezTo>
                <a:cubicBezTo>
                  <a:pt x="609" y="590"/>
                  <a:pt x="609" y="593"/>
                  <a:pt x="608" y="593"/>
                </a:cubicBezTo>
                <a:cubicBezTo>
                  <a:pt x="608" y="593"/>
                  <a:pt x="606" y="593"/>
                  <a:pt x="606" y="592"/>
                </a:cubicBezTo>
                <a:cubicBezTo>
                  <a:pt x="606" y="592"/>
                  <a:pt x="607" y="591"/>
                  <a:pt x="606" y="591"/>
                </a:cubicBezTo>
                <a:cubicBezTo>
                  <a:pt x="606" y="591"/>
                  <a:pt x="606" y="590"/>
                  <a:pt x="606" y="590"/>
                </a:cubicBezTo>
                <a:cubicBezTo>
                  <a:pt x="606" y="590"/>
                  <a:pt x="605" y="590"/>
                  <a:pt x="605" y="590"/>
                </a:cubicBezTo>
                <a:cubicBezTo>
                  <a:pt x="605" y="589"/>
                  <a:pt x="606" y="589"/>
                  <a:pt x="606" y="589"/>
                </a:cubicBezTo>
                <a:cubicBezTo>
                  <a:pt x="605" y="588"/>
                  <a:pt x="605" y="588"/>
                  <a:pt x="604" y="587"/>
                </a:cubicBezTo>
                <a:cubicBezTo>
                  <a:pt x="604" y="586"/>
                  <a:pt x="604" y="586"/>
                  <a:pt x="604" y="585"/>
                </a:cubicBezTo>
                <a:cubicBezTo>
                  <a:pt x="603" y="585"/>
                  <a:pt x="603" y="585"/>
                  <a:pt x="602" y="585"/>
                </a:cubicBezTo>
                <a:cubicBezTo>
                  <a:pt x="601" y="585"/>
                  <a:pt x="601" y="586"/>
                  <a:pt x="601" y="586"/>
                </a:cubicBezTo>
                <a:cubicBezTo>
                  <a:pt x="601" y="586"/>
                  <a:pt x="601" y="585"/>
                  <a:pt x="601" y="585"/>
                </a:cubicBezTo>
                <a:cubicBezTo>
                  <a:pt x="601" y="584"/>
                  <a:pt x="601" y="583"/>
                  <a:pt x="600" y="584"/>
                </a:cubicBezTo>
                <a:cubicBezTo>
                  <a:pt x="599" y="584"/>
                  <a:pt x="598" y="583"/>
                  <a:pt x="598" y="582"/>
                </a:cubicBezTo>
                <a:cubicBezTo>
                  <a:pt x="598" y="582"/>
                  <a:pt x="597" y="583"/>
                  <a:pt x="596" y="582"/>
                </a:cubicBezTo>
                <a:cubicBezTo>
                  <a:pt x="596" y="581"/>
                  <a:pt x="596" y="582"/>
                  <a:pt x="595" y="582"/>
                </a:cubicBezTo>
                <a:cubicBezTo>
                  <a:pt x="595" y="580"/>
                  <a:pt x="594" y="580"/>
                  <a:pt x="593" y="580"/>
                </a:cubicBezTo>
                <a:cubicBezTo>
                  <a:pt x="591" y="580"/>
                  <a:pt x="590" y="580"/>
                  <a:pt x="589" y="580"/>
                </a:cubicBezTo>
                <a:cubicBezTo>
                  <a:pt x="589" y="580"/>
                  <a:pt x="589" y="581"/>
                  <a:pt x="589" y="581"/>
                </a:cubicBezTo>
                <a:cubicBezTo>
                  <a:pt x="588" y="582"/>
                  <a:pt x="586" y="582"/>
                  <a:pt x="587" y="583"/>
                </a:cubicBezTo>
                <a:cubicBezTo>
                  <a:pt x="587" y="583"/>
                  <a:pt x="588" y="584"/>
                  <a:pt x="587" y="584"/>
                </a:cubicBezTo>
                <a:cubicBezTo>
                  <a:pt x="587" y="584"/>
                  <a:pt x="586" y="584"/>
                  <a:pt x="586" y="584"/>
                </a:cubicBezTo>
                <a:cubicBezTo>
                  <a:pt x="586" y="584"/>
                  <a:pt x="585" y="586"/>
                  <a:pt x="584" y="586"/>
                </a:cubicBezTo>
                <a:cubicBezTo>
                  <a:pt x="584" y="586"/>
                  <a:pt x="584" y="587"/>
                  <a:pt x="584" y="587"/>
                </a:cubicBezTo>
                <a:cubicBezTo>
                  <a:pt x="583" y="587"/>
                  <a:pt x="583" y="587"/>
                  <a:pt x="583" y="587"/>
                </a:cubicBezTo>
                <a:cubicBezTo>
                  <a:pt x="583" y="586"/>
                  <a:pt x="581" y="587"/>
                  <a:pt x="581" y="587"/>
                </a:cubicBezTo>
                <a:cubicBezTo>
                  <a:pt x="581" y="586"/>
                  <a:pt x="581" y="586"/>
                  <a:pt x="580" y="586"/>
                </a:cubicBezTo>
                <a:cubicBezTo>
                  <a:pt x="580" y="586"/>
                  <a:pt x="579" y="586"/>
                  <a:pt x="579" y="586"/>
                </a:cubicBezTo>
                <a:cubicBezTo>
                  <a:pt x="579" y="586"/>
                  <a:pt x="579" y="587"/>
                  <a:pt x="579" y="587"/>
                </a:cubicBezTo>
                <a:cubicBezTo>
                  <a:pt x="579" y="587"/>
                  <a:pt x="578" y="587"/>
                  <a:pt x="577" y="587"/>
                </a:cubicBezTo>
                <a:cubicBezTo>
                  <a:pt x="577" y="587"/>
                  <a:pt x="575" y="585"/>
                  <a:pt x="575" y="584"/>
                </a:cubicBezTo>
                <a:cubicBezTo>
                  <a:pt x="575" y="583"/>
                  <a:pt x="575" y="584"/>
                  <a:pt x="575" y="583"/>
                </a:cubicBezTo>
                <a:cubicBezTo>
                  <a:pt x="575" y="583"/>
                  <a:pt x="575" y="583"/>
                  <a:pt x="575" y="582"/>
                </a:cubicBezTo>
                <a:cubicBezTo>
                  <a:pt x="575" y="582"/>
                  <a:pt x="574" y="582"/>
                  <a:pt x="574" y="582"/>
                </a:cubicBezTo>
                <a:cubicBezTo>
                  <a:pt x="574" y="581"/>
                  <a:pt x="573" y="582"/>
                  <a:pt x="574" y="582"/>
                </a:cubicBezTo>
                <a:cubicBezTo>
                  <a:pt x="573" y="583"/>
                  <a:pt x="573" y="583"/>
                  <a:pt x="572" y="583"/>
                </a:cubicBezTo>
                <a:cubicBezTo>
                  <a:pt x="571" y="584"/>
                  <a:pt x="571" y="583"/>
                  <a:pt x="572" y="584"/>
                </a:cubicBezTo>
                <a:cubicBezTo>
                  <a:pt x="571" y="584"/>
                  <a:pt x="572" y="589"/>
                  <a:pt x="570" y="589"/>
                </a:cubicBezTo>
                <a:cubicBezTo>
                  <a:pt x="570" y="589"/>
                  <a:pt x="570" y="588"/>
                  <a:pt x="570" y="588"/>
                </a:cubicBezTo>
                <a:cubicBezTo>
                  <a:pt x="570" y="587"/>
                  <a:pt x="571" y="589"/>
                  <a:pt x="571" y="587"/>
                </a:cubicBezTo>
                <a:cubicBezTo>
                  <a:pt x="571" y="586"/>
                  <a:pt x="571" y="585"/>
                  <a:pt x="570" y="584"/>
                </a:cubicBezTo>
                <a:cubicBezTo>
                  <a:pt x="570" y="583"/>
                  <a:pt x="570" y="583"/>
                  <a:pt x="569" y="583"/>
                </a:cubicBezTo>
                <a:cubicBezTo>
                  <a:pt x="568" y="583"/>
                  <a:pt x="568" y="584"/>
                  <a:pt x="567" y="584"/>
                </a:cubicBezTo>
                <a:cubicBezTo>
                  <a:pt x="567" y="584"/>
                  <a:pt x="567" y="584"/>
                  <a:pt x="566" y="584"/>
                </a:cubicBezTo>
                <a:cubicBezTo>
                  <a:pt x="566" y="584"/>
                  <a:pt x="566" y="584"/>
                  <a:pt x="566" y="584"/>
                </a:cubicBezTo>
                <a:cubicBezTo>
                  <a:pt x="566" y="584"/>
                  <a:pt x="566" y="584"/>
                  <a:pt x="566" y="584"/>
                </a:cubicBezTo>
                <a:cubicBezTo>
                  <a:pt x="566" y="584"/>
                  <a:pt x="566" y="584"/>
                  <a:pt x="566" y="584"/>
                </a:cubicBezTo>
                <a:cubicBezTo>
                  <a:pt x="566" y="585"/>
                  <a:pt x="565" y="585"/>
                  <a:pt x="565" y="585"/>
                </a:cubicBezTo>
                <a:cubicBezTo>
                  <a:pt x="564" y="585"/>
                  <a:pt x="564" y="585"/>
                  <a:pt x="563" y="585"/>
                </a:cubicBezTo>
                <a:cubicBezTo>
                  <a:pt x="561" y="585"/>
                  <a:pt x="563" y="585"/>
                  <a:pt x="563" y="585"/>
                </a:cubicBezTo>
                <a:cubicBezTo>
                  <a:pt x="562" y="585"/>
                  <a:pt x="562" y="585"/>
                  <a:pt x="562" y="585"/>
                </a:cubicBezTo>
                <a:cubicBezTo>
                  <a:pt x="561" y="586"/>
                  <a:pt x="563" y="585"/>
                  <a:pt x="561" y="586"/>
                </a:cubicBezTo>
                <a:cubicBezTo>
                  <a:pt x="560" y="586"/>
                  <a:pt x="561" y="586"/>
                  <a:pt x="561" y="587"/>
                </a:cubicBezTo>
                <a:cubicBezTo>
                  <a:pt x="560" y="588"/>
                  <a:pt x="559" y="589"/>
                  <a:pt x="558" y="589"/>
                </a:cubicBezTo>
                <a:cubicBezTo>
                  <a:pt x="557" y="589"/>
                  <a:pt x="555" y="589"/>
                  <a:pt x="553" y="589"/>
                </a:cubicBezTo>
                <a:cubicBezTo>
                  <a:pt x="552" y="589"/>
                  <a:pt x="551" y="589"/>
                  <a:pt x="551" y="589"/>
                </a:cubicBezTo>
                <a:cubicBezTo>
                  <a:pt x="550" y="589"/>
                  <a:pt x="550" y="589"/>
                  <a:pt x="550" y="589"/>
                </a:cubicBezTo>
                <a:cubicBezTo>
                  <a:pt x="551" y="589"/>
                  <a:pt x="552" y="588"/>
                  <a:pt x="553" y="588"/>
                </a:cubicBezTo>
                <a:cubicBezTo>
                  <a:pt x="554" y="588"/>
                  <a:pt x="554" y="589"/>
                  <a:pt x="555" y="589"/>
                </a:cubicBezTo>
                <a:cubicBezTo>
                  <a:pt x="556" y="589"/>
                  <a:pt x="557" y="589"/>
                  <a:pt x="558" y="589"/>
                </a:cubicBezTo>
                <a:cubicBezTo>
                  <a:pt x="559" y="589"/>
                  <a:pt x="560" y="587"/>
                  <a:pt x="560" y="586"/>
                </a:cubicBezTo>
                <a:cubicBezTo>
                  <a:pt x="560" y="586"/>
                  <a:pt x="561" y="585"/>
                  <a:pt x="561" y="585"/>
                </a:cubicBezTo>
                <a:cubicBezTo>
                  <a:pt x="562" y="585"/>
                  <a:pt x="561" y="585"/>
                  <a:pt x="562" y="585"/>
                </a:cubicBezTo>
                <a:cubicBezTo>
                  <a:pt x="562" y="585"/>
                  <a:pt x="563" y="585"/>
                  <a:pt x="563" y="585"/>
                </a:cubicBezTo>
                <a:cubicBezTo>
                  <a:pt x="563" y="585"/>
                  <a:pt x="563" y="584"/>
                  <a:pt x="563" y="584"/>
                </a:cubicBezTo>
                <a:cubicBezTo>
                  <a:pt x="564" y="584"/>
                  <a:pt x="565" y="584"/>
                  <a:pt x="565" y="584"/>
                </a:cubicBezTo>
                <a:cubicBezTo>
                  <a:pt x="565" y="584"/>
                  <a:pt x="566" y="584"/>
                  <a:pt x="566" y="584"/>
                </a:cubicBezTo>
                <a:cubicBezTo>
                  <a:pt x="567" y="584"/>
                  <a:pt x="567" y="583"/>
                  <a:pt x="568" y="583"/>
                </a:cubicBezTo>
                <a:cubicBezTo>
                  <a:pt x="569" y="582"/>
                  <a:pt x="569" y="583"/>
                  <a:pt x="570" y="582"/>
                </a:cubicBezTo>
                <a:cubicBezTo>
                  <a:pt x="570" y="581"/>
                  <a:pt x="570" y="580"/>
                  <a:pt x="570" y="580"/>
                </a:cubicBezTo>
                <a:cubicBezTo>
                  <a:pt x="571" y="579"/>
                  <a:pt x="571" y="579"/>
                  <a:pt x="571" y="578"/>
                </a:cubicBezTo>
                <a:cubicBezTo>
                  <a:pt x="572" y="578"/>
                  <a:pt x="572" y="578"/>
                  <a:pt x="572" y="578"/>
                </a:cubicBezTo>
                <a:cubicBezTo>
                  <a:pt x="572" y="578"/>
                  <a:pt x="572" y="578"/>
                  <a:pt x="572" y="577"/>
                </a:cubicBezTo>
                <a:cubicBezTo>
                  <a:pt x="572" y="577"/>
                  <a:pt x="572" y="578"/>
                  <a:pt x="572" y="577"/>
                </a:cubicBezTo>
                <a:cubicBezTo>
                  <a:pt x="572" y="577"/>
                  <a:pt x="572" y="577"/>
                  <a:pt x="572" y="576"/>
                </a:cubicBezTo>
                <a:cubicBezTo>
                  <a:pt x="572" y="576"/>
                  <a:pt x="573" y="576"/>
                  <a:pt x="573" y="576"/>
                </a:cubicBezTo>
                <a:cubicBezTo>
                  <a:pt x="573" y="576"/>
                  <a:pt x="573" y="576"/>
                  <a:pt x="574" y="576"/>
                </a:cubicBezTo>
                <a:cubicBezTo>
                  <a:pt x="574" y="575"/>
                  <a:pt x="575" y="573"/>
                  <a:pt x="576" y="573"/>
                </a:cubicBezTo>
                <a:cubicBezTo>
                  <a:pt x="576" y="573"/>
                  <a:pt x="576" y="574"/>
                  <a:pt x="576" y="574"/>
                </a:cubicBezTo>
                <a:cubicBezTo>
                  <a:pt x="575" y="575"/>
                  <a:pt x="575" y="575"/>
                  <a:pt x="576" y="576"/>
                </a:cubicBezTo>
                <a:cubicBezTo>
                  <a:pt x="576" y="577"/>
                  <a:pt x="577" y="576"/>
                  <a:pt x="578" y="576"/>
                </a:cubicBezTo>
                <a:cubicBezTo>
                  <a:pt x="579" y="576"/>
                  <a:pt x="578" y="576"/>
                  <a:pt x="579" y="576"/>
                </a:cubicBezTo>
                <a:cubicBezTo>
                  <a:pt x="580" y="576"/>
                  <a:pt x="578" y="575"/>
                  <a:pt x="579" y="575"/>
                </a:cubicBezTo>
                <a:cubicBezTo>
                  <a:pt x="578" y="575"/>
                  <a:pt x="578" y="575"/>
                  <a:pt x="578" y="574"/>
                </a:cubicBezTo>
                <a:cubicBezTo>
                  <a:pt x="578" y="573"/>
                  <a:pt x="578" y="573"/>
                  <a:pt x="578" y="572"/>
                </a:cubicBezTo>
                <a:cubicBezTo>
                  <a:pt x="578" y="573"/>
                  <a:pt x="578" y="573"/>
                  <a:pt x="579" y="573"/>
                </a:cubicBezTo>
                <a:cubicBezTo>
                  <a:pt x="579" y="572"/>
                  <a:pt x="580" y="571"/>
                  <a:pt x="580" y="570"/>
                </a:cubicBezTo>
                <a:cubicBezTo>
                  <a:pt x="579" y="570"/>
                  <a:pt x="579" y="570"/>
                  <a:pt x="578" y="570"/>
                </a:cubicBezTo>
                <a:cubicBezTo>
                  <a:pt x="578" y="571"/>
                  <a:pt x="578" y="571"/>
                  <a:pt x="577" y="571"/>
                </a:cubicBezTo>
                <a:cubicBezTo>
                  <a:pt x="577" y="571"/>
                  <a:pt x="577" y="572"/>
                  <a:pt x="578" y="572"/>
                </a:cubicBezTo>
                <a:cubicBezTo>
                  <a:pt x="577" y="572"/>
                  <a:pt x="577" y="572"/>
                  <a:pt x="576" y="572"/>
                </a:cubicBezTo>
                <a:cubicBezTo>
                  <a:pt x="576" y="572"/>
                  <a:pt x="579" y="569"/>
                  <a:pt x="577" y="569"/>
                </a:cubicBezTo>
                <a:cubicBezTo>
                  <a:pt x="575" y="568"/>
                  <a:pt x="578" y="568"/>
                  <a:pt x="579" y="567"/>
                </a:cubicBezTo>
                <a:cubicBezTo>
                  <a:pt x="579" y="566"/>
                  <a:pt x="579" y="565"/>
                  <a:pt x="578" y="565"/>
                </a:cubicBezTo>
                <a:cubicBezTo>
                  <a:pt x="577" y="565"/>
                  <a:pt x="576" y="565"/>
                  <a:pt x="576" y="565"/>
                </a:cubicBezTo>
                <a:cubicBezTo>
                  <a:pt x="576" y="565"/>
                  <a:pt x="576" y="565"/>
                  <a:pt x="576" y="565"/>
                </a:cubicBezTo>
                <a:cubicBezTo>
                  <a:pt x="576" y="564"/>
                  <a:pt x="576" y="562"/>
                  <a:pt x="575" y="561"/>
                </a:cubicBezTo>
                <a:cubicBezTo>
                  <a:pt x="575" y="561"/>
                  <a:pt x="575" y="560"/>
                  <a:pt x="575" y="560"/>
                </a:cubicBezTo>
                <a:cubicBezTo>
                  <a:pt x="575" y="560"/>
                  <a:pt x="575" y="559"/>
                  <a:pt x="575" y="558"/>
                </a:cubicBezTo>
                <a:cubicBezTo>
                  <a:pt x="574" y="558"/>
                  <a:pt x="575" y="556"/>
                  <a:pt x="574" y="556"/>
                </a:cubicBezTo>
                <a:cubicBezTo>
                  <a:pt x="573" y="556"/>
                  <a:pt x="573" y="553"/>
                  <a:pt x="573" y="552"/>
                </a:cubicBezTo>
                <a:cubicBezTo>
                  <a:pt x="572" y="552"/>
                  <a:pt x="572" y="552"/>
                  <a:pt x="571" y="551"/>
                </a:cubicBezTo>
                <a:cubicBezTo>
                  <a:pt x="571" y="550"/>
                  <a:pt x="571" y="550"/>
                  <a:pt x="570" y="549"/>
                </a:cubicBezTo>
                <a:cubicBezTo>
                  <a:pt x="569" y="549"/>
                  <a:pt x="568" y="549"/>
                  <a:pt x="568" y="548"/>
                </a:cubicBezTo>
                <a:cubicBezTo>
                  <a:pt x="568" y="548"/>
                  <a:pt x="568" y="548"/>
                  <a:pt x="568" y="548"/>
                </a:cubicBezTo>
                <a:cubicBezTo>
                  <a:pt x="568" y="548"/>
                  <a:pt x="567" y="547"/>
                  <a:pt x="567" y="547"/>
                </a:cubicBezTo>
                <a:cubicBezTo>
                  <a:pt x="567" y="547"/>
                  <a:pt x="567" y="547"/>
                  <a:pt x="567" y="547"/>
                </a:cubicBezTo>
                <a:cubicBezTo>
                  <a:pt x="567" y="546"/>
                  <a:pt x="567" y="546"/>
                  <a:pt x="567" y="546"/>
                </a:cubicBezTo>
                <a:cubicBezTo>
                  <a:pt x="566" y="546"/>
                  <a:pt x="567" y="545"/>
                  <a:pt x="566" y="545"/>
                </a:cubicBezTo>
                <a:cubicBezTo>
                  <a:pt x="566" y="545"/>
                  <a:pt x="565" y="544"/>
                  <a:pt x="564" y="544"/>
                </a:cubicBezTo>
                <a:cubicBezTo>
                  <a:pt x="564" y="544"/>
                  <a:pt x="563" y="543"/>
                  <a:pt x="562" y="543"/>
                </a:cubicBezTo>
                <a:cubicBezTo>
                  <a:pt x="562" y="543"/>
                  <a:pt x="562" y="543"/>
                  <a:pt x="561" y="543"/>
                </a:cubicBezTo>
                <a:cubicBezTo>
                  <a:pt x="561" y="543"/>
                  <a:pt x="560" y="543"/>
                  <a:pt x="560" y="543"/>
                </a:cubicBezTo>
                <a:cubicBezTo>
                  <a:pt x="559" y="543"/>
                  <a:pt x="559" y="542"/>
                  <a:pt x="559" y="542"/>
                </a:cubicBezTo>
                <a:cubicBezTo>
                  <a:pt x="558" y="542"/>
                  <a:pt x="559" y="543"/>
                  <a:pt x="558" y="543"/>
                </a:cubicBezTo>
                <a:cubicBezTo>
                  <a:pt x="558" y="543"/>
                  <a:pt x="558" y="542"/>
                  <a:pt x="559" y="541"/>
                </a:cubicBezTo>
                <a:cubicBezTo>
                  <a:pt x="557" y="541"/>
                  <a:pt x="556" y="541"/>
                  <a:pt x="555" y="540"/>
                </a:cubicBezTo>
                <a:cubicBezTo>
                  <a:pt x="555" y="541"/>
                  <a:pt x="555" y="541"/>
                  <a:pt x="555" y="541"/>
                </a:cubicBezTo>
                <a:cubicBezTo>
                  <a:pt x="555" y="541"/>
                  <a:pt x="554" y="541"/>
                  <a:pt x="554" y="541"/>
                </a:cubicBezTo>
                <a:cubicBezTo>
                  <a:pt x="554" y="542"/>
                  <a:pt x="551" y="542"/>
                  <a:pt x="551" y="542"/>
                </a:cubicBezTo>
                <a:cubicBezTo>
                  <a:pt x="551" y="541"/>
                  <a:pt x="549" y="542"/>
                  <a:pt x="549" y="541"/>
                </a:cubicBezTo>
                <a:cubicBezTo>
                  <a:pt x="548" y="541"/>
                  <a:pt x="548" y="541"/>
                  <a:pt x="548" y="541"/>
                </a:cubicBezTo>
                <a:cubicBezTo>
                  <a:pt x="547" y="541"/>
                  <a:pt x="547" y="541"/>
                  <a:pt x="546" y="541"/>
                </a:cubicBezTo>
                <a:cubicBezTo>
                  <a:pt x="546" y="542"/>
                  <a:pt x="546" y="543"/>
                  <a:pt x="546" y="543"/>
                </a:cubicBezTo>
                <a:cubicBezTo>
                  <a:pt x="546" y="542"/>
                  <a:pt x="545" y="542"/>
                  <a:pt x="545" y="541"/>
                </a:cubicBezTo>
                <a:cubicBezTo>
                  <a:pt x="545" y="540"/>
                  <a:pt x="545" y="540"/>
                  <a:pt x="544" y="539"/>
                </a:cubicBezTo>
                <a:cubicBezTo>
                  <a:pt x="544" y="539"/>
                  <a:pt x="542" y="539"/>
                  <a:pt x="542" y="538"/>
                </a:cubicBezTo>
                <a:cubicBezTo>
                  <a:pt x="542" y="538"/>
                  <a:pt x="541" y="538"/>
                  <a:pt x="541" y="537"/>
                </a:cubicBezTo>
                <a:cubicBezTo>
                  <a:pt x="540" y="537"/>
                  <a:pt x="539" y="538"/>
                  <a:pt x="539" y="537"/>
                </a:cubicBezTo>
                <a:cubicBezTo>
                  <a:pt x="539" y="537"/>
                  <a:pt x="539" y="537"/>
                  <a:pt x="539" y="537"/>
                </a:cubicBezTo>
                <a:cubicBezTo>
                  <a:pt x="538" y="538"/>
                  <a:pt x="538" y="539"/>
                  <a:pt x="538" y="541"/>
                </a:cubicBezTo>
                <a:cubicBezTo>
                  <a:pt x="537" y="541"/>
                  <a:pt x="537" y="540"/>
                  <a:pt x="537" y="540"/>
                </a:cubicBezTo>
                <a:cubicBezTo>
                  <a:pt x="537" y="539"/>
                  <a:pt x="536" y="541"/>
                  <a:pt x="536" y="541"/>
                </a:cubicBezTo>
                <a:cubicBezTo>
                  <a:pt x="536" y="540"/>
                  <a:pt x="535" y="539"/>
                  <a:pt x="536" y="538"/>
                </a:cubicBezTo>
                <a:cubicBezTo>
                  <a:pt x="537" y="538"/>
                  <a:pt x="537" y="538"/>
                  <a:pt x="537" y="537"/>
                </a:cubicBezTo>
                <a:cubicBezTo>
                  <a:pt x="538" y="536"/>
                  <a:pt x="538" y="536"/>
                  <a:pt x="538" y="535"/>
                </a:cubicBezTo>
                <a:cubicBezTo>
                  <a:pt x="538" y="534"/>
                  <a:pt x="538" y="534"/>
                  <a:pt x="538" y="533"/>
                </a:cubicBezTo>
                <a:cubicBezTo>
                  <a:pt x="538" y="533"/>
                  <a:pt x="537" y="533"/>
                  <a:pt x="537" y="533"/>
                </a:cubicBezTo>
                <a:cubicBezTo>
                  <a:pt x="537" y="533"/>
                  <a:pt x="537" y="533"/>
                  <a:pt x="536" y="533"/>
                </a:cubicBezTo>
                <a:cubicBezTo>
                  <a:pt x="535" y="532"/>
                  <a:pt x="536" y="532"/>
                  <a:pt x="536" y="532"/>
                </a:cubicBezTo>
                <a:cubicBezTo>
                  <a:pt x="536" y="532"/>
                  <a:pt x="536" y="532"/>
                  <a:pt x="536" y="532"/>
                </a:cubicBezTo>
                <a:cubicBezTo>
                  <a:pt x="535" y="531"/>
                  <a:pt x="535" y="531"/>
                  <a:pt x="535" y="531"/>
                </a:cubicBezTo>
                <a:cubicBezTo>
                  <a:pt x="534" y="530"/>
                  <a:pt x="533" y="531"/>
                  <a:pt x="533" y="530"/>
                </a:cubicBezTo>
                <a:cubicBezTo>
                  <a:pt x="533" y="530"/>
                  <a:pt x="533" y="530"/>
                  <a:pt x="533" y="530"/>
                </a:cubicBezTo>
                <a:cubicBezTo>
                  <a:pt x="532" y="530"/>
                  <a:pt x="533" y="529"/>
                  <a:pt x="532" y="529"/>
                </a:cubicBezTo>
                <a:cubicBezTo>
                  <a:pt x="532" y="529"/>
                  <a:pt x="532" y="528"/>
                  <a:pt x="532" y="528"/>
                </a:cubicBezTo>
                <a:cubicBezTo>
                  <a:pt x="531" y="528"/>
                  <a:pt x="531" y="529"/>
                  <a:pt x="531" y="529"/>
                </a:cubicBezTo>
                <a:cubicBezTo>
                  <a:pt x="531" y="528"/>
                  <a:pt x="531" y="529"/>
                  <a:pt x="530" y="529"/>
                </a:cubicBezTo>
                <a:cubicBezTo>
                  <a:pt x="530" y="529"/>
                  <a:pt x="530" y="528"/>
                  <a:pt x="529" y="528"/>
                </a:cubicBezTo>
                <a:cubicBezTo>
                  <a:pt x="529" y="528"/>
                  <a:pt x="528" y="528"/>
                  <a:pt x="528" y="528"/>
                </a:cubicBezTo>
                <a:cubicBezTo>
                  <a:pt x="527" y="529"/>
                  <a:pt x="526" y="528"/>
                  <a:pt x="525" y="528"/>
                </a:cubicBezTo>
                <a:cubicBezTo>
                  <a:pt x="525" y="529"/>
                  <a:pt x="524" y="529"/>
                  <a:pt x="523" y="529"/>
                </a:cubicBezTo>
                <a:cubicBezTo>
                  <a:pt x="522" y="529"/>
                  <a:pt x="522" y="529"/>
                  <a:pt x="521" y="529"/>
                </a:cubicBezTo>
                <a:cubicBezTo>
                  <a:pt x="520" y="530"/>
                  <a:pt x="520" y="530"/>
                  <a:pt x="519" y="530"/>
                </a:cubicBezTo>
                <a:cubicBezTo>
                  <a:pt x="519" y="530"/>
                  <a:pt x="520" y="530"/>
                  <a:pt x="520" y="529"/>
                </a:cubicBezTo>
                <a:cubicBezTo>
                  <a:pt x="520" y="529"/>
                  <a:pt x="520" y="529"/>
                  <a:pt x="520" y="528"/>
                </a:cubicBezTo>
                <a:cubicBezTo>
                  <a:pt x="520" y="528"/>
                  <a:pt x="521" y="528"/>
                  <a:pt x="521" y="528"/>
                </a:cubicBezTo>
                <a:cubicBezTo>
                  <a:pt x="521" y="528"/>
                  <a:pt x="522" y="528"/>
                  <a:pt x="522" y="528"/>
                </a:cubicBezTo>
                <a:cubicBezTo>
                  <a:pt x="523" y="528"/>
                  <a:pt x="524" y="528"/>
                  <a:pt x="524" y="528"/>
                </a:cubicBezTo>
                <a:cubicBezTo>
                  <a:pt x="524" y="528"/>
                  <a:pt x="525" y="527"/>
                  <a:pt x="525" y="527"/>
                </a:cubicBezTo>
                <a:cubicBezTo>
                  <a:pt x="526" y="527"/>
                  <a:pt x="526" y="526"/>
                  <a:pt x="526" y="525"/>
                </a:cubicBezTo>
                <a:cubicBezTo>
                  <a:pt x="526" y="525"/>
                  <a:pt x="526" y="524"/>
                  <a:pt x="527" y="524"/>
                </a:cubicBezTo>
                <a:cubicBezTo>
                  <a:pt x="527" y="523"/>
                  <a:pt x="526" y="522"/>
                  <a:pt x="526" y="522"/>
                </a:cubicBezTo>
                <a:cubicBezTo>
                  <a:pt x="525" y="522"/>
                  <a:pt x="524" y="521"/>
                  <a:pt x="524" y="523"/>
                </a:cubicBezTo>
                <a:cubicBezTo>
                  <a:pt x="523" y="522"/>
                  <a:pt x="522" y="522"/>
                  <a:pt x="522" y="521"/>
                </a:cubicBezTo>
                <a:cubicBezTo>
                  <a:pt x="521" y="521"/>
                  <a:pt x="521" y="522"/>
                  <a:pt x="520" y="522"/>
                </a:cubicBezTo>
                <a:cubicBezTo>
                  <a:pt x="520" y="522"/>
                  <a:pt x="520" y="520"/>
                  <a:pt x="519" y="520"/>
                </a:cubicBezTo>
                <a:cubicBezTo>
                  <a:pt x="519" y="520"/>
                  <a:pt x="518" y="519"/>
                  <a:pt x="518" y="519"/>
                </a:cubicBezTo>
                <a:cubicBezTo>
                  <a:pt x="519" y="518"/>
                  <a:pt x="520" y="519"/>
                  <a:pt x="521" y="518"/>
                </a:cubicBezTo>
                <a:cubicBezTo>
                  <a:pt x="521" y="516"/>
                  <a:pt x="519" y="517"/>
                  <a:pt x="519" y="517"/>
                </a:cubicBezTo>
                <a:cubicBezTo>
                  <a:pt x="518" y="517"/>
                  <a:pt x="517" y="517"/>
                  <a:pt x="516" y="517"/>
                </a:cubicBezTo>
                <a:cubicBezTo>
                  <a:pt x="515" y="517"/>
                  <a:pt x="514" y="517"/>
                  <a:pt x="514" y="517"/>
                </a:cubicBezTo>
                <a:cubicBezTo>
                  <a:pt x="514" y="518"/>
                  <a:pt x="514" y="518"/>
                  <a:pt x="515" y="518"/>
                </a:cubicBezTo>
                <a:cubicBezTo>
                  <a:pt x="515" y="518"/>
                  <a:pt x="514" y="518"/>
                  <a:pt x="514" y="518"/>
                </a:cubicBezTo>
                <a:cubicBezTo>
                  <a:pt x="513" y="518"/>
                  <a:pt x="513" y="518"/>
                  <a:pt x="512" y="518"/>
                </a:cubicBezTo>
                <a:cubicBezTo>
                  <a:pt x="512" y="518"/>
                  <a:pt x="512" y="518"/>
                  <a:pt x="512" y="518"/>
                </a:cubicBezTo>
                <a:cubicBezTo>
                  <a:pt x="512" y="518"/>
                  <a:pt x="510" y="519"/>
                  <a:pt x="510" y="519"/>
                </a:cubicBezTo>
                <a:cubicBezTo>
                  <a:pt x="510" y="520"/>
                  <a:pt x="509" y="520"/>
                  <a:pt x="508" y="520"/>
                </a:cubicBezTo>
                <a:cubicBezTo>
                  <a:pt x="507" y="520"/>
                  <a:pt x="506" y="520"/>
                  <a:pt x="504" y="520"/>
                </a:cubicBezTo>
                <a:cubicBezTo>
                  <a:pt x="505" y="519"/>
                  <a:pt x="502" y="520"/>
                  <a:pt x="502" y="519"/>
                </a:cubicBezTo>
                <a:cubicBezTo>
                  <a:pt x="502" y="518"/>
                  <a:pt x="502" y="518"/>
                  <a:pt x="502" y="518"/>
                </a:cubicBezTo>
                <a:cubicBezTo>
                  <a:pt x="502" y="517"/>
                  <a:pt x="500" y="517"/>
                  <a:pt x="500" y="517"/>
                </a:cubicBezTo>
                <a:cubicBezTo>
                  <a:pt x="498" y="517"/>
                  <a:pt x="496" y="517"/>
                  <a:pt x="495" y="518"/>
                </a:cubicBezTo>
                <a:cubicBezTo>
                  <a:pt x="493" y="518"/>
                  <a:pt x="492" y="519"/>
                  <a:pt x="492" y="517"/>
                </a:cubicBezTo>
                <a:cubicBezTo>
                  <a:pt x="492" y="517"/>
                  <a:pt x="493" y="516"/>
                  <a:pt x="493" y="516"/>
                </a:cubicBezTo>
                <a:cubicBezTo>
                  <a:pt x="492" y="515"/>
                  <a:pt x="492" y="515"/>
                  <a:pt x="492" y="515"/>
                </a:cubicBezTo>
                <a:cubicBezTo>
                  <a:pt x="492" y="514"/>
                  <a:pt x="491" y="514"/>
                  <a:pt x="491" y="514"/>
                </a:cubicBezTo>
                <a:cubicBezTo>
                  <a:pt x="490" y="514"/>
                  <a:pt x="490" y="513"/>
                  <a:pt x="489" y="512"/>
                </a:cubicBezTo>
                <a:cubicBezTo>
                  <a:pt x="487" y="512"/>
                  <a:pt x="485" y="513"/>
                  <a:pt x="484" y="511"/>
                </a:cubicBezTo>
                <a:cubicBezTo>
                  <a:pt x="484" y="510"/>
                  <a:pt x="484" y="509"/>
                  <a:pt x="484" y="509"/>
                </a:cubicBezTo>
                <a:cubicBezTo>
                  <a:pt x="483" y="509"/>
                  <a:pt x="482" y="510"/>
                  <a:pt x="482" y="510"/>
                </a:cubicBezTo>
                <a:cubicBezTo>
                  <a:pt x="482" y="511"/>
                  <a:pt x="482" y="512"/>
                  <a:pt x="483" y="512"/>
                </a:cubicBezTo>
                <a:cubicBezTo>
                  <a:pt x="483" y="512"/>
                  <a:pt x="483" y="512"/>
                  <a:pt x="484" y="512"/>
                </a:cubicBezTo>
                <a:cubicBezTo>
                  <a:pt x="485" y="512"/>
                  <a:pt x="484" y="512"/>
                  <a:pt x="485" y="513"/>
                </a:cubicBezTo>
                <a:cubicBezTo>
                  <a:pt x="485" y="514"/>
                  <a:pt x="484" y="513"/>
                  <a:pt x="483" y="513"/>
                </a:cubicBezTo>
                <a:cubicBezTo>
                  <a:pt x="481" y="514"/>
                  <a:pt x="480" y="515"/>
                  <a:pt x="478" y="515"/>
                </a:cubicBezTo>
                <a:cubicBezTo>
                  <a:pt x="477" y="515"/>
                  <a:pt x="478" y="517"/>
                  <a:pt x="477" y="517"/>
                </a:cubicBezTo>
                <a:cubicBezTo>
                  <a:pt x="477" y="518"/>
                  <a:pt x="478" y="519"/>
                  <a:pt x="478" y="520"/>
                </a:cubicBezTo>
                <a:cubicBezTo>
                  <a:pt x="479" y="520"/>
                  <a:pt x="479" y="519"/>
                  <a:pt x="479" y="520"/>
                </a:cubicBezTo>
                <a:cubicBezTo>
                  <a:pt x="479" y="520"/>
                  <a:pt x="479" y="521"/>
                  <a:pt x="480" y="521"/>
                </a:cubicBezTo>
                <a:cubicBezTo>
                  <a:pt x="479" y="521"/>
                  <a:pt x="479" y="522"/>
                  <a:pt x="479" y="522"/>
                </a:cubicBezTo>
                <a:cubicBezTo>
                  <a:pt x="480" y="522"/>
                  <a:pt x="480" y="523"/>
                  <a:pt x="480" y="524"/>
                </a:cubicBezTo>
                <a:cubicBezTo>
                  <a:pt x="480" y="525"/>
                  <a:pt x="479" y="525"/>
                  <a:pt x="478" y="525"/>
                </a:cubicBezTo>
                <a:cubicBezTo>
                  <a:pt x="478" y="526"/>
                  <a:pt x="477" y="526"/>
                  <a:pt x="477" y="526"/>
                </a:cubicBezTo>
                <a:cubicBezTo>
                  <a:pt x="477" y="526"/>
                  <a:pt x="477" y="526"/>
                  <a:pt x="477" y="526"/>
                </a:cubicBezTo>
                <a:cubicBezTo>
                  <a:pt x="476" y="527"/>
                  <a:pt x="476" y="526"/>
                  <a:pt x="476" y="526"/>
                </a:cubicBezTo>
                <a:cubicBezTo>
                  <a:pt x="476" y="525"/>
                  <a:pt x="476" y="525"/>
                  <a:pt x="476" y="525"/>
                </a:cubicBezTo>
                <a:cubicBezTo>
                  <a:pt x="475" y="525"/>
                  <a:pt x="475" y="524"/>
                  <a:pt x="475" y="524"/>
                </a:cubicBezTo>
                <a:cubicBezTo>
                  <a:pt x="475" y="523"/>
                  <a:pt x="475" y="523"/>
                  <a:pt x="474" y="523"/>
                </a:cubicBezTo>
                <a:cubicBezTo>
                  <a:pt x="474" y="523"/>
                  <a:pt x="474" y="522"/>
                  <a:pt x="474" y="522"/>
                </a:cubicBezTo>
                <a:cubicBezTo>
                  <a:pt x="475" y="521"/>
                  <a:pt x="474" y="521"/>
                  <a:pt x="474" y="521"/>
                </a:cubicBezTo>
                <a:cubicBezTo>
                  <a:pt x="474" y="520"/>
                  <a:pt x="474" y="520"/>
                  <a:pt x="475" y="519"/>
                </a:cubicBezTo>
                <a:cubicBezTo>
                  <a:pt x="476" y="518"/>
                  <a:pt x="477" y="519"/>
                  <a:pt x="477" y="517"/>
                </a:cubicBezTo>
                <a:cubicBezTo>
                  <a:pt x="476" y="517"/>
                  <a:pt x="476" y="517"/>
                  <a:pt x="476" y="516"/>
                </a:cubicBezTo>
                <a:cubicBezTo>
                  <a:pt x="476" y="516"/>
                  <a:pt x="476" y="516"/>
                  <a:pt x="476" y="515"/>
                </a:cubicBezTo>
                <a:cubicBezTo>
                  <a:pt x="475" y="514"/>
                  <a:pt x="475" y="514"/>
                  <a:pt x="474" y="514"/>
                </a:cubicBezTo>
                <a:cubicBezTo>
                  <a:pt x="474" y="513"/>
                  <a:pt x="474" y="513"/>
                  <a:pt x="475" y="512"/>
                </a:cubicBezTo>
                <a:cubicBezTo>
                  <a:pt x="476" y="512"/>
                  <a:pt x="476" y="512"/>
                  <a:pt x="476" y="511"/>
                </a:cubicBezTo>
                <a:cubicBezTo>
                  <a:pt x="476" y="511"/>
                  <a:pt x="477" y="511"/>
                  <a:pt x="478" y="510"/>
                </a:cubicBezTo>
                <a:cubicBezTo>
                  <a:pt x="478" y="510"/>
                  <a:pt x="478" y="509"/>
                  <a:pt x="478" y="509"/>
                </a:cubicBezTo>
                <a:cubicBezTo>
                  <a:pt x="477" y="509"/>
                  <a:pt x="476" y="508"/>
                  <a:pt x="476" y="508"/>
                </a:cubicBezTo>
                <a:cubicBezTo>
                  <a:pt x="475" y="508"/>
                  <a:pt x="476" y="508"/>
                  <a:pt x="475" y="508"/>
                </a:cubicBezTo>
                <a:cubicBezTo>
                  <a:pt x="475" y="508"/>
                  <a:pt x="475" y="508"/>
                  <a:pt x="474" y="508"/>
                </a:cubicBezTo>
                <a:cubicBezTo>
                  <a:pt x="474" y="509"/>
                  <a:pt x="473" y="508"/>
                  <a:pt x="473" y="510"/>
                </a:cubicBezTo>
                <a:cubicBezTo>
                  <a:pt x="473" y="511"/>
                  <a:pt x="473" y="511"/>
                  <a:pt x="472" y="511"/>
                </a:cubicBezTo>
                <a:cubicBezTo>
                  <a:pt x="472" y="511"/>
                  <a:pt x="472" y="512"/>
                  <a:pt x="472" y="512"/>
                </a:cubicBezTo>
                <a:cubicBezTo>
                  <a:pt x="471" y="512"/>
                  <a:pt x="471" y="511"/>
                  <a:pt x="471" y="512"/>
                </a:cubicBezTo>
                <a:cubicBezTo>
                  <a:pt x="471" y="512"/>
                  <a:pt x="470" y="512"/>
                  <a:pt x="470" y="512"/>
                </a:cubicBezTo>
                <a:cubicBezTo>
                  <a:pt x="470" y="512"/>
                  <a:pt x="470" y="512"/>
                  <a:pt x="469" y="512"/>
                </a:cubicBezTo>
                <a:cubicBezTo>
                  <a:pt x="469" y="512"/>
                  <a:pt x="470" y="513"/>
                  <a:pt x="469" y="513"/>
                </a:cubicBezTo>
                <a:cubicBezTo>
                  <a:pt x="468" y="513"/>
                  <a:pt x="468" y="514"/>
                  <a:pt x="467" y="514"/>
                </a:cubicBezTo>
                <a:cubicBezTo>
                  <a:pt x="466" y="515"/>
                  <a:pt x="465" y="515"/>
                  <a:pt x="464" y="515"/>
                </a:cubicBezTo>
                <a:cubicBezTo>
                  <a:pt x="463" y="515"/>
                  <a:pt x="463" y="515"/>
                  <a:pt x="462" y="516"/>
                </a:cubicBezTo>
                <a:cubicBezTo>
                  <a:pt x="462" y="516"/>
                  <a:pt x="462" y="517"/>
                  <a:pt x="462" y="517"/>
                </a:cubicBezTo>
                <a:cubicBezTo>
                  <a:pt x="461" y="517"/>
                  <a:pt x="462" y="516"/>
                  <a:pt x="461" y="516"/>
                </a:cubicBezTo>
                <a:cubicBezTo>
                  <a:pt x="460" y="516"/>
                  <a:pt x="460" y="517"/>
                  <a:pt x="459" y="517"/>
                </a:cubicBezTo>
                <a:cubicBezTo>
                  <a:pt x="457" y="518"/>
                  <a:pt x="458" y="521"/>
                  <a:pt x="458" y="522"/>
                </a:cubicBezTo>
                <a:cubicBezTo>
                  <a:pt x="457" y="522"/>
                  <a:pt x="457" y="523"/>
                  <a:pt x="456" y="523"/>
                </a:cubicBezTo>
                <a:cubicBezTo>
                  <a:pt x="456" y="523"/>
                  <a:pt x="456" y="524"/>
                  <a:pt x="457" y="525"/>
                </a:cubicBezTo>
                <a:cubicBezTo>
                  <a:pt x="456" y="525"/>
                  <a:pt x="456" y="525"/>
                  <a:pt x="456" y="525"/>
                </a:cubicBezTo>
                <a:cubicBezTo>
                  <a:pt x="456" y="525"/>
                  <a:pt x="455" y="525"/>
                  <a:pt x="455" y="525"/>
                </a:cubicBezTo>
                <a:cubicBezTo>
                  <a:pt x="454" y="526"/>
                  <a:pt x="454" y="526"/>
                  <a:pt x="454" y="527"/>
                </a:cubicBezTo>
                <a:cubicBezTo>
                  <a:pt x="453" y="528"/>
                  <a:pt x="453" y="528"/>
                  <a:pt x="453" y="529"/>
                </a:cubicBezTo>
                <a:cubicBezTo>
                  <a:pt x="453" y="529"/>
                  <a:pt x="453" y="530"/>
                  <a:pt x="453" y="530"/>
                </a:cubicBezTo>
                <a:cubicBezTo>
                  <a:pt x="453" y="530"/>
                  <a:pt x="453" y="531"/>
                  <a:pt x="453" y="531"/>
                </a:cubicBezTo>
                <a:cubicBezTo>
                  <a:pt x="453" y="533"/>
                  <a:pt x="453" y="533"/>
                  <a:pt x="452" y="533"/>
                </a:cubicBezTo>
                <a:cubicBezTo>
                  <a:pt x="451" y="533"/>
                  <a:pt x="451" y="532"/>
                  <a:pt x="451" y="532"/>
                </a:cubicBezTo>
                <a:cubicBezTo>
                  <a:pt x="450" y="531"/>
                  <a:pt x="450" y="531"/>
                  <a:pt x="450" y="531"/>
                </a:cubicBezTo>
                <a:cubicBezTo>
                  <a:pt x="450" y="530"/>
                  <a:pt x="449" y="530"/>
                  <a:pt x="449" y="529"/>
                </a:cubicBezTo>
                <a:cubicBezTo>
                  <a:pt x="448" y="529"/>
                  <a:pt x="447" y="528"/>
                  <a:pt x="447" y="528"/>
                </a:cubicBezTo>
                <a:cubicBezTo>
                  <a:pt x="447" y="528"/>
                  <a:pt x="447" y="527"/>
                  <a:pt x="447" y="527"/>
                </a:cubicBezTo>
                <a:cubicBezTo>
                  <a:pt x="446" y="527"/>
                  <a:pt x="445" y="526"/>
                  <a:pt x="444" y="526"/>
                </a:cubicBezTo>
                <a:cubicBezTo>
                  <a:pt x="444" y="525"/>
                  <a:pt x="444" y="524"/>
                  <a:pt x="444" y="523"/>
                </a:cubicBezTo>
                <a:cubicBezTo>
                  <a:pt x="443" y="523"/>
                  <a:pt x="442" y="523"/>
                  <a:pt x="441" y="523"/>
                </a:cubicBezTo>
                <a:cubicBezTo>
                  <a:pt x="440" y="522"/>
                  <a:pt x="438" y="522"/>
                  <a:pt x="438" y="523"/>
                </a:cubicBezTo>
                <a:cubicBezTo>
                  <a:pt x="438" y="523"/>
                  <a:pt x="438" y="523"/>
                  <a:pt x="438" y="524"/>
                </a:cubicBezTo>
                <a:cubicBezTo>
                  <a:pt x="437" y="524"/>
                  <a:pt x="437" y="524"/>
                  <a:pt x="436" y="524"/>
                </a:cubicBezTo>
                <a:cubicBezTo>
                  <a:pt x="435" y="524"/>
                  <a:pt x="435" y="524"/>
                  <a:pt x="435" y="524"/>
                </a:cubicBezTo>
                <a:cubicBezTo>
                  <a:pt x="434" y="525"/>
                  <a:pt x="434" y="525"/>
                  <a:pt x="434" y="525"/>
                </a:cubicBezTo>
                <a:cubicBezTo>
                  <a:pt x="433" y="525"/>
                  <a:pt x="433" y="525"/>
                  <a:pt x="432" y="526"/>
                </a:cubicBezTo>
                <a:cubicBezTo>
                  <a:pt x="432" y="526"/>
                  <a:pt x="431" y="526"/>
                  <a:pt x="431" y="526"/>
                </a:cubicBezTo>
                <a:cubicBezTo>
                  <a:pt x="431" y="526"/>
                  <a:pt x="431" y="526"/>
                  <a:pt x="431" y="526"/>
                </a:cubicBezTo>
                <a:cubicBezTo>
                  <a:pt x="431" y="526"/>
                  <a:pt x="430" y="526"/>
                  <a:pt x="429" y="526"/>
                </a:cubicBezTo>
                <a:cubicBezTo>
                  <a:pt x="429" y="525"/>
                  <a:pt x="428" y="525"/>
                  <a:pt x="428" y="525"/>
                </a:cubicBezTo>
                <a:cubicBezTo>
                  <a:pt x="428" y="525"/>
                  <a:pt x="428" y="525"/>
                  <a:pt x="428" y="525"/>
                </a:cubicBezTo>
                <a:cubicBezTo>
                  <a:pt x="427" y="525"/>
                  <a:pt x="426" y="525"/>
                  <a:pt x="426" y="525"/>
                </a:cubicBezTo>
                <a:cubicBezTo>
                  <a:pt x="425" y="525"/>
                  <a:pt x="425" y="524"/>
                  <a:pt x="425" y="524"/>
                </a:cubicBezTo>
                <a:cubicBezTo>
                  <a:pt x="425" y="524"/>
                  <a:pt x="425" y="523"/>
                  <a:pt x="425" y="523"/>
                </a:cubicBezTo>
                <a:cubicBezTo>
                  <a:pt x="425" y="523"/>
                  <a:pt x="425" y="523"/>
                  <a:pt x="425" y="523"/>
                </a:cubicBezTo>
                <a:cubicBezTo>
                  <a:pt x="425" y="522"/>
                  <a:pt x="425" y="522"/>
                  <a:pt x="424" y="522"/>
                </a:cubicBezTo>
                <a:cubicBezTo>
                  <a:pt x="424" y="521"/>
                  <a:pt x="423" y="521"/>
                  <a:pt x="423" y="520"/>
                </a:cubicBezTo>
                <a:cubicBezTo>
                  <a:pt x="423" y="520"/>
                  <a:pt x="423" y="520"/>
                  <a:pt x="422" y="520"/>
                </a:cubicBezTo>
                <a:cubicBezTo>
                  <a:pt x="422" y="520"/>
                  <a:pt x="422" y="519"/>
                  <a:pt x="422" y="519"/>
                </a:cubicBezTo>
                <a:cubicBezTo>
                  <a:pt x="421" y="519"/>
                  <a:pt x="421" y="518"/>
                  <a:pt x="421" y="518"/>
                </a:cubicBezTo>
                <a:cubicBezTo>
                  <a:pt x="420" y="517"/>
                  <a:pt x="420" y="518"/>
                  <a:pt x="420" y="517"/>
                </a:cubicBezTo>
                <a:cubicBezTo>
                  <a:pt x="420" y="517"/>
                  <a:pt x="420" y="517"/>
                  <a:pt x="420" y="517"/>
                </a:cubicBezTo>
                <a:cubicBezTo>
                  <a:pt x="419" y="517"/>
                  <a:pt x="419" y="516"/>
                  <a:pt x="419" y="516"/>
                </a:cubicBezTo>
                <a:cubicBezTo>
                  <a:pt x="419" y="515"/>
                  <a:pt x="419" y="514"/>
                  <a:pt x="418" y="514"/>
                </a:cubicBezTo>
                <a:cubicBezTo>
                  <a:pt x="418" y="513"/>
                  <a:pt x="417" y="512"/>
                  <a:pt x="418" y="512"/>
                </a:cubicBezTo>
                <a:cubicBezTo>
                  <a:pt x="419" y="512"/>
                  <a:pt x="419" y="509"/>
                  <a:pt x="418" y="509"/>
                </a:cubicBezTo>
                <a:cubicBezTo>
                  <a:pt x="418" y="508"/>
                  <a:pt x="418" y="505"/>
                  <a:pt x="419" y="505"/>
                </a:cubicBezTo>
                <a:cubicBezTo>
                  <a:pt x="419" y="504"/>
                  <a:pt x="419" y="503"/>
                  <a:pt x="419" y="501"/>
                </a:cubicBezTo>
                <a:cubicBezTo>
                  <a:pt x="419" y="501"/>
                  <a:pt x="419" y="500"/>
                  <a:pt x="419" y="500"/>
                </a:cubicBezTo>
                <a:cubicBezTo>
                  <a:pt x="420" y="500"/>
                  <a:pt x="420" y="500"/>
                  <a:pt x="420" y="500"/>
                </a:cubicBezTo>
                <a:cubicBezTo>
                  <a:pt x="420" y="499"/>
                  <a:pt x="419" y="499"/>
                  <a:pt x="420" y="498"/>
                </a:cubicBezTo>
                <a:cubicBezTo>
                  <a:pt x="420" y="498"/>
                  <a:pt x="420" y="497"/>
                  <a:pt x="420" y="497"/>
                </a:cubicBezTo>
                <a:cubicBezTo>
                  <a:pt x="420" y="497"/>
                  <a:pt x="420" y="497"/>
                  <a:pt x="420" y="497"/>
                </a:cubicBezTo>
                <a:cubicBezTo>
                  <a:pt x="420" y="497"/>
                  <a:pt x="421" y="497"/>
                  <a:pt x="421" y="496"/>
                </a:cubicBezTo>
                <a:cubicBezTo>
                  <a:pt x="421" y="496"/>
                  <a:pt x="421" y="496"/>
                  <a:pt x="421" y="495"/>
                </a:cubicBezTo>
                <a:cubicBezTo>
                  <a:pt x="421" y="495"/>
                  <a:pt x="421" y="495"/>
                  <a:pt x="421" y="495"/>
                </a:cubicBezTo>
                <a:cubicBezTo>
                  <a:pt x="421" y="495"/>
                  <a:pt x="421" y="495"/>
                  <a:pt x="421" y="495"/>
                </a:cubicBezTo>
                <a:cubicBezTo>
                  <a:pt x="421" y="494"/>
                  <a:pt x="421" y="494"/>
                  <a:pt x="421" y="494"/>
                </a:cubicBezTo>
                <a:cubicBezTo>
                  <a:pt x="421" y="493"/>
                  <a:pt x="421" y="492"/>
                  <a:pt x="421" y="492"/>
                </a:cubicBezTo>
                <a:cubicBezTo>
                  <a:pt x="420" y="492"/>
                  <a:pt x="420" y="491"/>
                  <a:pt x="419" y="491"/>
                </a:cubicBezTo>
                <a:cubicBezTo>
                  <a:pt x="418" y="491"/>
                  <a:pt x="417" y="491"/>
                  <a:pt x="417" y="489"/>
                </a:cubicBezTo>
                <a:cubicBezTo>
                  <a:pt x="417" y="488"/>
                  <a:pt x="417" y="489"/>
                  <a:pt x="416" y="488"/>
                </a:cubicBezTo>
                <a:cubicBezTo>
                  <a:pt x="416" y="488"/>
                  <a:pt x="416" y="488"/>
                  <a:pt x="415" y="488"/>
                </a:cubicBezTo>
                <a:cubicBezTo>
                  <a:pt x="415" y="487"/>
                  <a:pt x="412" y="487"/>
                  <a:pt x="411" y="487"/>
                </a:cubicBezTo>
                <a:cubicBezTo>
                  <a:pt x="411" y="487"/>
                  <a:pt x="410" y="487"/>
                  <a:pt x="410" y="487"/>
                </a:cubicBezTo>
                <a:cubicBezTo>
                  <a:pt x="409" y="486"/>
                  <a:pt x="409" y="486"/>
                  <a:pt x="409" y="486"/>
                </a:cubicBezTo>
                <a:cubicBezTo>
                  <a:pt x="408" y="487"/>
                  <a:pt x="408" y="487"/>
                  <a:pt x="407" y="487"/>
                </a:cubicBezTo>
                <a:cubicBezTo>
                  <a:pt x="406" y="487"/>
                  <a:pt x="406" y="487"/>
                  <a:pt x="405" y="487"/>
                </a:cubicBezTo>
                <a:cubicBezTo>
                  <a:pt x="404" y="487"/>
                  <a:pt x="404" y="488"/>
                  <a:pt x="403" y="488"/>
                </a:cubicBezTo>
                <a:cubicBezTo>
                  <a:pt x="403" y="488"/>
                  <a:pt x="402" y="488"/>
                  <a:pt x="402" y="488"/>
                </a:cubicBezTo>
                <a:cubicBezTo>
                  <a:pt x="401" y="488"/>
                  <a:pt x="399" y="488"/>
                  <a:pt x="398" y="488"/>
                </a:cubicBezTo>
                <a:cubicBezTo>
                  <a:pt x="398" y="488"/>
                  <a:pt x="398" y="488"/>
                  <a:pt x="398" y="488"/>
                </a:cubicBezTo>
                <a:cubicBezTo>
                  <a:pt x="397" y="489"/>
                  <a:pt x="397" y="487"/>
                  <a:pt x="396" y="487"/>
                </a:cubicBezTo>
                <a:cubicBezTo>
                  <a:pt x="395" y="488"/>
                  <a:pt x="395" y="488"/>
                  <a:pt x="394" y="488"/>
                </a:cubicBezTo>
                <a:cubicBezTo>
                  <a:pt x="394" y="488"/>
                  <a:pt x="394" y="487"/>
                  <a:pt x="394" y="487"/>
                </a:cubicBezTo>
                <a:cubicBezTo>
                  <a:pt x="395" y="486"/>
                  <a:pt x="395" y="486"/>
                  <a:pt x="395" y="485"/>
                </a:cubicBezTo>
                <a:cubicBezTo>
                  <a:pt x="395" y="485"/>
                  <a:pt x="395" y="485"/>
                  <a:pt x="396" y="485"/>
                </a:cubicBezTo>
                <a:cubicBezTo>
                  <a:pt x="397" y="484"/>
                  <a:pt x="396" y="483"/>
                  <a:pt x="396" y="482"/>
                </a:cubicBezTo>
                <a:cubicBezTo>
                  <a:pt x="397" y="482"/>
                  <a:pt x="397" y="482"/>
                  <a:pt x="397" y="482"/>
                </a:cubicBezTo>
                <a:cubicBezTo>
                  <a:pt x="397" y="482"/>
                  <a:pt x="397" y="481"/>
                  <a:pt x="397" y="481"/>
                </a:cubicBezTo>
                <a:cubicBezTo>
                  <a:pt x="397" y="481"/>
                  <a:pt x="397" y="481"/>
                  <a:pt x="396" y="480"/>
                </a:cubicBezTo>
                <a:cubicBezTo>
                  <a:pt x="397" y="480"/>
                  <a:pt x="397" y="480"/>
                  <a:pt x="397" y="479"/>
                </a:cubicBezTo>
                <a:cubicBezTo>
                  <a:pt x="397" y="479"/>
                  <a:pt x="398" y="479"/>
                  <a:pt x="398" y="479"/>
                </a:cubicBezTo>
                <a:cubicBezTo>
                  <a:pt x="398" y="477"/>
                  <a:pt x="398" y="476"/>
                  <a:pt x="398" y="475"/>
                </a:cubicBezTo>
                <a:cubicBezTo>
                  <a:pt x="397" y="475"/>
                  <a:pt x="398" y="475"/>
                  <a:pt x="398" y="474"/>
                </a:cubicBezTo>
                <a:cubicBezTo>
                  <a:pt x="397" y="474"/>
                  <a:pt x="397" y="474"/>
                  <a:pt x="396" y="474"/>
                </a:cubicBezTo>
                <a:cubicBezTo>
                  <a:pt x="396" y="473"/>
                  <a:pt x="397" y="472"/>
                  <a:pt x="397" y="472"/>
                </a:cubicBezTo>
                <a:cubicBezTo>
                  <a:pt x="397" y="472"/>
                  <a:pt x="398" y="471"/>
                  <a:pt x="398" y="471"/>
                </a:cubicBezTo>
                <a:cubicBezTo>
                  <a:pt x="399" y="471"/>
                  <a:pt x="398" y="472"/>
                  <a:pt x="398" y="473"/>
                </a:cubicBezTo>
                <a:cubicBezTo>
                  <a:pt x="398" y="473"/>
                  <a:pt x="399" y="473"/>
                  <a:pt x="399" y="474"/>
                </a:cubicBezTo>
                <a:cubicBezTo>
                  <a:pt x="399" y="474"/>
                  <a:pt x="400" y="474"/>
                  <a:pt x="400" y="474"/>
                </a:cubicBezTo>
                <a:cubicBezTo>
                  <a:pt x="400" y="473"/>
                  <a:pt x="400" y="472"/>
                  <a:pt x="399" y="471"/>
                </a:cubicBezTo>
                <a:cubicBezTo>
                  <a:pt x="400" y="470"/>
                  <a:pt x="400" y="469"/>
                  <a:pt x="400" y="469"/>
                </a:cubicBezTo>
                <a:cubicBezTo>
                  <a:pt x="401" y="467"/>
                  <a:pt x="401" y="466"/>
                  <a:pt x="401" y="465"/>
                </a:cubicBezTo>
                <a:cubicBezTo>
                  <a:pt x="401" y="465"/>
                  <a:pt x="402" y="465"/>
                  <a:pt x="401" y="465"/>
                </a:cubicBezTo>
                <a:cubicBezTo>
                  <a:pt x="400" y="464"/>
                  <a:pt x="401" y="463"/>
                  <a:pt x="401" y="462"/>
                </a:cubicBezTo>
                <a:cubicBezTo>
                  <a:pt x="402" y="461"/>
                  <a:pt x="401" y="460"/>
                  <a:pt x="402" y="460"/>
                </a:cubicBezTo>
                <a:cubicBezTo>
                  <a:pt x="402" y="460"/>
                  <a:pt x="402" y="459"/>
                  <a:pt x="403" y="459"/>
                </a:cubicBezTo>
                <a:cubicBezTo>
                  <a:pt x="403" y="459"/>
                  <a:pt x="403" y="457"/>
                  <a:pt x="403" y="457"/>
                </a:cubicBezTo>
                <a:cubicBezTo>
                  <a:pt x="403" y="456"/>
                  <a:pt x="403" y="456"/>
                  <a:pt x="403" y="456"/>
                </a:cubicBezTo>
                <a:cubicBezTo>
                  <a:pt x="403" y="455"/>
                  <a:pt x="403" y="455"/>
                  <a:pt x="403" y="454"/>
                </a:cubicBezTo>
                <a:cubicBezTo>
                  <a:pt x="402" y="454"/>
                  <a:pt x="402" y="454"/>
                  <a:pt x="401" y="454"/>
                </a:cubicBezTo>
                <a:cubicBezTo>
                  <a:pt x="401" y="454"/>
                  <a:pt x="401" y="453"/>
                  <a:pt x="401" y="453"/>
                </a:cubicBezTo>
                <a:cubicBezTo>
                  <a:pt x="400" y="453"/>
                  <a:pt x="401" y="453"/>
                  <a:pt x="400" y="453"/>
                </a:cubicBezTo>
                <a:cubicBezTo>
                  <a:pt x="399" y="453"/>
                  <a:pt x="397" y="453"/>
                  <a:pt x="396" y="454"/>
                </a:cubicBezTo>
                <a:cubicBezTo>
                  <a:pt x="396" y="454"/>
                  <a:pt x="395" y="455"/>
                  <a:pt x="395" y="455"/>
                </a:cubicBezTo>
                <a:cubicBezTo>
                  <a:pt x="395" y="455"/>
                  <a:pt x="394" y="455"/>
                  <a:pt x="394" y="455"/>
                </a:cubicBezTo>
                <a:cubicBezTo>
                  <a:pt x="393" y="456"/>
                  <a:pt x="393" y="456"/>
                  <a:pt x="392" y="456"/>
                </a:cubicBezTo>
                <a:cubicBezTo>
                  <a:pt x="392" y="456"/>
                  <a:pt x="392" y="457"/>
                  <a:pt x="392" y="457"/>
                </a:cubicBezTo>
                <a:cubicBezTo>
                  <a:pt x="391" y="457"/>
                  <a:pt x="390" y="457"/>
                  <a:pt x="390" y="457"/>
                </a:cubicBezTo>
                <a:cubicBezTo>
                  <a:pt x="389" y="457"/>
                  <a:pt x="390" y="457"/>
                  <a:pt x="390" y="457"/>
                </a:cubicBezTo>
                <a:cubicBezTo>
                  <a:pt x="388" y="457"/>
                  <a:pt x="388" y="458"/>
                  <a:pt x="388" y="459"/>
                </a:cubicBezTo>
                <a:cubicBezTo>
                  <a:pt x="388" y="461"/>
                  <a:pt x="387" y="462"/>
                  <a:pt x="387" y="464"/>
                </a:cubicBezTo>
                <a:cubicBezTo>
                  <a:pt x="387" y="464"/>
                  <a:pt x="387" y="464"/>
                  <a:pt x="386" y="465"/>
                </a:cubicBezTo>
                <a:cubicBezTo>
                  <a:pt x="386" y="465"/>
                  <a:pt x="386" y="466"/>
                  <a:pt x="386" y="466"/>
                </a:cubicBezTo>
                <a:cubicBezTo>
                  <a:pt x="385" y="466"/>
                  <a:pt x="386" y="468"/>
                  <a:pt x="386" y="468"/>
                </a:cubicBezTo>
                <a:cubicBezTo>
                  <a:pt x="386" y="469"/>
                  <a:pt x="385" y="469"/>
                  <a:pt x="384" y="469"/>
                </a:cubicBezTo>
                <a:cubicBezTo>
                  <a:pt x="384" y="470"/>
                  <a:pt x="383" y="470"/>
                  <a:pt x="383" y="471"/>
                </a:cubicBezTo>
                <a:cubicBezTo>
                  <a:pt x="382" y="472"/>
                  <a:pt x="382" y="472"/>
                  <a:pt x="382" y="472"/>
                </a:cubicBezTo>
                <a:cubicBezTo>
                  <a:pt x="381" y="472"/>
                  <a:pt x="381" y="472"/>
                  <a:pt x="381" y="472"/>
                </a:cubicBezTo>
                <a:cubicBezTo>
                  <a:pt x="380" y="472"/>
                  <a:pt x="380" y="471"/>
                  <a:pt x="380" y="471"/>
                </a:cubicBezTo>
                <a:cubicBezTo>
                  <a:pt x="379" y="471"/>
                  <a:pt x="378" y="471"/>
                  <a:pt x="377" y="471"/>
                </a:cubicBezTo>
                <a:cubicBezTo>
                  <a:pt x="377" y="471"/>
                  <a:pt x="377" y="471"/>
                  <a:pt x="377" y="471"/>
                </a:cubicBezTo>
                <a:cubicBezTo>
                  <a:pt x="376" y="471"/>
                  <a:pt x="375" y="472"/>
                  <a:pt x="375" y="474"/>
                </a:cubicBezTo>
                <a:cubicBezTo>
                  <a:pt x="374" y="473"/>
                  <a:pt x="371" y="473"/>
                  <a:pt x="372" y="474"/>
                </a:cubicBezTo>
                <a:cubicBezTo>
                  <a:pt x="371" y="474"/>
                  <a:pt x="370" y="474"/>
                  <a:pt x="369" y="474"/>
                </a:cubicBezTo>
                <a:cubicBezTo>
                  <a:pt x="368" y="474"/>
                  <a:pt x="367" y="475"/>
                  <a:pt x="367" y="474"/>
                </a:cubicBezTo>
                <a:cubicBezTo>
                  <a:pt x="367" y="473"/>
                  <a:pt x="367" y="473"/>
                  <a:pt x="366" y="472"/>
                </a:cubicBezTo>
                <a:cubicBezTo>
                  <a:pt x="366" y="472"/>
                  <a:pt x="366" y="472"/>
                  <a:pt x="365" y="472"/>
                </a:cubicBezTo>
                <a:cubicBezTo>
                  <a:pt x="364" y="471"/>
                  <a:pt x="365" y="471"/>
                  <a:pt x="365" y="471"/>
                </a:cubicBezTo>
                <a:cubicBezTo>
                  <a:pt x="364" y="471"/>
                  <a:pt x="364" y="471"/>
                  <a:pt x="364" y="471"/>
                </a:cubicBezTo>
                <a:cubicBezTo>
                  <a:pt x="363" y="471"/>
                  <a:pt x="361" y="472"/>
                  <a:pt x="361" y="470"/>
                </a:cubicBezTo>
                <a:cubicBezTo>
                  <a:pt x="361" y="470"/>
                  <a:pt x="360" y="469"/>
                  <a:pt x="360" y="468"/>
                </a:cubicBezTo>
                <a:cubicBezTo>
                  <a:pt x="359" y="467"/>
                  <a:pt x="359" y="467"/>
                  <a:pt x="359" y="466"/>
                </a:cubicBezTo>
                <a:cubicBezTo>
                  <a:pt x="359" y="464"/>
                  <a:pt x="359" y="465"/>
                  <a:pt x="358" y="465"/>
                </a:cubicBezTo>
                <a:cubicBezTo>
                  <a:pt x="357" y="464"/>
                  <a:pt x="357" y="463"/>
                  <a:pt x="356" y="463"/>
                </a:cubicBezTo>
                <a:cubicBezTo>
                  <a:pt x="356" y="463"/>
                  <a:pt x="356" y="462"/>
                  <a:pt x="356" y="462"/>
                </a:cubicBezTo>
                <a:cubicBezTo>
                  <a:pt x="356" y="462"/>
                  <a:pt x="356" y="462"/>
                  <a:pt x="356" y="462"/>
                </a:cubicBezTo>
                <a:cubicBezTo>
                  <a:pt x="355" y="462"/>
                  <a:pt x="356" y="462"/>
                  <a:pt x="356" y="461"/>
                </a:cubicBezTo>
                <a:cubicBezTo>
                  <a:pt x="355" y="461"/>
                  <a:pt x="355" y="462"/>
                  <a:pt x="355" y="461"/>
                </a:cubicBezTo>
                <a:cubicBezTo>
                  <a:pt x="355" y="461"/>
                  <a:pt x="355" y="460"/>
                  <a:pt x="354" y="460"/>
                </a:cubicBezTo>
                <a:cubicBezTo>
                  <a:pt x="353" y="460"/>
                  <a:pt x="354" y="459"/>
                  <a:pt x="354" y="458"/>
                </a:cubicBezTo>
                <a:cubicBezTo>
                  <a:pt x="354" y="458"/>
                  <a:pt x="353" y="457"/>
                  <a:pt x="353" y="457"/>
                </a:cubicBezTo>
                <a:cubicBezTo>
                  <a:pt x="353" y="456"/>
                  <a:pt x="353" y="456"/>
                  <a:pt x="352" y="455"/>
                </a:cubicBezTo>
                <a:cubicBezTo>
                  <a:pt x="352" y="455"/>
                  <a:pt x="352" y="456"/>
                  <a:pt x="351" y="456"/>
                </a:cubicBezTo>
                <a:cubicBezTo>
                  <a:pt x="351" y="455"/>
                  <a:pt x="351" y="454"/>
                  <a:pt x="352" y="454"/>
                </a:cubicBezTo>
                <a:cubicBezTo>
                  <a:pt x="352" y="453"/>
                  <a:pt x="352" y="451"/>
                  <a:pt x="351" y="450"/>
                </a:cubicBezTo>
                <a:cubicBezTo>
                  <a:pt x="352" y="450"/>
                  <a:pt x="352" y="448"/>
                  <a:pt x="353" y="447"/>
                </a:cubicBezTo>
                <a:cubicBezTo>
                  <a:pt x="352" y="447"/>
                  <a:pt x="352" y="445"/>
                  <a:pt x="352" y="444"/>
                </a:cubicBezTo>
                <a:cubicBezTo>
                  <a:pt x="352" y="444"/>
                  <a:pt x="352" y="444"/>
                  <a:pt x="352" y="443"/>
                </a:cubicBezTo>
                <a:cubicBezTo>
                  <a:pt x="352" y="443"/>
                  <a:pt x="352" y="443"/>
                  <a:pt x="351" y="443"/>
                </a:cubicBezTo>
                <a:cubicBezTo>
                  <a:pt x="351" y="443"/>
                  <a:pt x="351" y="442"/>
                  <a:pt x="351" y="442"/>
                </a:cubicBezTo>
                <a:cubicBezTo>
                  <a:pt x="352" y="440"/>
                  <a:pt x="351" y="438"/>
                  <a:pt x="351" y="437"/>
                </a:cubicBezTo>
                <a:cubicBezTo>
                  <a:pt x="351" y="437"/>
                  <a:pt x="351" y="437"/>
                  <a:pt x="351" y="437"/>
                </a:cubicBezTo>
                <a:cubicBezTo>
                  <a:pt x="351" y="436"/>
                  <a:pt x="351" y="435"/>
                  <a:pt x="351" y="435"/>
                </a:cubicBezTo>
                <a:cubicBezTo>
                  <a:pt x="351" y="434"/>
                  <a:pt x="352" y="434"/>
                  <a:pt x="352" y="434"/>
                </a:cubicBezTo>
                <a:cubicBezTo>
                  <a:pt x="352" y="433"/>
                  <a:pt x="352" y="432"/>
                  <a:pt x="353" y="432"/>
                </a:cubicBezTo>
                <a:cubicBezTo>
                  <a:pt x="354" y="432"/>
                  <a:pt x="354" y="431"/>
                  <a:pt x="355" y="430"/>
                </a:cubicBezTo>
                <a:cubicBezTo>
                  <a:pt x="355" y="429"/>
                  <a:pt x="355" y="429"/>
                  <a:pt x="354" y="429"/>
                </a:cubicBezTo>
                <a:cubicBezTo>
                  <a:pt x="354" y="428"/>
                  <a:pt x="354" y="428"/>
                  <a:pt x="354" y="427"/>
                </a:cubicBezTo>
                <a:cubicBezTo>
                  <a:pt x="354" y="427"/>
                  <a:pt x="354" y="426"/>
                  <a:pt x="354" y="426"/>
                </a:cubicBezTo>
                <a:cubicBezTo>
                  <a:pt x="353" y="426"/>
                  <a:pt x="353" y="427"/>
                  <a:pt x="353" y="426"/>
                </a:cubicBezTo>
                <a:cubicBezTo>
                  <a:pt x="353" y="425"/>
                  <a:pt x="353" y="425"/>
                  <a:pt x="353" y="425"/>
                </a:cubicBezTo>
                <a:cubicBezTo>
                  <a:pt x="353" y="425"/>
                  <a:pt x="353" y="424"/>
                  <a:pt x="353" y="424"/>
                </a:cubicBezTo>
                <a:cubicBezTo>
                  <a:pt x="353" y="424"/>
                  <a:pt x="352" y="424"/>
                  <a:pt x="352" y="424"/>
                </a:cubicBezTo>
                <a:cubicBezTo>
                  <a:pt x="352" y="423"/>
                  <a:pt x="352" y="423"/>
                  <a:pt x="352" y="423"/>
                </a:cubicBezTo>
                <a:cubicBezTo>
                  <a:pt x="352" y="422"/>
                  <a:pt x="352" y="421"/>
                  <a:pt x="352" y="420"/>
                </a:cubicBezTo>
                <a:cubicBezTo>
                  <a:pt x="352" y="420"/>
                  <a:pt x="352" y="420"/>
                  <a:pt x="351" y="420"/>
                </a:cubicBezTo>
                <a:cubicBezTo>
                  <a:pt x="352" y="419"/>
                  <a:pt x="352" y="419"/>
                  <a:pt x="352" y="419"/>
                </a:cubicBezTo>
                <a:cubicBezTo>
                  <a:pt x="353" y="419"/>
                  <a:pt x="353" y="419"/>
                  <a:pt x="353" y="418"/>
                </a:cubicBezTo>
                <a:cubicBezTo>
                  <a:pt x="353" y="417"/>
                  <a:pt x="353" y="416"/>
                  <a:pt x="354" y="416"/>
                </a:cubicBezTo>
                <a:cubicBezTo>
                  <a:pt x="354" y="416"/>
                  <a:pt x="354" y="416"/>
                  <a:pt x="355" y="416"/>
                </a:cubicBezTo>
                <a:cubicBezTo>
                  <a:pt x="355" y="415"/>
                  <a:pt x="355" y="415"/>
                  <a:pt x="355" y="415"/>
                </a:cubicBezTo>
                <a:cubicBezTo>
                  <a:pt x="355" y="415"/>
                  <a:pt x="356" y="415"/>
                  <a:pt x="356" y="415"/>
                </a:cubicBezTo>
                <a:cubicBezTo>
                  <a:pt x="357" y="415"/>
                  <a:pt x="357" y="414"/>
                  <a:pt x="357" y="414"/>
                </a:cubicBezTo>
                <a:cubicBezTo>
                  <a:pt x="358" y="414"/>
                  <a:pt x="358" y="414"/>
                  <a:pt x="358" y="414"/>
                </a:cubicBezTo>
                <a:cubicBezTo>
                  <a:pt x="358" y="413"/>
                  <a:pt x="358" y="413"/>
                  <a:pt x="358" y="412"/>
                </a:cubicBezTo>
                <a:cubicBezTo>
                  <a:pt x="359" y="412"/>
                  <a:pt x="359" y="412"/>
                  <a:pt x="360" y="411"/>
                </a:cubicBezTo>
                <a:cubicBezTo>
                  <a:pt x="360" y="411"/>
                  <a:pt x="361" y="411"/>
                  <a:pt x="362" y="412"/>
                </a:cubicBezTo>
                <a:cubicBezTo>
                  <a:pt x="362" y="411"/>
                  <a:pt x="363" y="411"/>
                  <a:pt x="363" y="410"/>
                </a:cubicBezTo>
                <a:cubicBezTo>
                  <a:pt x="363" y="410"/>
                  <a:pt x="363" y="411"/>
                  <a:pt x="364" y="411"/>
                </a:cubicBezTo>
                <a:cubicBezTo>
                  <a:pt x="364" y="410"/>
                  <a:pt x="363" y="409"/>
                  <a:pt x="364" y="408"/>
                </a:cubicBezTo>
                <a:cubicBezTo>
                  <a:pt x="365" y="408"/>
                  <a:pt x="365" y="407"/>
                  <a:pt x="365" y="406"/>
                </a:cubicBezTo>
                <a:cubicBezTo>
                  <a:pt x="365" y="406"/>
                  <a:pt x="366" y="407"/>
                  <a:pt x="366" y="407"/>
                </a:cubicBezTo>
                <a:cubicBezTo>
                  <a:pt x="367" y="407"/>
                  <a:pt x="367" y="407"/>
                  <a:pt x="367" y="407"/>
                </a:cubicBezTo>
                <a:cubicBezTo>
                  <a:pt x="367" y="407"/>
                  <a:pt x="367" y="407"/>
                  <a:pt x="367" y="407"/>
                </a:cubicBezTo>
                <a:cubicBezTo>
                  <a:pt x="368" y="407"/>
                  <a:pt x="368" y="406"/>
                  <a:pt x="369" y="406"/>
                </a:cubicBezTo>
                <a:cubicBezTo>
                  <a:pt x="370" y="406"/>
                  <a:pt x="371" y="406"/>
                  <a:pt x="371" y="405"/>
                </a:cubicBezTo>
                <a:cubicBezTo>
                  <a:pt x="371" y="405"/>
                  <a:pt x="371" y="406"/>
                  <a:pt x="372" y="405"/>
                </a:cubicBezTo>
                <a:cubicBezTo>
                  <a:pt x="373" y="405"/>
                  <a:pt x="373" y="405"/>
                  <a:pt x="373" y="405"/>
                </a:cubicBezTo>
                <a:cubicBezTo>
                  <a:pt x="374" y="405"/>
                  <a:pt x="374" y="405"/>
                  <a:pt x="374" y="405"/>
                </a:cubicBezTo>
                <a:cubicBezTo>
                  <a:pt x="375" y="405"/>
                  <a:pt x="376" y="405"/>
                  <a:pt x="376" y="406"/>
                </a:cubicBezTo>
                <a:cubicBezTo>
                  <a:pt x="377" y="406"/>
                  <a:pt x="378" y="405"/>
                  <a:pt x="379" y="405"/>
                </a:cubicBezTo>
                <a:cubicBezTo>
                  <a:pt x="379" y="405"/>
                  <a:pt x="379" y="406"/>
                  <a:pt x="379" y="406"/>
                </a:cubicBezTo>
                <a:cubicBezTo>
                  <a:pt x="379" y="407"/>
                  <a:pt x="380" y="406"/>
                  <a:pt x="380" y="407"/>
                </a:cubicBezTo>
                <a:cubicBezTo>
                  <a:pt x="381" y="407"/>
                  <a:pt x="381" y="408"/>
                  <a:pt x="381" y="407"/>
                </a:cubicBezTo>
                <a:cubicBezTo>
                  <a:pt x="382" y="407"/>
                  <a:pt x="382" y="407"/>
                  <a:pt x="383" y="406"/>
                </a:cubicBezTo>
                <a:cubicBezTo>
                  <a:pt x="383" y="407"/>
                  <a:pt x="382" y="407"/>
                  <a:pt x="382" y="407"/>
                </a:cubicBezTo>
                <a:cubicBezTo>
                  <a:pt x="382" y="408"/>
                  <a:pt x="382" y="408"/>
                  <a:pt x="382" y="409"/>
                </a:cubicBezTo>
                <a:cubicBezTo>
                  <a:pt x="382" y="409"/>
                  <a:pt x="383" y="409"/>
                  <a:pt x="383" y="409"/>
                </a:cubicBezTo>
                <a:cubicBezTo>
                  <a:pt x="384" y="410"/>
                  <a:pt x="384" y="410"/>
                  <a:pt x="385" y="410"/>
                </a:cubicBezTo>
                <a:cubicBezTo>
                  <a:pt x="385" y="410"/>
                  <a:pt x="385" y="409"/>
                  <a:pt x="386" y="409"/>
                </a:cubicBezTo>
                <a:cubicBezTo>
                  <a:pt x="386" y="409"/>
                  <a:pt x="386" y="409"/>
                  <a:pt x="387" y="409"/>
                </a:cubicBezTo>
                <a:cubicBezTo>
                  <a:pt x="387" y="408"/>
                  <a:pt x="386" y="408"/>
                  <a:pt x="386" y="407"/>
                </a:cubicBezTo>
                <a:cubicBezTo>
                  <a:pt x="386" y="406"/>
                  <a:pt x="387" y="406"/>
                  <a:pt x="387" y="406"/>
                </a:cubicBezTo>
                <a:cubicBezTo>
                  <a:pt x="388" y="406"/>
                  <a:pt x="389" y="407"/>
                  <a:pt x="390" y="407"/>
                </a:cubicBezTo>
                <a:cubicBezTo>
                  <a:pt x="391" y="407"/>
                  <a:pt x="390" y="408"/>
                  <a:pt x="391" y="408"/>
                </a:cubicBezTo>
                <a:cubicBezTo>
                  <a:pt x="392" y="409"/>
                  <a:pt x="393" y="408"/>
                  <a:pt x="393" y="409"/>
                </a:cubicBezTo>
                <a:cubicBezTo>
                  <a:pt x="393" y="410"/>
                  <a:pt x="393" y="410"/>
                  <a:pt x="394" y="410"/>
                </a:cubicBezTo>
                <a:cubicBezTo>
                  <a:pt x="395" y="410"/>
                  <a:pt x="394" y="409"/>
                  <a:pt x="394" y="408"/>
                </a:cubicBezTo>
                <a:cubicBezTo>
                  <a:pt x="394" y="407"/>
                  <a:pt x="392" y="408"/>
                  <a:pt x="392" y="407"/>
                </a:cubicBezTo>
                <a:cubicBezTo>
                  <a:pt x="392" y="406"/>
                  <a:pt x="393" y="406"/>
                  <a:pt x="394" y="406"/>
                </a:cubicBezTo>
                <a:cubicBezTo>
                  <a:pt x="394" y="405"/>
                  <a:pt x="393" y="405"/>
                  <a:pt x="393" y="404"/>
                </a:cubicBezTo>
                <a:cubicBezTo>
                  <a:pt x="393" y="404"/>
                  <a:pt x="392" y="405"/>
                  <a:pt x="392" y="405"/>
                </a:cubicBezTo>
                <a:cubicBezTo>
                  <a:pt x="392" y="404"/>
                  <a:pt x="391" y="404"/>
                  <a:pt x="391" y="404"/>
                </a:cubicBezTo>
                <a:cubicBezTo>
                  <a:pt x="391" y="404"/>
                  <a:pt x="390" y="404"/>
                  <a:pt x="390" y="404"/>
                </a:cubicBezTo>
                <a:cubicBezTo>
                  <a:pt x="390" y="403"/>
                  <a:pt x="389" y="403"/>
                  <a:pt x="388" y="403"/>
                </a:cubicBezTo>
                <a:cubicBezTo>
                  <a:pt x="389" y="402"/>
                  <a:pt x="390" y="402"/>
                  <a:pt x="391" y="403"/>
                </a:cubicBezTo>
                <a:cubicBezTo>
                  <a:pt x="392" y="403"/>
                  <a:pt x="392" y="402"/>
                  <a:pt x="392" y="402"/>
                </a:cubicBezTo>
                <a:cubicBezTo>
                  <a:pt x="393" y="401"/>
                  <a:pt x="394" y="401"/>
                  <a:pt x="395" y="401"/>
                </a:cubicBezTo>
                <a:cubicBezTo>
                  <a:pt x="395" y="402"/>
                  <a:pt x="396" y="401"/>
                  <a:pt x="396" y="401"/>
                </a:cubicBezTo>
                <a:cubicBezTo>
                  <a:pt x="397" y="402"/>
                  <a:pt x="396" y="402"/>
                  <a:pt x="397" y="402"/>
                </a:cubicBezTo>
                <a:cubicBezTo>
                  <a:pt x="397" y="402"/>
                  <a:pt x="397" y="402"/>
                  <a:pt x="397" y="402"/>
                </a:cubicBezTo>
                <a:cubicBezTo>
                  <a:pt x="398" y="402"/>
                  <a:pt x="399" y="402"/>
                  <a:pt x="399" y="401"/>
                </a:cubicBezTo>
                <a:cubicBezTo>
                  <a:pt x="399" y="401"/>
                  <a:pt x="399" y="400"/>
                  <a:pt x="399" y="400"/>
                </a:cubicBezTo>
                <a:cubicBezTo>
                  <a:pt x="400" y="400"/>
                  <a:pt x="399" y="403"/>
                  <a:pt x="400" y="403"/>
                </a:cubicBezTo>
                <a:cubicBezTo>
                  <a:pt x="400" y="403"/>
                  <a:pt x="401" y="403"/>
                  <a:pt x="401" y="402"/>
                </a:cubicBezTo>
                <a:cubicBezTo>
                  <a:pt x="401" y="401"/>
                  <a:pt x="403" y="402"/>
                  <a:pt x="403" y="401"/>
                </a:cubicBezTo>
                <a:cubicBezTo>
                  <a:pt x="403" y="401"/>
                  <a:pt x="403" y="400"/>
                  <a:pt x="403" y="400"/>
                </a:cubicBezTo>
                <a:cubicBezTo>
                  <a:pt x="404" y="401"/>
                  <a:pt x="404" y="402"/>
                  <a:pt x="405" y="402"/>
                </a:cubicBezTo>
                <a:cubicBezTo>
                  <a:pt x="405" y="402"/>
                  <a:pt x="405" y="401"/>
                  <a:pt x="405" y="401"/>
                </a:cubicBezTo>
                <a:cubicBezTo>
                  <a:pt x="406" y="401"/>
                  <a:pt x="407" y="401"/>
                  <a:pt x="407" y="401"/>
                </a:cubicBezTo>
                <a:cubicBezTo>
                  <a:pt x="407" y="402"/>
                  <a:pt x="407" y="402"/>
                  <a:pt x="407" y="403"/>
                </a:cubicBezTo>
                <a:cubicBezTo>
                  <a:pt x="408" y="403"/>
                  <a:pt x="409" y="404"/>
                  <a:pt x="410" y="404"/>
                </a:cubicBezTo>
                <a:cubicBezTo>
                  <a:pt x="410" y="404"/>
                  <a:pt x="411" y="404"/>
                  <a:pt x="411" y="404"/>
                </a:cubicBezTo>
                <a:cubicBezTo>
                  <a:pt x="411" y="404"/>
                  <a:pt x="411" y="405"/>
                  <a:pt x="412" y="405"/>
                </a:cubicBezTo>
                <a:cubicBezTo>
                  <a:pt x="412" y="405"/>
                  <a:pt x="412" y="405"/>
                  <a:pt x="413" y="405"/>
                </a:cubicBezTo>
                <a:cubicBezTo>
                  <a:pt x="413" y="406"/>
                  <a:pt x="413" y="406"/>
                  <a:pt x="415" y="406"/>
                </a:cubicBezTo>
                <a:cubicBezTo>
                  <a:pt x="415" y="406"/>
                  <a:pt x="415" y="406"/>
                  <a:pt x="415" y="406"/>
                </a:cubicBezTo>
                <a:cubicBezTo>
                  <a:pt x="416" y="406"/>
                  <a:pt x="416" y="406"/>
                  <a:pt x="417" y="405"/>
                </a:cubicBezTo>
                <a:cubicBezTo>
                  <a:pt x="417" y="404"/>
                  <a:pt x="418" y="404"/>
                  <a:pt x="419" y="404"/>
                </a:cubicBezTo>
                <a:cubicBezTo>
                  <a:pt x="420" y="405"/>
                  <a:pt x="420" y="406"/>
                  <a:pt x="420" y="406"/>
                </a:cubicBezTo>
                <a:cubicBezTo>
                  <a:pt x="420" y="407"/>
                  <a:pt x="421" y="407"/>
                  <a:pt x="421" y="408"/>
                </a:cubicBezTo>
                <a:cubicBezTo>
                  <a:pt x="421" y="408"/>
                  <a:pt x="422" y="409"/>
                  <a:pt x="422" y="409"/>
                </a:cubicBezTo>
                <a:cubicBezTo>
                  <a:pt x="423" y="409"/>
                  <a:pt x="423" y="409"/>
                  <a:pt x="423" y="410"/>
                </a:cubicBezTo>
                <a:cubicBezTo>
                  <a:pt x="423" y="411"/>
                  <a:pt x="423" y="413"/>
                  <a:pt x="424" y="414"/>
                </a:cubicBezTo>
                <a:cubicBezTo>
                  <a:pt x="423" y="414"/>
                  <a:pt x="423" y="416"/>
                  <a:pt x="423" y="417"/>
                </a:cubicBezTo>
                <a:cubicBezTo>
                  <a:pt x="423" y="418"/>
                  <a:pt x="423" y="418"/>
                  <a:pt x="424" y="418"/>
                </a:cubicBezTo>
                <a:cubicBezTo>
                  <a:pt x="424" y="418"/>
                  <a:pt x="425" y="416"/>
                  <a:pt x="425" y="416"/>
                </a:cubicBezTo>
                <a:cubicBezTo>
                  <a:pt x="425" y="416"/>
                  <a:pt x="426" y="416"/>
                  <a:pt x="426" y="416"/>
                </a:cubicBezTo>
                <a:cubicBezTo>
                  <a:pt x="426" y="418"/>
                  <a:pt x="426" y="419"/>
                  <a:pt x="425" y="420"/>
                </a:cubicBezTo>
                <a:cubicBezTo>
                  <a:pt x="425" y="421"/>
                  <a:pt x="425" y="422"/>
                  <a:pt x="425" y="422"/>
                </a:cubicBezTo>
                <a:cubicBezTo>
                  <a:pt x="426" y="423"/>
                  <a:pt x="426" y="423"/>
                  <a:pt x="427" y="423"/>
                </a:cubicBezTo>
                <a:cubicBezTo>
                  <a:pt x="428" y="423"/>
                  <a:pt x="428" y="424"/>
                  <a:pt x="428" y="425"/>
                </a:cubicBezTo>
                <a:cubicBezTo>
                  <a:pt x="428" y="425"/>
                  <a:pt x="428" y="425"/>
                  <a:pt x="428" y="425"/>
                </a:cubicBezTo>
                <a:cubicBezTo>
                  <a:pt x="429" y="426"/>
                  <a:pt x="428" y="426"/>
                  <a:pt x="428" y="426"/>
                </a:cubicBezTo>
                <a:cubicBezTo>
                  <a:pt x="428" y="426"/>
                  <a:pt x="429" y="426"/>
                  <a:pt x="429" y="426"/>
                </a:cubicBezTo>
                <a:cubicBezTo>
                  <a:pt x="429" y="427"/>
                  <a:pt x="429" y="427"/>
                  <a:pt x="429" y="427"/>
                </a:cubicBezTo>
                <a:cubicBezTo>
                  <a:pt x="429" y="428"/>
                  <a:pt x="429" y="428"/>
                  <a:pt x="429" y="428"/>
                </a:cubicBezTo>
                <a:cubicBezTo>
                  <a:pt x="430" y="429"/>
                  <a:pt x="430" y="430"/>
                  <a:pt x="431" y="431"/>
                </a:cubicBezTo>
                <a:cubicBezTo>
                  <a:pt x="432" y="431"/>
                  <a:pt x="433" y="432"/>
                  <a:pt x="433" y="433"/>
                </a:cubicBezTo>
                <a:cubicBezTo>
                  <a:pt x="433" y="432"/>
                  <a:pt x="433" y="432"/>
                  <a:pt x="434" y="433"/>
                </a:cubicBezTo>
                <a:cubicBezTo>
                  <a:pt x="434" y="432"/>
                  <a:pt x="434" y="432"/>
                  <a:pt x="434" y="431"/>
                </a:cubicBezTo>
                <a:cubicBezTo>
                  <a:pt x="434" y="431"/>
                  <a:pt x="434" y="431"/>
                  <a:pt x="434" y="431"/>
                </a:cubicBezTo>
                <a:cubicBezTo>
                  <a:pt x="434" y="431"/>
                  <a:pt x="434" y="431"/>
                  <a:pt x="434" y="430"/>
                </a:cubicBezTo>
                <a:cubicBezTo>
                  <a:pt x="434" y="430"/>
                  <a:pt x="435" y="430"/>
                  <a:pt x="435" y="429"/>
                </a:cubicBezTo>
                <a:cubicBezTo>
                  <a:pt x="435" y="428"/>
                  <a:pt x="435" y="429"/>
                  <a:pt x="435" y="428"/>
                </a:cubicBezTo>
                <a:cubicBezTo>
                  <a:pt x="435" y="427"/>
                  <a:pt x="435" y="426"/>
                  <a:pt x="435" y="425"/>
                </a:cubicBezTo>
                <a:cubicBezTo>
                  <a:pt x="435" y="425"/>
                  <a:pt x="436" y="426"/>
                  <a:pt x="436" y="425"/>
                </a:cubicBezTo>
                <a:cubicBezTo>
                  <a:pt x="436" y="425"/>
                  <a:pt x="436" y="425"/>
                  <a:pt x="436" y="424"/>
                </a:cubicBezTo>
                <a:cubicBezTo>
                  <a:pt x="436" y="424"/>
                  <a:pt x="436" y="424"/>
                  <a:pt x="436" y="424"/>
                </a:cubicBezTo>
                <a:cubicBezTo>
                  <a:pt x="436" y="423"/>
                  <a:pt x="436" y="424"/>
                  <a:pt x="436" y="424"/>
                </a:cubicBezTo>
                <a:cubicBezTo>
                  <a:pt x="436" y="423"/>
                  <a:pt x="436" y="422"/>
                  <a:pt x="435" y="421"/>
                </a:cubicBezTo>
                <a:cubicBezTo>
                  <a:pt x="435" y="421"/>
                  <a:pt x="435" y="420"/>
                  <a:pt x="435" y="419"/>
                </a:cubicBezTo>
                <a:cubicBezTo>
                  <a:pt x="435" y="418"/>
                  <a:pt x="435" y="418"/>
                  <a:pt x="434" y="417"/>
                </a:cubicBezTo>
                <a:cubicBezTo>
                  <a:pt x="434" y="417"/>
                  <a:pt x="434" y="417"/>
                  <a:pt x="434" y="416"/>
                </a:cubicBezTo>
                <a:cubicBezTo>
                  <a:pt x="433" y="416"/>
                  <a:pt x="433" y="415"/>
                  <a:pt x="433" y="414"/>
                </a:cubicBezTo>
                <a:cubicBezTo>
                  <a:pt x="433" y="414"/>
                  <a:pt x="433" y="414"/>
                  <a:pt x="433" y="414"/>
                </a:cubicBezTo>
                <a:cubicBezTo>
                  <a:pt x="432" y="413"/>
                  <a:pt x="432" y="413"/>
                  <a:pt x="432" y="411"/>
                </a:cubicBezTo>
                <a:cubicBezTo>
                  <a:pt x="432" y="411"/>
                  <a:pt x="432" y="410"/>
                  <a:pt x="432" y="410"/>
                </a:cubicBezTo>
                <a:cubicBezTo>
                  <a:pt x="432" y="410"/>
                  <a:pt x="431" y="409"/>
                  <a:pt x="431" y="408"/>
                </a:cubicBezTo>
                <a:cubicBezTo>
                  <a:pt x="431" y="407"/>
                  <a:pt x="431" y="408"/>
                  <a:pt x="431" y="407"/>
                </a:cubicBezTo>
                <a:cubicBezTo>
                  <a:pt x="431" y="406"/>
                  <a:pt x="431" y="405"/>
                  <a:pt x="431" y="404"/>
                </a:cubicBezTo>
                <a:cubicBezTo>
                  <a:pt x="430" y="404"/>
                  <a:pt x="430" y="405"/>
                  <a:pt x="430" y="404"/>
                </a:cubicBezTo>
                <a:cubicBezTo>
                  <a:pt x="430" y="404"/>
                  <a:pt x="430" y="403"/>
                  <a:pt x="430" y="403"/>
                </a:cubicBezTo>
                <a:cubicBezTo>
                  <a:pt x="429" y="403"/>
                  <a:pt x="429" y="402"/>
                  <a:pt x="429" y="402"/>
                </a:cubicBezTo>
                <a:cubicBezTo>
                  <a:pt x="429" y="401"/>
                  <a:pt x="430" y="401"/>
                  <a:pt x="430" y="400"/>
                </a:cubicBezTo>
                <a:cubicBezTo>
                  <a:pt x="430" y="400"/>
                  <a:pt x="430" y="399"/>
                  <a:pt x="430" y="398"/>
                </a:cubicBezTo>
                <a:cubicBezTo>
                  <a:pt x="432" y="399"/>
                  <a:pt x="430" y="394"/>
                  <a:pt x="432" y="395"/>
                </a:cubicBezTo>
                <a:cubicBezTo>
                  <a:pt x="431" y="394"/>
                  <a:pt x="431" y="394"/>
                  <a:pt x="431" y="394"/>
                </a:cubicBezTo>
                <a:cubicBezTo>
                  <a:pt x="432" y="393"/>
                  <a:pt x="432" y="393"/>
                  <a:pt x="433" y="393"/>
                </a:cubicBezTo>
                <a:cubicBezTo>
                  <a:pt x="433" y="392"/>
                  <a:pt x="433" y="392"/>
                  <a:pt x="433" y="391"/>
                </a:cubicBezTo>
                <a:cubicBezTo>
                  <a:pt x="434" y="391"/>
                  <a:pt x="435" y="391"/>
                  <a:pt x="435" y="389"/>
                </a:cubicBezTo>
                <a:cubicBezTo>
                  <a:pt x="436" y="389"/>
                  <a:pt x="436" y="389"/>
                  <a:pt x="437" y="389"/>
                </a:cubicBezTo>
                <a:cubicBezTo>
                  <a:pt x="437" y="388"/>
                  <a:pt x="439" y="388"/>
                  <a:pt x="439" y="387"/>
                </a:cubicBezTo>
                <a:cubicBezTo>
                  <a:pt x="439" y="386"/>
                  <a:pt x="439" y="386"/>
                  <a:pt x="440" y="386"/>
                </a:cubicBezTo>
                <a:cubicBezTo>
                  <a:pt x="441" y="386"/>
                  <a:pt x="440" y="383"/>
                  <a:pt x="441" y="384"/>
                </a:cubicBezTo>
                <a:cubicBezTo>
                  <a:pt x="443" y="384"/>
                  <a:pt x="444" y="382"/>
                  <a:pt x="445" y="382"/>
                </a:cubicBezTo>
                <a:cubicBezTo>
                  <a:pt x="446" y="382"/>
                  <a:pt x="446" y="382"/>
                  <a:pt x="446" y="381"/>
                </a:cubicBezTo>
                <a:cubicBezTo>
                  <a:pt x="447" y="381"/>
                  <a:pt x="447" y="381"/>
                  <a:pt x="447" y="381"/>
                </a:cubicBezTo>
                <a:cubicBezTo>
                  <a:pt x="447" y="380"/>
                  <a:pt x="448" y="380"/>
                  <a:pt x="448" y="380"/>
                </a:cubicBezTo>
                <a:cubicBezTo>
                  <a:pt x="449" y="379"/>
                  <a:pt x="448" y="379"/>
                  <a:pt x="449" y="378"/>
                </a:cubicBezTo>
                <a:cubicBezTo>
                  <a:pt x="449" y="378"/>
                  <a:pt x="450" y="377"/>
                  <a:pt x="450" y="377"/>
                </a:cubicBezTo>
                <a:cubicBezTo>
                  <a:pt x="451" y="377"/>
                  <a:pt x="450" y="375"/>
                  <a:pt x="450" y="375"/>
                </a:cubicBezTo>
                <a:cubicBezTo>
                  <a:pt x="450" y="375"/>
                  <a:pt x="451" y="375"/>
                  <a:pt x="451" y="375"/>
                </a:cubicBezTo>
                <a:cubicBezTo>
                  <a:pt x="452" y="375"/>
                  <a:pt x="451" y="374"/>
                  <a:pt x="452" y="374"/>
                </a:cubicBezTo>
                <a:cubicBezTo>
                  <a:pt x="452" y="373"/>
                  <a:pt x="450" y="373"/>
                  <a:pt x="450" y="372"/>
                </a:cubicBezTo>
                <a:cubicBezTo>
                  <a:pt x="451" y="372"/>
                  <a:pt x="452" y="372"/>
                  <a:pt x="453" y="371"/>
                </a:cubicBezTo>
                <a:cubicBezTo>
                  <a:pt x="453" y="373"/>
                  <a:pt x="454" y="373"/>
                  <a:pt x="455" y="372"/>
                </a:cubicBezTo>
                <a:cubicBezTo>
                  <a:pt x="456" y="372"/>
                  <a:pt x="456" y="372"/>
                  <a:pt x="456" y="372"/>
                </a:cubicBezTo>
                <a:cubicBezTo>
                  <a:pt x="456" y="371"/>
                  <a:pt x="455" y="372"/>
                  <a:pt x="455" y="371"/>
                </a:cubicBezTo>
                <a:cubicBezTo>
                  <a:pt x="455" y="371"/>
                  <a:pt x="455" y="370"/>
                  <a:pt x="455" y="370"/>
                </a:cubicBezTo>
                <a:cubicBezTo>
                  <a:pt x="454" y="370"/>
                  <a:pt x="454" y="370"/>
                  <a:pt x="453" y="370"/>
                </a:cubicBezTo>
                <a:cubicBezTo>
                  <a:pt x="452" y="370"/>
                  <a:pt x="452" y="369"/>
                  <a:pt x="453" y="369"/>
                </a:cubicBezTo>
                <a:cubicBezTo>
                  <a:pt x="454" y="368"/>
                  <a:pt x="454" y="368"/>
                  <a:pt x="455" y="368"/>
                </a:cubicBezTo>
                <a:cubicBezTo>
                  <a:pt x="455" y="367"/>
                  <a:pt x="455" y="367"/>
                  <a:pt x="454" y="367"/>
                </a:cubicBezTo>
                <a:cubicBezTo>
                  <a:pt x="454" y="366"/>
                  <a:pt x="455" y="365"/>
                  <a:pt x="455" y="365"/>
                </a:cubicBezTo>
                <a:cubicBezTo>
                  <a:pt x="454" y="365"/>
                  <a:pt x="454" y="365"/>
                  <a:pt x="454" y="365"/>
                </a:cubicBezTo>
                <a:cubicBezTo>
                  <a:pt x="453" y="364"/>
                  <a:pt x="452" y="364"/>
                  <a:pt x="451" y="363"/>
                </a:cubicBezTo>
                <a:cubicBezTo>
                  <a:pt x="451" y="363"/>
                  <a:pt x="451" y="363"/>
                  <a:pt x="451" y="363"/>
                </a:cubicBezTo>
                <a:cubicBezTo>
                  <a:pt x="451" y="362"/>
                  <a:pt x="451" y="362"/>
                  <a:pt x="450" y="362"/>
                </a:cubicBezTo>
                <a:cubicBezTo>
                  <a:pt x="450" y="361"/>
                  <a:pt x="453" y="361"/>
                  <a:pt x="453" y="361"/>
                </a:cubicBezTo>
                <a:cubicBezTo>
                  <a:pt x="453" y="360"/>
                  <a:pt x="452" y="359"/>
                  <a:pt x="451" y="359"/>
                </a:cubicBezTo>
                <a:cubicBezTo>
                  <a:pt x="450" y="358"/>
                  <a:pt x="452" y="358"/>
                  <a:pt x="452" y="358"/>
                </a:cubicBezTo>
                <a:cubicBezTo>
                  <a:pt x="453" y="358"/>
                  <a:pt x="451" y="357"/>
                  <a:pt x="451" y="357"/>
                </a:cubicBezTo>
                <a:cubicBezTo>
                  <a:pt x="451" y="356"/>
                  <a:pt x="451" y="356"/>
                  <a:pt x="450" y="356"/>
                </a:cubicBezTo>
                <a:cubicBezTo>
                  <a:pt x="450" y="356"/>
                  <a:pt x="450" y="356"/>
                  <a:pt x="450" y="355"/>
                </a:cubicBezTo>
                <a:cubicBezTo>
                  <a:pt x="450" y="355"/>
                  <a:pt x="450" y="355"/>
                  <a:pt x="451" y="355"/>
                </a:cubicBezTo>
                <a:cubicBezTo>
                  <a:pt x="451" y="354"/>
                  <a:pt x="450" y="354"/>
                  <a:pt x="450" y="353"/>
                </a:cubicBezTo>
                <a:cubicBezTo>
                  <a:pt x="452" y="353"/>
                  <a:pt x="451" y="349"/>
                  <a:pt x="452" y="350"/>
                </a:cubicBezTo>
                <a:cubicBezTo>
                  <a:pt x="452" y="349"/>
                  <a:pt x="451" y="347"/>
                  <a:pt x="452" y="347"/>
                </a:cubicBezTo>
                <a:cubicBezTo>
                  <a:pt x="453" y="347"/>
                  <a:pt x="453" y="347"/>
                  <a:pt x="454" y="346"/>
                </a:cubicBezTo>
                <a:cubicBezTo>
                  <a:pt x="455" y="346"/>
                  <a:pt x="455" y="346"/>
                  <a:pt x="456" y="347"/>
                </a:cubicBezTo>
                <a:cubicBezTo>
                  <a:pt x="456" y="346"/>
                  <a:pt x="456" y="346"/>
                  <a:pt x="456" y="345"/>
                </a:cubicBezTo>
                <a:cubicBezTo>
                  <a:pt x="457" y="345"/>
                  <a:pt x="457" y="345"/>
                  <a:pt x="457" y="346"/>
                </a:cubicBezTo>
                <a:cubicBezTo>
                  <a:pt x="457" y="347"/>
                  <a:pt x="457" y="347"/>
                  <a:pt x="456" y="347"/>
                </a:cubicBezTo>
                <a:cubicBezTo>
                  <a:pt x="456" y="347"/>
                  <a:pt x="455" y="348"/>
                  <a:pt x="455" y="348"/>
                </a:cubicBezTo>
                <a:cubicBezTo>
                  <a:pt x="455" y="349"/>
                  <a:pt x="454" y="349"/>
                  <a:pt x="454" y="350"/>
                </a:cubicBezTo>
                <a:cubicBezTo>
                  <a:pt x="454" y="350"/>
                  <a:pt x="455" y="350"/>
                  <a:pt x="455" y="350"/>
                </a:cubicBezTo>
                <a:cubicBezTo>
                  <a:pt x="455" y="351"/>
                  <a:pt x="453" y="351"/>
                  <a:pt x="453" y="352"/>
                </a:cubicBezTo>
                <a:cubicBezTo>
                  <a:pt x="453" y="353"/>
                  <a:pt x="454" y="353"/>
                  <a:pt x="453" y="354"/>
                </a:cubicBezTo>
                <a:cubicBezTo>
                  <a:pt x="453" y="354"/>
                  <a:pt x="453" y="355"/>
                  <a:pt x="454" y="355"/>
                </a:cubicBezTo>
                <a:cubicBezTo>
                  <a:pt x="453" y="355"/>
                  <a:pt x="453" y="356"/>
                  <a:pt x="453" y="356"/>
                </a:cubicBezTo>
                <a:cubicBezTo>
                  <a:pt x="454" y="356"/>
                  <a:pt x="454" y="357"/>
                  <a:pt x="454" y="357"/>
                </a:cubicBezTo>
                <a:cubicBezTo>
                  <a:pt x="455" y="357"/>
                  <a:pt x="454" y="356"/>
                  <a:pt x="455" y="356"/>
                </a:cubicBezTo>
                <a:cubicBezTo>
                  <a:pt x="455" y="356"/>
                  <a:pt x="456" y="356"/>
                  <a:pt x="456" y="356"/>
                </a:cubicBezTo>
                <a:cubicBezTo>
                  <a:pt x="456" y="357"/>
                  <a:pt x="456" y="357"/>
                  <a:pt x="456" y="358"/>
                </a:cubicBezTo>
                <a:cubicBezTo>
                  <a:pt x="457" y="357"/>
                  <a:pt x="458" y="357"/>
                  <a:pt x="459" y="357"/>
                </a:cubicBezTo>
                <a:cubicBezTo>
                  <a:pt x="459" y="356"/>
                  <a:pt x="459" y="356"/>
                  <a:pt x="459" y="355"/>
                </a:cubicBezTo>
                <a:cubicBezTo>
                  <a:pt x="459" y="355"/>
                  <a:pt x="459" y="355"/>
                  <a:pt x="459" y="354"/>
                </a:cubicBezTo>
                <a:cubicBezTo>
                  <a:pt x="459" y="354"/>
                  <a:pt x="459" y="355"/>
                  <a:pt x="460" y="354"/>
                </a:cubicBezTo>
                <a:cubicBezTo>
                  <a:pt x="460" y="354"/>
                  <a:pt x="460" y="353"/>
                  <a:pt x="460" y="353"/>
                </a:cubicBezTo>
                <a:cubicBezTo>
                  <a:pt x="460" y="353"/>
                  <a:pt x="459" y="353"/>
                  <a:pt x="459" y="353"/>
                </a:cubicBezTo>
                <a:cubicBezTo>
                  <a:pt x="459" y="352"/>
                  <a:pt x="459" y="352"/>
                  <a:pt x="460" y="352"/>
                </a:cubicBezTo>
                <a:cubicBezTo>
                  <a:pt x="460" y="351"/>
                  <a:pt x="460" y="351"/>
                  <a:pt x="459" y="350"/>
                </a:cubicBezTo>
                <a:cubicBezTo>
                  <a:pt x="458" y="350"/>
                  <a:pt x="458" y="348"/>
                  <a:pt x="458" y="347"/>
                </a:cubicBezTo>
                <a:cubicBezTo>
                  <a:pt x="459" y="348"/>
                  <a:pt x="460" y="348"/>
                  <a:pt x="461" y="349"/>
                </a:cubicBezTo>
                <a:cubicBezTo>
                  <a:pt x="461" y="349"/>
                  <a:pt x="462" y="349"/>
                  <a:pt x="463" y="349"/>
                </a:cubicBezTo>
                <a:cubicBezTo>
                  <a:pt x="463" y="349"/>
                  <a:pt x="464" y="346"/>
                  <a:pt x="465" y="345"/>
                </a:cubicBezTo>
                <a:cubicBezTo>
                  <a:pt x="465" y="345"/>
                  <a:pt x="465" y="345"/>
                  <a:pt x="466" y="345"/>
                </a:cubicBezTo>
                <a:cubicBezTo>
                  <a:pt x="466" y="345"/>
                  <a:pt x="466" y="344"/>
                  <a:pt x="466" y="343"/>
                </a:cubicBezTo>
                <a:cubicBezTo>
                  <a:pt x="467" y="342"/>
                  <a:pt x="467" y="341"/>
                  <a:pt x="466" y="340"/>
                </a:cubicBezTo>
                <a:cubicBezTo>
                  <a:pt x="466" y="340"/>
                  <a:pt x="465" y="340"/>
                  <a:pt x="465" y="340"/>
                </a:cubicBezTo>
                <a:cubicBezTo>
                  <a:pt x="465" y="339"/>
                  <a:pt x="465" y="339"/>
                  <a:pt x="466" y="339"/>
                </a:cubicBezTo>
                <a:cubicBezTo>
                  <a:pt x="466" y="339"/>
                  <a:pt x="466" y="338"/>
                  <a:pt x="467" y="338"/>
                </a:cubicBezTo>
                <a:cubicBezTo>
                  <a:pt x="467" y="338"/>
                  <a:pt x="468" y="337"/>
                  <a:pt x="468" y="337"/>
                </a:cubicBezTo>
                <a:cubicBezTo>
                  <a:pt x="468" y="336"/>
                  <a:pt x="468" y="336"/>
                  <a:pt x="468" y="336"/>
                </a:cubicBezTo>
                <a:cubicBezTo>
                  <a:pt x="469" y="335"/>
                  <a:pt x="469" y="335"/>
                  <a:pt x="469" y="335"/>
                </a:cubicBezTo>
                <a:cubicBezTo>
                  <a:pt x="470" y="335"/>
                  <a:pt x="470" y="335"/>
                  <a:pt x="471" y="334"/>
                </a:cubicBezTo>
                <a:cubicBezTo>
                  <a:pt x="472" y="335"/>
                  <a:pt x="473" y="334"/>
                  <a:pt x="474" y="334"/>
                </a:cubicBezTo>
                <a:cubicBezTo>
                  <a:pt x="474" y="333"/>
                  <a:pt x="476" y="333"/>
                  <a:pt x="477" y="333"/>
                </a:cubicBezTo>
                <a:cubicBezTo>
                  <a:pt x="477" y="333"/>
                  <a:pt x="476" y="334"/>
                  <a:pt x="477" y="334"/>
                </a:cubicBezTo>
                <a:cubicBezTo>
                  <a:pt x="477" y="334"/>
                  <a:pt x="478" y="334"/>
                  <a:pt x="478" y="334"/>
                </a:cubicBezTo>
                <a:cubicBezTo>
                  <a:pt x="478" y="333"/>
                  <a:pt x="478" y="334"/>
                  <a:pt x="478" y="333"/>
                </a:cubicBezTo>
                <a:cubicBezTo>
                  <a:pt x="478" y="332"/>
                  <a:pt x="477" y="332"/>
                  <a:pt x="477" y="332"/>
                </a:cubicBezTo>
                <a:cubicBezTo>
                  <a:pt x="478" y="332"/>
                  <a:pt x="478" y="331"/>
                  <a:pt x="478" y="331"/>
                </a:cubicBezTo>
                <a:cubicBezTo>
                  <a:pt x="479" y="331"/>
                  <a:pt x="480" y="331"/>
                  <a:pt x="480" y="331"/>
                </a:cubicBezTo>
                <a:cubicBezTo>
                  <a:pt x="480" y="332"/>
                  <a:pt x="480" y="332"/>
                  <a:pt x="481" y="332"/>
                </a:cubicBezTo>
                <a:cubicBezTo>
                  <a:pt x="481" y="332"/>
                  <a:pt x="482" y="332"/>
                  <a:pt x="482" y="332"/>
                </a:cubicBezTo>
                <a:cubicBezTo>
                  <a:pt x="482" y="332"/>
                  <a:pt x="482" y="331"/>
                  <a:pt x="482" y="331"/>
                </a:cubicBezTo>
                <a:cubicBezTo>
                  <a:pt x="482" y="331"/>
                  <a:pt x="483" y="331"/>
                  <a:pt x="484" y="331"/>
                </a:cubicBezTo>
                <a:cubicBezTo>
                  <a:pt x="483" y="331"/>
                  <a:pt x="483" y="331"/>
                  <a:pt x="483" y="330"/>
                </a:cubicBezTo>
                <a:cubicBezTo>
                  <a:pt x="482" y="330"/>
                  <a:pt x="482" y="330"/>
                  <a:pt x="481" y="330"/>
                </a:cubicBezTo>
                <a:cubicBezTo>
                  <a:pt x="481" y="330"/>
                  <a:pt x="481" y="329"/>
                  <a:pt x="481" y="329"/>
                </a:cubicBezTo>
                <a:cubicBezTo>
                  <a:pt x="480" y="328"/>
                  <a:pt x="480" y="329"/>
                  <a:pt x="480" y="328"/>
                </a:cubicBezTo>
                <a:cubicBezTo>
                  <a:pt x="480" y="328"/>
                  <a:pt x="482" y="327"/>
                  <a:pt x="482" y="327"/>
                </a:cubicBezTo>
                <a:cubicBezTo>
                  <a:pt x="482" y="326"/>
                  <a:pt x="481" y="326"/>
                  <a:pt x="481" y="325"/>
                </a:cubicBezTo>
                <a:cubicBezTo>
                  <a:pt x="481" y="325"/>
                  <a:pt x="482" y="325"/>
                  <a:pt x="482" y="324"/>
                </a:cubicBezTo>
                <a:cubicBezTo>
                  <a:pt x="483" y="324"/>
                  <a:pt x="482" y="324"/>
                  <a:pt x="482" y="323"/>
                </a:cubicBezTo>
                <a:cubicBezTo>
                  <a:pt x="482" y="323"/>
                  <a:pt x="483" y="323"/>
                  <a:pt x="483" y="323"/>
                </a:cubicBezTo>
                <a:cubicBezTo>
                  <a:pt x="484" y="323"/>
                  <a:pt x="484" y="323"/>
                  <a:pt x="484" y="322"/>
                </a:cubicBezTo>
                <a:cubicBezTo>
                  <a:pt x="484" y="322"/>
                  <a:pt x="483" y="322"/>
                  <a:pt x="483" y="322"/>
                </a:cubicBezTo>
                <a:cubicBezTo>
                  <a:pt x="483" y="321"/>
                  <a:pt x="484" y="320"/>
                  <a:pt x="484" y="319"/>
                </a:cubicBezTo>
                <a:cubicBezTo>
                  <a:pt x="485" y="319"/>
                  <a:pt x="486" y="319"/>
                  <a:pt x="486" y="320"/>
                </a:cubicBezTo>
                <a:cubicBezTo>
                  <a:pt x="487" y="319"/>
                  <a:pt x="486" y="319"/>
                  <a:pt x="487" y="319"/>
                </a:cubicBezTo>
                <a:cubicBezTo>
                  <a:pt x="487" y="320"/>
                  <a:pt x="488" y="320"/>
                  <a:pt x="488" y="319"/>
                </a:cubicBezTo>
                <a:cubicBezTo>
                  <a:pt x="489" y="319"/>
                  <a:pt x="489" y="319"/>
                  <a:pt x="490" y="319"/>
                </a:cubicBezTo>
                <a:cubicBezTo>
                  <a:pt x="490" y="318"/>
                  <a:pt x="490" y="317"/>
                  <a:pt x="491" y="316"/>
                </a:cubicBezTo>
                <a:cubicBezTo>
                  <a:pt x="491" y="316"/>
                  <a:pt x="491" y="315"/>
                  <a:pt x="491" y="315"/>
                </a:cubicBezTo>
                <a:cubicBezTo>
                  <a:pt x="491" y="315"/>
                  <a:pt x="492" y="317"/>
                  <a:pt x="492" y="317"/>
                </a:cubicBezTo>
                <a:cubicBezTo>
                  <a:pt x="492" y="317"/>
                  <a:pt x="493" y="317"/>
                  <a:pt x="492" y="316"/>
                </a:cubicBezTo>
                <a:cubicBezTo>
                  <a:pt x="493" y="316"/>
                  <a:pt x="493" y="316"/>
                  <a:pt x="493" y="316"/>
                </a:cubicBezTo>
                <a:cubicBezTo>
                  <a:pt x="493" y="316"/>
                  <a:pt x="494" y="317"/>
                  <a:pt x="495" y="317"/>
                </a:cubicBezTo>
                <a:cubicBezTo>
                  <a:pt x="495" y="317"/>
                  <a:pt x="495" y="317"/>
                  <a:pt x="495" y="317"/>
                </a:cubicBezTo>
                <a:cubicBezTo>
                  <a:pt x="496" y="317"/>
                  <a:pt x="496" y="316"/>
                  <a:pt x="496" y="316"/>
                </a:cubicBezTo>
                <a:cubicBezTo>
                  <a:pt x="497" y="315"/>
                  <a:pt x="497" y="314"/>
                  <a:pt x="498" y="315"/>
                </a:cubicBezTo>
                <a:cubicBezTo>
                  <a:pt x="498" y="314"/>
                  <a:pt x="497" y="311"/>
                  <a:pt x="497" y="311"/>
                </a:cubicBezTo>
                <a:cubicBezTo>
                  <a:pt x="498" y="310"/>
                  <a:pt x="501" y="312"/>
                  <a:pt x="501" y="312"/>
                </a:cubicBezTo>
                <a:cubicBezTo>
                  <a:pt x="502" y="311"/>
                  <a:pt x="502" y="312"/>
                  <a:pt x="503" y="312"/>
                </a:cubicBezTo>
                <a:cubicBezTo>
                  <a:pt x="503" y="311"/>
                  <a:pt x="502" y="311"/>
                  <a:pt x="503" y="311"/>
                </a:cubicBezTo>
                <a:cubicBezTo>
                  <a:pt x="503" y="311"/>
                  <a:pt x="503" y="311"/>
                  <a:pt x="503" y="311"/>
                </a:cubicBezTo>
                <a:cubicBezTo>
                  <a:pt x="503" y="310"/>
                  <a:pt x="501" y="310"/>
                  <a:pt x="502" y="309"/>
                </a:cubicBezTo>
                <a:cubicBezTo>
                  <a:pt x="503" y="309"/>
                  <a:pt x="503" y="308"/>
                  <a:pt x="504" y="308"/>
                </a:cubicBezTo>
                <a:cubicBezTo>
                  <a:pt x="504" y="308"/>
                  <a:pt x="504" y="309"/>
                  <a:pt x="503" y="310"/>
                </a:cubicBezTo>
                <a:cubicBezTo>
                  <a:pt x="504" y="310"/>
                  <a:pt x="504" y="310"/>
                  <a:pt x="504" y="311"/>
                </a:cubicBezTo>
                <a:cubicBezTo>
                  <a:pt x="505" y="310"/>
                  <a:pt x="505" y="310"/>
                  <a:pt x="505" y="310"/>
                </a:cubicBezTo>
                <a:cubicBezTo>
                  <a:pt x="506" y="309"/>
                  <a:pt x="506" y="309"/>
                  <a:pt x="506" y="309"/>
                </a:cubicBezTo>
                <a:cubicBezTo>
                  <a:pt x="506" y="308"/>
                  <a:pt x="506" y="308"/>
                  <a:pt x="507" y="308"/>
                </a:cubicBezTo>
                <a:cubicBezTo>
                  <a:pt x="508" y="308"/>
                  <a:pt x="508" y="306"/>
                  <a:pt x="508" y="305"/>
                </a:cubicBezTo>
                <a:cubicBezTo>
                  <a:pt x="509" y="305"/>
                  <a:pt x="509" y="305"/>
                  <a:pt x="510" y="305"/>
                </a:cubicBezTo>
                <a:cubicBezTo>
                  <a:pt x="510" y="306"/>
                  <a:pt x="510" y="306"/>
                  <a:pt x="509" y="306"/>
                </a:cubicBezTo>
                <a:cubicBezTo>
                  <a:pt x="509" y="307"/>
                  <a:pt x="509" y="307"/>
                  <a:pt x="510" y="307"/>
                </a:cubicBezTo>
                <a:cubicBezTo>
                  <a:pt x="509" y="307"/>
                  <a:pt x="509" y="308"/>
                  <a:pt x="508" y="308"/>
                </a:cubicBezTo>
                <a:cubicBezTo>
                  <a:pt x="508" y="309"/>
                  <a:pt x="509" y="309"/>
                  <a:pt x="508" y="309"/>
                </a:cubicBezTo>
                <a:cubicBezTo>
                  <a:pt x="508" y="309"/>
                  <a:pt x="508" y="310"/>
                  <a:pt x="508" y="310"/>
                </a:cubicBezTo>
                <a:cubicBezTo>
                  <a:pt x="509" y="309"/>
                  <a:pt x="516" y="308"/>
                  <a:pt x="516" y="309"/>
                </a:cubicBezTo>
                <a:cubicBezTo>
                  <a:pt x="515" y="309"/>
                  <a:pt x="514" y="309"/>
                  <a:pt x="514" y="310"/>
                </a:cubicBezTo>
                <a:cubicBezTo>
                  <a:pt x="514" y="311"/>
                  <a:pt x="514" y="310"/>
                  <a:pt x="513" y="311"/>
                </a:cubicBezTo>
                <a:cubicBezTo>
                  <a:pt x="513" y="311"/>
                  <a:pt x="512" y="311"/>
                  <a:pt x="512" y="312"/>
                </a:cubicBezTo>
                <a:cubicBezTo>
                  <a:pt x="511" y="312"/>
                  <a:pt x="511" y="312"/>
                  <a:pt x="511" y="311"/>
                </a:cubicBezTo>
                <a:cubicBezTo>
                  <a:pt x="510" y="311"/>
                  <a:pt x="508" y="311"/>
                  <a:pt x="508" y="312"/>
                </a:cubicBezTo>
                <a:cubicBezTo>
                  <a:pt x="506" y="312"/>
                  <a:pt x="507" y="312"/>
                  <a:pt x="506" y="313"/>
                </a:cubicBezTo>
                <a:cubicBezTo>
                  <a:pt x="506" y="314"/>
                  <a:pt x="505" y="314"/>
                  <a:pt x="504" y="314"/>
                </a:cubicBezTo>
                <a:cubicBezTo>
                  <a:pt x="504" y="314"/>
                  <a:pt x="504" y="315"/>
                  <a:pt x="504" y="315"/>
                </a:cubicBezTo>
                <a:cubicBezTo>
                  <a:pt x="503" y="315"/>
                  <a:pt x="502" y="316"/>
                  <a:pt x="502" y="317"/>
                </a:cubicBezTo>
                <a:cubicBezTo>
                  <a:pt x="502" y="318"/>
                  <a:pt x="501" y="318"/>
                  <a:pt x="502" y="319"/>
                </a:cubicBezTo>
                <a:cubicBezTo>
                  <a:pt x="502" y="319"/>
                  <a:pt x="502" y="320"/>
                  <a:pt x="502" y="320"/>
                </a:cubicBezTo>
                <a:cubicBezTo>
                  <a:pt x="503" y="320"/>
                  <a:pt x="504" y="320"/>
                  <a:pt x="504" y="320"/>
                </a:cubicBezTo>
                <a:cubicBezTo>
                  <a:pt x="505" y="321"/>
                  <a:pt x="505" y="321"/>
                  <a:pt x="506" y="322"/>
                </a:cubicBezTo>
                <a:cubicBezTo>
                  <a:pt x="507" y="321"/>
                  <a:pt x="507" y="320"/>
                  <a:pt x="508" y="321"/>
                </a:cubicBezTo>
                <a:cubicBezTo>
                  <a:pt x="507" y="321"/>
                  <a:pt x="508" y="322"/>
                  <a:pt x="508" y="322"/>
                </a:cubicBezTo>
                <a:cubicBezTo>
                  <a:pt x="508" y="322"/>
                  <a:pt x="509" y="321"/>
                  <a:pt x="509" y="321"/>
                </a:cubicBezTo>
                <a:cubicBezTo>
                  <a:pt x="510" y="319"/>
                  <a:pt x="510" y="319"/>
                  <a:pt x="512" y="320"/>
                </a:cubicBezTo>
                <a:cubicBezTo>
                  <a:pt x="512" y="319"/>
                  <a:pt x="511" y="318"/>
                  <a:pt x="511" y="318"/>
                </a:cubicBezTo>
                <a:cubicBezTo>
                  <a:pt x="512" y="318"/>
                  <a:pt x="512" y="317"/>
                  <a:pt x="512" y="316"/>
                </a:cubicBezTo>
                <a:cubicBezTo>
                  <a:pt x="512" y="316"/>
                  <a:pt x="512" y="316"/>
                  <a:pt x="513" y="316"/>
                </a:cubicBezTo>
                <a:cubicBezTo>
                  <a:pt x="513" y="315"/>
                  <a:pt x="513" y="315"/>
                  <a:pt x="514" y="315"/>
                </a:cubicBezTo>
                <a:cubicBezTo>
                  <a:pt x="514" y="316"/>
                  <a:pt x="514" y="317"/>
                  <a:pt x="515" y="317"/>
                </a:cubicBezTo>
                <a:cubicBezTo>
                  <a:pt x="515" y="316"/>
                  <a:pt x="515" y="316"/>
                  <a:pt x="515" y="316"/>
                </a:cubicBezTo>
                <a:cubicBezTo>
                  <a:pt x="515" y="315"/>
                  <a:pt x="516" y="315"/>
                  <a:pt x="516" y="315"/>
                </a:cubicBezTo>
                <a:cubicBezTo>
                  <a:pt x="518" y="314"/>
                  <a:pt x="520" y="314"/>
                  <a:pt x="521" y="313"/>
                </a:cubicBezTo>
                <a:cubicBezTo>
                  <a:pt x="522" y="312"/>
                  <a:pt x="522" y="312"/>
                  <a:pt x="523" y="312"/>
                </a:cubicBezTo>
                <a:cubicBezTo>
                  <a:pt x="524" y="311"/>
                  <a:pt x="524" y="310"/>
                  <a:pt x="524" y="310"/>
                </a:cubicBezTo>
                <a:cubicBezTo>
                  <a:pt x="524" y="310"/>
                  <a:pt x="524" y="309"/>
                  <a:pt x="524" y="309"/>
                </a:cubicBezTo>
                <a:cubicBezTo>
                  <a:pt x="525" y="309"/>
                  <a:pt x="525" y="309"/>
                  <a:pt x="525" y="309"/>
                </a:cubicBezTo>
                <a:cubicBezTo>
                  <a:pt x="525" y="308"/>
                  <a:pt x="525" y="308"/>
                  <a:pt x="523" y="308"/>
                </a:cubicBezTo>
                <a:cubicBezTo>
                  <a:pt x="524" y="308"/>
                  <a:pt x="524" y="307"/>
                  <a:pt x="524" y="306"/>
                </a:cubicBezTo>
                <a:cubicBezTo>
                  <a:pt x="523" y="306"/>
                  <a:pt x="522" y="306"/>
                  <a:pt x="521" y="307"/>
                </a:cubicBezTo>
                <a:cubicBezTo>
                  <a:pt x="521" y="307"/>
                  <a:pt x="520" y="309"/>
                  <a:pt x="520" y="309"/>
                </a:cubicBezTo>
                <a:cubicBezTo>
                  <a:pt x="519" y="309"/>
                  <a:pt x="519" y="308"/>
                  <a:pt x="519" y="307"/>
                </a:cubicBezTo>
                <a:cubicBezTo>
                  <a:pt x="518" y="307"/>
                  <a:pt x="518" y="307"/>
                  <a:pt x="517" y="307"/>
                </a:cubicBezTo>
                <a:cubicBezTo>
                  <a:pt x="517" y="306"/>
                  <a:pt x="517" y="307"/>
                  <a:pt x="516" y="307"/>
                </a:cubicBezTo>
                <a:cubicBezTo>
                  <a:pt x="516" y="307"/>
                  <a:pt x="515" y="306"/>
                  <a:pt x="515" y="306"/>
                </a:cubicBezTo>
                <a:cubicBezTo>
                  <a:pt x="515" y="306"/>
                  <a:pt x="514" y="307"/>
                  <a:pt x="514" y="307"/>
                </a:cubicBezTo>
                <a:cubicBezTo>
                  <a:pt x="514" y="307"/>
                  <a:pt x="513" y="306"/>
                  <a:pt x="513" y="306"/>
                </a:cubicBezTo>
                <a:cubicBezTo>
                  <a:pt x="514" y="305"/>
                  <a:pt x="514" y="305"/>
                  <a:pt x="514" y="305"/>
                </a:cubicBezTo>
                <a:cubicBezTo>
                  <a:pt x="515" y="305"/>
                  <a:pt x="515" y="305"/>
                  <a:pt x="515" y="304"/>
                </a:cubicBezTo>
                <a:cubicBezTo>
                  <a:pt x="515" y="304"/>
                  <a:pt x="515" y="304"/>
                  <a:pt x="515" y="304"/>
                </a:cubicBezTo>
                <a:cubicBezTo>
                  <a:pt x="514" y="304"/>
                  <a:pt x="513" y="304"/>
                  <a:pt x="512" y="304"/>
                </a:cubicBezTo>
                <a:cubicBezTo>
                  <a:pt x="513" y="303"/>
                  <a:pt x="512" y="304"/>
                  <a:pt x="511" y="304"/>
                </a:cubicBezTo>
                <a:cubicBezTo>
                  <a:pt x="511" y="304"/>
                  <a:pt x="511" y="303"/>
                  <a:pt x="511" y="303"/>
                </a:cubicBezTo>
                <a:cubicBezTo>
                  <a:pt x="511" y="302"/>
                  <a:pt x="510" y="303"/>
                  <a:pt x="510" y="303"/>
                </a:cubicBezTo>
                <a:cubicBezTo>
                  <a:pt x="510" y="302"/>
                  <a:pt x="510" y="301"/>
                  <a:pt x="510" y="300"/>
                </a:cubicBezTo>
                <a:cubicBezTo>
                  <a:pt x="510" y="300"/>
                  <a:pt x="510" y="300"/>
                  <a:pt x="510" y="300"/>
                </a:cubicBezTo>
                <a:cubicBezTo>
                  <a:pt x="510" y="300"/>
                  <a:pt x="510" y="299"/>
                  <a:pt x="511" y="299"/>
                </a:cubicBezTo>
                <a:cubicBezTo>
                  <a:pt x="511" y="299"/>
                  <a:pt x="511" y="298"/>
                  <a:pt x="511" y="298"/>
                </a:cubicBezTo>
                <a:cubicBezTo>
                  <a:pt x="510" y="298"/>
                  <a:pt x="509" y="298"/>
                  <a:pt x="508" y="298"/>
                </a:cubicBezTo>
                <a:cubicBezTo>
                  <a:pt x="508" y="297"/>
                  <a:pt x="508" y="297"/>
                  <a:pt x="510" y="297"/>
                </a:cubicBezTo>
                <a:cubicBezTo>
                  <a:pt x="509" y="296"/>
                  <a:pt x="509" y="293"/>
                  <a:pt x="510" y="294"/>
                </a:cubicBezTo>
                <a:cubicBezTo>
                  <a:pt x="510" y="293"/>
                  <a:pt x="510" y="294"/>
                  <a:pt x="510" y="293"/>
                </a:cubicBezTo>
                <a:cubicBezTo>
                  <a:pt x="510" y="292"/>
                  <a:pt x="509" y="292"/>
                  <a:pt x="508" y="292"/>
                </a:cubicBezTo>
                <a:cubicBezTo>
                  <a:pt x="507" y="293"/>
                  <a:pt x="507" y="293"/>
                  <a:pt x="506" y="293"/>
                </a:cubicBezTo>
                <a:cubicBezTo>
                  <a:pt x="506" y="293"/>
                  <a:pt x="506" y="293"/>
                  <a:pt x="506" y="294"/>
                </a:cubicBezTo>
                <a:cubicBezTo>
                  <a:pt x="505" y="294"/>
                  <a:pt x="504" y="294"/>
                  <a:pt x="504" y="294"/>
                </a:cubicBezTo>
                <a:cubicBezTo>
                  <a:pt x="504" y="293"/>
                  <a:pt x="503" y="292"/>
                  <a:pt x="504" y="293"/>
                </a:cubicBezTo>
                <a:cubicBezTo>
                  <a:pt x="504" y="292"/>
                  <a:pt x="504" y="291"/>
                  <a:pt x="503" y="291"/>
                </a:cubicBezTo>
                <a:cubicBezTo>
                  <a:pt x="503" y="291"/>
                  <a:pt x="503" y="290"/>
                  <a:pt x="504" y="290"/>
                </a:cubicBezTo>
                <a:cubicBezTo>
                  <a:pt x="504" y="290"/>
                  <a:pt x="504" y="290"/>
                  <a:pt x="504" y="289"/>
                </a:cubicBezTo>
                <a:cubicBezTo>
                  <a:pt x="505" y="290"/>
                  <a:pt x="505" y="291"/>
                  <a:pt x="506" y="292"/>
                </a:cubicBezTo>
                <a:cubicBezTo>
                  <a:pt x="507" y="292"/>
                  <a:pt x="506" y="291"/>
                  <a:pt x="507" y="291"/>
                </a:cubicBezTo>
                <a:cubicBezTo>
                  <a:pt x="508" y="291"/>
                  <a:pt x="508" y="291"/>
                  <a:pt x="508" y="291"/>
                </a:cubicBezTo>
                <a:cubicBezTo>
                  <a:pt x="509" y="290"/>
                  <a:pt x="509" y="289"/>
                  <a:pt x="509" y="288"/>
                </a:cubicBezTo>
                <a:cubicBezTo>
                  <a:pt x="510" y="288"/>
                  <a:pt x="511" y="288"/>
                  <a:pt x="511" y="288"/>
                </a:cubicBezTo>
                <a:cubicBezTo>
                  <a:pt x="511" y="288"/>
                  <a:pt x="511" y="287"/>
                  <a:pt x="511" y="287"/>
                </a:cubicBezTo>
                <a:cubicBezTo>
                  <a:pt x="512" y="287"/>
                  <a:pt x="511" y="285"/>
                  <a:pt x="511" y="284"/>
                </a:cubicBezTo>
                <a:cubicBezTo>
                  <a:pt x="512" y="284"/>
                  <a:pt x="512" y="285"/>
                  <a:pt x="512" y="285"/>
                </a:cubicBezTo>
                <a:cubicBezTo>
                  <a:pt x="512" y="283"/>
                  <a:pt x="511" y="284"/>
                  <a:pt x="511" y="282"/>
                </a:cubicBezTo>
                <a:cubicBezTo>
                  <a:pt x="510" y="281"/>
                  <a:pt x="509" y="281"/>
                  <a:pt x="508" y="281"/>
                </a:cubicBezTo>
                <a:cubicBezTo>
                  <a:pt x="507" y="281"/>
                  <a:pt x="507" y="281"/>
                  <a:pt x="506" y="281"/>
                </a:cubicBezTo>
                <a:cubicBezTo>
                  <a:pt x="506" y="281"/>
                  <a:pt x="506" y="281"/>
                  <a:pt x="505" y="281"/>
                </a:cubicBezTo>
                <a:cubicBezTo>
                  <a:pt x="505" y="281"/>
                  <a:pt x="504" y="281"/>
                  <a:pt x="504" y="281"/>
                </a:cubicBezTo>
                <a:cubicBezTo>
                  <a:pt x="503" y="281"/>
                  <a:pt x="505" y="281"/>
                  <a:pt x="503" y="282"/>
                </a:cubicBezTo>
                <a:cubicBezTo>
                  <a:pt x="503" y="282"/>
                  <a:pt x="502" y="282"/>
                  <a:pt x="501" y="282"/>
                </a:cubicBezTo>
                <a:cubicBezTo>
                  <a:pt x="501" y="282"/>
                  <a:pt x="501" y="282"/>
                  <a:pt x="501" y="282"/>
                </a:cubicBezTo>
                <a:cubicBezTo>
                  <a:pt x="501" y="282"/>
                  <a:pt x="500" y="283"/>
                  <a:pt x="499" y="283"/>
                </a:cubicBezTo>
                <a:cubicBezTo>
                  <a:pt x="499" y="283"/>
                  <a:pt x="500" y="283"/>
                  <a:pt x="499" y="283"/>
                </a:cubicBezTo>
                <a:cubicBezTo>
                  <a:pt x="499" y="283"/>
                  <a:pt x="499" y="283"/>
                  <a:pt x="498" y="284"/>
                </a:cubicBezTo>
                <a:cubicBezTo>
                  <a:pt x="498" y="284"/>
                  <a:pt x="497" y="284"/>
                  <a:pt x="497" y="284"/>
                </a:cubicBezTo>
                <a:cubicBezTo>
                  <a:pt x="496" y="285"/>
                  <a:pt x="496" y="285"/>
                  <a:pt x="495" y="286"/>
                </a:cubicBezTo>
                <a:cubicBezTo>
                  <a:pt x="495" y="286"/>
                  <a:pt x="494" y="285"/>
                  <a:pt x="494" y="286"/>
                </a:cubicBezTo>
                <a:cubicBezTo>
                  <a:pt x="494" y="285"/>
                  <a:pt x="493" y="287"/>
                  <a:pt x="493" y="287"/>
                </a:cubicBezTo>
                <a:cubicBezTo>
                  <a:pt x="493" y="287"/>
                  <a:pt x="492" y="288"/>
                  <a:pt x="492" y="288"/>
                </a:cubicBezTo>
                <a:cubicBezTo>
                  <a:pt x="491" y="288"/>
                  <a:pt x="490" y="289"/>
                  <a:pt x="490" y="289"/>
                </a:cubicBezTo>
                <a:cubicBezTo>
                  <a:pt x="489" y="289"/>
                  <a:pt x="489" y="290"/>
                  <a:pt x="489" y="291"/>
                </a:cubicBezTo>
                <a:cubicBezTo>
                  <a:pt x="489" y="291"/>
                  <a:pt x="488" y="291"/>
                  <a:pt x="488" y="291"/>
                </a:cubicBezTo>
                <a:cubicBezTo>
                  <a:pt x="488" y="292"/>
                  <a:pt x="487" y="291"/>
                  <a:pt x="487" y="291"/>
                </a:cubicBezTo>
                <a:cubicBezTo>
                  <a:pt x="486" y="291"/>
                  <a:pt x="486" y="293"/>
                  <a:pt x="486" y="293"/>
                </a:cubicBezTo>
                <a:cubicBezTo>
                  <a:pt x="486" y="294"/>
                  <a:pt x="485" y="294"/>
                  <a:pt x="485" y="295"/>
                </a:cubicBezTo>
                <a:cubicBezTo>
                  <a:pt x="485" y="295"/>
                  <a:pt x="485" y="296"/>
                  <a:pt x="485" y="296"/>
                </a:cubicBezTo>
                <a:cubicBezTo>
                  <a:pt x="484" y="296"/>
                  <a:pt x="484" y="296"/>
                  <a:pt x="483" y="297"/>
                </a:cubicBezTo>
                <a:cubicBezTo>
                  <a:pt x="483" y="297"/>
                  <a:pt x="483" y="298"/>
                  <a:pt x="482" y="298"/>
                </a:cubicBezTo>
                <a:cubicBezTo>
                  <a:pt x="481" y="299"/>
                  <a:pt x="480" y="299"/>
                  <a:pt x="479" y="299"/>
                </a:cubicBezTo>
                <a:cubicBezTo>
                  <a:pt x="480" y="299"/>
                  <a:pt x="480" y="299"/>
                  <a:pt x="480" y="298"/>
                </a:cubicBezTo>
                <a:cubicBezTo>
                  <a:pt x="480" y="298"/>
                  <a:pt x="481" y="298"/>
                  <a:pt x="481" y="298"/>
                </a:cubicBezTo>
                <a:cubicBezTo>
                  <a:pt x="481" y="298"/>
                  <a:pt x="482" y="298"/>
                  <a:pt x="482" y="298"/>
                </a:cubicBezTo>
                <a:cubicBezTo>
                  <a:pt x="482" y="297"/>
                  <a:pt x="483" y="297"/>
                  <a:pt x="483" y="297"/>
                </a:cubicBezTo>
                <a:cubicBezTo>
                  <a:pt x="483" y="296"/>
                  <a:pt x="484" y="295"/>
                  <a:pt x="484" y="294"/>
                </a:cubicBezTo>
                <a:cubicBezTo>
                  <a:pt x="484" y="294"/>
                  <a:pt x="485" y="294"/>
                  <a:pt x="485" y="294"/>
                </a:cubicBezTo>
                <a:cubicBezTo>
                  <a:pt x="485" y="293"/>
                  <a:pt x="485" y="293"/>
                  <a:pt x="485" y="293"/>
                </a:cubicBezTo>
                <a:cubicBezTo>
                  <a:pt x="485" y="292"/>
                  <a:pt x="486" y="292"/>
                  <a:pt x="486" y="291"/>
                </a:cubicBezTo>
                <a:cubicBezTo>
                  <a:pt x="486" y="290"/>
                  <a:pt x="486" y="290"/>
                  <a:pt x="485" y="290"/>
                </a:cubicBezTo>
                <a:cubicBezTo>
                  <a:pt x="484" y="289"/>
                  <a:pt x="485" y="289"/>
                  <a:pt x="485" y="289"/>
                </a:cubicBezTo>
                <a:cubicBezTo>
                  <a:pt x="486" y="289"/>
                  <a:pt x="486" y="289"/>
                  <a:pt x="487" y="289"/>
                </a:cubicBezTo>
                <a:cubicBezTo>
                  <a:pt x="487" y="289"/>
                  <a:pt x="487" y="288"/>
                  <a:pt x="488" y="288"/>
                </a:cubicBezTo>
                <a:cubicBezTo>
                  <a:pt x="488" y="288"/>
                  <a:pt x="488" y="287"/>
                  <a:pt x="488" y="287"/>
                </a:cubicBezTo>
                <a:cubicBezTo>
                  <a:pt x="489" y="286"/>
                  <a:pt x="489" y="286"/>
                  <a:pt x="490" y="286"/>
                </a:cubicBezTo>
                <a:cubicBezTo>
                  <a:pt x="490" y="286"/>
                  <a:pt x="490" y="285"/>
                  <a:pt x="490" y="285"/>
                </a:cubicBezTo>
                <a:cubicBezTo>
                  <a:pt x="490" y="285"/>
                  <a:pt x="492" y="285"/>
                  <a:pt x="492" y="285"/>
                </a:cubicBezTo>
                <a:cubicBezTo>
                  <a:pt x="491" y="283"/>
                  <a:pt x="495" y="283"/>
                  <a:pt x="495" y="282"/>
                </a:cubicBezTo>
                <a:cubicBezTo>
                  <a:pt x="495" y="281"/>
                  <a:pt x="495" y="281"/>
                  <a:pt x="496" y="281"/>
                </a:cubicBezTo>
                <a:cubicBezTo>
                  <a:pt x="497" y="281"/>
                  <a:pt x="498" y="278"/>
                  <a:pt x="498" y="277"/>
                </a:cubicBezTo>
                <a:cubicBezTo>
                  <a:pt x="498" y="277"/>
                  <a:pt x="499" y="277"/>
                  <a:pt x="499" y="277"/>
                </a:cubicBezTo>
                <a:cubicBezTo>
                  <a:pt x="499" y="277"/>
                  <a:pt x="501" y="276"/>
                  <a:pt x="501" y="275"/>
                </a:cubicBezTo>
                <a:cubicBezTo>
                  <a:pt x="501" y="276"/>
                  <a:pt x="502" y="276"/>
                  <a:pt x="502" y="275"/>
                </a:cubicBezTo>
                <a:cubicBezTo>
                  <a:pt x="503" y="275"/>
                  <a:pt x="505" y="276"/>
                  <a:pt x="506" y="276"/>
                </a:cubicBezTo>
                <a:cubicBezTo>
                  <a:pt x="506" y="275"/>
                  <a:pt x="508" y="276"/>
                  <a:pt x="508" y="276"/>
                </a:cubicBezTo>
                <a:cubicBezTo>
                  <a:pt x="508" y="276"/>
                  <a:pt x="509" y="276"/>
                  <a:pt x="509" y="276"/>
                </a:cubicBezTo>
                <a:cubicBezTo>
                  <a:pt x="510" y="276"/>
                  <a:pt x="509" y="275"/>
                  <a:pt x="510" y="275"/>
                </a:cubicBezTo>
                <a:cubicBezTo>
                  <a:pt x="510" y="274"/>
                  <a:pt x="511" y="275"/>
                  <a:pt x="511" y="275"/>
                </a:cubicBezTo>
                <a:cubicBezTo>
                  <a:pt x="511" y="275"/>
                  <a:pt x="511" y="275"/>
                  <a:pt x="511" y="275"/>
                </a:cubicBezTo>
                <a:cubicBezTo>
                  <a:pt x="512" y="275"/>
                  <a:pt x="511" y="276"/>
                  <a:pt x="512" y="276"/>
                </a:cubicBezTo>
                <a:cubicBezTo>
                  <a:pt x="513" y="276"/>
                  <a:pt x="513" y="276"/>
                  <a:pt x="514" y="276"/>
                </a:cubicBezTo>
                <a:cubicBezTo>
                  <a:pt x="514" y="275"/>
                  <a:pt x="514" y="275"/>
                  <a:pt x="514" y="275"/>
                </a:cubicBezTo>
                <a:cubicBezTo>
                  <a:pt x="515" y="275"/>
                  <a:pt x="516" y="275"/>
                  <a:pt x="516" y="276"/>
                </a:cubicBezTo>
                <a:cubicBezTo>
                  <a:pt x="516" y="275"/>
                  <a:pt x="517" y="275"/>
                  <a:pt x="517" y="275"/>
                </a:cubicBezTo>
                <a:cubicBezTo>
                  <a:pt x="518" y="274"/>
                  <a:pt x="518" y="274"/>
                  <a:pt x="518" y="274"/>
                </a:cubicBezTo>
                <a:cubicBezTo>
                  <a:pt x="520" y="274"/>
                  <a:pt x="518" y="275"/>
                  <a:pt x="519" y="275"/>
                </a:cubicBezTo>
                <a:cubicBezTo>
                  <a:pt x="520" y="275"/>
                  <a:pt x="520" y="276"/>
                  <a:pt x="521" y="276"/>
                </a:cubicBezTo>
                <a:cubicBezTo>
                  <a:pt x="521" y="275"/>
                  <a:pt x="521" y="275"/>
                  <a:pt x="521" y="275"/>
                </a:cubicBezTo>
                <a:cubicBezTo>
                  <a:pt x="521" y="275"/>
                  <a:pt x="522" y="275"/>
                  <a:pt x="522" y="275"/>
                </a:cubicBezTo>
                <a:cubicBezTo>
                  <a:pt x="522" y="275"/>
                  <a:pt x="522" y="275"/>
                  <a:pt x="523" y="275"/>
                </a:cubicBezTo>
                <a:cubicBezTo>
                  <a:pt x="524" y="274"/>
                  <a:pt x="524" y="276"/>
                  <a:pt x="524" y="276"/>
                </a:cubicBezTo>
                <a:cubicBezTo>
                  <a:pt x="525" y="277"/>
                  <a:pt x="526" y="276"/>
                  <a:pt x="526" y="276"/>
                </a:cubicBezTo>
                <a:cubicBezTo>
                  <a:pt x="527" y="275"/>
                  <a:pt x="527" y="274"/>
                  <a:pt x="528" y="275"/>
                </a:cubicBezTo>
                <a:cubicBezTo>
                  <a:pt x="528" y="275"/>
                  <a:pt x="528" y="276"/>
                  <a:pt x="528" y="276"/>
                </a:cubicBezTo>
                <a:cubicBezTo>
                  <a:pt x="529" y="276"/>
                  <a:pt x="529" y="275"/>
                  <a:pt x="529" y="276"/>
                </a:cubicBezTo>
                <a:cubicBezTo>
                  <a:pt x="530" y="276"/>
                  <a:pt x="530" y="275"/>
                  <a:pt x="531" y="275"/>
                </a:cubicBezTo>
                <a:cubicBezTo>
                  <a:pt x="531" y="275"/>
                  <a:pt x="530" y="274"/>
                  <a:pt x="531" y="274"/>
                </a:cubicBezTo>
                <a:cubicBezTo>
                  <a:pt x="532" y="274"/>
                  <a:pt x="532" y="275"/>
                  <a:pt x="533" y="275"/>
                </a:cubicBezTo>
                <a:cubicBezTo>
                  <a:pt x="533" y="274"/>
                  <a:pt x="534" y="275"/>
                  <a:pt x="534" y="273"/>
                </a:cubicBezTo>
                <a:cubicBezTo>
                  <a:pt x="534" y="273"/>
                  <a:pt x="534" y="272"/>
                  <a:pt x="534" y="272"/>
                </a:cubicBezTo>
                <a:cubicBezTo>
                  <a:pt x="534" y="272"/>
                  <a:pt x="535" y="272"/>
                  <a:pt x="535" y="272"/>
                </a:cubicBezTo>
                <a:cubicBezTo>
                  <a:pt x="535" y="273"/>
                  <a:pt x="536" y="272"/>
                  <a:pt x="537" y="272"/>
                </a:cubicBezTo>
                <a:cubicBezTo>
                  <a:pt x="538" y="271"/>
                  <a:pt x="537" y="271"/>
                  <a:pt x="537" y="269"/>
                </a:cubicBezTo>
                <a:cubicBezTo>
                  <a:pt x="538" y="269"/>
                  <a:pt x="538" y="268"/>
                  <a:pt x="538" y="268"/>
                </a:cubicBezTo>
                <a:cubicBezTo>
                  <a:pt x="539" y="267"/>
                  <a:pt x="539" y="267"/>
                  <a:pt x="540" y="267"/>
                </a:cubicBezTo>
                <a:cubicBezTo>
                  <a:pt x="540" y="266"/>
                  <a:pt x="540" y="266"/>
                  <a:pt x="540" y="266"/>
                </a:cubicBezTo>
                <a:cubicBezTo>
                  <a:pt x="541" y="266"/>
                  <a:pt x="543" y="266"/>
                  <a:pt x="543" y="265"/>
                </a:cubicBezTo>
                <a:cubicBezTo>
                  <a:pt x="543" y="264"/>
                  <a:pt x="546" y="265"/>
                  <a:pt x="546" y="265"/>
                </a:cubicBezTo>
                <a:cubicBezTo>
                  <a:pt x="546" y="264"/>
                  <a:pt x="547" y="264"/>
                  <a:pt x="548" y="264"/>
                </a:cubicBezTo>
                <a:cubicBezTo>
                  <a:pt x="548" y="264"/>
                  <a:pt x="549" y="263"/>
                  <a:pt x="550" y="263"/>
                </a:cubicBezTo>
                <a:cubicBezTo>
                  <a:pt x="550" y="263"/>
                  <a:pt x="550" y="262"/>
                  <a:pt x="550" y="262"/>
                </a:cubicBezTo>
                <a:cubicBezTo>
                  <a:pt x="551" y="262"/>
                  <a:pt x="551" y="263"/>
                  <a:pt x="551" y="262"/>
                </a:cubicBezTo>
                <a:cubicBezTo>
                  <a:pt x="551" y="261"/>
                  <a:pt x="551" y="260"/>
                  <a:pt x="552" y="261"/>
                </a:cubicBezTo>
                <a:cubicBezTo>
                  <a:pt x="552" y="259"/>
                  <a:pt x="551" y="258"/>
                  <a:pt x="551" y="257"/>
                </a:cubicBezTo>
                <a:cubicBezTo>
                  <a:pt x="551" y="257"/>
                  <a:pt x="552" y="257"/>
                  <a:pt x="552" y="257"/>
                </a:cubicBezTo>
                <a:cubicBezTo>
                  <a:pt x="552" y="257"/>
                  <a:pt x="552" y="256"/>
                  <a:pt x="552" y="255"/>
                </a:cubicBezTo>
                <a:cubicBezTo>
                  <a:pt x="552" y="255"/>
                  <a:pt x="552" y="255"/>
                  <a:pt x="552" y="254"/>
                </a:cubicBezTo>
                <a:cubicBezTo>
                  <a:pt x="551" y="254"/>
                  <a:pt x="551" y="254"/>
                  <a:pt x="551" y="254"/>
                </a:cubicBezTo>
                <a:cubicBezTo>
                  <a:pt x="551" y="254"/>
                  <a:pt x="550" y="254"/>
                  <a:pt x="550" y="254"/>
                </a:cubicBezTo>
                <a:cubicBezTo>
                  <a:pt x="550" y="255"/>
                  <a:pt x="550" y="256"/>
                  <a:pt x="549" y="255"/>
                </a:cubicBezTo>
                <a:cubicBezTo>
                  <a:pt x="549" y="254"/>
                  <a:pt x="549" y="253"/>
                  <a:pt x="547" y="253"/>
                </a:cubicBezTo>
                <a:cubicBezTo>
                  <a:pt x="547" y="253"/>
                  <a:pt x="546" y="252"/>
                  <a:pt x="546" y="252"/>
                </a:cubicBezTo>
                <a:cubicBezTo>
                  <a:pt x="545" y="251"/>
                  <a:pt x="544" y="251"/>
                  <a:pt x="544" y="251"/>
                </a:cubicBezTo>
                <a:cubicBezTo>
                  <a:pt x="544" y="251"/>
                  <a:pt x="542" y="250"/>
                  <a:pt x="542" y="252"/>
                </a:cubicBezTo>
                <a:cubicBezTo>
                  <a:pt x="541" y="252"/>
                  <a:pt x="541" y="252"/>
                  <a:pt x="540" y="252"/>
                </a:cubicBezTo>
                <a:cubicBezTo>
                  <a:pt x="540" y="252"/>
                  <a:pt x="540" y="252"/>
                  <a:pt x="539" y="252"/>
                </a:cubicBezTo>
                <a:cubicBezTo>
                  <a:pt x="539" y="252"/>
                  <a:pt x="539" y="252"/>
                  <a:pt x="539" y="252"/>
                </a:cubicBezTo>
                <a:cubicBezTo>
                  <a:pt x="538" y="252"/>
                  <a:pt x="538" y="254"/>
                  <a:pt x="536" y="254"/>
                </a:cubicBezTo>
                <a:cubicBezTo>
                  <a:pt x="536" y="254"/>
                  <a:pt x="536" y="254"/>
                  <a:pt x="536" y="254"/>
                </a:cubicBezTo>
                <a:cubicBezTo>
                  <a:pt x="536" y="255"/>
                  <a:pt x="535" y="254"/>
                  <a:pt x="535" y="254"/>
                </a:cubicBezTo>
                <a:cubicBezTo>
                  <a:pt x="534" y="255"/>
                  <a:pt x="534" y="255"/>
                  <a:pt x="533" y="255"/>
                </a:cubicBezTo>
                <a:cubicBezTo>
                  <a:pt x="533" y="256"/>
                  <a:pt x="532" y="257"/>
                  <a:pt x="532" y="257"/>
                </a:cubicBezTo>
                <a:cubicBezTo>
                  <a:pt x="531" y="257"/>
                  <a:pt x="531" y="257"/>
                  <a:pt x="530" y="256"/>
                </a:cubicBezTo>
                <a:cubicBezTo>
                  <a:pt x="530" y="256"/>
                  <a:pt x="530" y="256"/>
                  <a:pt x="530" y="255"/>
                </a:cubicBezTo>
                <a:cubicBezTo>
                  <a:pt x="530" y="254"/>
                  <a:pt x="531" y="254"/>
                  <a:pt x="532" y="254"/>
                </a:cubicBezTo>
                <a:cubicBezTo>
                  <a:pt x="532" y="255"/>
                  <a:pt x="533" y="254"/>
                  <a:pt x="533" y="254"/>
                </a:cubicBezTo>
                <a:cubicBezTo>
                  <a:pt x="533" y="254"/>
                  <a:pt x="534" y="254"/>
                  <a:pt x="534" y="254"/>
                </a:cubicBezTo>
                <a:cubicBezTo>
                  <a:pt x="534" y="254"/>
                  <a:pt x="534" y="254"/>
                  <a:pt x="535" y="253"/>
                </a:cubicBezTo>
                <a:cubicBezTo>
                  <a:pt x="535" y="253"/>
                  <a:pt x="535" y="253"/>
                  <a:pt x="535" y="253"/>
                </a:cubicBezTo>
                <a:cubicBezTo>
                  <a:pt x="536" y="253"/>
                  <a:pt x="536" y="253"/>
                  <a:pt x="537" y="252"/>
                </a:cubicBezTo>
                <a:cubicBezTo>
                  <a:pt x="537" y="252"/>
                  <a:pt x="537" y="252"/>
                  <a:pt x="538" y="252"/>
                </a:cubicBezTo>
                <a:cubicBezTo>
                  <a:pt x="538" y="252"/>
                  <a:pt x="538" y="251"/>
                  <a:pt x="539" y="251"/>
                </a:cubicBezTo>
                <a:cubicBezTo>
                  <a:pt x="539" y="251"/>
                  <a:pt x="539" y="251"/>
                  <a:pt x="539" y="251"/>
                </a:cubicBezTo>
                <a:cubicBezTo>
                  <a:pt x="540" y="250"/>
                  <a:pt x="540" y="252"/>
                  <a:pt x="541" y="250"/>
                </a:cubicBezTo>
                <a:cubicBezTo>
                  <a:pt x="541" y="250"/>
                  <a:pt x="542" y="250"/>
                  <a:pt x="542" y="250"/>
                </a:cubicBezTo>
                <a:cubicBezTo>
                  <a:pt x="542" y="250"/>
                  <a:pt x="541" y="250"/>
                  <a:pt x="542" y="250"/>
                </a:cubicBezTo>
                <a:cubicBezTo>
                  <a:pt x="543" y="250"/>
                  <a:pt x="544" y="249"/>
                  <a:pt x="544" y="249"/>
                </a:cubicBezTo>
                <a:cubicBezTo>
                  <a:pt x="544" y="248"/>
                  <a:pt x="545" y="249"/>
                  <a:pt x="545" y="248"/>
                </a:cubicBezTo>
                <a:cubicBezTo>
                  <a:pt x="545" y="248"/>
                  <a:pt x="544" y="248"/>
                  <a:pt x="544" y="248"/>
                </a:cubicBezTo>
                <a:cubicBezTo>
                  <a:pt x="543" y="248"/>
                  <a:pt x="544" y="248"/>
                  <a:pt x="543" y="248"/>
                </a:cubicBezTo>
                <a:cubicBezTo>
                  <a:pt x="542" y="248"/>
                  <a:pt x="542" y="246"/>
                  <a:pt x="542" y="246"/>
                </a:cubicBezTo>
                <a:cubicBezTo>
                  <a:pt x="542" y="246"/>
                  <a:pt x="542" y="245"/>
                  <a:pt x="542" y="245"/>
                </a:cubicBezTo>
                <a:cubicBezTo>
                  <a:pt x="541" y="245"/>
                  <a:pt x="541" y="247"/>
                  <a:pt x="541" y="247"/>
                </a:cubicBezTo>
                <a:cubicBezTo>
                  <a:pt x="540" y="247"/>
                  <a:pt x="538" y="247"/>
                  <a:pt x="538" y="246"/>
                </a:cubicBezTo>
                <a:cubicBezTo>
                  <a:pt x="538" y="245"/>
                  <a:pt x="537" y="244"/>
                  <a:pt x="537" y="243"/>
                </a:cubicBezTo>
                <a:cubicBezTo>
                  <a:pt x="537" y="244"/>
                  <a:pt x="536" y="244"/>
                  <a:pt x="536" y="244"/>
                </a:cubicBezTo>
                <a:cubicBezTo>
                  <a:pt x="536" y="244"/>
                  <a:pt x="536" y="244"/>
                  <a:pt x="536" y="243"/>
                </a:cubicBezTo>
                <a:cubicBezTo>
                  <a:pt x="535" y="244"/>
                  <a:pt x="534" y="245"/>
                  <a:pt x="534" y="245"/>
                </a:cubicBezTo>
                <a:cubicBezTo>
                  <a:pt x="534" y="245"/>
                  <a:pt x="534" y="244"/>
                  <a:pt x="534" y="243"/>
                </a:cubicBezTo>
                <a:cubicBezTo>
                  <a:pt x="533" y="244"/>
                  <a:pt x="533" y="244"/>
                  <a:pt x="532" y="243"/>
                </a:cubicBezTo>
                <a:cubicBezTo>
                  <a:pt x="532" y="243"/>
                  <a:pt x="531" y="243"/>
                  <a:pt x="530" y="243"/>
                </a:cubicBezTo>
                <a:cubicBezTo>
                  <a:pt x="530" y="243"/>
                  <a:pt x="530" y="242"/>
                  <a:pt x="530" y="241"/>
                </a:cubicBezTo>
                <a:cubicBezTo>
                  <a:pt x="530" y="241"/>
                  <a:pt x="530" y="240"/>
                  <a:pt x="530" y="240"/>
                </a:cubicBezTo>
                <a:cubicBezTo>
                  <a:pt x="529" y="239"/>
                  <a:pt x="528" y="238"/>
                  <a:pt x="527" y="238"/>
                </a:cubicBezTo>
                <a:cubicBezTo>
                  <a:pt x="526" y="238"/>
                  <a:pt x="525" y="238"/>
                  <a:pt x="525" y="238"/>
                </a:cubicBezTo>
                <a:cubicBezTo>
                  <a:pt x="524" y="238"/>
                  <a:pt x="525" y="237"/>
                  <a:pt x="525" y="236"/>
                </a:cubicBezTo>
                <a:cubicBezTo>
                  <a:pt x="525" y="235"/>
                  <a:pt x="524" y="235"/>
                  <a:pt x="523" y="235"/>
                </a:cubicBezTo>
                <a:cubicBezTo>
                  <a:pt x="523" y="235"/>
                  <a:pt x="523" y="235"/>
                  <a:pt x="523" y="234"/>
                </a:cubicBezTo>
                <a:cubicBezTo>
                  <a:pt x="523" y="234"/>
                  <a:pt x="522" y="235"/>
                  <a:pt x="522" y="235"/>
                </a:cubicBezTo>
                <a:cubicBezTo>
                  <a:pt x="521" y="234"/>
                  <a:pt x="522" y="234"/>
                  <a:pt x="522" y="233"/>
                </a:cubicBezTo>
                <a:cubicBezTo>
                  <a:pt x="523" y="232"/>
                  <a:pt x="522" y="232"/>
                  <a:pt x="522" y="232"/>
                </a:cubicBezTo>
                <a:cubicBezTo>
                  <a:pt x="521" y="232"/>
                  <a:pt x="521" y="232"/>
                  <a:pt x="521" y="231"/>
                </a:cubicBezTo>
                <a:cubicBezTo>
                  <a:pt x="522" y="231"/>
                  <a:pt x="524" y="232"/>
                  <a:pt x="524" y="231"/>
                </a:cubicBezTo>
                <a:cubicBezTo>
                  <a:pt x="525" y="230"/>
                  <a:pt x="525" y="232"/>
                  <a:pt x="525" y="232"/>
                </a:cubicBezTo>
                <a:cubicBezTo>
                  <a:pt x="526" y="232"/>
                  <a:pt x="526" y="230"/>
                  <a:pt x="526" y="230"/>
                </a:cubicBezTo>
                <a:cubicBezTo>
                  <a:pt x="525" y="230"/>
                  <a:pt x="526" y="229"/>
                  <a:pt x="525" y="229"/>
                </a:cubicBezTo>
                <a:cubicBezTo>
                  <a:pt x="524" y="229"/>
                  <a:pt x="524" y="229"/>
                  <a:pt x="523" y="228"/>
                </a:cubicBezTo>
                <a:cubicBezTo>
                  <a:pt x="523" y="228"/>
                  <a:pt x="523" y="228"/>
                  <a:pt x="523" y="228"/>
                </a:cubicBezTo>
                <a:cubicBezTo>
                  <a:pt x="523" y="228"/>
                  <a:pt x="523" y="227"/>
                  <a:pt x="522" y="227"/>
                </a:cubicBezTo>
                <a:cubicBezTo>
                  <a:pt x="522" y="227"/>
                  <a:pt x="521" y="228"/>
                  <a:pt x="521" y="227"/>
                </a:cubicBezTo>
                <a:cubicBezTo>
                  <a:pt x="521" y="227"/>
                  <a:pt x="521" y="227"/>
                  <a:pt x="521" y="227"/>
                </a:cubicBezTo>
                <a:cubicBezTo>
                  <a:pt x="522" y="227"/>
                  <a:pt x="522" y="226"/>
                  <a:pt x="522" y="226"/>
                </a:cubicBezTo>
                <a:cubicBezTo>
                  <a:pt x="523" y="225"/>
                  <a:pt x="523" y="225"/>
                  <a:pt x="523" y="225"/>
                </a:cubicBezTo>
                <a:cubicBezTo>
                  <a:pt x="523" y="224"/>
                  <a:pt x="523" y="224"/>
                  <a:pt x="522" y="224"/>
                </a:cubicBezTo>
                <a:cubicBezTo>
                  <a:pt x="522" y="223"/>
                  <a:pt x="521" y="223"/>
                  <a:pt x="521" y="223"/>
                </a:cubicBezTo>
                <a:cubicBezTo>
                  <a:pt x="521" y="222"/>
                  <a:pt x="520" y="223"/>
                  <a:pt x="519" y="223"/>
                </a:cubicBezTo>
                <a:cubicBezTo>
                  <a:pt x="520" y="221"/>
                  <a:pt x="518" y="222"/>
                  <a:pt x="518" y="221"/>
                </a:cubicBezTo>
                <a:cubicBezTo>
                  <a:pt x="518" y="221"/>
                  <a:pt x="519" y="221"/>
                  <a:pt x="519" y="221"/>
                </a:cubicBezTo>
                <a:cubicBezTo>
                  <a:pt x="519" y="220"/>
                  <a:pt x="520" y="220"/>
                  <a:pt x="520" y="219"/>
                </a:cubicBezTo>
                <a:cubicBezTo>
                  <a:pt x="519" y="219"/>
                  <a:pt x="516" y="218"/>
                  <a:pt x="516" y="219"/>
                </a:cubicBezTo>
                <a:cubicBezTo>
                  <a:pt x="516" y="219"/>
                  <a:pt x="516" y="219"/>
                  <a:pt x="515" y="219"/>
                </a:cubicBezTo>
                <a:cubicBezTo>
                  <a:pt x="515" y="218"/>
                  <a:pt x="515" y="218"/>
                  <a:pt x="516" y="218"/>
                </a:cubicBezTo>
                <a:cubicBezTo>
                  <a:pt x="517" y="218"/>
                  <a:pt x="517" y="217"/>
                  <a:pt x="518" y="217"/>
                </a:cubicBezTo>
                <a:cubicBezTo>
                  <a:pt x="518" y="215"/>
                  <a:pt x="517" y="216"/>
                  <a:pt x="516" y="215"/>
                </a:cubicBezTo>
                <a:cubicBezTo>
                  <a:pt x="516" y="215"/>
                  <a:pt x="517" y="214"/>
                  <a:pt x="517" y="214"/>
                </a:cubicBezTo>
                <a:cubicBezTo>
                  <a:pt x="516" y="214"/>
                  <a:pt x="516" y="214"/>
                  <a:pt x="516" y="213"/>
                </a:cubicBezTo>
                <a:cubicBezTo>
                  <a:pt x="516" y="212"/>
                  <a:pt x="514" y="212"/>
                  <a:pt x="514" y="213"/>
                </a:cubicBezTo>
                <a:cubicBezTo>
                  <a:pt x="514" y="213"/>
                  <a:pt x="513" y="213"/>
                  <a:pt x="513" y="212"/>
                </a:cubicBezTo>
                <a:cubicBezTo>
                  <a:pt x="513" y="211"/>
                  <a:pt x="512" y="212"/>
                  <a:pt x="512" y="211"/>
                </a:cubicBezTo>
                <a:cubicBezTo>
                  <a:pt x="512" y="211"/>
                  <a:pt x="513" y="210"/>
                  <a:pt x="512" y="210"/>
                </a:cubicBezTo>
                <a:cubicBezTo>
                  <a:pt x="512" y="209"/>
                  <a:pt x="512" y="209"/>
                  <a:pt x="512" y="209"/>
                </a:cubicBezTo>
                <a:cubicBezTo>
                  <a:pt x="512" y="208"/>
                  <a:pt x="512" y="208"/>
                  <a:pt x="512" y="207"/>
                </a:cubicBezTo>
                <a:cubicBezTo>
                  <a:pt x="512" y="206"/>
                  <a:pt x="511" y="206"/>
                  <a:pt x="511" y="206"/>
                </a:cubicBezTo>
                <a:cubicBezTo>
                  <a:pt x="511" y="205"/>
                  <a:pt x="512" y="204"/>
                  <a:pt x="511" y="204"/>
                </a:cubicBezTo>
                <a:cubicBezTo>
                  <a:pt x="511" y="204"/>
                  <a:pt x="511" y="203"/>
                  <a:pt x="511" y="202"/>
                </a:cubicBezTo>
                <a:cubicBezTo>
                  <a:pt x="511" y="202"/>
                  <a:pt x="510" y="202"/>
                  <a:pt x="509" y="203"/>
                </a:cubicBezTo>
                <a:cubicBezTo>
                  <a:pt x="509" y="203"/>
                  <a:pt x="509" y="204"/>
                  <a:pt x="509" y="205"/>
                </a:cubicBezTo>
                <a:cubicBezTo>
                  <a:pt x="508" y="205"/>
                  <a:pt x="508" y="205"/>
                  <a:pt x="508" y="206"/>
                </a:cubicBezTo>
                <a:cubicBezTo>
                  <a:pt x="508" y="207"/>
                  <a:pt x="508" y="207"/>
                  <a:pt x="507" y="207"/>
                </a:cubicBezTo>
                <a:cubicBezTo>
                  <a:pt x="506" y="208"/>
                  <a:pt x="506" y="208"/>
                  <a:pt x="506" y="209"/>
                </a:cubicBezTo>
                <a:cubicBezTo>
                  <a:pt x="506" y="209"/>
                  <a:pt x="507" y="209"/>
                  <a:pt x="507" y="209"/>
                </a:cubicBezTo>
                <a:cubicBezTo>
                  <a:pt x="507" y="210"/>
                  <a:pt x="506" y="210"/>
                  <a:pt x="506" y="210"/>
                </a:cubicBezTo>
                <a:cubicBezTo>
                  <a:pt x="506" y="210"/>
                  <a:pt x="506" y="211"/>
                  <a:pt x="506" y="211"/>
                </a:cubicBezTo>
                <a:cubicBezTo>
                  <a:pt x="506" y="212"/>
                  <a:pt x="505" y="212"/>
                  <a:pt x="504" y="212"/>
                </a:cubicBezTo>
                <a:cubicBezTo>
                  <a:pt x="503" y="213"/>
                  <a:pt x="504" y="214"/>
                  <a:pt x="504" y="215"/>
                </a:cubicBezTo>
                <a:cubicBezTo>
                  <a:pt x="503" y="215"/>
                  <a:pt x="503" y="214"/>
                  <a:pt x="502" y="214"/>
                </a:cubicBezTo>
                <a:cubicBezTo>
                  <a:pt x="502" y="215"/>
                  <a:pt x="502" y="215"/>
                  <a:pt x="502" y="215"/>
                </a:cubicBezTo>
                <a:cubicBezTo>
                  <a:pt x="502" y="215"/>
                  <a:pt x="502" y="215"/>
                  <a:pt x="501" y="215"/>
                </a:cubicBezTo>
                <a:cubicBezTo>
                  <a:pt x="501" y="216"/>
                  <a:pt x="501" y="216"/>
                  <a:pt x="501" y="216"/>
                </a:cubicBezTo>
                <a:cubicBezTo>
                  <a:pt x="501" y="217"/>
                  <a:pt x="501" y="217"/>
                  <a:pt x="501" y="217"/>
                </a:cubicBezTo>
                <a:cubicBezTo>
                  <a:pt x="501" y="217"/>
                  <a:pt x="501" y="217"/>
                  <a:pt x="501" y="217"/>
                </a:cubicBezTo>
                <a:cubicBezTo>
                  <a:pt x="501" y="218"/>
                  <a:pt x="500" y="217"/>
                  <a:pt x="500" y="218"/>
                </a:cubicBezTo>
                <a:cubicBezTo>
                  <a:pt x="500" y="218"/>
                  <a:pt x="499" y="218"/>
                  <a:pt x="499" y="218"/>
                </a:cubicBezTo>
                <a:cubicBezTo>
                  <a:pt x="499" y="218"/>
                  <a:pt x="498" y="219"/>
                  <a:pt x="498" y="219"/>
                </a:cubicBezTo>
                <a:cubicBezTo>
                  <a:pt x="498" y="218"/>
                  <a:pt x="497" y="217"/>
                  <a:pt x="497" y="217"/>
                </a:cubicBezTo>
                <a:cubicBezTo>
                  <a:pt x="496" y="216"/>
                  <a:pt x="496" y="217"/>
                  <a:pt x="496" y="216"/>
                </a:cubicBezTo>
                <a:cubicBezTo>
                  <a:pt x="496" y="215"/>
                  <a:pt x="496" y="215"/>
                  <a:pt x="495" y="215"/>
                </a:cubicBezTo>
                <a:cubicBezTo>
                  <a:pt x="495" y="216"/>
                  <a:pt x="494" y="216"/>
                  <a:pt x="494" y="217"/>
                </a:cubicBezTo>
                <a:cubicBezTo>
                  <a:pt x="494" y="216"/>
                  <a:pt x="493" y="216"/>
                  <a:pt x="493" y="215"/>
                </a:cubicBezTo>
                <a:cubicBezTo>
                  <a:pt x="493" y="215"/>
                  <a:pt x="493" y="215"/>
                  <a:pt x="493" y="214"/>
                </a:cubicBezTo>
                <a:cubicBezTo>
                  <a:pt x="493" y="214"/>
                  <a:pt x="493" y="214"/>
                  <a:pt x="493" y="214"/>
                </a:cubicBezTo>
                <a:cubicBezTo>
                  <a:pt x="492" y="213"/>
                  <a:pt x="492" y="213"/>
                  <a:pt x="491" y="213"/>
                </a:cubicBezTo>
                <a:cubicBezTo>
                  <a:pt x="490" y="213"/>
                  <a:pt x="489" y="213"/>
                  <a:pt x="490" y="212"/>
                </a:cubicBezTo>
                <a:cubicBezTo>
                  <a:pt x="489" y="212"/>
                  <a:pt x="489" y="213"/>
                  <a:pt x="488" y="212"/>
                </a:cubicBezTo>
                <a:cubicBezTo>
                  <a:pt x="487" y="212"/>
                  <a:pt x="486" y="211"/>
                  <a:pt x="486" y="210"/>
                </a:cubicBezTo>
                <a:cubicBezTo>
                  <a:pt x="486" y="210"/>
                  <a:pt x="487" y="208"/>
                  <a:pt x="487" y="208"/>
                </a:cubicBezTo>
                <a:cubicBezTo>
                  <a:pt x="487" y="207"/>
                  <a:pt x="487" y="206"/>
                  <a:pt x="486" y="206"/>
                </a:cubicBezTo>
                <a:cubicBezTo>
                  <a:pt x="485" y="206"/>
                  <a:pt x="485" y="204"/>
                  <a:pt x="485" y="204"/>
                </a:cubicBezTo>
                <a:cubicBezTo>
                  <a:pt x="486" y="203"/>
                  <a:pt x="486" y="204"/>
                  <a:pt x="486" y="204"/>
                </a:cubicBezTo>
                <a:cubicBezTo>
                  <a:pt x="487" y="204"/>
                  <a:pt x="487" y="203"/>
                  <a:pt x="487" y="203"/>
                </a:cubicBezTo>
                <a:cubicBezTo>
                  <a:pt x="487" y="203"/>
                  <a:pt x="487" y="203"/>
                  <a:pt x="487" y="202"/>
                </a:cubicBezTo>
                <a:cubicBezTo>
                  <a:pt x="487" y="202"/>
                  <a:pt x="486" y="202"/>
                  <a:pt x="486" y="202"/>
                </a:cubicBezTo>
                <a:cubicBezTo>
                  <a:pt x="486" y="201"/>
                  <a:pt x="487" y="201"/>
                  <a:pt x="487" y="200"/>
                </a:cubicBezTo>
                <a:cubicBezTo>
                  <a:pt x="487" y="200"/>
                  <a:pt x="488" y="199"/>
                  <a:pt x="489" y="198"/>
                </a:cubicBezTo>
                <a:cubicBezTo>
                  <a:pt x="488" y="198"/>
                  <a:pt x="488" y="198"/>
                  <a:pt x="488" y="198"/>
                </a:cubicBezTo>
                <a:cubicBezTo>
                  <a:pt x="487" y="198"/>
                  <a:pt x="487" y="199"/>
                  <a:pt x="486" y="199"/>
                </a:cubicBezTo>
                <a:cubicBezTo>
                  <a:pt x="487" y="198"/>
                  <a:pt x="483" y="198"/>
                  <a:pt x="483" y="198"/>
                </a:cubicBezTo>
                <a:cubicBezTo>
                  <a:pt x="483" y="197"/>
                  <a:pt x="483" y="197"/>
                  <a:pt x="484" y="197"/>
                </a:cubicBezTo>
                <a:cubicBezTo>
                  <a:pt x="485" y="197"/>
                  <a:pt x="485" y="197"/>
                  <a:pt x="485" y="196"/>
                </a:cubicBezTo>
                <a:cubicBezTo>
                  <a:pt x="485" y="196"/>
                  <a:pt x="483" y="196"/>
                  <a:pt x="483" y="196"/>
                </a:cubicBezTo>
                <a:cubicBezTo>
                  <a:pt x="483" y="196"/>
                  <a:pt x="483" y="196"/>
                  <a:pt x="482" y="196"/>
                </a:cubicBezTo>
                <a:cubicBezTo>
                  <a:pt x="482" y="196"/>
                  <a:pt x="481" y="195"/>
                  <a:pt x="481" y="196"/>
                </a:cubicBezTo>
                <a:cubicBezTo>
                  <a:pt x="480" y="196"/>
                  <a:pt x="479" y="196"/>
                  <a:pt x="478" y="196"/>
                </a:cubicBezTo>
                <a:cubicBezTo>
                  <a:pt x="477" y="196"/>
                  <a:pt x="477" y="195"/>
                  <a:pt x="477" y="194"/>
                </a:cubicBezTo>
                <a:cubicBezTo>
                  <a:pt x="477" y="194"/>
                  <a:pt x="476" y="194"/>
                  <a:pt x="476" y="194"/>
                </a:cubicBezTo>
                <a:cubicBezTo>
                  <a:pt x="476" y="193"/>
                  <a:pt x="476" y="192"/>
                  <a:pt x="476" y="192"/>
                </a:cubicBezTo>
                <a:cubicBezTo>
                  <a:pt x="475" y="192"/>
                  <a:pt x="475" y="192"/>
                  <a:pt x="474" y="191"/>
                </a:cubicBezTo>
                <a:cubicBezTo>
                  <a:pt x="473" y="191"/>
                  <a:pt x="473" y="191"/>
                  <a:pt x="473" y="190"/>
                </a:cubicBezTo>
                <a:cubicBezTo>
                  <a:pt x="473" y="190"/>
                  <a:pt x="472" y="189"/>
                  <a:pt x="472" y="189"/>
                </a:cubicBezTo>
                <a:cubicBezTo>
                  <a:pt x="472" y="189"/>
                  <a:pt x="471" y="188"/>
                  <a:pt x="471" y="188"/>
                </a:cubicBezTo>
                <a:cubicBezTo>
                  <a:pt x="469" y="188"/>
                  <a:pt x="469" y="187"/>
                  <a:pt x="468" y="187"/>
                </a:cubicBezTo>
                <a:cubicBezTo>
                  <a:pt x="468" y="187"/>
                  <a:pt x="468" y="187"/>
                  <a:pt x="468" y="187"/>
                </a:cubicBezTo>
                <a:cubicBezTo>
                  <a:pt x="467" y="186"/>
                  <a:pt x="467" y="187"/>
                  <a:pt x="467" y="187"/>
                </a:cubicBezTo>
                <a:cubicBezTo>
                  <a:pt x="466" y="188"/>
                  <a:pt x="465" y="188"/>
                  <a:pt x="464" y="189"/>
                </a:cubicBezTo>
                <a:cubicBezTo>
                  <a:pt x="463" y="190"/>
                  <a:pt x="461" y="189"/>
                  <a:pt x="460" y="189"/>
                </a:cubicBezTo>
                <a:cubicBezTo>
                  <a:pt x="459" y="189"/>
                  <a:pt x="457" y="189"/>
                  <a:pt x="455" y="189"/>
                </a:cubicBezTo>
                <a:cubicBezTo>
                  <a:pt x="455" y="189"/>
                  <a:pt x="455" y="189"/>
                  <a:pt x="455" y="189"/>
                </a:cubicBezTo>
                <a:cubicBezTo>
                  <a:pt x="454" y="188"/>
                  <a:pt x="454" y="189"/>
                  <a:pt x="452" y="189"/>
                </a:cubicBezTo>
                <a:cubicBezTo>
                  <a:pt x="452" y="188"/>
                  <a:pt x="451" y="188"/>
                  <a:pt x="450" y="188"/>
                </a:cubicBezTo>
                <a:cubicBezTo>
                  <a:pt x="450" y="188"/>
                  <a:pt x="450" y="188"/>
                  <a:pt x="449" y="188"/>
                </a:cubicBezTo>
                <a:cubicBezTo>
                  <a:pt x="449" y="188"/>
                  <a:pt x="449" y="189"/>
                  <a:pt x="448" y="189"/>
                </a:cubicBezTo>
                <a:cubicBezTo>
                  <a:pt x="448" y="189"/>
                  <a:pt x="447" y="189"/>
                  <a:pt x="447" y="189"/>
                </a:cubicBezTo>
                <a:cubicBezTo>
                  <a:pt x="446" y="189"/>
                  <a:pt x="447" y="191"/>
                  <a:pt x="447" y="191"/>
                </a:cubicBezTo>
                <a:cubicBezTo>
                  <a:pt x="448" y="192"/>
                  <a:pt x="448" y="192"/>
                  <a:pt x="449" y="191"/>
                </a:cubicBezTo>
                <a:cubicBezTo>
                  <a:pt x="449" y="193"/>
                  <a:pt x="449" y="193"/>
                  <a:pt x="448" y="193"/>
                </a:cubicBezTo>
                <a:cubicBezTo>
                  <a:pt x="449" y="194"/>
                  <a:pt x="448" y="194"/>
                  <a:pt x="448" y="196"/>
                </a:cubicBezTo>
                <a:cubicBezTo>
                  <a:pt x="447" y="196"/>
                  <a:pt x="447" y="196"/>
                  <a:pt x="446" y="197"/>
                </a:cubicBezTo>
                <a:cubicBezTo>
                  <a:pt x="446" y="197"/>
                  <a:pt x="447" y="198"/>
                  <a:pt x="446" y="198"/>
                </a:cubicBezTo>
                <a:cubicBezTo>
                  <a:pt x="446" y="199"/>
                  <a:pt x="447" y="199"/>
                  <a:pt x="448" y="199"/>
                </a:cubicBezTo>
                <a:cubicBezTo>
                  <a:pt x="448" y="199"/>
                  <a:pt x="448" y="200"/>
                  <a:pt x="448" y="200"/>
                </a:cubicBezTo>
                <a:cubicBezTo>
                  <a:pt x="447" y="200"/>
                  <a:pt x="447" y="201"/>
                  <a:pt x="447" y="201"/>
                </a:cubicBezTo>
                <a:cubicBezTo>
                  <a:pt x="447" y="202"/>
                  <a:pt x="447" y="204"/>
                  <a:pt x="448" y="204"/>
                </a:cubicBezTo>
                <a:cubicBezTo>
                  <a:pt x="448" y="204"/>
                  <a:pt x="448" y="204"/>
                  <a:pt x="448" y="205"/>
                </a:cubicBezTo>
                <a:cubicBezTo>
                  <a:pt x="448" y="205"/>
                  <a:pt x="448" y="205"/>
                  <a:pt x="448" y="205"/>
                </a:cubicBezTo>
                <a:cubicBezTo>
                  <a:pt x="449" y="205"/>
                  <a:pt x="449" y="205"/>
                  <a:pt x="449" y="206"/>
                </a:cubicBezTo>
                <a:cubicBezTo>
                  <a:pt x="449" y="207"/>
                  <a:pt x="448" y="206"/>
                  <a:pt x="448" y="207"/>
                </a:cubicBezTo>
                <a:cubicBezTo>
                  <a:pt x="448" y="207"/>
                  <a:pt x="448" y="207"/>
                  <a:pt x="448" y="208"/>
                </a:cubicBezTo>
                <a:cubicBezTo>
                  <a:pt x="448" y="207"/>
                  <a:pt x="447" y="207"/>
                  <a:pt x="447" y="207"/>
                </a:cubicBezTo>
                <a:cubicBezTo>
                  <a:pt x="447" y="208"/>
                  <a:pt x="447" y="208"/>
                  <a:pt x="447" y="209"/>
                </a:cubicBezTo>
                <a:cubicBezTo>
                  <a:pt x="447" y="211"/>
                  <a:pt x="446" y="210"/>
                  <a:pt x="445" y="211"/>
                </a:cubicBezTo>
                <a:cubicBezTo>
                  <a:pt x="444" y="211"/>
                  <a:pt x="443" y="211"/>
                  <a:pt x="443" y="212"/>
                </a:cubicBezTo>
                <a:cubicBezTo>
                  <a:pt x="443" y="212"/>
                  <a:pt x="443" y="212"/>
                  <a:pt x="443" y="212"/>
                </a:cubicBezTo>
                <a:cubicBezTo>
                  <a:pt x="442" y="212"/>
                  <a:pt x="442" y="213"/>
                  <a:pt x="442" y="213"/>
                </a:cubicBezTo>
                <a:cubicBezTo>
                  <a:pt x="442" y="215"/>
                  <a:pt x="443" y="215"/>
                  <a:pt x="444" y="215"/>
                </a:cubicBezTo>
                <a:cubicBezTo>
                  <a:pt x="444" y="215"/>
                  <a:pt x="445" y="216"/>
                  <a:pt x="445" y="216"/>
                </a:cubicBezTo>
                <a:cubicBezTo>
                  <a:pt x="445" y="217"/>
                  <a:pt x="445" y="217"/>
                  <a:pt x="446" y="217"/>
                </a:cubicBezTo>
                <a:cubicBezTo>
                  <a:pt x="447" y="218"/>
                  <a:pt x="448" y="217"/>
                  <a:pt x="448" y="218"/>
                </a:cubicBezTo>
                <a:cubicBezTo>
                  <a:pt x="448" y="219"/>
                  <a:pt x="448" y="219"/>
                  <a:pt x="448" y="219"/>
                </a:cubicBezTo>
                <a:cubicBezTo>
                  <a:pt x="449" y="220"/>
                  <a:pt x="449" y="220"/>
                  <a:pt x="449" y="221"/>
                </a:cubicBezTo>
                <a:cubicBezTo>
                  <a:pt x="449" y="222"/>
                  <a:pt x="449" y="222"/>
                  <a:pt x="450" y="223"/>
                </a:cubicBezTo>
                <a:cubicBezTo>
                  <a:pt x="451" y="224"/>
                  <a:pt x="451" y="225"/>
                  <a:pt x="451" y="226"/>
                </a:cubicBezTo>
                <a:cubicBezTo>
                  <a:pt x="452" y="227"/>
                  <a:pt x="452" y="227"/>
                  <a:pt x="452" y="227"/>
                </a:cubicBezTo>
                <a:cubicBezTo>
                  <a:pt x="453" y="227"/>
                  <a:pt x="453" y="227"/>
                  <a:pt x="453" y="227"/>
                </a:cubicBezTo>
                <a:cubicBezTo>
                  <a:pt x="453" y="228"/>
                  <a:pt x="453" y="228"/>
                  <a:pt x="454" y="228"/>
                </a:cubicBezTo>
                <a:cubicBezTo>
                  <a:pt x="453" y="229"/>
                  <a:pt x="452" y="230"/>
                  <a:pt x="452" y="231"/>
                </a:cubicBezTo>
                <a:cubicBezTo>
                  <a:pt x="452" y="232"/>
                  <a:pt x="452" y="234"/>
                  <a:pt x="452" y="234"/>
                </a:cubicBezTo>
                <a:cubicBezTo>
                  <a:pt x="453" y="234"/>
                  <a:pt x="453" y="233"/>
                  <a:pt x="453" y="232"/>
                </a:cubicBezTo>
                <a:cubicBezTo>
                  <a:pt x="453" y="231"/>
                  <a:pt x="454" y="234"/>
                  <a:pt x="454" y="235"/>
                </a:cubicBezTo>
                <a:cubicBezTo>
                  <a:pt x="454" y="235"/>
                  <a:pt x="453" y="235"/>
                  <a:pt x="452" y="235"/>
                </a:cubicBezTo>
                <a:cubicBezTo>
                  <a:pt x="451" y="235"/>
                  <a:pt x="452" y="235"/>
                  <a:pt x="452" y="235"/>
                </a:cubicBezTo>
                <a:cubicBezTo>
                  <a:pt x="451" y="235"/>
                  <a:pt x="451" y="236"/>
                  <a:pt x="451" y="236"/>
                </a:cubicBezTo>
                <a:cubicBezTo>
                  <a:pt x="451" y="237"/>
                  <a:pt x="451" y="237"/>
                  <a:pt x="450" y="238"/>
                </a:cubicBezTo>
                <a:cubicBezTo>
                  <a:pt x="449" y="238"/>
                  <a:pt x="449" y="239"/>
                  <a:pt x="449" y="240"/>
                </a:cubicBezTo>
                <a:cubicBezTo>
                  <a:pt x="448" y="240"/>
                  <a:pt x="447" y="241"/>
                  <a:pt x="446" y="242"/>
                </a:cubicBezTo>
                <a:cubicBezTo>
                  <a:pt x="446" y="242"/>
                  <a:pt x="446" y="242"/>
                  <a:pt x="446" y="243"/>
                </a:cubicBezTo>
                <a:cubicBezTo>
                  <a:pt x="446" y="243"/>
                  <a:pt x="444" y="243"/>
                  <a:pt x="444" y="244"/>
                </a:cubicBezTo>
                <a:cubicBezTo>
                  <a:pt x="443" y="244"/>
                  <a:pt x="440" y="245"/>
                  <a:pt x="440" y="246"/>
                </a:cubicBezTo>
                <a:cubicBezTo>
                  <a:pt x="440" y="247"/>
                  <a:pt x="440" y="248"/>
                  <a:pt x="440" y="249"/>
                </a:cubicBezTo>
                <a:cubicBezTo>
                  <a:pt x="440" y="250"/>
                  <a:pt x="440" y="250"/>
                  <a:pt x="441" y="251"/>
                </a:cubicBezTo>
                <a:cubicBezTo>
                  <a:pt x="441" y="251"/>
                  <a:pt x="442" y="252"/>
                  <a:pt x="442" y="252"/>
                </a:cubicBezTo>
                <a:cubicBezTo>
                  <a:pt x="442" y="254"/>
                  <a:pt x="442" y="255"/>
                  <a:pt x="442" y="257"/>
                </a:cubicBezTo>
                <a:cubicBezTo>
                  <a:pt x="442" y="256"/>
                  <a:pt x="442" y="258"/>
                  <a:pt x="442" y="259"/>
                </a:cubicBezTo>
                <a:cubicBezTo>
                  <a:pt x="442" y="259"/>
                  <a:pt x="444" y="260"/>
                  <a:pt x="442" y="260"/>
                </a:cubicBezTo>
                <a:cubicBezTo>
                  <a:pt x="442" y="261"/>
                  <a:pt x="443" y="261"/>
                  <a:pt x="443" y="262"/>
                </a:cubicBezTo>
                <a:cubicBezTo>
                  <a:pt x="443" y="262"/>
                  <a:pt x="443" y="262"/>
                  <a:pt x="443" y="262"/>
                </a:cubicBezTo>
                <a:cubicBezTo>
                  <a:pt x="443" y="263"/>
                  <a:pt x="443" y="263"/>
                  <a:pt x="442" y="263"/>
                </a:cubicBezTo>
                <a:cubicBezTo>
                  <a:pt x="442" y="264"/>
                  <a:pt x="442" y="265"/>
                  <a:pt x="441" y="265"/>
                </a:cubicBezTo>
                <a:cubicBezTo>
                  <a:pt x="442" y="266"/>
                  <a:pt x="442" y="266"/>
                  <a:pt x="442" y="267"/>
                </a:cubicBezTo>
                <a:cubicBezTo>
                  <a:pt x="441" y="267"/>
                  <a:pt x="442" y="267"/>
                  <a:pt x="441" y="267"/>
                </a:cubicBezTo>
                <a:cubicBezTo>
                  <a:pt x="441" y="267"/>
                  <a:pt x="441" y="267"/>
                  <a:pt x="440" y="267"/>
                </a:cubicBezTo>
                <a:cubicBezTo>
                  <a:pt x="439" y="267"/>
                  <a:pt x="440" y="267"/>
                  <a:pt x="439" y="268"/>
                </a:cubicBezTo>
                <a:cubicBezTo>
                  <a:pt x="438" y="268"/>
                  <a:pt x="439" y="268"/>
                  <a:pt x="439" y="269"/>
                </a:cubicBezTo>
                <a:cubicBezTo>
                  <a:pt x="437" y="269"/>
                  <a:pt x="435" y="269"/>
                  <a:pt x="434" y="269"/>
                </a:cubicBezTo>
                <a:cubicBezTo>
                  <a:pt x="434" y="268"/>
                  <a:pt x="434" y="268"/>
                  <a:pt x="434" y="268"/>
                </a:cubicBezTo>
                <a:cubicBezTo>
                  <a:pt x="434" y="268"/>
                  <a:pt x="433" y="266"/>
                  <a:pt x="432" y="265"/>
                </a:cubicBezTo>
                <a:cubicBezTo>
                  <a:pt x="431" y="265"/>
                  <a:pt x="431" y="265"/>
                  <a:pt x="431" y="264"/>
                </a:cubicBezTo>
                <a:cubicBezTo>
                  <a:pt x="430" y="264"/>
                  <a:pt x="430" y="264"/>
                  <a:pt x="429" y="263"/>
                </a:cubicBezTo>
                <a:cubicBezTo>
                  <a:pt x="429" y="263"/>
                  <a:pt x="430" y="262"/>
                  <a:pt x="429" y="261"/>
                </a:cubicBezTo>
                <a:cubicBezTo>
                  <a:pt x="429" y="261"/>
                  <a:pt x="429" y="260"/>
                  <a:pt x="428" y="260"/>
                </a:cubicBezTo>
                <a:cubicBezTo>
                  <a:pt x="428" y="259"/>
                  <a:pt x="427" y="259"/>
                  <a:pt x="426" y="259"/>
                </a:cubicBezTo>
                <a:cubicBezTo>
                  <a:pt x="427" y="257"/>
                  <a:pt x="427" y="256"/>
                  <a:pt x="427" y="255"/>
                </a:cubicBezTo>
                <a:cubicBezTo>
                  <a:pt x="426" y="255"/>
                  <a:pt x="428" y="250"/>
                  <a:pt x="426" y="250"/>
                </a:cubicBezTo>
                <a:cubicBezTo>
                  <a:pt x="426" y="249"/>
                  <a:pt x="426" y="249"/>
                  <a:pt x="426" y="248"/>
                </a:cubicBezTo>
                <a:cubicBezTo>
                  <a:pt x="426" y="247"/>
                  <a:pt x="426" y="248"/>
                  <a:pt x="426" y="248"/>
                </a:cubicBezTo>
                <a:cubicBezTo>
                  <a:pt x="427" y="246"/>
                  <a:pt x="427" y="245"/>
                  <a:pt x="427" y="243"/>
                </a:cubicBezTo>
                <a:cubicBezTo>
                  <a:pt x="426" y="243"/>
                  <a:pt x="424" y="243"/>
                  <a:pt x="424" y="243"/>
                </a:cubicBezTo>
                <a:cubicBezTo>
                  <a:pt x="424" y="242"/>
                  <a:pt x="423" y="243"/>
                  <a:pt x="423" y="242"/>
                </a:cubicBezTo>
                <a:cubicBezTo>
                  <a:pt x="423" y="242"/>
                  <a:pt x="422" y="242"/>
                  <a:pt x="421" y="242"/>
                </a:cubicBezTo>
                <a:cubicBezTo>
                  <a:pt x="422" y="241"/>
                  <a:pt x="420" y="242"/>
                  <a:pt x="420" y="241"/>
                </a:cubicBezTo>
                <a:cubicBezTo>
                  <a:pt x="419" y="241"/>
                  <a:pt x="418" y="241"/>
                  <a:pt x="417" y="242"/>
                </a:cubicBezTo>
                <a:cubicBezTo>
                  <a:pt x="417" y="242"/>
                  <a:pt x="417" y="241"/>
                  <a:pt x="416" y="241"/>
                </a:cubicBezTo>
                <a:cubicBezTo>
                  <a:pt x="416" y="242"/>
                  <a:pt x="416" y="242"/>
                  <a:pt x="415" y="242"/>
                </a:cubicBezTo>
                <a:cubicBezTo>
                  <a:pt x="415" y="242"/>
                  <a:pt x="414" y="242"/>
                  <a:pt x="414" y="242"/>
                </a:cubicBezTo>
                <a:cubicBezTo>
                  <a:pt x="414" y="242"/>
                  <a:pt x="413" y="241"/>
                  <a:pt x="413" y="241"/>
                </a:cubicBezTo>
                <a:cubicBezTo>
                  <a:pt x="412" y="241"/>
                  <a:pt x="412" y="241"/>
                  <a:pt x="412" y="240"/>
                </a:cubicBezTo>
                <a:cubicBezTo>
                  <a:pt x="412" y="240"/>
                  <a:pt x="411" y="240"/>
                  <a:pt x="411" y="240"/>
                </a:cubicBezTo>
                <a:cubicBezTo>
                  <a:pt x="410" y="240"/>
                  <a:pt x="410" y="240"/>
                  <a:pt x="409" y="239"/>
                </a:cubicBezTo>
                <a:cubicBezTo>
                  <a:pt x="409" y="238"/>
                  <a:pt x="409" y="238"/>
                  <a:pt x="408" y="238"/>
                </a:cubicBezTo>
                <a:cubicBezTo>
                  <a:pt x="407" y="238"/>
                  <a:pt x="406" y="238"/>
                  <a:pt x="405" y="238"/>
                </a:cubicBezTo>
                <a:cubicBezTo>
                  <a:pt x="404" y="237"/>
                  <a:pt x="404" y="237"/>
                  <a:pt x="404" y="236"/>
                </a:cubicBezTo>
                <a:cubicBezTo>
                  <a:pt x="403" y="236"/>
                  <a:pt x="402" y="236"/>
                  <a:pt x="401" y="236"/>
                </a:cubicBezTo>
                <a:cubicBezTo>
                  <a:pt x="401" y="235"/>
                  <a:pt x="400" y="232"/>
                  <a:pt x="399" y="232"/>
                </a:cubicBezTo>
                <a:cubicBezTo>
                  <a:pt x="399" y="232"/>
                  <a:pt x="399" y="231"/>
                  <a:pt x="399" y="231"/>
                </a:cubicBezTo>
                <a:cubicBezTo>
                  <a:pt x="398" y="231"/>
                  <a:pt x="397" y="231"/>
                  <a:pt x="396" y="231"/>
                </a:cubicBezTo>
                <a:cubicBezTo>
                  <a:pt x="396" y="231"/>
                  <a:pt x="395" y="229"/>
                  <a:pt x="395" y="229"/>
                </a:cubicBezTo>
                <a:cubicBezTo>
                  <a:pt x="394" y="229"/>
                  <a:pt x="393" y="229"/>
                  <a:pt x="393" y="229"/>
                </a:cubicBezTo>
                <a:cubicBezTo>
                  <a:pt x="393" y="229"/>
                  <a:pt x="393" y="229"/>
                  <a:pt x="392" y="229"/>
                </a:cubicBezTo>
                <a:cubicBezTo>
                  <a:pt x="392" y="229"/>
                  <a:pt x="391" y="229"/>
                  <a:pt x="391" y="228"/>
                </a:cubicBezTo>
                <a:cubicBezTo>
                  <a:pt x="391" y="228"/>
                  <a:pt x="390" y="227"/>
                  <a:pt x="390" y="227"/>
                </a:cubicBezTo>
                <a:cubicBezTo>
                  <a:pt x="390" y="227"/>
                  <a:pt x="389" y="227"/>
                  <a:pt x="389" y="227"/>
                </a:cubicBezTo>
                <a:cubicBezTo>
                  <a:pt x="389" y="227"/>
                  <a:pt x="387" y="226"/>
                  <a:pt x="387" y="226"/>
                </a:cubicBezTo>
                <a:cubicBezTo>
                  <a:pt x="386" y="226"/>
                  <a:pt x="386" y="226"/>
                  <a:pt x="386" y="225"/>
                </a:cubicBezTo>
                <a:cubicBezTo>
                  <a:pt x="385" y="225"/>
                  <a:pt x="384" y="226"/>
                  <a:pt x="383" y="226"/>
                </a:cubicBezTo>
                <a:cubicBezTo>
                  <a:pt x="383" y="226"/>
                  <a:pt x="383" y="226"/>
                  <a:pt x="383" y="226"/>
                </a:cubicBezTo>
                <a:cubicBezTo>
                  <a:pt x="382" y="226"/>
                  <a:pt x="382" y="226"/>
                  <a:pt x="382" y="226"/>
                </a:cubicBezTo>
                <a:cubicBezTo>
                  <a:pt x="382" y="226"/>
                  <a:pt x="382" y="226"/>
                  <a:pt x="381" y="226"/>
                </a:cubicBezTo>
                <a:cubicBezTo>
                  <a:pt x="380" y="226"/>
                  <a:pt x="380" y="227"/>
                  <a:pt x="379" y="227"/>
                </a:cubicBezTo>
                <a:cubicBezTo>
                  <a:pt x="379" y="227"/>
                  <a:pt x="378" y="226"/>
                  <a:pt x="379" y="225"/>
                </a:cubicBezTo>
                <a:cubicBezTo>
                  <a:pt x="379" y="226"/>
                  <a:pt x="379" y="225"/>
                  <a:pt x="379" y="225"/>
                </a:cubicBezTo>
                <a:cubicBezTo>
                  <a:pt x="379" y="225"/>
                  <a:pt x="378" y="224"/>
                  <a:pt x="378" y="223"/>
                </a:cubicBezTo>
                <a:cubicBezTo>
                  <a:pt x="378" y="223"/>
                  <a:pt x="377" y="223"/>
                  <a:pt x="377" y="222"/>
                </a:cubicBezTo>
                <a:cubicBezTo>
                  <a:pt x="377" y="222"/>
                  <a:pt x="377" y="222"/>
                  <a:pt x="377" y="222"/>
                </a:cubicBezTo>
                <a:cubicBezTo>
                  <a:pt x="377" y="221"/>
                  <a:pt x="377" y="221"/>
                  <a:pt x="377" y="221"/>
                </a:cubicBezTo>
                <a:cubicBezTo>
                  <a:pt x="377" y="221"/>
                  <a:pt x="377" y="220"/>
                  <a:pt x="377" y="220"/>
                </a:cubicBezTo>
                <a:cubicBezTo>
                  <a:pt x="377" y="219"/>
                  <a:pt x="376" y="219"/>
                  <a:pt x="376" y="218"/>
                </a:cubicBezTo>
                <a:cubicBezTo>
                  <a:pt x="376" y="218"/>
                  <a:pt x="376" y="217"/>
                  <a:pt x="375" y="217"/>
                </a:cubicBezTo>
                <a:cubicBezTo>
                  <a:pt x="375" y="217"/>
                  <a:pt x="375" y="216"/>
                  <a:pt x="375" y="216"/>
                </a:cubicBezTo>
                <a:cubicBezTo>
                  <a:pt x="374" y="216"/>
                  <a:pt x="374" y="215"/>
                  <a:pt x="374" y="214"/>
                </a:cubicBezTo>
                <a:cubicBezTo>
                  <a:pt x="372" y="214"/>
                  <a:pt x="371" y="215"/>
                  <a:pt x="370" y="215"/>
                </a:cubicBezTo>
                <a:cubicBezTo>
                  <a:pt x="370" y="214"/>
                  <a:pt x="369" y="214"/>
                  <a:pt x="369" y="215"/>
                </a:cubicBezTo>
                <a:cubicBezTo>
                  <a:pt x="368" y="215"/>
                  <a:pt x="367" y="215"/>
                  <a:pt x="367" y="214"/>
                </a:cubicBezTo>
                <a:cubicBezTo>
                  <a:pt x="366" y="213"/>
                  <a:pt x="366" y="211"/>
                  <a:pt x="366" y="210"/>
                </a:cubicBezTo>
                <a:cubicBezTo>
                  <a:pt x="366" y="210"/>
                  <a:pt x="365" y="210"/>
                  <a:pt x="365" y="210"/>
                </a:cubicBezTo>
                <a:cubicBezTo>
                  <a:pt x="365" y="209"/>
                  <a:pt x="365" y="209"/>
                  <a:pt x="365" y="209"/>
                </a:cubicBezTo>
                <a:cubicBezTo>
                  <a:pt x="365" y="208"/>
                  <a:pt x="366" y="208"/>
                  <a:pt x="366" y="208"/>
                </a:cubicBezTo>
                <a:cubicBezTo>
                  <a:pt x="366" y="207"/>
                  <a:pt x="366" y="207"/>
                  <a:pt x="366" y="206"/>
                </a:cubicBezTo>
                <a:cubicBezTo>
                  <a:pt x="366" y="205"/>
                  <a:pt x="366" y="205"/>
                  <a:pt x="366" y="205"/>
                </a:cubicBezTo>
                <a:cubicBezTo>
                  <a:pt x="366" y="204"/>
                  <a:pt x="366" y="204"/>
                  <a:pt x="366" y="204"/>
                </a:cubicBezTo>
                <a:cubicBezTo>
                  <a:pt x="367" y="204"/>
                  <a:pt x="367" y="203"/>
                  <a:pt x="367" y="203"/>
                </a:cubicBezTo>
                <a:cubicBezTo>
                  <a:pt x="368" y="203"/>
                  <a:pt x="368" y="202"/>
                  <a:pt x="368" y="202"/>
                </a:cubicBezTo>
                <a:cubicBezTo>
                  <a:pt x="368" y="202"/>
                  <a:pt x="367" y="201"/>
                  <a:pt x="367" y="201"/>
                </a:cubicBezTo>
                <a:cubicBezTo>
                  <a:pt x="367" y="200"/>
                  <a:pt x="369" y="200"/>
                  <a:pt x="370" y="200"/>
                </a:cubicBezTo>
                <a:cubicBezTo>
                  <a:pt x="371" y="200"/>
                  <a:pt x="371" y="199"/>
                  <a:pt x="370" y="199"/>
                </a:cubicBezTo>
                <a:cubicBezTo>
                  <a:pt x="370" y="199"/>
                  <a:pt x="370" y="198"/>
                  <a:pt x="370" y="198"/>
                </a:cubicBezTo>
                <a:cubicBezTo>
                  <a:pt x="370" y="197"/>
                  <a:pt x="371" y="197"/>
                  <a:pt x="372" y="196"/>
                </a:cubicBezTo>
                <a:cubicBezTo>
                  <a:pt x="372" y="196"/>
                  <a:pt x="373" y="195"/>
                  <a:pt x="373" y="195"/>
                </a:cubicBezTo>
                <a:cubicBezTo>
                  <a:pt x="373" y="195"/>
                  <a:pt x="373" y="194"/>
                  <a:pt x="373" y="194"/>
                </a:cubicBezTo>
                <a:cubicBezTo>
                  <a:pt x="374" y="194"/>
                  <a:pt x="374" y="194"/>
                  <a:pt x="375" y="194"/>
                </a:cubicBezTo>
                <a:cubicBezTo>
                  <a:pt x="375" y="194"/>
                  <a:pt x="375" y="193"/>
                  <a:pt x="376" y="193"/>
                </a:cubicBezTo>
                <a:cubicBezTo>
                  <a:pt x="376" y="193"/>
                  <a:pt x="376" y="192"/>
                  <a:pt x="376" y="192"/>
                </a:cubicBezTo>
                <a:cubicBezTo>
                  <a:pt x="377" y="192"/>
                  <a:pt x="375" y="190"/>
                  <a:pt x="376" y="190"/>
                </a:cubicBezTo>
                <a:cubicBezTo>
                  <a:pt x="378" y="190"/>
                  <a:pt x="377" y="190"/>
                  <a:pt x="377" y="189"/>
                </a:cubicBezTo>
                <a:cubicBezTo>
                  <a:pt x="378" y="189"/>
                  <a:pt x="378" y="189"/>
                  <a:pt x="379" y="189"/>
                </a:cubicBezTo>
                <a:cubicBezTo>
                  <a:pt x="380" y="189"/>
                  <a:pt x="381" y="189"/>
                  <a:pt x="380" y="189"/>
                </a:cubicBezTo>
                <a:cubicBezTo>
                  <a:pt x="380" y="189"/>
                  <a:pt x="378" y="188"/>
                  <a:pt x="379" y="188"/>
                </a:cubicBezTo>
                <a:cubicBezTo>
                  <a:pt x="381" y="188"/>
                  <a:pt x="381" y="188"/>
                  <a:pt x="381" y="187"/>
                </a:cubicBezTo>
                <a:cubicBezTo>
                  <a:pt x="380" y="187"/>
                  <a:pt x="381" y="187"/>
                  <a:pt x="380" y="186"/>
                </a:cubicBezTo>
                <a:cubicBezTo>
                  <a:pt x="381" y="186"/>
                  <a:pt x="381" y="186"/>
                  <a:pt x="382" y="186"/>
                </a:cubicBezTo>
                <a:cubicBezTo>
                  <a:pt x="383" y="186"/>
                  <a:pt x="384" y="187"/>
                  <a:pt x="385" y="187"/>
                </a:cubicBezTo>
                <a:cubicBezTo>
                  <a:pt x="385" y="187"/>
                  <a:pt x="385" y="186"/>
                  <a:pt x="385" y="186"/>
                </a:cubicBezTo>
                <a:cubicBezTo>
                  <a:pt x="385" y="186"/>
                  <a:pt x="386" y="186"/>
                  <a:pt x="386" y="186"/>
                </a:cubicBezTo>
                <a:cubicBezTo>
                  <a:pt x="386" y="186"/>
                  <a:pt x="387" y="185"/>
                  <a:pt x="387" y="185"/>
                </a:cubicBezTo>
                <a:cubicBezTo>
                  <a:pt x="388" y="184"/>
                  <a:pt x="387" y="183"/>
                  <a:pt x="387" y="182"/>
                </a:cubicBezTo>
                <a:cubicBezTo>
                  <a:pt x="387" y="182"/>
                  <a:pt x="386" y="183"/>
                  <a:pt x="386" y="182"/>
                </a:cubicBezTo>
                <a:cubicBezTo>
                  <a:pt x="386" y="182"/>
                  <a:pt x="386" y="181"/>
                  <a:pt x="386" y="181"/>
                </a:cubicBezTo>
                <a:cubicBezTo>
                  <a:pt x="386" y="180"/>
                  <a:pt x="386" y="180"/>
                  <a:pt x="386" y="180"/>
                </a:cubicBezTo>
                <a:cubicBezTo>
                  <a:pt x="386" y="180"/>
                  <a:pt x="388" y="181"/>
                  <a:pt x="388" y="180"/>
                </a:cubicBezTo>
                <a:cubicBezTo>
                  <a:pt x="388" y="180"/>
                  <a:pt x="388" y="180"/>
                  <a:pt x="389" y="179"/>
                </a:cubicBezTo>
                <a:cubicBezTo>
                  <a:pt x="389" y="179"/>
                  <a:pt x="389" y="179"/>
                  <a:pt x="390" y="178"/>
                </a:cubicBezTo>
                <a:cubicBezTo>
                  <a:pt x="388" y="178"/>
                  <a:pt x="389" y="176"/>
                  <a:pt x="389" y="175"/>
                </a:cubicBezTo>
                <a:cubicBezTo>
                  <a:pt x="390" y="175"/>
                  <a:pt x="390" y="175"/>
                  <a:pt x="391" y="175"/>
                </a:cubicBezTo>
                <a:cubicBezTo>
                  <a:pt x="392" y="175"/>
                  <a:pt x="392" y="175"/>
                  <a:pt x="392" y="174"/>
                </a:cubicBezTo>
                <a:cubicBezTo>
                  <a:pt x="392" y="174"/>
                  <a:pt x="392" y="174"/>
                  <a:pt x="392" y="174"/>
                </a:cubicBezTo>
                <a:cubicBezTo>
                  <a:pt x="393" y="174"/>
                  <a:pt x="393" y="174"/>
                  <a:pt x="393" y="174"/>
                </a:cubicBezTo>
                <a:cubicBezTo>
                  <a:pt x="393" y="174"/>
                  <a:pt x="394" y="174"/>
                  <a:pt x="394" y="174"/>
                </a:cubicBezTo>
                <a:cubicBezTo>
                  <a:pt x="395" y="174"/>
                  <a:pt x="395" y="175"/>
                  <a:pt x="395" y="175"/>
                </a:cubicBezTo>
                <a:cubicBezTo>
                  <a:pt x="397" y="175"/>
                  <a:pt x="396" y="175"/>
                  <a:pt x="397" y="176"/>
                </a:cubicBezTo>
                <a:cubicBezTo>
                  <a:pt x="397" y="175"/>
                  <a:pt x="397" y="175"/>
                  <a:pt x="398" y="175"/>
                </a:cubicBezTo>
                <a:cubicBezTo>
                  <a:pt x="399" y="175"/>
                  <a:pt x="400" y="174"/>
                  <a:pt x="400" y="174"/>
                </a:cubicBezTo>
                <a:cubicBezTo>
                  <a:pt x="402" y="174"/>
                  <a:pt x="402" y="173"/>
                  <a:pt x="402" y="171"/>
                </a:cubicBezTo>
                <a:cubicBezTo>
                  <a:pt x="401" y="170"/>
                  <a:pt x="402" y="169"/>
                  <a:pt x="403" y="168"/>
                </a:cubicBezTo>
                <a:cubicBezTo>
                  <a:pt x="404" y="168"/>
                  <a:pt x="403" y="168"/>
                  <a:pt x="402" y="168"/>
                </a:cubicBezTo>
                <a:cubicBezTo>
                  <a:pt x="402" y="168"/>
                  <a:pt x="401" y="168"/>
                  <a:pt x="401" y="168"/>
                </a:cubicBezTo>
                <a:cubicBezTo>
                  <a:pt x="401" y="168"/>
                  <a:pt x="401" y="167"/>
                  <a:pt x="401" y="167"/>
                </a:cubicBezTo>
                <a:cubicBezTo>
                  <a:pt x="400" y="167"/>
                  <a:pt x="400" y="167"/>
                  <a:pt x="399" y="167"/>
                </a:cubicBezTo>
                <a:cubicBezTo>
                  <a:pt x="397" y="167"/>
                  <a:pt x="396" y="166"/>
                  <a:pt x="394" y="167"/>
                </a:cubicBezTo>
                <a:cubicBezTo>
                  <a:pt x="393" y="167"/>
                  <a:pt x="391" y="167"/>
                  <a:pt x="390" y="167"/>
                </a:cubicBezTo>
                <a:cubicBezTo>
                  <a:pt x="389" y="167"/>
                  <a:pt x="388" y="167"/>
                  <a:pt x="387" y="167"/>
                </a:cubicBezTo>
                <a:cubicBezTo>
                  <a:pt x="387" y="167"/>
                  <a:pt x="388" y="166"/>
                  <a:pt x="388" y="166"/>
                </a:cubicBezTo>
                <a:cubicBezTo>
                  <a:pt x="388" y="166"/>
                  <a:pt x="389" y="166"/>
                  <a:pt x="390" y="166"/>
                </a:cubicBezTo>
                <a:cubicBezTo>
                  <a:pt x="390" y="165"/>
                  <a:pt x="391" y="166"/>
                  <a:pt x="392" y="166"/>
                </a:cubicBezTo>
                <a:cubicBezTo>
                  <a:pt x="392" y="166"/>
                  <a:pt x="393" y="165"/>
                  <a:pt x="392" y="165"/>
                </a:cubicBezTo>
                <a:cubicBezTo>
                  <a:pt x="392" y="165"/>
                  <a:pt x="392" y="165"/>
                  <a:pt x="391" y="165"/>
                </a:cubicBezTo>
                <a:cubicBezTo>
                  <a:pt x="392" y="164"/>
                  <a:pt x="392" y="164"/>
                  <a:pt x="392" y="163"/>
                </a:cubicBezTo>
                <a:cubicBezTo>
                  <a:pt x="392" y="163"/>
                  <a:pt x="392" y="163"/>
                  <a:pt x="392" y="163"/>
                </a:cubicBezTo>
                <a:cubicBezTo>
                  <a:pt x="393" y="163"/>
                  <a:pt x="393" y="163"/>
                  <a:pt x="393" y="164"/>
                </a:cubicBezTo>
                <a:cubicBezTo>
                  <a:pt x="393" y="164"/>
                  <a:pt x="394" y="164"/>
                  <a:pt x="394" y="164"/>
                </a:cubicBezTo>
                <a:cubicBezTo>
                  <a:pt x="395" y="164"/>
                  <a:pt x="395" y="165"/>
                  <a:pt x="396" y="164"/>
                </a:cubicBezTo>
                <a:cubicBezTo>
                  <a:pt x="396" y="163"/>
                  <a:pt x="397" y="163"/>
                  <a:pt x="397" y="164"/>
                </a:cubicBezTo>
                <a:cubicBezTo>
                  <a:pt x="398" y="165"/>
                  <a:pt x="399" y="164"/>
                  <a:pt x="399" y="164"/>
                </a:cubicBezTo>
                <a:cubicBezTo>
                  <a:pt x="401" y="164"/>
                  <a:pt x="401" y="164"/>
                  <a:pt x="402" y="165"/>
                </a:cubicBezTo>
                <a:cubicBezTo>
                  <a:pt x="402" y="166"/>
                  <a:pt x="403" y="167"/>
                  <a:pt x="404" y="167"/>
                </a:cubicBezTo>
                <a:cubicBezTo>
                  <a:pt x="404" y="167"/>
                  <a:pt x="405" y="167"/>
                  <a:pt x="405" y="167"/>
                </a:cubicBezTo>
                <a:cubicBezTo>
                  <a:pt x="405" y="167"/>
                  <a:pt x="406" y="167"/>
                  <a:pt x="405" y="166"/>
                </a:cubicBezTo>
                <a:cubicBezTo>
                  <a:pt x="406" y="166"/>
                  <a:pt x="406" y="165"/>
                  <a:pt x="406" y="164"/>
                </a:cubicBezTo>
                <a:cubicBezTo>
                  <a:pt x="407" y="164"/>
                  <a:pt x="407" y="164"/>
                  <a:pt x="407" y="164"/>
                </a:cubicBezTo>
                <a:cubicBezTo>
                  <a:pt x="407" y="163"/>
                  <a:pt x="407" y="162"/>
                  <a:pt x="407" y="162"/>
                </a:cubicBezTo>
                <a:cubicBezTo>
                  <a:pt x="407" y="161"/>
                  <a:pt x="407" y="161"/>
                  <a:pt x="407" y="160"/>
                </a:cubicBezTo>
                <a:cubicBezTo>
                  <a:pt x="407" y="160"/>
                  <a:pt x="405" y="160"/>
                  <a:pt x="406" y="160"/>
                </a:cubicBezTo>
                <a:cubicBezTo>
                  <a:pt x="406" y="159"/>
                  <a:pt x="407" y="159"/>
                  <a:pt x="408" y="159"/>
                </a:cubicBezTo>
                <a:cubicBezTo>
                  <a:pt x="408" y="159"/>
                  <a:pt x="409" y="159"/>
                  <a:pt x="409" y="159"/>
                </a:cubicBezTo>
                <a:cubicBezTo>
                  <a:pt x="409" y="159"/>
                  <a:pt x="409" y="159"/>
                  <a:pt x="409" y="159"/>
                </a:cubicBezTo>
                <a:cubicBezTo>
                  <a:pt x="410" y="159"/>
                  <a:pt x="410" y="158"/>
                  <a:pt x="410" y="159"/>
                </a:cubicBezTo>
                <a:cubicBezTo>
                  <a:pt x="411" y="160"/>
                  <a:pt x="411" y="160"/>
                  <a:pt x="412" y="160"/>
                </a:cubicBezTo>
                <a:cubicBezTo>
                  <a:pt x="413" y="161"/>
                  <a:pt x="413" y="162"/>
                  <a:pt x="415" y="162"/>
                </a:cubicBezTo>
                <a:cubicBezTo>
                  <a:pt x="416" y="162"/>
                  <a:pt x="415" y="161"/>
                  <a:pt x="416" y="161"/>
                </a:cubicBezTo>
                <a:cubicBezTo>
                  <a:pt x="417" y="161"/>
                  <a:pt x="418" y="161"/>
                  <a:pt x="418" y="160"/>
                </a:cubicBezTo>
                <a:cubicBezTo>
                  <a:pt x="418" y="160"/>
                  <a:pt x="417" y="160"/>
                  <a:pt x="417" y="160"/>
                </a:cubicBezTo>
                <a:cubicBezTo>
                  <a:pt x="417" y="160"/>
                  <a:pt x="417" y="159"/>
                  <a:pt x="417" y="159"/>
                </a:cubicBezTo>
                <a:cubicBezTo>
                  <a:pt x="416" y="158"/>
                  <a:pt x="416" y="159"/>
                  <a:pt x="415" y="158"/>
                </a:cubicBezTo>
                <a:cubicBezTo>
                  <a:pt x="415" y="158"/>
                  <a:pt x="415" y="157"/>
                  <a:pt x="414" y="156"/>
                </a:cubicBezTo>
                <a:cubicBezTo>
                  <a:pt x="414" y="157"/>
                  <a:pt x="413" y="157"/>
                  <a:pt x="413" y="157"/>
                </a:cubicBezTo>
                <a:cubicBezTo>
                  <a:pt x="413" y="157"/>
                  <a:pt x="413" y="156"/>
                  <a:pt x="413" y="156"/>
                </a:cubicBezTo>
                <a:cubicBezTo>
                  <a:pt x="414" y="156"/>
                  <a:pt x="414" y="155"/>
                  <a:pt x="414" y="155"/>
                </a:cubicBezTo>
                <a:cubicBezTo>
                  <a:pt x="415" y="155"/>
                  <a:pt x="415" y="156"/>
                  <a:pt x="415" y="156"/>
                </a:cubicBezTo>
                <a:cubicBezTo>
                  <a:pt x="416" y="157"/>
                  <a:pt x="416" y="156"/>
                  <a:pt x="417" y="156"/>
                </a:cubicBezTo>
                <a:cubicBezTo>
                  <a:pt x="417" y="157"/>
                  <a:pt x="417" y="159"/>
                  <a:pt x="418" y="158"/>
                </a:cubicBezTo>
                <a:cubicBezTo>
                  <a:pt x="419" y="158"/>
                  <a:pt x="419" y="160"/>
                  <a:pt x="421" y="160"/>
                </a:cubicBezTo>
                <a:cubicBezTo>
                  <a:pt x="420" y="159"/>
                  <a:pt x="422" y="158"/>
                  <a:pt x="422" y="158"/>
                </a:cubicBezTo>
                <a:cubicBezTo>
                  <a:pt x="423" y="158"/>
                  <a:pt x="423" y="157"/>
                  <a:pt x="423" y="156"/>
                </a:cubicBezTo>
                <a:cubicBezTo>
                  <a:pt x="423" y="156"/>
                  <a:pt x="424" y="157"/>
                  <a:pt x="424" y="156"/>
                </a:cubicBezTo>
                <a:cubicBezTo>
                  <a:pt x="424" y="156"/>
                  <a:pt x="424" y="156"/>
                  <a:pt x="424" y="156"/>
                </a:cubicBezTo>
                <a:cubicBezTo>
                  <a:pt x="424" y="156"/>
                  <a:pt x="425" y="156"/>
                  <a:pt x="425" y="156"/>
                </a:cubicBezTo>
                <a:cubicBezTo>
                  <a:pt x="426" y="156"/>
                  <a:pt x="426" y="155"/>
                  <a:pt x="427" y="155"/>
                </a:cubicBezTo>
                <a:cubicBezTo>
                  <a:pt x="428" y="155"/>
                  <a:pt x="428" y="155"/>
                  <a:pt x="428" y="154"/>
                </a:cubicBezTo>
                <a:cubicBezTo>
                  <a:pt x="428" y="154"/>
                  <a:pt x="429" y="155"/>
                  <a:pt x="429" y="154"/>
                </a:cubicBezTo>
                <a:cubicBezTo>
                  <a:pt x="429" y="154"/>
                  <a:pt x="427" y="154"/>
                  <a:pt x="429" y="154"/>
                </a:cubicBezTo>
                <a:cubicBezTo>
                  <a:pt x="430" y="154"/>
                  <a:pt x="431" y="154"/>
                  <a:pt x="431" y="154"/>
                </a:cubicBezTo>
                <a:cubicBezTo>
                  <a:pt x="432" y="154"/>
                  <a:pt x="432" y="152"/>
                  <a:pt x="433" y="152"/>
                </a:cubicBezTo>
                <a:cubicBezTo>
                  <a:pt x="433" y="152"/>
                  <a:pt x="433" y="151"/>
                  <a:pt x="433" y="151"/>
                </a:cubicBezTo>
                <a:cubicBezTo>
                  <a:pt x="433" y="150"/>
                  <a:pt x="433" y="148"/>
                  <a:pt x="432" y="148"/>
                </a:cubicBezTo>
                <a:cubicBezTo>
                  <a:pt x="432" y="148"/>
                  <a:pt x="431" y="148"/>
                  <a:pt x="431" y="148"/>
                </a:cubicBezTo>
                <a:cubicBezTo>
                  <a:pt x="429" y="147"/>
                  <a:pt x="430" y="147"/>
                  <a:pt x="429" y="146"/>
                </a:cubicBezTo>
                <a:cubicBezTo>
                  <a:pt x="428" y="146"/>
                  <a:pt x="429" y="146"/>
                  <a:pt x="428" y="145"/>
                </a:cubicBezTo>
                <a:cubicBezTo>
                  <a:pt x="428" y="145"/>
                  <a:pt x="428" y="145"/>
                  <a:pt x="428" y="145"/>
                </a:cubicBezTo>
                <a:cubicBezTo>
                  <a:pt x="428" y="144"/>
                  <a:pt x="428" y="144"/>
                  <a:pt x="428" y="144"/>
                </a:cubicBezTo>
                <a:cubicBezTo>
                  <a:pt x="428" y="143"/>
                  <a:pt x="428" y="142"/>
                  <a:pt x="428" y="141"/>
                </a:cubicBezTo>
                <a:cubicBezTo>
                  <a:pt x="429" y="141"/>
                  <a:pt x="431" y="141"/>
                  <a:pt x="431" y="140"/>
                </a:cubicBezTo>
                <a:cubicBezTo>
                  <a:pt x="431" y="139"/>
                  <a:pt x="430" y="139"/>
                  <a:pt x="429" y="139"/>
                </a:cubicBezTo>
                <a:cubicBezTo>
                  <a:pt x="429" y="139"/>
                  <a:pt x="429" y="139"/>
                  <a:pt x="428" y="139"/>
                </a:cubicBezTo>
                <a:cubicBezTo>
                  <a:pt x="429" y="138"/>
                  <a:pt x="429" y="137"/>
                  <a:pt x="429" y="137"/>
                </a:cubicBezTo>
                <a:cubicBezTo>
                  <a:pt x="430" y="137"/>
                  <a:pt x="430" y="137"/>
                  <a:pt x="430" y="137"/>
                </a:cubicBezTo>
                <a:cubicBezTo>
                  <a:pt x="430" y="136"/>
                  <a:pt x="430" y="135"/>
                  <a:pt x="430" y="135"/>
                </a:cubicBezTo>
                <a:cubicBezTo>
                  <a:pt x="431" y="135"/>
                  <a:pt x="431" y="135"/>
                  <a:pt x="431" y="134"/>
                </a:cubicBezTo>
                <a:cubicBezTo>
                  <a:pt x="431" y="134"/>
                  <a:pt x="431" y="134"/>
                  <a:pt x="431" y="133"/>
                </a:cubicBezTo>
                <a:cubicBezTo>
                  <a:pt x="429" y="133"/>
                  <a:pt x="428" y="134"/>
                  <a:pt x="426" y="134"/>
                </a:cubicBezTo>
                <a:cubicBezTo>
                  <a:pt x="426" y="133"/>
                  <a:pt x="425" y="132"/>
                  <a:pt x="425" y="132"/>
                </a:cubicBezTo>
                <a:cubicBezTo>
                  <a:pt x="426" y="131"/>
                  <a:pt x="427" y="132"/>
                  <a:pt x="426" y="131"/>
                </a:cubicBezTo>
                <a:cubicBezTo>
                  <a:pt x="426" y="131"/>
                  <a:pt x="425" y="130"/>
                  <a:pt x="424" y="130"/>
                </a:cubicBezTo>
                <a:cubicBezTo>
                  <a:pt x="424" y="130"/>
                  <a:pt x="425" y="129"/>
                  <a:pt x="425" y="129"/>
                </a:cubicBezTo>
                <a:cubicBezTo>
                  <a:pt x="424" y="129"/>
                  <a:pt x="421" y="128"/>
                  <a:pt x="421" y="129"/>
                </a:cubicBezTo>
                <a:cubicBezTo>
                  <a:pt x="421" y="129"/>
                  <a:pt x="421" y="129"/>
                  <a:pt x="420" y="129"/>
                </a:cubicBezTo>
                <a:cubicBezTo>
                  <a:pt x="420" y="129"/>
                  <a:pt x="419" y="129"/>
                  <a:pt x="419" y="129"/>
                </a:cubicBezTo>
                <a:cubicBezTo>
                  <a:pt x="419" y="128"/>
                  <a:pt x="416" y="128"/>
                  <a:pt x="416" y="128"/>
                </a:cubicBezTo>
                <a:cubicBezTo>
                  <a:pt x="416" y="129"/>
                  <a:pt x="413" y="128"/>
                  <a:pt x="412" y="128"/>
                </a:cubicBezTo>
                <a:cubicBezTo>
                  <a:pt x="413" y="129"/>
                  <a:pt x="413" y="128"/>
                  <a:pt x="413" y="130"/>
                </a:cubicBezTo>
                <a:cubicBezTo>
                  <a:pt x="414" y="130"/>
                  <a:pt x="413" y="132"/>
                  <a:pt x="414" y="132"/>
                </a:cubicBezTo>
                <a:cubicBezTo>
                  <a:pt x="414" y="133"/>
                  <a:pt x="414" y="133"/>
                  <a:pt x="414" y="134"/>
                </a:cubicBezTo>
                <a:cubicBezTo>
                  <a:pt x="414" y="134"/>
                  <a:pt x="414" y="134"/>
                  <a:pt x="414" y="134"/>
                </a:cubicBezTo>
                <a:cubicBezTo>
                  <a:pt x="415" y="134"/>
                  <a:pt x="415" y="134"/>
                  <a:pt x="415" y="135"/>
                </a:cubicBezTo>
                <a:cubicBezTo>
                  <a:pt x="415" y="135"/>
                  <a:pt x="415" y="135"/>
                  <a:pt x="416" y="135"/>
                </a:cubicBezTo>
                <a:cubicBezTo>
                  <a:pt x="415" y="136"/>
                  <a:pt x="415" y="136"/>
                  <a:pt x="416" y="137"/>
                </a:cubicBezTo>
                <a:cubicBezTo>
                  <a:pt x="416" y="137"/>
                  <a:pt x="415" y="137"/>
                  <a:pt x="415" y="137"/>
                </a:cubicBezTo>
                <a:cubicBezTo>
                  <a:pt x="415" y="137"/>
                  <a:pt x="415" y="138"/>
                  <a:pt x="415" y="138"/>
                </a:cubicBezTo>
                <a:cubicBezTo>
                  <a:pt x="415" y="138"/>
                  <a:pt x="414" y="138"/>
                  <a:pt x="413" y="138"/>
                </a:cubicBezTo>
                <a:cubicBezTo>
                  <a:pt x="412" y="138"/>
                  <a:pt x="412" y="139"/>
                  <a:pt x="412" y="140"/>
                </a:cubicBezTo>
                <a:cubicBezTo>
                  <a:pt x="412" y="141"/>
                  <a:pt x="412" y="142"/>
                  <a:pt x="411" y="142"/>
                </a:cubicBezTo>
                <a:cubicBezTo>
                  <a:pt x="410" y="143"/>
                  <a:pt x="412" y="143"/>
                  <a:pt x="411" y="144"/>
                </a:cubicBezTo>
                <a:cubicBezTo>
                  <a:pt x="410" y="144"/>
                  <a:pt x="410" y="145"/>
                  <a:pt x="410" y="145"/>
                </a:cubicBezTo>
                <a:cubicBezTo>
                  <a:pt x="409" y="145"/>
                  <a:pt x="410" y="145"/>
                  <a:pt x="410" y="145"/>
                </a:cubicBezTo>
                <a:cubicBezTo>
                  <a:pt x="409" y="146"/>
                  <a:pt x="409" y="146"/>
                  <a:pt x="409" y="147"/>
                </a:cubicBezTo>
                <a:cubicBezTo>
                  <a:pt x="409" y="147"/>
                  <a:pt x="408" y="148"/>
                  <a:pt x="407" y="148"/>
                </a:cubicBezTo>
                <a:cubicBezTo>
                  <a:pt x="408" y="149"/>
                  <a:pt x="408" y="150"/>
                  <a:pt x="408" y="150"/>
                </a:cubicBezTo>
                <a:cubicBezTo>
                  <a:pt x="407" y="150"/>
                  <a:pt x="407" y="151"/>
                  <a:pt x="406" y="151"/>
                </a:cubicBezTo>
                <a:cubicBezTo>
                  <a:pt x="405" y="151"/>
                  <a:pt x="405" y="151"/>
                  <a:pt x="405" y="153"/>
                </a:cubicBezTo>
                <a:cubicBezTo>
                  <a:pt x="404" y="153"/>
                  <a:pt x="404" y="153"/>
                  <a:pt x="404" y="152"/>
                </a:cubicBezTo>
                <a:cubicBezTo>
                  <a:pt x="403" y="152"/>
                  <a:pt x="403" y="152"/>
                  <a:pt x="402" y="152"/>
                </a:cubicBezTo>
                <a:cubicBezTo>
                  <a:pt x="402" y="152"/>
                  <a:pt x="401" y="151"/>
                  <a:pt x="401" y="151"/>
                </a:cubicBezTo>
                <a:cubicBezTo>
                  <a:pt x="401" y="150"/>
                  <a:pt x="401" y="150"/>
                  <a:pt x="400" y="149"/>
                </a:cubicBezTo>
                <a:cubicBezTo>
                  <a:pt x="400" y="148"/>
                  <a:pt x="400" y="148"/>
                  <a:pt x="399" y="148"/>
                </a:cubicBezTo>
                <a:cubicBezTo>
                  <a:pt x="398" y="148"/>
                  <a:pt x="398" y="147"/>
                  <a:pt x="398" y="147"/>
                </a:cubicBezTo>
                <a:cubicBezTo>
                  <a:pt x="398" y="146"/>
                  <a:pt x="397" y="146"/>
                  <a:pt x="397" y="146"/>
                </a:cubicBezTo>
                <a:cubicBezTo>
                  <a:pt x="397" y="145"/>
                  <a:pt x="396" y="145"/>
                  <a:pt x="396" y="144"/>
                </a:cubicBezTo>
                <a:cubicBezTo>
                  <a:pt x="397" y="144"/>
                  <a:pt x="396" y="143"/>
                  <a:pt x="397" y="143"/>
                </a:cubicBezTo>
                <a:cubicBezTo>
                  <a:pt x="397" y="142"/>
                  <a:pt x="398" y="143"/>
                  <a:pt x="398" y="142"/>
                </a:cubicBezTo>
                <a:cubicBezTo>
                  <a:pt x="398" y="141"/>
                  <a:pt x="398" y="140"/>
                  <a:pt x="399" y="139"/>
                </a:cubicBezTo>
                <a:cubicBezTo>
                  <a:pt x="399" y="139"/>
                  <a:pt x="400" y="138"/>
                  <a:pt x="400" y="137"/>
                </a:cubicBezTo>
                <a:cubicBezTo>
                  <a:pt x="400" y="136"/>
                  <a:pt x="399" y="133"/>
                  <a:pt x="398" y="132"/>
                </a:cubicBezTo>
                <a:cubicBezTo>
                  <a:pt x="397" y="132"/>
                  <a:pt x="394" y="134"/>
                  <a:pt x="394" y="134"/>
                </a:cubicBezTo>
                <a:cubicBezTo>
                  <a:pt x="394" y="135"/>
                  <a:pt x="394" y="136"/>
                  <a:pt x="393" y="136"/>
                </a:cubicBezTo>
                <a:cubicBezTo>
                  <a:pt x="393" y="138"/>
                  <a:pt x="393" y="139"/>
                  <a:pt x="393" y="140"/>
                </a:cubicBezTo>
                <a:cubicBezTo>
                  <a:pt x="392" y="140"/>
                  <a:pt x="392" y="141"/>
                  <a:pt x="391" y="141"/>
                </a:cubicBezTo>
                <a:cubicBezTo>
                  <a:pt x="391" y="141"/>
                  <a:pt x="391" y="143"/>
                  <a:pt x="391" y="143"/>
                </a:cubicBezTo>
                <a:cubicBezTo>
                  <a:pt x="390" y="143"/>
                  <a:pt x="390" y="143"/>
                  <a:pt x="389" y="143"/>
                </a:cubicBezTo>
                <a:cubicBezTo>
                  <a:pt x="389" y="142"/>
                  <a:pt x="389" y="142"/>
                  <a:pt x="389" y="142"/>
                </a:cubicBezTo>
                <a:cubicBezTo>
                  <a:pt x="389" y="141"/>
                  <a:pt x="389" y="141"/>
                  <a:pt x="389" y="140"/>
                </a:cubicBezTo>
                <a:cubicBezTo>
                  <a:pt x="389" y="140"/>
                  <a:pt x="388" y="140"/>
                  <a:pt x="388" y="140"/>
                </a:cubicBezTo>
                <a:cubicBezTo>
                  <a:pt x="388" y="140"/>
                  <a:pt x="388" y="139"/>
                  <a:pt x="388" y="139"/>
                </a:cubicBezTo>
                <a:cubicBezTo>
                  <a:pt x="388" y="138"/>
                  <a:pt x="388" y="138"/>
                  <a:pt x="387" y="138"/>
                </a:cubicBezTo>
                <a:cubicBezTo>
                  <a:pt x="387" y="137"/>
                  <a:pt x="387" y="137"/>
                  <a:pt x="388" y="136"/>
                </a:cubicBezTo>
                <a:cubicBezTo>
                  <a:pt x="387" y="136"/>
                  <a:pt x="387" y="136"/>
                  <a:pt x="387" y="135"/>
                </a:cubicBezTo>
                <a:cubicBezTo>
                  <a:pt x="387" y="135"/>
                  <a:pt x="386" y="135"/>
                  <a:pt x="386" y="134"/>
                </a:cubicBezTo>
                <a:cubicBezTo>
                  <a:pt x="387" y="134"/>
                  <a:pt x="387" y="134"/>
                  <a:pt x="387" y="134"/>
                </a:cubicBezTo>
                <a:cubicBezTo>
                  <a:pt x="387" y="134"/>
                  <a:pt x="386" y="134"/>
                  <a:pt x="386" y="134"/>
                </a:cubicBezTo>
                <a:cubicBezTo>
                  <a:pt x="386" y="133"/>
                  <a:pt x="386" y="133"/>
                  <a:pt x="386" y="133"/>
                </a:cubicBezTo>
                <a:cubicBezTo>
                  <a:pt x="386" y="132"/>
                  <a:pt x="384" y="133"/>
                  <a:pt x="383" y="133"/>
                </a:cubicBezTo>
                <a:cubicBezTo>
                  <a:pt x="383" y="133"/>
                  <a:pt x="383" y="132"/>
                  <a:pt x="383" y="132"/>
                </a:cubicBezTo>
                <a:cubicBezTo>
                  <a:pt x="383" y="132"/>
                  <a:pt x="383" y="132"/>
                  <a:pt x="383" y="132"/>
                </a:cubicBezTo>
                <a:cubicBezTo>
                  <a:pt x="382" y="132"/>
                  <a:pt x="383" y="132"/>
                  <a:pt x="382" y="132"/>
                </a:cubicBezTo>
                <a:cubicBezTo>
                  <a:pt x="382" y="132"/>
                  <a:pt x="382" y="132"/>
                  <a:pt x="382" y="132"/>
                </a:cubicBezTo>
                <a:cubicBezTo>
                  <a:pt x="381" y="132"/>
                  <a:pt x="380" y="131"/>
                  <a:pt x="380" y="131"/>
                </a:cubicBezTo>
                <a:cubicBezTo>
                  <a:pt x="379" y="130"/>
                  <a:pt x="378" y="130"/>
                  <a:pt x="378" y="129"/>
                </a:cubicBezTo>
                <a:cubicBezTo>
                  <a:pt x="378" y="128"/>
                  <a:pt x="381" y="128"/>
                  <a:pt x="381" y="127"/>
                </a:cubicBezTo>
                <a:cubicBezTo>
                  <a:pt x="381" y="127"/>
                  <a:pt x="381" y="127"/>
                  <a:pt x="381" y="126"/>
                </a:cubicBezTo>
                <a:cubicBezTo>
                  <a:pt x="382" y="126"/>
                  <a:pt x="382" y="125"/>
                  <a:pt x="382" y="125"/>
                </a:cubicBezTo>
                <a:cubicBezTo>
                  <a:pt x="381" y="125"/>
                  <a:pt x="380" y="125"/>
                  <a:pt x="379" y="126"/>
                </a:cubicBezTo>
                <a:cubicBezTo>
                  <a:pt x="380" y="125"/>
                  <a:pt x="380" y="124"/>
                  <a:pt x="380" y="123"/>
                </a:cubicBezTo>
                <a:cubicBezTo>
                  <a:pt x="381" y="123"/>
                  <a:pt x="382" y="123"/>
                  <a:pt x="382" y="124"/>
                </a:cubicBezTo>
                <a:cubicBezTo>
                  <a:pt x="382" y="124"/>
                  <a:pt x="382" y="124"/>
                  <a:pt x="383" y="123"/>
                </a:cubicBezTo>
                <a:cubicBezTo>
                  <a:pt x="383" y="123"/>
                  <a:pt x="384" y="123"/>
                  <a:pt x="384" y="124"/>
                </a:cubicBezTo>
                <a:cubicBezTo>
                  <a:pt x="385" y="124"/>
                  <a:pt x="384" y="123"/>
                  <a:pt x="385" y="123"/>
                </a:cubicBezTo>
                <a:cubicBezTo>
                  <a:pt x="385" y="122"/>
                  <a:pt x="385" y="122"/>
                  <a:pt x="384" y="121"/>
                </a:cubicBezTo>
                <a:cubicBezTo>
                  <a:pt x="384" y="121"/>
                  <a:pt x="383" y="122"/>
                  <a:pt x="383" y="121"/>
                </a:cubicBezTo>
                <a:cubicBezTo>
                  <a:pt x="382" y="120"/>
                  <a:pt x="382" y="119"/>
                  <a:pt x="381" y="119"/>
                </a:cubicBezTo>
                <a:cubicBezTo>
                  <a:pt x="381" y="119"/>
                  <a:pt x="380" y="119"/>
                  <a:pt x="379" y="119"/>
                </a:cubicBezTo>
                <a:cubicBezTo>
                  <a:pt x="379" y="119"/>
                  <a:pt x="379" y="118"/>
                  <a:pt x="378" y="118"/>
                </a:cubicBezTo>
                <a:cubicBezTo>
                  <a:pt x="378" y="118"/>
                  <a:pt x="378" y="118"/>
                  <a:pt x="377" y="117"/>
                </a:cubicBezTo>
                <a:cubicBezTo>
                  <a:pt x="377" y="117"/>
                  <a:pt x="377" y="117"/>
                  <a:pt x="376" y="117"/>
                </a:cubicBezTo>
                <a:cubicBezTo>
                  <a:pt x="376" y="117"/>
                  <a:pt x="376" y="117"/>
                  <a:pt x="375" y="117"/>
                </a:cubicBezTo>
                <a:cubicBezTo>
                  <a:pt x="375" y="117"/>
                  <a:pt x="375" y="116"/>
                  <a:pt x="374" y="116"/>
                </a:cubicBezTo>
                <a:cubicBezTo>
                  <a:pt x="374" y="116"/>
                  <a:pt x="374" y="116"/>
                  <a:pt x="373" y="115"/>
                </a:cubicBezTo>
                <a:cubicBezTo>
                  <a:pt x="372" y="115"/>
                  <a:pt x="372" y="114"/>
                  <a:pt x="372" y="114"/>
                </a:cubicBezTo>
                <a:cubicBezTo>
                  <a:pt x="371" y="114"/>
                  <a:pt x="371" y="114"/>
                  <a:pt x="371" y="113"/>
                </a:cubicBezTo>
                <a:cubicBezTo>
                  <a:pt x="370" y="113"/>
                  <a:pt x="370" y="112"/>
                  <a:pt x="369" y="113"/>
                </a:cubicBezTo>
                <a:cubicBezTo>
                  <a:pt x="369" y="112"/>
                  <a:pt x="369" y="112"/>
                  <a:pt x="369" y="112"/>
                </a:cubicBezTo>
                <a:cubicBezTo>
                  <a:pt x="368" y="112"/>
                  <a:pt x="368" y="112"/>
                  <a:pt x="367" y="112"/>
                </a:cubicBezTo>
                <a:cubicBezTo>
                  <a:pt x="367" y="112"/>
                  <a:pt x="367" y="110"/>
                  <a:pt x="367" y="110"/>
                </a:cubicBezTo>
                <a:cubicBezTo>
                  <a:pt x="369" y="110"/>
                  <a:pt x="369" y="111"/>
                  <a:pt x="369" y="109"/>
                </a:cubicBezTo>
                <a:cubicBezTo>
                  <a:pt x="369" y="109"/>
                  <a:pt x="369" y="109"/>
                  <a:pt x="368" y="109"/>
                </a:cubicBezTo>
                <a:cubicBezTo>
                  <a:pt x="368" y="109"/>
                  <a:pt x="369" y="109"/>
                  <a:pt x="369" y="108"/>
                </a:cubicBezTo>
                <a:cubicBezTo>
                  <a:pt x="369" y="108"/>
                  <a:pt x="370" y="108"/>
                  <a:pt x="370" y="108"/>
                </a:cubicBezTo>
                <a:cubicBezTo>
                  <a:pt x="371" y="107"/>
                  <a:pt x="371" y="107"/>
                  <a:pt x="371" y="106"/>
                </a:cubicBezTo>
                <a:cubicBezTo>
                  <a:pt x="371" y="106"/>
                  <a:pt x="369" y="106"/>
                  <a:pt x="369" y="105"/>
                </a:cubicBezTo>
                <a:cubicBezTo>
                  <a:pt x="369" y="104"/>
                  <a:pt x="368" y="104"/>
                  <a:pt x="370" y="104"/>
                </a:cubicBezTo>
                <a:cubicBezTo>
                  <a:pt x="370" y="103"/>
                  <a:pt x="370" y="103"/>
                  <a:pt x="370" y="103"/>
                </a:cubicBezTo>
                <a:cubicBezTo>
                  <a:pt x="370" y="103"/>
                  <a:pt x="370" y="103"/>
                  <a:pt x="371" y="103"/>
                </a:cubicBezTo>
                <a:cubicBezTo>
                  <a:pt x="372" y="103"/>
                  <a:pt x="373" y="103"/>
                  <a:pt x="374" y="103"/>
                </a:cubicBezTo>
                <a:cubicBezTo>
                  <a:pt x="376" y="103"/>
                  <a:pt x="378" y="102"/>
                  <a:pt x="380" y="102"/>
                </a:cubicBezTo>
                <a:cubicBezTo>
                  <a:pt x="381" y="102"/>
                  <a:pt x="382" y="102"/>
                  <a:pt x="383" y="101"/>
                </a:cubicBezTo>
                <a:cubicBezTo>
                  <a:pt x="383" y="101"/>
                  <a:pt x="384" y="101"/>
                  <a:pt x="384" y="100"/>
                </a:cubicBezTo>
                <a:cubicBezTo>
                  <a:pt x="385" y="99"/>
                  <a:pt x="385" y="99"/>
                  <a:pt x="386" y="98"/>
                </a:cubicBezTo>
                <a:cubicBezTo>
                  <a:pt x="386" y="98"/>
                  <a:pt x="386" y="98"/>
                  <a:pt x="386" y="97"/>
                </a:cubicBezTo>
                <a:cubicBezTo>
                  <a:pt x="386" y="96"/>
                  <a:pt x="387" y="96"/>
                  <a:pt x="387" y="96"/>
                </a:cubicBezTo>
                <a:cubicBezTo>
                  <a:pt x="387" y="95"/>
                  <a:pt x="388" y="94"/>
                  <a:pt x="388" y="93"/>
                </a:cubicBezTo>
                <a:cubicBezTo>
                  <a:pt x="387" y="93"/>
                  <a:pt x="386" y="93"/>
                  <a:pt x="386" y="93"/>
                </a:cubicBezTo>
                <a:cubicBezTo>
                  <a:pt x="385" y="93"/>
                  <a:pt x="385" y="93"/>
                  <a:pt x="384" y="92"/>
                </a:cubicBezTo>
                <a:cubicBezTo>
                  <a:pt x="383" y="92"/>
                  <a:pt x="382" y="92"/>
                  <a:pt x="380" y="92"/>
                </a:cubicBezTo>
                <a:cubicBezTo>
                  <a:pt x="380" y="93"/>
                  <a:pt x="380" y="93"/>
                  <a:pt x="379" y="92"/>
                </a:cubicBezTo>
                <a:cubicBezTo>
                  <a:pt x="379" y="91"/>
                  <a:pt x="378" y="91"/>
                  <a:pt x="377" y="91"/>
                </a:cubicBezTo>
                <a:cubicBezTo>
                  <a:pt x="377" y="91"/>
                  <a:pt x="376" y="91"/>
                  <a:pt x="376" y="91"/>
                </a:cubicBezTo>
                <a:cubicBezTo>
                  <a:pt x="376" y="91"/>
                  <a:pt x="374" y="90"/>
                  <a:pt x="374" y="90"/>
                </a:cubicBezTo>
                <a:cubicBezTo>
                  <a:pt x="373" y="90"/>
                  <a:pt x="372" y="90"/>
                  <a:pt x="371" y="90"/>
                </a:cubicBezTo>
                <a:cubicBezTo>
                  <a:pt x="370" y="90"/>
                  <a:pt x="370" y="90"/>
                  <a:pt x="370" y="91"/>
                </a:cubicBezTo>
                <a:cubicBezTo>
                  <a:pt x="369" y="91"/>
                  <a:pt x="369" y="92"/>
                  <a:pt x="369" y="92"/>
                </a:cubicBezTo>
                <a:cubicBezTo>
                  <a:pt x="368" y="93"/>
                  <a:pt x="368" y="91"/>
                  <a:pt x="368" y="91"/>
                </a:cubicBezTo>
                <a:cubicBezTo>
                  <a:pt x="366" y="92"/>
                  <a:pt x="365" y="92"/>
                  <a:pt x="363" y="92"/>
                </a:cubicBezTo>
                <a:cubicBezTo>
                  <a:pt x="363" y="93"/>
                  <a:pt x="364" y="94"/>
                  <a:pt x="364" y="95"/>
                </a:cubicBezTo>
                <a:cubicBezTo>
                  <a:pt x="363" y="94"/>
                  <a:pt x="363" y="94"/>
                  <a:pt x="362" y="94"/>
                </a:cubicBezTo>
                <a:cubicBezTo>
                  <a:pt x="362" y="95"/>
                  <a:pt x="362" y="95"/>
                  <a:pt x="362" y="96"/>
                </a:cubicBezTo>
                <a:cubicBezTo>
                  <a:pt x="362" y="96"/>
                  <a:pt x="363" y="96"/>
                  <a:pt x="363" y="97"/>
                </a:cubicBezTo>
                <a:cubicBezTo>
                  <a:pt x="362" y="97"/>
                  <a:pt x="362" y="96"/>
                  <a:pt x="363" y="97"/>
                </a:cubicBezTo>
                <a:cubicBezTo>
                  <a:pt x="363" y="98"/>
                  <a:pt x="363" y="98"/>
                  <a:pt x="363" y="98"/>
                </a:cubicBezTo>
                <a:cubicBezTo>
                  <a:pt x="364" y="98"/>
                  <a:pt x="363" y="99"/>
                  <a:pt x="364" y="99"/>
                </a:cubicBezTo>
                <a:cubicBezTo>
                  <a:pt x="364" y="99"/>
                  <a:pt x="363" y="100"/>
                  <a:pt x="363" y="100"/>
                </a:cubicBezTo>
                <a:cubicBezTo>
                  <a:pt x="364" y="100"/>
                  <a:pt x="363" y="102"/>
                  <a:pt x="364" y="102"/>
                </a:cubicBezTo>
                <a:cubicBezTo>
                  <a:pt x="365" y="102"/>
                  <a:pt x="365" y="104"/>
                  <a:pt x="364" y="104"/>
                </a:cubicBezTo>
                <a:cubicBezTo>
                  <a:pt x="364" y="105"/>
                  <a:pt x="365" y="106"/>
                  <a:pt x="365" y="106"/>
                </a:cubicBezTo>
                <a:cubicBezTo>
                  <a:pt x="366" y="106"/>
                  <a:pt x="365" y="107"/>
                  <a:pt x="365" y="107"/>
                </a:cubicBezTo>
                <a:cubicBezTo>
                  <a:pt x="365" y="108"/>
                  <a:pt x="366" y="108"/>
                  <a:pt x="365" y="108"/>
                </a:cubicBezTo>
                <a:cubicBezTo>
                  <a:pt x="365" y="109"/>
                  <a:pt x="365" y="109"/>
                  <a:pt x="365" y="109"/>
                </a:cubicBezTo>
                <a:cubicBezTo>
                  <a:pt x="365" y="110"/>
                  <a:pt x="365" y="110"/>
                  <a:pt x="365" y="111"/>
                </a:cubicBezTo>
                <a:cubicBezTo>
                  <a:pt x="365" y="112"/>
                  <a:pt x="364" y="111"/>
                  <a:pt x="363" y="112"/>
                </a:cubicBezTo>
                <a:cubicBezTo>
                  <a:pt x="363" y="112"/>
                  <a:pt x="363" y="113"/>
                  <a:pt x="362" y="113"/>
                </a:cubicBezTo>
                <a:cubicBezTo>
                  <a:pt x="362" y="113"/>
                  <a:pt x="362" y="113"/>
                  <a:pt x="362" y="113"/>
                </a:cubicBezTo>
                <a:cubicBezTo>
                  <a:pt x="363" y="113"/>
                  <a:pt x="365" y="115"/>
                  <a:pt x="365" y="116"/>
                </a:cubicBezTo>
                <a:cubicBezTo>
                  <a:pt x="363" y="116"/>
                  <a:pt x="362" y="115"/>
                  <a:pt x="361" y="115"/>
                </a:cubicBezTo>
                <a:cubicBezTo>
                  <a:pt x="361" y="115"/>
                  <a:pt x="361" y="116"/>
                  <a:pt x="361" y="116"/>
                </a:cubicBezTo>
                <a:cubicBezTo>
                  <a:pt x="360" y="116"/>
                  <a:pt x="360" y="117"/>
                  <a:pt x="360" y="118"/>
                </a:cubicBezTo>
                <a:cubicBezTo>
                  <a:pt x="360" y="118"/>
                  <a:pt x="360" y="118"/>
                  <a:pt x="360" y="118"/>
                </a:cubicBezTo>
                <a:cubicBezTo>
                  <a:pt x="360" y="118"/>
                  <a:pt x="360" y="118"/>
                  <a:pt x="360" y="119"/>
                </a:cubicBezTo>
                <a:cubicBezTo>
                  <a:pt x="359" y="119"/>
                  <a:pt x="359" y="120"/>
                  <a:pt x="360" y="120"/>
                </a:cubicBezTo>
                <a:cubicBezTo>
                  <a:pt x="360" y="121"/>
                  <a:pt x="361" y="122"/>
                  <a:pt x="361" y="122"/>
                </a:cubicBezTo>
                <a:cubicBezTo>
                  <a:pt x="361" y="123"/>
                  <a:pt x="358" y="122"/>
                  <a:pt x="358" y="123"/>
                </a:cubicBezTo>
                <a:cubicBezTo>
                  <a:pt x="358" y="124"/>
                  <a:pt x="358" y="124"/>
                  <a:pt x="359" y="124"/>
                </a:cubicBezTo>
                <a:cubicBezTo>
                  <a:pt x="358" y="125"/>
                  <a:pt x="358" y="125"/>
                  <a:pt x="359" y="125"/>
                </a:cubicBezTo>
                <a:cubicBezTo>
                  <a:pt x="360" y="126"/>
                  <a:pt x="360" y="126"/>
                  <a:pt x="361" y="126"/>
                </a:cubicBezTo>
                <a:cubicBezTo>
                  <a:pt x="362" y="126"/>
                  <a:pt x="362" y="126"/>
                  <a:pt x="362" y="127"/>
                </a:cubicBezTo>
                <a:cubicBezTo>
                  <a:pt x="361" y="128"/>
                  <a:pt x="361" y="129"/>
                  <a:pt x="361" y="130"/>
                </a:cubicBezTo>
                <a:cubicBezTo>
                  <a:pt x="362" y="130"/>
                  <a:pt x="361" y="129"/>
                  <a:pt x="362" y="129"/>
                </a:cubicBezTo>
                <a:cubicBezTo>
                  <a:pt x="362" y="129"/>
                  <a:pt x="362" y="131"/>
                  <a:pt x="363" y="130"/>
                </a:cubicBezTo>
                <a:cubicBezTo>
                  <a:pt x="363" y="130"/>
                  <a:pt x="363" y="129"/>
                  <a:pt x="363" y="128"/>
                </a:cubicBezTo>
                <a:cubicBezTo>
                  <a:pt x="363" y="128"/>
                  <a:pt x="363" y="127"/>
                  <a:pt x="364" y="127"/>
                </a:cubicBezTo>
                <a:cubicBezTo>
                  <a:pt x="364" y="127"/>
                  <a:pt x="364" y="127"/>
                  <a:pt x="364" y="127"/>
                </a:cubicBezTo>
                <a:cubicBezTo>
                  <a:pt x="365" y="127"/>
                  <a:pt x="365" y="128"/>
                  <a:pt x="365" y="128"/>
                </a:cubicBezTo>
                <a:cubicBezTo>
                  <a:pt x="366" y="128"/>
                  <a:pt x="366" y="128"/>
                  <a:pt x="367" y="129"/>
                </a:cubicBezTo>
                <a:cubicBezTo>
                  <a:pt x="368" y="130"/>
                  <a:pt x="368" y="129"/>
                  <a:pt x="368" y="130"/>
                </a:cubicBezTo>
                <a:cubicBezTo>
                  <a:pt x="368" y="130"/>
                  <a:pt x="369" y="132"/>
                  <a:pt x="369" y="132"/>
                </a:cubicBezTo>
                <a:cubicBezTo>
                  <a:pt x="369" y="132"/>
                  <a:pt x="370" y="132"/>
                  <a:pt x="370" y="132"/>
                </a:cubicBezTo>
                <a:cubicBezTo>
                  <a:pt x="371" y="131"/>
                  <a:pt x="370" y="131"/>
                  <a:pt x="371" y="131"/>
                </a:cubicBezTo>
                <a:cubicBezTo>
                  <a:pt x="372" y="131"/>
                  <a:pt x="372" y="131"/>
                  <a:pt x="372" y="130"/>
                </a:cubicBezTo>
                <a:cubicBezTo>
                  <a:pt x="372" y="130"/>
                  <a:pt x="373" y="130"/>
                  <a:pt x="373" y="130"/>
                </a:cubicBezTo>
                <a:cubicBezTo>
                  <a:pt x="373" y="130"/>
                  <a:pt x="372" y="130"/>
                  <a:pt x="373" y="130"/>
                </a:cubicBezTo>
                <a:cubicBezTo>
                  <a:pt x="373" y="130"/>
                  <a:pt x="373" y="130"/>
                  <a:pt x="373" y="130"/>
                </a:cubicBezTo>
                <a:cubicBezTo>
                  <a:pt x="373" y="129"/>
                  <a:pt x="375" y="130"/>
                  <a:pt x="375" y="129"/>
                </a:cubicBezTo>
                <a:cubicBezTo>
                  <a:pt x="376" y="129"/>
                  <a:pt x="378" y="129"/>
                  <a:pt x="376" y="130"/>
                </a:cubicBezTo>
                <a:cubicBezTo>
                  <a:pt x="376" y="130"/>
                  <a:pt x="375" y="129"/>
                  <a:pt x="374" y="130"/>
                </a:cubicBezTo>
                <a:cubicBezTo>
                  <a:pt x="373" y="131"/>
                  <a:pt x="373" y="131"/>
                  <a:pt x="373" y="132"/>
                </a:cubicBezTo>
                <a:cubicBezTo>
                  <a:pt x="373" y="133"/>
                  <a:pt x="373" y="134"/>
                  <a:pt x="373" y="134"/>
                </a:cubicBezTo>
                <a:cubicBezTo>
                  <a:pt x="373" y="134"/>
                  <a:pt x="372" y="134"/>
                  <a:pt x="372" y="134"/>
                </a:cubicBezTo>
                <a:cubicBezTo>
                  <a:pt x="372" y="134"/>
                  <a:pt x="372" y="134"/>
                  <a:pt x="371" y="134"/>
                </a:cubicBezTo>
                <a:cubicBezTo>
                  <a:pt x="370" y="134"/>
                  <a:pt x="371" y="134"/>
                  <a:pt x="371" y="134"/>
                </a:cubicBezTo>
                <a:cubicBezTo>
                  <a:pt x="370" y="134"/>
                  <a:pt x="370" y="133"/>
                  <a:pt x="369" y="133"/>
                </a:cubicBezTo>
                <a:cubicBezTo>
                  <a:pt x="369" y="134"/>
                  <a:pt x="368" y="134"/>
                  <a:pt x="368" y="134"/>
                </a:cubicBezTo>
                <a:cubicBezTo>
                  <a:pt x="368" y="135"/>
                  <a:pt x="368" y="136"/>
                  <a:pt x="369" y="136"/>
                </a:cubicBezTo>
                <a:cubicBezTo>
                  <a:pt x="368" y="137"/>
                  <a:pt x="368" y="138"/>
                  <a:pt x="368" y="139"/>
                </a:cubicBezTo>
                <a:cubicBezTo>
                  <a:pt x="369" y="139"/>
                  <a:pt x="370" y="139"/>
                  <a:pt x="371" y="138"/>
                </a:cubicBezTo>
                <a:cubicBezTo>
                  <a:pt x="371" y="138"/>
                  <a:pt x="372" y="138"/>
                  <a:pt x="372" y="138"/>
                </a:cubicBezTo>
                <a:cubicBezTo>
                  <a:pt x="372" y="138"/>
                  <a:pt x="372" y="139"/>
                  <a:pt x="372" y="139"/>
                </a:cubicBezTo>
                <a:cubicBezTo>
                  <a:pt x="371" y="139"/>
                  <a:pt x="372" y="139"/>
                  <a:pt x="372" y="140"/>
                </a:cubicBezTo>
                <a:cubicBezTo>
                  <a:pt x="372" y="141"/>
                  <a:pt x="371" y="140"/>
                  <a:pt x="371" y="141"/>
                </a:cubicBezTo>
                <a:cubicBezTo>
                  <a:pt x="369" y="142"/>
                  <a:pt x="368" y="141"/>
                  <a:pt x="367" y="142"/>
                </a:cubicBezTo>
                <a:cubicBezTo>
                  <a:pt x="367" y="143"/>
                  <a:pt x="366" y="143"/>
                  <a:pt x="366" y="143"/>
                </a:cubicBezTo>
                <a:cubicBezTo>
                  <a:pt x="366" y="144"/>
                  <a:pt x="366" y="144"/>
                  <a:pt x="366" y="144"/>
                </a:cubicBezTo>
                <a:cubicBezTo>
                  <a:pt x="365" y="144"/>
                  <a:pt x="365" y="145"/>
                  <a:pt x="365" y="145"/>
                </a:cubicBezTo>
                <a:cubicBezTo>
                  <a:pt x="364" y="145"/>
                  <a:pt x="363" y="145"/>
                  <a:pt x="362" y="145"/>
                </a:cubicBezTo>
                <a:cubicBezTo>
                  <a:pt x="363" y="145"/>
                  <a:pt x="363" y="146"/>
                  <a:pt x="363" y="146"/>
                </a:cubicBezTo>
                <a:cubicBezTo>
                  <a:pt x="362" y="146"/>
                  <a:pt x="363" y="147"/>
                  <a:pt x="362" y="147"/>
                </a:cubicBezTo>
                <a:cubicBezTo>
                  <a:pt x="362" y="147"/>
                  <a:pt x="362" y="146"/>
                  <a:pt x="362" y="147"/>
                </a:cubicBezTo>
                <a:cubicBezTo>
                  <a:pt x="362" y="148"/>
                  <a:pt x="362" y="148"/>
                  <a:pt x="361" y="148"/>
                </a:cubicBezTo>
                <a:cubicBezTo>
                  <a:pt x="361" y="149"/>
                  <a:pt x="360" y="149"/>
                  <a:pt x="360" y="150"/>
                </a:cubicBezTo>
                <a:cubicBezTo>
                  <a:pt x="361" y="150"/>
                  <a:pt x="361" y="150"/>
                  <a:pt x="362" y="150"/>
                </a:cubicBezTo>
                <a:cubicBezTo>
                  <a:pt x="362" y="151"/>
                  <a:pt x="362" y="151"/>
                  <a:pt x="362" y="151"/>
                </a:cubicBezTo>
                <a:cubicBezTo>
                  <a:pt x="361" y="153"/>
                  <a:pt x="363" y="153"/>
                  <a:pt x="364" y="153"/>
                </a:cubicBezTo>
                <a:cubicBezTo>
                  <a:pt x="365" y="154"/>
                  <a:pt x="362" y="154"/>
                  <a:pt x="362" y="154"/>
                </a:cubicBezTo>
                <a:cubicBezTo>
                  <a:pt x="362" y="153"/>
                  <a:pt x="360" y="153"/>
                  <a:pt x="359" y="152"/>
                </a:cubicBezTo>
                <a:cubicBezTo>
                  <a:pt x="360" y="151"/>
                  <a:pt x="359" y="151"/>
                  <a:pt x="358" y="151"/>
                </a:cubicBezTo>
                <a:cubicBezTo>
                  <a:pt x="357" y="151"/>
                  <a:pt x="357" y="150"/>
                  <a:pt x="356" y="150"/>
                </a:cubicBezTo>
                <a:cubicBezTo>
                  <a:pt x="356" y="149"/>
                  <a:pt x="356" y="149"/>
                  <a:pt x="356" y="149"/>
                </a:cubicBezTo>
                <a:cubicBezTo>
                  <a:pt x="356" y="149"/>
                  <a:pt x="357" y="148"/>
                  <a:pt x="357" y="148"/>
                </a:cubicBezTo>
                <a:cubicBezTo>
                  <a:pt x="357" y="148"/>
                  <a:pt x="357" y="144"/>
                  <a:pt x="357" y="144"/>
                </a:cubicBezTo>
                <a:cubicBezTo>
                  <a:pt x="357" y="144"/>
                  <a:pt x="356" y="145"/>
                  <a:pt x="356" y="145"/>
                </a:cubicBezTo>
                <a:cubicBezTo>
                  <a:pt x="356" y="144"/>
                  <a:pt x="356" y="145"/>
                  <a:pt x="356" y="144"/>
                </a:cubicBezTo>
                <a:cubicBezTo>
                  <a:pt x="356" y="144"/>
                  <a:pt x="357" y="143"/>
                  <a:pt x="357" y="144"/>
                </a:cubicBezTo>
                <a:cubicBezTo>
                  <a:pt x="357" y="143"/>
                  <a:pt x="357" y="142"/>
                  <a:pt x="356" y="142"/>
                </a:cubicBezTo>
                <a:cubicBezTo>
                  <a:pt x="356" y="142"/>
                  <a:pt x="355" y="144"/>
                  <a:pt x="355" y="144"/>
                </a:cubicBezTo>
                <a:cubicBezTo>
                  <a:pt x="354" y="144"/>
                  <a:pt x="354" y="144"/>
                  <a:pt x="353" y="143"/>
                </a:cubicBezTo>
                <a:cubicBezTo>
                  <a:pt x="353" y="143"/>
                  <a:pt x="353" y="143"/>
                  <a:pt x="353" y="142"/>
                </a:cubicBezTo>
                <a:cubicBezTo>
                  <a:pt x="352" y="141"/>
                  <a:pt x="352" y="142"/>
                  <a:pt x="351" y="141"/>
                </a:cubicBezTo>
                <a:cubicBezTo>
                  <a:pt x="350" y="141"/>
                  <a:pt x="350" y="140"/>
                  <a:pt x="349" y="140"/>
                </a:cubicBezTo>
                <a:cubicBezTo>
                  <a:pt x="349" y="141"/>
                  <a:pt x="349" y="141"/>
                  <a:pt x="349" y="142"/>
                </a:cubicBezTo>
                <a:cubicBezTo>
                  <a:pt x="349" y="142"/>
                  <a:pt x="348" y="141"/>
                  <a:pt x="348" y="141"/>
                </a:cubicBezTo>
                <a:cubicBezTo>
                  <a:pt x="348" y="143"/>
                  <a:pt x="348" y="145"/>
                  <a:pt x="349" y="146"/>
                </a:cubicBezTo>
                <a:cubicBezTo>
                  <a:pt x="349" y="146"/>
                  <a:pt x="349" y="146"/>
                  <a:pt x="349" y="146"/>
                </a:cubicBezTo>
                <a:cubicBezTo>
                  <a:pt x="348" y="146"/>
                  <a:pt x="346" y="146"/>
                  <a:pt x="346" y="147"/>
                </a:cubicBezTo>
                <a:cubicBezTo>
                  <a:pt x="346" y="147"/>
                  <a:pt x="346" y="148"/>
                  <a:pt x="345" y="148"/>
                </a:cubicBezTo>
                <a:cubicBezTo>
                  <a:pt x="345" y="147"/>
                  <a:pt x="341" y="147"/>
                  <a:pt x="340" y="147"/>
                </a:cubicBezTo>
                <a:cubicBezTo>
                  <a:pt x="340" y="146"/>
                  <a:pt x="340" y="146"/>
                  <a:pt x="339" y="146"/>
                </a:cubicBezTo>
                <a:cubicBezTo>
                  <a:pt x="339" y="146"/>
                  <a:pt x="338" y="146"/>
                  <a:pt x="338" y="146"/>
                </a:cubicBezTo>
                <a:cubicBezTo>
                  <a:pt x="337" y="146"/>
                  <a:pt x="338" y="146"/>
                  <a:pt x="337" y="146"/>
                </a:cubicBezTo>
                <a:cubicBezTo>
                  <a:pt x="337" y="146"/>
                  <a:pt x="336" y="147"/>
                  <a:pt x="335" y="147"/>
                </a:cubicBezTo>
                <a:cubicBezTo>
                  <a:pt x="335" y="147"/>
                  <a:pt x="334" y="148"/>
                  <a:pt x="333" y="148"/>
                </a:cubicBezTo>
                <a:cubicBezTo>
                  <a:pt x="333" y="148"/>
                  <a:pt x="332" y="147"/>
                  <a:pt x="332" y="147"/>
                </a:cubicBezTo>
                <a:cubicBezTo>
                  <a:pt x="331" y="146"/>
                  <a:pt x="331" y="147"/>
                  <a:pt x="330" y="147"/>
                </a:cubicBezTo>
                <a:cubicBezTo>
                  <a:pt x="330" y="147"/>
                  <a:pt x="330" y="147"/>
                  <a:pt x="330" y="147"/>
                </a:cubicBezTo>
                <a:cubicBezTo>
                  <a:pt x="329" y="146"/>
                  <a:pt x="328" y="146"/>
                  <a:pt x="328" y="146"/>
                </a:cubicBezTo>
                <a:cubicBezTo>
                  <a:pt x="327" y="146"/>
                  <a:pt x="327" y="146"/>
                  <a:pt x="327" y="145"/>
                </a:cubicBezTo>
                <a:cubicBezTo>
                  <a:pt x="327" y="145"/>
                  <a:pt x="326" y="145"/>
                  <a:pt x="326" y="145"/>
                </a:cubicBezTo>
                <a:cubicBezTo>
                  <a:pt x="325" y="145"/>
                  <a:pt x="325" y="144"/>
                  <a:pt x="325" y="144"/>
                </a:cubicBezTo>
                <a:cubicBezTo>
                  <a:pt x="325" y="144"/>
                  <a:pt x="324" y="144"/>
                  <a:pt x="324" y="144"/>
                </a:cubicBezTo>
                <a:cubicBezTo>
                  <a:pt x="324" y="144"/>
                  <a:pt x="324" y="144"/>
                  <a:pt x="323" y="143"/>
                </a:cubicBezTo>
                <a:cubicBezTo>
                  <a:pt x="323" y="145"/>
                  <a:pt x="322" y="144"/>
                  <a:pt x="321" y="144"/>
                </a:cubicBezTo>
                <a:cubicBezTo>
                  <a:pt x="320" y="144"/>
                  <a:pt x="320" y="145"/>
                  <a:pt x="319" y="145"/>
                </a:cubicBezTo>
                <a:cubicBezTo>
                  <a:pt x="320" y="144"/>
                  <a:pt x="320" y="143"/>
                  <a:pt x="320" y="143"/>
                </a:cubicBezTo>
                <a:cubicBezTo>
                  <a:pt x="320" y="142"/>
                  <a:pt x="319" y="142"/>
                  <a:pt x="319" y="142"/>
                </a:cubicBezTo>
                <a:cubicBezTo>
                  <a:pt x="319" y="142"/>
                  <a:pt x="318" y="142"/>
                  <a:pt x="317" y="143"/>
                </a:cubicBezTo>
                <a:cubicBezTo>
                  <a:pt x="317" y="143"/>
                  <a:pt x="317" y="143"/>
                  <a:pt x="316" y="143"/>
                </a:cubicBezTo>
                <a:cubicBezTo>
                  <a:pt x="315" y="142"/>
                  <a:pt x="315" y="142"/>
                  <a:pt x="315" y="141"/>
                </a:cubicBezTo>
                <a:cubicBezTo>
                  <a:pt x="315" y="141"/>
                  <a:pt x="315" y="141"/>
                  <a:pt x="315" y="140"/>
                </a:cubicBezTo>
                <a:cubicBezTo>
                  <a:pt x="315" y="140"/>
                  <a:pt x="315" y="140"/>
                  <a:pt x="314" y="139"/>
                </a:cubicBezTo>
                <a:cubicBezTo>
                  <a:pt x="314" y="139"/>
                  <a:pt x="314" y="138"/>
                  <a:pt x="315" y="138"/>
                </a:cubicBezTo>
                <a:cubicBezTo>
                  <a:pt x="313" y="137"/>
                  <a:pt x="312" y="137"/>
                  <a:pt x="311" y="136"/>
                </a:cubicBezTo>
                <a:cubicBezTo>
                  <a:pt x="311" y="137"/>
                  <a:pt x="309" y="136"/>
                  <a:pt x="309" y="137"/>
                </a:cubicBezTo>
                <a:cubicBezTo>
                  <a:pt x="308" y="137"/>
                  <a:pt x="307" y="137"/>
                  <a:pt x="306" y="137"/>
                </a:cubicBezTo>
                <a:cubicBezTo>
                  <a:pt x="306" y="138"/>
                  <a:pt x="304" y="137"/>
                  <a:pt x="305" y="138"/>
                </a:cubicBezTo>
                <a:cubicBezTo>
                  <a:pt x="304" y="138"/>
                  <a:pt x="304" y="138"/>
                  <a:pt x="304" y="137"/>
                </a:cubicBezTo>
                <a:cubicBezTo>
                  <a:pt x="303" y="137"/>
                  <a:pt x="303" y="137"/>
                  <a:pt x="302" y="137"/>
                </a:cubicBezTo>
                <a:cubicBezTo>
                  <a:pt x="302" y="137"/>
                  <a:pt x="301" y="138"/>
                  <a:pt x="300" y="138"/>
                </a:cubicBezTo>
                <a:cubicBezTo>
                  <a:pt x="300" y="138"/>
                  <a:pt x="301" y="139"/>
                  <a:pt x="301" y="139"/>
                </a:cubicBezTo>
                <a:cubicBezTo>
                  <a:pt x="300" y="139"/>
                  <a:pt x="300" y="140"/>
                  <a:pt x="300" y="140"/>
                </a:cubicBezTo>
                <a:cubicBezTo>
                  <a:pt x="300" y="142"/>
                  <a:pt x="300" y="140"/>
                  <a:pt x="299" y="141"/>
                </a:cubicBezTo>
                <a:cubicBezTo>
                  <a:pt x="299" y="142"/>
                  <a:pt x="299" y="142"/>
                  <a:pt x="299" y="142"/>
                </a:cubicBezTo>
                <a:cubicBezTo>
                  <a:pt x="298" y="142"/>
                  <a:pt x="298" y="142"/>
                  <a:pt x="298" y="143"/>
                </a:cubicBezTo>
                <a:cubicBezTo>
                  <a:pt x="298" y="144"/>
                  <a:pt x="298" y="143"/>
                  <a:pt x="299" y="144"/>
                </a:cubicBezTo>
                <a:cubicBezTo>
                  <a:pt x="299" y="143"/>
                  <a:pt x="300" y="143"/>
                  <a:pt x="300" y="143"/>
                </a:cubicBezTo>
                <a:cubicBezTo>
                  <a:pt x="300" y="144"/>
                  <a:pt x="301" y="143"/>
                  <a:pt x="301" y="144"/>
                </a:cubicBezTo>
                <a:cubicBezTo>
                  <a:pt x="301" y="143"/>
                  <a:pt x="302" y="143"/>
                  <a:pt x="302" y="143"/>
                </a:cubicBezTo>
                <a:cubicBezTo>
                  <a:pt x="302" y="143"/>
                  <a:pt x="301" y="143"/>
                  <a:pt x="301" y="143"/>
                </a:cubicBezTo>
                <a:cubicBezTo>
                  <a:pt x="301" y="142"/>
                  <a:pt x="302" y="142"/>
                  <a:pt x="302" y="141"/>
                </a:cubicBezTo>
                <a:cubicBezTo>
                  <a:pt x="303" y="142"/>
                  <a:pt x="303" y="143"/>
                  <a:pt x="304" y="142"/>
                </a:cubicBezTo>
                <a:cubicBezTo>
                  <a:pt x="305" y="142"/>
                  <a:pt x="305" y="141"/>
                  <a:pt x="305" y="141"/>
                </a:cubicBezTo>
                <a:cubicBezTo>
                  <a:pt x="306" y="141"/>
                  <a:pt x="307" y="141"/>
                  <a:pt x="308" y="141"/>
                </a:cubicBezTo>
                <a:cubicBezTo>
                  <a:pt x="308" y="140"/>
                  <a:pt x="309" y="140"/>
                  <a:pt x="310" y="140"/>
                </a:cubicBezTo>
                <a:cubicBezTo>
                  <a:pt x="310" y="140"/>
                  <a:pt x="309" y="139"/>
                  <a:pt x="309" y="139"/>
                </a:cubicBezTo>
                <a:cubicBezTo>
                  <a:pt x="310" y="138"/>
                  <a:pt x="310" y="138"/>
                  <a:pt x="311" y="139"/>
                </a:cubicBezTo>
                <a:cubicBezTo>
                  <a:pt x="311" y="139"/>
                  <a:pt x="312" y="139"/>
                  <a:pt x="312" y="140"/>
                </a:cubicBezTo>
                <a:cubicBezTo>
                  <a:pt x="312" y="141"/>
                  <a:pt x="311" y="140"/>
                  <a:pt x="310" y="140"/>
                </a:cubicBezTo>
                <a:cubicBezTo>
                  <a:pt x="310" y="140"/>
                  <a:pt x="310" y="141"/>
                  <a:pt x="309" y="142"/>
                </a:cubicBezTo>
                <a:cubicBezTo>
                  <a:pt x="309" y="142"/>
                  <a:pt x="308" y="142"/>
                  <a:pt x="308" y="142"/>
                </a:cubicBezTo>
                <a:cubicBezTo>
                  <a:pt x="307" y="142"/>
                  <a:pt x="307" y="143"/>
                  <a:pt x="307" y="143"/>
                </a:cubicBezTo>
                <a:cubicBezTo>
                  <a:pt x="306" y="143"/>
                  <a:pt x="306" y="143"/>
                  <a:pt x="306" y="144"/>
                </a:cubicBezTo>
                <a:cubicBezTo>
                  <a:pt x="306" y="144"/>
                  <a:pt x="303" y="144"/>
                  <a:pt x="303" y="145"/>
                </a:cubicBezTo>
                <a:cubicBezTo>
                  <a:pt x="303" y="146"/>
                  <a:pt x="302" y="145"/>
                  <a:pt x="301" y="146"/>
                </a:cubicBezTo>
                <a:cubicBezTo>
                  <a:pt x="301" y="147"/>
                  <a:pt x="301" y="147"/>
                  <a:pt x="300" y="147"/>
                </a:cubicBezTo>
                <a:cubicBezTo>
                  <a:pt x="300" y="147"/>
                  <a:pt x="300" y="149"/>
                  <a:pt x="300" y="149"/>
                </a:cubicBezTo>
                <a:cubicBezTo>
                  <a:pt x="301" y="149"/>
                  <a:pt x="301" y="150"/>
                  <a:pt x="301" y="150"/>
                </a:cubicBezTo>
                <a:cubicBezTo>
                  <a:pt x="302" y="151"/>
                  <a:pt x="301" y="151"/>
                  <a:pt x="301" y="151"/>
                </a:cubicBezTo>
                <a:cubicBezTo>
                  <a:pt x="301" y="152"/>
                  <a:pt x="301" y="152"/>
                  <a:pt x="302" y="153"/>
                </a:cubicBezTo>
                <a:cubicBezTo>
                  <a:pt x="302" y="153"/>
                  <a:pt x="302" y="154"/>
                  <a:pt x="302" y="154"/>
                </a:cubicBezTo>
                <a:cubicBezTo>
                  <a:pt x="301" y="154"/>
                  <a:pt x="301" y="155"/>
                  <a:pt x="301" y="156"/>
                </a:cubicBezTo>
                <a:cubicBezTo>
                  <a:pt x="300" y="155"/>
                  <a:pt x="298" y="155"/>
                  <a:pt x="298" y="153"/>
                </a:cubicBezTo>
                <a:cubicBezTo>
                  <a:pt x="298" y="152"/>
                  <a:pt x="298" y="153"/>
                  <a:pt x="298" y="152"/>
                </a:cubicBezTo>
                <a:cubicBezTo>
                  <a:pt x="298" y="150"/>
                  <a:pt x="297" y="149"/>
                  <a:pt x="297" y="148"/>
                </a:cubicBezTo>
                <a:cubicBezTo>
                  <a:pt x="297" y="148"/>
                  <a:pt x="297" y="149"/>
                  <a:pt x="297" y="150"/>
                </a:cubicBezTo>
                <a:cubicBezTo>
                  <a:pt x="297" y="151"/>
                  <a:pt x="297" y="151"/>
                  <a:pt x="296" y="152"/>
                </a:cubicBezTo>
                <a:cubicBezTo>
                  <a:pt x="295" y="151"/>
                  <a:pt x="295" y="150"/>
                  <a:pt x="295" y="150"/>
                </a:cubicBezTo>
                <a:cubicBezTo>
                  <a:pt x="296" y="150"/>
                  <a:pt x="296" y="149"/>
                  <a:pt x="296" y="149"/>
                </a:cubicBezTo>
                <a:cubicBezTo>
                  <a:pt x="295" y="148"/>
                  <a:pt x="295" y="148"/>
                  <a:pt x="295" y="147"/>
                </a:cubicBezTo>
                <a:cubicBezTo>
                  <a:pt x="295" y="147"/>
                  <a:pt x="294" y="147"/>
                  <a:pt x="294" y="147"/>
                </a:cubicBezTo>
                <a:cubicBezTo>
                  <a:pt x="293" y="147"/>
                  <a:pt x="294" y="147"/>
                  <a:pt x="293" y="146"/>
                </a:cubicBezTo>
                <a:cubicBezTo>
                  <a:pt x="291" y="146"/>
                  <a:pt x="291" y="146"/>
                  <a:pt x="291" y="145"/>
                </a:cubicBezTo>
                <a:cubicBezTo>
                  <a:pt x="291" y="144"/>
                  <a:pt x="290" y="144"/>
                  <a:pt x="290" y="144"/>
                </a:cubicBezTo>
                <a:cubicBezTo>
                  <a:pt x="290" y="144"/>
                  <a:pt x="289" y="144"/>
                  <a:pt x="289" y="145"/>
                </a:cubicBezTo>
                <a:cubicBezTo>
                  <a:pt x="289" y="145"/>
                  <a:pt x="288" y="145"/>
                  <a:pt x="288" y="145"/>
                </a:cubicBezTo>
                <a:cubicBezTo>
                  <a:pt x="288" y="145"/>
                  <a:pt x="287" y="146"/>
                  <a:pt x="287" y="146"/>
                </a:cubicBezTo>
                <a:cubicBezTo>
                  <a:pt x="287" y="146"/>
                  <a:pt x="285" y="146"/>
                  <a:pt x="285" y="146"/>
                </a:cubicBezTo>
                <a:cubicBezTo>
                  <a:pt x="284" y="146"/>
                  <a:pt x="285" y="146"/>
                  <a:pt x="284" y="146"/>
                </a:cubicBezTo>
                <a:cubicBezTo>
                  <a:pt x="284" y="146"/>
                  <a:pt x="283" y="146"/>
                  <a:pt x="283" y="147"/>
                </a:cubicBezTo>
                <a:cubicBezTo>
                  <a:pt x="283" y="147"/>
                  <a:pt x="282" y="146"/>
                  <a:pt x="282" y="147"/>
                </a:cubicBezTo>
                <a:cubicBezTo>
                  <a:pt x="282" y="147"/>
                  <a:pt x="281" y="147"/>
                  <a:pt x="281" y="147"/>
                </a:cubicBezTo>
                <a:cubicBezTo>
                  <a:pt x="281" y="147"/>
                  <a:pt x="280" y="147"/>
                  <a:pt x="280" y="147"/>
                </a:cubicBezTo>
                <a:cubicBezTo>
                  <a:pt x="280" y="147"/>
                  <a:pt x="280" y="148"/>
                  <a:pt x="280" y="148"/>
                </a:cubicBezTo>
                <a:cubicBezTo>
                  <a:pt x="280" y="148"/>
                  <a:pt x="279" y="148"/>
                  <a:pt x="279" y="148"/>
                </a:cubicBezTo>
                <a:cubicBezTo>
                  <a:pt x="278" y="148"/>
                  <a:pt x="278" y="148"/>
                  <a:pt x="277" y="148"/>
                </a:cubicBezTo>
                <a:cubicBezTo>
                  <a:pt x="276" y="148"/>
                  <a:pt x="276" y="148"/>
                  <a:pt x="275" y="148"/>
                </a:cubicBezTo>
                <a:cubicBezTo>
                  <a:pt x="275" y="148"/>
                  <a:pt x="275" y="148"/>
                  <a:pt x="275" y="148"/>
                </a:cubicBezTo>
                <a:cubicBezTo>
                  <a:pt x="275" y="147"/>
                  <a:pt x="273" y="148"/>
                  <a:pt x="273" y="148"/>
                </a:cubicBezTo>
                <a:cubicBezTo>
                  <a:pt x="272" y="148"/>
                  <a:pt x="270" y="147"/>
                  <a:pt x="270" y="147"/>
                </a:cubicBezTo>
                <a:cubicBezTo>
                  <a:pt x="270" y="146"/>
                  <a:pt x="270" y="145"/>
                  <a:pt x="270" y="145"/>
                </a:cubicBezTo>
                <a:cubicBezTo>
                  <a:pt x="270" y="144"/>
                  <a:pt x="270" y="144"/>
                  <a:pt x="271" y="144"/>
                </a:cubicBezTo>
                <a:cubicBezTo>
                  <a:pt x="271" y="143"/>
                  <a:pt x="271" y="143"/>
                  <a:pt x="271" y="142"/>
                </a:cubicBezTo>
                <a:cubicBezTo>
                  <a:pt x="271" y="143"/>
                  <a:pt x="272" y="143"/>
                  <a:pt x="273" y="143"/>
                </a:cubicBezTo>
                <a:cubicBezTo>
                  <a:pt x="274" y="143"/>
                  <a:pt x="274" y="143"/>
                  <a:pt x="275" y="142"/>
                </a:cubicBezTo>
                <a:cubicBezTo>
                  <a:pt x="274" y="141"/>
                  <a:pt x="273" y="141"/>
                  <a:pt x="273" y="140"/>
                </a:cubicBezTo>
                <a:cubicBezTo>
                  <a:pt x="273" y="139"/>
                  <a:pt x="273" y="140"/>
                  <a:pt x="272" y="139"/>
                </a:cubicBezTo>
                <a:cubicBezTo>
                  <a:pt x="272" y="139"/>
                  <a:pt x="271" y="138"/>
                  <a:pt x="271" y="138"/>
                </a:cubicBezTo>
                <a:cubicBezTo>
                  <a:pt x="270" y="138"/>
                  <a:pt x="270" y="138"/>
                  <a:pt x="269" y="138"/>
                </a:cubicBezTo>
                <a:cubicBezTo>
                  <a:pt x="269" y="137"/>
                  <a:pt x="269" y="137"/>
                  <a:pt x="268" y="137"/>
                </a:cubicBezTo>
                <a:cubicBezTo>
                  <a:pt x="267" y="137"/>
                  <a:pt x="266" y="137"/>
                  <a:pt x="265" y="137"/>
                </a:cubicBezTo>
                <a:cubicBezTo>
                  <a:pt x="265" y="138"/>
                  <a:pt x="266" y="138"/>
                  <a:pt x="266" y="139"/>
                </a:cubicBezTo>
                <a:cubicBezTo>
                  <a:pt x="265" y="139"/>
                  <a:pt x="265" y="139"/>
                  <a:pt x="264" y="139"/>
                </a:cubicBezTo>
                <a:cubicBezTo>
                  <a:pt x="264" y="139"/>
                  <a:pt x="264" y="139"/>
                  <a:pt x="263" y="139"/>
                </a:cubicBezTo>
                <a:cubicBezTo>
                  <a:pt x="263" y="138"/>
                  <a:pt x="263" y="138"/>
                  <a:pt x="262" y="138"/>
                </a:cubicBezTo>
                <a:cubicBezTo>
                  <a:pt x="262" y="138"/>
                  <a:pt x="262" y="138"/>
                  <a:pt x="261" y="138"/>
                </a:cubicBezTo>
                <a:cubicBezTo>
                  <a:pt x="261" y="138"/>
                  <a:pt x="260" y="138"/>
                  <a:pt x="260" y="138"/>
                </a:cubicBezTo>
                <a:cubicBezTo>
                  <a:pt x="259" y="137"/>
                  <a:pt x="258" y="137"/>
                  <a:pt x="258" y="136"/>
                </a:cubicBezTo>
                <a:cubicBezTo>
                  <a:pt x="257" y="137"/>
                  <a:pt x="256" y="137"/>
                  <a:pt x="256" y="136"/>
                </a:cubicBezTo>
                <a:cubicBezTo>
                  <a:pt x="256" y="135"/>
                  <a:pt x="254" y="136"/>
                  <a:pt x="254" y="136"/>
                </a:cubicBezTo>
                <a:cubicBezTo>
                  <a:pt x="253" y="135"/>
                  <a:pt x="254" y="135"/>
                  <a:pt x="253" y="135"/>
                </a:cubicBezTo>
                <a:cubicBezTo>
                  <a:pt x="253" y="135"/>
                  <a:pt x="253" y="134"/>
                  <a:pt x="253" y="134"/>
                </a:cubicBezTo>
                <a:cubicBezTo>
                  <a:pt x="253" y="134"/>
                  <a:pt x="252" y="134"/>
                  <a:pt x="251" y="134"/>
                </a:cubicBezTo>
                <a:cubicBezTo>
                  <a:pt x="251" y="134"/>
                  <a:pt x="250" y="134"/>
                  <a:pt x="250" y="134"/>
                </a:cubicBezTo>
                <a:cubicBezTo>
                  <a:pt x="250" y="134"/>
                  <a:pt x="249" y="134"/>
                  <a:pt x="249" y="134"/>
                </a:cubicBezTo>
                <a:cubicBezTo>
                  <a:pt x="249" y="134"/>
                  <a:pt x="249" y="133"/>
                  <a:pt x="249" y="133"/>
                </a:cubicBezTo>
                <a:cubicBezTo>
                  <a:pt x="249" y="133"/>
                  <a:pt x="248" y="133"/>
                  <a:pt x="248" y="133"/>
                </a:cubicBezTo>
                <a:cubicBezTo>
                  <a:pt x="247" y="133"/>
                  <a:pt x="248" y="133"/>
                  <a:pt x="247" y="133"/>
                </a:cubicBezTo>
                <a:cubicBezTo>
                  <a:pt x="247" y="133"/>
                  <a:pt x="247" y="133"/>
                  <a:pt x="246" y="132"/>
                </a:cubicBezTo>
                <a:cubicBezTo>
                  <a:pt x="246" y="132"/>
                  <a:pt x="245" y="132"/>
                  <a:pt x="245" y="132"/>
                </a:cubicBezTo>
                <a:cubicBezTo>
                  <a:pt x="245" y="132"/>
                  <a:pt x="245" y="131"/>
                  <a:pt x="245" y="131"/>
                </a:cubicBezTo>
                <a:cubicBezTo>
                  <a:pt x="244" y="131"/>
                  <a:pt x="243" y="130"/>
                  <a:pt x="241" y="130"/>
                </a:cubicBezTo>
                <a:cubicBezTo>
                  <a:pt x="240" y="130"/>
                  <a:pt x="241" y="129"/>
                  <a:pt x="240" y="129"/>
                </a:cubicBezTo>
                <a:cubicBezTo>
                  <a:pt x="240" y="129"/>
                  <a:pt x="240" y="129"/>
                  <a:pt x="239" y="129"/>
                </a:cubicBezTo>
                <a:cubicBezTo>
                  <a:pt x="239" y="129"/>
                  <a:pt x="239" y="129"/>
                  <a:pt x="239" y="129"/>
                </a:cubicBezTo>
                <a:cubicBezTo>
                  <a:pt x="238" y="129"/>
                  <a:pt x="236" y="128"/>
                  <a:pt x="236" y="129"/>
                </a:cubicBezTo>
                <a:cubicBezTo>
                  <a:pt x="235" y="129"/>
                  <a:pt x="235" y="129"/>
                  <a:pt x="234" y="129"/>
                </a:cubicBezTo>
                <a:cubicBezTo>
                  <a:pt x="234" y="130"/>
                  <a:pt x="234" y="130"/>
                  <a:pt x="233" y="130"/>
                </a:cubicBezTo>
                <a:cubicBezTo>
                  <a:pt x="232" y="131"/>
                  <a:pt x="231" y="132"/>
                  <a:pt x="230" y="132"/>
                </a:cubicBezTo>
                <a:cubicBezTo>
                  <a:pt x="230" y="132"/>
                  <a:pt x="230" y="132"/>
                  <a:pt x="230" y="131"/>
                </a:cubicBezTo>
                <a:cubicBezTo>
                  <a:pt x="230" y="131"/>
                  <a:pt x="230" y="131"/>
                  <a:pt x="230" y="131"/>
                </a:cubicBezTo>
                <a:cubicBezTo>
                  <a:pt x="228" y="130"/>
                  <a:pt x="229" y="130"/>
                  <a:pt x="229" y="128"/>
                </a:cubicBezTo>
                <a:cubicBezTo>
                  <a:pt x="228" y="129"/>
                  <a:pt x="228" y="128"/>
                  <a:pt x="228" y="127"/>
                </a:cubicBezTo>
                <a:cubicBezTo>
                  <a:pt x="229" y="127"/>
                  <a:pt x="229" y="127"/>
                  <a:pt x="229" y="127"/>
                </a:cubicBezTo>
                <a:cubicBezTo>
                  <a:pt x="230" y="126"/>
                  <a:pt x="229" y="126"/>
                  <a:pt x="228" y="126"/>
                </a:cubicBezTo>
                <a:cubicBezTo>
                  <a:pt x="228" y="126"/>
                  <a:pt x="228" y="126"/>
                  <a:pt x="227" y="127"/>
                </a:cubicBezTo>
                <a:cubicBezTo>
                  <a:pt x="226" y="127"/>
                  <a:pt x="227" y="128"/>
                  <a:pt x="227" y="128"/>
                </a:cubicBezTo>
                <a:cubicBezTo>
                  <a:pt x="227" y="129"/>
                  <a:pt x="227" y="129"/>
                  <a:pt x="226" y="129"/>
                </a:cubicBezTo>
                <a:cubicBezTo>
                  <a:pt x="227" y="129"/>
                  <a:pt x="227" y="130"/>
                  <a:pt x="227" y="129"/>
                </a:cubicBezTo>
                <a:cubicBezTo>
                  <a:pt x="227" y="130"/>
                  <a:pt x="227" y="132"/>
                  <a:pt x="226" y="132"/>
                </a:cubicBezTo>
                <a:cubicBezTo>
                  <a:pt x="226" y="132"/>
                  <a:pt x="226" y="133"/>
                  <a:pt x="226" y="133"/>
                </a:cubicBezTo>
                <a:cubicBezTo>
                  <a:pt x="226" y="133"/>
                  <a:pt x="225" y="134"/>
                  <a:pt x="225" y="133"/>
                </a:cubicBezTo>
                <a:cubicBezTo>
                  <a:pt x="225" y="133"/>
                  <a:pt x="224" y="132"/>
                  <a:pt x="223" y="132"/>
                </a:cubicBezTo>
                <a:cubicBezTo>
                  <a:pt x="223" y="131"/>
                  <a:pt x="223" y="131"/>
                  <a:pt x="223" y="131"/>
                </a:cubicBezTo>
                <a:cubicBezTo>
                  <a:pt x="223" y="131"/>
                  <a:pt x="223" y="131"/>
                  <a:pt x="223" y="131"/>
                </a:cubicBezTo>
                <a:cubicBezTo>
                  <a:pt x="222" y="130"/>
                  <a:pt x="221" y="130"/>
                  <a:pt x="220" y="129"/>
                </a:cubicBezTo>
                <a:cubicBezTo>
                  <a:pt x="220" y="128"/>
                  <a:pt x="218" y="128"/>
                  <a:pt x="218" y="127"/>
                </a:cubicBezTo>
                <a:cubicBezTo>
                  <a:pt x="218" y="127"/>
                  <a:pt x="218" y="127"/>
                  <a:pt x="218" y="127"/>
                </a:cubicBezTo>
                <a:cubicBezTo>
                  <a:pt x="218" y="126"/>
                  <a:pt x="217" y="127"/>
                  <a:pt x="217" y="126"/>
                </a:cubicBezTo>
                <a:cubicBezTo>
                  <a:pt x="217" y="126"/>
                  <a:pt x="217" y="126"/>
                  <a:pt x="216" y="125"/>
                </a:cubicBezTo>
                <a:cubicBezTo>
                  <a:pt x="216" y="125"/>
                  <a:pt x="216" y="125"/>
                  <a:pt x="216" y="125"/>
                </a:cubicBezTo>
                <a:cubicBezTo>
                  <a:pt x="216" y="125"/>
                  <a:pt x="215" y="125"/>
                  <a:pt x="215" y="124"/>
                </a:cubicBezTo>
                <a:cubicBezTo>
                  <a:pt x="213" y="124"/>
                  <a:pt x="213" y="123"/>
                  <a:pt x="212" y="122"/>
                </a:cubicBezTo>
                <a:cubicBezTo>
                  <a:pt x="211" y="122"/>
                  <a:pt x="211" y="122"/>
                  <a:pt x="211" y="121"/>
                </a:cubicBezTo>
                <a:cubicBezTo>
                  <a:pt x="210" y="121"/>
                  <a:pt x="210" y="120"/>
                  <a:pt x="210" y="119"/>
                </a:cubicBezTo>
                <a:cubicBezTo>
                  <a:pt x="209" y="119"/>
                  <a:pt x="207" y="118"/>
                  <a:pt x="207" y="117"/>
                </a:cubicBezTo>
                <a:cubicBezTo>
                  <a:pt x="206" y="118"/>
                  <a:pt x="205" y="118"/>
                  <a:pt x="205" y="119"/>
                </a:cubicBezTo>
                <a:cubicBezTo>
                  <a:pt x="206" y="120"/>
                  <a:pt x="205" y="121"/>
                  <a:pt x="206" y="121"/>
                </a:cubicBezTo>
                <a:cubicBezTo>
                  <a:pt x="206" y="122"/>
                  <a:pt x="205" y="124"/>
                  <a:pt x="205" y="125"/>
                </a:cubicBezTo>
                <a:cubicBezTo>
                  <a:pt x="204" y="125"/>
                  <a:pt x="203" y="127"/>
                  <a:pt x="203" y="127"/>
                </a:cubicBezTo>
                <a:cubicBezTo>
                  <a:pt x="202" y="127"/>
                  <a:pt x="202" y="127"/>
                  <a:pt x="201" y="127"/>
                </a:cubicBezTo>
                <a:cubicBezTo>
                  <a:pt x="200" y="127"/>
                  <a:pt x="201" y="127"/>
                  <a:pt x="200" y="127"/>
                </a:cubicBezTo>
                <a:cubicBezTo>
                  <a:pt x="199" y="127"/>
                  <a:pt x="200" y="128"/>
                  <a:pt x="199" y="128"/>
                </a:cubicBezTo>
                <a:cubicBezTo>
                  <a:pt x="198" y="128"/>
                  <a:pt x="197" y="128"/>
                  <a:pt x="197" y="128"/>
                </a:cubicBezTo>
                <a:cubicBezTo>
                  <a:pt x="197" y="129"/>
                  <a:pt x="197" y="128"/>
                  <a:pt x="197" y="129"/>
                </a:cubicBezTo>
                <a:cubicBezTo>
                  <a:pt x="197" y="129"/>
                  <a:pt x="197" y="130"/>
                  <a:pt x="197" y="130"/>
                </a:cubicBezTo>
                <a:cubicBezTo>
                  <a:pt x="197" y="131"/>
                  <a:pt x="195" y="131"/>
                  <a:pt x="195" y="131"/>
                </a:cubicBezTo>
                <a:cubicBezTo>
                  <a:pt x="195" y="132"/>
                  <a:pt x="194" y="132"/>
                  <a:pt x="194" y="132"/>
                </a:cubicBezTo>
                <a:cubicBezTo>
                  <a:pt x="193" y="132"/>
                  <a:pt x="193" y="132"/>
                  <a:pt x="193" y="132"/>
                </a:cubicBezTo>
                <a:cubicBezTo>
                  <a:pt x="193" y="132"/>
                  <a:pt x="193" y="132"/>
                  <a:pt x="193" y="133"/>
                </a:cubicBezTo>
                <a:cubicBezTo>
                  <a:pt x="192" y="133"/>
                  <a:pt x="192" y="133"/>
                  <a:pt x="192" y="132"/>
                </a:cubicBezTo>
                <a:cubicBezTo>
                  <a:pt x="192" y="131"/>
                  <a:pt x="191" y="131"/>
                  <a:pt x="190" y="132"/>
                </a:cubicBezTo>
                <a:cubicBezTo>
                  <a:pt x="190" y="132"/>
                  <a:pt x="190" y="133"/>
                  <a:pt x="191" y="133"/>
                </a:cubicBezTo>
                <a:cubicBezTo>
                  <a:pt x="190" y="133"/>
                  <a:pt x="190" y="133"/>
                  <a:pt x="189" y="133"/>
                </a:cubicBezTo>
                <a:cubicBezTo>
                  <a:pt x="188" y="134"/>
                  <a:pt x="189" y="134"/>
                  <a:pt x="188" y="134"/>
                </a:cubicBezTo>
                <a:cubicBezTo>
                  <a:pt x="187" y="134"/>
                  <a:pt x="187" y="135"/>
                  <a:pt x="187" y="135"/>
                </a:cubicBezTo>
                <a:cubicBezTo>
                  <a:pt x="187" y="135"/>
                  <a:pt x="186" y="136"/>
                  <a:pt x="186" y="136"/>
                </a:cubicBezTo>
                <a:cubicBezTo>
                  <a:pt x="186" y="137"/>
                  <a:pt x="186" y="137"/>
                  <a:pt x="186" y="138"/>
                </a:cubicBezTo>
                <a:cubicBezTo>
                  <a:pt x="185" y="138"/>
                  <a:pt x="184" y="138"/>
                  <a:pt x="183" y="139"/>
                </a:cubicBezTo>
                <a:cubicBezTo>
                  <a:pt x="183" y="138"/>
                  <a:pt x="183" y="137"/>
                  <a:pt x="183" y="137"/>
                </a:cubicBezTo>
                <a:cubicBezTo>
                  <a:pt x="184" y="136"/>
                  <a:pt x="184" y="136"/>
                  <a:pt x="185" y="136"/>
                </a:cubicBezTo>
                <a:cubicBezTo>
                  <a:pt x="186" y="135"/>
                  <a:pt x="185" y="134"/>
                  <a:pt x="185" y="133"/>
                </a:cubicBezTo>
                <a:cubicBezTo>
                  <a:pt x="186" y="133"/>
                  <a:pt x="186" y="133"/>
                  <a:pt x="187" y="133"/>
                </a:cubicBezTo>
                <a:cubicBezTo>
                  <a:pt x="187" y="132"/>
                  <a:pt x="187" y="131"/>
                  <a:pt x="187" y="131"/>
                </a:cubicBezTo>
                <a:cubicBezTo>
                  <a:pt x="188" y="130"/>
                  <a:pt x="188" y="130"/>
                  <a:pt x="189" y="130"/>
                </a:cubicBezTo>
                <a:cubicBezTo>
                  <a:pt x="190" y="129"/>
                  <a:pt x="192" y="129"/>
                  <a:pt x="193" y="129"/>
                </a:cubicBezTo>
                <a:cubicBezTo>
                  <a:pt x="194" y="129"/>
                  <a:pt x="195" y="129"/>
                  <a:pt x="195" y="129"/>
                </a:cubicBezTo>
                <a:cubicBezTo>
                  <a:pt x="197" y="128"/>
                  <a:pt x="195" y="128"/>
                  <a:pt x="196" y="128"/>
                </a:cubicBezTo>
                <a:cubicBezTo>
                  <a:pt x="197" y="127"/>
                  <a:pt x="196" y="128"/>
                  <a:pt x="197" y="127"/>
                </a:cubicBezTo>
                <a:cubicBezTo>
                  <a:pt x="197" y="127"/>
                  <a:pt x="197" y="127"/>
                  <a:pt x="198" y="126"/>
                </a:cubicBezTo>
                <a:cubicBezTo>
                  <a:pt x="198" y="126"/>
                  <a:pt x="198" y="126"/>
                  <a:pt x="198" y="126"/>
                </a:cubicBezTo>
                <a:cubicBezTo>
                  <a:pt x="198" y="126"/>
                  <a:pt x="199" y="126"/>
                  <a:pt x="199" y="126"/>
                </a:cubicBezTo>
                <a:cubicBezTo>
                  <a:pt x="199" y="126"/>
                  <a:pt x="199" y="125"/>
                  <a:pt x="199" y="125"/>
                </a:cubicBezTo>
                <a:cubicBezTo>
                  <a:pt x="200" y="125"/>
                  <a:pt x="200" y="124"/>
                  <a:pt x="200" y="123"/>
                </a:cubicBezTo>
                <a:cubicBezTo>
                  <a:pt x="199" y="123"/>
                  <a:pt x="198" y="124"/>
                  <a:pt x="198" y="124"/>
                </a:cubicBezTo>
                <a:cubicBezTo>
                  <a:pt x="198" y="123"/>
                  <a:pt x="195" y="123"/>
                  <a:pt x="195" y="123"/>
                </a:cubicBezTo>
                <a:cubicBezTo>
                  <a:pt x="193" y="123"/>
                  <a:pt x="194" y="123"/>
                  <a:pt x="193" y="124"/>
                </a:cubicBezTo>
                <a:cubicBezTo>
                  <a:pt x="193" y="125"/>
                  <a:pt x="193" y="126"/>
                  <a:pt x="193" y="126"/>
                </a:cubicBezTo>
                <a:cubicBezTo>
                  <a:pt x="192" y="127"/>
                  <a:pt x="192" y="127"/>
                  <a:pt x="191" y="127"/>
                </a:cubicBezTo>
                <a:cubicBezTo>
                  <a:pt x="191" y="127"/>
                  <a:pt x="191" y="127"/>
                  <a:pt x="191" y="127"/>
                </a:cubicBezTo>
                <a:cubicBezTo>
                  <a:pt x="191" y="126"/>
                  <a:pt x="190" y="127"/>
                  <a:pt x="190" y="126"/>
                </a:cubicBezTo>
                <a:cubicBezTo>
                  <a:pt x="189" y="126"/>
                  <a:pt x="188" y="127"/>
                  <a:pt x="188" y="127"/>
                </a:cubicBezTo>
                <a:cubicBezTo>
                  <a:pt x="188" y="127"/>
                  <a:pt x="187" y="127"/>
                  <a:pt x="186" y="127"/>
                </a:cubicBezTo>
                <a:cubicBezTo>
                  <a:pt x="186" y="128"/>
                  <a:pt x="186" y="128"/>
                  <a:pt x="185" y="128"/>
                </a:cubicBezTo>
                <a:cubicBezTo>
                  <a:pt x="184" y="128"/>
                  <a:pt x="184" y="129"/>
                  <a:pt x="184" y="130"/>
                </a:cubicBezTo>
                <a:cubicBezTo>
                  <a:pt x="184" y="130"/>
                  <a:pt x="184" y="130"/>
                  <a:pt x="183" y="131"/>
                </a:cubicBezTo>
                <a:cubicBezTo>
                  <a:pt x="182" y="131"/>
                  <a:pt x="181" y="131"/>
                  <a:pt x="180" y="131"/>
                </a:cubicBezTo>
                <a:cubicBezTo>
                  <a:pt x="180" y="129"/>
                  <a:pt x="179" y="130"/>
                  <a:pt x="178" y="129"/>
                </a:cubicBezTo>
                <a:cubicBezTo>
                  <a:pt x="177" y="129"/>
                  <a:pt x="177" y="129"/>
                  <a:pt x="177" y="128"/>
                </a:cubicBezTo>
                <a:cubicBezTo>
                  <a:pt x="177" y="128"/>
                  <a:pt x="177" y="128"/>
                  <a:pt x="177" y="128"/>
                </a:cubicBezTo>
                <a:cubicBezTo>
                  <a:pt x="177" y="128"/>
                  <a:pt x="177" y="129"/>
                  <a:pt x="177" y="130"/>
                </a:cubicBezTo>
                <a:cubicBezTo>
                  <a:pt x="177" y="130"/>
                  <a:pt x="177" y="130"/>
                  <a:pt x="177" y="130"/>
                </a:cubicBezTo>
                <a:cubicBezTo>
                  <a:pt x="176" y="130"/>
                  <a:pt x="176" y="131"/>
                  <a:pt x="176" y="132"/>
                </a:cubicBezTo>
                <a:cubicBezTo>
                  <a:pt x="175" y="132"/>
                  <a:pt x="175" y="132"/>
                  <a:pt x="174" y="132"/>
                </a:cubicBezTo>
                <a:cubicBezTo>
                  <a:pt x="174" y="132"/>
                  <a:pt x="174" y="134"/>
                  <a:pt x="174" y="134"/>
                </a:cubicBezTo>
                <a:cubicBezTo>
                  <a:pt x="173" y="134"/>
                  <a:pt x="173" y="134"/>
                  <a:pt x="173" y="133"/>
                </a:cubicBezTo>
                <a:cubicBezTo>
                  <a:pt x="172" y="132"/>
                  <a:pt x="171" y="133"/>
                  <a:pt x="171" y="133"/>
                </a:cubicBezTo>
                <a:cubicBezTo>
                  <a:pt x="171" y="133"/>
                  <a:pt x="170" y="133"/>
                  <a:pt x="170" y="133"/>
                </a:cubicBezTo>
                <a:cubicBezTo>
                  <a:pt x="170" y="134"/>
                  <a:pt x="170" y="135"/>
                  <a:pt x="171" y="135"/>
                </a:cubicBezTo>
                <a:cubicBezTo>
                  <a:pt x="171" y="135"/>
                  <a:pt x="172" y="135"/>
                  <a:pt x="172" y="135"/>
                </a:cubicBezTo>
                <a:cubicBezTo>
                  <a:pt x="172" y="135"/>
                  <a:pt x="172" y="136"/>
                  <a:pt x="173" y="136"/>
                </a:cubicBezTo>
                <a:cubicBezTo>
                  <a:pt x="173" y="136"/>
                  <a:pt x="173" y="137"/>
                  <a:pt x="173" y="137"/>
                </a:cubicBezTo>
                <a:cubicBezTo>
                  <a:pt x="173" y="138"/>
                  <a:pt x="172" y="137"/>
                  <a:pt x="173" y="139"/>
                </a:cubicBezTo>
                <a:cubicBezTo>
                  <a:pt x="172" y="139"/>
                  <a:pt x="172" y="139"/>
                  <a:pt x="172" y="138"/>
                </a:cubicBezTo>
                <a:cubicBezTo>
                  <a:pt x="172" y="137"/>
                  <a:pt x="171" y="137"/>
                  <a:pt x="171" y="136"/>
                </a:cubicBezTo>
                <a:cubicBezTo>
                  <a:pt x="171" y="136"/>
                  <a:pt x="170" y="136"/>
                  <a:pt x="170" y="135"/>
                </a:cubicBezTo>
                <a:cubicBezTo>
                  <a:pt x="170" y="135"/>
                  <a:pt x="169" y="135"/>
                  <a:pt x="169" y="135"/>
                </a:cubicBezTo>
                <a:cubicBezTo>
                  <a:pt x="169" y="135"/>
                  <a:pt x="169" y="135"/>
                  <a:pt x="168" y="135"/>
                </a:cubicBezTo>
                <a:cubicBezTo>
                  <a:pt x="167" y="134"/>
                  <a:pt x="166" y="134"/>
                  <a:pt x="165" y="133"/>
                </a:cubicBezTo>
                <a:cubicBezTo>
                  <a:pt x="164" y="133"/>
                  <a:pt x="165" y="133"/>
                  <a:pt x="164" y="133"/>
                </a:cubicBezTo>
                <a:cubicBezTo>
                  <a:pt x="164" y="133"/>
                  <a:pt x="164" y="133"/>
                  <a:pt x="163" y="133"/>
                </a:cubicBezTo>
                <a:cubicBezTo>
                  <a:pt x="162" y="133"/>
                  <a:pt x="162" y="132"/>
                  <a:pt x="161" y="131"/>
                </a:cubicBezTo>
                <a:cubicBezTo>
                  <a:pt x="161" y="131"/>
                  <a:pt x="161" y="131"/>
                  <a:pt x="160" y="131"/>
                </a:cubicBezTo>
                <a:cubicBezTo>
                  <a:pt x="158" y="131"/>
                  <a:pt x="160" y="131"/>
                  <a:pt x="159" y="131"/>
                </a:cubicBezTo>
                <a:cubicBezTo>
                  <a:pt x="159" y="131"/>
                  <a:pt x="158" y="131"/>
                  <a:pt x="158" y="130"/>
                </a:cubicBezTo>
                <a:cubicBezTo>
                  <a:pt x="158" y="129"/>
                  <a:pt x="158" y="129"/>
                  <a:pt x="157" y="129"/>
                </a:cubicBezTo>
                <a:cubicBezTo>
                  <a:pt x="156" y="129"/>
                  <a:pt x="156" y="129"/>
                  <a:pt x="155" y="128"/>
                </a:cubicBezTo>
                <a:cubicBezTo>
                  <a:pt x="155" y="128"/>
                  <a:pt x="154" y="128"/>
                  <a:pt x="153" y="128"/>
                </a:cubicBezTo>
                <a:cubicBezTo>
                  <a:pt x="152" y="128"/>
                  <a:pt x="149" y="127"/>
                  <a:pt x="149" y="128"/>
                </a:cubicBezTo>
                <a:cubicBezTo>
                  <a:pt x="148" y="129"/>
                  <a:pt x="148" y="127"/>
                  <a:pt x="147" y="127"/>
                </a:cubicBezTo>
                <a:cubicBezTo>
                  <a:pt x="147" y="127"/>
                  <a:pt x="146" y="128"/>
                  <a:pt x="146" y="127"/>
                </a:cubicBezTo>
                <a:cubicBezTo>
                  <a:pt x="146" y="127"/>
                  <a:pt x="144" y="127"/>
                  <a:pt x="144" y="127"/>
                </a:cubicBezTo>
                <a:cubicBezTo>
                  <a:pt x="143" y="125"/>
                  <a:pt x="142" y="126"/>
                  <a:pt x="141" y="125"/>
                </a:cubicBezTo>
                <a:cubicBezTo>
                  <a:pt x="140" y="125"/>
                  <a:pt x="140" y="125"/>
                  <a:pt x="140" y="124"/>
                </a:cubicBezTo>
                <a:cubicBezTo>
                  <a:pt x="139" y="124"/>
                  <a:pt x="139" y="125"/>
                  <a:pt x="138" y="125"/>
                </a:cubicBezTo>
                <a:cubicBezTo>
                  <a:pt x="138" y="125"/>
                  <a:pt x="138" y="125"/>
                  <a:pt x="137" y="125"/>
                </a:cubicBezTo>
                <a:cubicBezTo>
                  <a:pt x="137" y="125"/>
                  <a:pt x="137" y="125"/>
                  <a:pt x="136" y="125"/>
                </a:cubicBezTo>
                <a:cubicBezTo>
                  <a:pt x="135" y="125"/>
                  <a:pt x="135" y="124"/>
                  <a:pt x="134" y="124"/>
                </a:cubicBezTo>
                <a:cubicBezTo>
                  <a:pt x="134" y="124"/>
                  <a:pt x="133" y="125"/>
                  <a:pt x="133" y="125"/>
                </a:cubicBezTo>
                <a:cubicBezTo>
                  <a:pt x="133" y="126"/>
                  <a:pt x="133" y="127"/>
                  <a:pt x="132" y="126"/>
                </a:cubicBezTo>
                <a:cubicBezTo>
                  <a:pt x="132" y="126"/>
                  <a:pt x="132" y="125"/>
                  <a:pt x="131" y="125"/>
                </a:cubicBezTo>
                <a:cubicBezTo>
                  <a:pt x="131" y="125"/>
                  <a:pt x="131" y="126"/>
                  <a:pt x="130" y="126"/>
                </a:cubicBezTo>
                <a:cubicBezTo>
                  <a:pt x="130" y="126"/>
                  <a:pt x="130" y="126"/>
                  <a:pt x="130" y="125"/>
                </a:cubicBezTo>
                <a:cubicBezTo>
                  <a:pt x="129" y="124"/>
                  <a:pt x="129" y="125"/>
                  <a:pt x="128" y="125"/>
                </a:cubicBezTo>
                <a:cubicBezTo>
                  <a:pt x="127" y="125"/>
                  <a:pt x="126" y="125"/>
                  <a:pt x="125" y="124"/>
                </a:cubicBezTo>
                <a:cubicBezTo>
                  <a:pt x="124" y="124"/>
                  <a:pt x="123" y="125"/>
                  <a:pt x="123" y="123"/>
                </a:cubicBezTo>
                <a:cubicBezTo>
                  <a:pt x="122" y="123"/>
                  <a:pt x="120" y="123"/>
                  <a:pt x="120" y="124"/>
                </a:cubicBezTo>
                <a:cubicBezTo>
                  <a:pt x="120" y="124"/>
                  <a:pt x="120" y="123"/>
                  <a:pt x="119" y="123"/>
                </a:cubicBezTo>
                <a:cubicBezTo>
                  <a:pt x="119" y="123"/>
                  <a:pt x="118" y="123"/>
                  <a:pt x="118" y="123"/>
                </a:cubicBezTo>
                <a:cubicBezTo>
                  <a:pt x="117" y="123"/>
                  <a:pt x="115" y="124"/>
                  <a:pt x="116" y="123"/>
                </a:cubicBezTo>
                <a:cubicBezTo>
                  <a:pt x="115" y="123"/>
                  <a:pt x="114" y="123"/>
                  <a:pt x="113" y="123"/>
                </a:cubicBezTo>
                <a:cubicBezTo>
                  <a:pt x="112" y="123"/>
                  <a:pt x="112" y="123"/>
                  <a:pt x="112" y="123"/>
                </a:cubicBezTo>
                <a:cubicBezTo>
                  <a:pt x="111" y="123"/>
                  <a:pt x="110" y="123"/>
                  <a:pt x="110" y="123"/>
                </a:cubicBezTo>
                <a:cubicBezTo>
                  <a:pt x="109" y="122"/>
                  <a:pt x="109" y="123"/>
                  <a:pt x="108" y="122"/>
                </a:cubicBezTo>
                <a:cubicBezTo>
                  <a:pt x="108" y="122"/>
                  <a:pt x="108" y="122"/>
                  <a:pt x="107" y="121"/>
                </a:cubicBezTo>
                <a:cubicBezTo>
                  <a:pt x="107" y="121"/>
                  <a:pt x="106" y="122"/>
                  <a:pt x="106" y="121"/>
                </a:cubicBezTo>
                <a:cubicBezTo>
                  <a:pt x="104" y="120"/>
                  <a:pt x="104" y="122"/>
                  <a:pt x="102" y="122"/>
                </a:cubicBezTo>
                <a:cubicBezTo>
                  <a:pt x="101" y="122"/>
                  <a:pt x="101" y="122"/>
                  <a:pt x="99" y="123"/>
                </a:cubicBezTo>
                <a:cubicBezTo>
                  <a:pt x="99" y="122"/>
                  <a:pt x="98" y="122"/>
                  <a:pt x="97" y="122"/>
                </a:cubicBezTo>
                <a:cubicBezTo>
                  <a:pt x="97" y="122"/>
                  <a:pt x="97" y="122"/>
                  <a:pt x="96" y="122"/>
                </a:cubicBezTo>
                <a:cubicBezTo>
                  <a:pt x="96" y="122"/>
                  <a:pt x="96" y="122"/>
                  <a:pt x="95" y="122"/>
                </a:cubicBezTo>
                <a:cubicBezTo>
                  <a:pt x="95" y="122"/>
                  <a:pt x="96" y="121"/>
                  <a:pt x="95" y="121"/>
                </a:cubicBezTo>
                <a:cubicBezTo>
                  <a:pt x="94" y="121"/>
                  <a:pt x="93" y="121"/>
                  <a:pt x="92" y="121"/>
                </a:cubicBezTo>
                <a:cubicBezTo>
                  <a:pt x="92" y="121"/>
                  <a:pt x="93" y="121"/>
                  <a:pt x="92" y="121"/>
                </a:cubicBezTo>
                <a:cubicBezTo>
                  <a:pt x="92" y="121"/>
                  <a:pt x="92" y="121"/>
                  <a:pt x="92" y="121"/>
                </a:cubicBezTo>
                <a:cubicBezTo>
                  <a:pt x="91" y="121"/>
                  <a:pt x="90" y="121"/>
                  <a:pt x="90" y="121"/>
                </a:cubicBezTo>
                <a:cubicBezTo>
                  <a:pt x="90" y="120"/>
                  <a:pt x="90" y="120"/>
                  <a:pt x="90" y="119"/>
                </a:cubicBezTo>
                <a:cubicBezTo>
                  <a:pt x="89" y="119"/>
                  <a:pt x="88" y="119"/>
                  <a:pt x="86" y="119"/>
                </a:cubicBezTo>
                <a:cubicBezTo>
                  <a:pt x="86" y="119"/>
                  <a:pt x="86" y="119"/>
                  <a:pt x="85" y="119"/>
                </a:cubicBezTo>
                <a:cubicBezTo>
                  <a:pt x="85" y="119"/>
                  <a:pt x="85" y="119"/>
                  <a:pt x="85" y="119"/>
                </a:cubicBezTo>
                <a:cubicBezTo>
                  <a:pt x="84" y="119"/>
                  <a:pt x="82" y="119"/>
                  <a:pt x="82" y="120"/>
                </a:cubicBezTo>
                <a:cubicBezTo>
                  <a:pt x="81" y="120"/>
                  <a:pt x="80" y="120"/>
                  <a:pt x="80" y="119"/>
                </a:cubicBezTo>
                <a:cubicBezTo>
                  <a:pt x="80" y="118"/>
                  <a:pt x="80" y="117"/>
                  <a:pt x="79" y="117"/>
                </a:cubicBezTo>
                <a:cubicBezTo>
                  <a:pt x="79" y="117"/>
                  <a:pt x="79" y="118"/>
                  <a:pt x="79" y="118"/>
                </a:cubicBezTo>
                <a:cubicBezTo>
                  <a:pt x="78" y="118"/>
                  <a:pt x="79" y="118"/>
                  <a:pt x="78" y="118"/>
                </a:cubicBezTo>
                <a:cubicBezTo>
                  <a:pt x="78" y="118"/>
                  <a:pt x="77" y="118"/>
                  <a:pt x="77" y="118"/>
                </a:cubicBezTo>
                <a:cubicBezTo>
                  <a:pt x="77" y="119"/>
                  <a:pt x="77" y="119"/>
                  <a:pt x="76" y="119"/>
                </a:cubicBezTo>
                <a:cubicBezTo>
                  <a:pt x="76" y="119"/>
                  <a:pt x="75" y="120"/>
                  <a:pt x="75" y="120"/>
                </a:cubicBezTo>
                <a:cubicBezTo>
                  <a:pt x="75" y="119"/>
                  <a:pt x="75" y="119"/>
                  <a:pt x="75" y="119"/>
                </a:cubicBezTo>
                <a:cubicBezTo>
                  <a:pt x="75" y="118"/>
                  <a:pt x="75" y="119"/>
                  <a:pt x="75" y="118"/>
                </a:cubicBezTo>
                <a:cubicBezTo>
                  <a:pt x="75" y="118"/>
                  <a:pt x="75" y="117"/>
                  <a:pt x="75" y="117"/>
                </a:cubicBezTo>
                <a:cubicBezTo>
                  <a:pt x="75" y="117"/>
                  <a:pt x="75" y="117"/>
                  <a:pt x="75" y="117"/>
                </a:cubicBezTo>
                <a:cubicBezTo>
                  <a:pt x="74" y="117"/>
                  <a:pt x="74" y="117"/>
                  <a:pt x="73" y="117"/>
                </a:cubicBezTo>
                <a:cubicBezTo>
                  <a:pt x="73" y="117"/>
                  <a:pt x="73" y="116"/>
                  <a:pt x="73" y="116"/>
                </a:cubicBezTo>
                <a:cubicBezTo>
                  <a:pt x="73" y="116"/>
                  <a:pt x="72" y="116"/>
                  <a:pt x="72" y="116"/>
                </a:cubicBezTo>
                <a:cubicBezTo>
                  <a:pt x="72" y="116"/>
                  <a:pt x="72" y="116"/>
                  <a:pt x="71" y="116"/>
                </a:cubicBezTo>
                <a:cubicBezTo>
                  <a:pt x="71" y="116"/>
                  <a:pt x="70" y="116"/>
                  <a:pt x="70" y="116"/>
                </a:cubicBezTo>
                <a:cubicBezTo>
                  <a:pt x="69" y="116"/>
                  <a:pt x="69" y="116"/>
                  <a:pt x="69" y="116"/>
                </a:cubicBezTo>
                <a:cubicBezTo>
                  <a:pt x="68" y="116"/>
                  <a:pt x="68" y="117"/>
                  <a:pt x="67" y="117"/>
                </a:cubicBezTo>
                <a:cubicBezTo>
                  <a:pt x="67" y="117"/>
                  <a:pt x="67" y="118"/>
                  <a:pt x="66" y="118"/>
                </a:cubicBezTo>
                <a:cubicBezTo>
                  <a:pt x="66" y="118"/>
                  <a:pt x="66" y="118"/>
                  <a:pt x="66" y="118"/>
                </a:cubicBezTo>
                <a:cubicBezTo>
                  <a:pt x="66" y="118"/>
                  <a:pt x="66" y="118"/>
                  <a:pt x="66" y="118"/>
                </a:cubicBezTo>
                <a:cubicBezTo>
                  <a:pt x="65" y="119"/>
                  <a:pt x="64" y="119"/>
                  <a:pt x="64" y="119"/>
                </a:cubicBezTo>
                <a:cubicBezTo>
                  <a:pt x="63" y="119"/>
                  <a:pt x="64" y="119"/>
                  <a:pt x="63" y="119"/>
                </a:cubicBezTo>
                <a:cubicBezTo>
                  <a:pt x="63" y="119"/>
                  <a:pt x="62" y="119"/>
                  <a:pt x="61" y="119"/>
                </a:cubicBezTo>
                <a:cubicBezTo>
                  <a:pt x="61" y="119"/>
                  <a:pt x="60" y="119"/>
                  <a:pt x="60" y="119"/>
                </a:cubicBezTo>
                <a:cubicBezTo>
                  <a:pt x="60" y="119"/>
                  <a:pt x="59" y="120"/>
                  <a:pt x="59" y="121"/>
                </a:cubicBezTo>
                <a:cubicBezTo>
                  <a:pt x="59" y="120"/>
                  <a:pt x="58" y="119"/>
                  <a:pt x="58" y="119"/>
                </a:cubicBezTo>
                <a:cubicBezTo>
                  <a:pt x="58" y="120"/>
                  <a:pt x="57" y="120"/>
                  <a:pt x="57" y="120"/>
                </a:cubicBezTo>
                <a:cubicBezTo>
                  <a:pt x="57" y="121"/>
                  <a:pt x="56" y="121"/>
                  <a:pt x="55" y="121"/>
                </a:cubicBezTo>
                <a:cubicBezTo>
                  <a:pt x="55" y="122"/>
                  <a:pt x="55" y="122"/>
                  <a:pt x="54" y="122"/>
                </a:cubicBezTo>
                <a:cubicBezTo>
                  <a:pt x="53" y="122"/>
                  <a:pt x="54" y="122"/>
                  <a:pt x="53" y="122"/>
                </a:cubicBezTo>
                <a:cubicBezTo>
                  <a:pt x="52" y="122"/>
                  <a:pt x="50" y="122"/>
                  <a:pt x="49" y="122"/>
                </a:cubicBezTo>
                <a:cubicBezTo>
                  <a:pt x="49" y="123"/>
                  <a:pt x="48" y="123"/>
                  <a:pt x="47" y="124"/>
                </a:cubicBezTo>
                <a:cubicBezTo>
                  <a:pt x="46" y="124"/>
                  <a:pt x="46" y="125"/>
                  <a:pt x="45" y="126"/>
                </a:cubicBezTo>
                <a:cubicBezTo>
                  <a:pt x="45" y="126"/>
                  <a:pt x="45" y="127"/>
                  <a:pt x="44" y="127"/>
                </a:cubicBezTo>
                <a:cubicBezTo>
                  <a:pt x="44" y="127"/>
                  <a:pt x="44" y="127"/>
                  <a:pt x="43" y="128"/>
                </a:cubicBezTo>
                <a:cubicBezTo>
                  <a:pt x="42" y="128"/>
                  <a:pt x="42" y="130"/>
                  <a:pt x="42" y="131"/>
                </a:cubicBezTo>
                <a:cubicBezTo>
                  <a:pt x="41" y="132"/>
                  <a:pt x="41" y="132"/>
                  <a:pt x="41" y="133"/>
                </a:cubicBezTo>
                <a:cubicBezTo>
                  <a:pt x="41" y="133"/>
                  <a:pt x="41" y="134"/>
                  <a:pt x="41" y="134"/>
                </a:cubicBezTo>
                <a:cubicBezTo>
                  <a:pt x="41" y="134"/>
                  <a:pt x="41" y="134"/>
                  <a:pt x="40" y="134"/>
                </a:cubicBezTo>
                <a:cubicBezTo>
                  <a:pt x="40" y="135"/>
                  <a:pt x="41" y="136"/>
                  <a:pt x="39" y="136"/>
                </a:cubicBezTo>
                <a:cubicBezTo>
                  <a:pt x="39" y="136"/>
                  <a:pt x="38" y="136"/>
                  <a:pt x="38" y="136"/>
                </a:cubicBezTo>
                <a:cubicBezTo>
                  <a:pt x="37" y="136"/>
                  <a:pt x="37" y="136"/>
                  <a:pt x="37" y="136"/>
                </a:cubicBezTo>
                <a:cubicBezTo>
                  <a:pt x="36" y="136"/>
                  <a:pt x="37" y="137"/>
                  <a:pt x="36" y="137"/>
                </a:cubicBezTo>
                <a:cubicBezTo>
                  <a:pt x="36" y="137"/>
                  <a:pt x="35" y="136"/>
                  <a:pt x="35" y="137"/>
                </a:cubicBezTo>
                <a:cubicBezTo>
                  <a:pt x="34" y="137"/>
                  <a:pt x="32" y="136"/>
                  <a:pt x="32" y="137"/>
                </a:cubicBezTo>
                <a:cubicBezTo>
                  <a:pt x="32" y="137"/>
                  <a:pt x="31" y="137"/>
                  <a:pt x="31" y="137"/>
                </a:cubicBezTo>
                <a:cubicBezTo>
                  <a:pt x="30" y="137"/>
                  <a:pt x="28" y="137"/>
                  <a:pt x="28" y="137"/>
                </a:cubicBezTo>
                <a:cubicBezTo>
                  <a:pt x="27" y="137"/>
                  <a:pt x="26" y="137"/>
                  <a:pt x="26" y="137"/>
                </a:cubicBezTo>
                <a:cubicBezTo>
                  <a:pt x="26" y="139"/>
                  <a:pt x="26" y="140"/>
                  <a:pt x="27" y="141"/>
                </a:cubicBezTo>
                <a:cubicBezTo>
                  <a:pt x="26" y="142"/>
                  <a:pt x="26" y="142"/>
                  <a:pt x="25" y="142"/>
                </a:cubicBezTo>
                <a:cubicBezTo>
                  <a:pt x="26" y="143"/>
                  <a:pt x="26" y="143"/>
                  <a:pt x="26" y="143"/>
                </a:cubicBezTo>
                <a:cubicBezTo>
                  <a:pt x="27" y="143"/>
                  <a:pt x="28" y="144"/>
                  <a:pt x="28" y="144"/>
                </a:cubicBezTo>
                <a:cubicBezTo>
                  <a:pt x="29" y="145"/>
                  <a:pt x="29" y="144"/>
                  <a:pt x="29" y="145"/>
                </a:cubicBezTo>
                <a:cubicBezTo>
                  <a:pt x="29" y="145"/>
                  <a:pt x="31" y="145"/>
                  <a:pt x="32" y="146"/>
                </a:cubicBezTo>
                <a:cubicBezTo>
                  <a:pt x="32" y="146"/>
                  <a:pt x="33" y="147"/>
                  <a:pt x="34" y="147"/>
                </a:cubicBezTo>
                <a:cubicBezTo>
                  <a:pt x="34" y="147"/>
                  <a:pt x="35" y="148"/>
                  <a:pt x="35" y="148"/>
                </a:cubicBezTo>
                <a:cubicBezTo>
                  <a:pt x="36" y="148"/>
                  <a:pt x="37" y="148"/>
                  <a:pt x="38" y="149"/>
                </a:cubicBezTo>
                <a:cubicBezTo>
                  <a:pt x="37" y="151"/>
                  <a:pt x="38" y="151"/>
                  <a:pt x="40" y="152"/>
                </a:cubicBezTo>
                <a:cubicBezTo>
                  <a:pt x="40" y="151"/>
                  <a:pt x="41" y="151"/>
                  <a:pt x="41" y="151"/>
                </a:cubicBezTo>
                <a:cubicBezTo>
                  <a:pt x="42" y="150"/>
                  <a:pt x="42" y="150"/>
                  <a:pt x="43" y="151"/>
                </a:cubicBezTo>
                <a:cubicBezTo>
                  <a:pt x="43" y="151"/>
                  <a:pt x="43" y="151"/>
                  <a:pt x="43" y="152"/>
                </a:cubicBezTo>
                <a:cubicBezTo>
                  <a:pt x="44" y="152"/>
                  <a:pt x="47" y="151"/>
                  <a:pt x="47" y="151"/>
                </a:cubicBezTo>
                <a:cubicBezTo>
                  <a:pt x="47" y="152"/>
                  <a:pt x="48" y="151"/>
                  <a:pt x="47" y="152"/>
                </a:cubicBezTo>
                <a:cubicBezTo>
                  <a:pt x="48" y="151"/>
                  <a:pt x="47" y="153"/>
                  <a:pt x="47" y="152"/>
                </a:cubicBezTo>
                <a:cubicBezTo>
                  <a:pt x="47" y="153"/>
                  <a:pt x="46" y="153"/>
                  <a:pt x="46" y="153"/>
                </a:cubicBezTo>
                <a:cubicBezTo>
                  <a:pt x="45" y="153"/>
                  <a:pt x="46" y="153"/>
                  <a:pt x="46" y="154"/>
                </a:cubicBezTo>
                <a:cubicBezTo>
                  <a:pt x="46" y="154"/>
                  <a:pt x="47" y="154"/>
                  <a:pt x="47" y="154"/>
                </a:cubicBezTo>
                <a:cubicBezTo>
                  <a:pt x="48" y="155"/>
                  <a:pt x="48" y="155"/>
                  <a:pt x="48" y="155"/>
                </a:cubicBezTo>
                <a:cubicBezTo>
                  <a:pt x="49" y="155"/>
                  <a:pt x="50" y="155"/>
                  <a:pt x="51" y="155"/>
                </a:cubicBezTo>
                <a:cubicBezTo>
                  <a:pt x="51" y="155"/>
                  <a:pt x="52" y="155"/>
                  <a:pt x="52" y="155"/>
                </a:cubicBezTo>
                <a:cubicBezTo>
                  <a:pt x="52" y="155"/>
                  <a:pt x="51" y="155"/>
                  <a:pt x="52" y="155"/>
                </a:cubicBezTo>
                <a:cubicBezTo>
                  <a:pt x="52" y="157"/>
                  <a:pt x="52" y="156"/>
                  <a:pt x="51" y="156"/>
                </a:cubicBezTo>
                <a:cubicBezTo>
                  <a:pt x="50" y="156"/>
                  <a:pt x="49" y="157"/>
                  <a:pt x="49" y="156"/>
                </a:cubicBezTo>
                <a:cubicBezTo>
                  <a:pt x="48" y="156"/>
                  <a:pt x="46" y="156"/>
                  <a:pt x="46" y="157"/>
                </a:cubicBezTo>
                <a:cubicBezTo>
                  <a:pt x="46" y="158"/>
                  <a:pt x="47" y="157"/>
                  <a:pt x="48" y="157"/>
                </a:cubicBezTo>
                <a:cubicBezTo>
                  <a:pt x="48" y="158"/>
                  <a:pt x="49" y="157"/>
                  <a:pt x="49" y="158"/>
                </a:cubicBezTo>
                <a:cubicBezTo>
                  <a:pt x="49" y="158"/>
                  <a:pt x="49" y="160"/>
                  <a:pt x="49" y="160"/>
                </a:cubicBezTo>
                <a:cubicBezTo>
                  <a:pt x="49" y="160"/>
                  <a:pt x="48" y="160"/>
                  <a:pt x="48" y="159"/>
                </a:cubicBezTo>
                <a:cubicBezTo>
                  <a:pt x="47" y="159"/>
                  <a:pt x="47" y="159"/>
                  <a:pt x="46" y="160"/>
                </a:cubicBezTo>
                <a:cubicBezTo>
                  <a:pt x="46" y="160"/>
                  <a:pt x="46" y="161"/>
                  <a:pt x="46" y="161"/>
                </a:cubicBezTo>
                <a:cubicBezTo>
                  <a:pt x="45" y="161"/>
                  <a:pt x="46" y="160"/>
                  <a:pt x="46" y="160"/>
                </a:cubicBezTo>
                <a:cubicBezTo>
                  <a:pt x="43" y="160"/>
                  <a:pt x="41" y="160"/>
                  <a:pt x="39" y="160"/>
                </a:cubicBezTo>
                <a:cubicBezTo>
                  <a:pt x="38" y="160"/>
                  <a:pt x="38" y="159"/>
                  <a:pt x="36" y="159"/>
                </a:cubicBezTo>
                <a:cubicBezTo>
                  <a:pt x="36" y="159"/>
                  <a:pt x="36" y="158"/>
                  <a:pt x="36" y="158"/>
                </a:cubicBezTo>
                <a:cubicBezTo>
                  <a:pt x="37" y="158"/>
                  <a:pt x="37" y="158"/>
                  <a:pt x="37" y="157"/>
                </a:cubicBezTo>
                <a:cubicBezTo>
                  <a:pt x="37" y="157"/>
                  <a:pt x="37" y="156"/>
                  <a:pt x="37" y="156"/>
                </a:cubicBezTo>
                <a:cubicBezTo>
                  <a:pt x="37" y="156"/>
                  <a:pt x="37" y="156"/>
                  <a:pt x="36" y="156"/>
                </a:cubicBezTo>
                <a:cubicBezTo>
                  <a:pt x="36" y="156"/>
                  <a:pt x="36" y="155"/>
                  <a:pt x="36" y="155"/>
                </a:cubicBezTo>
                <a:cubicBezTo>
                  <a:pt x="36" y="152"/>
                  <a:pt x="33" y="155"/>
                  <a:pt x="31" y="155"/>
                </a:cubicBezTo>
                <a:cubicBezTo>
                  <a:pt x="31" y="155"/>
                  <a:pt x="30" y="156"/>
                  <a:pt x="30" y="156"/>
                </a:cubicBezTo>
                <a:cubicBezTo>
                  <a:pt x="30" y="156"/>
                  <a:pt x="29" y="156"/>
                  <a:pt x="29" y="156"/>
                </a:cubicBezTo>
                <a:cubicBezTo>
                  <a:pt x="28" y="156"/>
                  <a:pt x="28" y="157"/>
                  <a:pt x="28" y="157"/>
                </a:cubicBezTo>
                <a:cubicBezTo>
                  <a:pt x="27" y="157"/>
                  <a:pt x="27" y="157"/>
                  <a:pt x="27" y="158"/>
                </a:cubicBezTo>
                <a:cubicBezTo>
                  <a:pt x="27" y="158"/>
                  <a:pt x="27" y="159"/>
                  <a:pt x="27" y="159"/>
                </a:cubicBezTo>
                <a:cubicBezTo>
                  <a:pt x="27" y="159"/>
                  <a:pt x="25" y="160"/>
                  <a:pt x="25" y="159"/>
                </a:cubicBezTo>
                <a:cubicBezTo>
                  <a:pt x="24" y="158"/>
                  <a:pt x="24" y="159"/>
                  <a:pt x="23" y="159"/>
                </a:cubicBezTo>
                <a:cubicBezTo>
                  <a:pt x="22" y="159"/>
                  <a:pt x="22" y="159"/>
                  <a:pt x="21" y="159"/>
                </a:cubicBezTo>
                <a:cubicBezTo>
                  <a:pt x="21" y="160"/>
                  <a:pt x="21" y="160"/>
                  <a:pt x="21" y="160"/>
                </a:cubicBezTo>
                <a:cubicBezTo>
                  <a:pt x="20" y="160"/>
                  <a:pt x="20" y="161"/>
                  <a:pt x="19" y="161"/>
                </a:cubicBezTo>
                <a:cubicBezTo>
                  <a:pt x="19" y="161"/>
                  <a:pt x="17" y="162"/>
                  <a:pt x="18" y="163"/>
                </a:cubicBezTo>
                <a:cubicBezTo>
                  <a:pt x="18" y="163"/>
                  <a:pt x="18" y="163"/>
                  <a:pt x="19" y="163"/>
                </a:cubicBezTo>
                <a:cubicBezTo>
                  <a:pt x="20" y="163"/>
                  <a:pt x="20" y="163"/>
                  <a:pt x="21" y="163"/>
                </a:cubicBezTo>
                <a:cubicBezTo>
                  <a:pt x="21" y="163"/>
                  <a:pt x="22" y="163"/>
                  <a:pt x="23" y="164"/>
                </a:cubicBezTo>
                <a:cubicBezTo>
                  <a:pt x="23" y="164"/>
                  <a:pt x="24" y="164"/>
                  <a:pt x="24" y="164"/>
                </a:cubicBezTo>
                <a:cubicBezTo>
                  <a:pt x="25" y="164"/>
                  <a:pt x="25" y="164"/>
                  <a:pt x="25" y="165"/>
                </a:cubicBezTo>
                <a:cubicBezTo>
                  <a:pt x="24" y="165"/>
                  <a:pt x="23" y="165"/>
                  <a:pt x="22" y="165"/>
                </a:cubicBezTo>
                <a:cubicBezTo>
                  <a:pt x="22" y="166"/>
                  <a:pt x="22" y="167"/>
                  <a:pt x="23" y="167"/>
                </a:cubicBezTo>
                <a:cubicBezTo>
                  <a:pt x="24" y="167"/>
                  <a:pt x="24" y="168"/>
                  <a:pt x="24" y="168"/>
                </a:cubicBezTo>
                <a:cubicBezTo>
                  <a:pt x="25" y="168"/>
                  <a:pt x="25" y="169"/>
                  <a:pt x="25" y="169"/>
                </a:cubicBezTo>
                <a:cubicBezTo>
                  <a:pt x="25" y="169"/>
                  <a:pt x="25" y="169"/>
                  <a:pt x="25" y="169"/>
                </a:cubicBezTo>
                <a:cubicBezTo>
                  <a:pt x="27" y="170"/>
                  <a:pt x="29" y="171"/>
                  <a:pt x="31" y="171"/>
                </a:cubicBezTo>
                <a:cubicBezTo>
                  <a:pt x="31" y="169"/>
                  <a:pt x="36" y="171"/>
                  <a:pt x="36" y="169"/>
                </a:cubicBezTo>
                <a:cubicBezTo>
                  <a:pt x="37" y="169"/>
                  <a:pt x="39" y="170"/>
                  <a:pt x="39" y="170"/>
                </a:cubicBezTo>
                <a:cubicBezTo>
                  <a:pt x="39" y="169"/>
                  <a:pt x="39" y="169"/>
                  <a:pt x="39" y="169"/>
                </a:cubicBezTo>
                <a:cubicBezTo>
                  <a:pt x="40" y="169"/>
                  <a:pt x="41" y="170"/>
                  <a:pt x="42" y="170"/>
                </a:cubicBezTo>
                <a:cubicBezTo>
                  <a:pt x="42" y="171"/>
                  <a:pt x="42" y="171"/>
                  <a:pt x="42" y="171"/>
                </a:cubicBezTo>
                <a:cubicBezTo>
                  <a:pt x="43" y="173"/>
                  <a:pt x="44" y="170"/>
                  <a:pt x="45" y="170"/>
                </a:cubicBezTo>
                <a:cubicBezTo>
                  <a:pt x="46" y="170"/>
                  <a:pt x="47" y="170"/>
                  <a:pt x="48" y="170"/>
                </a:cubicBezTo>
                <a:cubicBezTo>
                  <a:pt x="48" y="170"/>
                  <a:pt x="48" y="169"/>
                  <a:pt x="48" y="169"/>
                </a:cubicBezTo>
                <a:cubicBezTo>
                  <a:pt x="49" y="169"/>
                  <a:pt x="49" y="170"/>
                  <a:pt x="49" y="169"/>
                </a:cubicBezTo>
                <a:cubicBezTo>
                  <a:pt x="50" y="169"/>
                  <a:pt x="51" y="169"/>
                  <a:pt x="52" y="169"/>
                </a:cubicBezTo>
                <a:cubicBezTo>
                  <a:pt x="52" y="170"/>
                  <a:pt x="52" y="171"/>
                  <a:pt x="51" y="171"/>
                </a:cubicBezTo>
                <a:cubicBezTo>
                  <a:pt x="51" y="172"/>
                  <a:pt x="50" y="171"/>
                  <a:pt x="51" y="172"/>
                </a:cubicBezTo>
                <a:cubicBezTo>
                  <a:pt x="51" y="173"/>
                  <a:pt x="51" y="174"/>
                  <a:pt x="51" y="175"/>
                </a:cubicBezTo>
                <a:cubicBezTo>
                  <a:pt x="52" y="177"/>
                  <a:pt x="52" y="178"/>
                  <a:pt x="51" y="178"/>
                </a:cubicBezTo>
                <a:cubicBezTo>
                  <a:pt x="50" y="178"/>
                  <a:pt x="51" y="179"/>
                  <a:pt x="50" y="179"/>
                </a:cubicBezTo>
                <a:cubicBezTo>
                  <a:pt x="50" y="179"/>
                  <a:pt x="50" y="179"/>
                  <a:pt x="49" y="179"/>
                </a:cubicBezTo>
                <a:cubicBezTo>
                  <a:pt x="49" y="179"/>
                  <a:pt x="48" y="180"/>
                  <a:pt x="47" y="180"/>
                </a:cubicBezTo>
                <a:cubicBezTo>
                  <a:pt x="46" y="179"/>
                  <a:pt x="45" y="179"/>
                  <a:pt x="45" y="180"/>
                </a:cubicBezTo>
                <a:cubicBezTo>
                  <a:pt x="44" y="181"/>
                  <a:pt x="44" y="181"/>
                  <a:pt x="43" y="181"/>
                </a:cubicBezTo>
                <a:cubicBezTo>
                  <a:pt x="43" y="182"/>
                  <a:pt x="43" y="182"/>
                  <a:pt x="42" y="182"/>
                </a:cubicBezTo>
                <a:cubicBezTo>
                  <a:pt x="41" y="182"/>
                  <a:pt x="40" y="182"/>
                  <a:pt x="39" y="182"/>
                </a:cubicBezTo>
                <a:cubicBezTo>
                  <a:pt x="39" y="181"/>
                  <a:pt x="38" y="181"/>
                  <a:pt x="38" y="180"/>
                </a:cubicBezTo>
                <a:cubicBezTo>
                  <a:pt x="37" y="180"/>
                  <a:pt x="36" y="180"/>
                  <a:pt x="35" y="180"/>
                </a:cubicBezTo>
                <a:cubicBezTo>
                  <a:pt x="35" y="181"/>
                  <a:pt x="33" y="181"/>
                  <a:pt x="34" y="182"/>
                </a:cubicBezTo>
                <a:cubicBezTo>
                  <a:pt x="34" y="183"/>
                  <a:pt x="35" y="183"/>
                  <a:pt x="35" y="185"/>
                </a:cubicBezTo>
                <a:cubicBezTo>
                  <a:pt x="35" y="185"/>
                  <a:pt x="36" y="187"/>
                  <a:pt x="35" y="186"/>
                </a:cubicBezTo>
                <a:cubicBezTo>
                  <a:pt x="34" y="186"/>
                  <a:pt x="36" y="185"/>
                  <a:pt x="34" y="185"/>
                </a:cubicBezTo>
                <a:cubicBezTo>
                  <a:pt x="33" y="185"/>
                  <a:pt x="33" y="185"/>
                  <a:pt x="33" y="186"/>
                </a:cubicBezTo>
                <a:cubicBezTo>
                  <a:pt x="32" y="187"/>
                  <a:pt x="33" y="187"/>
                  <a:pt x="32" y="187"/>
                </a:cubicBezTo>
                <a:cubicBezTo>
                  <a:pt x="31" y="188"/>
                  <a:pt x="29" y="189"/>
                  <a:pt x="29" y="189"/>
                </a:cubicBezTo>
                <a:cubicBezTo>
                  <a:pt x="29" y="190"/>
                  <a:pt x="29" y="191"/>
                  <a:pt x="28" y="192"/>
                </a:cubicBezTo>
                <a:cubicBezTo>
                  <a:pt x="27" y="192"/>
                  <a:pt x="27" y="193"/>
                  <a:pt x="27" y="194"/>
                </a:cubicBezTo>
                <a:cubicBezTo>
                  <a:pt x="27" y="194"/>
                  <a:pt x="28" y="194"/>
                  <a:pt x="28" y="194"/>
                </a:cubicBezTo>
                <a:cubicBezTo>
                  <a:pt x="28" y="194"/>
                  <a:pt x="28" y="194"/>
                  <a:pt x="28" y="195"/>
                </a:cubicBezTo>
                <a:cubicBezTo>
                  <a:pt x="28" y="195"/>
                  <a:pt x="29" y="195"/>
                  <a:pt x="29" y="195"/>
                </a:cubicBezTo>
                <a:cubicBezTo>
                  <a:pt x="29" y="194"/>
                  <a:pt x="31" y="197"/>
                  <a:pt x="31" y="197"/>
                </a:cubicBezTo>
                <a:cubicBezTo>
                  <a:pt x="32" y="197"/>
                  <a:pt x="33" y="196"/>
                  <a:pt x="34" y="197"/>
                </a:cubicBezTo>
                <a:cubicBezTo>
                  <a:pt x="35" y="197"/>
                  <a:pt x="35" y="197"/>
                  <a:pt x="35" y="197"/>
                </a:cubicBezTo>
                <a:cubicBezTo>
                  <a:pt x="36" y="197"/>
                  <a:pt x="36" y="197"/>
                  <a:pt x="37" y="197"/>
                </a:cubicBezTo>
                <a:cubicBezTo>
                  <a:pt x="38" y="197"/>
                  <a:pt x="38" y="197"/>
                  <a:pt x="38" y="198"/>
                </a:cubicBezTo>
                <a:cubicBezTo>
                  <a:pt x="37" y="198"/>
                  <a:pt x="37" y="199"/>
                  <a:pt x="36" y="199"/>
                </a:cubicBezTo>
                <a:cubicBezTo>
                  <a:pt x="36" y="200"/>
                  <a:pt x="35" y="200"/>
                  <a:pt x="35" y="201"/>
                </a:cubicBezTo>
                <a:cubicBezTo>
                  <a:pt x="35" y="202"/>
                  <a:pt x="35" y="202"/>
                  <a:pt x="35" y="202"/>
                </a:cubicBezTo>
                <a:cubicBezTo>
                  <a:pt x="35" y="202"/>
                  <a:pt x="36" y="204"/>
                  <a:pt x="35" y="204"/>
                </a:cubicBezTo>
                <a:cubicBezTo>
                  <a:pt x="37" y="204"/>
                  <a:pt x="36" y="204"/>
                  <a:pt x="37" y="205"/>
                </a:cubicBezTo>
                <a:cubicBezTo>
                  <a:pt x="37" y="205"/>
                  <a:pt x="37" y="206"/>
                  <a:pt x="38" y="206"/>
                </a:cubicBezTo>
                <a:cubicBezTo>
                  <a:pt x="39" y="206"/>
                  <a:pt x="42" y="206"/>
                  <a:pt x="42" y="205"/>
                </a:cubicBezTo>
                <a:cubicBezTo>
                  <a:pt x="42" y="204"/>
                  <a:pt x="43" y="204"/>
                  <a:pt x="43" y="203"/>
                </a:cubicBezTo>
                <a:cubicBezTo>
                  <a:pt x="43" y="203"/>
                  <a:pt x="44" y="203"/>
                  <a:pt x="43" y="202"/>
                </a:cubicBezTo>
                <a:cubicBezTo>
                  <a:pt x="43" y="202"/>
                  <a:pt x="43" y="202"/>
                  <a:pt x="43" y="201"/>
                </a:cubicBezTo>
                <a:cubicBezTo>
                  <a:pt x="43" y="201"/>
                  <a:pt x="44" y="201"/>
                  <a:pt x="44" y="201"/>
                </a:cubicBezTo>
                <a:cubicBezTo>
                  <a:pt x="44" y="200"/>
                  <a:pt x="45" y="201"/>
                  <a:pt x="45" y="201"/>
                </a:cubicBezTo>
                <a:cubicBezTo>
                  <a:pt x="45" y="202"/>
                  <a:pt x="45" y="202"/>
                  <a:pt x="45" y="203"/>
                </a:cubicBezTo>
                <a:cubicBezTo>
                  <a:pt x="44" y="203"/>
                  <a:pt x="44" y="203"/>
                  <a:pt x="44" y="203"/>
                </a:cubicBezTo>
                <a:cubicBezTo>
                  <a:pt x="44" y="204"/>
                  <a:pt x="44" y="204"/>
                  <a:pt x="45" y="205"/>
                </a:cubicBezTo>
                <a:cubicBezTo>
                  <a:pt x="46" y="206"/>
                  <a:pt x="45" y="206"/>
                  <a:pt x="46" y="207"/>
                </a:cubicBezTo>
                <a:cubicBezTo>
                  <a:pt x="46" y="207"/>
                  <a:pt x="46" y="207"/>
                  <a:pt x="46" y="207"/>
                </a:cubicBezTo>
                <a:cubicBezTo>
                  <a:pt x="46" y="207"/>
                  <a:pt x="47" y="208"/>
                  <a:pt x="47" y="208"/>
                </a:cubicBezTo>
                <a:cubicBezTo>
                  <a:pt x="47" y="209"/>
                  <a:pt x="46" y="209"/>
                  <a:pt x="46" y="209"/>
                </a:cubicBezTo>
                <a:cubicBezTo>
                  <a:pt x="46" y="210"/>
                  <a:pt x="46" y="211"/>
                  <a:pt x="46" y="211"/>
                </a:cubicBezTo>
                <a:cubicBezTo>
                  <a:pt x="47" y="211"/>
                  <a:pt x="47" y="211"/>
                  <a:pt x="48" y="211"/>
                </a:cubicBezTo>
                <a:cubicBezTo>
                  <a:pt x="49" y="212"/>
                  <a:pt x="47" y="211"/>
                  <a:pt x="47" y="212"/>
                </a:cubicBezTo>
                <a:cubicBezTo>
                  <a:pt x="47" y="214"/>
                  <a:pt x="47" y="213"/>
                  <a:pt x="47" y="213"/>
                </a:cubicBezTo>
                <a:cubicBezTo>
                  <a:pt x="47" y="213"/>
                  <a:pt x="47" y="214"/>
                  <a:pt x="47" y="215"/>
                </a:cubicBezTo>
                <a:cubicBezTo>
                  <a:pt x="48" y="215"/>
                  <a:pt x="48" y="214"/>
                  <a:pt x="49" y="214"/>
                </a:cubicBezTo>
                <a:cubicBezTo>
                  <a:pt x="50" y="213"/>
                  <a:pt x="50" y="213"/>
                  <a:pt x="51" y="213"/>
                </a:cubicBezTo>
                <a:cubicBezTo>
                  <a:pt x="52" y="211"/>
                  <a:pt x="54" y="211"/>
                  <a:pt x="55" y="210"/>
                </a:cubicBezTo>
                <a:cubicBezTo>
                  <a:pt x="55" y="212"/>
                  <a:pt x="57" y="213"/>
                  <a:pt x="58" y="212"/>
                </a:cubicBezTo>
                <a:cubicBezTo>
                  <a:pt x="59" y="212"/>
                  <a:pt x="59" y="213"/>
                  <a:pt x="59" y="213"/>
                </a:cubicBezTo>
                <a:cubicBezTo>
                  <a:pt x="60" y="213"/>
                  <a:pt x="60" y="214"/>
                  <a:pt x="60" y="214"/>
                </a:cubicBezTo>
                <a:cubicBezTo>
                  <a:pt x="60" y="214"/>
                  <a:pt x="62" y="216"/>
                  <a:pt x="62" y="215"/>
                </a:cubicBezTo>
                <a:cubicBezTo>
                  <a:pt x="62" y="216"/>
                  <a:pt x="62" y="214"/>
                  <a:pt x="62" y="214"/>
                </a:cubicBezTo>
                <a:cubicBezTo>
                  <a:pt x="62" y="214"/>
                  <a:pt x="62" y="213"/>
                  <a:pt x="62" y="214"/>
                </a:cubicBezTo>
                <a:cubicBezTo>
                  <a:pt x="63" y="214"/>
                  <a:pt x="63" y="214"/>
                  <a:pt x="63" y="213"/>
                </a:cubicBezTo>
                <a:cubicBezTo>
                  <a:pt x="64" y="213"/>
                  <a:pt x="64" y="212"/>
                  <a:pt x="64" y="212"/>
                </a:cubicBezTo>
                <a:cubicBezTo>
                  <a:pt x="65" y="212"/>
                  <a:pt x="64" y="214"/>
                  <a:pt x="64" y="214"/>
                </a:cubicBezTo>
                <a:cubicBezTo>
                  <a:pt x="66" y="214"/>
                  <a:pt x="67" y="214"/>
                  <a:pt x="68" y="214"/>
                </a:cubicBezTo>
                <a:cubicBezTo>
                  <a:pt x="68" y="213"/>
                  <a:pt x="69" y="213"/>
                  <a:pt x="69" y="213"/>
                </a:cubicBezTo>
                <a:cubicBezTo>
                  <a:pt x="70" y="213"/>
                  <a:pt x="70" y="212"/>
                  <a:pt x="70" y="212"/>
                </a:cubicBezTo>
                <a:cubicBezTo>
                  <a:pt x="70" y="212"/>
                  <a:pt x="71" y="212"/>
                  <a:pt x="71" y="212"/>
                </a:cubicBezTo>
                <a:cubicBezTo>
                  <a:pt x="71" y="212"/>
                  <a:pt x="71" y="213"/>
                  <a:pt x="71" y="214"/>
                </a:cubicBezTo>
                <a:cubicBezTo>
                  <a:pt x="70" y="214"/>
                  <a:pt x="70" y="214"/>
                  <a:pt x="70" y="214"/>
                </a:cubicBezTo>
                <a:cubicBezTo>
                  <a:pt x="70" y="215"/>
                  <a:pt x="69" y="216"/>
                  <a:pt x="68" y="216"/>
                </a:cubicBezTo>
                <a:cubicBezTo>
                  <a:pt x="68" y="217"/>
                  <a:pt x="68" y="217"/>
                  <a:pt x="68" y="218"/>
                </a:cubicBezTo>
                <a:cubicBezTo>
                  <a:pt x="68" y="219"/>
                  <a:pt x="67" y="219"/>
                  <a:pt x="67" y="219"/>
                </a:cubicBezTo>
                <a:cubicBezTo>
                  <a:pt x="67" y="219"/>
                  <a:pt x="67" y="219"/>
                  <a:pt x="66" y="219"/>
                </a:cubicBezTo>
                <a:cubicBezTo>
                  <a:pt x="66" y="220"/>
                  <a:pt x="66" y="220"/>
                  <a:pt x="66" y="221"/>
                </a:cubicBezTo>
                <a:cubicBezTo>
                  <a:pt x="66" y="221"/>
                  <a:pt x="66" y="223"/>
                  <a:pt x="66" y="223"/>
                </a:cubicBezTo>
                <a:cubicBezTo>
                  <a:pt x="66" y="223"/>
                  <a:pt x="65" y="223"/>
                  <a:pt x="65" y="224"/>
                </a:cubicBezTo>
                <a:cubicBezTo>
                  <a:pt x="65" y="225"/>
                  <a:pt x="64" y="225"/>
                  <a:pt x="64" y="226"/>
                </a:cubicBezTo>
                <a:cubicBezTo>
                  <a:pt x="63" y="227"/>
                  <a:pt x="63" y="228"/>
                  <a:pt x="62" y="228"/>
                </a:cubicBezTo>
                <a:cubicBezTo>
                  <a:pt x="61" y="228"/>
                  <a:pt x="60" y="229"/>
                  <a:pt x="60" y="230"/>
                </a:cubicBezTo>
                <a:cubicBezTo>
                  <a:pt x="58" y="230"/>
                  <a:pt x="57" y="231"/>
                  <a:pt x="56" y="232"/>
                </a:cubicBezTo>
                <a:cubicBezTo>
                  <a:pt x="54" y="232"/>
                  <a:pt x="54" y="233"/>
                  <a:pt x="54" y="235"/>
                </a:cubicBezTo>
                <a:cubicBezTo>
                  <a:pt x="54" y="236"/>
                  <a:pt x="54" y="235"/>
                  <a:pt x="53" y="235"/>
                </a:cubicBezTo>
                <a:cubicBezTo>
                  <a:pt x="52" y="235"/>
                  <a:pt x="52" y="236"/>
                  <a:pt x="51" y="236"/>
                </a:cubicBezTo>
                <a:cubicBezTo>
                  <a:pt x="52" y="235"/>
                  <a:pt x="52" y="235"/>
                  <a:pt x="52" y="235"/>
                </a:cubicBezTo>
                <a:cubicBezTo>
                  <a:pt x="50" y="235"/>
                  <a:pt x="49" y="235"/>
                  <a:pt x="47" y="236"/>
                </a:cubicBezTo>
                <a:cubicBezTo>
                  <a:pt x="46" y="236"/>
                  <a:pt x="46" y="236"/>
                  <a:pt x="46" y="237"/>
                </a:cubicBezTo>
                <a:cubicBezTo>
                  <a:pt x="46" y="238"/>
                  <a:pt x="45" y="238"/>
                  <a:pt x="45" y="238"/>
                </a:cubicBezTo>
                <a:cubicBezTo>
                  <a:pt x="44" y="238"/>
                  <a:pt x="44" y="239"/>
                  <a:pt x="44" y="239"/>
                </a:cubicBezTo>
                <a:cubicBezTo>
                  <a:pt x="44" y="240"/>
                  <a:pt x="44" y="240"/>
                  <a:pt x="43" y="240"/>
                </a:cubicBezTo>
                <a:cubicBezTo>
                  <a:pt x="43" y="241"/>
                  <a:pt x="42" y="241"/>
                  <a:pt x="42" y="241"/>
                </a:cubicBezTo>
                <a:cubicBezTo>
                  <a:pt x="41" y="241"/>
                  <a:pt x="40" y="242"/>
                  <a:pt x="40" y="243"/>
                </a:cubicBezTo>
                <a:cubicBezTo>
                  <a:pt x="41" y="242"/>
                  <a:pt x="41" y="242"/>
                  <a:pt x="42" y="242"/>
                </a:cubicBezTo>
                <a:cubicBezTo>
                  <a:pt x="42" y="242"/>
                  <a:pt x="43" y="242"/>
                  <a:pt x="43" y="242"/>
                </a:cubicBezTo>
                <a:cubicBezTo>
                  <a:pt x="43" y="241"/>
                  <a:pt x="44" y="241"/>
                  <a:pt x="44" y="241"/>
                </a:cubicBezTo>
                <a:cubicBezTo>
                  <a:pt x="44" y="242"/>
                  <a:pt x="44" y="242"/>
                  <a:pt x="45" y="242"/>
                </a:cubicBezTo>
                <a:cubicBezTo>
                  <a:pt x="45" y="242"/>
                  <a:pt x="45" y="242"/>
                  <a:pt x="45" y="241"/>
                </a:cubicBezTo>
                <a:cubicBezTo>
                  <a:pt x="45" y="241"/>
                  <a:pt x="46" y="241"/>
                  <a:pt x="46" y="241"/>
                </a:cubicBezTo>
                <a:cubicBezTo>
                  <a:pt x="46" y="239"/>
                  <a:pt x="47" y="240"/>
                  <a:pt x="47" y="238"/>
                </a:cubicBezTo>
                <a:cubicBezTo>
                  <a:pt x="47" y="238"/>
                  <a:pt x="47" y="238"/>
                  <a:pt x="47" y="238"/>
                </a:cubicBezTo>
                <a:cubicBezTo>
                  <a:pt x="47" y="237"/>
                  <a:pt x="47" y="237"/>
                  <a:pt x="48" y="237"/>
                </a:cubicBezTo>
                <a:cubicBezTo>
                  <a:pt x="48" y="237"/>
                  <a:pt x="49" y="237"/>
                  <a:pt x="50" y="237"/>
                </a:cubicBezTo>
                <a:cubicBezTo>
                  <a:pt x="49" y="237"/>
                  <a:pt x="49" y="238"/>
                  <a:pt x="49" y="239"/>
                </a:cubicBezTo>
                <a:cubicBezTo>
                  <a:pt x="50" y="239"/>
                  <a:pt x="51" y="239"/>
                  <a:pt x="51" y="237"/>
                </a:cubicBezTo>
                <a:cubicBezTo>
                  <a:pt x="52" y="238"/>
                  <a:pt x="53" y="238"/>
                  <a:pt x="54" y="238"/>
                </a:cubicBezTo>
                <a:cubicBezTo>
                  <a:pt x="54" y="237"/>
                  <a:pt x="54" y="238"/>
                  <a:pt x="54" y="237"/>
                </a:cubicBezTo>
                <a:cubicBezTo>
                  <a:pt x="54" y="237"/>
                  <a:pt x="56" y="236"/>
                  <a:pt x="57" y="236"/>
                </a:cubicBezTo>
                <a:cubicBezTo>
                  <a:pt x="57" y="237"/>
                  <a:pt x="58" y="237"/>
                  <a:pt x="58" y="235"/>
                </a:cubicBezTo>
                <a:cubicBezTo>
                  <a:pt x="59" y="236"/>
                  <a:pt x="60" y="235"/>
                  <a:pt x="60" y="233"/>
                </a:cubicBezTo>
                <a:cubicBezTo>
                  <a:pt x="61" y="234"/>
                  <a:pt x="61" y="234"/>
                  <a:pt x="62" y="234"/>
                </a:cubicBezTo>
                <a:cubicBezTo>
                  <a:pt x="62" y="234"/>
                  <a:pt x="62" y="234"/>
                  <a:pt x="62" y="234"/>
                </a:cubicBezTo>
                <a:cubicBezTo>
                  <a:pt x="62" y="233"/>
                  <a:pt x="62" y="233"/>
                  <a:pt x="62" y="232"/>
                </a:cubicBezTo>
                <a:cubicBezTo>
                  <a:pt x="62" y="232"/>
                  <a:pt x="61" y="232"/>
                  <a:pt x="61" y="232"/>
                </a:cubicBezTo>
                <a:cubicBezTo>
                  <a:pt x="62" y="232"/>
                  <a:pt x="64" y="231"/>
                  <a:pt x="65" y="231"/>
                </a:cubicBezTo>
                <a:cubicBezTo>
                  <a:pt x="65" y="231"/>
                  <a:pt x="64" y="230"/>
                  <a:pt x="64" y="230"/>
                </a:cubicBezTo>
                <a:cubicBezTo>
                  <a:pt x="65" y="230"/>
                  <a:pt x="66" y="230"/>
                  <a:pt x="66" y="229"/>
                </a:cubicBezTo>
                <a:cubicBezTo>
                  <a:pt x="66" y="229"/>
                  <a:pt x="66" y="228"/>
                  <a:pt x="67" y="228"/>
                </a:cubicBezTo>
                <a:cubicBezTo>
                  <a:pt x="67" y="228"/>
                  <a:pt x="67" y="227"/>
                  <a:pt x="67" y="228"/>
                </a:cubicBezTo>
                <a:cubicBezTo>
                  <a:pt x="68" y="228"/>
                  <a:pt x="68" y="228"/>
                  <a:pt x="69" y="228"/>
                </a:cubicBezTo>
                <a:cubicBezTo>
                  <a:pt x="69" y="227"/>
                  <a:pt x="69" y="227"/>
                  <a:pt x="70" y="227"/>
                </a:cubicBezTo>
                <a:cubicBezTo>
                  <a:pt x="71" y="227"/>
                  <a:pt x="71" y="225"/>
                  <a:pt x="71" y="224"/>
                </a:cubicBezTo>
                <a:cubicBezTo>
                  <a:pt x="71" y="224"/>
                  <a:pt x="72" y="224"/>
                  <a:pt x="72" y="224"/>
                </a:cubicBezTo>
                <a:cubicBezTo>
                  <a:pt x="73" y="223"/>
                  <a:pt x="72" y="223"/>
                  <a:pt x="73" y="223"/>
                </a:cubicBezTo>
                <a:cubicBezTo>
                  <a:pt x="74" y="223"/>
                  <a:pt x="74" y="222"/>
                  <a:pt x="75" y="221"/>
                </a:cubicBezTo>
                <a:cubicBezTo>
                  <a:pt x="76" y="221"/>
                  <a:pt x="76" y="220"/>
                  <a:pt x="77" y="220"/>
                </a:cubicBezTo>
                <a:cubicBezTo>
                  <a:pt x="78" y="220"/>
                  <a:pt x="77" y="218"/>
                  <a:pt x="78" y="218"/>
                </a:cubicBezTo>
                <a:cubicBezTo>
                  <a:pt x="79" y="218"/>
                  <a:pt x="79" y="218"/>
                  <a:pt x="79" y="218"/>
                </a:cubicBezTo>
                <a:cubicBezTo>
                  <a:pt x="79" y="218"/>
                  <a:pt x="80" y="218"/>
                  <a:pt x="80" y="218"/>
                </a:cubicBezTo>
                <a:cubicBezTo>
                  <a:pt x="81" y="218"/>
                  <a:pt x="81" y="217"/>
                  <a:pt x="82" y="217"/>
                </a:cubicBezTo>
                <a:cubicBezTo>
                  <a:pt x="83" y="217"/>
                  <a:pt x="84" y="215"/>
                  <a:pt x="83" y="215"/>
                </a:cubicBezTo>
                <a:cubicBezTo>
                  <a:pt x="83" y="215"/>
                  <a:pt x="83" y="214"/>
                  <a:pt x="83" y="214"/>
                </a:cubicBezTo>
                <a:cubicBezTo>
                  <a:pt x="84" y="214"/>
                  <a:pt x="84" y="214"/>
                  <a:pt x="84" y="214"/>
                </a:cubicBezTo>
                <a:cubicBezTo>
                  <a:pt x="85" y="214"/>
                  <a:pt x="84" y="213"/>
                  <a:pt x="84" y="213"/>
                </a:cubicBezTo>
                <a:cubicBezTo>
                  <a:pt x="85" y="213"/>
                  <a:pt x="86" y="213"/>
                  <a:pt x="86" y="212"/>
                </a:cubicBezTo>
                <a:cubicBezTo>
                  <a:pt x="86" y="211"/>
                  <a:pt x="86" y="211"/>
                  <a:pt x="85" y="211"/>
                </a:cubicBezTo>
                <a:cubicBezTo>
                  <a:pt x="84" y="211"/>
                  <a:pt x="83" y="211"/>
                  <a:pt x="83" y="211"/>
                </a:cubicBezTo>
                <a:cubicBezTo>
                  <a:pt x="83" y="210"/>
                  <a:pt x="83" y="208"/>
                  <a:pt x="83" y="208"/>
                </a:cubicBezTo>
                <a:cubicBezTo>
                  <a:pt x="84" y="208"/>
                  <a:pt x="83" y="207"/>
                  <a:pt x="84" y="207"/>
                </a:cubicBezTo>
                <a:cubicBezTo>
                  <a:pt x="84" y="207"/>
                  <a:pt x="84" y="206"/>
                  <a:pt x="84" y="206"/>
                </a:cubicBezTo>
                <a:cubicBezTo>
                  <a:pt x="85" y="206"/>
                  <a:pt x="87" y="206"/>
                  <a:pt x="87" y="205"/>
                </a:cubicBezTo>
                <a:cubicBezTo>
                  <a:pt x="87" y="204"/>
                  <a:pt x="88" y="204"/>
                  <a:pt x="88" y="204"/>
                </a:cubicBezTo>
                <a:cubicBezTo>
                  <a:pt x="89" y="203"/>
                  <a:pt x="89" y="203"/>
                  <a:pt x="88" y="202"/>
                </a:cubicBezTo>
                <a:cubicBezTo>
                  <a:pt x="89" y="202"/>
                  <a:pt x="90" y="202"/>
                  <a:pt x="90" y="203"/>
                </a:cubicBezTo>
                <a:cubicBezTo>
                  <a:pt x="91" y="202"/>
                  <a:pt x="91" y="202"/>
                  <a:pt x="91" y="200"/>
                </a:cubicBezTo>
                <a:cubicBezTo>
                  <a:pt x="91" y="200"/>
                  <a:pt x="92" y="199"/>
                  <a:pt x="93" y="199"/>
                </a:cubicBezTo>
                <a:cubicBezTo>
                  <a:pt x="93" y="199"/>
                  <a:pt x="95" y="198"/>
                  <a:pt x="95" y="198"/>
                </a:cubicBezTo>
                <a:cubicBezTo>
                  <a:pt x="95" y="197"/>
                  <a:pt x="95" y="197"/>
                  <a:pt x="96" y="196"/>
                </a:cubicBezTo>
                <a:cubicBezTo>
                  <a:pt x="96" y="196"/>
                  <a:pt x="96" y="196"/>
                  <a:pt x="97" y="196"/>
                </a:cubicBezTo>
                <a:cubicBezTo>
                  <a:pt x="98" y="195"/>
                  <a:pt x="99" y="194"/>
                  <a:pt x="100" y="193"/>
                </a:cubicBezTo>
                <a:cubicBezTo>
                  <a:pt x="101" y="192"/>
                  <a:pt x="100" y="193"/>
                  <a:pt x="101" y="194"/>
                </a:cubicBezTo>
                <a:cubicBezTo>
                  <a:pt x="102" y="194"/>
                  <a:pt x="104" y="194"/>
                  <a:pt x="104" y="193"/>
                </a:cubicBezTo>
                <a:cubicBezTo>
                  <a:pt x="105" y="192"/>
                  <a:pt x="105" y="192"/>
                  <a:pt x="106" y="192"/>
                </a:cubicBezTo>
                <a:cubicBezTo>
                  <a:pt x="106" y="192"/>
                  <a:pt x="105" y="193"/>
                  <a:pt x="105" y="193"/>
                </a:cubicBezTo>
                <a:cubicBezTo>
                  <a:pt x="104" y="194"/>
                  <a:pt x="104" y="194"/>
                  <a:pt x="104" y="195"/>
                </a:cubicBezTo>
                <a:cubicBezTo>
                  <a:pt x="105" y="195"/>
                  <a:pt x="105" y="196"/>
                  <a:pt x="106" y="197"/>
                </a:cubicBezTo>
                <a:cubicBezTo>
                  <a:pt x="104" y="197"/>
                  <a:pt x="103" y="197"/>
                  <a:pt x="102" y="196"/>
                </a:cubicBezTo>
                <a:cubicBezTo>
                  <a:pt x="101" y="196"/>
                  <a:pt x="100" y="196"/>
                  <a:pt x="100" y="196"/>
                </a:cubicBezTo>
                <a:cubicBezTo>
                  <a:pt x="100" y="197"/>
                  <a:pt x="99" y="197"/>
                  <a:pt x="99" y="197"/>
                </a:cubicBezTo>
                <a:cubicBezTo>
                  <a:pt x="98" y="197"/>
                  <a:pt x="98" y="198"/>
                  <a:pt x="98" y="198"/>
                </a:cubicBezTo>
                <a:cubicBezTo>
                  <a:pt x="98" y="198"/>
                  <a:pt x="97" y="198"/>
                  <a:pt x="97" y="198"/>
                </a:cubicBezTo>
                <a:cubicBezTo>
                  <a:pt x="96" y="198"/>
                  <a:pt x="96" y="200"/>
                  <a:pt x="96" y="201"/>
                </a:cubicBezTo>
                <a:cubicBezTo>
                  <a:pt x="96" y="201"/>
                  <a:pt x="96" y="202"/>
                  <a:pt x="96" y="202"/>
                </a:cubicBezTo>
                <a:cubicBezTo>
                  <a:pt x="96" y="203"/>
                  <a:pt x="97" y="203"/>
                  <a:pt x="97" y="203"/>
                </a:cubicBezTo>
                <a:cubicBezTo>
                  <a:pt x="96" y="203"/>
                  <a:pt x="95" y="204"/>
                  <a:pt x="95" y="204"/>
                </a:cubicBezTo>
                <a:cubicBezTo>
                  <a:pt x="95" y="205"/>
                  <a:pt x="95" y="205"/>
                  <a:pt x="95" y="205"/>
                </a:cubicBezTo>
                <a:cubicBezTo>
                  <a:pt x="95" y="205"/>
                  <a:pt x="95" y="206"/>
                  <a:pt x="95" y="206"/>
                </a:cubicBezTo>
                <a:cubicBezTo>
                  <a:pt x="96" y="207"/>
                  <a:pt x="96" y="207"/>
                  <a:pt x="96" y="207"/>
                </a:cubicBezTo>
                <a:cubicBezTo>
                  <a:pt x="96" y="207"/>
                  <a:pt x="97" y="207"/>
                  <a:pt x="97" y="207"/>
                </a:cubicBezTo>
                <a:cubicBezTo>
                  <a:pt x="97" y="207"/>
                  <a:pt x="97" y="207"/>
                  <a:pt x="98" y="207"/>
                </a:cubicBezTo>
                <a:cubicBezTo>
                  <a:pt x="97" y="208"/>
                  <a:pt x="96" y="209"/>
                  <a:pt x="95" y="209"/>
                </a:cubicBezTo>
                <a:cubicBezTo>
                  <a:pt x="94" y="208"/>
                  <a:pt x="95" y="209"/>
                  <a:pt x="94" y="210"/>
                </a:cubicBezTo>
                <a:cubicBezTo>
                  <a:pt x="95" y="210"/>
                  <a:pt x="96" y="210"/>
                  <a:pt x="97" y="210"/>
                </a:cubicBezTo>
                <a:cubicBezTo>
                  <a:pt x="97" y="210"/>
                  <a:pt x="98" y="210"/>
                  <a:pt x="98" y="209"/>
                </a:cubicBezTo>
                <a:cubicBezTo>
                  <a:pt x="99" y="210"/>
                  <a:pt x="99" y="210"/>
                  <a:pt x="100" y="210"/>
                </a:cubicBezTo>
                <a:cubicBezTo>
                  <a:pt x="100" y="209"/>
                  <a:pt x="100" y="209"/>
                  <a:pt x="100" y="209"/>
                </a:cubicBezTo>
                <a:cubicBezTo>
                  <a:pt x="101" y="209"/>
                  <a:pt x="102" y="208"/>
                  <a:pt x="102" y="208"/>
                </a:cubicBezTo>
                <a:cubicBezTo>
                  <a:pt x="102" y="207"/>
                  <a:pt x="102" y="207"/>
                  <a:pt x="103" y="207"/>
                </a:cubicBezTo>
                <a:cubicBezTo>
                  <a:pt x="104" y="207"/>
                  <a:pt x="104" y="206"/>
                  <a:pt x="105" y="206"/>
                </a:cubicBezTo>
                <a:cubicBezTo>
                  <a:pt x="104" y="206"/>
                  <a:pt x="104" y="205"/>
                  <a:pt x="104" y="205"/>
                </a:cubicBezTo>
                <a:cubicBezTo>
                  <a:pt x="105" y="205"/>
                  <a:pt x="105" y="205"/>
                  <a:pt x="105" y="205"/>
                </a:cubicBezTo>
                <a:cubicBezTo>
                  <a:pt x="105" y="205"/>
                  <a:pt x="105" y="205"/>
                  <a:pt x="106" y="205"/>
                </a:cubicBezTo>
                <a:cubicBezTo>
                  <a:pt x="106" y="205"/>
                  <a:pt x="106" y="204"/>
                  <a:pt x="106" y="204"/>
                </a:cubicBezTo>
                <a:cubicBezTo>
                  <a:pt x="108" y="202"/>
                  <a:pt x="107" y="204"/>
                  <a:pt x="108" y="204"/>
                </a:cubicBezTo>
                <a:cubicBezTo>
                  <a:pt x="108" y="204"/>
                  <a:pt x="108" y="203"/>
                  <a:pt x="109" y="203"/>
                </a:cubicBezTo>
                <a:cubicBezTo>
                  <a:pt x="110" y="203"/>
                  <a:pt x="111" y="204"/>
                  <a:pt x="111" y="204"/>
                </a:cubicBezTo>
                <a:cubicBezTo>
                  <a:pt x="113" y="204"/>
                  <a:pt x="112" y="203"/>
                  <a:pt x="113" y="202"/>
                </a:cubicBezTo>
                <a:cubicBezTo>
                  <a:pt x="113" y="202"/>
                  <a:pt x="114" y="202"/>
                  <a:pt x="114" y="202"/>
                </a:cubicBezTo>
                <a:cubicBezTo>
                  <a:pt x="114" y="202"/>
                  <a:pt x="113" y="201"/>
                  <a:pt x="114" y="200"/>
                </a:cubicBezTo>
                <a:cubicBezTo>
                  <a:pt x="114" y="200"/>
                  <a:pt x="114" y="200"/>
                  <a:pt x="114" y="199"/>
                </a:cubicBezTo>
                <a:cubicBezTo>
                  <a:pt x="114" y="199"/>
                  <a:pt x="113" y="199"/>
                  <a:pt x="113" y="199"/>
                </a:cubicBezTo>
                <a:cubicBezTo>
                  <a:pt x="113" y="199"/>
                  <a:pt x="113" y="199"/>
                  <a:pt x="112" y="199"/>
                </a:cubicBezTo>
                <a:cubicBezTo>
                  <a:pt x="112" y="199"/>
                  <a:pt x="112" y="198"/>
                  <a:pt x="111" y="198"/>
                </a:cubicBezTo>
                <a:cubicBezTo>
                  <a:pt x="111" y="198"/>
                  <a:pt x="111" y="196"/>
                  <a:pt x="111" y="196"/>
                </a:cubicBezTo>
                <a:cubicBezTo>
                  <a:pt x="113" y="196"/>
                  <a:pt x="113" y="196"/>
                  <a:pt x="114" y="196"/>
                </a:cubicBezTo>
                <a:cubicBezTo>
                  <a:pt x="114" y="197"/>
                  <a:pt x="116" y="197"/>
                  <a:pt x="116" y="197"/>
                </a:cubicBezTo>
                <a:cubicBezTo>
                  <a:pt x="116" y="196"/>
                  <a:pt x="116" y="196"/>
                  <a:pt x="116" y="196"/>
                </a:cubicBezTo>
                <a:cubicBezTo>
                  <a:pt x="117" y="196"/>
                  <a:pt x="118" y="196"/>
                  <a:pt x="118" y="196"/>
                </a:cubicBezTo>
                <a:cubicBezTo>
                  <a:pt x="119" y="196"/>
                  <a:pt x="119" y="195"/>
                  <a:pt x="120" y="195"/>
                </a:cubicBezTo>
                <a:cubicBezTo>
                  <a:pt x="120" y="195"/>
                  <a:pt x="120" y="196"/>
                  <a:pt x="120" y="197"/>
                </a:cubicBezTo>
                <a:cubicBezTo>
                  <a:pt x="120" y="197"/>
                  <a:pt x="121" y="197"/>
                  <a:pt x="121" y="197"/>
                </a:cubicBezTo>
                <a:cubicBezTo>
                  <a:pt x="121" y="198"/>
                  <a:pt x="121" y="197"/>
                  <a:pt x="120" y="197"/>
                </a:cubicBezTo>
                <a:cubicBezTo>
                  <a:pt x="120" y="197"/>
                  <a:pt x="120" y="198"/>
                  <a:pt x="120" y="198"/>
                </a:cubicBezTo>
                <a:cubicBezTo>
                  <a:pt x="119" y="198"/>
                  <a:pt x="119" y="198"/>
                  <a:pt x="120" y="198"/>
                </a:cubicBezTo>
                <a:cubicBezTo>
                  <a:pt x="120" y="198"/>
                  <a:pt x="122" y="198"/>
                  <a:pt x="122" y="198"/>
                </a:cubicBezTo>
                <a:cubicBezTo>
                  <a:pt x="122" y="199"/>
                  <a:pt x="123" y="199"/>
                  <a:pt x="124" y="199"/>
                </a:cubicBezTo>
                <a:cubicBezTo>
                  <a:pt x="124" y="199"/>
                  <a:pt x="124" y="200"/>
                  <a:pt x="123" y="200"/>
                </a:cubicBezTo>
                <a:cubicBezTo>
                  <a:pt x="123" y="201"/>
                  <a:pt x="123" y="201"/>
                  <a:pt x="123" y="201"/>
                </a:cubicBezTo>
                <a:cubicBezTo>
                  <a:pt x="124" y="202"/>
                  <a:pt x="125" y="202"/>
                  <a:pt x="126" y="201"/>
                </a:cubicBezTo>
                <a:cubicBezTo>
                  <a:pt x="127" y="200"/>
                  <a:pt x="127" y="201"/>
                  <a:pt x="127" y="201"/>
                </a:cubicBezTo>
                <a:cubicBezTo>
                  <a:pt x="127" y="202"/>
                  <a:pt x="128" y="203"/>
                  <a:pt x="128" y="203"/>
                </a:cubicBezTo>
                <a:cubicBezTo>
                  <a:pt x="128" y="203"/>
                  <a:pt x="129" y="203"/>
                  <a:pt x="130" y="203"/>
                </a:cubicBezTo>
                <a:cubicBezTo>
                  <a:pt x="130" y="203"/>
                  <a:pt x="130" y="203"/>
                  <a:pt x="130" y="203"/>
                </a:cubicBezTo>
                <a:cubicBezTo>
                  <a:pt x="131" y="203"/>
                  <a:pt x="131" y="204"/>
                  <a:pt x="131" y="204"/>
                </a:cubicBezTo>
                <a:cubicBezTo>
                  <a:pt x="132" y="205"/>
                  <a:pt x="135" y="204"/>
                  <a:pt x="135" y="205"/>
                </a:cubicBezTo>
                <a:cubicBezTo>
                  <a:pt x="136" y="205"/>
                  <a:pt x="135" y="205"/>
                  <a:pt x="136" y="205"/>
                </a:cubicBezTo>
                <a:cubicBezTo>
                  <a:pt x="136" y="205"/>
                  <a:pt x="136" y="205"/>
                  <a:pt x="137" y="205"/>
                </a:cubicBezTo>
                <a:cubicBezTo>
                  <a:pt x="137" y="205"/>
                  <a:pt x="137" y="204"/>
                  <a:pt x="137" y="204"/>
                </a:cubicBezTo>
                <a:cubicBezTo>
                  <a:pt x="138" y="204"/>
                  <a:pt x="138" y="204"/>
                  <a:pt x="139" y="204"/>
                </a:cubicBezTo>
                <a:cubicBezTo>
                  <a:pt x="139" y="204"/>
                  <a:pt x="139" y="204"/>
                  <a:pt x="140" y="204"/>
                </a:cubicBezTo>
                <a:cubicBezTo>
                  <a:pt x="140" y="205"/>
                  <a:pt x="142" y="204"/>
                  <a:pt x="142" y="205"/>
                </a:cubicBezTo>
                <a:cubicBezTo>
                  <a:pt x="143" y="205"/>
                  <a:pt x="143" y="205"/>
                  <a:pt x="144" y="205"/>
                </a:cubicBezTo>
                <a:cubicBezTo>
                  <a:pt x="144" y="205"/>
                  <a:pt x="145" y="206"/>
                  <a:pt x="145" y="206"/>
                </a:cubicBezTo>
                <a:cubicBezTo>
                  <a:pt x="146" y="206"/>
                  <a:pt x="146" y="206"/>
                  <a:pt x="146" y="206"/>
                </a:cubicBezTo>
                <a:cubicBezTo>
                  <a:pt x="147" y="206"/>
                  <a:pt x="146" y="207"/>
                  <a:pt x="147" y="207"/>
                </a:cubicBezTo>
                <a:cubicBezTo>
                  <a:pt x="148" y="207"/>
                  <a:pt x="149" y="207"/>
                  <a:pt x="150" y="207"/>
                </a:cubicBezTo>
                <a:cubicBezTo>
                  <a:pt x="150" y="207"/>
                  <a:pt x="151" y="207"/>
                  <a:pt x="152" y="207"/>
                </a:cubicBezTo>
                <a:cubicBezTo>
                  <a:pt x="153" y="206"/>
                  <a:pt x="154" y="205"/>
                  <a:pt x="154" y="206"/>
                </a:cubicBezTo>
                <a:cubicBezTo>
                  <a:pt x="154" y="207"/>
                  <a:pt x="153" y="207"/>
                  <a:pt x="153" y="207"/>
                </a:cubicBezTo>
                <a:cubicBezTo>
                  <a:pt x="153" y="208"/>
                  <a:pt x="153" y="208"/>
                  <a:pt x="152" y="209"/>
                </a:cubicBezTo>
                <a:cubicBezTo>
                  <a:pt x="153" y="210"/>
                  <a:pt x="154" y="210"/>
                  <a:pt x="155" y="209"/>
                </a:cubicBezTo>
                <a:cubicBezTo>
                  <a:pt x="155" y="209"/>
                  <a:pt x="156" y="211"/>
                  <a:pt x="156" y="211"/>
                </a:cubicBezTo>
                <a:cubicBezTo>
                  <a:pt x="157" y="211"/>
                  <a:pt x="158" y="211"/>
                  <a:pt x="158" y="211"/>
                </a:cubicBezTo>
                <a:cubicBezTo>
                  <a:pt x="158" y="210"/>
                  <a:pt x="158" y="210"/>
                  <a:pt x="158" y="209"/>
                </a:cubicBezTo>
                <a:cubicBezTo>
                  <a:pt x="159" y="209"/>
                  <a:pt x="159" y="209"/>
                  <a:pt x="160" y="209"/>
                </a:cubicBezTo>
                <a:cubicBezTo>
                  <a:pt x="160" y="210"/>
                  <a:pt x="160" y="211"/>
                  <a:pt x="159" y="212"/>
                </a:cubicBezTo>
                <a:cubicBezTo>
                  <a:pt x="159" y="213"/>
                  <a:pt x="160" y="214"/>
                  <a:pt x="161" y="214"/>
                </a:cubicBezTo>
                <a:cubicBezTo>
                  <a:pt x="161" y="215"/>
                  <a:pt x="161" y="214"/>
                  <a:pt x="161" y="214"/>
                </a:cubicBezTo>
                <a:cubicBezTo>
                  <a:pt x="161" y="215"/>
                  <a:pt x="161" y="215"/>
                  <a:pt x="161" y="215"/>
                </a:cubicBezTo>
                <a:cubicBezTo>
                  <a:pt x="162" y="216"/>
                  <a:pt x="162" y="216"/>
                  <a:pt x="163" y="216"/>
                </a:cubicBezTo>
                <a:cubicBezTo>
                  <a:pt x="163" y="217"/>
                  <a:pt x="163" y="217"/>
                  <a:pt x="164" y="217"/>
                </a:cubicBezTo>
                <a:cubicBezTo>
                  <a:pt x="165" y="217"/>
                  <a:pt x="166" y="216"/>
                  <a:pt x="166" y="217"/>
                </a:cubicBezTo>
                <a:cubicBezTo>
                  <a:pt x="166" y="219"/>
                  <a:pt x="166" y="218"/>
                  <a:pt x="167" y="218"/>
                </a:cubicBezTo>
                <a:cubicBezTo>
                  <a:pt x="167" y="218"/>
                  <a:pt x="167" y="219"/>
                  <a:pt x="168" y="219"/>
                </a:cubicBezTo>
                <a:cubicBezTo>
                  <a:pt x="168" y="220"/>
                  <a:pt x="168" y="220"/>
                  <a:pt x="169" y="220"/>
                </a:cubicBezTo>
                <a:cubicBezTo>
                  <a:pt x="169" y="220"/>
                  <a:pt x="169" y="221"/>
                  <a:pt x="169" y="222"/>
                </a:cubicBezTo>
                <a:cubicBezTo>
                  <a:pt x="169" y="222"/>
                  <a:pt x="169" y="222"/>
                  <a:pt x="169" y="222"/>
                </a:cubicBezTo>
                <a:cubicBezTo>
                  <a:pt x="169" y="222"/>
                  <a:pt x="169" y="222"/>
                  <a:pt x="170" y="223"/>
                </a:cubicBezTo>
                <a:cubicBezTo>
                  <a:pt x="170" y="223"/>
                  <a:pt x="171" y="223"/>
                  <a:pt x="171" y="224"/>
                </a:cubicBezTo>
                <a:cubicBezTo>
                  <a:pt x="171" y="224"/>
                  <a:pt x="172" y="225"/>
                  <a:pt x="172" y="225"/>
                </a:cubicBezTo>
                <a:cubicBezTo>
                  <a:pt x="173" y="225"/>
                  <a:pt x="173" y="224"/>
                  <a:pt x="173" y="223"/>
                </a:cubicBezTo>
                <a:cubicBezTo>
                  <a:pt x="173" y="223"/>
                  <a:pt x="174" y="223"/>
                  <a:pt x="174" y="224"/>
                </a:cubicBezTo>
                <a:cubicBezTo>
                  <a:pt x="174" y="224"/>
                  <a:pt x="174" y="224"/>
                  <a:pt x="175" y="225"/>
                </a:cubicBezTo>
                <a:cubicBezTo>
                  <a:pt x="176" y="225"/>
                  <a:pt x="177" y="225"/>
                  <a:pt x="177" y="224"/>
                </a:cubicBezTo>
                <a:cubicBezTo>
                  <a:pt x="176" y="224"/>
                  <a:pt x="177" y="223"/>
                  <a:pt x="176" y="223"/>
                </a:cubicBezTo>
                <a:cubicBezTo>
                  <a:pt x="176" y="222"/>
                  <a:pt x="175" y="222"/>
                  <a:pt x="175" y="222"/>
                </a:cubicBezTo>
                <a:cubicBezTo>
                  <a:pt x="175" y="222"/>
                  <a:pt x="176" y="222"/>
                  <a:pt x="176" y="221"/>
                </a:cubicBezTo>
                <a:cubicBezTo>
                  <a:pt x="175" y="221"/>
                  <a:pt x="175" y="221"/>
                  <a:pt x="174" y="220"/>
                </a:cubicBezTo>
                <a:cubicBezTo>
                  <a:pt x="174" y="220"/>
                  <a:pt x="173" y="220"/>
                  <a:pt x="173" y="220"/>
                </a:cubicBezTo>
                <a:cubicBezTo>
                  <a:pt x="172" y="220"/>
                  <a:pt x="171" y="220"/>
                  <a:pt x="170" y="220"/>
                </a:cubicBezTo>
                <a:cubicBezTo>
                  <a:pt x="169" y="219"/>
                  <a:pt x="169" y="220"/>
                  <a:pt x="169" y="218"/>
                </a:cubicBezTo>
                <a:cubicBezTo>
                  <a:pt x="169" y="218"/>
                  <a:pt x="170" y="219"/>
                  <a:pt x="170" y="219"/>
                </a:cubicBezTo>
                <a:cubicBezTo>
                  <a:pt x="171" y="219"/>
                  <a:pt x="171" y="219"/>
                  <a:pt x="171" y="218"/>
                </a:cubicBezTo>
                <a:cubicBezTo>
                  <a:pt x="171" y="218"/>
                  <a:pt x="171" y="218"/>
                  <a:pt x="171" y="218"/>
                </a:cubicBezTo>
                <a:cubicBezTo>
                  <a:pt x="172" y="218"/>
                  <a:pt x="173" y="217"/>
                  <a:pt x="173" y="217"/>
                </a:cubicBezTo>
                <a:cubicBezTo>
                  <a:pt x="174" y="217"/>
                  <a:pt x="173" y="219"/>
                  <a:pt x="175" y="218"/>
                </a:cubicBezTo>
                <a:cubicBezTo>
                  <a:pt x="175" y="217"/>
                  <a:pt x="174" y="216"/>
                  <a:pt x="175" y="215"/>
                </a:cubicBezTo>
                <a:cubicBezTo>
                  <a:pt x="175" y="215"/>
                  <a:pt x="175" y="214"/>
                  <a:pt x="175" y="214"/>
                </a:cubicBezTo>
                <a:cubicBezTo>
                  <a:pt x="175" y="213"/>
                  <a:pt x="176" y="217"/>
                  <a:pt x="176" y="217"/>
                </a:cubicBezTo>
                <a:cubicBezTo>
                  <a:pt x="177" y="218"/>
                  <a:pt x="178" y="218"/>
                  <a:pt x="180" y="218"/>
                </a:cubicBezTo>
                <a:cubicBezTo>
                  <a:pt x="180" y="218"/>
                  <a:pt x="180" y="219"/>
                  <a:pt x="180" y="220"/>
                </a:cubicBezTo>
                <a:cubicBezTo>
                  <a:pt x="181" y="220"/>
                  <a:pt x="181" y="220"/>
                  <a:pt x="182" y="219"/>
                </a:cubicBezTo>
                <a:cubicBezTo>
                  <a:pt x="182" y="220"/>
                  <a:pt x="181" y="221"/>
                  <a:pt x="181" y="222"/>
                </a:cubicBezTo>
                <a:cubicBezTo>
                  <a:pt x="183" y="221"/>
                  <a:pt x="182" y="223"/>
                  <a:pt x="183" y="223"/>
                </a:cubicBezTo>
                <a:cubicBezTo>
                  <a:pt x="183" y="223"/>
                  <a:pt x="183" y="224"/>
                  <a:pt x="183" y="224"/>
                </a:cubicBezTo>
                <a:cubicBezTo>
                  <a:pt x="183" y="225"/>
                  <a:pt x="184" y="225"/>
                  <a:pt x="184" y="225"/>
                </a:cubicBezTo>
                <a:cubicBezTo>
                  <a:pt x="184" y="226"/>
                  <a:pt x="183" y="227"/>
                  <a:pt x="184" y="227"/>
                </a:cubicBezTo>
                <a:cubicBezTo>
                  <a:pt x="184" y="227"/>
                  <a:pt x="185" y="227"/>
                  <a:pt x="186" y="227"/>
                </a:cubicBezTo>
                <a:cubicBezTo>
                  <a:pt x="186" y="227"/>
                  <a:pt x="186" y="228"/>
                  <a:pt x="185" y="228"/>
                </a:cubicBezTo>
                <a:cubicBezTo>
                  <a:pt x="186" y="230"/>
                  <a:pt x="186" y="230"/>
                  <a:pt x="187" y="230"/>
                </a:cubicBezTo>
                <a:cubicBezTo>
                  <a:pt x="187" y="230"/>
                  <a:pt x="188" y="231"/>
                  <a:pt x="188" y="232"/>
                </a:cubicBezTo>
                <a:cubicBezTo>
                  <a:pt x="189" y="232"/>
                  <a:pt x="191" y="233"/>
                  <a:pt x="191" y="233"/>
                </a:cubicBezTo>
                <a:cubicBezTo>
                  <a:pt x="191" y="234"/>
                  <a:pt x="191" y="235"/>
                  <a:pt x="191" y="236"/>
                </a:cubicBezTo>
                <a:cubicBezTo>
                  <a:pt x="190" y="236"/>
                  <a:pt x="190" y="237"/>
                  <a:pt x="190" y="238"/>
                </a:cubicBezTo>
                <a:cubicBezTo>
                  <a:pt x="191" y="238"/>
                  <a:pt x="192" y="238"/>
                  <a:pt x="192" y="236"/>
                </a:cubicBezTo>
                <a:cubicBezTo>
                  <a:pt x="192" y="236"/>
                  <a:pt x="192" y="236"/>
                  <a:pt x="192" y="235"/>
                </a:cubicBezTo>
                <a:cubicBezTo>
                  <a:pt x="193" y="235"/>
                  <a:pt x="193" y="235"/>
                  <a:pt x="193" y="236"/>
                </a:cubicBezTo>
                <a:cubicBezTo>
                  <a:pt x="194" y="236"/>
                  <a:pt x="194" y="236"/>
                  <a:pt x="194" y="236"/>
                </a:cubicBezTo>
                <a:cubicBezTo>
                  <a:pt x="193" y="236"/>
                  <a:pt x="193" y="236"/>
                  <a:pt x="193" y="236"/>
                </a:cubicBezTo>
                <a:cubicBezTo>
                  <a:pt x="193" y="237"/>
                  <a:pt x="193" y="238"/>
                  <a:pt x="192" y="237"/>
                </a:cubicBezTo>
                <a:cubicBezTo>
                  <a:pt x="192" y="238"/>
                  <a:pt x="193" y="240"/>
                  <a:pt x="193" y="241"/>
                </a:cubicBezTo>
                <a:cubicBezTo>
                  <a:pt x="194" y="241"/>
                  <a:pt x="194" y="240"/>
                  <a:pt x="195" y="241"/>
                </a:cubicBezTo>
                <a:cubicBezTo>
                  <a:pt x="195" y="240"/>
                  <a:pt x="195" y="240"/>
                  <a:pt x="195" y="240"/>
                </a:cubicBezTo>
                <a:cubicBezTo>
                  <a:pt x="195" y="239"/>
                  <a:pt x="195" y="238"/>
                  <a:pt x="195" y="237"/>
                </a:cubicBezTo>
                <a:cubicBezTo>
                  <a:pt x="195" y="238"/>
                  <a:pt x="196" y="240"/>
                  <a:pt x="196" y="240"/>
                </a:cubicBezTo>
                <a:cubicBezTo>
                  <a:pt x="196" y="240"/>
                  <a:pt x="196" y="242"/>
                  <a:pt x="196" y="242"/>
                </a:cubicBezTo>
                <a:cubicBezTo>
                  <a:pt x="195" y="242"/>
                  <a:pt x="195" y="242"/>
                  <a:pt x="194" y="242"/>
                </a:cubicBezTo>
                <a:cubicBezTo>
                  <a:pt x="194" y="243"/>
                  <a:pt x="195" y="243"/>
                  <a:pt x="196" y="243"/>
                </a:cubicBezTo>
                <a:cubicBezTo>
                  <a:pt x="196" y="244"/>
                  <a:pt x="195" y="244"/>
                  <a:pt x="195" y="244"/>
                </a:cubicBezTo>
                <a:cubicBezTo>
                  <a:pt x="196" y="245"/>
                  <a:pt x="196" y="245"/>
                  <a:pt x="197" y="245"/>
                </a:cubicBezTo>
                <a:cubicBezTo>
                  <a:pt x="198" y="245"/>
                  <a:pt x="198" y="245"/>
                  <a:pt x="198" y="244"/>
                </a:cubicBezTo>
                <a:cubicBezTo>
                  <a:pt x="199" y="243"/>
                  <a:pt x="199" y="243"/>
                  <a:pt x="200" y="242"/>
                </a:cubicBezTo>
                <a:cubicBezTo>
                  <a:pt x="201" y="242"/>
                  <a:pt x="201" y="242"/>
                  <a:pt x="201" y="243"/>
                </a:cubicBezTo>
                <a:cubicBezTo>
                  <a:pt x="201" y="243"/>
                  <a:pt x="200" y="244"/>
                  <a:pt x="200" y="244"/>
                </a:cubicBezTo>
                <a:cubicBezTo>
                  <a:pt x="199" y="244"/>
                  <a:pt x="200" y="244"/>
                  <a:pt x="200" y="244"/>
                </a:cubicBezTo>
                <a:cubicBezTo>
                  <a:pt x="199" y="244"/>
                  <a:pt x="199" y="245"/>
                  <a:pt x="198" y="245"/>
                </a:cubicBezTo>
                <a:cubicBezTo>
                  <a:pt x="198" y="245"/>
                  <a:pt x="198" y="246"/>
                  <a:pt x="198" y="246"/>
                </a:cubicBezTo>
                <a:cubicBezTo>
                  <a:pt x="198" y="246"/>
                  <a:pt x="198" y="246"/>
                  <a:pt x="197" y="246"/>
                </a:cubicBezTo>
                <a:cubicBezTo>
                  <a:pt x="197" y="247"/>
                  <a:pt x="197" y="248"/>
                  <a:pt x="197" y="248"/>
                </a:cubicBezTo>
                <a:cubicBezTo>
                  <a:pt x="197" y="249"/>
                  <a:pt x="197" y="249"/>
                  <a:pt x="198" y="249"/>
                </a:cubicBezTo>
                <a:cubicBezTo>
                  <a:pt x="198" y="249"/>
                  <a:pt x="198" y="249"/>
                  <a:pt x="199" y="249"/>
                </a:cubicBezTo>
                <a:cubicBezTo>
                  <a:pt x="198" y="250"/>
                  <a:pt x="198" y="251"/>
                  <a:pt x="199" y="251"/>
                </a:cubicBezTo>
                <a:cubicBezTo>
                  <a:pt x="200" y="252"/>
                  <a:pt x="199" y="252"/>
                  <a:pt x="198" y="252"/>
                </a:cubicBezTo>
                <a:cubicBezTo>
                  <a:pt x="199" y="253"/>
                  <a:pt x="199" y="255"/>
                  <a:pt x="200" y="255"/>
                </a:cubicBezTo>
                <a:cubicBezTo>
                  <a:pt x="200" y="256"/>
                  <a:pt x="201" y="256"/>
                  <a:pt x="201" y="257"/>
                </a:cubicBezTo>
                <a:cubicBezTo>
                  <a:pt x="203" y="256"/>
                  <a:pt x="202" y="256"/>
                  <a:pt x="202" y="254"/>
                </a:cubicBezTo>
                <a:cubicBezTo>
                  <a:pt x="202" y="255"/>
                  <a:pt x="202" y="255"/>
                  <a:pt x="203" y="254"/>
                </a:cubicBezTo>
                <a:cubicBezTo>
                  <a:pt x="203" y="254"/>
                  <a:pt x="204" y="254"/>
                  <a:pt x="204" y="254"/>
                </a:cubicBezTo>
                <a:cubicBezTo>
                  <a:pt x="204" y="254"/>
                  <a:pt x="204" y="254"/>
                  <a:pt x="204" y="254"/>
                </a:cubicBezTo>
                <a:cubicBezTo>
                  <a:pt x="205" y="254"/>
                  <a:pt x="205" y="254"/>
                  <a:pt x="205" y="255"/>
                </a:cubicBezTo>
                <a:cubicBezTo>
                  <a:pt x="204" y="255"/>
                  <a:pt x="203" y="256"/>
                  <a:pt x="204" y="257"/>
                </a:cubicBezTo>
                <a:cubicBezTo>
                  <a:pt x="204" y="257"/>
                  <a:pt x="205" y="257"/>
                  <a:pt x="205" y="258"/>
                </a:cubicBezTo>
                <a:cubicBezTo>
                  <a:pt x="204" y="258"/>
                  <a:pt x="204" y="257"/>
                  <a:pt x="203" y="257"/>
                </a:cubicBezTo>
                <a:cubicBezTo>
                  <a:pt x="202" y="258"/>
                  <a:pt x="203" y="259"/>
                  <a:pt x="204" y="260"/>
                </a:cubicBezTo>
                <a:cubicBezTo>
                  <a:pt x="205" y="260"/>
                  <a:pt x="204" y="260"/>
                  <a:pt x="206" y="260"/>
                </a:cubicBezTo>
                <a:cubicBezTo>
                  <a:pt x="206" y="260"/>
                  <a:pt x="206" y="260"/>
                  <a:pt x="206" y="259"/>
                </a:cubicBezTo>
                <a:cubicBezTo>
                  <a:pt x="206" y="259"/>
                  <a:pt x="206" y="259"/>
                  <a:pt x="207" y="259"/>
                </a:cubicBezTo>
                <a:cubicBezTo>
                  <a:pt x="207" y="260"/>
                  <a:pt x="206" y="260"/>
                  <a:pt x="206" y="261"/>
                </a:cubicBezTo>
                <a:cubicBezTo>
                  <a:pt x="207" y="261"/>
                  <a:pt x="207" y="261"/>
                  <a:pt x="207" y="262"/>
                </a:cubicBezTo>
                <a:cubicBezTo>
                  <a:pt x="208" y="262"/>
                  <a:pt x="208" y="262"/>
                  <a:pt x="209" y="263"/>
                </a:cubicBezTo>
                <a:cubicBezTo>
                  <a:pt x="209" y="263"/>
                  <a:pt x="209" y="263"/>
                  <a:pt x="210" y="263"/>
                </a:cubicBezTo>
                <a:cubicBezTo>
                  <a:pt x="209" y="264"/>
                  <a:pt x="208" y="264"/>
                  <a:pt x="210" y="264"/>
                </a:cubicBezTo>
                <a:cubicBezTo>
                  <a:pt x="211" y="264"/>
                  <a:pt x="210" y="266"/>
                  <a:pt x="210" y="265"/>
                </a:cubicBezTo>
                <a:cubicBezTo>
                  <a:pt x="210" y="266"/>
                  <a:pt x="209" y="267"/>
                  <a:pt x="210" y="267"/>
                </a:cubicBezTo>
                <a:cubicBezTo>
                  <a:pt x="212" y="268"/>
                  <a:pt x="210" y="268"/>
                  <a:pt x="210" y="268"/>
                </a:cubicBezTo>
                <a:cubicBezTo>
                  <a:pt x="210" y="268"/>
                  <a:pt x="210" y="268"/>
                  <a:pt x="210" y="269"/>
                </a:cubicBezTo>
                <a:cubicBezTo>
                  <a:pt x="210" y="269"/>
                  <a:pt x="210" y="269"/>
                  <a:pt x="209" y="269"/>
                </a:cubicBezTo>
                <a:cubicBezTo>
                  <a:pt x="209" y="269"/>
                  <a:pt x="209" y="270"/>
                  <a:pt x="209" y="270"/>
                </a:cubicBezTo>
                <a:cubicBezTo>
                  <a:pt x="209" y="271"/>
                  <a:pt x="209" y="272"/>
                  <a:pt x="210" y="272"/>
                </a:cubicBezTo>
                <a:cubicBezTo>
                  <a:pt x="210" y="272"/>
                  <a:pt x="210" y="272"/>
                  <a:pt x="210" y="272"/>
                </a:cubicBezTo>
                <a:cubicBezTo>
                  <a:pt x="210" y="272"/>
                  <a:pt x="211" y="272"/>
                  <a:pt x="211" y="272"/>
                </a:cubicBezTo>
                <a:cubicBezTo>
                  <a:pt x="211" y="272"/>
                  <a:pt x="211" y="272"/>
                  <a:pt x="211" y="272"/>
                </a:cubicBezTo>
                <a:cubicBezTo>
                  <a:pt x="211" y="271"/>
                  <a:pt x="213" y="271"/>
                  <a:pt x="214" y="271"/>
                </a:cubicBezTo>
                <a:cubicBezTo>
                  <a:pt x="214" y="272"/>
                  <a:pt x="215" y="272"/>
                  <a:pt x="215" y="272"/>
                </a:cubicBezTo>
                <a:cubicBezTo>
                  <a:pt x="215" y="272"/>
                  <a:pt x="215" y="273"/>
                  <a:pt x="214" y="273"/>
                </a:cubicBezTo>
                <a:cubicBezTo>
                  <a:pt x="215" y="273"/>
                  <a:pt x="215" y="274"/>
                  <a:pt x="215" y="274"/>
                </a:cubicBezTo>
                <a:cubicBezTo>
                  <a:pt x="215" y="274"/>
                  <a:pt x="216" y="273"/>
                  <a:pt x="216" y="273"/>
                </a:cubicBezTo>
                <a:cubicBezTo>
                  <a:pt x="216" y="273"/>
                  <a:pt x="217" y="273"/>
                  <a:pt x="217" y="273"/>
                </a:cubicBezTo>
                <a:cubicBezTo>
                  <a:pt x="218" y="273"/>
                  <a:pt x="217" y="273"/>
                  <a:pt x="218" y="273"/>
                </a:cubicBezTo>
                <a:cubicBezTo>
                  <a:pt x="218" y="273"/>
                  <a:pt x="219" y="273"/>
                  <a:pt x="219" y="273"/>
                </a:cubicBezTo>
                <a:cubicBezTo>
                  <a:pt x="220" y="273"/>
                  <a:pt x="221" y="272"/>
                  <a:pt x="222" y="272"/>
                </a:cubicBezTo>
                <a:cubicBezTo>
                  <a:pt x="222" y="273"/>
                  <a:pt x="222" y="274"/>
                  <a:pt x="223" y="274"/>
                </a:cubicBezTo>
                <a:cubicBezTo>
                  <a:pt x="223" y="274"/>
                  <a:pt x="223" y="275"/>
                  <a:pt x="223" y="275"/>
                </a:cubicBezTo>
                <a:cubicBezTo>
                  <a:pt x="223" y="276"/>
                  <a:pt x="223" y="275"/>
                  <a:pt x="224" y="276"/>
                </a:cubicBezTo>
                <a:cubicBezTo>
                  <a:pt x="224" y="276"/>
                  <a:pt x="224" y="276"/>
                  <a:pt x="224" y="276"/>
                </a:cubicBezTo>
                <a:cubicBezTo>
                  <a:pt x="225" y="276"/>
                  <a:pt x="225" y="276"/>
                  <a:pt x="225" y="276"/>
                </a:cubicBezTo>
                <a:cubicBezTo>
                  <a:pt x="226" y="276"/>
                  <a:pt x="226" y="276"/>
                  <a:pt x="227" y="276"/>
                </a:cubicBezTo>
                <a:cubicBezTo>
                  <a:pt x="227" y="277"/>
                  <a:pt x="227" y="277"/>
                  <a:pt x="228" y="277"/>
                </a:cubicBezTo>
                <a:cubicBezTo>
                  <a:pt x="228" y="277"/>
                  <a:pt x="228" y="278"/>
                  <a:pt x="227" y="278"/>
                </a:cubicBezTo>
                <a:cubicBezTo>
                  <a:pt x="227" y="279"/>
                  <a:pt x="227" y="279"/>
                  <a:pt x="227" y="279"/>
                </a:cubicBezTo>
                <a:cubicBezTo>
                  <a:pt x="228" y="279"/>
                  <a:pt x="228" y="279"/>
                  <a:pt x="229" y="279"/>
                </a:cubicBezTo>
                <a:cubicBezTo>
                  <a:pt x="229" y="278"/>
                  <a:pt x="229" y="278"/>
                  <a:pt x="230" y="278"/>
                </a:cubicBezTo>
                <a:cubicBezTo>
                  <a:pt x="230" y="278"/>
                  <a:pt x="231" y="278"/>
                  <a:pt x="231" y="279"/>
                </a:cubicBezTo>
                <a:cubicBezTo>
                  <a:pt x="230" y="279"/>
                  <a:pt x="230" y="279"/>
                  <a:pt x="231" y="280"/>
                </a:cubicBezTo>
                <a:cubicBezTo>
                  <a:pt x="231" y="280"/>
                  <a:pt x="231" y="280"/>
                  <a:pt x="232" y="280"/>
                </a:cubicBezTo>
                <a:cubicBezTo>
                  <a:pt x="232" y="280"/>
                  <a:pt x="232" y="281"/>
                  <a:pt x="232" y="281"/>
                </a:cubicBezTo>
                <a:cubicBezTo>
                  <a:pt x="233" y="282"/>
                  <a:pt x="233" y="281"/>
                  <a:pt x="233" y="282"/>
                </a:cubicBezTo>
                <a:cubicBezTo>
                  <a:pt x="233" y="283"/>
                  <a:pt x="235" y="283"/>
                  <a:pt x="235" y="284"/>
                </a:cubicBezTo>
                <a:cubicBezTo>
                  <a:pt x="235" y="285"/>
                  <a:pt x="234" y="285"/>
                  <a:pt x="233" y="286"/>
                </a:cubicBezTo>
                <a:cubicBezTo>
                  <a:pt x="234" y="286"/>
                  <a:pt x="236" y="288"/>
                  <a:pt x="234" y="288"/>
                </a:cubicBezTo>
                <a:cubicBezTo>
                  <a:pt x="235" y="288"/>
                  <a:pt x="235" y="288"/>
                  <a:pt x="236" y="288"/>
                </a:cubicBezTo>
                <a:cubicBezTo>
                  <a:pt x="236" y="288"/>
                  <a:pt x="236" y="288"/>
                  <a:pt x="236" y="288"/>
                </a:cubicBezTo>
                <a:cubicBezTo>
                  <a:pt x="236" y="290"/>
                  <a:pt x="235" y="291"/>
                  <a:pt x="236" y="293"/>
                </a:cubicBezTo>
                <a:cubicBezTo>
                  <a:pt x="235" y="293"/>
                  <a:pt x="235" y="293"/>
                  <a:pt x="235" y="292"/>
                </a:cubicBezTo>
                <a:cubicBezTo>
                  <a:pt x="235" y="292"/>
                  <a:pt x="234" y="291"/>
                  <a:pt x="234" y="291"/>
                </a:cubicBezTo>
                <a:cubicBezTo>
                  <a:pt x="234" y="290"/>
                  <a:pt x="234" y="290"/>
                  <a:pt x="234" y="289"/>
                </a:cubicBezTo>
                <a:cubicBezTo>
                  <a:pt x="234" y="290"/>
                  <a:pt x="234" y="290"/>
                  <a:pt x="235" y="290"/>
                </a:cubicBezTo>
                <a:cubicBezTo>
                  <a:pt x="235" y="289"/>
                  <a:pt x="234" y="288"/>
                  <a:pt x="234" y="288"/>
                </a:cubicBezTo>
                <a:cubicBezTo>
                  <a:pt x="233" y="288"/>
                  <a:pt x="233" y="288"/>
                  <a:pt x="233" y="289"/>
                </a:cubicBezTo>
                <a:cubicBezTo>
                  <a:pt x="232" y="289"/>
                  <a:pt x="231" y="289"/>
                  <a:pt x="230" y="289"/>
                </a:cubicBezTo>
                <a:cubicBezTo>
                  <a:pt x="230" y="289"/>
                  <a:pt x="230" y="289"/>
                  <a:pt x="230" y="289"/>
                </a:cubicBezTo>
                <a:cubicBezTo>
                  <a:pt x="230" y="289"/>
                  <a:pt x="228" y="289"/>
                  <a:pt x="228" y="288"/>
                </a:cubicBezTo>
                <a:cubicBezTo>
                  <a:pt x="227" y="288"/>
                  <a:pt x="227" y="289"/>
                  <a:pt x="226" y="289"/>
                </a:cubicBezTo>
                <a:cubicBezTo>
                  <a:pt x="226" y="288"/>
                  <a:pt x="224" y="288"/>
                  <a:pt x="223" y="288"/>
                </a:cubicBezTo>
                <a:cubicBezTo>
                  <a:pt x="224" y="289"/>
                  <a:pt x="224" y="290"/>
                  <a:pt x="224" y="291"/>
                </a:cubicBezTo>
                <a:cubicBezTo>
                  <a:pt x="225" y="291"/>
                  <a:pt x="225" y="292"/>
                  <a:pt x="225" y="293"/>
                </a:cubicBezTo>
                <a:cubicBezTo>
                  <a:pt x="226" y="293"/>
                  <a:pt x="226" y="294"/>
                  <a:pt x="227" y="295"/>
                </a:cubicBezTo>
                <a:cubicBezTo>
                  <a:pt x="227" y="296"/>
                  <a:pt x="226" y="297"/>
                  <a:pt x="227" y="296"/>
                </a:cubicBezTo>
                <a:cubicBezTo>
                  <a:pt x="227" y="297"/>
                  <a:pt x="227" y="297"/>
                  <a:pt x="227" y="298"/>
                </a:cubicBezTo>
                <a:cubicBezTo>
                  <a:pt x="228" y="298"/>
                  <a:pt x="228" y="298"/>
                  <a:pt x="228" y="298"/>
                </a:cubicBezTo>
                <a:cubicBezTo>
                  <a:pt x="228" y="299"/>
                  <a:pt x="228" y="300"/>
                  <a:pt x="228" y="300"/>
                </a:cubicBezTo>
                <a:cubicBezTo>
                  <a:pt x="228" y="300"/>
                  <a:pt x="227" y="300"/>
                  <a:pt x="227" y="300"/>
                </a:cubicBezTo>
                <a:cubicBezTo>
                  <a:pt x="227" y="300"/>
                  <a:pt x="227" y="302"/>
                  <a:pt x="227" y="302"/>
                </a:cubicBezTo>
                <a:cubicBezTo>
                  <a:pt x="227" y="303"/>
                  <a:pt x="228" y="302"/>
                  <a:pt x="228" y="303"/>
                </a:cubicBezTo>
                <a:cubicBezTo>
                  <a:pt x="228" y="303"/>
                  <a:pt x="228" y="303"/>
                  <a:pt x="227" y="303"/>
                </a:cubicBezTo>
                <a:cubicBezTo>
                  <a:pt x="227" y="304"/>
                  <a:pt x="227" y="307"/>
                  <a:pt x="228" y="307"/>
                </a:cubicBezTo>
                <a:cubicBezTo>
                  <a:pt x="227" y="308"/>
                  <a:pt x="227" y="308"/>
                  <a:pt x="227" y="309"/>
                </a:cubicBezTo>
                <a:cubicBezTo>
                  <a:pt x="227" y="309"/>
                  <a:pt x="227" y="311"/>
                  <a:pt x="227" y="311"/>
                </a:cubicBezTo>
                <a:cubicBezTo>
                  <a:pt x="227" y="311"/>
                  <a:pt x="227" y="313"/>
                  <a:pt x="227" y="313"/>
                </a:cubicBezTo>
                <a:cubicBezTo>
                  <a:pt x="226" y="313"/>
                  <a:pt x="227" y="314"/>
                  <a:pt x="227" y="315"/>
                </a:cubicBezTo>
                <a:cubicBezTo>
                  <a:pt x="226" y="315"/>
                  <a:pt x="226" y="319"/>
                  <a:pt x="226" y="320"/>
                </a:cubicBezTo>
                <a:cubicBezTo>
                  <a:pt x="226" y="320"/>
                  <a:pt x="226" y="321"/>
                  <a:pt x="226" y="321"/>
                </a:cubicBezTo>
                <a:cubicBezTo>
                  <a:pt x="226" y="321"/>
                  <a:pt x="226" y="321"/>
                  <a:pt x="226" y="322"/>
                </a:cubicBezTo>
                <a:cubicBezTo>
                  <a:pt x="225" y="323"/>
                  <a:pt x="225" y="324"/>
                  <a:pt x="226" y="325"/>
                </a:cubicBezTo>
                <a:cubicBezTo>
                  <a:pt x="226" y="326"/>
                  <a:pt x="226" y="328"/>
                  <a:pt x="226" y="329"/>
                </a:cubicBezTo>
                <a:cubicBezTo>
                  <a:pt x="227" y="329"/>
                  <a:pt x="229" y="331"/>
                  <a:pt x="228" y="331"/>
                </a:cubicBezTo>
                <a:cubicBezTo>
                  <a:pt x="227" y="331"/>
                  <a:pt x="227" y="331"/>
                  <a:pt x="227" y="332"/>
                </a:cubicBezTo>
                <a:cubicBezTo>
                  <a:pt x="227" y="333"/>
                  <a:pt x="227" y="332"/>
                  <a:pt x="227" y="332"/>
                </a:cubicBezTo>
                <a:cubicBezTo>
                  <a:pt x="227" y="333"/>
                  <a:pt x="227" y="333"/>
                  <a:pt x="227" y="334"/>
                </a:cubicBezTo>
                <a:cubicBezTo>
                  <a:pt x="227" y="334"/>
                  <a:pt x="228" y="334"/>
                  <a:pt x="228" y="335"/>
                </a:cubicBezTo>
                <a:cubicBezTo>
                  <a:pt x="227" y="334"/>
                  <a:pt x="227" y="339"/>
                  <a:pt x="227" y="340"/>
                </a:cubicBezTo>
                <a:cubicBezTo>
                  <a:pt x="227" y="340"/>
                  <a:pt x="227" y="339"/>
                  <a:pt x="226" y="340"/>
                </a:cubicBezTo>
                <a:cubicBezTo>
                  <a:pt x="226" y="340"/>
                  <a:pt x="227" y="340"/>
                  <a:pt x="226" y="340"/>
                </a:cubicBezTo>
                <a:cubicBezTo>
                  <a:pt x="226" y="341"/>
                  <a:pt x="226" y="342"/>
                  <a:pt x="227" y="342"/>
                </a:cubicBezTo>
                <a:cubicBezTo>
                  <a:pt x="227" y="342"/>
                  <a:pt x="227" y="342"/>
                  <a:pt x="227" y="342"/>
                </a:cubicBezTo>
                <a:cubicBezTo>
                  <a:pt x="227" y="342"/>
                  <a:pt x="227" y="343"/>
                  <a:pt x="227" y="343"/>
                </a:cubicBezTo>
                <a:cubicBezTo>
                  <a:pt x="227" y="344"/>
                  <a:pt x="228" y="343"/>
                  <a:pt x="228" y="343"/>
                </a:cubicBezTo>
                <a:cubicBezTo>
                  <a:pt x="228" y="344"/>
                  <a:pt x="228" y="344"/>
                  <a:pt x="228" y="344"/>
                </a:cubicBezTo>
                <a:cubicBezTo>
                  <a:pt x="228" y="345"/>
                  <a:pt x="229" y="344"/>
                  <a:pt x="229" y="345"/>
                </a:cubicBezTo>
                <a:cubicBezTo>
                  <a:pt x="229" y="345"/>
                  <a:pt x="229" y="345"/>
                  <a:pt x="229" y="346"/>
                </a:cubicBezTo>
                <a:cubicBezTo>
                  <a:pt x="229" y="347"/>
                  <a:pt x="229" y="346"/>
                  <a:pt x="229" y="347"/>
                </a:cubicBezTo>
                <a:cubicBezTo>
                  <a:pt x="229" y="348"/>
                  <a:pt x="230" y="349"/>
                  <a:pt x="230" y="350"/>
                </a:cubicBezTo>
                <a:cubicBezTo>
                  <a:pt x="230" y="351"/>
                  <a:pt x="231" y="350"/>
                  <a:pt x="231" y="351"/>
                </a:cubicBezTo>
                <a:cubicBezTo>
                  <a:pt x="231" y="351"/>
                  <a:pt x="231" y="352"/>
                  <a:pt x="232" y="352"/>
                </a:cubicBezTo>
                <a:cubicBezTo>
                  <a:pt x="233" y="352"/>
                  <a:pt x="232" y="353"/>
                  <a:pt x="232" y="354"/>
                </a:cubicBezTo>
                <a:cubicBezTo>
                  <a:pt x="232" y="354"/>
                  <a:pt x="232" y="355"/>
                  <a:pt x="232" y="355"/>
                </a:cubicBezTo>
                <a:cubicBezTo>
                  <a:pt x="232" y="355"/>
                  <a:pt x="234" y="355"/>
                  <a:pt x="234" y="356"/>
                </a:cubicBezTo>
                <a:cubicBezTo>
                  <a:pt x="234" y="355"/>
                  <a:pt x="234" y="354"/>
                  <a:pt x="234" y="354"/>
                </a:cubicBezTo>
                <a:cubicBezTo>
                  <a:pt x="235" y="353"/>
                  <a:pt x="236" y="354"/>
                  <a:pt x="236" y="354"/>
                </a:cubicBezTo>
                <a:cubicBezTo>
                  <a:pt x="236" y="355"/>
                  <a:pt x="235" y="356"/>
                  <a:pt x="236" y="356"/>
                </a:cubicBezTo>
                <a:cubicBezTo>
                  <a:pt x="236" y="357"/>
                  <a:pt x="237" y="357"/>
                  <a:pt x="237" y="358"/>
                </a:cubicBezTo>
                <a:cubicBezTo>
                  <a:pt x="235" y="357"/>
                  <a:pt x="234" y="356"/>
                  <a:pt x="234" y="358"/>
                </a:cubicBezTo>
                <a:cubicBezTo>
                  <a:pt x="234" y="359"/>
                  <a:pt x="235" y="359"/>
                  <a:pt x="235" y="359"/>
                </a:cubicBezTo>
                <a:cubicBezTo>
                  <a:pt x="236" y="359"/>
                  <a:pt x="236" y="359"/>
                  <a:pt x="236" y="360"/>
                </a:cubicBezTo>
                <a:cubicBezTo>
                  <a:pt x="236" y="361"/>
                  <a:pt x="237" y="360"/>
                  <a:pt x="237" y="361"/>
                </a:cubicBezTo>
                <a:cubicBezTo>
                  <a:pt x="238" y="361"/>
                  <a:pt x="239" y="361"/>
                  <a:pt x="238" y="362"/>
                </a:cubicBezTo>
                <a:cubicBezTo>
                  <a:pt x="237" y="362"/>
                  <a:pt x="237" y="362"/>
                  <a:pt x="237" y="364"/>
                </a:cubicBezTo>
                <a:cubicBezTo>
                  <a:pt x="237" y="364"/>
                  <a:pt x="238" y="365"/>
                  <a:pt x="238" y="365"/>
                </a:cubicBezTo>
                <a:cubicBezTo>
                  <a:pt x="238" y="366"/>
                  <a:pt x="238" y="366"/>
                  <a:pt x="238" y="366"/>
                </a:cubicBezTo>
                <a:cubicBezTo>
                  <a:pt x="238" y="367"/>
                  <a:pt x="239" y="367"/>
                  <a:pt x="239" y="367"/>
                </a:cubicBezTo>
                <a:cubicBezTo>
                  <a:pt x="239" y="368"/>
                  <a:pt x="240" y="369"/>
                  <a:pt x="241" y="370"/>
                </a:cubicBezTo>
                <a:cubicBezTo>
                  <a:pt x="242" y="370"/>
                  <a:pt x="241" y="371"/>
                  <a:pt x="242" y="371"/>
                </a:cubicBezTo>
                <a:cubicBezTo>
                  <a:pt x="242" y="373"/>
                  <a:pt x="242" y="373"/>
                  <a:pt x="243" y="373"/>
                </a:cubicBezTo>
                <a:cubicBezTo>
                  <a:pt x="244" y="373"/>
                  <a:pt x="244" y="374"/>
                  <a:pt x="244" y="374"/>
                </a:cubicBezTo>
                <a:cubicBezTo>
                  <a:pt x="244" y="374"/>
                  <a:pt x="244" y="375"/>
                  <a:pt x="244" y="376"/>
                </a:cubicBezTo>
                <a:cubicBezTo>
                  <a:pt x="243" y="376"/>
                  <a:pt x="244" y="376"/>
                  <a:pt x="244" y="376"/>
                </a:cubicBezTo>
                <a:cubicBezTo>
                  <a:pt x="244" y="377"/>
                  <a:pt x="244" y="377"/>
                  <a:pt x="244" y="377"/>
                </a:cubicBezTo>
                <a:cubicBezTo>
                  <a:pt x="245" y="377"/>
                  <a:pt x="245" y="377"/>
                  <a:pt x="246" y="377"/>
                </a:cubicBezTo>
                <a:cubicBezTo>
                  <a:pt x="247" y="377"/>
                  <a:pt x="247" y="377"/>
                  <a:pt x="247" y="378"/>
                </a:cubicBezTo>
                <a:cubicBezTo>
                  <a:pt x="247" y="378"/>
                  <a:pt x="248" y="378"/>
                  <a:pt x="248" y="378"/>
                </a:cubicBezTo>
                <a:cubicBezTo>
                  <a:pt x="248" y="378"/>
                  <a:pt x="248" y="378"/>
                  <a:pt x="248" y="378"/>
                </a:cubicBezTo>
                <a:cubicBezTo>
                  <a:pt x="249" y="378"/>
                  <a:pt x="250" y="378"/>
                  <a:pt x="251" y="379"/>
                </a:cubicBezTo>
                <a:cubicBezTo>
                  <a:pt x="252" y="379"/>
                  <a:pt x="252" y="379"/>
                  <a:pt x="252" y="380"/>
                </a:cubicBezTo>
                <a:cubicBezTo>
                  <a:pt x="252" y="380"/>
                  <a:pt x="252" y="381"/>
                  <a:pt x="253" y="381"/>
                </a:cubicBezTo>
                <a:cubicBezTo>
                  <a:pt x="253" y="381"/>
                  <a:pt x="253" y="382"/>
                  <a:pt x="253" y="381"/>
                </a:cubicBezTo>
                <a:cubicBezTo>
                  <a:pt x="254" y="380"/>
                  <a:pt x="254" y="380"/>
                  <a:pt x="255" y="381"/>
                </a:cubicBezTo>
                <a:cubicBezTo>
                  <a:pt x="255" y="382"/>
                  <a:pt x="255" y="382"/>
                  <a:pt x="256" y="383"/>
                </a:cubicBezTo>
                <a:cubicBezTo>
                  <a:pt x="257" y="383"/>
                  <a:pt x="257" y="384"/>
                  <a:pt x="258" y="384"/>
                </a:cubicBezTo>
                <a:cubicBezTo>
                  <a:pt x="258" y="384"/>
                  <a:pt x="259" y="385"/>
                  <a:pt x="259" y="385"/>
                </a:cubicBezTo>
                <a:cubicBezTo>
                  <a:pt x="259" y="385"/>
                  <a:pt x="259" y="386"/>
                  <a:pt x="259" y="386"/>
                </a:cubicBezTo>
                <a:cubicBezTo>
                  <a:pt x="259" y="387"/>
                  <a:pt x="259" y="387"/>
                  <a:pt x="259" y="387"/>
                </a:cubicBezTo>
                <a:cubicBezTo>
                  <a:pt x="259" y="387"/>
                  <a:pt x="259" y="387"/>
                  <a:pt x="259" y="388"/>
                </a:cubicBezTo>
                <a:cubicBezTo>
                  <a:pt x="259" y="388"/>
                  <a:pt x="260" y="388"/>
                  <a:pt x="260" y="388"/>
                </a:cubicBezTo>
                <a:cubicBezTo>
                  <a:pt x="260" y="389"/>
                  <a:pt x="259" y="388"/>
                  <a:pt x="259" y="389"/>
                </a:cubicBezTo>
                <a:cubicBezTo>
                  <a:pt x="260" y="390"/>
                  <a:pt x="260" y="389"/>
                  <a:pt x="260" y="390"/>
                </a:cubicBezTo>
                <a:cubicBezTo>
                  <a:pt x="260" y="391"/>
                  <a:pt x="260" y="391"/>
                  <a:pt x="260" y="391"/>
                </a:cubicBezTo>
                <a:cubicBezTo>
                  <a:pt x="260" y="392"/>
                  <a:pt x="261" y="392"/>
                  <a:pt x="262" y="393"/>
                </a:cubicBezTo>
                <a:cubicBezTo>
                  <a:pt x="262" y="393"/>
                  <a:pt x="262" y="393"/>
                  <a:pt x="262" y="394"/>
                </a:cubicBezTo>
                <a:cubicBezTo>
                  <a:pt x="262" y="394"/>
                  <a:pt x="263" y="395"/>
                  <a:pt x="264" y="395"/>
                </a:cubicBezTo>
                <a:cubicBezTo>
                  <a:pt x="264" y="396"/>
                  <a:pt x="263" y="397"/>
                  <a:pt x="263" y="397"/>
                </a:cubicBezTo>
                <a:cubicBezTo>
                  <a:pt x="263" y="398"/>
                  <a:pt x="263" y="398"/>
                  <a:pt x="264" y="398"/>
                </a:cubicBezTo>
                <a:cubicBezTo>
                  <a:pt x="264" y="398"/>
                  <a:pt x="264" y="399"/>
                  <a:pt x="264" y="399"/>
                </a:cubicBezTo>
                <a:cubicBezTo>
                  <a:pt x="264" y="400"/>
                  <a:pt x="265" y="400"/>
                  <a:pt x="265" y="400"/>
                </a:cubicBezTo>
                <a:cubicBezTo>
                  <a:pt x="265" y="401"/>
                  <a:pt x="266" y="401"/>
                  <a:pt x="266" y="401"/>
                </a:cubicBezTo>
                <a:cubicBezTo>
                  <a:pt x="266" y="401"/>
                  <a:pt x="266" y="401"/>
                  <a:pt x="266" y="401"/>
                </a:cubicBezTo>
                <a:cubicBezTo>
                  <a:pt x="266" y="402"/>
                  <a:pt x="267" y="402"/>
                  <a:pt x="267" y="402"/>
                </a:cubicBezTo>
                <a:cubicBezTo>
                  <a:pt x="268" y="402"/>
                  <a:pt x="267" y="403"/>
                  <a:pt x="268" y="403"/>
                </a:cubicBezTo>
                <a:cubicBezTo>
                  <a:pt x="269" y="403"/>
                  <a:pt x="270" y="403"/>
                  <a:pt x="270" y="404"/>
                </a:cubicBezTo>
                <a:cubicBezTo>
                  <a:pt x="270" y="404"/>
                  <a:pt x="270" y="405"/>
                  <a:pt x="270" y="404"/>
                </a:cubicBezTo>
                <a:cubicBezTo>
                  <a:pt x="271" y="405"/>
                  <a:pt x="271" y="405"/>
                  <a:pt x="272" y="406"/>
                </a:cubicBezTo>
                <a:cubicBezTo>
                  <a:pt x="273" y="407"/>
                  <a:pt x="273" y="407"/>
                  <a:pt x="273" y="409"/>
                </a:cubicBezTo>
                <a:cubicBezTo>
                  <a:pt x="272" y="410"/>
                  <a:pt x="273" y="410"/>
                  <a:pt x="273" y="410"/>
                </a:cubicBezTo>
                <a:cubicBezTo>
                  <a:pt x="273" y="411"/>
                  <a:pt x="273" y="411"/>
                  <a:pt x="274" y="412"/>
                </a:cubicBezTo>
                <a:cubicBezTo>
                  <a:pt x="273" y="412"/>
                  <a:pt x="273" y="412"/>
                  <a:pt x="273" y="412"/>
                </a:cubicBezTo>
                <a:cubicBezTo>
                  <a:pt x="273" y="413"/>
                  <a:pt x="273" y="414"/>
                  <a:pt x="274" y="414"/>
                </a:cubicBezTo>
                <a:cubicBezTo>
                  <a:pt x="273" y="414"/>
                  <a:pt x="273" y="415"/>
                  <a:pt x="273" y="415"/>
                </a:cubicBezTo>
                <a:cubicBezTo>
                  <a:pt x="273" y="416"/>
                  <a:pt x="273" y="415"/>
                  <a:pt x="273" y="416"/>
                </a:cubicBezTo>
                <a:cubicBezTo>
                  <a:pt x="272" y="415"/>
                  <a:pt x="270" y="416"/>
                  <a:pt x="269" y="416"/>
                </a:cubicBezTo>
                <a:cubicBezTo>
                  <a:pt x="270" y="418"/>
                  <a:pt x="271" y="417"/>
                  <a:pt x="271" y="418"/>
                </a:cubicBezTo>
                <a:cubicBezTo>
                  <a:pt x="272" y="419"/>
                  <a:pt x="273" y="420"/>
                  <a:pt x="274" y="421"/>
                </a:cubicBezTo>
                <a:cubicBezTo>
                  <a:pt x="274" y="421"/>
                  <a:pt x="274" y="420"/>
                  <a:pt x="275" y="421"/>
                </a:cubicBezTo>
                <a:cubicBezTo>
                  <a:pt x="275" y="421"/>
                  <a:pt x="274" y="422"/>
                  <a:pt x="275" y="422"/>
                </a:cubicBezTo>
                <a:cubicBezTo>
                  <a:pt x="275" y="422"/>
                  <a:pt x="276" y="422"/>
                  <a:pt x="276" y="422"/>
                </a:cubicBezTo>
                <a:cubicBezTo>
                  <a:pt x="277" y="422"/>
                  <a:pt x="277" y="422"/>
                  <a:pt x="277" y="423"/>
                </a:cubicBezTo>
                <a:cubicBezTo>
                  <a:pt x="278" y="423"/>
                  <a:pt x="279" y="423"/>
                  <a:pt x="279" y="424"/>
                </a:cubicBezTo>
                <a:cubicBezTo>
                  <a:pt x="280" y="424"/>
                  <a:pt x="281" y="424"/>
                  <a:pt x="281" y="425"/>
                </a:cubicBezTo>
                <a:cubicBezTo>
                  <a:pt x="281" y="426"/>
                  <a:pt x="283" y="426"/>
                  <a:pt x="282" y="427"/>
                </a:cubicBezTo>
                <a:cubicBezTo>
                  <a:pt x="282" y="427"/>
                  <a:pt x="282" y="428"/>
                  <a:pt x="282" y="428"/>
                </a:cubicBezTo>
                <a:cubicBezTo>
                  <a:pt x="282" y="429"/>
                  <a:pt x="283" y="428"/>
                  <a:pt x="283" y="429"/>
                </a:cubicBezTo>
                <a:cubicBezTo>
                  <a:pt x="283" y="429"/>
                  <a:pt x="283" y="429"/>
                  <a:pt x="283" y="430"/>
                </a:cubicBezTo>
                <a:cubicBezTo>
                  <a:pt x="283" y="430"/>
                  <a:pt x="283" y="430"/>
                  <a:pt x="283" y="430"/>
                </a:cubicBezTo>
                <a:cubicBezTo>
                  <a:pt x="283" y="431"/>
                  <a:pt x="283" y="433"/>
                  <a:pt x="283" y="434"/>
                </a:cubicBezTo>
                <a:cubicBezTo>
                  <a:pt x="283" y="435"/>
                  <a:pt x="284" y="435"/>
                  <a:pt x="285" y="435"/>
                </a:cubicBezTo>
                <a:cubicBezTo>
                  <a:pt x="285" y="435"/>
                  <a:pt x="286" y="435"/>
                  <a:pt x="285" y="436"/>
                </a:cubicBezTo>
                <a:cubicBezTo>
                  <a:pt x="286" y="437"/>
                  <a:pt x="286" y="436"/>
                  <a:pt x="287" y="437"/>
                </a:cubicBezTo>
                <a:cubicBezTo>
                  <a:pt x="287" y="437"/>
                  <a:pt x="288" y="438"/>
                  <a:pt x="288" y="439"/>
                </a:cubicBezTo>
                <a:cubicBezTo>
                  <a:pt x="289" y="439"/>
                  <a:pt x="289" y="440"/>
                  <a:pt x="290" y="440"/>
                </a:cubicBezTo>
                <a:cubicBezTo>
                  <a:pt x="290" y="441"/>
                  <a:pt x="290" y="441"/>
                  <a:pt x="291" y="441"/>
                </a:cubicBezTo>
                <a:cubicBezTo>
                  <a:pt x="291" y="442"/>
                  <a:pt x="291" y="442"/>
                  <a:pt x="291" y="443"/>
                </a:cubicBezTo>
                <a:cubicBezTo>
                  <a:pt x="292" y="443"/>
                  <a:pt x="292" y="443"/>
                  <a:pt x="292" y="444"/>
                </a:cubicBezTo>
                <a:cubicBezTo>
                  <a:pt x="292" y="445"/>
                  <a:pt x="292" y="444"/>
                  <a:pt x="292" y="445"/>
                </a:cubicBezTo>
                <a:cubicBezTo>
                  <a:pt x="293" y="445"/>
                  <a:pt x="292" y="445"/>
                  <a:pt x="293" y="445"/>
                </a:cubicBezTo>
                <a:cubicBezTo>
                  <a:pt x="294" y="445"/>
                  <a:pt x="293" y="444"/>
                  <a:pt x="293" y="444"/>
                </a:cubicBezTo>
                <a:cubicBezTo>
                  <a:pt x="294" y="444"/>
                  <a:pt x="295" y="444"/>
                  <a:pt x="295" y="442"/>
                </a:cubicBezTo>
                <a:cubicBezTo>
                  <a:pt x="295" y="442"/>
                  <a:pt x="294" y="441"/>
                  <a:pt x="294" y="441"/>
                </a:cubicBezTo>
                <a:cubicBezTo>
                  <a:pt x="294" y="441"/>
                  <a:pt x="294" y="441"/>
                  <a:pt x="294" y="441"/>
                </a:cubicBezTo>
                <a:cubicBezTo>
                  <a:pt x="294" y="441"/>
                  <a:pt x="293" y="440"/>
                  <a:pt x="293" y="440"/>
                </a:cubicBezTo>
                <a:cubicBezTo>
                  <a:pt x="293" y="440"/>
                  <a:pt x="293" y="440"/>
                  <a:pt x="292" y="440"/>
                </a:cubicBezTo>
                <a:cubicBezTo>
                  <a:pt x="292" y="439"/>
                  <a:pt x="292" y="439"/>
                  <a:pt x="292" y="439"/>
                </a:cubicBezTo>
                <a:cubicBezTo>
                  <a:pt x="292" y="438"/>
                  <a:pt x="292" y="438"/>
                  <a:pt x="291" y="437"/>
                </a:cubicBezTo>
                <a:cubicBezTo>
                  <a:pt x="290" y="437"/>
                  <a:pt x="289" y="437"/>
                  <a:pt x="289" y="436"/>
                </a:cubicBezTo>
                <a:cubicBezTo>
                  <a:pt x="289" y="436"/>
                  <a:pt x="289" y="436"/>
                  <a:pt x="289" y="435"/>
                </a:cubicBezTo>
                <a:cubicBezTo>
                  <a:pt x="290" y="434"/>
                  <a:pt x="290" y="434"/>
                  <a:pt x="289" y="433"/>
                </a:cubicBezTo>
                <a:cubicBezTo>
                  <a:pt x="287" y="432"/>
                  <a:pt x="289" y="431"/>
                  <a:pt x="288" y="430"/>
                </a:cubicBezTo>
                <a:cubicBezTo>
                  <a:pt x="288" y="430"/>
                  <a:pt x="288" y="430"/>
                  <a:pt x="288" y="430"/>
                </a:cubicBezTo>
                <a:cubicBezTo>
                  <a:pt x="288" y="429"/>
                  <a:pt x="287" y="430"/>
                  <a:pt x="287" y="429"/>
                </a:cubicBezTo>
                <a:cubicBezTo>
                  <a:pt x="287" y="428"/>
                  <a:pt x="287" y="428"/>
                  <a:pt x="286" y="428"/>
                </a:cubicBezTo>
                <a:cubicBezTo>
                  <a:pt x="286" y="428"/>
                  <a:pt x="286" y="427"/>
                  <a:pt x="286" y="427"/>
                </a:cubicBezTo>
                <a:cubicBezTo>
                  <a:pt x="286" y="426"/>
                  <a:pt x="286" y="426"/>
                  <a:pt x="286" y="426"/>
                </a:cubicBezTo>
                <a:cubicBezTo>
                  <a:pt x="286" y="425"/>
                  <a:pt x="286" y="426"/>
                  <a:pt x="286" y="425"/>
                </a:cubicBezTo>
                <a:cubicBezTo>
                  <a:pt x="286" y="425"/>
                  <a:pt x="286" y="425"/>
                  <a:pt x="286" y="424"/>
                </a:cubicBezTo>
                <a:cubicBezTo>
                  <a:pt x="286" y="424"/>
                  <a:pt x="285" y="425"/>
                  <a:pt x="285" y="424"/>
                </a:cubicBezTo>
                <a:cubicBezTo>
                  <a:pt x="285" y="423"/>
                  <a:pt x="285" y="423"/>
                  <a:pt x="284" y="422"/>
                </a:cubicBezTo>
                <a:cubicBezTo>
                  <a:pt x="284" y="422"/>
                  <a:pt x="284" y="422"/>
                  <a:pt x="283" y="422"/>
                </a:cubicBezTo>
                <a:cubicBezTo>
                  <a:pt x="283" y="422"/>
                  <a:pt x="283" y="420"/>
                  <a:pt x="283" y="420"/>
                </a:cubicBezTo>
                <a:cubicBezTo>
                  <a:pt x="283" y="420"/>
                  <a:pt x="283" y="420"/>
                  <a:pt x="283" y="420"/>
                </a:cubicBezTo>
                <a:cubicBezTo>
                  <a:pt x="283" y="419"/>
                  <a:pt x="283" y="418"/>
                  <a:pt x="282" y="418"/>
                </a:cubicBezTo>
                <a:cubicBezTo>
                  <a:pt x="281" y="418"/>
                  <a:pt x="282" y="417"/>
                  <a:pt x="281" y="417"/>
                </a:cubicBezTo>
                <a:cubicBezTo>
                  <a:pt x="279" y="416"/>
                  <a:pt x="279" y="414"/>
                  <a:pt x="279" y="412"/>
                </a:cubicBezTo>
                <a:cubicBezTo>
                  <a:pt x="279" y="411"/>
                  <a:pt x="278" y="412"/>
                  <a:pt x="279" y="411"/>
                </a:cubicBezTo>
                <a:cubicBezTo>
                  <a:pt x="279" y="410"/>
                  <a:pt x="277" y="410"/>
                  <a:pt x="277" y="410"/>
                </a:cubicBezTo>
                <a:cubicBezTo>
                  <a:pt x="277" y="410"/>
                  <a:pt x="276" y="409"/>
                  <a:pt x="276" y="409"/>
                </a:cubicBezTo>
                <a:cubicBezTo>
                  <a:pt x="277" y="408"/>
                  <a:pt x="277" y="407"/>
                  <a:pt x="276" y="407"/>
                </a:cubicBezTo>
                <a:cubicBezTo>
                  <a:pt x="276" y="406"/>
                  <a:pt x="276" y="405"/>
                  <a:pt x="275" y="405"/>
                </a:cubicBezTo>
                <a:cubicBezTo>
                  <a:pt x="275" y="405"/>
                  <a:pt x="274" y="404"/>
                  <a:pt x="274" y="404"/>
                </a:cubicBezTo>
                <a:cubicBezTo>
                  <a:pt x="274" y="404"/>
                  <a:pt x="274" y="404"/>
                  <a:pt x="273" y="403"/>
                </a:cubicBezTo>
                <a:cubicBezTo>
                  <a:pt x="273" y="403"/>
                  <a:pt x="273" y="403"/>
                  <a:pt x="273" y="403"/>
                </a:cubicBezTo>
                <a:cubicBezTo>
                  <a:pt x="273" y="403"/>
                  <a:pt x="272" y="402"/>
                  <a:pt x="272" y="402"/>
                </a:cubicBezTo>
                <a:cubicBezTo>
                  <a:pt x="272" y="401"/>
                  <a:pt x="272" y="402"/>
                  <a:pt x="272" y="401"/>
                </a:cubicBezTo>
                <a:cubicBezTo>
                  <a:pt x="272" y="400"/>
                  <a:pt x="272" y="400"/>
                  <a:pt x="271" y="400"/>
                </a:cubicBezTo>
                <a:cubicBezTo>
                  <a:pt x="271" y="399"/>
                  <a:pt x="271" y="399"/>
                  <a:pt x="271" y="398"/>
                </a:cubicBezTo>
                <a:cubicBezTo>
                  <a:pt x="270" y="398"/>
                  <a:pt x="270" y="398"/>
                  <a:pt x="270" y="397"/>
                </a:cubicBezTo>
                <a:cubicBezTo>
                  <a:pt x="270" y="397"/>
                  <a:pt x="269" y="397"/>
                  <a:pt x="269" y="396"/>
                </a:cubicBezTo>
                <a:cubicBezTo>
                  <a:pt x="269" y="396"/>
                  <a:pt x="269" y="396"/>
                  <a:pt x="269" y="395"/>
                </a:cubicBezTo>
                <a:cubicBezTo>
                  <a:pt x="270" y="394"/>
                  <a:pt x="270" y="394"/>
                  <a:pt x="270" y="393"/>
                </a:cubicBezTo>
                <a:cubicBezTo>
                  <a:pt x="269" y="393"/>
                  <a:pt x="270" y="393"/>
                  <a:pt x="270" y="393"/>
                </a:cubicBezTo>
                <a:cubicBezTo>
                  <a:pt x="271" y="393"/>
                  <a:pt x="272" y="393"/>
                  <a:pt x="273" y="394"/>
                </a:cubicBezTo>
                <a:cubicBezTo>
                  <a:pt x="273" y="394"/>
                  <a:pt x="274" y="394"/>
                  <a:pt x="274" y="395"/>
                </a:cubicBezTo>
                <a:cubicBezTo>
                  <a:pt x="275" y="393"/>
                  <a:pt x="275" y="393"/>
                  <a:pt x="277" y="393"/>
                </a:cubicBezTo>
                <a:cubicBezTo>
                  <a:pt x="277" y="394"/>
                  <a:pt x="277" y="396"/>
                  <a:pt x="279" y="396"/>
                </a:cubicBezTo>
                <a:cubicBezTo>
                  <a:pt x="279" y="397"/>
                  <a:pt x="278" y="399"/>
                  <a:pt x="279" y="399"/>
                </a:cubicBezTo>
                <a:cubicBezTo>
                  <a:pt x="279" y="400"/>
                  <a:pt x="279" y="402"/>
                  <a:pt x="280" y="402"/>
                </a:cubicBezTo>
                <a:cubicBezTo>
                  <a:pt x="281" y="402"/>
                  <a:pt x="281" y="403"/>
                  <a:pt x="281" y="404"/>
                </a:cubicBezTo>
                <a:cubicBezTo>
                  <a:pt x="281" y="405"/>
                  <a:pt x="282" y="406"/>
                  <a:pt x="282" y="406"/>
                </a:cubicBezTo>
                <a:cubicBezTo>
                  <a:pt x="283" y="407"/>
                  <a:pt x="284" y="407"/>
                  <a:pt x="284" y="408"/>
                </a:cubicBezTo>
                <a:cubicBezTo>
                  <a:pt x="284" y="408"/>
                  <a:pt x="284" y="409"/>
                  <a:pt x="284" y="409"/>
                </a:cubicBezTo>
                <a:cubicBezTo>
                  <a:pt x="284" y="409"/>
                  <a:pt x="285" y="409"/>
                  <a:pt x="285" y="409"/>
                </a:cubicBezTo>
                <a:cubicBezTo>
                  <a:pt x="285" y="409"/>
                  <a:pt x="285" y="410"/>
                  <a:pt x="285" y="410"/>
                </a:cubicBezTo>
                <a:cubicBezTo>
                  <a:pt x="285" y="412"/>
                  <a:pt x="285" y="412"/>
                  <a:pt x="287" y="412"/>
                </a:cubicBezTo>
                <a:cubicBezTo>
                  <a:pt x="287" y="412"/>
                  <a:pt x="288" y="412"/>
                  <a:pt x="288" y="412"/>
                </a:cubicBezTo>
                <a:cubicBezTo>
                  <a:pt x="288" y="413"/>
                  <a:pt x="288" y="414"/>
                  <a:pt x="288" y="414"/>
                </a:cubicBezTo>
                <a:cubicBezTo>
                  <a:pt x="289" y="414"/>
                  <a:pt x="289" y="415"/>
                  <a:pt x="289" y="415"/>
                </a:cubicBezTo>
                <a:cubicBezTo>
                  <a:pt x="289" y="415"/>
                  <a:pt x="289" y="416"/>
                  <a:pt x="290" y="416"/>
                </a:cubicBezTo>
                <a:cubicBezTo>
                  <a:pt x="290" y="416"/>
                  <a:pt x="291" y="416"/>
                  <a:pt x="291" y="416"/>
                </a:cubicBezTo>
                <a:cubicBezTo>
                  <a:pt x="292" y="416"/>
                  <a:pt x="292" y="418"/>
                  <a:pt x="292" y="418"/>
                </a:cubicBezTo>
                <a:cubicBezTo>
                  <a:pt x="292" y="418"/>
                  <a:pt x="292" y="418"/>
                  <a:pt x="291" y="418"/>
                </a:cubicBezTo>
                <a:cubicBezTo>
                  <a:pt x="292" y="419"/>
                  <a:pt x="292" y="420"/>
                  <a:pt x="293" y="420"/>
                </a:cubicBezTo>
                <a:cubicBezTo>
                  <a:pt x="294" y="420"/>
                  <a:pt x="294" y="420"/>
                  <a:pt x="294" y="421"/>
                </a:cubicBezTo>
                <a:cubicBezTo>
                  <a:pt x="294" y="422"/>
                  <a:pt x="294" y="422"/>
                  <a:pt x="295" y="422"/>
                </a:cubicBezTo>
                <a:cubicBezTo>
                  <a:pt x="296" y="422"/>
                  <a:pt x="297" y="423"/>
                  <a:pt x="297" y="423"/>
                </a:cubicBezTo>
                <a:cubicBezTo>
                  <a:pt x="298" y="423"/>
                  <a:pt x="297" y="424"/>
                  <a:pt x="298" y="424"/>
                </a:cubicBezTo>
                <a:cubicBezTo>
                  <a:pt x="298" y="425"/>
                  <a:pt x="296" y="425"/>
                  <a:pt x="296" y="426"/>
                </a:cubicBezTo>
                <a:cubicBezTo>
                  <a:pt x="296" y="428"/>
                  <a:pt x="296" y="428"/>
                  <a:pt x="298" y="428"/>
                </a:cubicBezTo>
                <a:cubicBezTo>
                  <a:pt x="298" y="428"/>
                  <a:pt x="298" y="429"/>
                  <a:pt x="298" y="430"/>
                </a:cubicBezTo>
                <a:cubicBezTo>
                  <a:pt x="299" y="430"/>
                  <a:pt x="299" y="430"/>
                  <a:pt x="300" y="430"/>
                </a:cubicBezTo>
                <a:cubicBezTo>
                  <a:pt x="300" y="430"/>
                  <a:pt x="300" y="430"/>
                  <a:pt x="300" y="431"/>
                </a:cubicBezTo>
                <a:cubicBezTo>
                  <a:pt x="300" y="431"/>
                  <a:pt x="301" y="431"/>
                  <a:pt x="301" y="431"/>
                </a:cubicBezTo>
                <a:cubicBezTo>
                  <a:pt x="301" y="431"/>
                  <a:pt x="301" y="432"/>
                  <a:pt x="301" y="432"/>
                </a:cubicBezTo>
                <a:cubicBezTo>
                  <a:pt x="302" y="432"/>
                  <a:pt x="302" y="433"/>
                  <a:pt x="303" y="434"/>
                </a:cubicBezTo>
                <a:cubicBezTo>
                  <a:pt x="303" y="435"/>
                  <a:pt x="304" y="436"/>
                  <a:pt x="305" y="437"/>
                </a:cubicBezTo>
                <a:cubicBezTo>
                  <a:pt x="305" y="437"/>
                  <a:pt x="305" y="437"/>
                  <a:pt x="306" y="437"/>
                </a:cubicBezTo>
                <a:cubicBezTo>
                  <a:pt x="306" y="437"/>
                  <a:pt x="306" y="438"/>
                  <a:pt x="307" y="438"/>
                </a:cubicBezTo>
                <a:cubicBezTo>
                  <a:pt x="307" y="438"/>
                  <a:pt x="307" y="438"/>
                  <a:pt x="307" y="439"/>
                </a:cubicBezTo>
                <a:cubicBezTo>
                  <a:pt x="307" y="440"/>
                  <a:pt x="308" y="440"/>
                  <a:pt x="309" y="440"/>
                </a:cubicBezTo>
                <a:cubicBezTo>
                  <a:pt x="309" y="441"/>
                  <a:pt x="308" y="441"/>
                  <a:pt x="309" y="441"/>
                </a:cubicBezTo>
                <a:cubicBezTo>
                  <a:pt x="310" y="441"/>
                  <a:pt x="309" y="442"/>
                  <a:pt x="309" y="442"/>
                </a:cubicBezTo>
                <a:cubicBezTo>
                  <a:pt x="309" y="443"/>
                  <a:pt x="311" y="443"/>
                  <a:pt x="311" y="443"/>
                </a:cubicBezTo>
                <a:cubicBezTo>
                  <a:pt x="311" y="444"/>
                  <a:pt x="310" y="444"/>
                  <a:pt x="311" y="444"/>
                </a:cubicBezTo>
                <a:cubicBezTo>
                  <a:pt x="311" y="444"/>
                  <a:pt x="311" y="445"/>
                  <a:pt x="311" y="445"/>
                </a:cubicBezTo>
                <a:cubicBezTo>
                  <a:pt x="311" y="446"/>
                  <a:pt x="312" y="446"/>
                  <a:pt x="312" y="446"/>
                </a:cubicBezTo>
                <a:cubicBezTo>
                  <a:pt x="312" y="447"/>
                  <a:pt x="313" y="447"/>
                  <a:pt x="313" y="447"/>
                </a:cubicBezTo>
                <a:cubicBezTo>
                  <a:pt x="313" y="448"/>
                  <a:pt x="313" y="448"/>
                  <a:pt x="314" y="448"/>
                </a:cubicBezTo>
                <a:cubicBezTo>
                  <a:pt x="314" y="449"/>
                  <a:pt x="314" y="450"/>
                  <a:pt x="315" y="450"/>
                </a:cubicBezTo>
                <a:cubicBezTo>
                  <a:pt x="315" y="451"/>
                  <a:pt x="315" y="452"/>
                  <a:pt x="315" y="453"/>
                </a:cubicBezTo>
                <a:cubicBezTo>
                  <a:pt x="315" y="453"/>
                  <a:pt x="316" y="453"/>
                  <a:pt x="316" y="453"/>
                </a:cubicBezTo>
                <a:cubicBezTo>
                  <a:pt x="316" y="454"/>
                  <a:pt x="316" y="455"/>
                  <a:pt x="316" y="455"/>
                </a:cubicBezTo>
                <a:cubicBezTo>
                  <a:pt x="316" y="457"/>
                  <a:pt x="315" y="458"/>
                  <a:pt x="315" y="459"/>
                </a:cubicBezTo>
                <a:cubicBezTo>
                  <a:pt x="315" y="459"/>
                  <a:pt x="315" y="459"/>
                  <a:pt x="315" y="459"/>
                </a:cubicBezTo>
                <a:cubicBezTo>
                  <a:pt x="315" y="460"/>
                  <a:pt x="315" y="460"/>
                  <a:pt x="315" y="460"/>
                </a:cubicBezTo>
                <a:cubicBezTo>
                  <a:pt x="314" y="461"/>
                  <a:pt x="314" y="461"/>
                  <a:pt x="315" y="462"/>
                </a:cubicBezTo>
                <a:cubicBezTo>
                  <a:pt x="315" y="464"/>
                  <a:pt x="315" y="464"/>
                  <a:pt x="316" y="464"/>
                </a:cubicBezTo>
                <a:cubicBezTo>
                  <a:pt x="316" y="465"/>
                  <a:pt x="316" y="465"/>
                  <a:pt x="317" y="466"/>
                </a:cubicBezTo>
                <a:cubicBezTo>
                  <a:pt x="317" y="467"/>
                  <a:pt x="318" y="467"/>
                  <a:pt x="318" y="468"/>
                </a:cubicBezTo>
                <a:cubicBezTo>
                  <a:pt x="319" y="468"/>
                  <a:pt x="318" y="467"/>
                  <a:pt x="319" y="468"/>
                </a:cubicBezTo>
                <a:cubicBezTo>
                  <a:pt x="320" y="468"/>
                  <a:pt x="320" y="468"/>
                  <a:pt x="320" y="468"/>
                </a:cubicBezTo>
                <a:cubicBezTo>
                  <a:pt x="320" y="469"/>
                  <a:pt x="321" y="469"/>
                  <a:pt x="321" y="469"/>
                </a:cubicBezTo>
                <a:cubicBezTo>
                  <a:pt x="321" y="469"/>
                  <a:pt x="321" y="469"/>
                  <a:pt x="321" y="470"/>
                </a:cubicBezTo>
                <a:cubicBezTo>
                  <a:pt x="321" y="470"/>
                  <a:pt x="322" y="470"/>
                  <a:pt x="322" y="471"/>
                </a:cubicBezTo>
                <a:cubicBezTo>
                  <a:pt x="323" y="471"/>
                  <a:pt x="322" y="470"/>
                  <a:pt x="323" y="471"/>
                </a:cubicBezTo>
                <a:cubicBezTo>
                  <a:pt x="324" y="472"/>
                  <a:pt x="324" y="471"/>
                  <a:pt x="324" y="472"/>
                </a:cubicBezTo>
                <a:cubicBezTo>
                  <a:pt x="325" y="472"/>
                  <a:pt x="325" y="472"/>
                  <a:pt x="325" y="473"/>
                </a:cubicBezTo>
                <a:cubicBezTo>
                  <a:pt x="325" y="473"/>
                  <a:pt x="326" y="473"/>
                  <a:pt x="326" y="474"/>
                </a:cubicBezTo>
                <a:cubicBezTo>
                  <a:pt x="326" y="474"/>
                  <a:pt x="327" y="474"/>
                  <a:pt x="327" y="475"/>
                </a:cubicBezTo>
                <a:cubicBezTo>
                  <a:pt x="327" y="475"/>
                  <a:pt x="327" y="475"/>
                  <a:pt x="327" y="475"/>
                </a:cubicBezTo>
                <a:cubicBezTo>
                  <a:pt x="328" y="475"/>
                  <a:pt x="328" y="475"/>
                  <a:pt x="329" y="475"/>
                </a:cubicBezTo>
                <a:cubicBezTo>
                  <a:pt x="329" y="475"/>
                  <a:pt x="330" y="476"/>
                  <a:pt x="330" y="476"/>
                </a:cubicBezTo>
                <a:cubicBezTo>
                  <a:pt x="330" y="476"/>
                  <a:pt x="331" y="476"/>
                  <a:pt x="331" y="476"/>
                </a:cubicBezTo>
                <a:cubicBezTo>
                  <a:pt x="332" y="476"/>
                  <a:pt x="332" y="476"/>
                  <a:pt x="332" y="476"/>
                </a:cubicBezTo>
                <a:cubicBezTo>
                  <a:pt x="333" y="477"/>
                  <a:pt x="333" y="478"/>
                  <a:pt x="334" y="478"/>
                </a:cubicBezTo>
                <a:cubicBezTo>
                  <a:pt x="336" y="478"/>
                  <a:pt x="335" y="479"/>
                  <a:pt x="336" y="479"/>
                </a:cubicBezTo>
                <a:cubicBezTo>
                  <a:pt x="336" y="479"/>
                  <a:pt x="336" y="480"/>
                  <a:pt x="337" y="480"/>
                </a:cubicBezTo>
                <a:cubicBezTo>
                  <a:pt x="338" y="480"/>
                  <a:pt x="337" y="480"/>
                  <a:pt x="338" y="480"/>
                </a:cubicBezTo>
                <a:cubicBezTo>
                  <a:pt x="338" y="480"/>
                  <a:pt x="338" y="480"/>
                  <a:pt x="339" y="481"/>
                </a:cubicBezTo>
                <a:cubicBezTo>
                  <a:pt x="339" y="481"/>
                  <a:pt x="340" y="481"/>
                  <a:pt x="341" y="482"/>
                </a:cubicBezTo>
                <a:cubicBezTo>
                  <a:pt x="342" y="482"/>
                  <a:pt x="343" y="482"/>
                  <a:pt x="344" y="482"/>
                </a:cubicBezTo>
                <a:cubicBezTo>
                  <a:pt x="344" y="482"/>
                  <a:pt x="344" y="483"/>
                  <a:pt x="344" y="483"/>
                </a:cubicBezTo>
                <a:cubicBezTo>
                  <a:pt x="345" y="483"/>
                  <a:pt x="345" y="482"/>
                  <a:pt x="345" y="483"/>
                </a:cubicBezTo>
                <a:cubicBezTo>
                  <a:pt x="346" y="483"/>
                  <a:pt x="347" y="482"/>
                  <a:pt x="347" y="484"/>
                </a:cubicBezTo>
                <a:cubicBezTo>
                  <a:pt x="348" y="484"/>
                  <a:pt x="348" y="484"/>
                  <a:pt x="349" y="484"/>
                </a:cubicBezTo>
                <a:cubicBezTo>
                  <a:pt x="349" y="484"/>
                  <a:pt x="349" y="484"/>
                  <a:pt x="349" y="485"/>
                </a:cubicBezTo>
                <a:cubicBezTo>
                  <a:pt x="350" y="485"/>
                  <a:pt x="350" y="485"/>
                  <a:pt x="350" y="486"/>
                </a:cubicBezTo>
                <a:cubicBezTo>
                  <a:pt x="351" y="486"/>
                  <a:pt x="352" y="485"/>
                  <a:pt x="353" y="485"/>
                </a:cubicBezTo>
                <a:cubicBezTo>
                  <a:pt x="353" y="486"/>
                  <a:pt x="354" y="486"/>
                  <a:pt x="355" y="486"/>
                </a:cubicBezTo>
                <a:cubicBezTo>
                  <a:pt x="356" y="486"/>
                  <a:pt x="356" y="486"/>
                  <a:pt x="356" y="487"/>
                </a:cubicBezTo>
                <a:cubicBezTo>
                  <a:pt x="357" y="487"/>
                  <a:pt x="358" y="487"/>
                  <a:pt x="360" y="487"/>
                </a:cubicBezTo>
                <a:cubicBezTo>
                  <a:pt x="360" y="487"/>
                  <a:pt x="359" y="487"/>
                  <a:pt x="360" y="487"/>
                </a:cubicBezTo>
                <a:cubicBezTo>
                  <a:pt x="360" y="487"/>
                  <a:pt x="362" y="486"/>
                  <a:pt x="361" y="486"/>
                </a:cubicBezTo>
                <a:cubicBezTo>
                  <a:pt x="362" y="486"/>
                  <a:pt x="362" y="486"/>
                  <a:pt x="363" y="486"/>
                </a:cubicBezTo>
                <a:cubicBezTo>
                  <a:pt x="363" y="486"/>
                  <a:pt x="364" y="486"/>
                  <a:pt x="365" y="486"/>
                </a:cubicBezTo>
                <a:cubicBezTo>
                  <a:pt x="365" y="486"/>
                  <a:pt x="365" y="485"/>
                  <a:pt x="365" y="485"/>
                </a:cubicBezTo>
                <a:cubicBezTo>
                  <a:pt x="366" y="485"/>
                  <a:pt x="367" y="484"/>
                  <a:pt x="367" y="485"/>
                </a:cubicBezTo>
                <a:cubicBezTo>
                  <a:pt x="367" y="485"/>
                  <a:pt x="367" y="485"/>
                  <a:pt x="368" y="485"/>
                </a:cubicBezTo>
                <a:cubicBezTo>
                  <a:pt x="369" y="485"/>
                  <a:pt x="369" y="485"/>
                  <a:pt x="370" y="485"/>
                </a:cubicBezTo>
                <a:cubicBezTo>
                  <a:pt x="371" y="485"/>
                  <a:pt x="370" y="486"/>
                  <a:pt x="371" y="486"/>
                </a:cubicBezTo>
                <a:cubicBezTo>
                  <a:pt x="372" y="486"/>
                  <a:pt x="372" y="487"/>
                  <a:pt x="373" y="487"/>
                </a:cubicBezTo>
                <a:cubicBezTo>
                  <a:pt x="374" y="487"/>
                  <a:pt x="374" y="487"/>
                  <a:pt x="375" y="488"/>
                </a:cubicBezTo>
                <a:cubicBezTo>
                  <a:pt x="376" y="489"/>
                  <a:pt x="376" y="489"/>
                  <a:pt x="376" y="490"/>
                </a:cubicBezTo>
                <a:cubicBezTo>
                  <a:pt x="376" y="490"/>
                  <a:pt x="376" y="490"/>
                  <a:pt x="376" y="491"/>
                </a:cubicBezTo>
                <a:cubicBezTo>
                  <a:pt x="376" y="491"/>
                  <a:pt x="377" y="491"/>
                  <a:pt x="377" y="491"/>
                </a:cubicBezTo>
                <a:cubicBezTo>
                  <a:pt x="377" y="491"/>
                  <a:pt x="378" y="492"/>
                  <a:pt x="378" y="492"/>
                </a:cubicBezTo>
                <a:cubicBezTo>
                  <a:pt x="379" y="493"/>
                  <a:pt x="379" y="493"/>
                  <a:pt x="380" y="494"/>
                </a:cubicBezTo>
                <a:cubicBezTo>
                  <a:pt x="380" y="495"/>
                  <a:pt x="381" y="495"/>
                  <a:pt x="382" y="495"/>
                </a:cubicBezTo>
                <a:cubicBezTo>
                  <a:pt x="383" y="496"/>
                  <a:pt x="383" y="496"/>
                  <a:pt x="383" y="497"/>
                </a:cubicBezTo>
                <a:cubicBezTo>
                  <a:pt x="383" y="497"/>
                  <a:pt x="385" y="498"/>
                  <a:pt x="385" y="498"/>
                </a:cubicBezTo>
                <a:cubicBezTo>
                  <a:pt x="386" y="497"/>
                  <a:pt x="386" y="498"/>
                  <a:pt x="386" y="498"/>
                </a:cubicBezTo>
                <a:cubicBezTo>
                  <a:pt x="387" y="498"/>
                  <a:pt x="387" y="498"/>
                  <a:pt x="387" y="498"/>
                </a:cubicBezTo>
                <a:cubicBezTo>
                  <a:pt x="388" y="499"/>
                  <a:pt x="389" y="499"/>
                  <a:pt x="390" y="499"/>
                </a:cubicBezTo>
                <a:cubicBezTo>
                  <a:pt x="390" y="500"/>
                  <a:pt x="390" y="500"/>
                  <a:pt x="390" y="501"/>
                </a:cubicBezTo>
                <a:cubicBezTo>
                  <a:pt x="391" y="501"/>
                  <a:pt x="393" y="501"/>
                  <a:pt x="393" y="501"/>
                </a:cubicBezTo>
                <a:cubicBezTo>
                  <a:pt x="394" y="501"/>
                  <a:pt x="398" y="501"/>
                  <a:pt x="398" y="502"/>
                </a:cubicBezTo>
                <a:cubicBezTo>
                  <a:pt x="399" y="502"/>
                  <a:pt x="400" y="502"/>
                  <a:pt x="400" y="501"/>
                </a:cubicBezTo>
                <a:cubicBezTo>
                  <a:pt x="400" y="500"/>
                  <a:pt x="402" y="501"/>
                  <a:pt x="402" y="501"/>
                </a:cubicBezTo>
                <a:cubicBezTo>
                  <a:pt x="401" y="501"/>
                  <a:pt x="402" y="502"/>
                  <a:pt x="402" y="502"/>
                </a:cubicBezTo>
                <a:cubicBezTo>
                  <a:pt x="402" y="503"/>
                  <a:pt x="401" y="502"/>
                  <a:pt x="401" y="503"/>
                </a:cubicBezTo>
                <a:cubicBezTo>
                  <a:pt x="401" y="503"/>
                  <a:pt x="401" y="504"/>
                  <a:pt x="401" y="504"/>
                </a:cubicBezTo>
                <a:cubicBezTo>
                  <a:pt x="402" y="504"/>
                  <a:pt x="404" y="506"/>
                  <a:pt x="404" y="507"/>
                </a:cubicBezTo>
                <a:cubicBezTo>
                  <a:pt x="404" y="507"/>
                  <a:pt x="405" y="507"/>
                  <a:pt x="405" y="508"/>
                </a:cubicBezTo>
                <a:cubicBezTo>
                  <a:pt x="405" y="509"/>
                  <a:pt x="406" y="509"/>
                  <a:pt x="406" y="510"/>
                </a:cubicBezTo>
                <a:cubicBezTo>
                  <a:pt x="406" y="510"/>
                  <a:pt x="406" y="510"/>
                  <a:pt x="406" y="510"/>
                </a:cubicBezTo>
                <a:cubicBezTo>
                  <a:pt x="406" y="511"/>
                  <a:pt x="407" y="511"/>
                  <a:pt x="408" y="512"/>
                </a:cubicBezTo>
                <a:cubicBezTo>
                  <a:pt x="408" y="512"/>
                  <a:pt x="407" y="512"/>
                  <a:pt x="408" y="513"/>
                </a:cubicBezTo>
                <a:cubicBezTo>
                  <a:pt x="409" y="513"/>
                  <a:pt x="409" y="513"/>
                  <a:pt x="409" y="514"/>
                </a:cubicBezTo>
                <a:cubicBezTo>
                  <a:pt x="409" y="514"/>
                  <a:pt x="409" y="514"/>
                  <a:pt x="409" y="514"/>
                </a:cubicBezTo>
                <a:cubicBezTo>
                  <a:pt x="409" y="515"/>
                  <a:pt x="409" y="515"/>
                  <a:pt x="409" y="515"/>
                </a:cubicBezTo>
                <a:cubicBezTo>
                  <a:pt x="408" y="516"/>
                  <a:pt x="411" y="517"/>
                  <a:pt x="409" y="517"/>
                </a:cubicBezTo>
                <a:cubicBezTo>
                  <a:pt x="409" y="518"/>
                  <a:pt x="409" y="518"/>
                  <a:pt x="408" y="518"/>
                </a:cubicBezTo>
                <a:cubicBezTo>
                  <a:pt x="408" y="518"/>
                  <a:pt x="408" y="520"/>
                  <a:pt x="408" y="520"/>
                </a:cubicBezTo>
                <a:cubicBezTo>
                  <a:pt x="409" y="521"/>
                  <a:pt x="411" y="521"/>
                  <a:pt x="411" y="522"/>
                </a:cubicBezTo>
                <a:cubicBezTo>
                  <a:pt x="411" y="522"/>
                  <a:pt x="412" y="522"/>
                  <a:pt x="412" y="522"/>
                </a:cubicBezTo>
                <a:cubicBezTo>
                  <a:pt x="412" y="521"/>
                  <a:pt x="413" y="521"/>
                  <a:pt x="412" y="520"/>
                </a:cubicBezTo>
                <a:cubicBezTo>
                  <a:pt x="413" y="520"/>
                  <a:pt x="413" y="520"/>
                  <a:pt x="413" y="520"/>
                </a:cubicBezTo>
                <a:cubicBezTo>
                  <a:pt x="414" y="520"/>
                  <a:pt x="415" y="523"/>
                  <a:pt x="416" y="523"/>
                </a:cubicBezTo>
                <a:cubicBezTo>
                  <a:pt x="416" y="523"/>
                  <a:pt x="417" y="523"/>
                  <a:pt x="417" y="523"/>
                </a:cubicBezTo>
                <a:cubicBezTo>
                  <a:pt x="417" y="524"/>
                  <a:pt x="417" y="524"/>
                  <a:pt x="417" y="524"/>
                </a:cubicBezTo>
                <a:cubicBezTo>
                  <a:pt x="418" y="524"/>
                  <a:pt x="419" y="525"/>
                  <a:pt x="419" y="525"/>
                </a:cubicBezTo>
                <a:cubicBezTo>
                  <a:pt x="419" y="526"/>
                  <a:pt x="419" y="527"/>
                  <a:pt x="418" y="527"/>
                </a:cubicBezTo>
                <a:cubicBezTo>
                  <a:pt x="418" y="527"/>
                  <a:pt x="418" y="528"/>
                  <a:pt x="419" y="528"/>
                </a:cubicBezTo>
                <a:cubicBezTo>
                  <a:pt x="419" y="529"/>
                  <a:pt x="419" y="528"/>
                  <a:pt x="419" y="528"/>
                </a:cubicBezTo>
                <a:cubicBezTo>
                  <a:pt x="419" y="528"/>
                  <a:pt x="420" y="529"/>
                  <a:pt x="420" y="529"/>
                </a:cubicBezTo>
                <a:cubicBezTo>
                  <a:pt x="420" y="530"/>
                  <a:pt x="420" y="529"/>
                  <a:pt x="420" y="529"/>
                </a:cubicBezTo>
                <a:cubicBezTo>
                  <a:pt x="420" y="528"/>
                  <a:pt x="420" y="527"/>
                  <a:pt x="420" y="527"/>
                </a:cubicBezTo>
                <a:cubicBezTo>
                  <a:pt x="421" y="527"/>
                  <a:pt x="421" y="528"/>
                  <a:pt x="421" y="529"/>
                </a:cubicBezTo>
                <a:cubicBezTo>
                  <a:pt x="422" y="531"/>
                  <a:pt x="423" y="529"/>
                  <a:pt x="424" y="529"/>
                </a:cubicBezTo>
                <a:cubicBezTo>
                  <a:pt x="425" y="529"/>
                  <a:pt x="424" y="529"/>
                  <a:pt x="425" y="529"/>
                </a:cubicBezTo>
                <a:cubicBezTo>
                  <a:pt x="425" y="530"/>
                  <a:pt x="426" y="530"/>
                  <a:pt x="427" y="530"/>
                </a:cubicBezTo>
                <a:cubicBezTo>
                  <a:pt x="427" y="530"/>
                  <a:pt x="428" y="530"/>
                  <a:pt x="428" y="530"/>
                </a:cubicBezTo>
                <a:cubicBezTo>
                  <a:pt x="428" y="530"/>
                  <a:pt x="429" y="531"/>
                  <a:pt x="429" y="532"/>
                </a:cubicBezTo>
                <a:cubicBezTo>
                  <a:pt x="429" y="533"/>
                  <a:pt x="431" y="532"/>
                  <a:pt x="432" y="532"/>
                </a:cubicBezTo>
                <a:cubicBezTo>
                  <a:pt x="432" y="533"/>
                  <a:pt x="432" y="533"/>
                  <a:pt x="432" y="534"/>
                </a:cubicBezTo>
                <a:cubicBezTo>
                  <a:pt x="432" y="534"/>
                  <a:pt x="432" y="534"/>
                  <a:pt x="432" y="535"/>
                </a:cubicBezTo>
                <a:cubicBezTo>
                  <a:pt x="433" y="535"/>
                  <a:pt x="434" y="535"/>
                  <a:pt x="434" y="534"/>
                </a:cubicBezTo>
                <a:cubicBezTo>
                  <a:pt x="434" y="534"/>
                  <a:pt x="435" y="534"/>
                  <a:pt x="435" y="534"/>
                </a:cubicBezTo>
                <a:cubicBezTo>
                  <a:pt x="435" y="533"/>
                  <a:pt x="435" y="533"/>
                  <a:pt x="436" y="533"/>
                </a:cubicBezTo>
                <a:cubicBezTo>
                  <a:pt x="436" y="533"/>
                  <a:pt x="436" y="532"/>
                  <a:pt x="436" y="532"/>
                </a:cubicBezTo>
                <a:cubicBezTo>
                  <a:pt x="436" y="531"/>
                  <a:pt x="435" y="531"/>
                  <a:pt x="435" y="531"/>
                </a:cubicBezTo>
                <a:cubicBezTo>
                  <a:pt x="435" y="530"/>
                  <a:pt x="434" y="531"/>
                  <a:pt x="434" y="530"/>
                </a:cubicBezTo>
                <a:cubicBezTo>
                  <a:pt x="434" y="530"/>
                  <a:pt x="434" y="530"/>
                  <a:pt x="433" y="530"/>
                </a:cubicBezTo>
                <a:cubicBezTo>
                  <a:pt x="434" y="529"/>
                  <a:pt x="434" y="529"/>
                  <a:pt x="434" y="529"/>
                </a:cubicBezTo>
                <a:cubicBezTo>
                  <a:pt x="435" y="529"/>
                  <a:pt x="435" y="529"/>
                  <a:pt x="435" y="529"/>
                </a:cubicBezTo>
                <a:cubicBezTo>
                  <a:pt x="435" y="529"/>
                  <a:pt x="436" y="529"/>
                  <a:pt x="436" y="529"/>
                </a:cubicBezTo>
                <a:cubicBezTo>
                  <a:pt x="436" y="529"/>
                  <a:pt x="436" y="529"/>
                  <a:pt x="436" y="529"/>
                </a:cubicBezTo>
                <a:cubicBezTo>
                  <a:pt x="437" y="528"/>
                  <a:pt x="437" y="528"/>
                  <a:pt x="437" y="527"/>
                </a:cubicBezTo>
                <a:cubicBezTo>
                  <a:pt x="437" y="526"/>
                  <a:pt x="439" y="526"/>
                  <a:pt x="439" y="525"/>
                </a:cubicBezTo>
                <a:cubicBezTo>
                  <a:pt x="440" y="526"/>
                  <a:pt x="440" y="526"/>
                  <a:pt x="441" y="527"/>
                </a:cubicBezTo>
                <a:cubicBezTo>
                  <a:pt x="441" y="527"/>
                  <a:pt x="441" y="528"/>
                  <a:pt x="441" y="529"/>
                </a:cubicBezTo>
                <a:cubicBezTo>
                  <a:pt x="442" y="529"/>
                  <a:pt x="442" y="529"/>
                  <a:pt x="442" y="529"/>
                </a:cubicBezTo>
                <a:cubicBezTo>
                  <a:pt x="442" y="529"/>
                  <a:pt x="443" y="530"/>
                  <a:pt x="443" y="530"/>
                </a:cubicBezTo>
                <a:cubicBezTo>
                  <a:pt x="444" y="530"/>
                  <a:pt x="444" y="530"/>
                  <a:pt x="446" y="530"/>
                </a:cubicBezTo>
                <a:cubicBezTo>
                  <a:pt x="446" y="530"/>
                  <a:pt x="446" y="531"/>
                  <a:pt x="446" y="531"/>
                </a:cubicBezTo>
                <a:cubicBezTo>
                  <a:pt x="445" y="531"/>
                  <a:pt x="445" y="531"/>
                  <a:pt x="445" y="531"/>
                </a:cubicBezTo>
                <a:cubicBezTo>
                  <a:pt x="444" y="531"/>
                  <a:pt x="444" y="532"/>
                  <a:pt x="444" y="532"/>
                </a:cubicBezTo>
                <a:cubicBezTo>
                  <a:pt x="443" y="533"/>
                  <a:pt x="444" y="535"/>
                  <a:pt x="445" y="536"/>
                </a:cubicBezTo>
                <a:cubicBezTo>
                  <a:pt x="445" y="536"/>
                  <a:pt x="445" y="536"/>
                  <a:pt x="446" y="536"/>
                </a:cubicBezTo>
                <a:cubicBezTo>
                  <a:pt x="446" y="536"/>
                  <a:pt x="446" y="537"/>
                  <a:pt x="446" y="537"/>
                </a:cubicBezTo>
                <a:cubicBezTo>
                  <a:pt x="447" y="537"/>
                  <a:pt x="448" y="537"/>
                  <a:pt x="448" y="537"/>
                </a:cubicBezTo>
                <a:cubicBezTo>
                  <a:pt x="448" y="537"/>
                  <a:pt x="448" y="537"/>
                  <a:pt x="448" y="538"/>
                </a:cubicBezTo>
                <a:cubicBezTo>
                  <a:pt x="448" y="539"/>
                  <a:pt x="449" y="540"/>
                  <a:pt x="449" y="541"/>
                </a:cubicBezTo>
                <a:cubicBezTo>
                  <a:pt x="448" y="541"/>
                  <a:pt x="448" y="543"/>
                  <a:pt x="448" y="543"/>
                </a:cubicBezTo>
                <a:cubicBezTo>
                  <a:pt x="450" y="544"/>
                  <a:pt x="448" y="545"/>
                  <a:pt x="447" y="546"/>
                </a:cubicBezTo>
                <a:cubicBezTo>
                  <a:pt x="448" y="546"/>
                  <a:pt x="448" y="546"/>
                  <a:pt x="448" y="547"/>
                </a:cubicBezTo>
                <a:cubicBezTo>
                  <a:pt x="448" y="548"/>
                  <a:pt x="448" y="549"/>
                  <a:pt x="447" y="549"/>
                </a:cubicBezTo>
                <a:cubicBezTo>
                  <a:pt x="447" y="549"/>
                  <a:pt x="448" y="550"/>
                  <a:pt x="448" y="550"/>
                </a:cubicBezTo>
                <a:cubicBezTo>
                  <a:pt x="448" y="551"/>
                  <a:pt x="447" y="552"/>
                  <a:pt x="447" y="553"/>
                </a:cubicBezTo>
                <a:cubicBezTo>
                  <a:pt x="447" y="553"/>
                  <a:pt x="446" y="553"/>
                  <a:pt x="446" y="553"/>
                </a:cubicBezTo>
                <a:cubicBezTo>
                  <a:pt x="446" y="554"/>
                  <a:pt x="446" y="554"/>
                  <a:pt x="446" y="555"/>
                </a:cubicBezTo>
                <a:cubicBezTo>
                  <a:pt x="447" y="556"/>
                  <a:pt x="448" y="556"/>
                  <a:pt x="449" y="556"/>
                </a:cubicBezTo>
                <a:cubicBezTo>
                  <a:pt x="449" y="556"/>
                  <a:pt x="447" y="558"/>
                  <a:pt x="447" y="558"/>
                </a:cubicBezTo>
                <a:cubicBezTo>
                  <a:pt x="447" y="558"/>
                  <a:pt x="446" y="560"/>
                  <a:pt x="446" y="560"/>
                </a:cubicBezTo>
                <a:cubicBezTo>
                  <a:pt x="446" y="561"/>
                  <a:pt x="445" y="560"/>
                  <a:pt x="444" y="561"/>
                </a:cubicBezTo>
                <a:cubicBezTo>
                  <a:pt x="444" y="561"/>
                  <a:pt x="444" y="561"/>
                  <a:pt x="443" y="561"/>
                </a:cubicBezTo>
                <a:cubicBezTo>
                  <a:pt x="443" y="561"/>
                  <a:pt x="443" y="561"/>
                  <a:pt x="442" y="562"/>
                </a:cubicBezTo>
                <a:cubicBezTo>
                  <a:pt x="442" y="562"/>
                  <a:pt x="441" y="562"/>
                  <a:pt x="441" y="563"/>
                </a:cubicBezTo>
                <a:cubicBezTo>
                  <a:pt x="441" y="563"/>
                  <a:pt x="441" y="563"/>
                  <a:pt x="441" y="564"/>
                </a:cubicBezTo>
                <a:cubicBezTo>
                  <a:pt x="442" y="564"/>
                  <a:pt x="440" y="564"/>
                  <a:pt x="441" y="565"/>
                </a:cubicBezTo>
                <a:cubicBezTo>
                  <a:pt x="441" y="565"/>
                  <a:pt x="442" y="565"/>
                  <a:pt x="442" y="566"/>
                </a:cubicBezTo>
                <a:cubicBezTo>
                  <a:pt x="442" y="566"/>
                  <a:pt x="442" y="566"/>
                  <a:pt x="442" y="566"/>
                </a:cubicBezTo>
                <a:cubicBezTo>
                  <a:pt x="441" y="566"/>
                  <a:pt x="441" y="566"/>
                  <a:pt x="440" y="566"/>
                </a:cubicBezTo>
                <a:cubicBezTo>
                  <a:pt x="439" y="566"/>
                  <a:pt x="439" y="567"/>
                  <a:pt x="440" y="567"/>
                </a:cubicBezTo>
                <a:cubicBezTo>
                  <a:pt x="440" y="568"/>
                  <a:pt x="438" y="570"/>
                  <a:pt x="437" y="570"/>
                </a:cubicBezTo>
                <a:cubicBezTo>
                  <a:pt x="436" y="570"/>
                  <a:pt x="437" y="571"/>
                  <a:pt x="436" y="571"/>
                </a:cubicBezTo>
                <a:cubicBezTo>
                  <a:pt x="435" y="571"/>
                  <a:pt x="436" y="572"/>
                  <a:pt x="435" y="572"/>
                </a:cubicBezTo>
                <a:cubicBezTo>
                  <a:pt x="436" y="572"/>
                  <a:pt x="436" y="574"/>
                  <a:pt x="436" y="575"/>
                </a:cubicBezTo>
                <a:cubicBezTo>
                  <a:pt x="437" y="576"/>
                  <a:pt x="436" y="576"/>
                  <a:pt x="435" y="577"/>
                </a:cubicBezTo>
                <a:cubicBezTo>
                  <a:pt x="435" y="577"/>
                  <a:pt x="434" y="577"/>
                  <a:pt x="434" y="577"/>
                </a:cubicBezTo>
                <a:cubicBezTo>
                  <a:pt x="434" y="578"/>
                  <a:pt x="434" y="579"/>
                  <a:pt x="433" y="580"/>
                </a:cubicBezTo>
                <a:cubicBezTo>
                  <a:pt x="434" y="581"/>
                  <a:pt x="434" y="581"/>
                  <a:pt x="435" y="582"/>
                </a:cubicBezTo>
                <a:cubicBezTo>
                  <a:pt x="434" y="582"/>
                  <a:pt x="434" y="582"/>
                  <a:pt x="434" y="582"/>
                </a:cubicBezTo>
                <a:cubicBezTo>
                  <a:pt x="433" y="582"/>
                  <a:pt x="433" y="583"/>
                  <a:pt x="432" y="583"/>
                </a:cubicBezTo>
                <a:cubicBezTo>
                  <a:pt x="432" y="584"/>
                  <a:pt x="431" y="584"/>
                  <a:pt x="432" y="585"/>
                </a:cubicBezTo>
                <a:cubicBezTo>
                  <a:pt x="432" y="585"/>
                  <a:pt x="433" y="586"/>
                  <a:pt x="433" y="586"/>
                </a:cubicBezTo>
                <a:cubicBezTo>
                  <a:pt x="432" y="586"/>
                  <a:pt x="432" y="587"/>
                  <a:pt x="431" y="587"/>
                </a:cubicBezTo>
                <a:cubicBezTo>
                  <a:pt x="432" y="588"/>
                  <a:pt x="432" y="589"/>
                  <a:pt x="433" y="589"/>
                </a:cubicBezTo>
                <a:cubicBezTo>
                  <a:pt x="433" y="589"/>
                  <a:pt x="433" y="590"/>
                  <a:pt x="433" y="590"/>
                </a:cubicBezTo>
                <a:cubicBezTo>
                  <a:pt x="433" y="591"/>
                  <a:pt x="431" y="591"/>
                  <a:pt x="431" y="592"/>
                </a:cubicBezTo>
                <a:cubicBezTo>
                  <a:pt x="432" y="592"/>
                  <a:pt x="433" y="593"/>
                  <a:pt x="435" y="594"/>
                </a:cubicBezTo>
                <a:cubicBezTo>
                  <a:pt x="435" y="593"/>
                  <a:pt x="435" y="593"/>
                  <a:pt x="436" y="593"/>
                </a:cubicBezTo>
                <a:cubicBezTo>
                  <a:pt x="436" y="593"/>
                  <a:pt x="436" y="592"/>
                  <a:pt x="436" y="592"/>
                </a:cubicBezTo>
                <a:cubicBezTo>
                  <a:pt x="437" y="592"/>
                  <a:pt x="437" y="593"/>
                  <a:pt x="437" y="594"/>
                </a:cubicBezTo>
                <a:cubicBezTo>
                  <a:pt x="437" y="594"/>
                  <a:pt x="436" y="594"/>
                  <a:pt x="436" y="594"/>
                </a:cubicBezTo>
                <a:cubicBezTo>
                  <a:pt x="435" y="594"/>
                  <a:pt x="436" y="594"/>
                  <a:pt x="435" y="594"/>
                </a:cubicBezTo>
                <a:cubicBezTo>
                  <a:pt x="435" y="594"/>
                  <a:pt x="435" y="595"/>
                  <a:pt x="435" y="595"/>
                </a:cubicBezTo>
                <a:cubicBezTo>
                  <a:pt x="435" y="595"/>
                  <a:pt x="435" y="595"/>
                  <a:pt x="436" y="595"/>
                </a:cubicBezTo>
                <a:cubicBezTo>
                  <a:pt x="434" y="596"/>
                  <a:pt x="431" y="599"/>
                  <a:pt x="430" y="601"/>
                </a:cubicBezTo>
                <a:cubicBezTo>
                  <a:pt x="430" y="601"/>
                  <a:pt x="430" y="602"/>
                  <a:pt x="429" y="603"/>
                </a:cubicBezTo>
                <a:cubicBezTo>
                  <a:pt x="429" y="604"/>
                  <a:pt x="429" y="603"/>
                  <a:pt x="429" y="604"/>
                </a:cubicBezTo>
                <a:cubicBezTo>
                  <a:pt x="429" y="605"/>
                  <a:pt x="431" y="604"/>
                  <a:pt x="430" y="606"/>
                </a:cubicBezTo>
                <a:cubicBezTo>
                  <a:pt x="430" y="607"/>
                  <a:pt x="430" y="607"/>
                  <a:pt x="431" y="608"/>
                </a:cubicBezTo>
                <a:cubicBezTo>
                  <a:pt x="431" y="608"/>
                  <a:pt x="432" y="609"/>
                  <a:pt x="431" y="610"/>
                </a:cubicBezTo>
                <a:cubicBezTo>
                  <a:pt x="431" y="610"/>
                  <a:pt x="431" y="610"/>
                  <a:pt x="431" y="611"/>
                </a:cubicBezTo>
                <a:cubicBezTo>
                  <a:pt x="431" y="612"/>
                  <a:pt x="431" y="612"/>
                  <a:pt x="432" y="612"/>
                </a:cubicBezTo>
                <a:cubicBezTo>
                  <a:pt x="433" y="613"/>
                  <a:pt x="434" y="613"/>
                  <a:pt x="434" y="614"/>
                </a:cubicBezTo>
                <a:cubicBezTo>
                  <a:pt x="434" y="614"/>
                  <a:pt x="435" y="614"/>
                  <a:pt x="435" y="614"/>
                </a:cubicBezTo>
                <a:cubicBezTo>
                  <a:pt x="435" y="615"/>
                  <a:pt x="436" y="615"/>
                  <a:pt x="436" y="616"/>
                </a:cubicBezTo>
                <a:cubicBezTo>
                  <a:pt x="436" y="616"/>
                  <a:pt x="437" y="616"/>
                  <a:pt x="437" y="617"/>
                </a:cubicBezTo>
                <a:cubicBezTo>
                  <a:pt x="437" y="618"/>
                  <a:pt x="438" y="618"/>
                  <a:pt x="439" y="619"/>
                </a:cubicBezTo>
                <a:cubicBezTo>
                  <a:pt x="440" y="619"/>
                  <a:pt x="440" y="620"/>
                  <a:pt x="441" y="621"/>
                </a:cubicBezTo>
                <a:cubicBezTo>
                  <a:pt x="441" y="621"/>
                  <a:pt x="443" y="623"/>
                  <a:pt x="443" y="623"/>
                </a:cubicBezTo>
                <a:cubicBezTo>
                  <a:pt x="443" y="624"/>
                  <a:pt x="443" y="624"/>
                  <a:pt x="444" y="624"/>
                </a:cubicBezTo>
                <a:cubicBezTo>
                  <a:pt x="444" y="624"/>
                  <a:pt x="444" y="624"/>
                  <a:pt x="444" y="625"/>
                </a:cubicBezTo>
                <a:cubicBezTo>
                  <a:pt x="444" y="625"/>
                  <a:pt x="444" y="625"/>
                  <a:pt x="445" y="625"/>
                </a:cubicBezTo>
                <a:cubicBezTo>
                  <a:pt x="445" y="626"/>
                  <a:pt x="444" y="626"/>
                  <a:pt x="445" y="626"/>
                </a:cubicBezTo>
                <a:cubicBezTo>
                  <a:pt x="446" y="627"/>
                  <a:pt x="445" y="628"/>
                  <a:pt x="446" y="629"/>
                </a:cubicBezTo>
                <a:cubicBezTo>
                  <a:pt x="448" y="630"/>
                  <a:pt x="447" y="631"/>
                  <a:pt x="447" y="632"/>
                </a:cubicBezTo>
                <a:cubicBezTo>
                  <a:pt x="447" y="632"/>
                  <a:pt x="447" y="632"/>
                  <a:pt x="447" y="632"/>
                </a:cubicBezTo>
                <a:cubicBezTo>
                  <a:pt x="447" y="632"/>
                  <a:pt x="448" y="633"/>
                  <a:pt x="448" y="633"/>
                </a:cubicBezTo>
                <a:cubicBezTo>
                  <a:pt x="448" y="633"/>
                  <a:pt x="448" y="633"/>
                  <a:pt x="448" y="634"/>
                </a:cubicBezTo>
                <a:cubicBezTo>
                  <a:pt x="448" y="634"/>
                  <a:pt x="448" y="635"/>
                  <a:pt x="448" y="635"/>
                </a:cubicBezTo>
                <a:cubicBezTo>
                  <a:pt x="448" y="636"/>
                  <a:pt x="448" y="635"/>
                  <a:pt x="448" y="636"/>
                </a:cubicBezTo>
                <a:cubicBezTo>
                  <a:pt x="448" y="637"/>
                  <a:pt x="449" y="636"/>
                  <a:pt x="449" y="637"/>
                </a:cubicBezTo>
                <a:cubicBezTo>
                  <a:pt x="449" y="637"/>
                  <a:pt x="449" y="637"/>
                  <a:pt x="449" y="637"/>
                </a:cubicBezTo>
                <a:cubicBezTo>
                  <a:pt x="449" y="637"/>
                  <a:pt x="449" y="637"/>
                  <a:pt x="449" y="637"/>
                </a:cubicBezTo>
                <a:cubicBezTo>
                  <a:pt x="449" y="638"/>
                  <a:pt x="449" y="638"/>
                  <a:pt x="449" y="639"/>
                </a:cubicBezTo>
                <a:cubicBezTo>
                  <a:pt x="449" y="639"/>
                  <a:pt x="449" y="639"/>
                  <a:pt x="449" y="639"/>
                </a:cubicBezTo>
                <a:cubicBezTo>
                  <a:pt x="449" y="639"/>
                  <a:pt x="450" y="640"/>
                  <a:pt x="450" y="641"/>
                </a:cubicBezTo>
                <a:cubicBezTo>
                  <a:pt x="450" y="641"/>
                  <a:pt x="451" y="642"/>
                  <a:pt x="451" y="642"/>
                </a:cubicBezTo>
                <a:cubicBezTo>
                  <a:pt x="452" y="643"/>
                  <a:pt x="451" y="644"/>
                  <a:pt x="451" y="645"/>
                </a:cubicBezTo>
                <a:cubicBezTo>
                  <a:pt x="451" y="645"/>
                  <a:pt x="453" y="645"/>
                  <a:pt x="453" y="646"/>
                </a:cubicBezTo>
                <a:cubicBezTo>
                  <a:pt x="453" y="646"/>
                  <a:pt x="454" y="649"/>
                  <a:pt x="454" y="649"/>
                </a:cubicBezTo>
                <a:cubicBezTo>
                  <a:pt x="455" y="649"/>
                  <a:pt x="455" y="654"/>
                  <a:pt x="455" y="655"/>
                </a:cubicBezTo>
                <a:cubicBezTo>
                  <a:pt x="455" y="655"/>
                  <a:pt x="455" y="655"/>
                  <a:pt x="455" y="655"/>
                </a:cubicBezTo>
                <a:cubicBezTo>
                  <a:pt x="455" y="655"/>
                  <a:pt x="455" y="656"/>
                  <a:pt x="455" y="656"/>
                </a:cubicBezTo>
                <a:cubicBezTo>
                  <a:pt x="456" y="656"/>
                  <a:pt x="456" y="657"/>
                  <a:pt x="456" y="657"/>
                </a:cubicBezTo>
                <a:cubicBezTo>
                  <a:pt x="456" y="657"/>
                  <a:pt x="457" y="659"/>
                  <a:pt x="457" y="659"/>
                </a:cubicBezTo>
                <a:cubicBezTo>
                  <a:pt x="458" y="659"/>
                  <a:pt x="458" y="660"/>
                  <a:pt x="458" y="660"/>
                </a:cubicBezTo>
                <a:cubicBezTo>
                  <a:pt x="458" y="660"/>
                  <a:pt x="458" y="660"/>
                  <a:pt x="458" y="660"/>
                </a:cubicBezTo>
                <a:cubicBezTo>
                  <a:pt x="458" y="661"/>
                  <a:pt x="459" y="662"/>
                  <a:pt x="459" y="662"/>
                </a:cubicBezTo>
                <a:cubicBezTo>
                  <a:pt x="459" y="662"/>
                  <a:pt x="459" y="662"/>
                  <a:pt x="460" y="662"/>
                </a:cubicBezTo>
                <a:cubicBezTo>
                  <a:pt x="460" y="663"/>
                  <a:pt x="460" y="663"/>
                  <a:pt x="461" y="663"/>
                </a:cubicBezTo>
                <a:cubicBezTo>
                  <a:pt x="461" y="663"/>
                  <a:pt x="462" y="664"/>
                  <a:pt x="462" y="665"/>
                </a:cubicBezTo>
                <a:cubicBezTo>
                  <a:pt x="462" y="665"/>
                  <a:pt x="462" y="665"/>
                  <a:pt x="463" y="665"/>
                </a:cubicBezTo>
                <a:cubicBezTo>
                  <a:pt x="463" y="665"/>
                  <a:pt x="462" y="665"/>
                  <a:pt x="463" y="665"/>
                </a:cubicBezTo>
                <a:cubicBezTo>
                  <a:pt x="463" y="665"/>
                  <a:pt x="464" y="666"/>
                  <a:pt x="465" y="666"/>
                </a:cubicBezTo>
                <a:cubicBezTo>
                  <a:pt x="466" y="667"/>
                  <a:pt x="465" y="667"/>
                  <a:pt x="466" y="668"/>
                </a:cubicBezTo>
                <a:cubicBezTo>
                  <a:pt x="466" y="668"/>
                  <a:pt x="467" y="668"/>
                  <a:pt x="467" y="668"/>
                </a:cubicBezTo>
                <a:cubicBezTo>
                  <a:pt x="467" y="669"/>
                  <a:pt x="468" y="669"/>
                  <a:pt x="468" y="669"/>
                </a:cubicBezTo>
                <a:cubicBezTo>
                  <a:pt x="468" y="669"/>
                  <a:pt x="469" y="669"/>
                  <a:pt x="469" y="669"/>
                </a:cubicBezTo>
                <a:cubicBezTo>
                  <a:pt x="469" y="669"/>
                  <a:pt x="470" y="669"/>
                  <a:pt x="470" y="669"/>
                </a:cubicBezTo>
                <a:cubicBezTo>
                  <a:pt x="471" y="670"/>
                  <a:pt x="470" y="670"/>
                  <a:pt x="471" y="670"/>
                </a:cubicBezTo>
                <a:cubicBezTo>
                  <a:pt x="472" y="670"/>
                  <a:pt x="472" y="670"/>
                  <a:pt x="472" y="670"/>
                </a:cubicBezTo>
                <a:cubicBezTo>
                  <a:pt x="472" y="671"/>
                  <a:pt x="473" y="671"/>
                  <a:pt x="473" y="671"/>
                </a:cubicBezTo>
                <a:cubicBezTo>
                  <a:pt x="474" y="672"/>
                  <a:pt x="474" y="672"/>
                  <a:pt x="475" y="672"/>
                </a:cubicBezTo>
                <a:cubicBezTo>
                  <a:pt x="476" y="672"/>
                  <a:pt x="476" y="673"/>
                  <a:pt x="477" y="673"/>
                </a:cubicBezTo>
                <a:cubicBezTo>
                  <a:pt x="477" y="673"/>
                  <a:pt x="478" y="673"/>
                  <a:pt x="478" y="673"/>
                </a:cubicBezTo>
                <a:cubicBezTo>
                  <a:pt x="478" y="674"/>
                  <a:pt x="479" y="674"/>
                  <a:pt x="479" y="674"/>
                </a:cubicBezTo>
                <a:cubicBezTo>
                  <a:pt x="479" y="675"/>
                  <a:pt x="480" y="675"/>
                  <a:pt x="480" y="675"/>
                </a:cubicBezTo>
                <a:cubicBezTo>
                  <a:pt x="480" y="676"/>
                  <a:pt x="480" y="676"/>
                  <a:pt x="481" y="677"/>
                </a:cubicBezTo>
                <a:cubicBezTo>
                  <a:pt x="481" y="677"/>
                  <a:pt x="481" y="677"/>
                  <a:pt x="482" y="678"/>
                </a:cubicBezTo>
                <a:cubicBezTo>
                  <a:pt x="482" y="678"/>
                  <a:pt x="482" y="679"/>
                  <a:pt x="482" y="679"/>
                </a:cubicBezTo>
                <a:cubicBezTo>
                  <a:pt x="483" y="679"/>
                  <a:pt x="483" y="681"/>
                  <a:pt x="483" y="682"/>
                </a:cubicBezTo>
                <a:cubicBezTo>
                  <a:pt x="483" y="683"/>
                  <a:pt x="484" y="684"/>
                  <a:pt x="484" y="685"/>
                </a:cubicBezTo>
                <a:cubicBezTo>
                  <a:pt x="484" y="688"/>
                  <a:pt x="484" y="690"/>
                  <a:pt x="484" y="692"/>
                </a:cubicBezTo>
                <a:cubicBezTo>
                  <a:pt x="483" y="693"/>
                  <a:pt x="483" y="694"/>
                  <a:pt x="483" y="694"/>
                </a:cubicBezTo>
                <a:cubicBezTo>
                  <a:pt x="483" y="695"/>
                  <a:pt x="484" y="696"/>
                  <a:pt x="484" y="697"/>
                </a:cubicBezTo>
                <a:cubicBezTo>
                  <a:pt x="482" y="697"/>
                  <a:pt x="482" y="702"/>
                  <a:pt x="482" y="704"/>
                </a:cubicBezTo>
                <a:cubicBezTo>
                  <a:pt x="482" y="704"/>
                  <a:pt x="482" y="705"/>
                  <a:pt x="482" y="706"/>
                </a:cubicBezTo>
                <a:cubicBezTo>
                  <a:pt x="482" y="707"/>
                  <a:pt x="481" y="706"/>
                  <a:pt x="481" y="708"/>
                </a:cubicBezTo>
                <a:cubicBezTo>
                  <a:pt x="481" y="708"/>
                  <a:pt x="481" y="709"/>
                  <a:pt x="481" y="709"/>
                </a:cubicBezTo>
                <a:cubicBezTo>
                  <a:pt x="482" y="710"/>
                  <a:pt x="482" y="709"/>
                  <a:pt x="482" y="711"/>
                </a:cubicBezTo>
                <a:cubicBezTo>
                  <a:pt x="481" y="713"/>
                  <a:pt x="481" y="715"/>
                  <a:pt x="481" y="717"/>
                </a:cubicBezTo>
                <a:cubicBezTo>
                  <a:pt x="481" y="718"/>
                  <a:pt x="481" y="719"/>
                  <a:pt x="481" y="719"/>
                </a:cubicBezTo>
                <a:cubicBezTo>
                  <a:pt x="481" y="720"/>
                  <a:pt x="481" y="720"/>
                  <a:pt x="481" y="720"/>
                </a:cubicBezTo>
                <a:cubicBezTo>
                  <a:pt x="481" y="720"/>
                  <a:pt x="481" y="721"/>
                  <a:pt x="481" y="722"/>
                </a:cubicBezTo>
                <a:cubicBezTo>
                  <a:pt x="480" y="721"/>
                  <a:pt x="481" y="724"/>
                  <a:pt x="480" y="724"/>
                </a:cubicBezTo>
                <a:cubicBezTo>
                  <a:pt x="480" y="724"/>
                  <a:pt x="481" y="726"/>
                  <a:pt x="481" y="726"/>
                </a:cubicBezTo>
                <a:cubicBezTo>
                  <a:pt x="480" y="726"/>
                  <a:pt x="480" y="728"/>
                  <a:pt x="480" y="728"/>
                </a:cubicBezTo>
                <a:cubicBezTo>
                  <a:pt x="480" y="728"/>
                  <a:pt x="480" y="730"/>
                  <a:pt x="480" y="730"/>
                </a:cubicBezTo>
                <a:cubicBezTo>
                  <a:pt x="480" y="731"/>
                  <a:pt x="480" y="731"/>
                  <a:pt x="479" y="732"/>
                </a:cubicBezTo>
                <a:cubicBezTo>
                  <a:pt x="478" y="732"/>
                  <a:pt x="479" y="734"/>
                  <a:pt x="479" y="735"/>
                </a:cubicBezTo>
                <a:cubicBezTo>
                  <a:pt x="478" y="736"/>
                  <a:pt x="478" y="737"/>
                  <a:pt x="478" y="738"/>
                </a:cubicBezTo>
                <a:cubicBezTo>
                  <a:pt x="478" y="738"/>
                  <a:pt x="478" y="739"/>
                  <a:pt x="478" y="739"/>
                </a:cubicBezTo>
                <a:cubicBezTo>
                  <a:pt x="478" y="739"/>
                  <a:pt x="478" y="739"/>
                  <a:pt x="478" y="739"/>
                </a:cubicBezTo>
                <a:cubicBezTo>
                  <a:pt x="478" y="739"/>
                  <a:pt x="478" y="740"/>
                  <a:pt x="478" y="740"/>
                </a:cubicBezTo>
                <a:cubicBezTo>
                  <a:pt x="478" y="741"/>
                  <a:pt x="478" y="740"/>
                  <a:pt x="477" y="741"/>
                </a:cubicBezTo>
                <a:cubicBezTo>
                  <a:pt x="477" y="741"/>
                  <a:pt x="477" y="741"/>
                  <a:pt x="477" y="741"/>
                </a:cubicBezTo>
                <a:cubicBezTo>
                  <a:pt x="477" y="742"/>
                  <a:pt x="477" y="741"/>
                  <a:pt x="477" y="742"/>
                </a:cubicBezTo>
                <a:cubicBezTo>
                  <a:pt x="476" y="744"/>
                  <a:pt x="478" y="745"/>
                  <a:pt x="478" y="746"/>
                </a:cubicBezTo>
                <a:cubicBezTo>
                  <a:pt x="479" y="746"/>
                  <a:pt x="479" y="747"/>
                  <a:pt x="478" y="747"/>
                </a:cubicBezTo>
                <a:cubicBezTo>
                  <a:pt x="478" y="747"/>
                  <a:pt x="478" y="747"/>
                  <a:pt x="478" y="747"/>
                </a:cubicBezTo>
                <a:cubicBezTo>
                  <a:pt x="478" y="748"/>
                  <a:pt x="478" y="749"/>
                  <a:pt x="478" y="749"/>
                </a:cubicBezTo>
                <a:cubicBezTo>
                  <a:pt x="478" y="750"/>
                  <a:pt x="478" y="750"/>
                  <a:pt x="478" y="751"/>
                </a:cubicBezTo>
                <a:cubicBezTo>
                  <a:pt x="477" y="751"/>
                  <a:pt x="477" y="753"/>
                  <a:pt x="477" y="753"/>
                </a:cubicBezTo>
                <a:cubicBezTo>
                  <a:pt x="477" y="754"/>
                  <a:pt x="477" y="757"/>
                  <a:pt x="478" y="757"/>
                </a:cubicBezTo>
                <a:cubicBezTo>
                  <a:pt x="478" y="758"/>
                  <a:pt x="478" y="758"/>
                  <a:pt x="478" y="758"/>
                </a:cubicBezTo>
                <a:cubicBezTo>
                  <a:pt x="478" y="759"/>
                  <a:pt x="478" y="759"/>
                  <a:pt x="478" y="760"/>
                </a:cubicBezTo>
                <a:cubicBezTo>
                  <a:pt x="478" y="761"/>
                  <a:pt x="478" y="762"/>
                  <a:pt x="478" y="764"/>
                </a:cubicBezTo>
                <a:cubicBezTo>
                  <a:pt x="478" y="764"/>
                  <a:pt x="478" y="764"/>
                  <a:pt x="478" y="765"/>
                </a:cubicBezTo>
                <a:cubicBezTo>
                  <a:pt x="478" y="765"/>
                  <a:pt x="477" y="765"/>
                  <a:pt x="477" y="766"/>
                </a:cubicBezTo>
                <a:cubicBezTo>
                  <a:pt x="476" y="767"/>
                  <a:pt x="476" y="766"/>
                  <a:pt x="476" y="767"/>
                </a:cubicBezTo>
                <a:cubicBezTo>
                  <a:pt x="476" y="768"/>
                  <a:pt x="476" y="768"/>
                  <a:pt x="476" y="768"/>
                </a:cubicBezTo>
                <a:cubicBezTo>
                  <a:pt x="477" y="769"/>
                  <a:pt x="476" y="770"/>
                  <a:pt x="476" y="770"/>
                </a:cubicBezTo>
                <a:cubicBezTo>
                  <a:pt x="476" y="771"/>
                  <a:pt x="475" y="771"/>
                  <a:pt x="474" y="772"/>
                </a:cubicBezTo>
                <a:cubicBezTo>
                  <a:pt x="474" y="772"/>
                  <a:pt x="474" y="772"/>
                  <a:pt x="474" y="773"/>
                </a:cubicBezTo>
                <a:cubicBezTo>
                  <a:pt x="474" y="773"/>
                  <a:pt x="474" y="774"/>
                  <a:pt x="474" y="774"/>
                </a:cubicBezTo>
                <a:cubicBezTo>
                  <a:pt x="474" y="775"/>
                  <a:pt x="474" y="774"/>
                  <a:pt x="474" y="775"/>
                </a:cubicBezTo>
                <a:cubicBezTo>
                  <a:pt x="474" y="775"/>
                  <a:pt x="474" y="775"/>
                  <a:pt x="474" y="775"/>
                </a:cubicBezTo>
                <a:cubicBezTo>
                  <a:pt x="474" y="776"/>
                  <a:pt x="474" y="775"/>
                  <a:pt x="474" y="775"/>
                </a:cubicBezTo>
                <a:cubicBezTo>
                  <a:pt x="473" y="776"/>
                  <a:pt x="473" y="777"/>
                  <a:pt x="473" y="778"/>
                </a:cubicBezTo>
                <a:cubicBezTo>
                  <a:pt x="472" y="779"/>
                  <a:pt x="472" y="778"/>
                  <a:pt x="472" y="779"/>
                </a:cubicBezTo>
                <a:cubicBezTo>
                  <a:pt x="472" y="779"/>
                  <a:pt x="472" y="779"/>
                  <a:pt x="472" y="780"/>
                </a:cubicBezTo>
                <a:cubicBezTo>
                  <a:pt x="472" y="780"/>
                  <a:pt x="472" y="781"/>
                  <a:pt x="472" y="781"/>
                </a:cubicBezTo>
                <a:cubicBezTo>
                  <a:pt x="473" y="781"/>
                  <a:pt x="472" y="783"/>
                  <a:pt x="472" y="784"/>
                </a:cubicBezTo>
                <a:cubicBezTo>
                  <a:pt x="472" y="784"/>
                  <a:pt x="472" y="785"/>
                  <a:pt x="472" y="785"/>
                </a:cubicBezTo>
                <a:cubicBezTo>
                  <a:pt x="472" y="785"/>
                  <a:pt x="471" y="785"/>
                  <a:pt x="472" y="786"/>
                </a:cubicBezTo>
                <a:cubicBezTo>
                  <a:pt x="472" y="786"/>
                  <a:pt x="471" y="786"/>
                  <a:pt x="471" y="787"/>
                </a:cubicBezTo>
                <a:cubicBezTo>
                  <a:pt x="470" y="788"/>
                  <a:pt x="471" y="789"/>
                  <a:pt x="470" y="789"/>
                </a:cubicBezTo>
                <a:cubicBezTo>
                  <a:pt x="469" y="789"/>
                  <a:pt x="469" y="790"/>
                  <a:pt x="469" y="790"/>
                </a:cubicBezTo>
                <a:cubicBezTo>
                  <a:pt x="469" y="791"/>
                  <a:pt x="469" y="792"/>
                  <a:pt x="470" y="793"/>
                </a:cubicBezTo>
                <a:cubicBezTo>
                  <a:pt x="469" y="793"/>
                  <a:pt x="468" y="793"/>
                  <a:pt x="467" y="793"/>
                </a:cubicBezTo>
                <a:cubicBezTo>
                  <a:pt x="466" y="794"/>
                  <a:pt x="468" y="794"/>
                  <a:pt x="468" y="795"/>
                </a:cubicBezTo>
                <a:cubicBezTo>
                  <a:pt x="468" y="795"/>
                  <a:pt x="467" y="796"/>
                  <a:pt x="467" y="796"/>
                </a:cubicBezTo>
                <a:cubicBezTo>
                  <a:pt x="467" y="797"/>
                  <a:pt x="469" y="797"/>
                  <a:pt x="469" y="798"/>
                </a:cubicBezTo>
                <a:cubicBezTo>
                  <a:pt x="469" y="799"/>
                  <a:pt x="468" y="799"/>
                  <a:pt x="468" y="800"/>
                </a:cubicBezTo>
                <a:cubicBezTo>
                  <a:pt x="468" y="800"/>
                  <a:pt x="468" y="801"/>
                  <a:pt x="469" y="801"/>
                </a:cubicBezTo>
                <a:cubicBezTo>
                  <a:pt x="468" y="801"/>
                  <a:pt x="468" y="801"/>
                  <a:pt x="468" y="801"/>
                </a:cubicBezTo>
                <a:cubicBezTo>
                  <a:pt x="468" y="802"/>
                  <a:pt x="469" y="801"/>
                  <a:pt x="469" y="802"/>
                </a:cubicBezTo>
                <a:cubicBezTo>
                  <a:pt x="469" y="802"/>
                  <a:pt x="469" y="803"/>
                  <a:pt x="469" y="803"/>
                </a:cubicBezTo>
                <a:cubicBezTo>
                  <a:pt x="469" y="804"/>
                  <a:pt x="469" y="803"/>
                  <a:pt x="469" y="804"/>
                </a:cubicBezTo>
                <a:cubicBezTo>
                  <a:pt x="469" y="804"/>
                  <a:pt x="469" y="804"/>
                  <a:pt x="469" y="804"/>
                </a:cubicBezTo>
                <a:cubicBezTo>
                  <a:pt x="469" y="805"/>
                  <a:pt x="469" y="809"/>
                  <a:pt x="469" y="809"/>
                </a:cubicBezTo>
                <a:cubicBezTo>
                  <a:pt x="468" y="809"/>
                  <a:pt x="467" y="808"/>
                  <a:pt x="467" y="809"/>
                </a:cubicBezTo>
                <a:cubicBezTo>
                  <a:pt x="467" y="812"/>
                  <a:pt x="467" y="813"/>
                  <a:pt x="466" y="816"/>
                </a:cubicBezTo>
                <a:cubicBezTo>
                  <a:pt x="467" y="816"/>
                  <a:pt x="466" y="819"/>
                  <a:pt x="467" y="819"/>
                </a:cubicBezTo>
                <a:cubicBezTo>
                  <a:pt x="467" y="819"/>
                  <a:pt x="467" y="820"/>
                  <a:pt x="467" y="820"/>
                </a:cubicBezTo>
                <a:cubicBezTo>
                  <a:pt x="469" y="820"/>
                  <a:pt x="468" y="820"/>
                  <a:pt x="469" y="819"/>
                </a:cubicBezTo>
                <a:cubicBezTo>
                  <a:pt x="469" y="819"/>
                  <a:pt x="470" y="818"/>
                  <a:pt x="470" y="818"/>
                </a:cubicBezTo>
                <a:cubicBezTo>
                  <a:pt x="470" y="818"/>
                  <a:pt x="471" y="819"/>
                  <a:pt x="471" y="819"/>
                </a:cubicBezTo>
                <a:cubicBezTo>
                  <a:pt x="472" y="820"/>
                  <a:pt x="472" y="819"/>
                  <a:pt x="472" y="820"/>
                </a:cubicBezTo>
                <a:cubicBezTo>
                  <a:pt x="472" y="820"/>
                  <a:pt x="472" y="821"/>
                  <a:pt x="471" y="821"/>
                </a:cubicBezTo>
                <a:cubicBezTo>
                  <a:pt x="471" y="821"/>
                  <a:pt x="471" y="821"/>
                  <a:pt x="470" y="821"/>
                </a:cubicBezTo>
                <a:cubicBezTo>
                  <a:pt x="471" y="823"/>
                  <a:pt x="471" y="823"/>
                  <a:pt x="471" y="825"/>
                </a:cubicBezTo>
                <a:cubicBezTo>
                  <a:pt x="470" y="826"/>
                  <a:pt x="470" y="827"/>
                  <a:pt x="471" y="828"/>
                </a:cubicBezTo>
                <a:cubicBezTo>
                  <a:pt x="470" y="828"/>
                  <a:pt x="471" y="828"/>
                  <a:pt x="470" y="828"/>
                </a:cubicBezTo>
                <a:cubicBezTo>
                  <a:pt x="470" y="828"/>
                  <a:pt x="469" y="830"/>
                  <a:pt x="469" y="830"/>
                </a:cubicBezTo>
                <a:cubicBezTo>
                  <a:pt x="470" y="830"/>
                  <a:pt x="470" y="831"/>
                  <a:pt x="470" y="832"/>
                </a:cubicBezTo>
                <a:cubicBezTo>
                  <a:pt x="470" y="832"/>
                  <a:pt x="470" y="833"/>
                  <a:pt x="471" y="833"/>
                </a:cubicBezTo>
                <a:cubicBezTo>
                  <a:pt x="470" y="834"/>
                  <a:pt x="469" y="834"/>
                  <a:pt x="468" y="835"/>
                </a:cubicBezTo>
                <a:cubicBezTo>
                  <a:pt x="468" y="836"/>
                  <a:pt x="468" y="836"/>
                  <a:pt x="469" y="836"/>
                </a:cubicBezTo>
                <a:cubicBezTo>
                  <a:pt x="469" y="837"/>
                  <a:pt x="469" y="837"/>
                  <a:pt x="469" y="837"/>
                </a:cubicBezTo>
                <a:cubicBezTo>
                  <a:pt x="468" y="837"/>
                  <a:pt x="468" y="837"/>
                  <a:pt x="467" y="837"/>
                </a:cubicBezTo>
                <a:cubicBezTo>
                  <a:pt x="467" y="837"/>
                  <a:pt x="468" y="838"/>
                  <a:pt x="468" y="838"/>
                </a:cubicBezTo>
                <a:cubicBezTo>
                  <a:pt x="468" y="838"/>
                  <a:pt x="467" y="839"/>
                  <a:pt x="467" y="839"/>
                </a:cubicBezTo>
                <a:cubicBezTo>
                  <a:pt x="467" y="840"/>
                  <a:pt x="467" y="840"/>
                  <a:pt x="467" y="841"/>
                </a:cubicBezTo>
                <a:cubicBezTo>
                  <a:pt x="467" y="842"/>
                  <a:pt x="467" y="842"/>
                  <a:pt x="467" y="842"/>
                </a:cubicBezTo>
                <a:cubicBezTo>
                  <a:pt x="467" y="843"/>
                  <a:pt x="467" y="843"/>
                  <a:pt x="467" y="844"/>
                </a:cubicBezTo>
                <a:cubicBezTo>
                  <a:pt x="467" y="844"/>
                  <a:pt x="467" y="844"/>
                  <a:pt x="468" y="844"/>
                </a:cubicBezTo>
                <a:cubicBezTo>
                  <a:pt x="468" y="845"/>
                  <a:pt x="468" y="846"/>
                  <a:pt x="467" y="846"/>
                </a:cubicBezTo>
                <a:cubicBezTo>
                  <a:pt x="467" y="846"/>
                  <a:pt x="467" y="846"/>
                  <a:pt x="467" y="846"/>
                </a:cubicBezTo>
                <a:cubicBezTo>
                  <a:pt x="467" y="846"/>
                  <a:pt x="467" y="847"/>
                  <a:pt x="467" y="848"/>
                </a:cubicBezTo>
                <a:cubicBezTo>
                  <a:pt x="467" y="848"/>
                  <a:pt x="467" y="849"/>
                  <a:pt x="467" y="850"/>
                </a:cubicBezTo>
                <a:cubicBezTo>
                  <a:pt x="467" y="850"/>
                  <a:pt x="467" y="850"/>
                  <a:pt x="466" y="850"/>
                </a:cubicBezTo>
                <a:cubicBezTo>
                  <a:pt x="466" y="851"/>
                  <a:pt x="466" y="851"/>
                  <a:pt x="466" y="850"/>
                </a:cubicBezTo>
                <a:cubicBezTo>
                  <a:pt x="466" y="849"/>
                  <a:pt x="466" y="849"/>
                  <a:pt x="465" y="849"/>
                </a:cubicBezTo>
                <a:cubicBezTo>
                  <a:pt x="464" y="849"/>
                  <a:pt x="464" y="849"/>
                  <a:pt x="464" y="850"/>
                </a:cubicBezTo>
                <a:cubicBezTo>
                  <a:pt x="464" y="851"/>
                  <a:pt x="463" y="850"/>
                  <a:pt x="463" y="850"/>
                </a:cubicBezTo>
                <a:cubicBezTo>
                  <a:pt x="463" y="850"/>
                  <a:pt x="463" y="850"/>
                  <a:pt x="463" y="849"/>
                </a:cubicBezTo>
                <a:cubicBezTo>
                  <a:pt x="463" y="849"/>
                  <a:pt x="463" y="850"/>
                  <a:pt x="462" y="850"/>
                </a:cubicBezTo>
                <a:cubicBezTo>
                  <a:pt x="462" y="849"/>
                  <a:pt x="462" y="849"/>
                  <a:pt x="462" y="848"/>
                </a:cubicBezTo>
                <a:cubicBezTo>
                  <a:pt x="462" y="848"/>
                  <a:pt x="461" y="848"/>
                  <a:pt x="461" y="848"/>
                </a:cubicBezTo>
                <a:cubicBezTo>
                  <a:pt x="460" y="848"/>
                  <a:pt x="459" y="849"/>
                  <a:pt x="458" y="849"/>
                </a:cubicBezTo>
                <a:cubicBezTo>
                  <a:pt x="459" y="850"/>
                  <a:pt x="460" y="850"/>
                  <a:pt x="459" y="851"/>
                </a:cubicBezTo>
                <a:cubicBezTo>
                  <a:pt x="458" y="852"/>
                  <a:pt x="458" y="853"/>
                  <a:pt x="458" y="854"/>
                </a:cubicBezTo>
                <a:cubicBezTo>
                  <a:pt x="458" y="854"/>
                  <a:pt x="458" y="854"/>
                  <a:pt x="458" y="854"/>
                </a:cubicBezTo>
                <a:cubicBezTo>
                  <a:pt x="458" y="854"/>
                  <a:pt x="458" y="853"/>
                  <a:pt x="458" y="853"/>
                </a:cubicBezTo>
                <a:cubicBezTo>
                  <a:pt x="459" y="853"/>
                  <a:pt x="459" y="853"/>
                  <a:pt x="460" y="853"/>
                </a:cubicBezTo>
                <a:cubicBezTo>
                  <a:pt x="460" y="853"/>
                  <a:pt x="459" y="852"/>
                  <a:pt x="460" y="852"/>
                </a:cubicBezTo>
                <a:cubicBezTo>
                  <a:pt x="460" y="853"/>
                  <a:pt x="459" y="853"/>
                  <a:pt x="459" y="854"/>
                </a:cubicBezTo>
                <a:cubicBezTo>
                  <a:pt x="460" y="854"/>
                  <a:pt x="460" y="855"/>
                  <a:pt x="460" y="855"/>
                </a:cubicBezTo>
                <a:cubicBezTo>
                  <a:pt x="462" y="855"/>
                  <a:pt x="462" y="855"/>
                  <a:pt x="462" y="854"/>
                </a:cubicBezTo>
                <a:cubicBezTo>
                  <a:pt x="463" y="854"/>
                  <a:pt x="464" y="853"/>
                  <a:pt x="464" y="854"/>
                </a:cubicBezTo>
                <a:cubicBezTo>
                  <a:pt x="464" y="855"/>
                  <a:pt x="465" y="854"/>
                  <a:pt x="465" y="856"/>
                </a:cubicBezTo>
                <a:cubicBezTo>
                  <a:pt x="464" y="857"/>
                  <a:pt x="465" y="856"/>
                  <a:pt x="465" y="857"/>
                </a:cubicBezTo>
                <a:cubicBezTo>
                  <a:pt x="465" y="857"/>
                  <a:pt x="464" y="858"/>
                  <a:pt x="464" y="859"/>
                </a:cubicBezTo>
                <a:cubicBezTo>
                  <a:pt x="465" y="859"/>
                  <a:pt x="465" y="859"/>
                  <a:pt x="465" y="859"/>
                </a:cubicBezTo>
                <a:cubicBezTo>
                  <a:pt x="465" y="860"/>
                  <a:pt x="465" y="860"/>
                  <a:pt x="463" y="859"/>
                </a:cubicBezTo>
                <a:cubicBezTo>
                  <a:pt x="463" y="860"/>
                  <a:pt x="463" y="861"/>
                  <a:pt x="463" y="862"/>
                </a:cubicBezTo>
                <a:cubicBezTo>
                  <a:pt x="463" y="863"/>
                  <a:pt x="463" y="863"/>
                  <a:pt x="463" y="864"/>
                </a:cubicBezTo>
                <a:cubicBezTo>
                  <a:pt x="463" y="865"/>
                  <a:pt x="464" y="865"/>
                  <a:pt x="464" y="866"/>
                </a:cubicBezTo>
                <a:cubicBezTo>
                  <a:pt x="463" y="866"/>
                  <a:pt x="463" y="866"/>
                  <a:pt x="463" y="867"/>
                </a:cubicBezTo>
                <a:cubicBezTo>
                  <a:pt x="463" y="868"/>
                  <a:pt x="463" y="869"/>
                  <a:pt x="463" y="870"/>
                </a:cubicBezTo>
                <a:cubicBezTo>
                  <a:pt x="464" y="870"/>
                  <a:pt x="464" y="871"/>
                  <a:pt x="464" y="870"/>
                </a:cubicBezTo>
                <a:cubicBezTo>
                  <a:pt x="464" y="869"/>
                  <a:pt x="465" y="869"/>
                  <a:pt x="466" y="869"/>
                </a:cubicBezTo>
                <a:cubicBezTo>
                  <a:pt x="465" y="870"/>
                  <a:pt x="465" y="870"/>
                  <a:pt x="465" y="872"/>
                </a:cubicBezTo>
                <a:cubicBezTo>
                  <a:pt x="464" y="872"/>
                  <a:pt x="463" y="872"/>
                  <a:pt x="463" y="872"/>
                </a:cubicBezTo>
                <a:cubicBezTo>
                  <a:pt x="463" y="873"/>
                  <a:pt x="463" y="873"/>
                  <a:pt x="463" y="874"/>
                </a:cubicBezTo>
                <a:cubicBezTo>
                  <a:pt x="463" y="874"/>
                  <a:pt x="463" y="874"/>
                  <a:pt x="462" y="874"/>
                </a:cubicBezTo>
                <a:cubicBezTo>
                  <a:pt x="462" y="875"/>
                  <a:pt x="462" y="875"/>
                  <a:pt x="462" y="876"/>
                </a:cubicBezTo>
                <a:cubicBezTo>
                  <a:pt x="462" y="877"/>
                  <a:pt x="462" y="877"/>
                  <a:pt x="463" y="877"/>
                </a:cubicBezTo>
                <a:cubicBezTo>
                  <a:pt x="464" y="877"/>
                  <a:pt x="464" y="877"/>
                  <a:pt x="465" y="878"/>
                </a:cubicBezTo>
                <a:cubicBezTo>
                  <a:pt x="464" y="878"/>
                  <a:pt x="464" y="878"/>
                  <a:pt x="464" y="879"/>
                </a:cubicBezTo>
                <a:cubicBezTo>
                  <a:pt x="464" y="879"/>
                  <a:pt x="466" y="880"/>
                  <a:pt x="466" y="880"/>
                </a:cubicBezTo>
                <a:cubicBezTo>
                  <a:pt x="467" y="880"/>
                  <a:pt x="465" y="881"/>
                  <a:pt x="464" y="881"/>
                </a:cubicBezTo>
                <a:cubicBezTo>
                  <a:pt x="464" y="881"/>
                  <a:pt x="464" y="883"/>
                  <a:pt x="465" y="883"/>
                </a:cubicBezTo>
                <a:cubicBezTo>
                  <a:pt x="465" y="883"/>
                  <a:pt x="466" y="883"/>
                  <a:pt x="466" y="884"/>
                </a:cubicBezTo>
                <a:cubicBezTo>
                  <a:pt x="466" y="884"/>
                  <a:pt x="466" y="886"/>
                  <a:pt x="466" y="885"/>
                </a:cubicBezTo>
                <a:cubicBezTo>
                  <a:pt x="466" y="886"/>
                  <a:pt x="465" y="885"/>
                  <a:pt x="465" y="885"/>
                </a:cubicBezTo>
                <a:cubicBezTo>
                  <a:pt x="464" y="885"/>
                  <a:pt x="465" y="887"/>
                  <a:pt x="465" y="887"/>
                </a:cubicBezTo>
                <a:cubicBezTo>
                  <a:pt x="464" y="887"/>
                  <a:pt x="463" y="886"/>
                  <a:pt x="463" y="886"/>
                </a:cubicBezTo>
                <a:cubicBezTo>
                  <a:pt x="462" y="886"/>
                  <a:pt x="463" y="886"/>
                  <a:pt x="462" y="886"/>
                </a:cubicBezTo>
                <a:cubicBezTo>
                  <a:pt x="463" y="887"/>
                  <a:pt x="464" y="887"/>
                  <a:pt x="464" y="888"/>
                </a:cubicBezTo>
                <a:cubicBezTo>
                  <a:pt x="465" y="888"/>
                  <a:pt x="464" y="887"/>
                  <a:pt x="465" y="887"/>
                </a:cubicBezTo>
                <a:cubicBezTo>
                  <a:pt x="466" y="888"/>
                  <a:pt x="465" y="887"/>
                  <a:pt x="466" y="887"/>
                </a:cubicBezTo>
                <a:cubicBezTo>
                  <a:pt x="466" y="887"/>
                  <a:pt x="467" y="888"/>
                  <a:pt x="467" y="889"/>
                </a:cubicBezTo>
                <a:cubicBezTo>
                  <a:pt x="467" y="888"/>
                  <a:pt x="468" y="888"/>
                  <a:pt x="468" y="887"/>
                </a:cubicBezTo>
                <a:cubicBezTo>
                  <a:pt x="468" y="888"/>
                  <a:pt x="469" y="888"/>
                  <a:pt x="469" y="887"/>
                </a:cubicBezTo>
                <a:cubicBezTo>
                  <a:pt x="469" y="886"/>
                  <a:pt x="469" y="887"/>
                  <a:pt x="469" y="886"/>
                </a:cubicBezTo>
                <a:cubicBezTo>
                  <a:pt x="469" y="886"/>
                  <a:pt x="470" y="885"/>
                  <a:pt x="470" y="886"/>
                </a:cubicBezTo>
                <a:cubicBezTo>
                  <a:pt x="470" y="886"/>
                  <a:pt x="471" y="886"/>
                  <a:pt x="472" y="886"/>
                </a:cubicBezTo>
                <a:cubicBezTo>
                  <a:pt x="472" y="887"/>
                  <a:pt x="470" y="887"/>
                  <a:pt x="470" y="888"/>
                </a:cubicBezTo>
                <a:cubicBezTo>
                  <a:pt x="470" y="888"/>
                  <a:pt x="470" y="888"/>
                  <a:pt x="469" y="887"/>
                </a:cubicBezTo>
                <a:cubicBezTo>
                  <a:pt x="469" y="888"/>
                  <a:pt x="469" y="890"/>
                  <a:pt x="469" y="890"/>
                </a:cubicBezTo>
                <a:cubicBezTo>
                  <a:pt x="468" y="890"/>
                  <a:pt x="468" y="890"/>
                  <a:pt x="468" y="889"/>
                </a:cubicBezTo>
                <a:cubicBezTo>
                  <a:pt x="467" y="889"/>
                  <a:pt x="466" y="889"/>
                  <a:pt x="466" y="889"/>
                </a:cubicBezTo>
                <a:cubicBezTo>
                  <a:pt x="466" y="890"/>
                  <a:pt x="466" y="891"/>
                  <a:pt x="466" y="891"/>
                </a:cubicBezTo>
                <a:cubicBezTo>
                  <a:pt x="466" y="892"/>
                  <a:pt x="466" y="892"/>
                  <a:pt x="467" y="893"/>
                </a:cubicBezTo>
                <a:cubicBezTo>
                  <a:pt x="465" y="894"/>
                  <a:pt x="467" y="896"/>
                  <a:pt x="468" y="894"/>
                </a:cubicBezTo>
                <a:cubicBezTo>
                  <a:pt x="468" y="895"/>
                  <a:pt x="468" y="895"/>
                  <a:pt x="469" y="895"/>
                </a:cubicBezTo>
                <a:cubicBezTo>
                  <a:pt x="469" y="896"/>
                  <a:pt x="468" y="896"/>
                  <a:pt x="469" y="896"/>
                </a:cubicBezTo>
                <a:cubicBezTo>
                  <a:pt x="470" y="897"/>
                  <a:pt x="470" y="897"/>
                  <a:pt x="471" y="897"/>
                </a:cubicBezTo>
                <a:cubicBezTo>
                  <a:pt x="472" y="897"/>
                  <a:pt x="471" y="898"/>
                  <a:pt x="472" y="898"/>
                </a:cubicBezTo>
                <a:cubicBezTo>
                  <a:pt x="472" y="897"/>
                  <a:pt x="471" y="897"/>
                  <a:pt x="472" y="896"/>
                </a:cubicBezTo>
                <a:cubicBezTo>
                  <a:pt x="472" y="896"/>
                  <a:pt x="473" y="896"/>
                  <a:pt x="473" y="896"/>
                </a:cubicBezTo>
                <a:cubicBezTo>
                  <a:pt x="473" y="896"/>
                  <a:pt x="473" y="897"/>
                  <a:pt x="473" y="897"/>
                </a:cubicBezTo>
                <a:cubicBezTo>
                  <a:pt x="472" y="898"/>
                  <a:pt x="473" y="898"/>
                  <a:pt x="473" y="898"/>
                </a:cubicBezTo>
                <a:cubicBezTo>
                  <a:pt x="474" y="899"/>
                  <a:pt x="476" y="900"/>
                  <a:pt x="477" y="900"/>
                </a:cubicBezTo>
                <a:cubicBezTo>
                  <a:pt x="478" y="899"/>
                  <a:pt x="478" y="898"/>
                  <a:pt x="478" y="897"/>
                </a:cubicBezTo>
                <a:cubicBezTo>
                  <a:pt x="478" y="897"/>
                  <a:pt x="478" y="896"/>
                  <a:pt x="478" y="896"/>
                </a:cubicBezTo>
                <a:cubicBezTo>
                  <a:pt x="478" y="895"/>
                  <a:pt x="478" y="896"/>
                  <a:pt x="478" y="895"/>
                </a:cubicBezTo>
                <a:cubicBezTo>
                  <a:pt x="478" y="895"/>
                  <a:pt x="478" y="895"/>
                  <a:pt x="478" y="894"/>
                </a:cubicBezTo>
                <a:cubicBezTo>
                  <a:pt x="478" y="894"/>
                  <a:pt x="478" y="894"/>
                  <a:pt x="478" y="894"/>
                </a:cubicBezTo>
                <a:cubicBezTo>
                  <a:pt x="478" y="893"/>
                  <a:pt x="478" y="893"/>
                  <a:pt x="479" y="893"/>
                </a:cubicBezTo>
                <a:cubicBezTo>
                  <a:pt x="479" y="893"/>
                  <a:pt x="479" y="892"/>
                  <a:pt x="478" y="893"/>
                </a:cubicBezTo>
                <a:cubicBezTo>
                  <a:pt x="479" y="892"/>
                  <a:pt x="478" y="892"/>
                  <a:pt x="479" y="892"/>
                </a:cubicBezTo>
                <a:cubicBezTo>
                  <a:pt x="481" y="892"/>
                  <a:pt x="482" y="891"/>
                  <a:pt x="483" y="891"/>
                </a:cubicBezTo>
                <a:cubicBezTo>
                  <a:pt x="483" y="892"/>
                  <a:pt x="483" y="892"/>
                  <a:pt x="484" y="892"/>
                </a:cubicBezTo>
                <a:cubicBezTo>
                  <a:pt x="485" y="892"/>
                  <a:pt x="485" y="891"/>
                  <a:pt x="485" y="890"/>
                </a:cubicBezTo>
                <a:cubicBezTo>
                  <a:pt x="486" y="889"/>
                  <a:pt x="486" y="889"/>
                  <a:pt x="487" y="889"/>
                </a:cubicBezTo>
                <a:cubicBezTo>
                  <a:pt x="488" y="889"/>
                  <a:pt x="489" y="889"/>
                  <a:pt x="490" y="889"/>
                </a:cubicBezTo>
                <a:cubicBezTo>
                  <a:pt x="490" y="888"/>
                  <a:pt x="489" y="887"/>
                  <a:pt x="489" y="886"/>
                </a:cubicBezTo>
                <a:cubicBezTo>
                  <a:pt x="488" y="886"/>
                  <a:pt x="487" y="886"/>
                  <a:pt x="487" y="886"/>
                </a:cubicBezTo>
                <a:cubicBezTo>
                  <a:pt x="487" y="886"/>
                  <a:pt x="487" y="886"/>
                  <a:pt x="486" y="885"/>
                </a:cubicBezTo>
                <a:cubicBezTo>
                  <a:pt x="488" y="885"/>
                  <a:pt x="488" y="885"/>
                  <a:pt x="487" y="884"/>
                </a:cubicBezTo>
                <a:cubicBezTo>
                  <a:pt x="487" y="883"/>
                  <a:pt x="487" y="882"/>
                  <a:pt x="487" y="882"/>
                </a:cubicBezTo>
                <a:cubicBezTo>
                  <a:pt x="487" y="882"/>
                  <a:pt x="486" y="882"/>
                  <a:pt x="486" y="882"/>
                </a:cubicBezTo>
                <a:cubicBezTo>
                  <a:pt x="486" y="882"/>
                  <a:pt x="486" y="882"/>
                  <a:pt x="487" y="881"/>
                </a:cubicBezTo>
                <a:cubicBezTo>
                  <a:pt x="487" y="881"/>
                  <a:pt x="487" y="881"/>
                  <a:pt x="487" y="879"/>
                </a:cubicBezTo>
                <a:cubicBezTo>
                  <a:pt x="488" y="879"/>
                  <a:pt x="489" y="877"/>
                  <a:pt x="490" y="877"/>
                </a:cubicBezTo>
                <a:cubicBezTo>
                  <a:pt x="490" y="877"/>
                  <a:pt x="490" y="876"/>
                  <a:pt x="489" y="876"/>
                </a:cubicBezTo>
                <a:cubicBezTo>
                  <a:pt x="488" y="875"/>
                  <a:pt x="488" y="875"/>
                  <a:pt x="489" y="874"/>
                </a:cubicBezTo>
                <a:cubicBezTo>
                  <a:pt x="489" y="873"/>
                  <a:pt x="489" y="873"/>
                  <a:pt x="489" y="873"/>
                </a:cubicBezTo>
                <a:cubicBezTo>
                  <a:pt x="490" y="873"/>
                  <a:pt x="491" y="875"/>
                  <a:pt x="491" y="875"/>
                </a:cubicBezTo>
                <a:cubicBezTo>
                  <a:pt x="491" y="876"/>
                  <a:pt x="492" y="875"/>
                  <a:pt x="493" y="875"/>
                </a:cubicBezTo>
                <a:cubicBezTo>
                  <a:pt x="493" y="874"/>
                  <a:pt x="494" y="874"/>
                  <a:pt x="494" y="874"/>
                </a:cubicBezTo>
                <a:cubicBezTo>
                  <a:pt x="494" y="874"/>
                  <a:pt x="494" y="874"/>
                  <a:pt x="494" y="873"/>
                </a:cubicBezTo>
                <a:cubicBezTo>
                  <a:pt x="495" y="873"/>
                  <a:pt x="495" y="872"/>
                  <a:pt x="495" y="872"/>
                </a:cubicBezTo>
                <a:cubicBezTo>
                  <a:pt x="495" y="871"/>
                  <a:pt x="494" y="871"/>
                  <a:pt x="494" y="871"/>
                </a:cubicBezTo>
                <a:cubicBezTo>
                  <a:pt x="494" y="871"/>
                  <a:pt x="493" y="871"/>
                  <a:pt x="493" y="871"/>
                </a:cubicBezTo>
                <a:cubicBezTo>
                  <a:pt x="493" y="870"/>
                  <a:pt x="494" y="869"/>
                  <a:pt x="495" y="869"/>
                </a:cubicBezTo>
                <a:cubicBezTo>
                  <a:pt x="495" y="868"/>
                  <a:pt x="496" y="868"/>
                  <a:pt x="496" y="867"/>
                </a:cubicBezTo>
                <a:cubicBezTo>
                  <a:pt x="496" y="867"/>
                  <a:pt x="497" y="866"/>
                  <a:pt x="497" y="866"/>
                </a:cubicBezTo>
                <a:cubicBezTo>
                  <a:pt x="497" y="865"/>
                  <a:pt x="497" y="865"/>
                  <a:pt x="498" y="865"/>
                </a:cubicBezTo>
                <a:cubicBezTo>
                  <a:pt x="499" y="864"/>
                  <a:pt x="499" y="864"/>
                  <a:pt x="500" y="864"/>
                </a:cubicBezTo>
                <a:cubicBezTo>
                  <a:pt x="500" y="864"/>
                  <a:pt x="502" y="862"/>
                  <a:pt x="502" y="862"/>
                </a:cubicBezTo>
                <a:cubicBezTo>
                  <a:pt x="503" y="862"/>
                  <a:pt x="503" y="861"/>
                  <a:pt x="504" y="860"/>
                </a:cubicBezTo>
                <a:cubicBezTo>
                  <a:pt x="503" y="860"/>
                  <a:pt x="502" y="860"/>
                  <a:pt x="502" y="859"/>
                </a:cubicBezTo>
                <a:cubicBezTo>
                  <a:pt x="502" y="859"/>
                  <a:pt x="501" y="860"/>
                  <a:pt x="501" y="860"/>
                </a:cubicBezTo>
                <a:cubicBezTo>
                  <a:pt x="501" y="859"/>
                  <a:pt x="502" y="859"/>
                  <a:pt x="502" y="859"/>
                </a:cubicBezTo>
                <a:cubicBezTo>
                  <a:pt x="502" y="858"/>
                  <a:pt x="503" y="857"/>
                  <a:pt x="502" y="857"/>
                </a:cubicBezTo>
                <a:cubicBezTo>
                  <a:pt x="502" y="856"/>
                  <a:pt x="502" y="855"/>
                  <a:pt x="501" y="855"/>
                </a:cubicBezTo>
                <a:cubicBezTo>
                  <a:pt x="501" y="855"/>
                  <a:pt x="500" y="855"/>
                  <a:pt x="500" y="855"/>
                </a:cubicBezTo>
                <a:cubicBezTo>
                  <a:pt x="500" y="855"/>
                  <a:pt x="500" y="855"/>
                  <a:pt x="500" y="855"/>
                </a:cubicBezTo>
                <a:cubicBezTo>
                  <a:pt x="499" y="855"/>
                  <a:pt x="499" y="855"/>
                  <a:pt x="499" y="855"/>
                </a:cubicBezTo>
                <a:cubicBezTo>
                  <a:pt x="498" y="855"/>
                  <a:pt x="498" y="854"/>
                  <a:pt x="498" y="854"/>
                </a:cubicBezTo>
                <a:cubicBezTo>
                  <a:pt x="497" y="854"/>
                  <a:pt x="497" y="853"/>
                  <a:pt x="496" y="853"/>
                </a:cubicBezTo>
                <a:cubicBezTo>
                  <a:pt x="495" y="852"/>
                  <a:pt x="495" y="852"/>
                  <a:pt x="495" y="851"/>
                </a:cubicBezTo>
                <a:cubicBezTo>
                  <a:pt x="495" y="851"/>
                  <a:pt x="494" y="851"/>
                  <a:pt x="494" y="850"/>
                </a:cubicBezTo>
                <a:cubicBezTo>
                  <a:pt x="494" y="849"/>
                  <a:pt x="494" y="849"/>
                  <a:pt x="494" y="848"/>
                </a:cubicBezTo>
                <a:cubicBezTo>
                  <a:pt x="494" y="847"/>
                  <a:pt x="495" y="847"/>
                  <a:pt x="495" y="846"/>
                </a:cubicBezTo>
                <a:cubicBezTo>
                  <a:pt x="497" y="846"/>
                  <a:pt x="496" y="846"/>
                  <a:pt x="496" y="845"/>
                </a:cubicBezTo>
                <a:cubicBezTo>
                  <a:pt x="497" y="845"/>
                  <a:pt x="498" y="843"/>
                  <a:pt x="499" y="843"/>
                </a:cubicBezTo>
                <a:cubicBezTo>
                  <a:pt x="500" y="843"/>
                  <a:pt x="500" y="843"/>
                  <a:pt x="500" y="842"/>
                </a:cubicBezTo>
                <a:cubicBezTo>
                  <a:pt x="500" y="841"/>
                  <a:pt x="500" y="841"/>
                  <a:pt x="501" y="841"/>
                </a:cubicBezTo>
                <a:cubicBezTo>
                  <a:pt x="502" y="841"/>
                  <a:pt x="503" y="841"/>
                  <a:pt x="504" y="841"/>
                </a:cubicBezTo>
                <a:cubicBezTo>
                  <a:pt x="504" y="840"/>
                  <a:pt x="505" y="840"/>
                  <a:pt x="503" y="839"/>
                </a:cubicBezTo>
                <a:cubicBezTo>
                  <a:pt x="503" y="839"/>
                  <a:pt x="504" y="839"/>
                  <a:pt x="504" y="838"/>
                </a:cubicBezTo>
                <a:cubicBezTo>
                  <a:pt x="504" y="838"/>
                  <a:pt x="504" y="838"/>
                  <a:pt x="504" y="838"/>
                </a:cubicBezTo>
                <a:cubicBezTo>
                  <a:pt x="505" y="838"/>
                  <a:pt x="506" y="837"/>
                  <a:pt x="506" y="837"/>
                </a:cubicBezTo>
                <a:cubicBezTo>
                  <a:pt x="506" y="837"/>
                  <a:pt x="505" y="837"/>
                  <a:pt x="506" y="837"/>
                </a:cubicBezTo>
                <a:cubicBezTo>
                  <a:pt x="506" y="835"/>
                  <a:pt x="506" y="834"/>
                  <a:pt x="506" y="832"/>
                </a:cubicBezTo>
                <a:cubicBezTo>
                  <a:pt x="506" y="832"/>
                  <a:pt x="506" y="831"/>
                  <a:pt x="507" y="830"/>
                </a:cubicBezTo>
                <a:cubicBezTo>
                  <a:pt x="507" y="829"/>
                  <a:pt x="507" y="829"/>
                  <a:pt x="508" y="828"/>
                </a:cubicBezTo>
                <a:cubicBezTo>
                  <a:pt x="509" y="828"/>
                  <a:pt x="509" y="828"/>
                  <a:pt x="510" y="828"/>
                </a:cubicBezTo>
                <a:cubicBezTo>
                  <a:pt x="510" y="827"/>
                  <a:pt x="511" y="827"/>
                  <a:pt x="510" y="826"/>
                </a:cubicBezTo>
                <a:cubicBezTo>
                  <a:pt x="509" y="826"/>
                  <a:pt x="509" y="826"/>
                  <a:pt x="508" y="826"/>
                </a:cubicBezTo>
                <a:cubicBezTo>
                  <a:pt x="508" y="826"/>
                  <a:pt x="508" y="827"/>
                  <a:pt x="508" y="827"/>
                </a:cubicBezTo>
                <a:cubicBezTo>
                  <a:pt x="508" y="827"/>
                  <a:pt x="507" y="826"/>
                  <a:pt x="507" y="826"/>
                </a:cubicBezTo>
                <a:cubicBezTo>
                  <a:pt x="507" y="826"/>
                  <a:pt x="508" y="825"/>
                  <a:pt x="509" y="825"/>
                </a:cubicBezTo>
                <a:cubicBezTo>
                  <a:pt x="510" y="825"/>
                  <a:pt x="511" y="825"/>
                  <a:pt x="511" y="826"/>
                </a:cubicBezTo>
                <a:cubicBezTo>
                  <a:pt x="512" y="826"/>
                  <a:pt x="511" y="827"/>
                  <a:pt x="511" y="827"/>
                </a:cubicBezTo>
                <a:cubicBezTo>
                  <a:pt x="512" y="827"/>
                  <a:pt x="512" y="827"/>
                  <a:pt x="513" y="827"/>
                </a:cubicBezTo>
                <a:cubicBezTo>
                  <a:pt x="513" y="827"/>
                  <a:pt x="514" y="826"/>
                  <a:pt x="514" y="826"/>
                </a:cubicBezTo>
                <a:cubicBezTo>
                  <a:pt x="514" y="826"/>
                  <a:pt x="514" y="825"/>
                  <a:pt x="514" y="825"/>
                </a:cubicBezTo>
                <a:cubicBezTo>
                  <a:pt x="514" y="825"/>
                  <a:pt x="514" y="824"/>
                  <a:pt x="514" y="824"/>
                </a:cubicBezTo>
                <a:cubicBezTo>
                  <a:pt x="514" y="823"/>
                  <a:pt x="514" y="824"/>
                  <a:pt x="514" y="824"/>
                </a:cubicBezTo>
                <a:cubicBezTo>
                  <a:pt x="514" y="823"/>
                  <a:pt x="514" y="823"/>
                  <a:pt x="513" y="823"/>
                </a:cubicBezTo>
                <a:cubicBezTo>
                  <a:pt x="512" y="823"/>
                  <a:pt x="512" y="823"/>
                  <a:pt x="512" y="824"/>
                </a:cubicBezTo>
                <a:cubicBezTo>
                  <a:pt x="511" y="824"/>
                  <a:pt x="509" y="823"/>
                  <a:pt x="508" y="823"/>
                </a:cubicBezTo>
                <a:cubicBezTo>
                  <a:pt x="508" y="822"/>
                  <a:pt x="507" y="823"/>
                  <a:pt x="507" y="822"/>
                </a:cubicBezTo>
                <a:cubicBezTo>
                  <a:pt x="508" y="821"/>
                  <a:pt x="508" y="820"/>
                  <a:pt x="508" y="819"/>
                </a:cubicBezTo>
                <a:cubicBezTo>
                  <a:pt x="507" y="819"/>
                  <a:pt x="506" y="819"/>
                  <a:pt x="506" y="819"/>
                </a:cubicBezTo>
                <a:cubicBezTo>
                  <a:pt x="506" y="818"/>
                  <a:pt x="506" y="818"/>
                  <a:pt x="506" y="817"/>
                </a:cubicBezTo>
                <a:cubicBezTo>
                  <a:pt x="506" y="817"/>
                  <a:pt x="507" y="817"/>
                  <a:pt x="507" y="817"/>
                </a:cubicBezTo>
                <a:cubicBezTo>
                  <a:pt x="507" y="817"/>
                  <a:pt x="506" y="816"/>
                  <a:pt x="507" y="817"/>
                </a:cubicBezTo>
                <a:cubicBezTo>
                  <a:pt x="507" y="816"/>
                  <a:pt x="507" y="816"/>
                  <a:pt x="507" y="815"/>
                </a:cubicBezTo>
                <a:cubicBezTo>
                  <a:pt x="507" y="815"/>
                  <a:pt x="507" y="814"/>
                  <a:pt x="508" y="814"/>
                </a:cubicBezTo>
                <a:cubicBezTo>
                  <a:pt x="509" y="814"/>
                  <a:pt x="509" y="814"/>
                  <a:pt x="509" y="815"/>
                </a:cubicBezTo>
                <a:cubicBezTo>
                  <a:pt x="509" y="815"/>
                  <a:pt x="510" y="815"/>
                  <a:pt x="510" y="815"/>
                </a:cubicBezTo>
                <a:cubicBezTo>
                  <a:pt x="511" y="815"/>
                  <a:pt x="511" y="817"/>
                  <a:pt x="511" y="817"/>
                </a:cubicBezTo>
                <a:cubicBezTo>
                  <a:pt x="512" y="817"/>
                  <a:pt x="513" y="817"/>
                  <a:pt x="514" y="817"/>
                </a:cubicBezTo>
                <a:cubicBezTo>
                  <a:pt x="514" y="817"/>
                  <a:pt x="514" y="817"/>
                  <a:pt x="515" y="817"/>
                </a:cubicBezTo>
                <a:cubicBezTo>
                  <a:pt x="515" y="817"/>
                  <a:pt x="515" y="817"/>
                  <a:pt x="515" y="817"/>
                </a:cubicBezTo>
                <a:cubicBezTo>
                  <a:pt x="515" y="817"/>
                  <a:pt x="516" y="817"/>
                  <a:pt x="516" y="817"/>
                </a:cubicBezTo>
                <a:cubicBezTo>
                  <a:pt x="517" y="817"/>
                  <a:pt x="517" y="815"/>
                  <a:pt x="518" y="815"/>
                </a:cubicBezTo>
                <a:cubicBezTo>
                  <a:pt x="519" y="814"/>
                  <a:pt x="519" y="814"/>
                  <a:pt x="520" y="813"/>
                </a:cubicBezTo>
                <a:cubicBezTo>
                  <a:pt x="520" y="811"/>
                  <a:pt x="520" y="810"/>
                  <a:pt x="519" y="809"/>
                </a:cubicBezTo>
                <a:cubicBezTo>
                  <a:pt x="520" y="809"/>
                  <a:pt x="520" y="809"/>
                  <a:pt x="520" y="809"/>
                </a:cubicBezTo>
                <a:cubicBezTo>
                  <a:pt x="520" y="809"/>
                  <a:pt x="520" y="808"/>
                  <a:pt x="519" y="807"/>
                </a:cubicBezTo>
                <a:cubicBezTo>
                  <a:pt x="520" y="807"/>
                  <a:pt x="520" y="806"/>
                  <a:pt x="520" y="805"/>
                </a:cubicBezTo>
                <a:cubicBezTo>
                  <a:pt x="521" y="804"/>
                  <a:pt x="518" y="804"/>
                  <a:pt x="518" y="803"/>
                </a:cubicBezTo>
                <a:cubicBezTo>
                  <a:pt x="518" y="802"/>
                  <a:pt x="519" y="801"/>
                  <a:pt x="519" y="801"/>
                </a:cubicBezTo>
                <a:cubicBezTo>
                  <a:pt x="520" y="801"/>
                  <a:pt x="521" y="803"/>
                  <a:pt x="522" y="803"/>
                </a:cubicBezTo>
                <a:cubicBezTo>
                  <a:pt x="522" y="802"/>
                  <a:pt x="521" y="802"/>
                  <a:pt x="521" y="802"/>
                </a:cubicBezTo>
                <a:cubicBezTo>
                  <a:pt x="523" y="802"/>
                  <a:pt x="525" y="802"/>
                  <a:pt x="526" y="801"/>
                </a:cubicBezTo>
                <a:cubicBezTo>
                  <a:pt x="526" y="801"/>
                  <a:pt x="526" y="801"/>
                  <a:pt x="527" y="801"/>
                </a:cubicBezTo>
                <a:cubicBezTo>
                  <a:pt x="527" y="801"/>
                  <a:pt x="528" y="801"/>
                  <a:pt x="528" y="801"/>
                </a:cubicBezTo>
                <a:cubicBezTo>
                  <a:pt x="529" y="801"/>
                  <a:pt x="531" y="801"/>
                  <a:pt x="531" y="801"/>
                </a:cubicBezTo>
                <a:cubicBezTo>
                  <a:pt x="531" y="800"/>
                  <a:pt x="532" y="801"/>
                  <a:pt x="532" y="801"/>
                </a:cubicBezTo>
                <a:cubicBezTo>
                  <a:pt x="532" y="801"/>
                  <a:pt x="532" y="800"/>
                  <a:pt x="532" y="800"/>
                </a:cubicBezTo>
                <a:cubicBezTo>
                  <a:pt x="533" y="800"/>
                  <a:pt x="533" y="800"/>
                  <a:pt x="534" y="800"/>
                </a:cubicBezTo>
                <a:cubicBezTo>
                  <a:pt x="534" y="800"/>
                  <a:pt x="534" y="800"/>
                  <a:pt x="535" y="800"/>
                </a:cubicBezTo>
                <a:cubicBezTo>
                  <a:pt x="535" y="800"/>
                  <a:pt x="535" y="800"/>
                  <a:pt x="536" y="800"/>
                </a:cubicBezTo>
                <a:cubicBezTo>
                  <a:pt x="536" y="799"/>
                  <a:pt x="536" y="799"/>
                  <a:pt x="536" y="799"/>
                </a:cubicBezTo>
                <a:cubicBezTo>
                  <a:pt x="536" y="799"/>
                  <a:pt x="536" y="799"/>
                  <a:pt x="537" y="799"/>
                </a:cubicBezTo>
                <a:cubicBezTo>
                  <a:pt x="537" y="799"/>
                  <a:pt x="537" y="799"/>
                  <a:pt x="537" y="799"/>
                </a:cubicBezTo>
                <a:cubicBezTo>
                  <a:pt x="538" y="799"/>
                  <a:pt x="538" y="799"/>
                  <a:pt x="538" y="799"/>
                </a:cubicBezTo>
                <a:cubicBezTo>
                  <a:pt x="538" y="798"/>
                  <a:pt x="538" y="798"/>
                  <a:pt x="539" y="799"/>
                </a:cubicBezTo>
                <a:cubicBezTo>
                  <a:pt x="539" y="799"/>
                  <a:pt x="539" y="799"/>
                  <a:pt x="540" y="798"/>
                </a:cubicBezTo>
                <a:cubicBezTo>
                  <a:pt x="540" y="798"/>
                  <a:pt x="540" y="798"/>
                  <a:pt x="540" y="798"/>
                </a:cubicBezTo>
                <a:cubicBezTo>
                  <a:pt x="541" y="797"/>
                  <a:pt x="541" y="797"/>
                  <a:pt x="542" y="797"/>
                </a:cubicBezTo>
                <a:cubicBezTo>
                  <a:pt x="542" y="795"/>
                  <a:pt x="542" y="795"/>
                  <a:pt x="543" y="794"/>
                </a:cubicBezTo>
                <a:cubicBezTo>
                  <a:pt x="543" y="793"/>
                  <a:pt x="544" y="793"/>
                  <a:pt x="545" y="792"/>
                </a:cubicBezTo>
                <a:cubicBezTo>
                  <a:pt x="545" y="792"/>
                  <a:pt x="545" y="791"/>
                  <a:pt x="545" y="791"/>
                </a:cubicBezTo>
                <a:cubicBezTo>
                  <a:pt x="545" y="790"/>
                  <a:pt x="545" y="791"/>
                  <a:pt x="545" y="790"/>
                </a:cubicBezTo>
                <a:cubicBezTo>
                  <a:pt x="545" y="790"/>
                  <a:pt x="545" y="790"/>
                  <a:pt x="546" y="790"/>
                </a:cubicBezTo>
                <a:cubicBezTo>
                  <a:pt x="546" y="789"/>
                  <a:pt x="546" y="788"/>
                  <a:pt x="546" y="788"/>
                </a:cubicBezTo>
                <a:cubicBezTo>
                  <a:pt x="546" y="787"/>
                  <a:pt x="546" y="787"/>
                  <a:pt x="546" y="786"/>
                </a:cubicBezTo>
                <a:cubicBezTo>
                  <a:pt x="546" y="785"/>
                  <a:pt x="546" y="786"/>
                  <a:pt x="545" y="785"/>
                </a:cubicBezTo>
                <a:cubicBezTo>
                  <a:pt x="544" y="785"/>
                  <a:pt x="543" y="784"/>
                  <a:pt x="542" y="783"/>
                </a:cubicBezTo>
                <a:cubicBezTo>
                  <a:pt x="542" y="782"/>
                  <a:pt x="544" y="781"/>
                  <a:pt x="543" y="780"/>
                </a:cubicBezTo>
                <a:cubicBezTo>
                  <a:pt x="542" y="779"/>
                  <a:pt x="542" y="779"/>
                  <a:pt x="541" y="779"/>
                </a:cubicBezTo>
                <a:cubicBezTo>
                  <a:pt x="541" y="778"/>
                  <a:pt x="541" y="778"/>
                  <a:pt x="541" y="778"/>
                </a:cubicBezTo>
                <a:cubicBezTo>
                  <a:pt x="541" y="778"/>
                  <a:pt x="540" y="778"/>
                  <a:pt x="540" y="778"/>
                </a:cubicBezTo>
                <a:cubicBezTo>
                  <a:pt x="540" y="778"/>
                  <a:pt x="540" y="778"/>
                  <a:pt x="540" y="777"/>
                </a:cubicBezTo>
                <a:cubicBezTo>
                  <a:pt x="540" y="777"/>
                  <a:pt x="539" y="777"/>
                  <a:pt x="539" y="776"/>
                </a:cubicBezTo>
                <a:cubicBezTo>
                  <a:pt x="539" y="776"/>
                  <a:pt x="539" y="775"/>
                  <a:pt x="539" y="775"/>
                </a:cubicBezTo>
                <a:cubicBezTo>
                  <a:pt x="538" y="775"/>
                  <a:pt x="538" y="775"/>
                  <a:pt x="538" y="774"/>
                </a:cubicBezTo>
                <a:cubicBezTo>
                  <a:pt x="538" y="774"/>
                  <a:pt x="538" y="774"/>
                  <a:pt x="537" y="774"/>
                </a:cubicBezTo>
                <a:cubicBezTo>
                  <a:pt x="537" y="773"/>
                  <a:pt x="537" y="773"/>
                  <a:pt x="537" y="772"/>
                </a:cubicBezTo>
                <a:cubicBezTo>
                  <a:pt x="537" y="772"/>
                  <a:pt x="537" y="771"/>
                  <a:pt x="537" y="770"/>
                </a:cubicBezTo>
                <a:cubicBezTo>
                  <a:pt x="539" y="770"/>
                  <a:pt x="538" y="766"/>
                  <a:pt x="538" y="765"/>
                </a:cubicBezTo>
                <a:cubicBezTo>
                  <a:pt x="539" y="764"/>
                  <a:pt x="538" y="765"/>
                  <a:pt x="538" y="766"/>
                </a:cubicBezTo>
                <a:cubicBezTo>
                  <a:pt x="538" y="767"/>
                  <a:pt x="538" y="769"/>
                  <a:pt x="539" y="770"/>
                </a:cubicBezTo>
                <a:cubicBezTo>
                  <a:pt x="539" y="771"/>
                  <a:pt x="540" y="773"/>
                  <a:pt x="541" y="773"/>
                </a:cubicBezTo>
                <a:cubicBezTo>
                  <a:pt x="541" y="773"/>
                  <a:pt x="541" y="774"/>
                  <a:pt x="541" y="774"/>
                </a:cubicBezTo>
                <a:cubicBezTo>
                  <a:pt x="542" y="774"/>
                  <a:pt x="542" y="773"/>
                  <a:pt x="543" y="774"/>
                </a:cubicBezTo>
                <a:cubicBezTo>
                  <a:pt x="543" y="774"/>
                  <a:pt x="544" y="775"/>
                  <a:pt x="545" y="776"/>
                </a:cubicBezTo>
                <a:cubicBezTo>
                  <a:pt x="545" y="776"/>
                  <a:pt x="546" y="776"/>
                  <a:pt x="546" y="776"/>
                </a:cubicBezTo>
                <a:cubicBezTo>
                  <a:pt x="546" y="776"/>
                  <a:pt x="547" y="777"/>
                  <a:pt x="547" y="777"/>
                </a:cubicBezTo>
                <a:cubicBezTo>
                  <a:pt x="548" y="777"/>
                  <a:pt x="549" y="777"/>
                  <a:pt x="549" y="777"/>
                </a:cubicBezTo>
                <a:cubicBezTo>
                  <a:pt x="550" y="777"/>
                  <a:pt x="550" y="776"/>
                  <a:pt x="551" y="776"/>
                </a:cubicBezTo>
                <a:cubicBezTo>
                  <a:pt x="552" y="776"/>
                  <a:pt x="553" y="777"/>
                  <a:pt x="555" y="777"/>
                </a:cubicBezTo>
                <a:cubicBezTo>
                  <a:pt x="555" y="777"/>
                  <a:pt x="556" y="777"/>
                  <a:pt x="556" y="776"/>
                </a:cubicBezTo>
                <a:cubicBezTo>
                  <a:pt x="556" y="776"/>
                  <a:pt x="557" y="776"/>
                  <a:pt x="558" y="775"/>
                </a:cubicBezTo>
                <a:cubicBezTo>
                  <a:pt x="558" y="775"/>
                  <a:pt x="558" y="775"/>
                  <a:pt x="559" y="775"/>
                </a:cubicBezTo>
                <a:cubicBezTo>
                  <a:pt x="559" y="775"/>
                  <a:pt x="559" y="774"/>
                  <a:pt x="559" y="774"/>
                </a:cubicBezTo>
                <a:cubicBezTo>
                  <a:pt x="560" y="773"/>
                  <a:pt x="560" y="774"/>
                  <a:pt x="560" y="773"/>
                </a:cubicBezTo>
                <a:cubicBezTo>
                  <a:pt x="560" y="772"/>
                  <a:pt x="561" y="772"/>
                  <a:pt x="561" y="771"/>
                </a:cubicBezTo>
                <a:cubicBezTo>
                  <a:pt x="561" y="770"/>
                  <a:pt x="562" y="770"/>
                  <a:pt x="562" y="769"/>
                </a:cubicBezTo>
                <a:cubicBezTo>
                  <a:pt x="563" y="769"/>
                  <a:pt x="562" y="769"/>
                  <a:pt x="563" y="768"/>
                </a:cubicBezTo>
                <a:cubicBezTo>
                  <a:pt x="563" y="768"/>
                  <a:pt x="564" y="768"/>
                  <a:pt x="564" y="767"/>
                </a:cubicBezTo>
                <a:cubicBezTo>
                  <a:pt x="564" y="766"/>
                  <a:pt x="564" y="767"/>
                  <a:pt x="565" y="766"/>
                </a:cubicBezTo>
                <a:cubicBezTo>
                  <a:pt x="565" y="765"/>
                  <a:pt x="566" y="764"/>
                  <a:pt x="564" y="763"/>
                </a:cubicBezTo>
                <a:cubicBezTo>
                  <a:pt x="564" y="763"/>
                  <a:pt x="564" y="762"/>
                  <a:pt x="565" y="762"/>
                </a:cubicBezTo>
                <a:cubicBezTo>
                  <a:pt x="566" y="761"/>
                  <a:pt x="565" y="761"/>
                  <a:pt x="566" y="760"/>
                </a:cubicBezTo>
                <a:cubicBezTo>
                  <a:pt x="566" y="760"/>
                  <a:pt x="567" y="760"/>
                  <a:pt x="567" y="760"/>
                </a:cubicBezTo>
                <a:cubicBezTo>
                  <a:pt x="567" y="759"/>
                  <a:pt x="567" y="759"/>
                  <a:pt x="568" y="758"/>
                </a:cubicBezTo>
                <a:cubicBezTo>
                  <a:pt x="568" y="757"/>
                  <a:pt x="568" y="756"/>
                  <a:pt x="569" y="756"/>
                </a:cubicBezTo>
                <a:cubicBezTo>
                  <a:pt x="570" y="756"/>
                  <a:pt x="569" y="755"/>
                  <a:pt x="570" y="755"/>
                </a:cubicBezTo>
                <a:cubicBezTo>
                  <a:pt x="571" y="755"/>
                  <a:pt x="571" y="752"/>
                  <a:pt x="571" y="751"/>
                </a:cubicBezTo>
                <a:cubicBezTo>
                  <a:pt x="572" y="751"/>
                  <a:pt x="573" y="751"/>
                  <a:pt x="573" y="752"/>
                </a:cubicBezTo>
                <a:cubicBezTo>
                  <a:pt x="573" y="753"/>
                  <a:pt x="574" y="751"/>
                  <a:pt x="575" y="751"/>
                </a:cubicBezTo>
                <a:cubicBezTo>
                  <a:pt x="575" y="751"/>
                  <a:pt x="575" y="751"/>
                  <a:pt x="575" y="751"/>
                </a:cubicBezTo>
                <a:cubicBezTo>
                  <a:pt x="575" y="752"/>
                  <a:pt x="575" y="753"/>
                  <a:pt x="575" y="754"/>
                </a:cubicBezTo>
                <a:cubicBezTo>
                  <a:pt x="575" y="756"/>
                  <a:pt x="574" y="755"/>
                  <a:pt x="574" y="756"/>
                </a:cubicBezTo>
                <a:cubicBezTo>
                  <a:pt x="574" y="757"/>
                  <a:pt x="573" y="756"/>
                  <a:pt x="573" y="757"/>
                </a:cubicBezTo>
                <a:cubicBezTo>
                  <a:pt x="573" y="757"/>
                  <a:pt x="573" y="757"/>
                  <a:pt x="573" y="757"/>
                </a:cubicBezTo>
                <a:cubicBezTo>
                  <a:pt x="573" y="757"/>
                  <a:pt x="573" y="758"/>
                  <a:pt x="572" y="758"/>
                </a:cubicBezTo>
                <a:cubicBezTo>
                  <a:pt x="573" y="759"/>
                  <a:pt x="573" y="758"/>
                  <a:pt x="573" y="758"/>
                </a:cubicBezTo>
                <a:cubicBezTo>
                  <a:pt x="574" y="757"/>
                  <a:pt x="574" y="757"/>
                  <a:pt x="574" y="757"/>
                </a:cubicBezTo>
                <a:cubicBezTo>
                  <a:pt x="574" y="756"/>
                  <a:pt x="575" y="756"/>
                  <a:pt x="575" y="756"/>
                </a:cubicBezTo>
                <a:cubicBezTo>
                  <a:pt x="575" y="755"/>
                  <a:pt x="575" y="755"/>
                  <a:pt x="575" y="755"/>
                </a:cubicBezTo>
                <a:cubicBezTo>
                  <a:pt x="575" y="755"/>
                  <a:pt x="575" y="755"/>
                  <a:pt x="575" y="755"/>
                </a:cubicBezTo>
                <a:cubicBezTo>
                  <a:pt x="575" y="754"/>
                  <a:pt x="575" y="754"/>
                  <a:pt x="575" y="754"/>
                </a:cubicBezTo>
                <a:cubicBezTo>
                  <a:pt x="575" y="753"/>
                  <a:pt x="576" y="754"/>
                  <a:pt x="576" y="753"/>
                </a:cubicBezTo>
                <a:cubicBezTo>
                  <a:pt x="576" y="753"/>
                  <a:pt x="576" y="753"/>
                  <a:pt x="576" y="752"/>
                </a:cubicBezTo>
                <a:cubicBezTo>
                  <a:pt x="576" y="752"/>
                  <a:pt x="576" y="752"/>
                  <a:pt x="576" y="752"/>
                </a:cubicBezTo>
                <a:cubicBezTo>
                  <a:pt x="576" y="752"/>
                  <a:pt x="576" y="752"/>
                  <a:pt x="576" y="752"/>
                </a:cubicBezTo>
                <a:cubicBezTo>
                  <a:pt x="576" y="751"/>
                  <a:pt x="576" y="752"/>
                  <a:pt x="577" y="751"/>
                </a:cubicBezTo>
                <a:cubicBezTo>
                  <a:pt x="577" y="751"/>
                  <a:pt x="577" y="751"/>
                  <a:pt x="577" y="751"/>
                </a:cubicBezTo>
                <a:cubicBezTo>
                  <a:pt x="577" y="750"/>
                  <a:pt x="577" y="751"/>
                  <a:pt x="577" y="750"/>
                </a:cubicBezTo>
                <a:cubicBezTo>
                  <a:pt x="577" y="749"/>
                  <a:pt x="577" y="749"/>
                  <a:pt x="577" y="748"/>
                </a:cubicBezTo>
                <a:cubicBezTo>
                  <a:pt x="578" y="747"/>
                  <a:pt x="578" y="747"/>
                  <a:pt x="579" y="746"/>
                </a:cubicBezTo>
                <a:cubicBezTo>
                  <a:pt x="579" y="746"/>
                  <a:pt x="579" y="746"/>
                  <a:pt x="579" y="746"/>
                </a:cubicBezTo>
                <a:cubicBezTo>
                  <a:pt x="579" y="745"/>
                  <a:pt x="580" y="745"/>
                  <a:pt x="580" y="744"/>
                </a:cubicBezTo>
                <a:cubicBezTo>
                  <a:pt x="580" y="744"/>
                  <a:pt x="580" y="744"/>
                  <a:pt x="580" y="744"/>
                </a:cubicBezTo>
                <a:cubicBezTo>
                  <a:pt x="580" y="744"/>
                  <a:pt x="581" y="743"/>
                  <a:pt x="581" y="743"/>
                </a:cubicBezTo>
                <a:cubicBezTo>
                  <a:pt x="582" y="743"/>
                  <a:pt x="582" y="742"/>
                  <a:pt x="582" y="742"/>
                </a:cubicBezTo>
                <a:cubicBezTo>
                  <a:pt x="583" y="742"/>
                  <a:pt x="583" y="742"/>
                  <a:pt x="583" y="741"/>
                </a:cubicBezTo>
                <a:cubicBezTo>
                  <a:pt x="583" y="741"/>
                  <a:pt x="583" y="740"/>
                  <a:pt x="583" y="740"/>
                </a:cubicBezTo>
                <a:cubicBezTo>
                  <a:pt x="584" y="740"/>
                  <a:pt x="584" y="739"/>
                  <a:pt x="584" y="739"/>
                </a:cubicBezTo>
                <a:cubicBezTo>
                  <a:pt x="584" y="738"/>
                  <a:pt x="583" y="737"/>
                  <a:pt x="584" y="737"/>
                </a:cubicBezTo>
                <a:cubicBezTo>
                  <a:pt x="584" y="736"/>
                  <a:pt x="584" y="736"/>
                  <a:pt x="584" y="736"/>
                </a:cubicBezTo>
                <a:cubicBezTo>
                  <a:pt x="584" y="734"/>
                  <a:pt x="584" y="736"/>
                  <a:pt x="584" y="735"/>
                </a:cubicBezTo>
                <a:cubicBezTo>
                  <a:pt x="584" y="735"/>
                  <a:pt x="584" y="734"/>
                  <a:pt x="584" y="733"/>
                </a:cubicBezTo>
                <a:cubicBezTo>
                  <a:pt x="584" y="732"/>
                  <a:pt x="584" y="733"/>
                  <a:pt x="584" y="732"/>
                </a:cubicBezTo>
                <a:cubicBezTo>
                  <a:pt x="584" y="732"/>
                  <a:pt x="583" y="732"/>
                  <a:pt x="583" y="732"/>
                </a:cubicBezTo>
                <a:cubicBezTo>
                  <a:pt x="583" y="731"/>
                  <a:pt x="583" y="731"/>
                  <a:pt x="583" y="730"/>
                </a:cubicBezTo>
                <a:cubicBezTo>
                  <a:pt x="582" y="731"/>
                  <a:pt x="583" y="729"/>
                  <a:pt x="583" y="728"/>
                </a:cubicBezTo>
                <a:cubicBezTo>
                  <a:pt x="583" y="728"/>
                  <a:pt x="583" y="727"/>
                  <a:pt x="583" y="727"/>
                </a:cubicBezTo>
                <a:cubicBezTo>
                  <a:pt x="584" y="726"/>
                  <a:pt x="582" y="726"/>
                  <a:pt x="582" y="726"/>
                </a:cubicBezTo>
                <a:cubicBezTo>
                  <a:pt x="582" y="725"/>
                  <a:pt x="583" y="726"/>
                  <a:pt x="583" y="725"/>
                </a:cubicBezTo>
                <a:cubicBezTo>
                  <a:pt x="583" y="724"/>
                  <a:pt x="583" y="724"/>
                  <a:pt x="584" y="724"/>
                </a:cubicBezTo>
                <a:cubicBezTo>
                  <a:pt x="584" y="723"/>
                  <a:pt x="584" y="722"/>
                  <a:pt x="583" y="722"/>
                </a:cubicBezTo>
                <a:cubicBezTo>
                  <a:pt x="584" y="721"/>
                  <a:pt x="585" y="721"/>
                  <a:pt x="586" y="721"/>
                </a:cubicBezTo>
                <a:cubicBezTo>
                  <a:pt x="586" y="719"/>
                  <a:pt x="588" y="719"/>
                  <a:pt x="589" y="718"/>
                </a:cubicBezTo>
                <a:cubicBezTo>
                  <a:pt x="590" y="717"/>
                  <a:pt x="590" y="718"/>
                  <a:pt x="591" y="718"/>
                </a:cubicBezTo>
                <a:cubicBezTo>
                  <a:pt x="591" y="718"/>
                  <a:pt x="591" y="717"/>
                  <a:pt x="591" y="717"/>
                </a:cubicBezTo>
                <a:cubicBezTo>
                  <a:pt x="591" y="717"/>
                  <a:pt x="592" y="717"/>
                  <a:pt x="592" y="717"/>
                </a:cubicBezTo>
                <a:cubicBezTo>
                  <a:pt x="592" y="717"/>
                  <a:pt x="593" y="716"/>
                  <a:pt x="593" y="716"/>
                </a:cubicBezTo>
                <a:cubicBezTo>
                  <a:pt x="594" y="716"/>
                  <a:pt x="595" y="715"/>
                  <a:pt x="595" y="714"/>
                </a:cubicBezTo>
                <a:cubicBezTo>
                  <a:pt x="595" y="713"/>
                  <a:pt x="597" y="714"/>
                  <a:pt x="597" y="713"/>
                </a:cubicBezTo>
                <a:cubicBezTo>
                  <a:pt x="598" y="713"/>
                  <a:pt x="598" y="714"/>
                  <a:pt x="599" y="713"/>
                </a:cubicBezTo>
                <a:cubicBezTo>
                  <a:pt x="600" y="712"/>
                  <a:pt x="602" y="712"/>
                  <a:pt x="603" y="712"/>
                </a:cubicBezTo>
                <a:cubicBezTo>
                  <a:pt x="603" y="711"/>
                  <a:pt x="602" y="710"/>
                  <a:pt x="602" y="710"/>
                </a:cubicBezTo>
                <a:cubicBezTo>
                  <a:pt x="602" y="710"/>
                  <a:pt x="604" y="710"/>
                  <a:pt x="604" y="709"/>
                </a:cubicBezTo>
                <a:cubicBezTo>
                  <a:pt x="604" y="709"/>
                  <a:pt x="604" y="709"/>
                  <a:pt x="604" y="709"/>
                </a:cubicBezTo>
                <a:cubicBezTo>
                  <a:pt x="605" y="708"/>
                  <a:pt x="605" y="709"/>
                  <a:pt x="606" y="709"/>
                </a:cubicBezTo>
                <a:cubicBezTo>
                  <a:pt x="606" y="709"/>
                  <a:pt x="606" y="709"/>
                  <a:pt x="606" y="708"/>
                </a:cubicBezTo>
                <a:cubicBezTo>
                  <a:pt x="607" y="708"/>
                  <a:pt x="607" y="708"/>
                  <a:pt x="607" y="708"/>
                </a:cubicBezTo>
                <a:cubicBezTo>
                  <a:pt x="608" y="708"/>
                  <a:pt x="607" y="708"/>
                  <a:pt x="608" y="708"/>
                </a:cubicBezTo>
                <a:cubicBezTo>
                  <a:pt x="608" y="708"/>
                  <a:pt x="609" y="708"/>
                  <a:pt x="609" y="708"/>
                </a:cubicBezTo>
                <a:cubicBezTo>
                  <a:pt x="610" y="708"/>
                  <a:pt x="610" y="708"/>
                  <a:pt x="611" y="708"/>
                </a:cubicBezTo>
                <a:cubicBezTo>
                  <a:pt x="611" y="707"/>
                  <a:pt x="611" y="707"/>
                  <a:pt x="611" y="706"/>
                </a:cubicBezTo>
                <a:cubicBezTo>
                  <a:pt x="611" y="706"/>
                  <a:pt x="612" y="706"/>
                  <a:pt x="612" y="706"/>
                </a:cubicBezTo>
                <a:cubicBezTo>
                  <a:pt x="612" y="707"/>
                  <a:pt x="613" y="707"/>
                  <a:pt x="613" y="708"/>
                </a:cubicBezTo>
                <a:cubicBezTo>
                  <a:pt x="614" y="708"/>
                  <a:pt x="615" y="708"/>
                  <a:pt x="615" y="707"/>
                </a:cubicBezTo>
                <a:cubicBezTo>
                  <a:pt x="616" y="707"/>
                  <a:pt x="616" y="707"/>
                  <a:pt x="616" y="706"/>
                </a:cubicBezTo>
                <a:cubicBezTo>
                  <a:pt x="617" y="706"/>
                  <a:pt x="616" y="704"/>
                  <a:pt x="617" y="704"/>
                </a:cubicBezTo>
                <a:cubicBezTo>
                  <a:pt x="618" y="704"/>
                  <a:pt x="618" y="704"/>
                  <a:pt x="619" y="703"/>
                </a:cubicBezTo>
                <a:cubicBezTo>
                  <a:pt x="619" y="703"/>
                  <a:pt x="619" y="702"/>
                  <a:pt x="619" y="702"/>
                </a:cubicBezTo>
                <a:cubicBezTo>
                  <a:pt x="619" y="702"/>
                  <a:pt x="619" y="702"/>
                  <a:pt x="619" y="702"/>
                </a:cubicBezTo>
                <a:cubicBezTo>
                  <a:pt x="619" y="701"/>
                  <a:pt x="619" y="701"/>
                  <a:pt x="619" y="701"/>
                </a:cubicBezTo>
                <a:cubicBezTo>
                  <a:pt x="618" y="701"/>
                  <a:pt x="618" y="700"/>
                  <a:pt x="618" y="699"/>
                </a:cubicBezTo>
                <a:cubicBezTo>
                  <a:pt x="618" y="698"/>
                  <a:pt x="619" y="697"/>
                  <a:pt x="620" y="697"/>
                </a:cubicBezTo>
                <a:cubicBezTo>
                  <a:pt x="621" y="696"/>
                  <a:pt x="620" y="694"/>
                  <a:pt x="621" y="694"/>
                </a:cubicBezTo>
                <a:cubicBezTo>
                  <a:pt x="622" y="693"/>
                  <a:pt x="622" y="693"/>
                  <a:pt x="623" y="692"/>
                </a:cubicBezTo>
                <a:cubicBezTo>
                  <a:pt x="623" y="691"/>
                  <a:pt x="623" y="691"/>
                  <a:pt x="623" y="690"/>
                </a:cubicBezTo>
                <a:cubicBezTo>
                  <a:pt x="623" y="690"/>
                  <a:pt x="624" y="690"/>
                  <a:pt x="624" y="690"/>
                </a:cubicBezTo>
                <a:cubicBezTo>
                  <a:pt x="624" y="689"/>
                  <a:pt x="624" y="689"/>
                  <a:pt x="625" y="688"/>
                </a:cubicBezTo>
                <a:cubicBezTo>
                  <a:pt x="625" y="688"/>
                  <a:pt x="626" y="688"/>
                  <a:pt x="626" y="687"/>
                </a:cubicBezTo>
                <a:cubicBezTo>
                  <a:pt x="626" y="687"/>
                  <a:pt x="626" y="687"/>
                  <a:pt x="626" y="686"/>
                </a:cubicBezTo>
                <a:cubicBezTo>
                  <a:pt x="628" y="685"/>
                  <a:pt x="627" y="682"/>
                  <a:pt x="627" y="680"/>
                </a:cubicBezTo>
                <a:cubicBezTo>
                  <a:pt x="627" y="679"/>
                  <a:pt x="631" y="678"/>
                  <a:pt x="630" y="677"/>
                </a:cubicBezTo>
                <a:cubicBezTo>
                  <a:pt x="630" y="676"/>
                  <a:pt x="629" y="676"/>
                  <a:pt x="629" y="676"/>
                </a:cubicBezTo>
                <a:cubicBezTo>
                  <a:pt x="629" y="675"/>
                  <a:pt x="629" y="675"/>
                  <a:pt x="630" y="675"/>
                </a:cubicBezTo>
                <a:cubicBezTo>
                  <a:pt x="630" y="674"/>
                  <a:pt x="629" y="674"/>
                  <a:pt x="629" y="674"/>
                </a:cubicBezTo>
                <a:cubicBezTo>
                  <a:pt x="629" y="673"/>
                  <a:pt x="629" y="672"/>
                  <a:pt x="630" y="671"/>
                </a:cubicBezTo>
                <a:cubicBezTo>
                  <a:pt x="630" y="671"/>
                  <a:pt x="631" y="671"/>
                  <a:pt x="631" y="670"/>
                </a:cubicBezTo>
                <a:cubicBezTo>
                  <a:pt x="631" y="670"/>
                  <a:pt x="631" y="670"/>
                  <a:pt x="631" y="670"/>
                </a:cubicBezTo>
                <a:cubicBezTo>
                  <a:pt x="631" y="669"/>
                  <a:pt x="631" y="668"/>
                  <a:pt x="631" y="668"/>
                </a:cubicBezTo>
                <a:cubicBezTo>
                  <a:pt x="631" y="668"/>
                  <a:pt x="631" y="667"/>
                  <a:pt x="631" y="666"/>
                </a:cubicBezTo>
                <a:cubicBezTo>
                  <a:pt x="631" y="666"/>
                  <a:pt x="631" y="666"/>
                  <a:pt x="631" y="666"/>
                </a:cubicBezTo>
                <a:cubicBezTo>
                  <a:pt x="631" y="666"/>
                  <a:pt x="631" y="666"/>
                  <a:pt x="631" y="665"/>
                </a:cubicBezTo>
                <a:cubicBezTo>
                  <a:pt x="631" y="665"/>
                  <a:pt x="631" y="664"/>
                  <a:pt x="631" y="663"/>
                </a:cubicBezTo>
                <a:cubicBezTo>
                  <a:pt x="630" y="662"/>
                  <a:pt x="631" y="659"/>
                  <a:pt x="630" y="659"/>
                </a:cubicBezTo>
                <a:cubicBezTo>
                  <a:pt x="630" y="658"/>
                  <a:pt x="631" y="656"/>
                  <a:pt x="631" y="655"/>
                </a:cubicBezTo>
                <a:cubicBezTo>
                  <a:pt x="630" y="655"/>
                  <a:pt x="630" y="655"/>
                  <a:pt x="629" y="655"/>
                </a:cubicBezTo>
                <a:cubicBezTo>
                  <a:pt x="630" y="654"/>
                  <a:pt x="630" y="654"/>
                  <a:pt x="631" y="653"/>
                </a:cubicBezTo>
                <a:cubicBezTo>
                  <a:pt x="631" y="653"/>
                  <a:pt x="630" y="653"/>
                  <a:pt x="630" y="652"/>
                </a:cubicBezTo>
                <a:cubicBezTo>
                  <a:pt x="631" y="652"/>
                  <a:pt x="631" y="652"/>
                  <a:pt x="631" y="652"/>
                </a:cubicBezTo>
                <a:cubicBezTo>
                  <a:pt x="631" y="651"/>
                  <a:pt x="631" y="651"/>
                  <a:pt x="631" y="651"/>
                </a:cubicBezTo>
                <a:cubicBezTo>
                  <a:pt x="631" y="650"/>
                  <a:pt x="632" y="650"/>
                  <a:pt x="632" y="650"/>
                </a:cubicBezTo>
                <a:cubicBezTo>
                  <a:pt x="632" y="650"/>
                  <a:pt x="632" y="648"/>
                  <a:pt x="633" y="648"/>
                </a:cubicBezTo>
                <a:cubicBezTo>
                  <a:pt x="633" y="648"/>
                  <a:pt x="633" y="647"/>
                  <a:pt x="632" y="647"/>
                </a:cubicBezTo>
                <a:cubicBezTo>
                  <a:pt x="634" y="647"/>
                  <a:pt x="634" y="648"/>
                  <a:pt x="635" y="649"/>
                </a:cubicBezTo>
                <a:cubicBezTo>
                  <a:pt x="636" y="648"/>
                  <a:pt x="636" y="647"/>
                  <a:pt x="636" y="647"/>
                </a:cubicBezTo>
                <a:cubicBezTo>
                  <a:pt x="636" y="646"/>
                  <a:pt x="637" y="646"/>
                  <a:pt x="637" y="646"/>
                </a:cubicBezTo>
                <a:cubicBezTo>
                  <a:pt x="637" y="645"/>
                  <a:pt x="638" y="645"/>
                  <a:pt x="638" y="644"/>
                </a:cubicBezTo>
                <a:cubicBezTo>
                  <a:pt x="638" y="643"/>
                  <a:pt x="638" y="642"/>
                  <a:pt x="638" y="642"/>
                </a:cubicBezTo>
                <a:cubicBezTo>
                  <a:pt x="638" y="642"/>
                  <a:pt x="639" y="642"/>
                  <a:pt x="639" y="642"/>
                </a:cubicBezTo>
                <a:cubicBezTo>
                  <a:pt x="639" y="640"/>
                  <a:pt x="640" y="641"/>
                  <a:pt x="640" y="639"/>
                </a:cubicBezTo>
                <a:cubicBezTo>
                  <a:pt x="640" y="638"/>
                  <a:pt x="641" y="637"/>
                  <a:pt x="642" y="636"/>
                </a:cubicBezTo>
                <a:cubicBezTo>
                  <a:pt x="642" y="636"/>
                  <a:pt x="642" y="636"/>
                  <a:pt x="642" y="635"/>
                </a:cubicBezTo>
                <a:cubicBezTo>
                  <a:pt x="643" y="635"/>
                  <a:pt x="643" y="636"/>
                  <a:pt x="643" y="635"/>
                </a:cubicBezTo>
                <a:cubicBezTo>
                  <a:pt x="644" y="634"/>
                  <a:pt x="644" y="634"/>
                  <a:pt x="646" y="634"/>
                </a:cubicBezTo>
                <a:cubicBezTo>
                  <a:pt x="646" y="633"/>
                  <a:pt x="648" y="631"/>
                  <a:pt x="648" y="631"/>
                </a:cubicBezTo>
                <a:cubicBezTo>
                  <a:pt x="649" y="631"/>
                  <a:pt x="649" y="630"/>
                  <a:pt x="649" y="630"/>
                </a:cubicBezTo>
                <a:cubicBezTo>
                  <a:pt x="649" y="629"/>
                  <a:pt x="649" y="629"/>
                  <a:pt x="650" y="629"/>
                </a:cubicBezTo>
                <a:cubicBezTo>
                  <a:pt x="650" y="629"/>
                  <a:pt x="650" y="628"/>
                  <a:pt x="650" y="628"/>
                </a:cubicBezTo>
                <a:cubicBezTo>
                  <a:pt x="650" y="628"/>
                  <a:pt x="650" y="628"/>
                  <a:pt x="650" y="628"/>
                </a:cubicBezTo>
                <a:cubicBezTo>
                  <a:pt x="650" y="628"/>
                  <a:pt x="650" y="627"/>
                  <a:pt x="650" y="627"/>
                </a:cubicBezTo>
                <a:cubicBezTo>
                  <a:pt x="650" y="627"/>
                  <a:pt x="650" y="627"/>
                  <a:pt x="650" y="627"/>
                </a:cubicBezTo>
                <a:cubicBezTo>
                  <a:pt x="651" y="627"/>
                  <a:pt x="651" y="626"/>
                  <a:pt x="651" y="625"/>
                </a:cubicBezTo>
                <a:cubicBezTo>
                  <a:pt x="651" y="625"/>
                  <a:pt x="651" y="625"/>
                  <a:pt x="651" y="625"/>
                </a:cubicBezTo>
                <a:cubicBezTo>
                  <a:pt x="651" y="624"/>
                  <a:pt x="652" y="624"/>
                  <a:pt x="652" y="624"/>
                </a:cubicBezTo>
                <a:cubicBezTo>
                  <a:pt x="652" y="623"/>
                  <a:pt x="652" y="624"/>
                  <a:pt x="652" y="623"/>
                </a:cubicBezTo>
                <a:cubicBezTo>
                  <a:pt x="652" y="623"/>
                  <a:pt x="652" y="622"/>
                  <a:pt x="652" y="622"/>
                </a:cubicBezTo>
                <a:cubicBezTo>
                  <a:pt x="652" y="621"/>
                  <a:pt x="652" y="621"/>
                  <a:pt x="652" y="621"/>
                </a:cubicBezTo>
                <a:cubicBezTo>
                  <a:pt x="653" y="619"/>
                  <a:pt x="652" y="621"/>
                  <a:pt x="652" y="621"/>
                </a:cubicBezTo>
                <a:close/>
                <a:moveTo>
                  <a:pt x="360" y="107"/>
                </a:moveTo>
                <a:cubicBezTo>
                  <a:pt x="361" y="107"/>
                  <a:pt x="360" y="105"/>
                  <a:pt x="360" y="105"/>
                </a:cubicBezTo>
                <a:cubicBezTo>
                  <a:pt x="360" y="104"/>
                  <a:pt x="360" y="104"/>
                  <a:pt x="360" y="103"/>
                </a:cubicBezTo>
                <a:cubicBezTo>
                  <a:pt x="360" y="103"/>
                  <a:pt x="359" y="103"/>
                  <a:pt x="359" y="102"/>
                </a:cubicBezTo>
                <a:cubicBezTo>
                  <a:pt x="358" y="103"/>
                  <a:pt x="357" y="104"/>
                  <a:pt x="356" y="104"/>
                </a:cubicBezTo>
                <a:cubicBezTo>
                  <a:pt x="356" y="104"/>
                  <a:pt x="356" y="103"/>
                  <a:pt x="356" y="103"/>
                </a:cubicBezTo>
                <a:cubicBezTo>
                  <a:pt x="354" y="102"/>
                  <a:pt x="355" y="101"/>
                  <a:pt x="354" y="100"/>
                </a:cubicBezTo>
                <a:cubicBezTo>
                  <a:pt x="354" y="100"/>
                  <a:pt x="354" y="100"/>
                  <a:pt x="353" y="101"/>
                </a:cubicBezTo>
                <a:cubicBezTo>
                  <a:pt x="353" y="101"/>
                  <a:pt x="353" y="101"/>
                  <a:pt x="352" y="101"/>
                </a:cubicBezTo>
                <a:cubicBezTo>
                  <a:pt x="352" y="101"/>
                  <a:pt x="351" y="101"/>
                  <a:pt x="351" y="101"/>
                </a:cubicBezTo>
                <a:cubicBezTo>
                  <a:pt x="351" y="100"/>
                  <a:pt x="352" y="98"/>
                  <a:pt x="350" y="99"/>
                </a:cubicBezTo>
                <a:cubicBezTo>
                  <a:pt x="351" y="97"/>
                  <a:pt x="354" y="97"/>
                  <a:pt x="355" y="97"/>
                </a:cubicBezTo>
                <a:cubicBezTo>
                  <a:pt x="355" y="97"/>
                  <a:pt x="355" y="96"/>
                  <a:pt x="355" y="95"/>
                </a:cubicBezTo>
                <a:cubicBezTo>
                  <a:pt x="355" y="94"/>
                  <a:pt x="355" y="94"/>
                  <a:pt x="355" y="94"/>
                </a:cubicBezTo>
                <a:cubicBezTo>
                  <a:pt x="354" y="94"/>
                  <a:pt x="354" y="94"/>
                  <a:pt x="353" y="93"/>
                </a:cubicBezTo>
                <a:cubicBezTo>
                  <a:pt x="352" y="92"/>
                  <a:pt x="351" y="93"/>
                  <a:pt x="349" y="93"/>
                </a:cubicBezTo>
                <a:cubicBezTo>
                  <a:pt x="349" y="93"/>
                  <a:pt x="349" y="94"/>
                  <a:pt x="348" y="94"/>
                </a:cubicBezTo>
                <a:cubicBezTo>
                  <a:pt x="348" y="94"/>
                  <a:pt x="346" y="94"/>
                  <a:pt x="346" y="94"/>
                </a:cubicBezTo>
                <a:cubicBezTo>
                  <a:pt x="346" y="93"/>
                  <a:pt x="352" y="92"/>
                  <a:pt x="352" y="91"/>
                </a:cubicBezTo>
                <a:cubicBezTo>
                  <a:pt x="352" y="89"/>
                  <a:pt x="352" y="90"/>
                  <a:pt x="350" y="90"/>
                </a:cubicBezTo>
                <a:cubicBezTo>
                  <a:pt x="349" y="90"/>
                  <a:pt x="350" y="91"/>
                  <a:pt x="349" y="91"/>
                </a:cubicBezTo>
                <a:cubicBezTo>
                  <a:pt x="348" y="91"/>
                  <a:pt x="348" y="91"/>
                  <a:pt x="348" y="92"/>
                </a:cubicBezTo>
                <a:cubicBezTo>
                  <a:pt x="347" y="92"/>
                  <a:pt x="347" y="92"/>
                  <a:pt x="346" y="92"/>
                </a:cubicBezTo>
                <a:cubicBezTo>
                  <a:pt x="346" y="92"/>
                  <a:pt x="345" y="92"/>
                  <a:pt x="345" y="92"/>
                </a:cubicBezTo>
                <a:cubicBezTo>
                  <a:pt x="345" y="93"/>
                  <a:pt x="345" y="92"/>
                  <a:pt x="345" y="92"/>
                </a:cubicBezTo>
                <a:cubicBezTo>
                  <a:pt x="344" y="92"/>
                  <a:pt x="344" y="92"/>
                  <a:pt x="344" y="92"/>
                </a:cubicBezTo>
                <a:cubicBezTo>
                  <a:pt x="343" y="92"/>
                  <a:pt x="344" y="93"/>
                  <a:pt x="343" y="93"/>
                </a:cubicBezTo>
                <a:cubicBezTo>
                  <a:pt x="343" y="93"/>
                  <a:pt x="343" y="93"/>
                  <a:pt x="343" y="93"/>
                </a:cubicBezTo>
                <a:cubicBezTo>
                  <a:pt x="344" y="93"/>
                  <a:pt x="343" y="94"/>
                  <a:pt x="344" y="94"/>
                </a:cubicBezTo>
                <a:cubicBezTo>
                  <a:pt x="344" y="94"/>
                  <a:pt x="344" y="94"/>
                  <a:pt x="345" y="94"/>
                </a:cubicBezTo>
                <a:cubicBezTo>
                  <a:pt x="344" y="94"/>
                  <a:pt x="344" y="95"/>
                  <a:pt x="343" y="94"/>
                </a:cubicBezTo>
                <a:cubicBezTo>
                  <a:pt x="343" y="94"/>
                  <a:pt x="342" y="94"/>
                  <a:pt x="341" y="94"/>
                </a:cubicBezTo>
                <a:cubicBezTo>
                  <a:pt x="340" y="94"/>
                  <a:pt x="340" y="93"/>
                  <a:pt x="340" y="92"/>
                </a:cubicBezTo>
                <a:cubicBezTo>
                  <a:pt x="340" y="93"/>
                  <a:pt x="339" y="93"/>
                  <a:pt x="339" y="93"/>
                </a:cubicBezTo>
                <a:cubicBezTo>
                  <a:pt x="339" y="93"/>
                  <a:pt x="338" y="93"/>
                  <a:pt x="338" y="93"/>
                </a:cubicBezTo>
                <a:cubicBezTo>
                  <a:pt x="337" y="94"/>
                  <a:pt x="337" y="94"/>
                  <a:pt x="336" y="95"/>
                </a:cubicBezTo>
                <a:cubicBezTo>
                  <a:pt x="335" y="96"/>
                  <a:pt x="335" y="97"/>
                  <a:pt x="336" y="98"/>
                </a:cubicBezTo>
                <a:cubicBezTo>
                  <a:pt x="336" y="98"/>
                  <a:pt x="336" y="98"/>
                  <a:pt x="336" y="98"/>
                </a:cubicBezTo>
                <a:cubicBezTo>
                  <a:pt x="337" y="98"/>
                  <a:pt x="337" y="98"/>
                  <a:pt x="338" y="98"/>
                </a:cubicBezTo>
                <a:cubicBezTo>
                  <a:pt x="339" y="98"/>
                  <a:pt x="338" y="99"/>
                  <a:pt x="339" y="99"/>
                </a:cubicBezTo>
                <a:cubicBezTo>
                  <a:pt x="340" y="99"/>
                  <a:pt x="340" y="99"/>
                  <a:pt x="341" y="99"/>
                </a:cubicBezTo>
                <a:cubicBezTo>
                  <a:pt x="341" y="100"/>
                  <a:pt x="341" y="102"/>
                  <a:pt x="340" y="101"/>
                </a:cubicBezTo>
                <a:cubicBezTo>
                  <a:pt x="340" y="103"/>
                  <a:pt x="341" y="104"/>
                  <a:pt x="339" y="104"/>
                </a:cubicBezTo>
                <a:cubicBezTo>
                  <a:pt x="339" y="104"/>
                  <a:pt x="337" y="104"/>
                  <a:pt x="337" y="103"/>
                </a:cubicBezTo>
                <a:cubicBezTo>
                  <a:pt x="336" y="103"/>
                  <a:pt x="334" y="103"/>
                  <a:pt x="333" y="104"/>
                </a:cubicBezTo>
                <a:cubicBezTo>
                  <a:pt x="333" y="103"/>
                  <a:pt x="332" y="103"/>
                  <a:pt x="332" y="102"/>
                </a:cubicBezTo>
                <a:cubicBezTo>
                  <a:pt x="332" y="102"/>
                  <a:pt x="331" y="101"/>
                  <a:pt x="331" y="100"/>
                </a:cubicBezTo>
                <a:cubicBezTo>
                  <a:pt x="330" y="101"/>
                  <a:pt x="329" y="101"/>
                  <a:pt x="328" y="101"/>
                </a:cubicBezTo>
                <a:cubicBezTo>
                  <a:pt x="328" y="101"/>
                  <a:pt x="328" y="101"/>
                  <a:pt x="328" y="102"/>
                </a:cubicBezTo>
                <a:cubicBezTo>
                  <a:pt x="328" y="103"/>
                  <a:pt x="328" y="103"/>
                  <a:pt x="329" y="104"/>
                </a:cubicBezTo>
                <a:cubicBezTo>
                  <a:pt x="328" y="104"/>
                  <a:pt x="328" y="104"/>
                  <a:pt x="328" y="104"/>
                </a:cubicBezTo>
                <a:cubicBezTo>
                  <a:pt x="328" y="105"/>
                  <a:pt x="331" y="106"/>
                  <a:pt x="331" y="107"/>
                </a:cubicBezTo>
                <a:cubicBezTo>
                  <a:pt x="331" y="108"/>
                  <a:pt x="331" y="108"/>
                  <a:pt x="332" y="108"/>
                </a:cubicBezTo>
                <a:cubicBezTo>
                  <a:pt x="333" y="108"/>
                  <a:pt x="333" y="108"/>
                  <a:pt x="333" y="108"/>
                </a:cubicBezTo>
                <a:cubicBezTo>
                  <a:pt x="334" y="109"/>
                  <a:pt x="334" y="108"/>
                  <a:pt x="335" y="109"/>
                </a:cubicBezTo>
                <a:cubicBezTo>
                  <a:pt x="335" y="108"/>
                  <a:pt x="335" y="108"/>
                  <a:pt x="335" y="108"/>
                </a:cubicBezTo>
                <a:cubicBezTo>
                  <a:pt x="335" y="107"/>
                  <a:pt x="335" y="108"/>
                  <a:pt x="336" y="107"/>
                </a:cubicBezTo>
                <a:cubicBezTo>
                  <a:pt x="336" y="107"/>
                  <a:pt x="337" y="107"/>
                  <a:pt x="338" y="108"/>
                </a:cubicBezTo>
                <a:cubicBezTo>
                  <a:pt x="338" y="109"/>
                  <a:pt x="339" y="109"/>
                  <a:pt x="339" y="109"/>
                </a:cubicBezTo>
                <a:cubicBezTo>
                  <a:pt x="340" y="110"/>
                  <a:pt x="340" y="110"/>
                  <a:pt x="340" y="110"/>
                </a:cubicBezTo>
                <a:cubicBezTo>
                  <a:pt x="341" y="111"/>
                  <a:pt x="342" y="111"/>
                  <a:pt x="342" y="111"/>
                </a:cubicBezTo>
                <a:cubicBezTo>
                  <a:pt x="342" y="111"/>
                  <a:pt x="342" y="111"/>
                  <a:pt x="342" y="111"/>
                </a:cubicBezTo>
                <a:cubicBezTo>
                  <a:pt x="343" y="111"/>
                  <a:pt x="343" y="112"/>
                  <a:pt x="344" y="112"/>
                </a:cubicBezTo>
                <a:cubicBezTo>
                  <a:pt x="345" y="113"/>
                  <a:pt x="344" y="114"/>
                  <a:pt x="345" y="115"/>
                </a:cubicBezTo>
                <a:cubicBezTo>
                  <a:pt x="346" y="115"/>
                  <a:pt x="345" y="116"/>
                  <a:pt x="346" y="116"/>
                </a:cubicBezTo>
                <a:cubicBezTo>
                  <a:pt x="347" y="117"/>
                  <a:pt x="347" y="117"/>
                  <a:pt x="348" y="116"/>
                </a:cubicBezTo>
                <a:cubicBezTo>
                  <a:pt x="349" y="116"/>
                  <a:pt x="350" y="115"/>
                  <a:pt x="351" y="114"/>
                </a:cubicBezTo>
                <a:cubicBezTo>
                  <a:pt x="352" y="112"/>
                  <a:pt x="353" y="114"/>
                  <a:pt x="354" y="113"/>
                </a:cubicBezTo>
                <a:cubicBezTo>
                  <a:pt x="356" y="112"/>
                  <a:pt x="357" y="111"/>
                  <a:pt x="359" y="111"/>
                </a:cubicBezTo>
                <a:cubicBezTo>
                  <a:pt x="359" y="111"/>
                  <a:pt x="359" y="110"/>
                  <a:pt x="359" y="110"/>
                </a:cubicBezTo>
                <a:cubicBezTo>
                  <a:pt x="359" y="109"/>
                  <a:pt x="360" y="110"/>
                  <a:pt x="360" y="109"/>
                </a:cubicBezTo>
                <a:cubicBezTo>
                  <a:pt x="360" y="108"/>
                  <a:pt x="360" y="108"/>
                  <a:pt x="360" y="107"/>
                </a:cubicBezTo>
                <a:close/>
                <a:moveTo>
                  <a:pt x="1074" y="90"/>
                </a:moveTo>
                <a:cubicBezTo>
                  <a:pt x="1076" y="90"/>
                  <a:pt x="1076" y="90"/>
                  <a:pt x="1074" y="89"/>
                </a:cubicBezTo>
                <a:cubicBezTo>
                  <a:pt x="1074" y="90"/>
                  <a:pt x="1074" y="90"/>
                  <a:pt x="1074" y="90"/>
                </a:cubicBezTo>
                <a:close/>
                <a:moveTo>
                  <a:pt x="714" y="90"/>
                </a:moveTo>
                <a:cubicBezTo>
                  <a:pt x="714" y="90"/>
                  <a:pt x="714" y="91"/>
                  <a:pt x="715" y="92"/>
                </a:cubicBezTo>
                <a:cubicBezTo>
                  <a:pt x="715" y="92"/>
                  <a:pt x="716" y="92"/>
                  <a:pt x="717" y="92"/>
                </a:cubicBezTo>
                <a:cubicBezTo>
                  <a:pt x="716" y="92"/>
                  <a:pt x="721" y="92"/>
                  <a:pt x="720" y="91"/>
                </a:cubicBezTo>
                <a:cubicBezTo>
                  <a:pt x="718" y="90"/>
                  <a:pt x="716" y="89"/>
                  <a:pt x="714" y="90"/>
                </a:cubicBezTo>
                <a:cubicBezTo>
                  <a:pt x="714" y="91"/>
                  <a:pt x="714" y="90"/>
                  <a:pt x="714" y="90"/>
                </a:cubicBezTo>
                <a:close/>
                <a:moveTo>
                  <a:pt x="362" y="88"/>
                </a:moveTo>
                <a:cubicBezTo>
                  <a:pt x="362" y="88"/>
                  <a:pt x="363" y="89"/>
                  <a:pt x="363" y="89"/>
                </a:cubicBezTo>
                <a:cubicBezTo>
                  <a:pt x="363" y="88"/>
                  <a:pt x="363" y="88"/>
                  <a:pt x="363" y="88"/>
                </a:cubicBezTo>
                <a:cubicBezTo>
                  <a:pt x="363" y="88"/>
                  <a:pt x="362" y="87"/>
                  <a:pt x="362" y="88"/>
                </a:cubicBezTo>
                <a:cubicBezTo>
                  <a:pt x="362" y="88"/>
                  <a:pt x="362" y="88"/>
                  <a:pt x="362" y="88"/>
                </a:cubicBezTo>
                <a:close/>
                <a:moveTo>
                  <a:pt x="549" y="88"/>
                </a:moveTo>
                <a:cubicBezTo>
                  <a:pt x="548" y="87"/>
                  <a:pt x="545" y="87"/>
                  <a:pt x="546" y="89"/>
                </a:cubicBezTo>
                <a:cubicBezTo>
                  <a:pt x="546" y="89"/>
                  <a:pt x="549" y="88"/>
                  <a:pt x="549" y="88"/>
                </a:cubicBezTo>
                <a:cubicBezTo>
                  <a:pt x="549" y="87"/>
                  <a:pt x="549" y="88"/>
                  <a:pt x="549" y="88"/>
                </a:cubicBezTo>
                <a:close/>
                <a:moveTo>
                  <a:pt x="729" y="87"/>
                </a:moveTo>
                <a:cubicBezTo>
                  <a:pt x="729" y="88"/>
                  <a:pt x="730" y="87"/>
                  <a:pt x="730" y="88"/>
                </a:cubicBezTo>
                <a:cubicBezTo>
                  <a:pt x="730" y="87"/>
                  <a:pt x="730" y="87"/>
                  <a:pt x="730" y="87"/>
                </a:cubicBezTo>
                <a:cubicBezTo>
                  <a:pt x="730" y="87"/>
                  <a:pt x="729" y="87"/>
                  <a:pt x="729" y="87"/>
                </a:cubicBezTo>
                <a:close/>
                <a:moveTo>
                  <a:pt x="354" y="87"/>
                </a:moveTo>
                <a:cubicBezTo>
                  <a:pt x="354" y="87"/>
                  <a:pt x="354" y="87"/>
                  <a:pt x="354" y="86"/>
                </a:cubicBezTo>
                <a:cubicBezTo>
                  <a:pt x="353" y="86"/>
                  <a:pt x="353" y="87"/>
                  <a:pt x="353" y="88"/>
                </a:cubicBezTo>
                <a:cubicBezTo>
                  <a:pt x="353" y="88"/>
                  <a:pt x="354" y="88"/>
                  <a:pt x="354" y="87"/>
                </a:cubicBezTo>
                <a:close/>
                <a:moveTo>
                  <a:pt x="230" y="115"/>
                </a:moveTo>
                <a:cubicBezTo>
                  <a:pt x="230" y="116"/>
                  <a:pt x="231" y="116"/>
                  <a:pt x="231" y="117"/>
                </a:cubicBezTo>
                <a:cubicBezTo>
                  <a:pt x="232" y="117"/>
                  <a:pt x="233" y="117"/>
                  <a:pt x="233" y="117"/>
                </a:cubicBezTo>
                <a:cubicBezTo>
                  <a:pt x="233" y="117"/>
                  <a:pt x="234" y="117"/>
                  <a:pt x="235" y="117"/>
                </a:cubicBezTo>
                <a:cubicBezTo>
                  <a:pt x="235" y="117"/>
                  <a:pt x="236" y="116"/>
                  <a:pt x="236" y="116"/>
                </a:cubicBezTo>
                <a:cubicBezTo>
                  <a:pt x="236" y="115"/>
                  <a:pt x="236" y="115"/>
                  <a:pt x="237" y="115"/>
                </a:cubicBezTo>
                <a:cubicBezTo>
                  <a:pt x="237" y="114"/>
                  <a:pt x="238" y="114"/>
                  <a:pt x="238" y="113"/>
                </a:cubicBezTo>
                <a:cubicBezTo>
                  <a:pt x="239" y="113"/>
                  <a:pt x="238" y="113"/>
                  <a:pt x="239" y="113"/>
                </a:cubicBezTo>
                <a:cubicBezTo>
                  <a:pt x="240" y="113"/>
                  <a:pt x="239" y="113"/>
                  <a:pt x="240" y="113"/>
                </a:cubicBezTo>
                <a:cubicBezTo>
                  <a:pt x="241" y="114"/>
                  <a:pt x="242" y="114"/>
                  <a:pt x="244" y="114"/>
                </a:cubicBezTo>
                <a:cubicBezTo>
                  <a:pt x="244" y="113"/>
                  <a:pt x="245" y="113"/>
                  <a:pt x="246" y="113"/>
                </a:cubicBezTo>
                <a:cubicBezTo>
                  <a:pt x="247" y="113"/>
                  <a:pt x="247" y="112"/>
                  <a:pt x="247" y="112"/>
                </a:cubicBezTo>
                <a:cubicBezTo>
                  <a:pt x="247" y="112"/>
                  <a:pt x="247" y="112"/>
                  <a:pt x="247" y="111"/>
                </a:cubicBezTo>
                <a:cubicBezTo>
                  <a:pt x="247" y="111"/>
                  <a:pt x="248" y="111"/>
                  <a:pt x="248" y="110"/>
                </a:cubicBezTo>
                <a:cubicBezTo>
                  <a:pt x="249" y="110"/>
                  <a:pt x="249" y="109"/>
                  <a:pt x="249" y="108"/>
                </a:cubicBezTo>
                <a:cubicBezTo>
                  <a:pt x="248" y="107"/>
                  <a:pt x="248" y="107"/>
                  <a:pt x="249" y="107"/>
                </a:cubicBezTo>
                <a:cubicBezTo>
                  <a:pt x="250" y="106"/>
                  <a:pt x="250" y="106"/>
                  <a:pt x="250" y="106"/>
                </a:cubicBezTo>
                <a:cubicBezTo>
                  <a:pt x="250" y="105"/>
                  <a:pt x="251" y="105"/>
                  <a:pt x="252" y="105"/>
                </a:cubicBezTo>
                <a:cubicBezTo>
                  <a:pt x="252" y="104"/>
                  <a:pt x="252" y="104"/>
                  <a:pt x="253" y="104"/>
                </a:cubicBezTo>
                <a:cubicBezTo>
                  <a:pt x="253" y="103"/>
                  <a:pt x="254" y="101"/>
                  <a:pt x="255" y="101"/>
                </a:cubicBezTo>
                <a:cubicBezTo>
                  <a:pt x="255" y="101"/>
                  <a:pt x="255" y="102"/>
                  <a:pt x="256" y="101"/>
                </a:cubicBezTo>
                <a:cubicBezTo>
                  <a:pt x="256" y="100"/>
                  <a:pt x="257" y="100"/>
                  <a:pt x="258" y="100"/>
                </a:cubicBezTo>
                <a:cubicBezTo>
                  <a:pt x="258" y="100"/>
                  <a:pt x="258" y="100"/>
                  <a:pt x="258" y="100"/>
                </a:cubicBezTo>
                <a:cubicBezTo>
                  <a:pt x="259" y="100"/>
                  <a:pt x="259" y="100"/>
                  <a:pt x="259" y="99"/>
                </a:cubicBezTo>
                <a:cubicBezTo>
                  <a:pt x="260" y="98"/>
                  <a:pt x="261" y="99"/>
                  <a:pt x="261" y="98"/>
                </a:cubicBezTo>
                <a:cubicBezTo>
                  <a:pt x="262" y="98"/>
                  <a:pt x="263" y="98"/>
                  <a:pt x="264" y="98"/>
                </a:cubicBezTo>
                <a:cubicBezTo>
                  <a:pt x="264" y="98"/>
                  <a:pt x="264" y="98"/>
                  <a:pt x="264" y="98"/>
                </a:cubicBezTo>
                <a:cubicBezTo>
                  <a:pt x="265" y="98"/>
                  <a:pt x="265" y="97"/>
                  <a:pt x="266" y="97"/>
                </a:cubicBezTo>
                <a:cubicBezTo>
                  <a:pt x="267" y="97"/>
                  <a:pt x="268" y="98"/>
                  <a:pt x="268" y="97"/>
                </a:cubicBezTo>
                <a:cubicBezTo>
                  <a:pt x="269" y="96"/>
                  <a:pt x="270" y="97"/>
                  <a:pt x="270" y="96"/>
                </a:cubicBezTo>
                <a:cubicBezTo>
                  <a:pt x="270" y="95"/>
                  <a:pt x="270" y="95"/>
                  <a:pt x="269" y="95"/>
                </a:cubicBezTo>
                <a:cubicBezTo>
                  <a:pt x="268" y="94"/>
                  <a:pt x="267" y="94"/>
                  <a:pt x="267" y="94"/>
                </a:cubicBezTo>
                <a:cubicBezTo>
                  <a:pt x="266" y="93"/>
                  <a:pt x="266" y="93"/>
                  <a:pt x="266" y="92"/>
                </a:cubicBezTo>
                <a:cubicBezTo>
                  <a:pt x="266" y="92"/>
                  <a:pt x="266" y="92"/>
                  <a:pt x="266" y="92"/>
                </a:cubicBezTo>
                <a:cubicBezTo>
                  <a:pt x="265" y="92"/>
                  <a:pt x="265" y="92"/>
                  <a:pt x="264" y="92"/>
                </a:cubicBezTo>
                <a:cubicBezTo>
                  <a:pt x="263" y="91"/>
                  <a:pt x="264" y="91"/>
                  <a:pt x="263" y="91"/>
                </a:cubicBezTo>
                <a:cubicBezTo>
                  <a:pt x="262" y="91"/>
                  <a:pt x="263" y="91"/>
                  <a:pt x="262" y="91"/>
                </a:cubicBezTo>
                <a:cubicBezTo>
                  <a:pt x="261" y="91"/>
                  <a:pt x="259" y="90"/>
                  <a:pt x="258" y="90"/>
                </a:cubicBezTo>
                <a:cubicBezTo>
                  <a:pt x="257" y="90"/>
                  <a:pt x="256" y="90"/>
                  <a:pt x="255" y="90"/>
                </a:cubicBezTo>
                <a:cubicBezTo>
                  <a:pt x="255" y="91"/>
                  <a:pt x="255" y="91"/>
                  <a:pt x="254" y="91"/>
                </a:cubicBezTo>
                <a:cubicBezTo>
                  <a:pt x="254" y="90"/>
                  <a:pt x="253" y="91"/>
                  <a:pt x="253" y="90"/>
                </a:cubicBezTo>
                <a:cubicBezTo>
                  <a:pt x="252" y="91"/>
                  <a:pt x="252" y="91"/>
                  <a:pt x="251" y="90"/>
                </a:cubicBezTo>
                <a:cubicBezTo>
                  <a:pt x="250" y="90"/>
                  <a:pt x="248" y="90"/>
                  <a:pt x="247" y="89"/>
                </a:cubicBezTo>
                <a:cubicBezTo>
                  <a:pt x="246" y="89"/>
                  <a:pt x="242" y="87"/>
                  <a:pt x="241" y="86"/>
                </a:cubicBezTo>
                <a:cubicBezTo>
                  <a:pt x="240" y="87"/>
                  <a:pt x="240" y="87"/>
                  <a:pt x="239" y="87"/>
                </a:cubicBezTo>
                <a:cubicBezTo>
                  <a:pt x="238" y="87"/>
                  <a:pt x="239" y="88"/>
                  <a:pt x="238" y="88"/>
                </a:cubicBezTo>
                <a:cubicBezTo>
                  <a:pt x="237" y="88"/>
                  <a:pt x="237" y="88"/>
                  <a:pt x="237" y="88"/>
                </a:cubicBezTo>
                <a:cubicBezTo>
                  <a:pt x="236" y="88"/>
                  <a:pt x="236" y="88"/>
                  <a:pt x="236" y="88"/>
                </a:cubicBezTo>
                <a:cubicBezTo>
                  <a:pt x="235" y="88"/>
                  <a:pt x="234" y="88"/>
                  <a:pt x="234" y="88"/>
                </a:cubicBezTo>
                <a:cubicBezTo>
                  <a:pt x="233" y="88"/>
                  <a:pt x="234" y="89"/>
                  <a:pt x="233" y="89"/>
                </a:cubicBezTo>
                <a:cubicBezTo>
                  <a:pt x="232" y="89"/>
                  <a:pt x="233" y="89"/>
                  <a:pt x="233" y="89"/>
                </a:cubicBezTo>
                <a:cubicBezTo>
                  <a:pt x="232" y="89"/>
                  <a:pt x="231" y="89"/>
                  <a:pt x="231" y="89"/>
                </a:cubicBezTo>
                <a:cubicBezTo>
                  <a:pt x="230" y="89"/>
                  <a:pt x="229" y="90"/>
                  <a:pt x="229" y="90"/>
                </a:cubicBezTo>
                <a:cubicBezTo>
                  <a:pt x="229" y="91"/>
                  <a:pt x="226" y="90"/>
                  <a:pt x="226" y="92"/>
                </a:cubicBezTo>
                <a:cubicBezTo>
                  <a:pt x="227" y="92"/>
                  <a:pt x="227" y="93"/>
                  <a:pt x="227" y="93"/>
                </a:cubicBezTo>
                <a:cubicBezTo>
                  <a:pt x="227" y="95"/>
                  <a:pt x="227" y="93"/>
                  <a:pt x="227" y="94"/>
                </a:cubicBezTo>
                <a:cubicBezTo>
                  <a:pt x="228" y="94"/>
                  <a:pt x="227" y="94"/>
                  <a:pt x="227" y="95"/>
                </a:cubicBezTo>
                <a:cubicBezTo>
                  <a:pt x="228" y="95"/>
                  <a:pt x="228" y="94"/>
                  <a:pt x="228" y="95"/>
                </a:cubicBezTo>
                <a:cubicBezTo>
                  <a:pt x="228" y="95"/>
                  <a:pt x="227" y="95"/>
                  <a:pt x="227" y="95"/>
                </a:cubicBezTo>
                <a:cubicBezTo>
                  <a:pt x="227" y="95"/>
                  <a:pt x="227" y="96"/>
                  <a:pt x="227" y="96"/>
                </a:cubicBezTo>
                <a:cubicBezTo>
                  <a:pt x="227" y="96"/>
                  <a:pt x="228" y="96"/>
                  <a:pt x="227" y="96"/>
                </a:cubicBezTo>
                <a:cubicBezTo>
                  <a:pt x="227" y="96"/>
                  <a:pt x="227" y="97"/>
                  <a:pt x="227" y="97"/>
                </a:cubicBezTo>
                <a:cubicBezTo>
                  <a:pt x="227" y="98"/>
                  <a:pt x="227" y="100"/>
                  <a:pt x="227" y="100"/>
                </a:cubicBezTo>
                <a:cubicBezTo>
                  <a:pt x="228" y="100"/>
                  <a:pt x="228" y="101"/>
                  <a:pt x="228" y="101"/>
                </a:cubicBezTo>
                <a:cubicBezTo>
                  <a:pt x="228" y="101"/>
                  <a:pt x="226" y="101"/>
                  <a:pt x="226" y="101"/>
                </a:cubicBezTo>
                <a:cubicBezTo>
                  <a:pt x="226" y="102"/>
                  <a:pt x="227" y="104"/>
                  <a:pt x="227" y="105"/>
                </a:cubicBezTo>
                <a:cubicBezTo>
                  <a:pt x="226" y="105"/>
                  <a:pt x="227" y="106"/>
                  <a:pt x="227" y="106"/>
                </a:cubicBezTo>
                <a:cubicBezTo>
                  <a:pt x="227" y="107"/>
                  <a:pt x="226" y="107"/>
                  <a:pt x="225" y="107"/>
                </a:cubicBezTo>
                <a:cubicBezTo>
                  <a:pt x="225" y="108"/>
                  <a:pt x="225" y="109"/>
                  <a:pt x="225" y="110"/>
                </a:cubicBezTo>
                <a:cubicBezTo>
                  <a:pt x="226" y="111"/>
                  <a:pt x="226" y="112"/>
                  <a:pt x="227" y="112"/>
                </a:cubicBezTo>
                <a:cubicBezTo>
                  <a:pt x="228" y="113"/>
                  <a:pt x="228" y="113"/>
                  <a:pt x="229" y="114"/>
                </a:cubicBezTo>
                <a:cubicBezTo>
                  <a:pt x="229" y="114"/>
                  <a:pt x="230" y="115"/>
                  <a:pt x="230" y="115"/>
                </a:cubicBezTo>
                <a:close/>
                <a:moveTo>
                  <a:pt x="723" y="84"/>
                </a:moveTo>
                <a:cubicBezTo>
                  <a:pt x="722" y="84"/>
                  <a:pt x="723" y="87"/>
                  <a:pt x="724" y="87"/>
                </a:cubicBezTo>
                <a:cubicBezTo>
                  <a:pt x="725" y="88"/>
                  <a:pt x="726" y="86"/>
                  <a:pt x="726" y="86"/>
                </a:cubicBezTo>
                <a:cubicBezTo>
                  <a:pt x="725" y="86"/>
                  <a:pt x="724" y="86"/>
                  <a:pt x="724" y="85"/>
                </a:cubicBezTo>
                <a:cubicBezTo>
                  <a:pt x="724" y="84"/>
                  <a:pt x="724" y="85"/>
                  <a:pt x="723" y="84"/>
                </a:cubicBezTo>
                <a:close/>
                <a:moveTo>
                  <a:pt x="439" y="85"/>
                </a:moveTo>
                <a:cubicBezTo>
                  <a:pt x="439" y="85"/>
                  <a:pt x="439" y="85"/>
                  <a:pt x="439" y="85"/>
                </a:cubicBezTo>
                <a:cubicBezTo>
                  <a:pt x="438" y="84"/>
                  <a:pt x="438" y="84"/>
                  <a:pt x="437" y="84"/>
                </a:cubicBezTo>
                <a:cubicBezTo>
                  <a:pt x="437" y="85"/>
                  <a:pt x="437" y="85"/>
                  <a:pt x="437" y="86"/>
                </a:cubicBezTo>
                <a:cubicBezTo>
                  <a:pt x="438" y="85"/>
                  <a:pt x="438" y="85"/>
                  <a:pt x="439" y="85"/>
                </a:cubicBezTo>
                <a:cubicBezTo>
                  <a:pt x="439" y="85"/>
                  <a:pt x="439" y="85"/>
                  <a:pt x="439" y="85"/>
                </a:cubicBezTo>
                <a:close/>
                <a:moveTo>
                  <a:pt x="297" y="85"/>
                </a:moveTo>
                <a:cubicBezTo>
                  <a:pt x="297" y="85"/>
                  <a:pt x="297" y="84"/>
                  <a:pt x="297" y="84"/>
                </a:cubicBezTo>
                <a:cubicBezTo>
                  <a:pt x="297" y="83"/>
                  <a:pt x="296" y="85"/>
                  <a:pt x="296" y="85"/>
                </a:cubicBezTo>
                <a:cubicBezTo>
                  <a:pt x="296" y="86"/>
                  <a:pt x="296" y="85"/>
                  <a:pt x="297" y="85"/>
                </a:cubicBezTo>
                <a:close/>
                <a:moveTo>
                  <a:pt x="323" y="83"/>
                </a:moveTo>
                <a:cubicBezTo>
                  <a:pt x="323" y="83"/>
                  <a:pt x="324" y="83"/>
                  <a:pt x="324" y="83"/>
                </a:cubicBezTo>
                <a:cubicBezTo>
                  <a:pt x="324" y="82"/>
                  <a:pt x="324" y="81"/>
                  <a:pt x="323" y="80"/>
                </a:cubicBezTo>
                <a:cubicBezTo>
                  <a:pt x="321" y="81"/>
                  <a:pt x="322" y="82"/>
                  <a:pt x="323" y="83"/>
                </a:cubicBezTo>
                <a:close/>
                <a:moveTo>
                  <a:pt x="1517" y="85"/>
                </a:moveTo>
                <a:cubicBezTo>
                  <a:pt x="1518" y="84"/>
                  <a:pt x="1518" y="85"/>
                  <a:pt x="1518" y="85"/>
                </a:cubicBezTo>
                <a:cubicBezTo>
                  <a:pt x="1519" y="85"/>
                  <a:pt x="1519" y="86"/>
                  <a:pt x="1519" y="86"/>
                </a:cubicBezTo>
                <a:cubicBezTo>
                  <a:pt x="1519" y="86"/>
                  <a:pt x="1520" y="86"/>
                  <a:pt x="1520" y="86"/>
                </a:cubicBezTo>
                <a:cubicBezTo>
                  <a:pt x="1521" y="86"/>
                  <a:pt x="1522" y="85"/>
                  <a:pt x="1522" y="86"/>
                </a:cubicBezTo>
                <a:cubicBezTo>
                  <a:pt x="1523" y="86"/>
                  <a:pt x="1523" y="87"/>
                  <a:pt x="1523" y="86"/>
                </a:cubicBezTo>
                <a:cubicBezTo>
                  <a:pt x="1524" y="86"/>
                  <a:pt x="1524" y="86"/>
                  <a:pt x="1524" y="86"/>
                </a:cubicBezTo>
                <a:cubicBezTo>
                  <a:pt x="1524" y="87"/>
                  <a:pt x="1526" y="87"/>
                  <a:pt x="1526" y="87"/>
                </a:cubicBezTo>
                <a:cubicBezTo>
                  <a:pt x="1526" y="86"/>
                  <a:pt x="1525" y="86"/>
                  <a:pt x="1527" y="86"/>
                </a:cubicBezTo>
                <a:cubicBezTo>
                  <a:pt x="1528" y="86"/>
                  <a:pt x="1528" y="86"/>
                  <a:pt x="1528" y="85"/>
                </a:cubicBezTo>
                <a:cubicBezTo>
                  <a:pt x="1530" y="84"/>
                  <a:pt x="1530" y="84"/>
                  <a:pt x="1532" y="84"/>
                </a:cubicBezTo>
                <a:cubicBezTo>
                  <a:pt x="1532" y="84"/>
                  <a:pt x="1532" y="83"/>
                  <a:pt x="1532" y="83"/>
                </a:cubicBezTo>
                <a:cubicBezTo>
                  <a:pt x="1532" y="83"/>
                  <a:pt x="1531" y="81"/>
                  <a:pt x="1530" y="81"/>
                </a:cubicBezTo>
                <a:cubicBezTo>
                  <a:pt x="1529" y="81"/>
                  <a:pt x="1528" y="81"/>
                  <a:pt x="1527" y="81"/>
                </a:cubicBezTo>
                <a:cubicBezTo>
                  <a:pt x="1526" y="81"/>
                  <a:pt x="1527" y="80"/>
                  <a:pt x="1527" y="80"/>
                </a:cubicBezTo>
                <a:cubicBezTo>
                  <a:pt x="1526" y="80"/>
                  <a:pt x="1526" y="80"/>
                  <a:pt x="1526" y="80"/>
                </a:cubicBezTo>
                <a:cubicBezTo>
                  <a:pt x="1525" y="80"/>
                  <a:pt x="1526" y="80"/>
                  <a:pt x="1526" y="80"/>
                </a:cubicBezTo>
                <a:cubicBezTo>
                  <a:pt x="1525" y="80"/>
                  <a:pt x="1525" y="80"/>
                  <a:pt x="1524" y="80"/>
                </a:cubicBezTo>
                <a:cubicBezTo>
                  <a:pt x="1524" y="79"/>
                  <a:pt x="1523" y="79"/>
                  <a:pt x="1522" y="80"/>
                </a:cubicBezTo>
                <a:cubicBezTo>
                  <a:pt x="1521" y="80"/>
                  <a:pt x="1521" y="80"/>
                  <a:pt x="1520" y="80"/>
                </a:cubicBezTo>
                <a:cubicBezTo>
                  <a:pt x="1518" y="80"/>
                  <a:pt x="1517" y="80"/>
                  <a:pt x="1516" y="79"/>
                </a:cubicBezTo>
                <a:cubicBezTo>
                  <a:pt x="1516" y="80"/>
                  <a:pt x="1516" y="79"/>
                  <a:pt x="1516" y="80"/>
                </a:cubicBezTo>
                <a:cubicBezTo>
                  <a:pt x="1516" y="80"/>
                  <a:pt x="1516" y="81"/>
                  <a:pt x="1516" y="81"/>
                </a:cubicBezTo>
                <a:cubicBezTo>
                  <a:pt x="1516" y="82"/>
                  <a:pt x="1516" y="82"/>
                  <a:pt x="1516" y="83"/>
                </a:cubicBezTo>
                <a:cubicBezTo>
                  <a:pt x="1516" y="84"/>
                  <a:pt x="1516" y="83"/>
                  <a:pt x="1517" y="85"/>
                </a:cubicBezTo>
                <a:close/>
                <a:moveTo>
                  <a:pt x="1496" y="80"/>
                </a:moveTo>
                <a:cubicBezTo>
                  <a:pt x="1496" y="80"/>
                  <a:pt x="1496" y="80"/>
                  <a:pt x="1496" y="81"/>
                </a:cubicBezTo>
                <a:cubicBezTo>
                  <a:pt x="1496" y="82"/>
                  <a:pt x="1496" y="83"/>
                  <a:pt x="1496" y="85"/>
                </a:cubicBezTo>
                <a:cubicBezTo>
                  <a:pt x="1497" y="84"/>
                  <a:pt x="1497" y="86"/>
                  <a:pt x="1497" y="87"/>
                </a:cubicBezTo>
                <a:cubicBezTo>
                  <a:pt x="1498" y="87"/>
                  <a:pt x="1499" y="87"/>
                  <a:pt x="1500" y="86"/>
                </a:cubicBezTo>
                <a:cubicBezTo>
                  <a:pt x="1501" y="85"/>
                  <a:pt x="1502" y="85"/>
                  <a:pt x="1503" y="85"/>
                </a:cubicBezTo>
                <a:cubicBezTo>
                  <a:pt x="1503" y="84"/>
                  <a:pt x="1503" y="83"/>
                  <a:pt x="1503" y="83"/>
                </a:cubicBezTo>
                <a:cubicBezTo>
                  <a:pt x="1503" y="82"/>
                  <a:pt x="1503" y="82"/>
                  <a:pt x="1502" y="81"/>
                </a:cubicBezTo>
                <a:cubicBezTo>
                  <a:pt x="1501" y="81"/>
                  <a:pt x="1501" y="80"/>
                  <a:pt x="1500" y="81"/>
                </a:cubicBezTo>
                <a:cubicBezTo>
                  <a:pt x="1499" y="81"/>
                  <a:pt x="1499" y="81"/>
                  <a:pt x="1498" y="81"/>
                </a:cubicBezTo>
                <a:cubicBezTo>
                  <a:pt x="1498" y="80"/>
                  <a:pt x="1498" y="80"/>
                  <a:pt x="1497" y="80"/>
                </a:cubicBezTo>
                <a:cubicBezTo>
                  <a:pt x="1497" y="80"/>
                  <a:pt x="1497" y="79"/>
                  <a:pt x="1496" y="79"/>
                </a:cubicBezTo>
                <a:cubicBezTo>
                  <a:pt x="1496" y="79"/>
                  <a:pt x="1496" y="79"/>
                  <a:pt x="1495" y="79"/>
                </a:cubicBezTo>
                <a:cubicBezTo>
                  <a:pt x="1495" y="79"/>
                  <a:pt x="1496" y="79"/>
                  <a:pt x="1496" y="80"/>
                </a:cubicBezTo>
                <a:close/>
                <a:moveTo>
                  <a:pt x="732" y="83"/>
                </a:moveTo>
                <a:cubicBezTo>
                  <a:pt x="733" y="82"/>
                  <a:pt x="733" y="83"/>
                  <a:pt x="735" y="83"/>
                </a:cubicBezTo>
                <a:cubicBezTo>
                  <a:pt x="735" y="82"/>
                  <a:pt x="735" y="81"/>
                  <a:pt x="735" y="80"/>
                </a:cubicBezTo>
                <a:cubicBezTo>
                  <a:pt x="734" y="81"/>
                  <a:pt x="734" y="82"/>
                  <a:pt x="733" y="81"/>
                </a:cubicBezTo>
                <a:cubicBezTo>
                  <a:pt x="732" y="81"/>
                  <a:pt x="732" y="81"/>
                  <a:pt x="731" y="81"/>
                </a:cubicBezTo>
                <a:cubicBezTo>
                  <a:pt x="731" y="80"/>
                  <a:pt x="731" y="79"/>
                  <a:pt x="731" y="78"/>
                </a:cubicBezTo>
                <a:cubicBezTo>
                  <a:pt x="730" y="79"/>
                  <a:pt x="729" y="79"/>
                  <a:pt x="728" y="79"/>
                </a:cubicBezTo>
                <a:cubicBezTo>
                  <a:pt x="728" y="80"/>
                  <a:pt x="728" y="82"/>
                  <a:pt x="728" y="83"/>
                </a:cubicBezTo>
                <a:cubicBezTo>
                  <a:pt x="728" y="84"/>
                  <a:pt x="729" y="83"/>
                  <a:pt x="729" y="84"/>
                </a:cubicBezTo>
                <a:cubicBezTo>
                  <a:pt x="730" y="84"/>
                  <a:pt x="732" y="84"/>
                  <a:pt x="732" y="83"/>
                </a:cubicBezTo>
                <a:cubicBezTo>
                  <a:pt x="733" y="82"/>
                  <a:pt x="732" y="83"/>
                  <a:pt x="732" y="83"/>
                </a:cubicBezTo>
                <a:close/>
                <a:moveTo>
                  <a:pt x="366" y="87"/>
                </a:moveTo>
                <a:cubicBezTo>
                  <a:pt x="366" y="87"/>
                  <a:pt x="366" y="86"/>
                  <a:pt x="366" y="86"/>
                </a:cubicBezTo>
                <a:cubicBezTo>
                  <a:pt x="368" y="86"/>
                  <a:pt x="368" y="88"/>
                  <a:pt x="370" y="88"/>
                </a:cubicBezTo>
                <a:cubicBezTo>
                  <a:pt x="370" y="88"/>
                  <a:pt x="370" y="87"/>
                  <a:pt x="370" y="87"/>
                </a:cubicBezTo>
                <a:cubicBezTo>
                  <a:pt x="371" y="87"/>
                  <a:pt x="371" y="87"/>
                  <a:pt x="371" y="86"/>
                </a:cubicBezTo>
                <a:cubicBezTo>
                  <a:pt x="371" y="85"/>
                  <a:pt x="371" y="83"/>
                  <a:pt x="372" y="82"/>
                </a:cubicBezTo>
                <a:cubicBezTo>
                  <a:pt x="371" y="82"/>
                  <a:pt x="372" y="81"/>
                  <a:pt x="371" y="80"/>
                </a:cubicBezTo>
                <a:cubicBezTo>
                  <a:pt x="371" y="80"/>
                  <a:pt x="371" y="79"/>
                  <a:pt x="371" y="79"/>
                </a:cubicBezTo>
                <a:cubicBezTo>
                  <a:pt x="370" y="79"/>
                  <a:pt x="370" y="79"/>
                  <a:pt x="369" y="79"/>
                </a:cubicBezTo>
                <a:cubicBezTo>
                  <a:pt x="369" y="79"/>
                  <a:pt x="369" y="78"/>
                  <a:pt x="369" y="78"/>
                </a:cubicBezTo>
                <a:cubicBezTo>
                  <a:pt x="369" y="78"/>
                  <a:pt x="369" y="78"/>
                  <a:pt x="369" y="78"/>
                </a:cubicBezTo>
                <a:cubicBezTo>
                  <a:pt x="369" y="78"/>
                  <a:pt x="369" y="78"/>
                  <a:pt x="369" y="77"/>
                </a:cubicBezTo>
                <a:cubicBezTo>
                  <a:pt x="369" y="78"/>
                  <a:pt x="368" y="77"/>
                  <a:pt x="368" y="77"/>
                </a:cubicBezTo>
                <a:cubicBezTo>
                  <a:pt x="366" y="77"/>
                  <a:pt x="365" y="77"/>
                  <a:pt x="364" y="77"/>
                </a:cubicBezTo>
                <a:cubicBezTo>
                  <a:pt x="363" y="78"/>
                  <a:pt x="363" y="78"/>
                  <a:pt x="363" y="79"/>
                </a:cubicBezTo>
                <a:cubicBezTo>
                  <a:pt x="363" y="80"/>
                  <a:pt x="363" y="79"/>
                  <a:pt x="362" y="79"/>
                </a:cubicBezTo>
                <a:cubicBezTo>
                  <a:pt x="362" y="80"/>
                  <a:pt x="362" y="80"/>
                  <a:pt x="362" y="80"/>
                </a:cubicBezTo>
                <a:cubicBezTo>
                  <a:pt x="361" y="81"/>
                  <a:pt x="361" y="80"/>
                  <a:pt x="360" y="81"/>
                </a:cubicBezTo>
                <a:cubicBezTo>
                  <a:pt x="360" y="81"/>
                  <a:pt x="360" y="81"/>
                  <a:pt x="360" y="82"/>
                </a:cubicBezTo>
                <a:cubicBezTo>
                  <a:pt x="360" y="83"/>
                  <a:pt x="359" y="83"/>
                  <a:pt x="359" y="83"/>
                </a:cubicBezTo>
                <a:cubicBezTo>
                  <a:pt x="359" y="84"/>
                  <a:pt x="359" y="84"/>
                  <a:pt x="360" y="85"/>
                </a:cubicBezTo>
                <a:cubicBezTo>
                  <a:pt x="361" y="84"/>
                  <a:pt x="361" y="84"/>
                  <a:pt x="362" y="85"/>
                </a:cubicBezTo>
                <a:cubicBezTo>
                  <a:pt x="363" y="85"/>
                  <a:pt x="362" y="86"/>
                  <a:pt x="363" y="86"/>
                </a:cubicBezTo>
                <a:cubicBezTo>
                  <a:pt x="364" y="86"/>
                  <a:pt x="364" y="86"/>
                  <a:pt x="364" y="86"/>
                </a:cubicBezTo>
                <a:cubicBezTo>
                  <a:pt x="364" y="86"/>
                  <a:pt x="365" y="86"/>
                  <a:pt x="365" y="86"/>
                </a:cubicBezTo>
                <a:cubicBezTo>
                  <a:pt x="365" y="86"/>
                  <a:pt x="365" y="87"/>
                  <a:pt x="365" y="87"/>
                </a:cubicBezTo>
                <a:cubicBezTo>
                  <a:pt x="366" y="87"/>
                  <a:pt x="366" y="87"/>
                  <a:pt x="366" y="87"/>
                </a:cubicBezTo>
                <a:close/>
                <a:moveTo>
                  <a:pt x="1470" y="88"/>
                </a:moveTo>
                <a:cubicBezTo>
                  <a:pt x="1471" y="88"/>
                  <a:pt x="1471" y="88"/>
                  <a:pt x="1471" y="88"/>
                </a:cubicBezTo>
                <a:cubicBezTo>
                  <a:pt x="1471" y="88"/>
                  <a:pt x="1471" y="88"/>
                  <a:pt x="1470" y="89"/>
                </a:cubicBezTo>
                <a:cubicBezTo>
                  <a:pt x="1470" y="89"/>
                  <a:pt x="1471" y="89"/>
                  <a:pt x="1471" y="89"/>
                </a:cubicBezTo>
                <a:cubicBezTo>
                  <a:pt x="1472" y="90"/>
                  <a:pt x="1472" y="91"/>
                  <a:pt x="1473" y="91"/>
                </a:cubicBezTo>
                <a:cubicBezTo>
                  <a:pt x="1473" y="92"/>
                  <a:pt x="1474" y="92"/>
                  <a:pt x="1475" y="92"/>
                </a:cubicBezTo>
                <a:cubicBezTo>
                  <a:pt x="1476" y="92"/>
                  <a:pt x="1477" y="92"/>
                  <a:pt x="1477" y="91"/>
                </a:cubicBezTo>
                <a:cubicBezTo>
                  <a:pt x="1478" y="91"/>
                  <a:pt x="1479" y="90"/>
                  <a:pt x="1479" y="89"/>
                </a:cubicBezTo>
                <a:cubicBezTo>
                  <a:pt x="1479" y="89"/>
                  <a:pt x="1479" y="88"/>
                  <a:pt x="1479" y="88"/>
                </a:cubicBezTo>
                <a:cubicBezTo>
                  <a:pt x="1480" y="88"/>
                  <a:pt x="1480" y="87"/>
                  <a:pt x="1481" y="87"/>
                </a:cubicBezTo>
                <a:cubicBezTo>
                  <a:pt x="1482" y="85"/>
                  <a:pt x="1483" y="85"/>
                  <a:pt x="1482" y="83"/>
                </a:cubicBezTo>
                <a:cubicBezTo>
                  <a:pt x="1482" y="83"/>
                  <a:pt x="1482" y="82"/>
                  <a:pt x="1482" y="81"/>
                </a:cubicBezTo>
                <a:cubicBezTo>
                  <a:pt x="1481" y="81"/>
                  <a:pt x="1480" y="81"/>
                  <a:pt x="1480" y="80"/>
                </a:cubicBezTo>
                <a:cubicBezTo>
                  <a:pt x="1480" y="79"/>
                  <a:pt x="1480" y="79"/>
                  <a:pt x="1479" y="79"/>
                </a:cubicBezTo>
                <a:cubicBezTo>
                  <a:pt x="1478" y="78"/>
                  <a:pt x="1478" y="78"/>
                  <a:pt x="1477" y="78"/>
                </a:cubicBezTo>
                <a:cubicBezTo>
                  <a:pt x="1477" y="77"/>
                  <a:pt x="1476" y="77"/>
                  <a:pt x="1476" y="77"/>
                </a:cubicBezTo>
                <a:cubicBezTo>
                  <a:pt x="1475" y="76"/>
                  <a:pt x="1475" y="76"/>
                  <a:pt x="1475" y="76"/>
                </a:cubicBezTo>
                <a:cubicBezTo>
                  <a:pt x="1474" y="76"/>
                  <a:pt x="1472" y="78"/>
                  <a:pt x="1472" y="78"/>
                </a:cubicBezTo>
                <a:cubicBezTo>
                  <a:pt x="1472" y="79"/>
                  <a:pt x="1472" y="79"/>
                  <a:pt x="1472" y="79"/>
                </a:cubicBezTo>
                <a:cubicBezTo>
                  <a:pt x="1471" y="79"/>
                  <a:pt x="1471" y="80"/>
                  <a:pt x="1471" y="80"/>
                </a:cubicBezTo>
                <a:cubicBezTo>
                  <a:pt x="1470" y="80"/>
                  <a:pt x="1471" y="81"/>
                  <a:pt x="1471" y="81"/>
                </a:cubicBezTo>
                <a:cubicBezTo>
                  <a:pt x="1469" y="83"/>
                  <a:pt x="1469" y="84"/>
                  <a:pt x="1470" y="86"/>
                </a:cubicBezTo>
                <a:cubicBezTo>
                  <a:pt x="1470" y="86"/>
                  <a:pt x="1469" y="86"/>
                  <a:pt x="1469" y="86"/>
                </a:cubicBezTo>
                <a:cubicBezTo>
                  <a:pt x="1470" y="86"/>
                  <a:pt x="1470" y="87"/>
                  <a:pt x="1470" y="88"/>
                </a:cubicBezTo>
                <a:close/>
                <a:moveTo>
                  <a:pt x="357" y="80"/>
                </a:moveTo>
                <a:cubicBezTo>
                  <a:pt x="358" y="79"/>
                  <a:pt x="358" y="79"/>
                  <a:pt x="359" y="79"/>
                </a:cubicBezTo>
                <a:cubicBezTo>
                  <a:pt x="359" y="79"/>
                  <a:pt x="359" y="78"/>
                  <a:pt x="360" y="78"/>
                </a:cubicBezTo>
                <a:cubicBezTo>
                  <a:pt x="361" y="78"/>
                  <a:pt x="361" y="78"/>
                  <a:pt x="362" y="76"/>
                </a:cubicBezTo>
                <a:cubicBezTo>
                  <a:pt x="362" y="76"/>
                  <a:pt x="361" y="76"/>
                  <a:pt x="361" y="76"/>
                </a:cubicBezTo>
                <a:cubicBezTo>
                  <a:pt x="361" y="76"/>
                  <a:pt x="361" y="77"/>
                  <a:pt x="360" y="77"/>
                </a:cubicBezTo>
                <a:cubicBezTo>
                  <a:pt x="360" y="77"/>
                  <a:pt x="357" y="78"/>
                  <a:pt x="357" y="78"/>
                </a:cubicBezTo>
                <a:cubicBezTo>
                  <a:pt x="357" y="79"/>
                  <a:pt x="357" y="79"/>
                  <a:pt x="357" y="80"/>
                </a:cubicBezTo>
                <a:cubicBezTo>
                  <a:pt x="358" y="79"/>
                  <a:pt x="357" y="80"/>
                  <a:pt x="357" y="80"/>
                </a:cubicBezTo>
                <a:close/>
                <a:moveTo>
                  <a:pt x="358" y="76"/>
                </a:moveTo>
                <a:cubicBezTo>
                  <a:pt x="358" y="76"/>
                  <a:pt x="358" y="76"/>
                  <a:pt x="358" y="76"/>
                </a:cubicBezTo>
                <a:cubicBezTo>
                  <a:pt x="358" y="76"/>
                  <a:pt x="358" y="76"/>
                  <a:pt x="358" y="76"/>
                </a:cubicBezTo>
                <a:close/>
                <a:moveTo>
                  <a:pt x="356" y="76"/>
                </a:moveTo>
                <a:cubicBezTo>
                  <a:pt x="356" y="76"/>
                  <a:pt x="356" y="76"/>
                  <a:pt x="356" y="77"/>
                </a:cubicBezTo>
                <a:cubicBezTo>
                  <a:pt x="356" y="77"/>
                  <a:pt x="357" y="77"/>
                  <a:pt x="357" y="76"/>
                </a:cubicBezTo>
                <a:cubicBezTo>
                  <a:pt x="357" y="76"/>
                  <a:pt x="357" y="76"/>
                  <a:pt x="357" y="76"/>
                </a:cubicBezTo>
                <a:cubicBezTo>
                  <a:pt x="357" y="76"/>
                  <a:pt x="357" y="75"/>
                  <a:pt x="356" y="76"/>
                </a:cubicBezTo>
                <a:close/>
                <a:moveTo>
                  <a:pt x="1260" y="75"/>
                </a:moveTo>
                <a:cubicBezTo>
                  <a:pt x="1260" y="76"/>
                  <a:pt x="1263" y="75"/>
                  <a:pt x="1260" y="75"/>
                </a:cubicBezTo>
                <a:cubicBezTo>
                  <a:pt x="1260" y="75"/>
                  <a:pt x="1260" y="75"/>
                  <a:pt x="1260" y="75"/>
                </a:cubicBezTo>
                <a:cubicBezTo>
                  <a:pt x="1260" y="76"/>
                  <a:pt x="1260" y="75"/>
                  <a:pt x="1260" y="75"/>
                </a:cubicBezTo>
                <a:close/>
                <a:moveTo>
                  <a:pt x="366" y="76"/>
                </a:moveTo>
                <a:cubicBezTo>
                  <a:pt x="367" y="76"/>
                  <a:pt x="367" y="75"/>
                  <a:pt x="367" y="75"/>
                </a:cubicBezTo>
                <a:cubicBezTo>
                  <a:pt x="366" y="75"/>
                  <a:pt x="366" y="75"/>
                  <a:pt x="366" y="76"/>
                </a:cubicBezTo>
                <a:cubicBezTo>
                  <a:pt x="367" y="76"/>
                  <a:pt x="366" y="76"/>
                  <a:pt x="366" y="76"/>
                </a:cubicBezTo>
                <a:close/>
                <a:moveTo>
                  <a:pt x="437" y="74"/>
                </a:moveTo>
                <a:cubicBezTo>
                  <a:pt x="437" y="74"/>
                  <a:pt x="437" y="74"/>
                  <a:pt x="437" y="74"/>
                </a:cubicBezTo>
                <a:cubicBezTo>
                  <a:pt x="437" y="75"/>
                  <a:pt x="437" y="75"/>
                  <a:pt x="438" y="75"/>
                </a:cubicBezTo>
                <a:cubicBezTo>
                  <a:pt x="439" y="75"/>
                  <a:pt x="440" y="76"/>
                  <a:pt x="440" y="76"/>
                </a:cubicBezTo>
                <a:cubicBezTo>
                  <a:pt x="440" y="76"/>
                  <a:pt x="440" y="75"/>
                  <a:pt x="440" y="75"/>
                </a:cubicBezTo>
                <a:cubicBezTo>
                  <a:pt x="440" y="75"/>
                  <a:pt x="440" y="75"/>
                  <a:pt x="440" y="75"/>
                </a:cubicBezTo>
                <a:cubicBezTo>
                  <a:pt x="441" y="74"/>
                  <a:pt x="441" y="74"/>
                  <a:pt x="441" y="73"/>
                </a:cubicBezTo>
                <a:cubicBezTo>
                  <a:pt x="440" y="73"/>
                  <a:pt x="437" y="74"/>
                  <a:pt x="437" y="74"/>
                </a:cubicBezTo>
                <a:close/>
                <a:moveTo>
                  <a:pt x="256" y="75"/>
                </a:moveTo>
                <a:cubicBezTo>
                  <a:pt x="254" y="75"/>
                  <a:pt x="254" y="77"/>
                  <a:pt x="252" y="78"/>
                </a:cubicBezTo>
                <a:cubicBezTo>
                  <a:pt x="252" y="78"/>
                  <a:pt x="252" y="78"/>
                  <a:pt x="252" y="79"/>
                </a:cubicBezTo>
                <a:cubicBezTo>
                  <a:pt x="252" y="80"/>
                  <a:pt x="252" y="80"/>
                  <a:pt x="253" y="80"/>
                </a:cubicBezTo>
                <a:cubicBezTo>
                  <a:pt x="254" y="80"/>
                  <a:pt x="255" y="80"/>
                  <a:pt x="256" y="80"/>
                </a:cubicBezTo>
                <a:cubicBezTo>
                  <a:pt x="256" y="79"/>
                  <a:pt x="256" y="79"/>
                  <a:pt x="257" y="78"/>
                </a:cubicBezTo>
                <a:cubicBezTo>
                  <a:pt x="257" y="78"/>
                  <a:pt x="257" y="77"/>
                  <a:pt x="257" y="77"/>
                </a:cubicBezTo>
                <a:cubicBezTo>
                  <a:pt x="257" y="76"/>
                  <a:pt x="257" y="76"/>
                  <a:pt x="258" y="76"/>
                </a:cubicBezTo>
                <a:cubicBezTo>
                  <a:pt x="258" y="75"/>
                  <a:pt x="258" y="74"/>
                  <a:pt x="259" y="74"/>
                </a:cubicBezTo>
                <a:cubicBezTo>
                  <a:pt x="258" y="73"/>
                  <a:pt x="258" y="72"/>
                  <a:pt x="257" y="73"/>
                </a:cubicBezTo>
                <a:cubicBezTo>
                  <a:pt x="256" y="74"/>
                  <a:pt x="256" y="74"/>
                  <a:pt x="256" y="75"/>
                </a:cubicBezTo>
                <a:cubicBezTo>
                  <a:pt x="254" y="75"/>
                  <a:pt x="256" y="75"/>
                  <a:pt x="256" y="75"/>
                </a:cubicBezTo>
                <a:close/>
                <a:moveTo>
                  <a:pt x="1273" y="72"/>
                </a:moveTo>
                <a:cubicBezTo>
                  <a:pt x="1273" y="74"/>
                  <a:pt x="1275" y="74"/>
                  <a:pt x="1277" y="74"/>
                </a:cubicBezTo>
                <a:cubicBezTo>
                  <a:pt x="1277" y="74"/>
                  <a:pt x="1278" y="74"/>
                  <a:pt x="1278" y="73"/>
                </a:cubicBezTo>
                <a:cubicBezTo>
                  <a:pt x="1278" y="73"/>
                  <a:pt x="1279" y="73"/>
                  <a:pt x="1279" y="73"/>
                </a:cubicBezTo>
                <a:cubicBezTo>
                  <a:pt x="1279" y="73"/>
                  <a:pt x="1279" y="72"/>
                  <a:pt x="1279" y="72"/>
                </a:cubicBezTo>
                <a:cubicBezTo>
                  <a:pt x="1279" y="71"/>
                  <a:pt x="1277" y="72"/>
                  <a:pt x="1277" y="72"/>
                </a:cubicBezTo>
                <a:cubicBezTo>
                  <a:pt x="1277" y="72"/>
                  <a:pt x="1275" y="73"/>
                  <a:pt x="1275" y="72"/>
                </a:cubicBezTo>
                <a:cubicBezTo>
                  <a:pt x="1274" y="72"/>
                  <a:pt x="1274" y="72"/>
                  <a:pt x="1273" y="72"/>
                </a:cubicBezTo>
                <a:cubicBezTo>
                  <a:pt x="1273" y="73"/>
                  <a:pt x="1273" y="72"/>
                  <a:pt x="1273" y="72"/>
                </a:cubicBezTo>
                <a:close/>
                <a:moveTo>
                  <a:pt x="727" y="71"/>
                </a:moveTo>
                <a:cubicBezTo>
                  <a:pt x="727" y="72"/>
                  <a:pt x="727" y="73"/>
                  <a:pt x="727" y="73"/>
                </a:cubicBezTo>
                <a:cubicBezTo>
                  <a:pt x="727" y="74"/>
                  <a:pt x="728" y="74"/>
                  <a:pt x="728" y="74"/>
                </a:cubicBezTo>
                <a:cubicBezTo>
                  <a:pt x="728" y="75"/>
                  <a:pt x="728" y="75"/>
                  <a:pt x="729" y="75"/>
                </a:cubicBezTo>
                <a:cubicBezTo>
                  <a:pt x="728" y="74"/>
                  <a:pt x="728" y="73"/>
                  <a:pt x="728" y="72"/>
                </a:cubicBezTo>
                <a:cubicBezTo>
                  <a:pt x="727" y="72"/>
                  <a:pt x="727" y="72"/>
                  <a:pt x="728" y="71"/>
                </a:cubicBezTo>
                <a:cubicBezTo>
                  <a:pt x="727" y="70"/>
                  <a:pt x="727" y="70"/>
                  <a:pt x="726" y="71"/>
                </a:cubicBezTo>
                <a:cubicBezTo>
                  <a:pt x="726" y="71"/>
                  <a:pt x="726" y="71"/>
                  <a:pt x="727" y="71"/>
                </a:cubicBezTo>
                <a:cubicBezTo>
                  <a:pt x="727" y="72"/>
                  <a:pt x="727" y="71"/>
                  <a:pt x="727" y="71"/>
                </a:cubicBezTo>
                <a:close/>
                <a:moveTo>
                  <a:pt x="726" y="69"/>
                </a:moveTo>
                <a:cubicBezTo>
                  <a:pt x="726" y="70"/>
                  <a:pt x="726" y="70"/>
                  <a:pt x="727" y="70"/>
                </a:cubicBezTo>
                <a:cubicBezTo>
                  <a:pt x="726" y="70"/>
                  <a:pt x="726" y="70"/>
                  <a:pt x="726" y="69"/>
                </a:cubicBezTo>
                <a:close/>
                <a:moveTo>
                  <a:pt x="266" y="70"/>
                </a:moveTo>
                <a:cubicBezTo>
                  <a:pt x="266" y="70"/>
                  <a:pt x="266" y="71"/>
                  <a:pt x="266" y="71"/>
                </a:cubicBezTo>
                <a:cubicBezTo>
                  <a:pt x="266" y="71"/>
                  <a:pt x="267" y="71"/>
                  <a:pt x="267" y="71"/>
                </a:cubicBezTo>
                <a:cubicBezTo>
                  <a:pt x="268" y="71"/>
                  <a:pt x="267" y="71"/>
                  <a:pt x="268" y="71"/>
                </a:cubicBezTo>
                <a:cubicBezTo>
                  <a:pt x="268" y="70"/>
                  <a:pt x="267" y="68"/>
                  <a:pt x="266" y="70"/>
                </a:cubicBezTo>
                <a:close/>
                <a:moveTo>
                  <a:pt x="322" y="73"/>
                </a:moveTo>
                <a:cubicBezTo>
                  <a:pt x="322" y="73"/>
                  <a:pt x="323" y="73"/>
                  <a:pt x="324" y="73"/>
                </a:cubicBezTo>
                <a:cubicBezTo>
                  <a:pt x="324" y="73"/>
                  <a:pt x="324" y="73"/>
                  <a:pt x="324" y="73"/>
                </a:cubicBezTo>
                <a:cubicBezTo>
                  <a:pt x="324" y="73"/>
                  <a:pt x="325" y="72"/>
                  <a:pt x="325" y="73"/>
                </a:cubicBezTo>
                <a:cubicBezTo>
                  <a:pt x="326" y="73"/>
                  <a:pt x="327" y="72"/>
                  <a:pt x="327" y="72"/>
                </a:cubicBezTo>
                <a:cubicBezTo>
                  <a:pt x="327" y="73"/>
                  <a:pt x="326" y="73"/>
                  <a:pt x="325" y="73"/>
                </a:cubicBezTo>
                <a:cubicBezTo>
                  <a:pt x="324" y="74"/>
                  <a:pt x="323" y="74"/>
                  <a:pt x="323" y="76"/>
                </a:cubicBezTo>
                <a:cubicBezTo>
                  <a:pt x="323" y="75"/>
                  <a:pt x="327" y="74"/>
                  <a:pt x="327" y="75"/>
                </a:cubicBezTo>
                <a:cubicBezTo>
                  <a:pt x="327" y="75"/>
                  <a:pt x="326" y="76"/>
                  <a:pt x="326" y="76"/>
                </a:cubicBezTo>
                <a:cubicBezTo>
                  <a:pt x="325" y="77"/>
                  <a:pt x="326" y="77"/>
                  <a:pt x="325" y="77"/>
                </a:cubicBezTo>
                <a:cubicBezTo>
                  <a:pt x="324" y="78"/>
                  <a:pt x="324" y="77"/>
                  <a:pt x="324" y="79"/>
                </a:cubicBezTo>
                <a:cubicBezTo>
                  <a:pt x="325" y="79"/>
                  <a:pt x="327" y="79"/>
                  <a:pt x="328" y="78"/>
                </a:cubicBezTo>
                <a:cubicBezTo>
                  <a:pt x="329" y="78"/>
                  <a:pt x="329" y="78"/>
                  <a:pt x="329" y="77"/>
                </a:cubicBezTo>
                <a:cubicBezTo>
                  <a:pt x="330" y="76"/>
                  <a:pt x="330" y="77"/>
                  <a:pt x="330" y="77"/>
                </a:cubicBezTo>
                <a:cubicBezTo>
                  <a:pt x="331" y="76"/>
                  <a:pt x="330" y="76"/>
                  <a:pt x="330" y="76"/>
                </a:cubicBezTo>
                <a:cubicBezTo>
                  <a:pt x="331" y="76"/>
                  <a:pt x="331" y="76"/>
                  <a:pt x="331" y="76"/>
                </a:cubicBezTo>
                <a:cubicBezTo>
                  <a:pt x="332" y="75"/>
                  <a:pt x="332" y="76"/>
                  <a:pt x="332" y="75"/>
                </a:cubicBezTo>
                <a:cubicBezTo>
                  <a:pt x="332" y="75"/>
                  <a:pt x="332" y="75"/>
                  <a:pt x="331" y="75"/>
                </a:cubicBezTo>
                <a:cubicBezTo>
                  <a:pt x="332" y="74"/>
                  <a:pt x="332" y="74"/>
                  <a:pt x="332" y="73"/>
                </a:cubicBezTo>
                <a:cubicBezTo>
                  <a:pt x="332" y="72"/>
                  <a:pt x="332" y="72"/>
                  <a:pt x="331" y="72"/>
                </a:cubicBezTo>
                <a:cubicBezTo>
                  <a:pt x="330" y="72"/>
                  <a:pt x="330" y="72"/>
                  <a:pt x="328" y="72"/>
                </a:cubicBezTo>
                <a:cubicBezTo>
                  <a:pt x="329" y="71"/>
                  <a:pt x="330" y="71"/>
                  <a:pt x="330" y="70"/>
                </a:cubicBezTo>
                <a:cubicBezTo>
                  <a:pt x="330" y="69"/>
                  <a:pt x="328" y="69"/>
                  <a:pt x="328" y="69"/>
                </a:cubicBezTo>
                <a:cubicBezTo>
                  <a:pt x="327" y="69"/>
                  <a:pt x="325" y="70"/>
                  <a:pt x="324" y="70"/>
                </a:cubicBezTo>
                <a:cubicBezTo>
                  <a:pt x="323" y="70"/>
                  <a:pt x="323" y="70"/>
                  <a:pt x="323" y="70"/>
                </a:cubicBezTo>
                <a:cubicBezTo>
                  <a:pt x="322" y="71"/>
                  <a:pt x="322" y="71"/>
                  <a:pt x="321" y="71"/>
                </a:cubicBezTo>
                <a:cubicBezTo>
                  <a:pt x="321" y="72"/>
                  <a:pt x="321" y="72"/>
                  <a:pt x="322" y="73"/>
                </a:cubicBezTo>
                <a:cubicBezTo>
                  <a:pt x="322" y="73"/>
                  <a:pt x="322" y="73"/>
                  <a:pt x="322" y="73"/>
                </a:cubicBezTo>
                <a:close/>
                <a:moveTo>
                  <a:pt x="1061" y="112"/>
                </a:moveTo>
                <a:cubicBezTo>
                  <a:pt x="1061" y="113"/>
                  <a:pt x="1061" y="114"/>
                  <a:pt x="1061" y="115"/>
                </a:cubicBezTo>
                <a:cubicBezTo>
                  <a:pt x="1061" y="115"/>
                  <a:pt x="1062" y="116"/>
                  <a:pt x="1062" y="116"/>
                </a:cubicBezTo>
                <a:cubicBezTo>
                  <a:pt x="1062" y="118"/>
                  <a:pt x="1061" y="116"/>
                  <a:pt x="1062" y="117"/>
                </a:cubicBezTo>
                <a:cubicBezTo>
                  <a:pt x="1062" y="117"/>
                  <a:pt x="1062" y="117"/>
                  <a:pt x="1062" y="117"/>
                </a:cubicBezTo>
                <a:cubicBezTo>
                  <a:pt x="1062" y="117"/>
                  <a:pt x="1063" y="117"/>
                  <a:pt x="1063" y="117"/>
                </a:cubicBezTo>
                <a:cubicBezTo>
                  <a:pt x="1064" y="117"/>
                  <a:pt x="1063" y="117"/>
                  <a:pt x="1063" y="116"/>
                </a:cubicBezTo>
                <a:cubicBezTo>
                  <a:pt x="1064" y="116"/>
                  <a:pt x="1065" y="116"/>
                  <a:pt x="1065" y="116"/>
                </a:cubicBezTo>
                <a:cubicBezTo>
                  <a:pt x="1065" y="116"/>
                  <a:pt x="1065" y="116"/>
                  <a:pt x="1065" y="116"/>
                </a:cubicBezTo>
                <a:cubicBezTo>
                  <a:pt x="1066" y="113"/>
                  <a:pt x="1066" y="116"/>
                  <a:pt x="1067" y="116"/>
                </a:cubicBezTo>
                <a:cubicBezTo>
                  <a:pt x="1067" y="116"/>
                  <a:pt x="1068" y="116"/>
                  <a:pt x="1068" y="115"/>
                </a:cubicBezTo>
                <a:cubicBezTo>
                  <a:pt x="1068" y="115"/>
                  <a:pt x="1068" y="115"/>
                  <a:pt x="1068" y="115"/>
                </a:cubicBezTo>
                <a:cubicBezTo>
                  <a:pt x="1069" y="115"/>
                  <a:pt x="1070" y="115"/>
                  <a:pt x="1070" y="115"/>
                </a:cubicBezTo>
                <a:cubicBezTo>
                  <a:pt x="1070" y="115"/>
                  <a:pt x="1069" y="116"/>
                  <a:pt x="1070" y="117"/>
                </a:cubicBezTo>
                <a:cubicBezTo>
                  <a:pt x="1070" y="117"/>
                  <a:pt x="1070" y="118"/>
                  <a:pt x="1070" y="118"/>
                </a:cubicBezTo>
                <a:cubicBezTo>
                  <a:pt x="1071" y="118"/>
                  <a:pt x="1072" y="118"/>
                  <a:pt x="1073" y="118"/>
                </a:cubicBezTo>
                <a:cubicBezTo>
                  <a:pt x="1072" y="118"/>
                  <a:pt x="1074" y="118"/>
                  <a:pt x="1074" y="118"/>
                </a:cubicBezTo>
                <a:cubicBezTo>
                  <a:pt x="1074" y="118"/>
                  <a:pt x="1074" y="119"/>
                  <a:pt x="1074" y="120"/>
                </a:cubicBezTo>
                <a:cubicBezTo>
                  <a:pt x="1073" y="120"/>
                  <a:pt x="1073" y="119"/>
                  <a:pt x="1072" y="121"/>
                </a:cubicBezTo>
                <a:cubicBezTo>
                  <a:pt x="1072" y="120"/>
                  <a:pt x="1071" y="120"/>
                  <a:pt x="1071" y="120"/>
                </a:cubicBezTo>
                <a:cubicBezTo>
                  <a:pt x="1071" y="120"/>
                  <a:pt x="1071" y="120"/>
                  <a:pt x="1070" y="121"/>
                </a:cubicBezTo>
                <a:cubicBezTo>
                  <a:pt x="1070" y="121"/>
                  <a:pt x="1071" y="122"/>
                  <a:pt x="1071" y="122"/>
                </a:cubicBezTo>
                <a:cubicBezTo>
                  <a:pt x="1071" y="122"/>
                  <a:pt x="1072" y="122"/>
                  <a:pt x="1072" y="122"/>
                </a:cubicBezTo>
                <a:cubicBezTo>
                  <a:pt x="1072" y="122"/>
                  <a:pt x="1072" y="123"/>
                  <a:pt x="1072" y="123"/>
                </a:cubicBezTo>
                <a:cubicBezTo>
                  <a:pt x="1072" y="124"/>
                  <a:pt x="1070" y="123"/>
                  <a:pt x="1070" y="123"/>
                </a:cubicBezTo>
                <a:cubicBezTo>
                  <a:pt x="1070" y="124"/>
                  <a:pt x="1070" y="124"/>
                  <a:pt x="1070" y="124"/>
                </a:cubicBezTo>
                <a:cubicBezTo>
                  <a:pt x="1070" y="125"/>
                  <a:pt x="1074" y="124"/>
                  <a:pt x="1075" y="124"/>
                </a:cubicBezTo>
                <a:cubicBezTo>
                  <a:pt x="1076" y="124"/>
                  <a:pt x="1076" y="125"/>
                  <a:pt x="1076" y="125"/>
                </a:cubicBezTo>
                <a:cubicBezTo>
                  <a:pt x="1077" y="125"/>
                  <a:pt x="1077" y="125"/>
                  <a:pt x="1078" y="126"/>
                </a:cubicBezTo>
                <a:cubicBezTo>
                  <a:pt x="1078" y="125"/>
                  <a:pt x="1078" y="125"/>
                  <a:pt x="1078" y="124"/>
                </a:cubicBezTo>
                <a:cubicBezTo>
                  <a:pt x="1079" y="124"/>
                  <a:pt x="1079" y="124"/>
                  <a:pt x="1079" y="123"/>
                </a:cubicBezTo>
                <a:cubicBezTo>
                  <a:pt x="1080" y="123"/>
                  <a:pt x="1081" y="125"/>
                  <a:pt x="1081" y="125"/>
                </a:cubicBezTo>
                <a:cubicBezTo>
                  <a:pt x="1082" y="125"/>
                  <a:pt x="1085" y="124"/>
                  <a:pt x="1085" y="124"/>
                </a:cubicBezTo>
                <a:cubicBezTo>
                  <a:pt x="1085" y="125"/>
                  <a:pt x="1086" y="125"/>
                  <a:pt x="1086" y="124"/>
                </a:cubicBezTo>
                <a:cubicBezTo>
                  <a:pt x="1086" y="124"/>
                  <a:pt x="1085" y="123"/>
                  <a:pt x="1085" y="122"/>
                </a:cubicBezTo>
                <a:cubicBezTo>
                  <a:pt x="1085" y="122"/>
                  <a:pt x="1088" y="122"/>
                  <a:pt x="1088" y="122"/>
                </a:cubicBezTo>
                <a:cubicBezTo>
                  <a:pt x="1088" y="123"/>
                  <a:pt x="1089" y="123"/>
                  <a:pt x="1089" y="123"/>
                </a:cubicBezTo>
                <a:cubicBezTo>
                  <a:pt x="1090" y="123"/>
                  <a:pt x="1090" y="123"/>
                  <a:pt x="1091" y="123"/>
                </a:cubicBezTo>
                <a:cubicBezTo>
                  <a:pt x="1092" y="123"/>
                  <a:pt x="1091" y="123"/>
                  <a:pt x="1092" y="122"/>
                </a:cubicBezTo>
                <a:cubicBezTo>
                  <a:pt x="1092" y="122"/>
                  <a:pt x="1093" y="122"/>
                  <a:pt x="1091" y="122"/>
                </a:cubicBezTo>
                <a:cubicBezTo>
                  <a:pt x="1091" y="121"/>
                  <a:pt x="1091" y="121"/>
                  <a:pt x="1091" y="121"/>
                </a:cubicBezTo>
                <a:cubicBezTo>
                  <a:pt x="1090" y="121"/>
                  <a:pt x="1089" y="121"/>
                  <a:pt x="1089" y="121"/>
                </a:cubicBezTo>
                <a:cubicBezTo>
                  <a:pt x="1089" y="121"/>
                  <a:pt x="1089" y="121"/>
                  <a:pt x="1088" y="121"/>
                </a:cubicBezTo>
                <a:cubicBezTo>
                  <a:pt x="1088" y="121"/>
                  <a:pt x="1088" y="121"/>
                  <a:pt x="1087" y="121"/>
                </a:cubicBezTo>
                <a:cubicBezTo>
                  <a:pt x="1087" y="121"/>
                  <a:pt x="1086" y="120"/>
                  <a:pt x="1086" y="119"/>
                </a:cubicBezTo>
                <a:cubicBezTo>
                  <a:pt x="1085" y="119"/>
                  <a:pt x="1085" y="119"/>
                  <a:pt x="1085" y="119"/>
                </a:cubicBezTo>
                <a:cubicBezTo>
                  <a:pt x="1085" y="118"/>
                  <a:pt x="1083" y="117"/>
                  <a:pt x="1083" y="117"/>
                </a:cubicBezTo>
                <a:cubicBezTo>
                  <a:pt x="1082" y="117"/>
                  <a:pt x="1083" y="116"/>
                  <a:pt x="1083" y="116"/>
                </a:cubicBezTo>
                <a:cubicBezTo>
                  <a:pt x="1083" y="116"/>
                  <a:pt x="1082" y="115"/>
                  <a:pt x="1082" y="115"/>
                </a:cubicBezTo>
                <a:cubicBezTo>
                  <a:pt x="1082" y="114"/>
                  <a:pt x="1081" y="114"/>
                  <a:pt x="1081" y="114"/>
                </a:cubicBezTo>
                <a:cubicBezTo>
                  <a:pt x="1081" y="113"/>
                  <a:pt x="1081" y="112"/>
                  <a:pt x="1081" y="111"/>
                </a:cubicBezTo>
                <a:cubicBezTo>
                  <a:pt x="1081" y="111"/>
                  <a:pt x="1081" y="111"/>
                  <a:pt x="1080" y="111"/>
                </a:cubicBezTo>
                <a:cubicBezTo>
                  <a:pt x="1081" y="110"/>
                  <a:pt x="1082" y="110"/>
                  <a:pt x="1082" y="108"/>
                </a:cubicBezTo>
                <a:cubicBezTo>
                  <a:pt x="1082" y="108"/>
                  <a:pt x="1081" y="108"/>
                  <a:pt x="1081" y="107"/>
                </a:cubicBezTo>
                <a:cubicBezTo>
                  <a:pt x="1081" y="106"/>
                  <a:pt x="1082" y="106"/>
                  <a:pt x="1083" y="106"/>
                </a:cubicBezTo>
                <a:cubicBezTo>
                  <a:pt x="1082" y="105"/>
                  <a:pt x="1082" y="105"/>
                  <a:pt x="1082" y="104"/>
                </a:cubicBezTo>
                <a:cubicBezTo>
                  <a:pt x="1083" y="104"/>
                  <a:pt x="1082" y="104"/>
                  <a:pt x="1083" y="103"/>
                </a:cubicBezTo>
                <a:cubicBezTo>
                  <a:pt x="1083" y="102"/>
                  <a:pt x="1084" y="103"/>
                  <a:pt x="1084" y="102"/>
                </a:cubicBezTo>
                <a:cubicBezTo>
                  <a:pt x="1084" y="101"/>
                  <a:pt x="1084" y="101"/>
                  <a:pt x="1083" y="101"/>
                </a:cubicBezTo>
                <a:cubicBezTo>
                  <a:pt x="1082" y="101"/>
                  <a:pt x="1082" y="101"/>
                  <a:pt x="1081" y="101"/>
                </a:cubicBezTo>
                <a:cubicBezTo>
                  <a:pt x="1081" y="100"/>
                  <a:pt x="1081" y="100"/>
                  <a:pt x="1080" y="100"/>
                </a:cubicBezTo>
                <a:cubicBezTo>
                  <a:pt x="1080" y="100"/>
                  <a:pt x="1080" y="100"/>
                  <a:pt x="1080" y="99"/>
                </a:cubicBezTo>
                <a:cubicBezTo>
                  <a:pt x="1080" y="99"/>
                  <a:pt x="1079" y="99"/>
                  <a:pt x="1079" y="99"/>
                </a:cubicBezTo>
                <a:cubicBezTo>
                  <a:pt x="1078" y="99"/>
                  <a:pt x="1077" y="99"/>
                  <a:pt x="1076" y="100"/>
                </a:cubicBezTo>
                <a:cubicBezTo>
                  <a:pt x="1076" y="99"/>
                  <a:pt x="1076" y="99"/>
                  <a:pt x="1076" y="99"/>
                </a:cubicBezTo>
                <a:cubicBezTo>
                  <a:pt x="1075" y="99"/>
                  <a:pt x="1076" y="98"/>
                  <a:pt x="1076" y="98"/>
                </a:cubicBezTo>
                <a:cubicBezTo>
                  <a:pt x="1076" y="98"/>
                  <a:pt x="1077" y="99"/>
                  <a:pt x="1077" y="99"/>
                </a:cubicBezTo>
                <a:cubicBezTo>
                  <a:pt x="1078" y="99"/>
                  <a:pt x="1077" y="99"/>
                  <a:pt x="1078" y="99"/>
                </a:cubicBezTo>
                <a:cubicBezTo>
                  <a:pt x="1078" y="99"/>
                  <a:pt x="1080" y="100"/>
                  <a:pt x="1080" y="98"/>
                </a:cubicBezTo>
                <a:cubicBezTo>
                  <a:pt x="1081" y="99"/>
                  <a:pt x="1081" y="99"/>
                  <a:pt x="1081" y="100"/>
                </a:cubicBezTo>
                <a:cubicBezTo>
                  <a:pt x="1082" y="100"/>
                  <a:pt x="1083" y="100"/>
                  <a:pt x="1084" y="99"/>
                </a:cubicBezTo>
                <a:cubicBezTo>
                  <a:pt x="1085" y="99"/>
                  <a:pt x="1085" y="99"/>
                  <a:pt x="1086" y="98"/>
                </a:cubicBezTo>
                <a:cubicBezTo>
                  <a:pt x="1086" y="97"/>
                  <a:pt x="1085" y="96"/>
                  <a:pt x="1085" y="96"/>
                </a:cubicBezTo>
                <a:cubicBezTo>
                  <a:pt x="1087" y="96"/>
                  <a:pt x="1087" y="97"/>
                  <a:pt x="1088" y="96"/>
                </a:cubicBezTo>
                <a:cubicBezTo>
                  <a:pt x="1088" y="96"/>
                  <a:pt x="1088" y="95"/>
                  <a:pt x="1088" y="95"/>
                </a:cubicBezTo>
                <a:cubicBezTo>
                  <a:pt x="1089" y="95"/>
                  <a:pt x="1089" y="95"/>
                  <a:pt x="1090" y="95"/>
                </a:cubicBezTo>
                <a:cubicBezTo>
                  <a:pt x="1090" y="94"/>
                  <a:pt x="1089" y="92"/>
                  <a:pt x="1089" y="91"/>
                </a:cubicBezTo>
                <a:cubicBezTo>
                  <a:pt x="1089" y="91"/>
                  <a:pt x="1091" y="91"/>
                  <a:pt x="1091" y="92"/>
                </a:cubicBezTo>
                <a:cubicBezTo>
                  <a:pt x="1091" y="92"/>
                  <a:pt x="1091" y="92"/>
                  <a:pt x="1091" y="93"/>
                </a:cubicBezTo>
                <a:cubicBezTo>
                  <a:pt x="1091" y="93"/>
                  <a:pt x="1092" y="92"/>
                  <a:pt x="1092" y="92"/>
                </a:cubicBezTo>
                <a:cubicBezTo>
                  <a:pt x="1092" y="92"/>
                  <a:pt x="1093" y="92"/>
                  <a:pt x="1093" y="92"/>
                </a:cubicBezTo>
                <a:cubicBezTo>
                  <a:pt x="1093" y="90"/>
                  <a:pt x="1093" y="90"/>
                  <a:pt x="1095" y="90"/>
                </a:cubicBezTo>
                <a:cubicBezTo>
                  <a:pt x="1094" y="89"/>
                  <a:pt x="1093" y="88"/>
                  <a:pt x="1095" y="88"/>
                </a:cubicBezTo>
                <a:cubicBezTo>
                  <a:pt x="1096" y="88"/>
                  <a:pt x="1096" y="88"/>
                  <a:pt x="1097" y="86"/>
                </a:cubicBezTo>
                <a:cubicBezTo>
                  <a:pt x="1097" y="86"/>
                  <a:pt x="1097" y="87"/>
                  <a:pt x="1098" y="87"/>
                </a:cubicBezTo>
                <a:cubicBezTo>
                  <a:pt x="1098" y="87"/>
                  <a:pt x="1099" y="87"/>
                  <a:pt x="1100" y="87"/>
                </a:cubicBezTo>
                <a:cubicBezTo>
                  <a:pt x="1100" y="86"/>
                  <a:pt x="1100" y="86"/>
                  <a:pt x="1100" y="85"/>
                </a:cubicBezTo>
                <a:cubicBezTo>
                  <a:pt x="1101" y="85"/>
                  <a:pt x="1102" y="85"/>
                  <a:pt x="1102" y="86"/>
                </a:cubicBezTo>
                <a:cubicBezTo>
                  <a:pt x="1102" y="86"/>
                  <a:pt x="1103" y="86"/>
                  <a:pt x="1103" y="85"/>
                </a:cubicBezTo>
                <a:cubicBezTo>
                  <a:pt x="1103" y="85"/>
                  <a:pt x="1103" y="84"/>
                  <a:pt x="1104" y="84"/>
                </a:cubicBezTo>
                <a:cubicBezTo>
                  <a:pt x="1105" y="84"/>
                  <a:pt x="1106" y="82"/>
                  <a:pt x="1106" y="82"/>
                </a:cubicBezTo>
                <a:cubicBezTo>
                  <a:pt x="1107" y="82"/>
                  <a:pt x="1107" y="82"/>
                  <a:pt x="1108" y="82"/>
                </a:cubicBezTo>
                <a:cubicBezTo>
                  <a:pt x="1108" y="82"/>
                  <a:pt x="1108" y="82"/>
                  <a:pt x="1108" y="82"/>
                </a:cubicBezTo>
                <a:cubicBezTo>
                  <a:pt x="1108" y="82"/>
                  <a:pt x="1109" y="82"/>
                  <a:pt x="1109" y="82"/>
                </a:cubicBezTo>
                <a:cubicBezTo>
                  <a:pt x="1110" y="81"/>
                  <a:pt x="1107" y="82"/>
                  <a:pt x="1110" y="81"/>
                </a:cubicBezTo>
                <a:cubicBezTo>
                  <a:pt x="1110" y="81"/>
                  <a:pt x="1111" y="81"/>
                  <a:pt x="1111" y="81"/>
                </a:cubicBezTo>
                <a:cubicBezTo>
                  <a:pt x="1111" y="80"/>
                  <a:pt x="1112" y="81"/>
                  <a:pt x="1112" y="80"/>
                </a:cubicBezTo>
                <a:cubicBezTo>
                  <a:pt x="1113" y="80"/>
                  <a:pt x="1114" y="81"/>
                  <a:pt x="1115" y="81"/>
                </a:cubicBezTo>
                <a:cubicBezTo>
                  <a:pt x="1116" y="80"/>
                  <a:pt x="1117" y="80"/>
                  <a:pt x="1117" y="79"/>
                </a:cubicBezTo>
                <a:cubicBezTo>
                  <a:pt x="1118" y="79"/>
                  <a:pt x="1120" y="78"/>
                  <a:pt x="1120" y="79"/>
                </a:cubicBezTo>
                <a:cubicBezTo>
                  <a:pt x="1120" y="79"/>
                  <a:pt x="1120" y="80"/>
                  <a:pt x="1121" y="80"/>
                </a:cubicBezTo>
                <a:cubicBezTo>
                  <a:pt x="1121" y="79"/>
                  <a:pt x="1121" y="79"/>
                  <a:pt x="1122" y="79"/>
                </a:cubicBezTo>
                <a:cubicBezTo>
                  <a:pt x="1122" y="79"/>
                  <a:pt x="1123" y="79"/>
                  <a:pt x="1123" y="78"/>
                </a:cubicBezTo>
                <a:cubicBezTo>
                  <a:pt x="1123" y="78"/>
                  <a:pt x="1124" y="79"/>
                  <a:pt x="1124" y="78"/>
                </a:cubicBezTo>
                <a:cubicBezTo>
                  <a:pt x="1124" y="77"/>
                  <a:pt x="1127" y="77"/>
                  <a:pt x="1127" y="77"/>
                </a:cubicBezTo>
                <a:cubicBezTo>
                  <a:pt x="1128" y="77"/>
                  <a:pt x="1128" y="77"/>
                  <a:pt x="1128" y="77"/>
                </a:cubicBezTo>
                <a:cubicBezTo>
                  <a:pt x="1128" y="77"/>
                  <a:pt x="1129" y="77"/>
                  <a:pt x="1130" y="77"/>
                </a:cubicBezTo>
                <a:cubicBezTo>
                  <a:pt x="1131" y="77"/>
                  <a:pt x="1130" y="77"/>
                  <a:pt x="1131" y="77"/>
                </a:cubicBezTo>
                <a:cubicBezTo>
                  <a:pt x="1132" y="77"/>
                  <a:pt x="1131" y="76"/>
                  <a:pt x="1132" y="76"/>
                </a:cubicBezTo>
                <a:cubicBezTo>
                  <a:pt x="1132" y="76"/>
                  <a:pt x="1132" y="76"/>
                  <a:pt x="1132" y="76"/>
                </a:cubicBezTo>
                <a:cubicBezTo>
                  <a:pt x="1133" y="76"/>
                  <a:pt x="1133" y="76"/>
                  <a:pt x="1134" y="76"/>
                </a:cubicBezTo>
                <a:cubicBezTo>
                  <a:pt x="1135" y="76"/>
                  <a:pt x="1134" y="75"/>
                  <a:pt x="1136" y="75"/>
                </a:cubicBezTo>
                <a:cubicBezTo>
                  <a:pt x="1137" y="75"/>
                  <a:pt x="1137" y="75"/>
                  <a:pt x="1137" y="74"/>
                </a:cubicBezTo>
                <a:cubicBezTo>
                  <a:pt x="1138" y="74"/>
                  <a:pt x="1138" y="74"/>
                  <a:pt x="1138" y="74"/>
                </a:cubicBezTo>
                <a:cubicBezTo>
                  <a:pt x="1138" y="74"/>
                  <a:pt x="1138" y="74"/>
                  <a:pt x="1138" y="73"/>
                </a:cubicBezTo>
                <a:cubicBezTo>
                  <a:pt x="1139" y="73"/>
                  <a:pt x="1139" y="73"/>
                  <a:pt x="1139" y="73"/>
                </a:cubicBezTo>
                <a:cubicBezTo>
                  <a:pt x="1140" y="73"/>
                  <a:pt x="1139" y="72"/>
                  <a:pt x="1140" y="72"/>
                </a:cubicBezTo>
                <a:cubicBezTo>
                  <a:pt x="1140" y="72"/>
                  <a:pt x="1139" y="71"/>
                  <a:pt x="1140" y="70"/>
                </a:cubicBezTo>
                <a:cubicBezTo>
                  <a:pt x="1140" y="70"/>
                  <a:pt x="1139" y="69"/>
                  <a:pt x="1138" y="69"/>
                </a:cubicBezTo>
                <a:cubicBezTo>
                  <a:pt x="1138" y="67"/>
                  <a:pt x="1138" y="67"/>
                  <a:pt x="1136" y="67"/>
                </a:cubicBezTo>
                <a:cubicBezTo>
                  <a:pt x="1136" y="67"/>
                  <a:pt x="1135" y="67"/>
                  <a:pt x="1135" y="68"/>
                </a:cubicBezTo>
                <a:cubicBezTo>
                  <a:pt x="1135" y="68"/>
                  <a:pt x="1134" y="69"/>
                  <a:pt x="1134" y="69"/>
                </a:cubicBezTo>
                <a:cubicBezTo>
                  <a:pt x="1133" y="69"/>
                  <a:pt x="1132" y="69"/>
                  <a:pt x="1131" y="70"/>
                </a:cubicBezTo>
                <a:cubicBezTo>
                  <a:pt x="1130" y="72"/>
                  <a:pt x="1130" y="70"/>
                  <a:pt x="1129" y="70"/>
                </a:cubicBezTo>
                <a:cubicBezTo>
                  <a:pt x="1129" y="70"/>
                  <a:pt x="1128" y="71"/>
                  <a:pt x="1128" y="71"/>
                </a:cubicBezTo>
                <a:cubicBezTo>
                  <a:pt x="1127" y="71"/>
                  <a:pt x="1128" y="71"/>
                  <a:pt x="1127" y="71"/>
                </a:cubicBezTo>
                <a:cubicBezTo>
                  <a:pt x="1127" y="71"/>
                  <a:pt x="1127" y="72"/>
                  <a:pt x="1126" y="72"/>
                </a:cubicBezTo>
                <a:cubicBezTo>
                  <a:pt x="1126" y="72"/>
                  <a:pt x="1125" y="72"/>
                  <a:pt x="1125" y="72"/>
                </a:cubicBezTo>
                <a:cubicBezTo>
                  <a:pt x="1125" y="72"/>
                  <a:pt x="1125" y="72"/>
                  <a:pt x="1124" y="72"/>
                </a:cubicBezTo>
                <a:cubicBezTo>
                  <a:pt x="1124" y="72"/>
                  <a:pt x="1123" y="73"/>
                  <a:pt x="1122" y="73"/>
                </a:cubicBezTo>
                <a:cubicBezTo>
                  <a:pt x="1122" y="73"/>
                  <a:pt x="1122" y="73"/>
                  <a:pt x="1122" y="73"/>
                </a:cubicBezTo>
                <a:cubicBezTo>
                  <a:pt x="1122" y="74"/>
                  <a:pt x="1121" y="74"/>
                  <a:pt x="1120" y="74"/>
                </a:cubicBezTo>
                <a:cubicBezTo>
                  <a:pt x="1120" y="74"/>
                  <a:pt x="1119" y="73"/>
                  <a:pt x="1119" y="74"/>
                </a:cubicBezTo>
                <a:cubicBezTo>
                  <a:pt x="1119" y="74"/>
                  <a:pt x="1117" y="75"/>
                  <a:pt x="1117" y="75"/>
                </a:cubicBezTo>
                <a:cubicBezTo>
                  <a:pt x="1116" y="75"/>
                  <a:pt x="1116" y="75"/>
                  <a:pt x="1115" y="74"/>
                </a:cubicBezTo>
                <a:cubicBezTo>
                  <a:pt x="1115" y="74"/>
                  <a:pt x="1114" y="74"/>
                  <a:pt x="1114" y="74"/>
                </a:cubicBezTo>
                <a:cubicBezTo>
                  <a:pt x="1114" y="74"/>
                  <a:pt x="1112" y="73"/>
                  <a:pt x="1111" y="73"/>
                </a:cubicBezTo>
                <a:cubicBezTo>
                  <a:pt x="1110" y="73"/>
                  <a:pt x="1109" y="73"/>
                  <a:pt x="1108" y="73"/>
                </a:cubicBezTo>
                <a:cubicBezTo>
                  <a:pt x="1108" y="74"/>
                  <a:pt x="1108" y="75"/>
                  <a:pt x="1108" y="76"/>
                </a:cubicBezTo>
                <a:cubicBezTo>
                  <a:pt x="1107" y="76"/>
                  <a:pt x="1107" y="76"/>
                  <a:pt x="1106" y="76"/>
                </a:cubicBezTo>
                <a:cubicBezTo>
                  <a:pt x="1105" y="76"/>
                  <a:pt x="1105" y="75"/>
                  <a:pt x="1105" y="76"/>
                </a:cubicBezTo>
                <a:cubicBezTo>
                  <a:pt x="1105" y="76"/>
                  <a:pt x="1104" y="76"/>
                  <a:pt x="1103" y="76"/>
                </a:cubicBezTo>
                <a:cubicBezTo>
                  <a:pt x="1103" y="76"/>
                  <a:pt x="1103" y="75"/>
                  <a:pt x="1103" y="76"/>
                </a:cubicBezTo>
                <a:cubicBezTo>
                  <a:pt x="1103" y="76"/>
                  <a:pt x="1102" y="76"/>
                  <a:pt x="1101" y="77"/>
                </a:cubicBezTo>
                <a:cubicBezTo>
                  <a:pt x="1101" y="77"/>
                  <a:pt x="1100" y="77"/>
                  <a:pt x="1100" y="77"/>
                </a:cubicBezTo>
                <a:cubicBezTo>
                  <a:pt x="1100" y="77"/>
                  <a:pt x="1099" y="77"/>
                  <a:pt x="1099" y="77"/>
                </a:cubicBezTo>
                <a:cubicBezTo>
                  <a:pt x="1098" y="77"/>
                  <a:pt x="1098" y="78"/>
                  <a:pt x="1098" y="78"/>
                </a:cubicBezTo>
                <a:cubicBezTo>
                  <a:pt x="1098" y="78"/>
                  <a:pt x="1098" y="78"/>
                  <a:pt x="1098" y="78"/>
                </a:cubicBezTo>
                <a:cubicBezTo>
                  <a:pt x="1097" y="79"/>
                  <a:pt x="1097" y="79"/>
                  <a:pt x="1096" y="79"/>
                </a:cubicBezTo>
                <a:cubicBezTo>
                  <a:pt x="1095" y="79"/>
                  <a:pt x="1094" y="79"/>
                  <a:pt x="1093" y="80"/>
                </a:cubicBezTo>
                <a:cubicBezTo>
                  <a:pt x="1093" y="81"/>
                  <a:pt x="1093" y="80"/>
                  <a:pt x="1092" y="81"/>
                </a:cubicBezTo>
                <a:cubicBezTo>
                  <a:pt x="1092" y="81"/>
                  <a:pt x="1092" y="81"/>
                  <a:pt x="1091" y="82"/>
                </a:cubicBezTo>
                <a:cubicBezTo>
                  <a:pt x="1091" y="82"/>
                  <a:pt x="1090" y="82"/>
                  <a:pt x="1090" y="81"/>
                </a:cubicBezTo>
                <a:cubicBezTo>
                  <a:pt x="1089" y="81"/>
                  <a:pt x="1088" y="81"/>
                  <a:pt x="1087" y="81"/>
                </a:cubicBezTo>
                <a:cubicBezTo>
                  <a:pt x="1087" y="81"/>
                  <a:pt x="1086" y="81"/>
                  <a:pt x="1086" y="81"/>
                </a:cubicBezTo>
                <a:cubicBezTo>
                  <a:pt x="1086" y="81"/>
                  <a:pt x="1084" y="83"/>
                  <a:pt x="1085" y="82"/>
                </a:cubicBezTo>
                <a:cubicBezTo>
                  <a:pt x="1085" y="82"/>
                  <a:pt x="1085" y="83"/>
                  <a:pt x="1085" y="83"/>
                </a:cubicBezTo>
                <a:cubicBezTo>
                  <a:pt x="1084" y="83"/>
                  <a:pt x="1083" y="84"/>
                  <a:pt x="1082" y="83"/>
                </a:cubicBezTo>
                <a:cubicBezTo>
                  <a:pt x="1081" y="83"/>
                  <a:pt x="1081" y="83"/>
                  <a:pt x="1080" y="84"/>
                </a:cubicBezTo>
                <a:cubicBezTo>
                  <a:pt x="1081" y="84"/>
                  <a:pt x="1083" y="84"/>
                  <a:pt x="1081" y="85"/>
                </a:cubicBezTo>
                <a:cubicBezTo>
                  <a:pt x="1080" y="85"/>
                  <a:pt x="1080" y="85"/>
                  <a:pt x="1080" y="86"/>
                </a:cubicBezTo>
                <a:cubicBezTo>
                  <a:pt x="1080" y="86"/>
                  <a:pt x="1081" y="87"/>
                  <a:pt x="1081" y="87"/>
                </a:cubicBezTo>
                <a:cubicBezTo>
                  <a:pt x="1081" y="87"/>
                  <a:pt x="1080" y="87"/>
                  <a:pt x="1079" y="87"/>
                </a:cubicBezTo>
                <a:cubicBezTo>
                  <a:pt x="1078" y="86"/>
                  <a:pt x="1078" y="86"/>
                  <a:pt x="1078" y="87"/>
                </a:cubicBezTo>
                <a:cubicBezTo>
                  <a:pt x="1077" y="87"/>
                  <a:pt x="1078" y="88"/>
                  <a:pt x="1077" y="89"/>
                </a:cubicBezTo>
                <a:cubicBezTo>
                  <a:pt x="1077" y="89"/>
                  <a:pt x="1076" y="88"/>
                  <a:pt x="1076" y="88"/>
                </a:cubicBezTo>
                <a:cubicBezTo>
                  <a:pt x="1076" y="89"/>
                  <a:pt x="1076" y="89"/>
                  <a:pt x="1076" y="90"/>
                </a:cubicBezTo>
                <a:cubicBezTo>
                  <a:pt x="1076" y="90"/>
                  <a:pt x="1075" y="91"/>
                  <a:pt x="1075" y="91"/>
                </a:cubicBezTo>
                <a:cubicBezTo>
                  <a:pt x="1074" y="89"/>
                  <a:pt x="1072" y="92"/>
                  <a:pt x="1072" y="92"/>
                </a:cubicBezTo>
                <a:cubicBezTo>
                  <a:pt x="1072" y="93"/>
                  <a:pt x="1071" y="92"/>
                  <a:pt x="1071" y="92"/>
                </a:cubicBezTo>
                <a:cubicBezTo>
                  <a:pt x="1070" y="93"/>
                  <a:pt x="1071" y="93"/>
                  <a:pt x="1070" y="93"/>
                </a:cubicBezTo>
                <a:cubicBezTo>
                  <a:pt x="1069" y="93"/>
                  <a:pt x="1068" y="93"/>
                  <a:pt x="1068" y="94"/>
                </a:cubicBezTo>
                <a:cubicBezTo>
                  <a:pt x="1069" y="95"/>
                  <a:pt x="1069" y="94"/>
                  <a:pt x="1070" y="95"/>
                </a:cubicBezTo>
                <a:cubicBezTo>
                  <a:pt x="1070" y="95"/>
                  <a:pt x="1072" y="95"/>
                  <a:pt x="1072" y="95"/>
                </a:cubicBezTo>
                <a:cubicBezTo>
                  <a:pt x="1073" y="95"/>
                  <a:pt x="1075" y="95"/>
                  <a:pt x="1074" y="95"/>
                </a:cubicBezTo>
                <a:cubicBezTo>
                  <a:pt x="1073" y="95"/>
                  <a:pt x="1073" y="95"/>
                  <a:pt x="1072" y="95"/>
                </a:cubicBezTo>
                <a:cubicBezTo>
                  <a:pt x="1072" y="95"/>
                  <a:pt x="1071" y="97"/>
                  <a:pt x="1071" y="97"/>
                </a:cubicBezTo>
                <a:cubicBezTo>
                  <a:pt x="1071" y="97"/>
                  <a:pt x="1071" y="98"/>
                  <a:pt x="1070" y="98"/>
                </a:cubicBezTo>
                <a:cubicBezTo>
                  <a:pt x="1071" y="98"/>
                  <a:pt x="1071" y="99"/>
                  <a:pt x="1071" y="99"/>
                </a:cubicBezTo>
                <a:cubicBezTo>
                  <a:pt x="1071" y="99"/>
                  <a:pt x="1073" y="98"/>
                  <a:pt x="1073" y="99"/>
                </a:cubicBezTo>
                <a:cubicBezTo>
                  <a:pt x="1073" y="99"/>
                  <a:pt x="1071" y="100"/>
                  <a:pt x="1071" y="101"/>
                </a:cubicBezTo>
                <a:cubicBezTo>
                  <a:pt x="1070" y="101"/>
                  <a:pt x="1068" y="100"/>
                  <a:pt x="1067" y="101"/>
                </a:cubicBezTo>
                <a:cubicBezTo>
                  <a:pt x="1067" y="101"/>
                  <a:pt x="1067" y="101"/>
                  <a:pt x="1066" y="101"/>
                </a:cubicBezTo>
                <a:cubicBezTo>
                  <a:pt x="1066" y="102"/>
                  <a:pt x="1067" y="102"/>
                  <a:pt x="1066" y="102"/>
                </a:cubicBezTo>
                <a:cubicBezTo>
                  <a:pt x="1066" y="103"/>
                  <a:pt x="1066" y="104"/>
                  <a:pt x="1067" y="105"/>
                </a:cubicBezTo>
                <a:cubicBezTo>
                  <a:pt x="1067" y="105"/>
                  <a:pt x="1068" y="106"/>
                  <a:pt x="1067" y="106"/>
                </a:cubicBezTo>
                <a:cubicBezTo>
                  <a:pt x="1065" y="106"/>
                  <a:pt x="1066" y="106"/>
                  <a:pt x="1066" y="107"/>
                </a:cubicBezTo>
                <a:cubicBezTo>
                  <a:pt x="1066" y="108"/>
                  <a:pt x="1065" y="108"/>
                  <a:pt x="1065" y="108"/>
                </a:cubicBezTo>
                <a:cubicBezTo>
                  <a:pt x="1065" y="109"/>
                  <a:pt x="1066" y="109"/>
                  <a:pt x="1065" y="110"/>
                </a:cubicBezTo>
                <a:cubicBezTo>
                  <a:pt x="1065" y="110"/>
                  <a:pt x="1065" y="110"/>
                  <a:pt x="1064" y="110"/>
                </a:cubicBezTo>
                <a:cubicBezTo>
                  <a:pt x="1064" y="110"/>
                  <a:pt x="1064" y="111"/>
                  <a:pt x="1064" y="111"/>
                </a:cubicBezTo>
                <a:cubicBezTo>
                  <a:pt x="1064" y="111"/>
                  <a:pt x="1063" y="110"/>
                  <a:pt x="1063" y="110"/>
                </a:cubicBezTo>
                <a:cubicBezTo>
                  <a:pt x="1061" y="110"/>
                  <a:pt x="1062" y="111"/>
                  <a:pt x="1061" y="112"/>
                </a:cubicBezTo>
                <a:cubicBezTo>
                  <a:pt x="1061" y="114"/>
                  <a:pt x="1061" y="112"/>
                  <a:pt x="1061" y="112"/>
                </a:cubicBezTo>
                <a:close/>
                <a:moveTo>
                  <a:pt x="386" y="67"/>
                </a:moveTo>
                <a:cubicBezTo>
                  <a:pt x="386" y="67"/>
                  <a:pt x="386" y="67"/>
                  <a:pt x="386" y="67"/>
                </a:cubicBezTo>
                <a:cubicBezTo>
                  <a:pt x="386" y="69"/>
                  <a:pt x="387" y="69"/>
                  <a:pt x="389" y="69"/>
                </a:cubicBezTo>
                <a:cubicBezTo>
                  <a:pt x="389" y="68"/>
                  <a:pt x="388" y="67"/>
                  <a:pt x="388" y="66"/>
                </a:cubicBezTo>
                <a:cubicBezTo>
                  <a:pt x="388" y="66"/>
                  <a:pt x="386" y="66"/>
                  <a:pt x="386" y="67"/>
                </a:cubicBezTo>
                <a:close/>
                <a:moveTo>
                  <a:pt x="323" y="66"/>
                </a:moveTo>
                <a:cubicBezTo>
                  <a:pt x="322" y="67"/>
                  <a:pt x="321" y="68"/>
                  <a:pt x="321" y="69"/>
                </a:cubicBezTo>
                <a:cubicBezTo>
                  <a:pt x="323" y="69"/>
                  <a:pt x="325" y="69"/>
                  <a:pt x="326" y="68"/>
                </a:cubicBezTo>
                <a:cubicBezTo>
                  <a:pt x="326" y="67"/>
                  <a:pt x="326" y="67"/>
                  <a:pt x="325" y="67"/>
                </a:cubicBezTo>
                <a:cubicBezTo>
                  <a:pt x="325" y="67"/>
                  <a:pt x="324" y="67"/>
                  <a:pt x="324" y="67"/>
                </a:cubicBezTo>
                <a:cubicBezTo>
                  <a:pt x="324" y="66"/>
                  <a:pt x="324" y="66"/>
                  <a:pt x="324" y="66"/>
                </a:cubicBezTo>
                <a:cubicBezTo>
                  <a:pt x="324" y="66"/>
                  <a:pt x="323" y="66"/>
                  <a:pt x="323" y="66"/>
                </a:cubicBezTo>
                <a:cubicBezTo>
                  <a:pt x="322" y="67"/>
                  <a:pt x="323" y="66"/>
                  <a:pt x="323" y="66"/>
                </a:cubicBezTo>
                <a:close/>
                <a:moveTo>
                  <a:pt x="347" y="66"/>
                </a:moveTo>
                <a:cubicBezTo>
                  <a:pt x="347" y="66"/>
                  <a:pt x="346" y="68"/>
                  <a:pt x="346" y="68"/>
                </a:cubicBezTo>
                <a:cubicBezTo>
                  <a:pt x="346" y="68"/>
                  <a:pt x="346" y="69"/>
                  <a:pt x="347" y="69"/>
                </a:cubicBezTo>
                <a:cubicBezTo>
                  <a:pt x="346" y="70"/>
                  <a:pt x="345" y="70"/>
                  <a:pt x="344" y="70"/>
                </a:cubicBezTo>
                <a:cubicBezTo>
                  <a:pt x="344" y="69"/>
                  <a:pt x="344" y="69"/>
                  <a:pt x="344" y="69"/>
                </a:cubicBezTo>
                <a:cubicBezTo>
                  <a:pt x="344" y="68"/>
                  <a:pt x="345" y="68"/>
                  <a:pt x="345" y="68"/>
                </a:cubicBezTo>
                <a:cubicBezTo>
                  <a:pt x="344" y="68"/>
                  <a:pt x="344" y="68"/>
                  <a:pt x="344" y="67"/>
                </a:cubicBezTo>
                <a:cubicBezTo>
                  <a:pt x="343" y="67"/>
                  <a:pt x="343" y="66"/>
                  <a:pt x="343" y="65"/>
                </a:cubicBezTo>
                <a:cubicBezTo>
                  <a:pt x="342" y="66"/>
                  <a:pt x="340" y="66"/>
                  <a:pt x="340" y="67"/>
                </a:cubicBezTo>
                <a:cubicBezTo>
                  <a:pt x="340" y="68"/>
                  <a:pt x="343" y="68"/>
                  <a:pt x="343" y="68"/>
                </a:cubicBezTo>
                <a:cubicBezTo>
                  <a:pt x="343" y="69"/>
                  <a:pt x="343" y="69"/>
                  <a:pt x="343" y="69"/>
                </a:cubicBezTo>
                <a:cubicBezTo>
                  <a:pt x="342" y="69"/>
                  <a:pt x="342" y="69"/>
                  <a:pt x="341" y="69"/>
                </a:cubicBezTo>
                <a:cubicBezTo>
                  <a:pt x="340" y="70"/>
                  <a:pt x="339" y="69"/>
                  <a:pt x="339" y="71"/>
                </a:cubicBezTo>
                <a:cubicBezTo>
                  <a:pt x="339" y="70"/>
                  <a:pt x="340" y="71"/>
                  <a:pt x="340" y="71"/>
                </a:cubicBezTo>
                <a:cubicBezTo>
                  <a:pt x="340" y="71"/>
                  <a:pt x="341" y="72"/>
                  <a:pt x="341" y="72"/>
                </a:cubicBezTo>
                <a:cubicBezTo>
                  <a:pt x="342" y="72"/>
                  <a:pt x="342" y="72"/>
                  <a:pt x="342" y="73"/>
                </a:cubicBezTo>
                <a:cubicBezTo>
                  <a:pt x="342" y="74"/>
                  <a:pt x="342" y="74"/>
                  <a:pt x="342" y="75"/>
                </a:cubicBezTo>
                <a:cubicBezTo>
                  <a:pt x="342" y="75"/>
                  <a:pt x="343" y="75"/>
                  <a:pt x="343" y="75"/>
                </a:cubicBezTo>
                <a:cubicBezTo>
                  <a:pt x="343" y="76"/>
                  <a:pt x="342" y="76"/>
                  <a:pt x="342" y="77"/>
                </a:cubicBezTo>
                <a:cubicBezTo>
                  <a:pt x="341" y="76"/>
                  <a:pt x="341" y="76"/>
                  <a:pt x="340" y="76"/>
                </a:cubicBezTo>
                <a:cubicBezTo>
                  <a:pt x="340" y="76"/>
                  <a:pt x="340" y="75"/>
                  <a:pt x="341" y="74"/>
                </a:cubicBezTo>
                <a:cubicBezTo>
                  <a:pt x="340" y="74"/>
                  <a:pt x="339" y="74"/>
                  <a:pt x="339" y="73"/>
                </a:cubicBezTo>
                <a:cubicBezTo>
                  <a:pt x="338" y="73"/>
                  <a:pt x="337" y="72"/>
                  <a:pt x="336" y="70"/>
                </a:cubicBezTo>
                <a:cubicBezTo>
                  <a:pt x="336" y="70"/>
                  <a:pt x="336" y="70"/>
                  <a:pt x="336" y="69"/>
                </a:cubicBezTo>
                <a:cubicBezTo>
                  <a:pt x="336" y="69"/>
                  <a:pt x="336" y="69"/>
                  <a:pt x="335" y="69"/>
                </a:cubicBezTo>
                <a:cubicBezTo>
                  <a:pt x="335" y="69"/>
                  <a:pt x="334" y="69"/>
                  <a:pt x="334" y="69"/>
                </a:cubicBezTo>
                <a:cubicBezTo>
                  <a:pt x="333" y="69"/>
                  <a:pt x="333" y="70"/>
                  <a:pt x="333" y="71"/>
                </a:cubicBezTo>
                <a:cubicBezTo>
                  <a:pt x="333" y="71"/>
                  <a:pt x="334" y="71"/>
                  <a:pt x="334" y="71"/>
                </a:cubicBezTo>
                <a:cubicBezTo>
                  <a:pt x="334" y="71"/>
                  <a:pt x="334" y="72"/>
                  <a:pt x="334" y="72"/>
                </a:cubicBezTo>
                <a:cubicBezTo>
                  <a:pt x="333" y="73"/>
                  <a:pt x="333" y="72"/>
                  <a:pt x="334" y="73"/>
                </a:cubicBezTo>
                <a:cubicBezTo>
                  <a:pt x="334" y="74"/>
                  <a:pt x="334" y="74"/>
                  <a:pt x="335" y="74"/>
                </a:cubicBezTo>
                <a:cubicBezTo>
                  <a:pt x="335" y="74"/>
                  <a:pt x="336" y="77"/>
                  <a:pt x="336" y="77"/>
                </a:cubicBezTo>
                <a:cubicBezTo>
                  <a:pt x="336" y="77"/>
                  <a:pt x="334" y="77"/>
                  <a:pt x="334" y="77"/>
                </a:cubicBezTo>
                <a:cubicBezTo>
                  <a:pt x="333" y="77"/>
                  <a:pt x="332" y="77"/>
                  <a:pt x="331" y="77"/>
                </a:cubicBezTo>
                <a:cubicBezTo>
                  <a:pt x="331" y="77"/>
                  <a:pt x="331" y="78"/>
                  <a:pt x="331" y="78"/>
                </a:cubicBezTo>
                <a:cubicBezTo>
                  <a:pt x="331" y="78"/>
                  <a:pt x="331" y="78"/>
                  <a:pt x="332" y="78"/>
                </a:cubicBezTo>
                <a:cubicBezTo>
                  <a:pt x="331" y="79"/>
                  <a:pt x="332" y="79"/>
                  <a:pt x="331" y="79"/>
                </a:cubicBezTo>
                <a:cubicBezTo>
                  <a:pt x="330" y="79"/>
                  <a:pt x="330" y="79"/>
                  <a:pt x="330" y="79"/>
                </a:cubicBezTo>
                <a:cubicBezTo>
                  <a:pt x="330" y="80"/>
                  <a:pt x="330" y="80"/>
                  <a:pt x="330" y="81"/>
                </a:cubicBezTo>
                <a:cubicBezTo>
                  <a:pt x="330" y="81"/>
                  <a:pt x="331" y="80"/>
                  <a:pt x="331" y="81"/>
                </a:cubicBezTo>
                <a:cubicBezTo>
                  <a:pt x="332" y="81"/>
                  <a:pt x="334" y="81"/>
                  <a:pt x="334" y="80"/>
                </a:cubicBezTo>
                <a:cubicBezTo>
                  <a:pt x="335" y="79"/>
                  <a:pt x="336" y="80"/>
                  <a:pt x="337" y="79"/>
                </a:cubicBezTo>
                <a:cubicBezTo>
                  <a:pt x="338" y="79"/>
                  <a:pt x="339" y="79"/>
                  <a:pt x="340" y="79"/>
                </a:cubicBezTo>
                <a:cubicBezTo>
                  <a:pt x="341" y="79"/>
                  <a:pt x="342" y="78"/>
                  <a:pt x="343" y="78"/>
                </a:cubicBezTo>
                <a:cubicBezTo>
                  <a:pt x="343" y="79"/>
                  <a:pt x="343" y="79"/>
                  <a:pt x="343" y="79"/>
                </a:cubicBezTo>
                <a:cubicBezTo>
                  <a:pt x="342" y="80"/>
                  <a:pt x="342" y="80"/>
                  <a:pt x="341" y="80"/>
                </a:cubicBezTo>
                <a:cubicBezTo>
                  <a:pt x="341" y="81"/>
                  <a:pt x="340" y="81"/>
                  <a:pt x="340" y="81"/>
                </a:cubicBezTo>
                <a:cubicBezTo>
                  <a:pt x="339" y="81"/>
                  <a:pt x="339" y="82"/>
                  <a:pt x="339" y="83"/>
                </a:cubicBezTo>
                <a:cubicBezTo>
                  <a:pt x="339" y="84"/>
                  <a:pt x="339" y="84"/>
                  <a:pt x="340" y="84"/>
                </a:cubicBezTo>
                <a:cubicBezTo>
                  <a:pt x="341" y="84"/>
                  <a:pt x="342" y="85"/>
                  <a:pt x="343" y="85"/>
                </a:cubicBezTo>
                <a:cubicBezTo>
                  <a:pt x="344" y="85"/>
                  <a:pt x="344" y="85"/>
                  <a:pt x="344" y="84"/>
                </a:cubicBezTo>
                <a:cubicBezTo>
                  <a:pt x="345" y="84"/>
                  <a:pt x="347" y="84"/>
                  <a:pt x="347" y="85"/>
                </a:cubicBezTo>
                <a:cubicBezTo>
                  <a:pt x="348" y="84"/>
                  <a:pt x="353" y="84"/>
                  <a:pt x="354" y="84"/>
                </a:cubicBezTo>
                <a:cubicBezTo>
                  <a:pt x="356" y="83"/>
                  <a:pt x="354" y="83"/>
                  <a:pt x="354" y="82"/>
                </a:cubicBezTo>
                <a:cubicBezTo>
                  <a:pt x="355" y="82"/>
                  <a:pt x="355" y="82"/>
                  <a:pt x="356" y="82"/>
                </a:cubicBezTo>
                <a:cubicBezTo>
                  <a:pt x="356" y="82"/>
                  <a:pt x="356" y="82"/>
                  <a:pt x="356" y="82"/>
                </a:cubicBezTo>
                <a:cubicBezTo>
                  <a:pt x="356" y="82"/>
                  <a:pt x="356" y="82"/>
                  <a:pt x="356" y="82"/>
                </a:cubicBezTo>
                <a:cubicBezTo>
                  <a:pt x="355" y="81"/>
                  <a:pt x="355" y="80"/>
                  <a:pt x="354" y="80"/>
                </a:cubicBezTo>
                <a:cubicBezTo>
                  <a:pt x="354" y="80"/>
                  <a:pt x="354" y="79"/>
                  <a:pt x="354" y="78"/>
                </a:cubicBezTo>
                <a:cubicBezTo>
                  <a:pt x="354" y="78"/>
                  <a:pt x="355" y="79"/>
                  <a:pt x="355" y="78"/>
                </a:cubicBezTo>
                <a:cubicBezTo>
                  <a:pt x="355" y="77"/>
                  <a:pt x="354" y="77"/>
                  <a:pt x="354" y="77"/>
                </a:cubicBezTo>
                <a:cubicBezTo>
                  <a:pt x="354" y="77"/>
                  <a:pt x="353" y="77"/>
                  <a:pt x="353" y="77"/>
                </a:cubicBezTo>
                <a:cubicBezTo>
                  <a:pt x="353" y="76"/>
                  <a:pt x="353" y="76"/>
                  <a:pt x="353" y="75"/>
                </a:cubicBezTo>
                <a:cubicBezTo>
                  <a:pt x="353" y="74"/>
                  <a:pt x="353" y="74"/>
                  <a:pt x="353" y="73"/>
                </a:cubicBezTo>
                <a:cubicBezTo>
                  <a:pt x="353" y="73"/>
                  <a:pt x="353" y="73"/>
                  <a:pt x="352" y="73"/>
                </a:cubicBezTo>
                <a:cubicBezTo>
                  <a:pt x="352" y="73"/>
                  <a:pt x="352" y="71"/>
                  <a:pt x="352" y="71"/>
                </a:cubicBezTo>
                <a:cubicBezTo>
                  <a:pt x="352" y="71"/>
                  <a:pt x="352" y="71"/>
                  <a:pt x="352" y="71"/>
                </a:cubicBezTo>
                <a:cubicBezTo>
                  <a:pt x="352" y="70"/>
                  <a:pt x="352" y="69"/>
                  <a:pt x="351" y="69"/>
                </a:cubicBezTo>
                <a:cubicBezTo>
                  <a:pt x="351" y="69"/>
                  <a:pt x="351" y="69"/>
                  <a:pt x="350" y="69"/>
                </a:cubicBezTo>
                <a:cubicBezTo>
                  <a:pt x="350" y="69"/>
                  <a:pt x="350" y="69"/>
                  <a:pt x="350" y="69"/>
                </a:cubicBezTo>
                <a:cubicBezTo>
                  <a:pt x="350" y="69"/>
                  <a:pt x="349" y="69"/>
                  <a:pt x="349" y="69"/>
                </a:cubicBezTo>
                <a:cubicBezTo>
                  <a:pt x="349" y="68"/>
                  <a:pt x="349" y="68"/>
                  <a:pt x="350" y="68"/>
                </a:cubicBezTo>
                <a:cubicBezTo>
                  <a:pt x="349" y="67"/>
                  <a:pt x="348" y="66"/>
                  <a:pt x="347" y="66"/>
                </a:cubicBezTo>
                <a:close/>
                <a:moveTo>
                  <a:pt x="272" y="65"/>
                </a:moveTo>
                <a:cubicBezTo>
                  <a:pt x="272" y="65"/>
                  <a:pt x="271" y="65"/>
                  <a:pt x="271" y="65"/>
                </a:cubicBezTo>
                <a:cubicBezTo>
                  <a:pt x="270" y="65"/>
                  <a:pt x="270" y="67"/>
                  <a:pt x="270" y="68"/>
                </a:cubicBezTo>
                <a:cubicBezTo>
                  <a:pt x="271" y="67"/>
                  <a:pt x="272" y="68"/>
                  <a:pt x="272" y="67"/>
                </a:cubicBezTo>
                <a:cubicBezTo>
                  <a:pt x="272" y="66"/>
                  <a:pt x="272" y="66"/>
                  <a:pt x="272" y="65"/>
                </a:cubicBezTo>
                <a:close/>
                <a:moveTo>
                  <a:pt x="392" y="88"/>
                </a:moveTo>
                <a:cubicBezTo>
                  <a:pt x="392" y="87"/>
                  <a:pt x="392" y="86"/>
                  <a:pt x="393" y="86"/>
                </a:cubicBezTo>
                <a:cubicBezTo>
                  <a:pt x="393" y="86"/>
                  <a:pt x="393" y="85"/>
                  <a:pt x="394" y="85"/>
                </a:cubicBezTo>
                <a:cubicBezTo>
                  <a:pt x="394" y="85"/>
                  <a:pt x="395" y="85"/>
                  <a:pt x="395" y="86"/>
                </a:cubicBezTo>
                <a:cubicBezTo>
                  <a:pt x="395" y="86"/>
                  <a:pt x="395" y="87"/>
                  <a:pt x="395" y="87"/>
                </a:cubicBezTo>
                <a:cubicBezTo>
                  <a:pt x="395" y="87"/>
                  <a:pt x="395" y="88"/>
                  <a:pt x="395" y="88"/>
                </a:cubicBezTo>
                <a:cubicBezTo>
                  <a:pt x="396" y="88"/>
                  <a:pt x="397" y="88"/>
                  <a:pt x="397" y="89"/>
                </a:cubicBezTo>
                <a:cubicBezTo>
                  <a:pt x="399" y="89"/>
                  <a:pt x="397" y="88"/>
                  <a:pt x="398" y="88"/>
                </a:cubicBezTo>
                <a:cubicBezTo>
                  <a:pt x="399" y="88"/>
                  <a:pt x="400" y="88"/>
                  <a:pt x="400" y="88"/>
                </a:cubicBezTo>
                <a:cubicBezTo>
                  <a:pt x="400" y="88"/>
                  <a:pt x="400" y="88"/>
                  <a:pt x="401" y="88"/>
                </a:cubicBezTo>
                <a:cubicBezTo>
                  <a:pt x="401" y="88"/>
                  <a:pt x="402" y="88"/>
                  <a:pt x="402" y="88"/>
                </a:cubicBezTo>
                <a:cubicBezTo>
                  <a:pt x="402" y="88"/>
                  <a:pt x="403" y="88"/>
                  <a:pt x="403" y="88"/>
                </a:cubicBezTo>
                <a:cubicBezTo>
                  <a:pt x="403" y="87"/>
                  <a:pt x="403" y="87"/>
                  <a:pt x="404" y="87"/>
                </a:cubicBezTo>
                <a:cubicBezTo>
                  <a:pt x="405" y="87"/>
                  <a:pt x="405" y="87"/>
                  <a:pt x="405" y="88"/>
                </a:cubicBezTo>
                <a:cubicBezTo>
                  <a:pt x="405" y="89"/>
                  <a:pt x="405" y="88"/>
                  <a:pt x="406" y="88"/>
                </a:cubicBezTo>
                <a:cubicBezTo>
                  <a:pt x="407" y="88"/>
                  <a:pt x="407" y="88"/>
                  <a:pt x="408" y="88"/>
                </a:cubicBezTo>
                <a:cubicBezTo>
                  <a:pt x="409" y="88"/>
                  <a:pt x="409" y="88"/>
                  <a:pt x="409" y="88"/>
                </a:cubicBezTo>
                <a:cubicBezTo>
                  <a:pt x="410" y="88"/>
                  <a:pt x="409" y="87"/>
                  <a:pt x="409" y="87"/>
                </a:cubicBezTo>
                <a:cubicBezTo>
                  <a:pt x="410" y="87"/>
                  <a:pt x="409" y="88"/>
                  <a:pt x="410" y="88"/>
                </a:cubicBezTo>
                <a:cubicBezTo>
                  <a:pt x="411" y="88"/>
                  <a:pt x="411" y="87"/>
                  <a:pt x="412" y="88"/>
                </a:cubicBezTo>
                <a:cubicBezTo>
                  <a:pt x="412" y="88"/>
                  <a:pt x="414" y="88"/>
                  <a:pt x="414" y="88"/>
                </a:cubicBezTo>
                <a:cubicBezTo>
                  <a:pt x="414" y="87"/>
                  <a:pt x="416" y="88"/>
                  <a:pt x="416" y="88"/>
                </a:cubicBezTo>
                <a:cubicBezTo>
                  <a:pt x="417" y="88"/>
                  <a:pt x="417" y="88"/>
                  <a:pt x="418" y="88"/>
                </a:cubicBezTo>
                <a:cubicBezTo>
                  <a:pt x="418" y="88"/>
                  <a:pt x="418" y="88"/>
                  <a:pt x="418" y="88"/>
                </a:cubicBezTo>
                <a:cubicBezTo>
                  <a:pt x="418" y="87"/>
                  <a:pt x="420" y="88"/>
                  <a:pt x="420" y="88"/>
                </a:cubicBezTo>
                <a:cubicBezTo>
                  <a:pt x="420" y="87"/>
                  <a:pt x="420" y="87"/>
                  <a:pt x="421" y="87"/>
                </a:cubicBezTo>
                <a:cubicBezTo>
                  <a:pt x="421" y="87"/>
                  <a:pt x="420" y="87"/>
                  <a:pt x="420" y="86"/>
                </a:cubicBezTo>
                <a:cubicBezTo>
                  <a:pt x="420" y="86"/>
                  <a:pt x="421" y="86"/>
                  <a:pt x="420" y="85"/>
                </a:cubicBezTo>
                <a:cubicBezTo>
                  <a:pt x="422" y="85"/>
                  <a:pt x="421" y="85"/>
                  <a:pt x="422" y="87"/>
                </a:cubicBezTo>
                <a:cubicBezTo>
                  <a:pt x="422" y="87"/>
                  <a:pt x="423" y="87"/>
                  <a:pt x="423" y="88"/>
                </a:cubicBezTo>
                <a:cubicBezTo>
                  <a:pt x="424" y="87"/>
                  <a:pt x="425" y="88"/>
                  <a:pt x="425" y="87"/>
                </a:cubicBezTo>
                <a:cubicBezTo>
                  <a:pt x="425" y="86"/>
                  <a:pt x="426" y="88"/>
                  <a:pt x="426" y="88"/>
                </a:cubicBezTo>
                <a:cubicBezTo>
                  <a:pt x="426" y="88"/>
                  <a:pt x="427" y="87"/>
                  <a:pt x="427" y="87"/>
                </a:cubicBezTo>
                <a:cubicBezTo>
                  <a:pt x="427" y="87"/>
                  <a:pt x="427" y="88"/>
                  <a:pt x="427" y="88"/>
                </a:cubicBezTo>
                <a:cubicBezTo>
                  <a:pt x="427" y="88"/>
                  <a:pt x="428" y="88"/>
                  <a:pt x="428" y="88"/>
                </a:cubicBezTo>
                <a:cubicBezTo>
                  <a:pt x="429" y="88"/>
                  <a:pt x="430" y="87"/>
                  <a:pt x="431" y="87"/>
                </a:cubicBezTo>
                <a:cubicBezTo>
                  <a:pt x="432" y="87"/>
                  <a:pt x="436" y="88"/>
                  <a:pt x="436" y="85"/>
                </a:cubicBezTo>
                <a:cubicBezTo>
                  <a:pt x="435" y="85"/>
                  <a:pt x="435" y="84"/>
                  <a:pt x="435" y="84"/>
                </a:cubicBezTo>
                <a:cubicBezTo>
                  <a:pt x="436" y="84"/>
                  <a:pt x="436" y="84"/>
                  <a:pt x="437" y="83"/>
                </a:cubicBezTo>
                <a:cubicBezTo>
                  <a:pt x="438" y="82"/>
                  <a:pt x="437" y="83"/>
                  <a:pt x="438" y="82"/>
                </a:cubicBezTo>
                <a:cubicBezTo>
                  <a:pt x="438" y="82"/>
                  <a:pt x="438" y="82"/>
                  <a:pt x="439" y="82"/>
                </a:cubicBezTo>
                <a:cubicBezTo>
                  <a:pt x="439" y="82"/>
                  <a:pt x="439" y="82"/>
                  <a:pt x="439" y="82"/>
                </a:cubicBezTo>
                <a:cubicBezTo>
                  <a:pt x="439" y="81"/>
                  <a:pt x="439" y="81"/>
                  <a:pt x="439" y="81"/>
                </a:cubicBezTo>
                <a:cubicBezTo>
                  <a:pt x="439" y="81"/>
                  <a:pt x="439" y="79"/>
                  <a:pt x="438" y="79"/>
                </a:cubicBezTo>
                <a:cubicBezTo>
                  <a:pt x="438" y="79"/>
                  <a:pt x="438" y="79"/>
                  <a:pt x="438" y="79"/>
                </a:cubicBezTo>
                <a:cubicBezTo>
                  <a:pt x="437" y="79"/>
                  <a:pt x="437" y="79"/>
                  <a:pt x="437" y="79"/>
                </a:cubicBezTo>
                <a:cubicBezTo>
                  <a:pt x="436" y="78"/>
                  <a:pt x="436" y="79"/>
                  <a:pt x="436" y="78"/>
                </a:cubicBezTo>
                <a:cubicBezTo>
                  <a:pt x="436" y="78"/>
                  <a:pt x="435" y="78"/>
                  <a:pt x="435" y="78"/>
                </a:cubicBezTo>
                <a:cubicBezTo>
                  <a:pt x="434" y="78"/>
                  <a:pt x="435" y="77"/>
                  <a:pt x="434" y="77"/>
                </a:cubicBezTo>
                <a:cubicBezTo>
                  <a:pt x="434" y="77"/>
                  <a:pt x="433" y="77"/>
                  <a:pt x="433" y="77"/>
                </a:cubicBezTo>
                <a:cubicBezTo>
                  <a:pt x="433" y="77"/>
                  <a:pt x="433" y="77"/>
                  <a:pt x="433" y="77"/>
                </a:cubicBezTo>
                <a:cubicBezTo>
                  <a:pt x="432" y="77"/>
                  <a:pt x="431" y="78"/>
                  <a:pt x="430" y="77"/>
                </a:cubicBezTo>
                <a:cubicBezTo>
                  <a:pt x="430" y="77"/>
                  <a:pt x="428" y="77"/>
                  <a:pt x="428" y="77"/>
                </a:cubicBezTo>
                <a:cubicBezTo>
                  <a:pt x="428" y="76"/>
                  <a:pt x="428" y="76"/>
                  <a:pt x="428" y="76"/>
                </a:cubicBezTo>
                <a:cubicBezTo>
                  <a:pt x="428" y="75"/>
                  <a:pt x="426" y="75"/>
                  <a:pt x="426" y="75"/>
                </a:cubicBezTo>
                <a:cubicBezTo>
                  <a:pt x="426" y="75"/>
                  <a:pt x="423" y="75"/>
                  <a:pt x="422" y="75"/>
                </a:cubicBezTo>
                <a:cubicBezTo>
                  <a:pt x="422" y="76"/>
                  <a:pt x="421" y="77"/>
                  <a:pt x="421" y="76"/>
                </a:cubicBezTo>
                <a:cubicBezTo>
                  <a:pt x="421" y="76"/>
                  <a:pt x="419" y="75"/>
                  <a:pt x="419" y="75"/>
                </a:cubicBezTo>
                <a:cubicBezTo>
                  <a:pt x="419" y="75"/>
                  <a:pt x="417" y="75"/>
                  <a:pt x="417" y="75"/>
                </a:cubicBezTo>
                <a:cubicBezTo>
                  <a:pt x="417" y="76"/>
                  <a:pt x="415" y="76"/>
                  <a:pt x="415" y="76"/>
                </a:cubicBezTo>
                <a:cubicBezTo>
                  <a:pt x="415" y="76"/>
                  <a:pt x="415" y="75"/>
                  <a:pt x="414" y="76"/>
                </a:cubicBezTo>
                <a:cubicBezTo>
                  <a:pt x="414" y="77"/>
                  <a:pt x="414" y="76"/>
                  <a:pt x="413" y="76"/>
                </a:cubicBezTo>
                <a:cubicBezTo>
                  <a:pt x="411" y="76"/>
                  <a:pt x="410" y="77"/>
                  <a:pt x="409" y="77"/>
                </a:cubicBezTo>
                <a:cubicBezTo>
                  <a:pt x="408" y="77"/>
                  <a:pt x="407" y="77"/>
                  <a:pt x="407" y="78"/>
                </a:cubicBezTo>
                <a:cubicBezTo>
                  <a:pt x="407" y="78"/>
                  <a:pt x="405" y="78"/>
                  <a:pt x="405" y="78"/>
                </a:cubicBezTo>
                <a:cubicBezTo>
                  <a:pt x="405" y="78"/>
                  <a:pt x="404" y="78"/>
                  <a:pt x="404" y="78"/>
                </a:cubicBezTo>
                <a:cubicBezTo>
                  <a:pt x="404" y="78"/>
                  <a:pt x="403" y="78"/>
                  <a:pt x="403" y="77"/>
                </a:cubicBezTo>
                <a:cubicBezTo>
                  <a:pt x="402" y="77"/>
                  <a:pt x="402" y="77"/>
                  <a:pt x="401" y="77"/>
                </a:cubicBezTo>
                <a:cubicBezTo>
                  <a:pt x="401" y="77"/>
                  <a:pt x="401" y="78"/>
                  <a:pt x="401" y="79"/>
                </a:cubicBezTo>
                <a:cubicBezTo>
                  <a:pt x="400" y="78"/>
                  <a:pt x="400" y="78"/>
                  <a:pt x="399" y="78"/>
                </a:cubicBezTo>
                <a:cubicBezTo>
                  <a:pt x="399" y="78"/>
                  <a:pt x="398" y="79"/>
                  <a:pt x="398" y="78"/>
                </a:cubicBezTo>
                <a:cubicBezTo>
                  <a:pt x="398" y="77"/>
                  <a:pt x="396" y="77"/>
                  <a:pt x="395" y="77"/>
                </a:cubicBezTo>
                <a:cubicBezTo>
                  <a:pt x="394" y="77"/>
                  <a:pt x="394" y="76"/>
                  <a:pt x="393" y="76"/>
                </a:cubicBezTo>
                <a:cubicBezTo>
                  <a:pt x="393" y="77"/>
                  <a:pt x="393" y="77"/>
                  <a:pt x="392" y="77"/>
                </a:cubicBezTo>
                <a:cubicBezTo>
                  <a:pt x="392" y="77"/>
                  <a:pt x="392" y="75"/>
                  <a:pt x="392" y="75"/>
                </a:cubicBezTo>
                <a:cubicBezTo>
                  <a:pt x="391" y="74"/>
                  <a:pt x="390" y="76"/>
                  <a:pt x="390" y="76"/>
                </a:cubicBezTo>
                <a:cubicBezTo>
                  <a:pt x="390" y="75"/>
                  <a:pt x="391" y="74"/>
                  <a:pt x="389" y="75"/>
                </a:cubicBezTo>
                <a:cubicBezTo>
                  <a:pt x="388" y="75"/>
                  <a:pt x="387" y="76"/>
                  <a:pt x="386" y="76"/>
                </a:cubicBezTo>
                <a:cubicBezTo>
                  <a:pt x="386" y="75"/>
                  <a:pt x="387" y="75"/>
                  <a:pt x="387" y="74"/>
                </a:cubicBezTo>
                <a:cubicBezTo>
                  <a:pt x="387" y="74"/>
                  <a:pt x="386" y="74"/>
                  <a:pt x="386" y="74"/>
                </a:cubicBezTo>
                <a:cubicBezTo>
                  <a:pt x="386" y="73"/>
                  <a:pt x="387" y="74"/>
                  <a:pt x="388" y="74"/>
                </a:cubicBezTo>
                <a:cubicBezTo>
                  <a:pt x="388" y="74"/>
                  <a:pt x="388" y="74"/>
                  <a:pt x="389" y="74"/>
                </a:cubicBezTo>
                <a:cubicBezTo>
                  <a:pt x="389" y="73"/>
                  <a:pt x="389" y="73"/>
                  <a:pt x="390" y="73"/>
                </a:cubicBezTo>
                <a:cubicBezTo>
                  <a:pt x="391" y="73"/>
                  <a:pt x="391" y="72"/>
                  <a:pt x="391" y="72"/>
                </a:cubicBezTo>
                <a:cubicBezTo>
                  <a:pt x="391" y="72"/>
                  <a:pt x="387" y="70"/>
                  <a:pt x="387" y="71"/>
                </a:cubicBezTo>
                <a:cubicBezTo>
                  <a:pt x="387" y="70"/>
                  <a:pt x="387" y="70"/>
                  <a:pt x="386" y="70"/>
                </a:cubicBezTo>
                <a:cubicBezTo>
                  <a:pt x="386" y="69"/>
                  <a:pt x="385" y="70"/>
                  <a:pt x="384" y="69"/>
                </a:cubicBezTo>
                <a:cubicBezTo>
                  <a:pt x="383" y="69"/>
                  <a:pt x="383" y="68"/>
                  <a:pt x="383" y="68"/>
                </a:cubicBezTo>
                <a:cubicBezTo>
                  <a:pt x="382" y="68"/>
                  <a:pt x="382" y="68"/>
                  <a:pt x="381" y="68"/>
                </a:cubicBezTo>
                <a:cubicBezTo>
                  <a:pt x="381" y="68"/>
                  <a:pt x="381" y="68"/>
                  <a:pt x="381" y="68"/>
                </a:cubicBezTo>
                <a:cubicBezTo>
                  <a:pt x="380" y="68"/>
                  <a:pt x="380" y="68"/>
                  <a:pt x="380" y="68"/>
                </a:cubicBezTo>
                <a:cubicBezTo>
                  <a:pt x="379" y="68"/>
                  <a:pt x="375" y="69"/>
                  <a:pt x="375" y="68"/>
                </a:cubicBezTo>
                <a:cubicBezTo>
                  <a:pt x="375" y="68"/>
                  <a:pt x="375" y="68"/>
                  <a:pt x="374" y="69"/>
                </a:cubicBezTo>
                <a:cubicBezTo>
                  <a:pt x="374" y="68"/>
                  <a:pt x="374" y="67"/>
                  <a:pt x="373" y="67"/>
                </a:cubicBezTo>
                <a:cubicBezTo>
                  <a:pt x="372" y="66"/>
                  <a:pt x="372" y="66"/>
                  <a:pt x="371" y="66"/>
                </a:cubicBezTo>
                <a:cubicBezTo>
                  <a:pt x="369" y="66"/>
                  <a:pt x="367" y="66"/>
                  <a:pt x="365" y="65"/>
                </a:cubicBezTo>
                <a:cubicBezTo>
                  <a:pt x="364" y="64"/>
                  <a:pt x="364" y="65"/>
                  <a:pt x="363" y="65"/>
                </a:cubicBezTo>
                <a:cubicBezTo>
                  <a:pt x="363" y="64"/>
                  <a:pt x="362" y="64"/>
                  <a:pt x="361" y="65"/>
                </a:cubicBezTo>
                <a:cubicBezTo>
                  <a:pt x="361" y="65"/>
                  <a:pt x="360" y="66"/>
                  <a:pt x="360" y="66"/>
                </a:cubicBezTo>
                <a:cubicBezTo>
                  <a:pt x="359" y="67"/>
                  <a:pt x="359" y="67"/>
                  <a:pt x="360" y="68"/>
                </a:cubicBezTo>
                <a:cubicBezTo>
                  <a:pt x="361" y="68"/>
                  <a:pt x="360" y="68"/>
                  <a:pt x="361" y="68"/>
                </a:cubicBezTo>
                <a:cubicBezTo>
                  <a:pt x="361" y="68"/>
                  <a:pt x="361" y="69"/>
                  <a:pt x="361" y="69"/>
                </a:cubicBezTo>
                <a:cubicBezTo>
                  <a:pt x="362" y="69"/>
                  <a:pt x="361" y="69"/>
                  <a:pt x="362" y="69"/>
                </a:cubicBezTo>
                <a:cubicBezTo>
                  <a:pt x="362" y="69"/>
                  <a:pt x="362" y="70"/>
                  <a:pt x="362" y="70"/>
                </a:cubicBezTo>
                <a:cubicBezTo>
                  <a:pt x="363" y="71"/>
                  <a:pt x="363" y="71"/>
                  <a:pt x="363" y="71"/>
                </a:cubicBezTo>
                <a:cubicBezTo>
                  <a:pt x="364" y="71"/>
                  <a:pt x="364" y="71"/>
                  <a:pt x="364" y="71"/>
                </a:cubicBezTo>
                <a:cubicBezTo>
                  <a:pt x="365" y="71"/>
                  <a:pt x="366" y="71"/>
                  <a:pt x="367" y="71"/>
                </a:cubicBezTo>
                <a:cubicBezTo>
                  <a:pt x="368" y="71"/>
                  <a:pt x="370" y="73"/>
                  <a:pt x="371" y="73"/>
                </a:cubicBezTo>
                <a:cubicBezTo>
                  <a:pt x="372" y="73"/>
                  <a:pt x="372" y="71"/>
                  <a:pt x="373" y="71"/>
                </a:cubicBezTo>
                <a:cubicBezTo>
                  <a:pt x="373" y="71"/>
                  <a:pt x="374" y="71"/>
                  <a:pt x="374" y="72"/>
                </a:cubicBezTo>
                <a:cubicBezTo>
                  <a:pt x="374" y="72"/>
                  <a:pt x="374" y="72"/>
                  <a:pt x="374" y="72"/>
                </a:cubicBezTo>
                <a:cubicBezTo>
                  <a:pt x="375" y="72"/>
                  <a:pt x="375" y="72"/>
                  <a:pt x="376" y="72"/>
                </a:cubicBezTo>
                <a:cubicBezTo>
                  <a:pt x="376" y="72"/>
                  <a:pt x="376" y="73"/>
                  <a:pt x="376" y="73"/>
                </a:cubicBezTo>
                <a:cubicBezTo>
                  <a:pt x="377" y="73"/>
                  <a:pt x="377" y="73"/>
                  <a:pt x="377" y="73"/>
                </a:cubicBezTo>
                <a:cubicBezTo>
                  <a:pt x="378" y="73"/>
                  <a:pt x="378" y="73"/>
                  <a:pt x="378" y="73"/>
                </a:cubicBezTo>
                <a:cubicBezTo>
                  <a:pt x="378" y="73"/>
                  <a:pt x="378" y="74"/>
                  <a:pt x="378" y="74"/>
                </a:cubicBezTo>
                <a:cubicBezTo>
                  <a:pt x="379" y="74"/>
                  <a:pt x="380" y="74"/>
                  <a:pt x="380" y="75"/>
                </a:cubicBezTo>
                <a:cubicBezTo>
                  <a:pt x="380" y="75"/>
                  <a:pt x="380" y="76"/>
                  <a:pt x="381" y="76"/>
                </a:cubicBezTo>
                <a:cubicBezTo>
                  <a:pt x="382" y="76"/>
                  <a:pt x="381" y="78"/>
                  <a:pt x="381" y="79"/>
                </a:cubicBezTo>
                <a:cubicBezTo>
                  <a:pt x="381" y="79"/>
                  <a:pt x="381" y="81"/>
                  <a:pt x="380" y="80"/>
                </a:cubicBezTo>
                <a:cubicBezTo>
                  <a:pt x="380" y="81"/>
                  <a:pt x="381" y="82"/>
                  <a:pt x="381" y="82"/>
                </a:cubicBezTo>
                <a:cubicBezTo>
                  <a:pt x="381" y="83"/>
                  <a:pt x="381" y="83"/>
                  <a:pt x="380" y="83"/>
                </a:cubicBezTo>
                <a:cubicBezTo>
                  <a:pt x="380" y="84"/>
                  <a:pt x="380" y="84"/>
                  <a:pt x="380" y="84"/>
                </a:cubicBezTo>
                <a:cubicBezTo>
                  <a:pt x="380" y="85"/>
                  <a:pt x="380" y="85"/>
                  <a:pt x="380" y="85"/>
                </a:cubicBezTo>
                <a:cubicBezTo>
                  <a:pt x="380" y="86"/>
                  <a:pt x="381" y="86"/>
                  <a:pt x="381" y="87"/>
                </a:cubicBezTo>
                <a:cubicBezTo>
                  <a:pt x="381" y="87"/>
                  <a:pt x="381" y="88"/>
                  <a:pt x="381" y="89"/>
                </a:cubicBezTo>
                <a:cubicBezTo>
                  <a:pt x="381" y="90"/>
                  <a:pt x="383" y="89"/>
                  <a:pt x="384" y="88"/>
                </a:cubicBezTo>
                <a:cubicBezTo>
                  <a:pt x="384" y="87"/>
                  <a:pt x="385" y="88"/>
                  <a:pt x="385" y="88"/>
                </a:cubicBezTo>
                <a:cubicBezTo>
                  <a:pt x="386" y="88"/>
                  <a:pt x="386" y="89"/>
                  <a:pt x="386" y="89"/>
                </a:cubicBezTo>
                <a:cubicBezTo>
                  <a:pt x="388" y="89"/>
                  <a:pt x="390" y="88"/>
                  <a:pt x="392" y="88"/>
                </a:cubicBezTo>
                <a:cubicBezTo>
                  <a:pt x="392" y="87"/>
                  <a:pt x="392" y="88"/>
                  <a:pt x="392" y="88"/>
                </a:cubicBezTo>
                <a:close/>
                <a:moveTo>
                  <a:pt x="273" y="72"/>
                </a:moveTo>
                <a:cubicBezTo>
                  <a:pt x="273" y="73"/>
                  <a:pt x="272" y="72"/>
                  <a:pt x="272" y="72"/>
                </a:cubicBezTo>
                <a:cubicBezTo>
                  <a:pt x="272" y="71"/>
                  <a:pt x="271" y="71"/>
                  <a:pt x="270" y="71"/>
                </a:cubicBezTo>
                <a:cubicBezTo>
                  <a:pt x="269" y="71"/>
                  <a:pt x="267" y="73"/>
                  <a:pt x="267" y="72"/>
                </a:cubicBezTo>
                <a:cubicBezTo>
                  <a:pt x="266" y="72"/>
                  <a:pt x="265" y="72"/>
                  <a:pt x="265" y="73"/>
                </a:cubicBezTo>
                <a:cubicBezTo>
                  <a:pt x="265" y="74"/>
                  <a:pt x="264" y="76"/>
                  <a:pt x="265" y="76"/>
                </a:cubicBezTo>
                <a:cubicBezTo>
                  <a:pt x="265" y="76"/>
                  <a:pt x="267" y="75"/>
                  <a:pt x="267" y="76"/>
                </a:cubicBezTo>
                <a:cubicBezTo>
                  <a:pt x="267" y="76"/>
                  <a:pt x="266" y="77"/>
                  <a:pt x="265" y="77"/>
                </a:cubicBezTo>
                <a:cubicBezTo>
                  <a:pt x="264" y="77"/>
                  <a:pt x="264" y="77"/>
                  <a:pt x="263" y="77"/>
                </a:cubicBezTo>
                <a:cubicBezTo>
                  <a:pt x="263" y="77"/>
                  <a:pt x="263" y="77"/>
                  <a:pt x="262" y="77"/>
                </a:cubicBezTo>
                <a:cubicBezTo>
                  <a:pt x="262" y="78"/>
                  <a:pt x="262" y="78"/>
                  <a:pt x="263" y="79"/>
                </a:cubicBezTo>
                <a:cubicBezTo>
                  <a:pt x="264" y="79"/>
                  <a:pt x="266" y="78"/>
                  <a:pt x="267" y="78"/>
                </a:cubicBezTo>
                <a:cubicBezTo>
                  <a:pt x="266" y="80"/>
                  <a:pt x="264" y="80"/>
                  <a:pt x="262" y="80"/>
                </a:cubicBezTo>
                <a:cubicBezTo>
                  <a:pt x="261" y="80"/>
                  <a:pt x="261" y="82"/>
                  <a:pt x="262" y="82"/>
                </a:cubicBezTo>
                <a:cubicBezTo>
                  <a:pt x="263" y="82"/>
                  <a:pt x="263" y="83"/>
                  <a:pt x="264" y="82"/>
                </a:cubicBezTo>
                <a:cubicBezTo>
                  <a:pt x="264" y="82"/>
                  <a:pt x="264" y="82"/>
                  <a:pt x="265" y="82"/>
                </a:cubicBezTo>
                <a:cubicBezTo>
                  <a:pt x="265" y="82"/>
                  <a:pt x="266" y="82"/>
                  <a:pt x="266" y="81"/>
                </a:cubicBezTo>
                <a:cubicBezTo>
                  <a:pt x="268" y="82"/>
                  <a:pt x="268" y="82"/>
                  <a:pt x="268" y="83"/>
                </a:cubicBezTo>
                <a:cubicBezTo>
                  <a:pt x="268" y="83"/>
                  <a:pt x="269" y="83"/>
                  <a:pt x="269" y="83"/>
                </a:cubicBezTo>
                <a:cubicBezTo>
                  <a:pt x="269" y="82"/>
                  <a:pt x="269" y="82"/>
                  <a:pt x="269" y="81"/>
                </a:cubicBezTo>
                <a:cubicBezTo>
                  <a:pt x="269" y="81"/>
                  <a:pt x="270" y="81"/>
                  <a:pt x="270" y="81"/>
                </a:cubicBezTo>
                <a:cubicBezTo>
                  <a:pt x="270" y="82"/>
                  <a:pt x="270" y="83"/>
                  <a:pt x="271" y="83"/>
                </a:cubicBezTo>
                <a:cubicBezTo>
                  <a:pt x="272" y="83"/>
                  <a:pt x="272" y="83"/>
                  <a:pt x="272" y="83"/>
                </a:cubicBezTo>
                <a:cubicBezTo>
                  <a:pt x="272" y="82"/>
                  <a:pt x="273" y="83"/>
                  <a:pt x="273" y="81"/>
                </a:cubicBezTo>
                <a:cubicBezTo>
                  <a:pt x="273" y="81"/>
                  <a:pt x="272" y="80"/>
                  <a:pt x="273" y="80"/>
                </a:cubicBezTo>
                <a:cubicBezTo>
                  <a:pt x="274" y="79"/>
                  <a:pt x="273" y="78"/>
                  <a:pt x="273" y="77"/>
                </a:cubicBezTo>
                <a:cubicBezTo>
                  <a:pt x="274" y="77"/>
                  <a:pt x="275" y="77"/>
                  <a:pt x="275" y="78"/>
                </a:cubicBezTo>
                <a:cubicBezTo>
                  <a:pt x="274" y="79"/>
                  <a:pt x="274" y="80"/>
                  <a:pt x="274" y="82"/>
                </a:cubicBezTo>
                <a:cubicBezTo>
                  <a:pt x="275" y="82"/>
                  <a:pt x="276" y="81"/>
                  <a:pt x="277" y="81"/>
                </a:cubicBezTo>
                <a:cubicBezTo>
                  <a:pt x="278" y="82"/>
                  <a:pt x="278" y="82"/>
                  <a:pt x="279" y="81"/>
                </a:cubicBezTo>
                <a:cubicBezTo>
                  <a:pt x="280" y="81"/>
                  <a:pt x="280" y="81"/>
                  <a:pt x="281" y="81"/>
                </a:cubicBezTo>
                <a:cubicBezTo>
                  <a:pt x="281" y="81"/>
                  <a:pt x="282" y="80"/>
                  <a:pt x="282" y="80"/>
                </a:cubicBezTo>
                <a:cubicBezTo>
                  <a:pt x="282" y="80"/>
                  <a:pt x="283" y="80"/>
                  <a:pt x="283" y="80"/>
                </a:cubicBezTo>
                <a:cubicBezTo>
                  <a:pt x="284" y="79"/>
                  <a:pt x="284" y="80"/>
                  <a:pt x="284" y="80"/>
                </a:cubicBezTo>
                <a:cubicBezTo>
                  <a:pt x="285" y="81"/>
                  <a:pt x="286" y="80"/>
                  <a:pt x="287" y="80"/>
                </a:cubicBezTo>
                <a:cubicBezTo>
                  <a:pt x="287" y="81"/>
                  <a:pt x="288" y="81"/>
                  <a:pt x="288" y="81"/>
                </a:cubicBezTo>
                <a:cubicBezTo>
                  <a:pt x="288" y="80"/>
                  <a:pt x="289" y="81"/>
                  <a:pt x="289" y="81"/>
                </a:cubicBezTo>
                <a:cubicBezTo>
                  <a:pt x="289" y="80"/>
                  <a:pt x="290" y="80"/>
                  <a:pt x="290" y="79"/>
                </a:cubicBezTo>
                <a:cubicBezTo>
                  <a:pt x="290" y="79"/>
                  <a:pt x="290" y="79"/>
                  <a:pt x="290" y="79"/>
                </a:cubicBezTo>
                <a:cubicBezTo>
                  <a:pt x="291" y="79"/>
                  <a:pt x="291" y="79"/>
                  <a:pt x="291" y="80"/>
                </a:cubicBezTo>
                <a:cubicBezTo>
                  <a:pt x="291" y="80"/>
                  <a:pt x="290" y="81"/>
                  <a:pt x="290" y="81"/>
                </a:cubicBezTo>
                <a:cubicBezTo>
                  <a:pt x="289" y="82"/>
                  <a:pt x="288" y="82"/>
                  <a:pt x="287" y="83"/>
                </a:cubicBezTo>
                <a:cubicBezTo>
                  <a:pt x="287" y="83"/>
                  <a:pt x="285" y="84"/>
                  <a:pt x="285" y="83"/>
                </a:cubicBezTo>
                <a:cubicBezTo>
                  <a:pt x="283" y="83"/>
                  <a:pt x="282" y="84"/>
                  <a:pt x="281" y="84"/>
                </a:cubicBezTo>
                <a:cubicBezTo>
                  <a:pt x="280" y="84"/>
                  <a:pt x="281" y="84"/>
                  <a:pt x="280" y="84"/>
                </a:cubicBezTo>
                <a:cubicBezTo>
                  <a:pt x="279" y="84"/>
                  <a:pt x="279" y="85"/>
                  <a:pt x="278" y="85"/>
                </a:cubicBezTo>
                <a:cubicBezTo>
                  <a:pt x="278" y="85"/>
                  <a:pt x="276" y="85"/>
                  <a:pt x="276" y="86"/>
                </a:cubicBezTo>
                <a:cubicBezTo>
                  <a:pt x="276" y="86"/>
                  <a:pt x="275" y="86"/>
                  <a:pt x="275" y="87"/>
                </a:cubicBezTo>
                <a:cubicBezTo>
                  <a:pt x="275" y="88"/>
                  <a:pt x="276" y="90"/>
                  <a:pt x="278" y="90"/>
                </a:cubicBezTo>
                <a:cubicBezTo>
                  <a:pt x="279" y="90"/>
                  <a:pt x="280" y="89"/>
                  <a:pt x="281" y="90"/>
                </a:cubicBezTo>
                <a:cubicBezTo>
                  <a:pt x="281" y="89"/>
                  <a:pt x="282" y="89"/>
                  <a:pt x="283" y="89"/>
                </a:cubicBezTo>
                <a:cubicBezTo>
                  <a:pt x="283" y="89"/>
                  <a:pt x="284" y="88"/>
                  <a:pt x="284" y="88"/>
                </a:cubicBezTo>
                <a:cubicBezTo>
                  <a:pt x="286" y="88"/>
                  <a:pt x="285" y="88"/>
                  <a:pt x="286" y="87"/>
                </a:cubicBezTo>
                <a:cubicBezTo>
                  <a:pt x="287" y="86"/>
                  <a:pt x="286" y="87"/>
                  <a:pt x="287" y="86"/>
                </a:cubicBezTo>
                <a:cubicBezTo>
                  <a:pt x="287" y="86"/>
                  <a:pt x="287" y="86"/>
                  <a:pt x="287" y="86"/>
                </a:cubicBezTo>
                <a:cubicBezTo>
                  <a:pt x="287" y="86"/>
                  <a:pt x="288" y="85"/>
                  <a:pt x="288" y="85"/>
                </a:cubicBezTo>
                <a:cubicBezTo>
                  <a:pt x="289" y="84"/>
                  <a:pt x="288" y="86"/>
                  <a:pt x="289" y="84"/>
                </a:cubicBezTo>
                <a:cubicBezTo>
                  <a:pt x="290" y="84"/>
                  <a:pt x="291" y="84"/>
                  <a:pt x="292" y="85"/>
                </a:cubicBezTo>
                <a:cubicBezTo>
                  <a:pt x="292" y="84"/>
                  <a:pt x="292" y="84"/>
                  <a:pt x="293" y="84"/>
                </a:cubicBezTo>
                <a:cubicBezTo>
                  <a:pt x="294" y="84"/>
                  <a:pt x="293" y="84"/>
                  <a:pt x="294" y="83"/>
                </a:cubicBezTo>
                <a:cubicBezTo>
                  <a:pt x="295" y="83"/>
                  <a:pt x="296" y="84"/>
                  <a:pt x="297" y="83"/>
                </a:cubicBezTo>
                <a:cubicBezTo>
                  <a:pt x="297" y="83"/>
                  <a:pt x="297" y="83"/>
                  <a:pt x="298" y="83"/>
                </a:cubicBezTo>
                <a:cubicBezTo>
                  <a:pt x="298" y="82"/>
                  <a:pt x="299" y="82"/>
                  <a:pt x="300" y="82"/>
                </a:cubicBezTo>
                <a:cubicBezTo>
                  <a:pt x="300" y="82"/>
                  <a:pt x="300" y="83"/>
                  <a:pt x="300" y="84"/>
                </a:cubicBezTo>
                <a:cubicBezTo>
                  <a:pt x="301" y="84"/>
                  <a:pt x="302" y="84"/>
                  <a:pt x="303" y="84"/>
                </a:cubicBezTo>
                <a:cubicBezTo>
                  <a:pt x="304" y="83"/>
                  <a:pt x="304" y="83"/>
                  <a:pt x="304" y="82"/>
                </a:cubicBezTo>
                <a:cubicBezTo>
                  <a:pt x="305" y="81"/>
                  <a:pt x="306" y="82"/>
                  <a:pt x="307" y="82"/>
                </a:cubicBezTo>
                <a:cubicBezTo>
                  <a:pt x="307" y="82"/>
                  <a:pt x="310" y="82"/>
                  <a:pt x="310" y="82"/>
                </a:cubicBezTo>
                <a:cubicBezTo>
                  <a:pt x="311" y="82"/>
                  <a:pt x="312" y="82"/>
                  <a:pt x="312" y="82"/>
                </a:cubicBezTo>
                <a:cubicBezTo>
                  <a:pt x="312" y="82"/>
                  <a:pt x="313" y="82"/>
                  <a:pt x="313" y="81"/>
                </a:cubicBezTo>
                <a:cubicBezTo>
                  <a:pt x="314" y="80"/>
                  <a:pt x="314" y="81"/>
                  <a:pt x="314" y="79"/>
                </a:cubicBezTo>
                <a:cubicBezTo>
                  <a:pt x="314" y="78"/>
                  <a:pt x="314" y="77"/>
                  <a:pt x="314" y="76"/>
                </a:cubicBezTo>
                <a:cubicBezTo>
                  <a:pt x="314" y="76"/>
                  <a:pt x="313" y="75"/>
                  <a:pt x="313" y="74"/>
                </a:cubicBezTo>
                <a:cubicBezTo>
                  <a:pt x="313" y="74"/>
                  <a:pt x="313" y="74"/>
                  <a:pt x="313" y="74"/>
                </a:cubicBezTo>
                <a:cubicBezTo>
                  <a:pt x="313" y="74"/>
                  <a:pt x="313" y="74"/>
                  <a:pt x="313" y="73"/>
                </a:cubicBezTo>
                <a:cubicBezTo>
                  <a:pt x="313" y="73"/>
                  <a:pt x="313" y="73"/>
                  <a:pt x="313" y="73"/>
                </a:cubicBezTo>
                <a:cubicBezTo>
                  <a:pt x="313" y="73"/>
                  <a:pt x="312" y="73"/>
                  <a:pt x="312" y="72"/>
                </a:cubicBezTo>
                <a:cubicBezTo>
                  <a:pt x="312" y="72"/>
                  <a:pt x="312" y="72"/>
                  <a:pt x="311" y="72"/>
                </a:cubicBezTo>
                <a:cubicBezTo>
                  <a:pt x="311" y="71"/>
                  <a:pt x="311" y="71"/>
                  <a:pt x="310" y="71"/>
                </a:cubicBezTo>
                <a:cubicBezTo>
                  <a:pt x="310" y="71"/>
                  <a:pt x="309" y="72"/>
                  <a:pt x="309" y="73"/>
                </a:cubicBezTo>
                <a:cubicBezTo>
                  <a:pt x="309" y="74"/>
                  <a:pt x="311" y="74"/>
                  <a:pt x="310" y="75"/>
                </a:cubicBezTo>
                <a:cubicBezTo>
                  <a:pt x="309" y="76"/>
                  <a:pt x="309" y="75"/>
                  <a:pt x="309" y="76"/>
                </a:cubicBezTo>
                <a:cubicBezTo>
                  <a:pt x="309" y="77"/>
                  <a:pt x="309" y="77"/>
                  <a:pt x="308" y="77"/>
                </a:cubicBezTo>
                <a:cubicBezTo>
                  <a:pt x="308" y="77"/>
                  <a:pt x="308" y="76"/>
                  <a:pt x="308" y="75"/>
                </a:cubicBezTo>
                <a:cubicBezTo>
                  <a:pt x="308" y="74"/>
                  <a:pt x="308" y="74"/>
                  <a:pt x="306" y="74"/>
                </a:cubicBezTo>
                <a:cubicBezTo>
                  <a:pt x="306" y="74"/>
                  <a:pt x="307" y="74"/>
                  <a:pt x="306" y="75"/>
                </a:cubicBezTo>
                <a:cubicBezTo>
                  <a:pt x="306" y="75"/>
                  <a:pt x="306" y="75"/>
                  <a:pt x="306" y="75"/>
                </a:cubicBezTo>
                <a:cubicBezTo>
                  <a:pt x="306" y="75"/>
                  <a:pt x="305" y="75"/>
                  <a:pt x="305" y="75"/>
                </a:cubicBezTo>
                <a:cubicBezTo>
                  <a:pt x="305" y="75"/>
                  <a:pt x="305" y="76"/>
                  <a:pt x="305" y="76"/>
                </a:cubicBezTo>
                <a:cubicBezTo>
                  <a:pt x="305" y="76"/>
                  <a:pt x="305" y="76"/>
                  <a:pt x="305" y="75"/>
                </a:cubicBezTo>
                <a:cubicBezTo>
                  <a:pt x="305" y="75"/>
                  <a:pt x="305" y="75"/>
                  <a:pt x="305" y="74"/>
                </a:cubicBezTo>
                <a:cubicBezTo>
                  <a:pt x="305" y="74"/>
                  <a:pt x="306" y="71"/>
                  <a:pt x="305" y="71"/>
                </a:cubicBezTo>
                <a:cubicBezTo>
                  <a:pt x="305" y="71"/>
                  <a:pt x="304" y="71"/>
                  <a:pt x="304" y="71"/>
                </a:cubicBezTo>
                <a:cubicBezTo>
                  <a:pt x="304" y="71"/>
                  <a:pt x="304" y="72"/>
                  <a:pt x="303" y="72"/>
                </a:cubicBezTo>
                <a:cubicBezTo>
                  <a:pt x="301" y="73"/>
                  <a:pt x="301" y="70"/>
                  <a:pt x="299" y="70"/>
                </a:cubicBezTo>
                <a:cubicBezTo>
                  <a:pt x="299" y="70"/>
                  <a:pt x="298" y="69"/>
                  <a:pt x="298" y="69"/>
                </a:cubicBezTo>
                <a:cubicBezTo>
                  <a:pt x="297" y="68"/>
                  <a:pt x="297" y="68"/>
                  <a:pt x="297" y="67"/>
                </a:cubicBezTo>
                <a:cubicBezTo>
                  <a:pt x="298" y="66"/>
                  <a:pt x="296" y="65"/>
                  <a:pt x="296" y="64"/>
                </a:cubicBezTo>
                <a:cubicBezTo>
                  <a:pt x="295" y="64"/>
                  <a:pt x="296" y="65"/>
                  <a:pt x="296" y="65"/>
                </a:cubicBezTo>
                <a:cubicBezTo>
                  <a:pt x="295" y="65"/>
                  <a:pt x="294" y="65"/>
                  <a:pt x="294" y="65"/>
                </a:cubicBezTo>
                <a:cubicBezTo>
                  <a:pt x="294" y="66"/>
                  <a:pt x="295" y="67"/>
                  <a:pt x="295" y="68"/>
                </a:cubicBezTo>
                <a:cubicBezTo>
                  <a:pt x="294" y="68"/>
                  <a:pt x="294" y="68"/>
                  <a:pt x="294" y="68"/>
                </a:cubicBezTo>
                <a:cubicBezTo>
                  <a:pt x="294" y="69"/>
                  <a:pt x="295" y="70"/>
                  <a:pt x="294" y="70"/>
                </a:cubicBezTo>
                <a:cubicBezTo>
                  <a:pt x="294" y="71"/>
                  <a:pt x="294" y="71"/>
                  <a:pt x="294" y="72"/>
                </a:cubicBezTo>
                <a:cubicBezTo>
                  <a:pt x="294" y="72"/>
                  <a:pt x="297" y="73"/>
                  <a:pt x="297" y="73"/>
                </a:cubicBezTo>
                <a:cubicBezTo>
                  <a:pt x="297" y="74"/>
                  <a:pt x="296" y="75"/>
                  <a:pt x="296" y="76"/>
                </a:cubicBezTo>
                <a:cubicBezTo>
                  <a:pt x="296" y="76"/>
                  <a:pt x="297" y="76"/>
                  <a:pt x="298" y="76"/>
                </a:cubicBezTo>
                <a:cubicBezTo>
                  <a:pt x="298" y="77"/>
                  <a:pt x="298" y="77"/>
                  <a:pt x="298" y="78"/>
                </a:cubicBezTo>
                <a:cubicBezTo>
                  <a:pt x="296" y="78"/>
                  <a:pt x="294" y="78"/>
                  <a:pt x="292" y="78"/>
                </a:cubicBezTo>
                <a:cubicBezTo>
                  <a:pt x="291" y="77"/>
                  <a:pt x="290" y="77"/>
                  <a:pt x="289" y="77"/>
                </a:cubicBezTo>
                <a:cubicBezTo>
                  <a:pt x="287" y="77"/>
                  <a:pt x="287" y="77"/>
                  <a:pt x="287" y="76"/>
                </a:cubicBezTo>
                <a:cubicBezTo>
                  <a:pt x="286" y="76"/>
                  <a:pt x="285" y="76"/>
                  <a:pt x="285" y="76"/>
                </a:cubicBezTo>
                <a:cubicBezTo>
                  <a:pt x="284" y="75"/>
                  <a:pt x="285" y="75"/>
                  <a:pt x="284" y="75"/>
                </a:cubicBezTo>
                <a:cubicBezTo>
                  <a:pt x="283" y="74"/>
                  <a:pt x="283" y="74"/>
                  <a:pt x="281" y="74"/>
                </a:cubicBezTo>
                <a:cubicBezTo>
                  <a:pt x="281" y="74"/>
                  <a:pt x="281" y="74"/>
                  <a:pt x="280" y="74"/>
                </a:cubicBezTo>
                <a:cubicBezTo>
                  <a:pt x="280" y="74"/>
                  <a:pt x="280" y="74"/>
                  <a:pt x="280" y="74"/>
                </a:cubicBezTo>
                <a:cubicBezTo>
                  <a:pt x="279" y="73"/>
                  <a:pt x="278" y="73"/>
                  <a:pt x="278" y="72"/>
                </a:cubicBezTo>
                <a:cubicBezTo>
                  <a:pt x="277" y="72"/>
                  <a:pt x="277" y="72"/>
                  <a:pt x="277" y="72"/>
                </a:cubicBezTo>
                <a:cubicBezTo>
                  <a:pt x="276" y="72"/>
                  <a:pt x="276" y="72"/>
                  <a:pt x="275" y="72"/>
                </a:cubicBezTo>
                <a:cubicBezTo>
                  <a:pt x="275" y="72"/>
                  <a:pt x="276" y="72"/>
                  <a:pt x="275" y="72"/>
                </a:cubicBezTo>
                <a:cubicBezTo>
                  <a:pt x="274" y="72"/>
                  <a:pt x="274" y="72"/>
                  <a:pt x="273" y="72"/>
                </a:cubicBezTo>
                <a:close/>
                <a:moveTo>
                  <a:pt x="886" y="63"/>
                </a:moveTo>
                <a:cubicBezTo>
                  <a:pt x="885" y="63"/>
                  <a:pt x="885" y="63"/>
                  <a:pt x="885" y="63"/>
                </a:cubicBezTo>
                <a:cubicBezTo>
                  <a:pt x="885" y="63"/>
                  <a:pt x="885" y="63"/>
                  <a:pt x="886" y="63"/>
                </a:cubicBezTo>
                <a:cubicBezTo>
                  <a:pt x="886" y="63"/>
                  <a:pt x="886" y="63"/>
                  <a:pt x="886" y="63"/>
                </a:cubicBezTo>
                <a:close/>
                <a:moveTo>
                  <a:pt x="480" y="62"/>
                </a:moveTo>
                <a:cubicBezTo>
                  <a:pt x="479" y="62"/>
                  <a:pt x="479" y="62"/>
                  <a:pt x="478" y="62"/>
                </a:cubicBezTo>
                <a:cubicBezTo>
                  <a:pt x="479" y="62"/>
                  <a:pt x="479" y="62"/>
                  <a:pt x="480" y="62"/>
                </a:cubicBezTo>
                <a:cubicBezTo>
                  <a:pt x="480" y="62"/>
                  <a:pt x="480" y="62"/>
                  <a:pt x="480" y="62"/>
                </a:cubicBezTo>
                <a:cubicBezTo>
                  <a:pt x="479" y="62"/>
                  <a:pt x="480" y="62"/>
                  <a:pt x="480" y="62"/>
                </a:cubicBezTo>
                <a:close/>
                <a:moveTo>
                  <a:pt x="1445" y="314"/>
                </a:moveTo>
                <a:cubicBezTo>
                  <a:pt x="1445" y="314"/>
                  <a:pt x="1444" y="315"/>
                  <a:pt x="1445" y="315"/>
                </a:cubicBezTo>
                <a:cubicBezTo>
                  <a:pt x="1445" y="317"/>
                  <a:pt x="1444" y="317"/>
                  <a:pt x="1443" y="316"/>
                </a:cubicBezTo>
                <a:cubicBezTo>
                  <a:pt x="1443" y="316"/>
                  <a:pt x="1443" y="316"/>
                  <a:pt x="1443" y="316"/>
                </a:cubicBezTo>
                <a:cubicBezTo>
                  <a:pt x="1443" y="315"/>
                  <a:pt x="1443" y="314"/>
                  <a:pt x="1443" y="313"/>
                </a:cubicBezTo>
                <a:cubicBezTo>
                  <a:pt x="1443" y="313"/>
                  <a:pt x="1442" y="311"/>
                  <a:pt x="1442" y="311"/>
                </a:cubicBezTo>
                <a:cubicBezTo>
                  <a:pt x="1443" y="311"/>
                  <a:pt x="1443" y="311"/>
                  <a:pt x="1444" y="311"/>
                </a:cubicBezTo>
                <a:cubicBezTo>
                  <a:pt x="1445" y="312"/>
                  <a:pt x="1445" y="313"/>
                  <a:pt x="1445" y="314"/>
                </a:cubicBezTo>
                <a:cubicBezTo>
                  <a:pt x="1445" y="314"/>
                  <a:pt x="1445" y="314"/>
                  <a:pt x="1445" y="314"/>
                </a:cubicBezTo>
                <a:close/>
                <a:moveTo>
                  <a:pt x="1374" y="378"/>
                </a:moveTo>
                <a:cubicBezTo>
                  <a:pt x="1373" y="378"/>
                  <a:pt x="1374" y="378"/>
                  <a:pt x="1373" y="377"/>
                </a:cubicBezTo>
                <a:cubicBezTo>
                  <a:pt x="1374" y="378"/>
                  <a:pt x="1374" y="378"/>
                  <a:pt x="1374" y="378"/>
                </a:cubicBezTo>
                <a:close/>
                <a:moveTo>
                  <a:pt x="1372" y="412"/>
                </a:moveTo>
                <a:cubicBezTo>
                  <a:pt x="1371" y="412"/>
                  <a:pt x="1371" y="413"/>
                  <a:pt x="1371" y="412"/>
                </a:cubicBezTo>
                <a:cubicBezTo>
                  <a:pt x="1370" y="411"/>
                  <a:pt x="1370" y="411"/>
                  <a:pt x="1370" y="411"/>
                </a:cubicBezTo>
                <a:cubicBezTo>
                  <a:pt x="1370" y="410"/>
                  <a:pt x="1372" y="410"/>
                  <a:pt x="1373" y="410"/>
                </a:cubicBezTo>
                <a:cubicBezTo>
                  <a:pt x="1373" y="411"/>
                  <a:pt x="1372" y="411"/>
                  <a:pt x="1372" y="412"/>
                </a:cubicBezTo>
                <a:cubicBezTo>
                  <a:pt x="1372" y="412"/>
                  <a:pt x="1372" y="412"/>
                  <a:pt x="1372" y="412"/>
                </a:cubicBezTo>
                <a:close/>
                <a:moveTo>
                  <a:pt x="1386" y="398"/>
                </a:moveTo>
                <a:cubicBezTo>
                  <a:pt x="1387" y="398"/>
                  <a:pt x="1387" y="398"/>
                  <a:pt x="1388" y="398"/>
                </a:cubicBezTo>
                <a:cubicBezTo>
                  <a:pt x="1389" y="399"/>
                  <a:pt x="1388" y="399"/>
                  <a:pt x="1388" y="399"/>
                </a:cubicBezTo>
                <a:cubicBezTo>
                  <a:pt x="1388" y="399"/>
                  <a:pt x="1389" y="400"/>
                  <a:pt x="1388" y="400"/>
                </a:cubicBezTo>
                <a:cubicBezTo>
                  <a:pt x="1388" y="400"/>
                  <a:pt x="1387" y="401"/>
                  <a:pt x="1387" y="400"/>
                </a:cubicBezTo>
                <a:cubicBezTo>
                  <a:pt x="1387" y="400"/>
                  <a:pt x="1386" y="400"/>
                  <a:pt x="1386" y="400"/>
                </a:cubicBezTo>
                <a:cubicBezTo>
                  <a:pt x="1386" y="399"/>
                  <a:pt x="1386" y="399"/>
                  <a:pt x="1386" y="398"/>
                </a:cubicBezTo>
                <a:cubicBezTo>
                  <a:pt x="1387" y="398"/>
                  <a:pt x="1386" y="398"/>
                  <a:pt x="1386" y="398"/>
                </a:cubicBezTo>
                <a:close/>
                <a:moveTo>
                  <a:pt x="1352" y="415"/>
                </a:moveTo>
                <a:cubicBezTo>
                  <a:pt x="1351" y="415"/>
                  <a:pt x="1351" y="415"/>
                  <a:pt x="1350" y="415"/>
                </a:cubicBezTo>
                <a:cubicBezTo>
                  <a:pt x="1350" y="415"/>
                  <a:pt x="1349" y="414"/>
                  <a:pt x="1348" y="414"/>
                </a:cubicBezTo>
                <a:cubicBezTo>
                  <a:pt x="1349" y="414"/>
                  <a:pt x="1349" y="413"/>
                  <a:pt x="1349" y="413"/>
                </a:cubicBezTo>
                <a:cubicBezTo>
                  <a:pt x="1350" y="413"/>
                  <a:pt x="1349" y="414"/>
                  <a:pt x="1350" y="414"/>
                </a:cubicBezTo>
                <a:cubicBezTo>
                  <a:pt x="1350" y="414"/>
                  <a:pt x="1351" y="414"/>
                  <a:pt x="1351" y="414"/>
                </a:cubicBezTo>
                <a:cubicBezTo>
                  <a:pt x="1351" y="413"/>
                  <a:pt x="1351" y="413"/>
                  <a:pt x="1352" y="413"/>
                </a:cubicBezTo>
                <a:cubicBezTo>
                  <a:pt x="1352" y="413"/>
                  <a:pt x="1352" y="413"/>
                  <a:pt x="1353" y="413"/>
                </a:cubicBezTo>
                <a:cubicBezTo>
                  <a:pt x="1353" y="414"/>
                  <a:pt x="1352" y="414"/>
                  <a:pt x="1352" y="415"/>
                </a:cubicBezTo>
                <a:close/>
                <a:moveTo>
                  <a:pt x="1342" y="100"/>
                </a:moveTo>
                <a:cubicBezTo>
                  <a:pt x="1341" y="100"/>
                  <a:pt x="1342" y="101"/>
                  <a:pt x="1341" y="100"/>
                </a:cubicBezTo>
                <a:cubicBezTo>
                  <a:pt x="1341" y="100"/>
                  <a:pt x="1341" y="99"/>
                  <a:pt x="1342" y="99"/>
                </a:cubicBezTo>
                <a:cubicBezTo>
                  <a:pt x="1342" y="99"/>
                  <a:pt x="1342" y="100"/>
                  <a:pt x="1342" y="100"/>
                </a:cubicBezTo>
                <a:close/>
                <a:moveTo>
                  <a:pt x="1337" y="246"/>
                </a:moveTo>
                <a:cubicBezTo>
                  <a:pt x="1337" y="248"/>
                  <a:pt x="1335" y="249"/>
                  <a:pt x="1337" y="249"/>
                </a:cubicBezTo>
                <a:cubicBezTo>
                  <a:pt x="1337" y="251"/>
                  <a:pt x="1335" y="253"/>
                  <a:pt x="1335" y="255"/>
                </a:cubicBezTo>
                <a:cubicBezTo>
                  <a:pt x="1334" y="254"/>
                  <a:pt x="1334" y="254"/>
                  <a:pt x="1333" y="254"/>
                </a:cubicBezTo>
                <a:cubicBezTo>
                  <a:pt x="1333" y="255"/>
                  <a:pt x="1332" y="256"/>
                  <a:pt x="1332" y="257"/>
                </a:cubicBezTo>
                <a:cubicBezTo>
                  <a:pt x="1332" y="257"/>
                  <a:pt x="1333" y="257"/>
                  <a:pt x="1333" y="257"/>
                </a:cubicBezTo>
                <a:cubicBezTo>
                  <a:pt x="1333" y="257"/>
                  <a:pt x="1334" y="257"/>
                  <a:pt x="1333" y="258"/>
                </a:cubicBezTo>
                <a:cubicBezTo>
                  <a:pt x="1332" y="258"/>
                  <a:pt x="1331" y="258"/>
                  <a:pt x="1331" y="259"/>
                </a:cubicBezTo>
                <a:cubicBezTo>
                  <a:pt x="1331" y="259"/>
                  <a:pt x="1331" y="260"/>
                  <a:pt x="1331" y="260"/>
                </a:cubicBezTo>
                <a:cubicBezTo>
                  <a:pt x="1331" y="260"/>
                  <a:pt x="1331" y="259"/>
                  <a:pt x="1330" y="261"/>
                </a:cubicBezTo>
                <a:cubicBezTo>
                  <a:pt x="1330" y="261"/>
                  <a:pt x="1328" y="261"/>
                  <a:pt x="1327" y="261"/>
                </a:cubicBezTo>
                <a:cubicBezTo>
                  <a:pt x="1327" y="262"/>
                  <a:pt x="1328" y="262"/>
                  <a:pt x="1327" y="263"/>
                </a:cubicBezTo>
                <a:cubicBezTo>
                  <a:pt x="1326" y="263"/>
                  <a:pt x="1326" y="264"/>
                  <a:pt x="1325" y="264"/>
                </a:cubicBezTo>
                <a:cubicBezTo>
                  <a:pt x="1324" y="265"/>
                  <a:pt x="1324" y="265"/>
                  <a:pt x="1323" y="264"/>
                </a:cubicBezTo>
                <a:cubicBezTo>
                  <a:pt x="1322" y="264"/>
                  <a:pt x="1322" y="265"/>
                  <a:pt x="1321" y="266"/>
                </a:cubicBezTo>
                <a:cubicBezTo>
                  <a:pt x="1321" y="267"/>
                  <a:pt x="1320" y="267"/>
                  <a:pt x="1319" y="268"/>
                </a:cubicBezTo>
                <a:cubicBezTo>
                  <a:pt x="1319" y="269"/>
                  <a:pt x="1319" y="269"/>
                  <a:pt x="1319" y="270"/>
                </a:cubicBezTo>
                <a:cubicBezTo>
                  <a:pt x="1318" y="270"/>
                  <a:pt x="1318" y="270"/>
                  <a:pt x="1317" y="270"/>
                </a:cubicBezTo>
                <a:cubicBezTo>
                  <a:pt x="1317" y="271"/>
                  <a:pt x="1316" y="272"/>
                  <a:pt x="1315" y="272"/>
                </a:cubicBezTo>
                <a:cubicBezTo>
                  <a:pt x="1315" y="272"/>
                  <a:pt x="1315" y="272"/>
                  <a:pt x="1314" y="273"/>
                </a:cubicBezTo>
                <a:cubicBezTo>
                  <a:pt x="1313" y="273"/>
                  <a:pt x="1312" y="273"/>
                  <a:pt x="1311" y="273"/>
                </a:cubicBezTo>
                <a:cubicBezTo>
                  <a:pt x="1311" y="273"/>
                  <a:pt x="1310" y="273"/>
                  <a:pt x="1310" y="273"/>
                </a:cubicBezTo>
                <a:cubicBezTo>
                  <a:pt x="1310" y="272"/>
                  <a:pt x="1309" y="272"/>
                  <a:pt x="1309" y="272"/>
                </a:cubicBezTo>
                <a:cubicBezTo>
                  <a:pt x="1308" y="272"/>
                  <a:pt x="1308" y="272"/>
                  <a:pt x="1308" y="271"/>
                </a:cubicBezTo>
                <a:cubicBezTo>
                  <a:pt x="1309" y="271"/>
                  <a:pt x="1310" y="271"/>
                  <a:pt x="1311" y="270"/>
                </a:cubicBezTo>
                <a:cubicBezTo>
                  <a:pt x="1312" y="270"/>
                  <a:pt x="1312" y="270"/>
                  <a:pt x="1312" y="270"/>
                </a:cubicBezTo>
                <a:cubicBezTo>
                  <a:pt x="1313" y="270"/>
                  <a:pt x="1313" y="269"/>
                  <a:pt x="1314" y="269"/>
                </a:cubicBezTo>
                <a:cubicBezTo>
                  <a:pt x="1314" y="268"/>
                  <a:pt x="1314" y="269"/>
                  <a:pt x="1314" y="268"/>
                </a:cubicBezTo>
                <a:cubicBezTo>
                  <a:pt x="1314" y="268"/>
                  <a:pt x="1316" y="268"/>
                  <a:pt x="1316" y="267"/>
                </a:cubicBezTo>
                <a:cubicBezTo>
                  <a:pt x="1316" y="267"/>
                  <a:pt x="1316" y="267"/>
                  <a:pt x="1316" y="267"/>
                </a:cubicBezTo>
                <a:cubicBezTo>
                  <a:pt x="1317" y="266"/>
                  <a:pt x="1316" y="266"/>
                  <a:pt x="1317" y="266"/>
                </a:cubicBezTo>
                <a:cubicBezTo>
                  <a:pt x="1318" y="265"/>
                  <a:pt x="1318" y="262"/>
                  <a:pt x="1320" y="262"/>
                </a:cubicBezTo>
                <a:cubicBezTo>
                  <a:pt x="1321" y="261"/>
                  <a:pt x="1322" y="261"/>
                  <a:pt x="1323" y="259"/>
                </a:cubicBezTo>
                <a:cubicBezTo>
                  <a:pt x="1323" y="259"/>
                  <a:pt x="1323" y="259"/>
                  <a:pt x="1324" y="259"/>
                </a:cubicBezTo>
                <a:cubicBezTo>
                  <a:pt x="1324" y="259"/>
                  <a:pt x="1324" y="258"/>
                  <a:pt x="1325" y="258"/>
                </a:cubicBezTo>
                <a:cubicBezTo>
                  <a:pt x="1325" y="258"/>
                  <a:pt x="1327" y="256"/>
                  <a:pt x="1327" y="256"/>
                </a:cubicBezTo>
                <a:cubicBezTo>
                  <a:pt x="1328" y="255"/>
                  <a:pt x="1327" y="255"/>
                  <a:pt x="1328" y="255"/>
                </a:cubicBezTo>
                <a:cubicBezTo>
                  <a:pt x="1328" y="254"/>
                  <a:pt x="1329" y="254"/>
                  <a:pt x="1330" y="253"/>
                </a:cubicBezTo>
                <a:cubicBezTo>
                  <a:pt x="1330" y="253"/>
                  <a:pt x="1330" y="252"/>
                  <a:pt x="1331" y="251"/>
                </a:cubicBezTo>
                <a:cubicBezTo>
                  <a:pt x="1331" y="250"/>
                  <a:pt x="1332" y="250"/>
                  <a:pt x="1332" y="249"/>
                </a:cubicBezTo>
                <a:cubicBezTo>
                  <a:pt x="1333" y="248"/>
                  <a:pt x="1333" y="248"/>
                  <a:pt x="1333" y="247"/>
                </a:cubicBezTo>
                <a:cubicBezTo>
                  <a:pt x="1333" y="245"/>
                  <a:pt x="1333" y="247"/>
                  <a:pt x="1334" y="246"/>
                </a:cubicBezTo>
                <a:cubicBezTo>
                  <a:pt x="1334" y="245"/>
                  <a:pt x="1334" y="245"/>
                  <a:pt x="1335" y="244"/>
                </a:cubicBezTo>
                <a:cubicBezTo>
                  <a:pt x="1335" y="244"/>
                  <a:pt x="1335" y="243"/>
                  <a:pt x="1335" y="243"/>
                </a:cubicBezTo>
                <a:cubicBezTo>
                  <a:pt x="1335" y="243"/>
                  <a:pt x="1336" y="242"/>
                  <a:pt x="1336" y="242"/>
                </a:cubicBezTo>
                <a:cubicBezTo>
                  <a:pt x="1336" y="241"/>
                  <a:pt x="1336" y="241"/>
                  <a:pt x="1337" y="241"/>
                </a:cubicBezTo>
                <a:cubicBezTo>
                  <a:pt x="1337" y="241"/>
                  <a:pt x="1337" y="243"/>
                  <a:pt x="1338" y="243"/>
                </a:cubicBezTo>
                <a:cubicBezTo>
                  <a:pt x="1337" y="244"/>
                  <a:pt x="1336" y="244"/>
                  <a:pt x="1336" y="244"/>
                </a:cubicBezTo>
                <a:cubicBezTo>
                  <a:pt x="1336" y="245"/>
                  <a:pt x="1336" y="247"/>
                  <a:pt x="1337" y="246"/>
                </a:cubicBezTo>
                <a:cubicBezTo>
                  <a:pt x="1337" y="247"/>
                  <a:pt x="1337" y="246"/>
                  <a:pt x="1337" y="246"/>
                </a:cubicBezTo>
                <a:close/>
                <a:moveTo>
                  <a:pt x="1317" y="519"/>
                </a:moveTo>
                <a:cubicBezTo>
                  <a:pt x="1318" y="520"/>
                  <a:pt x="1317" y="520"/>
                  <a:pt x="1316" y="520"/>
                </a:cubicBezTo>
                <a:cubicBezTo>
                  <a:pt x="1316" y="520"/>
                  <a:pt x="1315" y="519"/>
                  <a:pt x="1315" y="518"/>
                </a:cubicBezTo>
                <a:cubicBezTo>
                  <a:pt x="1316" y="518"/>
                  <a:pt x="1316" y="519"/>
                  <a:pt x="1316" y="518"/>
                </a:cubicBezTo>
                <a:cubicBezTo>
                  <a:pt x="1317" y="519"/>
                  <a:pt x="1317" y="519"/>
                  <a:pt x="1317" y="519"/>
                </a:cubicBezTo>
                <a:close/>
                <a:moveTo>
                  <a:pt x="1307" y="109"/>
                </a:moveTo>
                <a:cubicBezTo>
                  <a:pt x="1309" y="109"/>
                  <a:pt x="1310" y="109"/>
                  <a:pt x="1311" y="109"/>
                </a:cubicBezTo>
                <a:cubicBezTo>
                  <a:pt x="1313" y="109"/>
                  <a:pt x="1310" y="110"/>
                  <a:pt x="1310" y="110"/>
                </a:cubicBezTo>
                <a:cubicBezTo>
                  <a:pt x="1309" y="110"/>
                  <a:pt x="1307" y="110"/>
                  <a:pt x="1307" y="109"/>
                </a:cubicBezTo>
                <a:cubicBezTo>
                  <a:pt x="1309" y="109"/>
                  <a:pt x="1307" y="109"/>
                  <a:pt x="1307" y="109"/>
                </a:cubicBezTo>
                <a:close/>
                <a:moveTo>
                  <a:pt x="1307" y="81"/>
                </a:moveTo>
                <a:cubicBezTo>
                  <a:pt x="1307" y="82"/>
                  <a:pt x="1306" y="82"/>
                  <a:pt x="1305" y="82"/>
                </a:cubicBezTo>
                <a:cubicBezTo>
                  <a:pt x="1305" y="83"/>
                  <a:pt x="1305" y="82"/>
                  <a:pt x="1305" y="83"/>
                </a:cubicBezTo>
                <a:cubicBezTo>
                  <a:pt x="1305" y="84"/>
                  <a:pt x="1305" y="83"/>
                  <a:pt x="1304" y="84"/>
                </a:cubicBezTo>
                <a:cubicBezTo>
                  <a:pt x="1303" y="84"/>
                  <a:pt x="1303" y="85"/>
                  <a:pt x="1303" y="85"/>
                </a:cubicBezTo>
                <a:cubicBezTo>
                  <a:pt x="1303" y="86"/>
                  <a:pt x="1302" y="86"/>
                  <a:pt x="1302" y="86"/>
                </a:cubicBezTo>
                <a:cubicBezTo>
                  <a:pt x="1301" y="86"/>
                  <a:pt x="1302" y="86"/>
                  <a:pt x="1301" y="86"/>
                </a:cubicBezTo>
                <a:cubicBezTo>
                  <a:pt x="1302" y="83"/>
                  <a:pt x="1299" y="85"/>
                  <a:pt x="1299" y="84"/>
                </a:cubicBezTo>
                <a:cubicBezTo>
                  <a:pt x="1299" y="83"/>
                  <a:pt x="1298" y="83"/>
                  <a:pt x="1299" y="83"/>
                </a:cubicBezTo>
                <a:cubicBezTo>
                  <a:pt x="1300" y="82"/>
                  <a:pt x="1300" y="82"/>
                  <a:pt x="1300" y="81"/>
                </a:cubicBezTo>
                <a:cubicBezTo>
                  <a:pt x="1300" y="80"/>
                  <a:pt x="1299" y="81"/>
                  <a:pt x="1299" y="80"/>
                </a:cubicBezTo>
                <a:cubicBezTo>
                  <a:pt x="1300" y="80"/>
                  <a:pt x="1300" y="80"/>
                  <a:pt x="1301" y="79"/>
                </a:cubicBezTo>
                <a:cubicBezTo>
                  <a:pt x="1301" y="81"/>
                  <a:pt x="1301" y="81"/>
                  <a:pt x="1303" y="81"/>
                </a:cubicBezTo>
                <a:cubicBezTo>
                  <a:pt x="1305" y="81"/>
                  <a:pt x="1307" y="80"/>
                  <a:pt x="1308" y="80"/>
                </a:cubicBezTo>
                <a:cubicBezTo>
                  <a:pt x="1309" y="80"/>
                  <a:pt x="1310" y="79"/>
                  <a:pt x="1310" y="78"/>
                </a:cubicBezTo>
                <a:cubicBezTo>
                  <a:pt x="1310" y="77"/>
                  <a:pt x="1310" y="78"/>
                  <a:pt x="1310" y="78"/>
                </a:cubicBezTo>
                <a:cubicBezTo>
                  <a:pt x="1310" y="78"/>
                  <a:pt x="1310" y="77"/>
                  <a:pt x="1310" y="77"/>
                </a:cubicBezTo>
                <a:cubicBezTo>
                  <a:pt x="1311" y="77"/>
                  <a:pt x="1311" y="77"/>
                  <a:pt x="1311" y="77"/>
                </a:cubicBezTo>
                <a:cubicBezTo>
                  <a:pt x="1312" y="78"/>
                  <a:pt x="1312" y="78"/>
                  <a:pt x="1313" y="78"/>
                </a:cubicBezTo>
                <a:cubicBezTo>
                  <a:pt x="1313" y="79"/>
                  <a:pt x="1313" y="79"/>
                  <a:pt x="1312" y="79"/>
                </a:cubicBezTo>
                <a:cubicBezTo>
                  <a:pt x="1311" y="80"/>
                  <a:pt x="1310" y="80"/>
                  <a:pt x="1309" y="80"/>
                </a:cubicBezTo>
                <a:cubicBezTo>
                  <a:pt x="1308" y="81"/>
                  <a:pt x="1308" y="81"/>
                  <a:pt x="1307" y="81"/>
                </a:cubicBezTo>
                <a:close/>
                <a:moveTo>
                  <a:pt x="1305" y="110"/>
                </a:moveTo>
                <a:cubicBezTo>
                  <a:pt x="1306" y="110"/>
                  <a:pt x="1306" y="110"/>
                  <a:pt x="1306" y="110"/>
                </a:cubicBezTo>
                <a:cubicBezTo>
                  <a:pt x="1306" y="110"/>
                  <a:pt x="1306" y="110"/>
                  <a:pt x="1305" y="110"/>
                </a:cubicBezTo>
                <a:cubicBezTo>
                  <a:pt x="1306" y="110"/>
                  <a:pt x="1305" y="110"/>
                  <a:pt x="1305" y="110"/>
                </a:cubicBezTo>
                <a:close/>
                <a:moveTo>
                  <a:pt x="1301" y="114"/>
                </a:moveTo>
                <a:cubicBezTo>
                  <a:pt x="1302" y="113"/>
                  <a:pt x="1302" y="113"/>
                  <a:pt x="1302" y="114"/>
                </a:cubicBezTo>
                <a:cubicBezTo>
                  <a:pt x="1302" y="114"/>
                  <a:pt x="1302" y="114"/>
                  <a:pt x="1301" y="114"/>
                </a:cubicBezTo>
                <a:cubicBezTo>
                  <a:pt x="1301" y="113"/>
                  <a:pt x="1301" y="114"/>
                  <a:pt x="1301" y="114"/>
                </a:cubicBezTo>
                <a:close/>
                <a:moveTo>
                  <a:pt x="1295" y="366"/>
                </a:moveTo>
                <a:cubicBezTo>
                  <a:pt x="1294" y="366"/>
                  <a:pt x="1293" y="366"/>
                  <a:pt x="1293" y="365"/>
                </a:cubicBezTo>
                <a:cubicBezTo>
                  <a:pt x="1293" y="365"/>
                  <a:pt x="1293" y="364"/>
                  <a:pt x="1293" y="364"/>
                </a:cubicBezTo>
                <a:cubicBezTo>
                  <a:pt x="1294" y="364"/>
                  <a:pt x="1295" y="365"/>
                  <a:pt x="1295" y="366"/>
                </a:cubicBezTo>
                <a:cubicBezTo>
                  <a:pt x="1294" y="366"/>
                  <a:pt x="1295" y="366"/>
                  <a:pt x="1295" y="366"/>
                </a:cubicBezTo>
                <a:close/>
                <a:moveTo>
                  <a:pt x="1294" y="272"/>
                </a:moveTo>
                <a:cubicBezTo>
                  <a:pt x="1295" y="271"/>
                  <a:pt x="1294" y="274"/>
                  <a:pt x="1294" y="275"/>
                </a:cubicBezTo>
                <a:cubicBezTo>
                  <a:pt x="1293" y="276"/>
                  <a:pt x="1294" y="274"/>
                  <a:pt x="1293" y="274"/>
                </a:cubicBezTo>
                <a:cubicBezTo>
                  <a:pt x="1293" y="273"/>
                  <a:pt x="1293" y="272"/>
                  <a:pt x="1294" y="272"/>
                </a:cubicBezTo>
                <a:close/>
                <a:moveTo>
                  <a:pt x="1290" y="473"/>
                </a:moveTo>
                <a:cubicBezTo>
                  <a:pt x="1289" y="473"/>
                  <a:pt x="1289" y="474"/>
                  <a:pt x="1289" y="472"/>
                </a:cubicBezTo>
                <a:cubicBezTo>
                  <a:pt x="1289" y="472"/>
                  <a:pt x="1290" y="472"/>
                  <a:pt x="1290" y="472"/>
                </a:cubicBezTo>
                <a:cubicBezTo>
                  <a:pt x="1290" y="472"/>
                  <a:pt x="1290" y="473"/>
                  <a:pt x="1290" y="473"/>
                </a:cubicBezTo>
                <a:cubicBezTo>
                  <a:pt x="1290" y="473"/>
                  <a:pt x="1290" y="473"/>
                  <a:pt x="1290" y="473"/>
                </a:cubicBezTo>
                <a:close/>
                <a:moveTo>
                  <a:pt x="1258" y="278"/>
                </a:moveTo>
                <a:cubicBezTo>
                  <a:pt x="1258" y="278"/>
                  <a:pt x="1256" y="279"/>
                  <a:pt x="1256" y="278"/>
                </a:cubicBezTo>
                <a:cubicBezTo>
                  <a:pt x="1257" y="277"/>
                  <a:pt x="1257" y="277"/>
                  <a:pt x="1257" y="276"/>
                </a:cubicBezTo>
                <a:cubicBezTo>
                  <a:pt x="1259" y="277"/>
                  <a:pt x="1259" y="277"/>
                  <a:pt x="1258" y="278"/>
                </a:cubicBezTo>
                <a:cubicBezTo>
                  <a:pt x="1258" y="278"/>
                  <a:pt x="1258" y="278"/>
                  <a:pt x="1258" y="278"/>
                </a:cubicBezTo>
                <a:close/>
                <a:moveTo>
                  <a:pt x="1228" y="99"/>
                </a:moveTo>
                <a:cubicBezTo>
                  <a:pt x="1227" y="99"/>
                  <a:pt x="1227" y="99"/>
                  <a:pt x="1227" y="99"/>
                </a:cubicBezTo>
                <a:cubicBezTo>
                  <a:pt x="1226" y="99"/>
                  <a:pt x="1226" y="101"/>
                  <a:pt x="1226" y="101"/>
                </a:cubicBezTo>
                <a:cubicBezTo>
                  <a:pt x="1224" y="101"/>
                  <a:pt x="1226" y="99"/>
                  <a:pt x="1226" y="99"/>
                </a:cubicBezTo>
                <a:cubicBezTo>
                  <a:pt x="1227" y="99"/>
                  <a:pt x="1228" y="99"/>
                  <a:pt x="1228" y="99"/>
                </a:cubicBezTo>
                <a:close/>
                <a:moveTo>
                  <a:pt x="1195" y="298"/>
                </a:moveTo>
                <a:cubicBezTo>
                  <a:pt x="1194" y="298"/>
                  <a:pt x="1195" y="299"/>
                  <a:pt x="1195" y="300"/>
                </a:cubicBezTo>
                <a:cubicBezTo>
                  <a:pt x="1195" y="300"/>
                  <a:pt x="1194" y="300"/>
                  <a:pt x="1194" y="300"/>
                </a:cubicBezTo>
                <a:cubicBezTo>
                  <a:pt x="1193" y="300"/>
                  <a:pt x="1192" y="300"/>
                  <a:pt x="1192" y="300"/>
                </a:cubicBezTo>
                <a:cubicBezTo>
                  <a:pt x="1192" y="301"/>
                  <a:pt x="1192" y="301"/>
                  <a:pt x="1192" y="302"/>
                </a:cubicBezTo>
                <a:cubicBezTo>
                  <a:pt x="1191" y="301"/>
                  <a:pt x="1191" y="301"/>
                  <a:pt x="1190" y="301"/>
                </a:cubicBezTo>
                <a:cubicBezTo>
                  <a:pt x="1190" y="301"/>
                  <a:pt x="1190" y="301"/>
                  <a:pt x="1190" y="302"/>
                </a:cubicBezTo>
                <a:cubicBezTo>
                  <a:pt x="1189" y="300"/>
                  <a:pt x="1188" y="301"/>
                  <a:pt x="1186" y="301"/>
                </a:cubicBezTo>
                <a:cubicBezTo>
                  <a:pt x="1186" y="301"/>
                  <a:pt x="1185" y="301"/>
                  <a:pt x="1184" y="301"/>
                </a:cubicBezTo>
                <a:cubicBezTo>
                  <a:pt x="1184" y="301"/>
                  <a:pt x="1184" y="302"/>
                  <a:pt x="1184" y="302"/>
                </a:cubicBezTo>
                <a:cubicBezTo>
                  <a:pt x="1183" y="301"/>
                  <a:pt x="1183" y="301"/>
                  <a:pt x="1182" y="301"/>
                </a:cubicBezTo>
                <a:cubicBezTo>
                  <a:pt x="1182" y="301"/>
                  <a:pt x="1182" y="301"/>
                  <a:pt x="1181" y="301"/>
                </a:cubicBezTo>
                <a:cubicBezTo>
                  <a:pt x="1181" y="301"/>
                  <a:pt x="1182" y="300"/>
                  <a:pt x="1181" y="300"/>
                </a:cubicBezTo>
                <a:cubicBezTo>
                  <a:pt x="1181" y="300"/>
                  <a:pt x="1180" y="302"/>
                  <a:pt x="1180" y="301"/>
                </a:cubicBezTo>
                <a:cubicBezTo>
                  <a:pt x="1180" y="300"/>
                  <a:pt x="1180" y="300"/>
                  <a:pt x="1179" y="300"/>
                </a:cubicBezTo>
                <a:cubicBezTo>
                  <a:pt x="1178" y="300"/>
                  <a:pt x="1178" y="301"/>
                  <a:pt x="1178" y="302"/>
                </a:cubicBezTo>
                <a:cubicBezTo>
                  <a:pt x="1178" y="302"/>
                  <a:pt x="1177" y="302"/>
                  <a:pt x="1177" y="303"/>
                </a:cubicBezTo>
                <a:cubicBezTo>
                  <a:pt x="1176" y="303"/>
                  <a:pt x="1176" y="303"/>
                  <a:pt x="1175" y="303"/>
                </a:cubicBezTo>
                <a:cubicBezTo>
                  <a:pt x="1174" y="303"/>
                  <a:pt x="1174" y="303"/>
                  <a:pt x="1174" y="304"/>
                </a:cubicBezTo>
                <a:cubicBezTo>
                  <a:pt x="1174" y="304"/>
                  <a:pt x="1173" y="304"/>
                  <a:pt x="1173" y="304"/>
                </a:cubicBezTo>
                <a:cubicBezTo>
                  <a:pt x="1173" y="305"/>
                  <a:pt x="1173" y="305"/>
                  <a:pt x="1172" y="305"/>
                </a:cubicBezTo>
                <a:cubicBezTo>
                  <a:pt x="1172" y="306"/>
                  <a:pt x="1172" y="306"/>
                  <a:pt x="1172" y="306"/>
                </a:cubicBezTo>
                <a:cubicBezTo>
                  <a:pt x="1171" y="306"/>
                  <a:pt x="1172" y="306"/>
                  <a:pt x="1171" y="306"/>
                </a:cubicBezTo>
                <a:cubicBezTo>
                  <a:pt x="1170" y="306"/>
                  <a:pt x="1170" y="306"/>
                  <a:pt x="1169" y="307"/>
                </a:cubicBezTo>
                <a:cubicBezTo>
                  <a:pt x="1169" y="307"/>
                  <a:pt x="1170" y="307"/>
                  <a:pt x="1169" y="308"/>
                </a:cubicBezTo>
                <a:cubicBezTo>
                  <a:pt x="1169" y="308"/>
                  <a:pt x="1168" y="308"/>
                  <a:pt x="1168" y="308"/>
                </a:cubicBezTo>
                <a:cubicBezTo>
                  <a:pt x="1167" y="308"/>
                  <a:pt x="1167" y="309"/>
                  <a:pt x="1167" y="309"/>
                </a:cubicBezTo>
                <a:cubicBezTo>
                  <a:pt x="1167" y="310"/>
                  <a:pt x="1166" y="311"/>
                  <a:pt x="1166" y="311"/>
                </a:cubicBezTo>
                <a:cubicBezTo>
                  <a:pt x="1166" y="311"/>
                  <a:pt x="1166" y="312"/>
                  <a:pt x="1166" y="312"/>
                </a:cubicBezTo>
                <a:cubicBezTo>
                  <a:pt x="1166" y="312"/>
                  <a:pt x="1166" y="312"/>
                  <a:pt x="1166" y="312"/>
                </a:cubicBezTo>
                <a:cubicBezTo>
                  <a:pt x="1166" y="313"/>
                  <a:pt x="1167" y="313"/>
                  <a:pt x="1167" y="313"/>
                </a:cubicBezTo>
                <a:cubicBezTo>
                  <a:pt x="1168" y="313"/>
                  <a:pt x="1167" y="313"/>
                  <a:pt x="1167" y="314"/>
                </a:cubicBezTo>
                <a:cubicBezTo>
                  <a:pt x="1167" y="313"/>
                  <a:pt x="1166" y="313"/>
                  <a:pt x="1165" y="313"/>
                </a:cubicBezTo>
                <a:cubicBezTo>
                  <a:pt x="1166" y="313"/>
                  <a:pt x="1164" y="312"/>
                  <a:pt x="1164" y="312"/>
                </a:cubicBezTo>
                <a:cubicBezTo>
                  <a:pt x="1165" y="312"/>
                  <a:pt x="1165" y="311"/>
                  <a:pt x="1165" y="311"/>
                </a:cubicBezTo>
                <a:cubicBezTo>
                  <a:pt x="1165" y="309"/>
                  <a:pt x="1165" y="309"/>
                  <a:pt x="1163" y="309"/>
                </a:cubicBezTo>
                <a:cubicBezTo>
                  <a:pt x="1162" y="309"/>
                  <a:pt x="1163" y="309"/>
                  <a:pt x="1163" y="308"/>
                </a:cubicBezTo>
                <a:cubicBezTo>
                  <a:pt x="1163" y="307"/>
                  <a:pt x="1163" y="306"/>
                  <a:pt x="1165" y="306"/>
                </a:cubicBezTo>
                <a:cubicBezTo>
                  <a:pt x="1166" y="306"/>
                  <a:pt x="1165" y="305"/>
                  <a:pt x="1166" y="304"/>
                </a:cubicBezTo>
                <a:cubicBezTo>
                  <a:pt x="1166" y="304"/>
                  <a:pt x="1167" y="304"/>
                  <a:pt x="1167" y="303"/>
                </a:cubicBezTo>
                <a:cubicBezTo>
                  <a:pt x="1168" y="303"/>
                  <a:pt x="1168" y="304"/>
                  <a:pt x="1169" y="303"/>
                </a:cubicBezTo>
                <a:cubicBezTo>
                  <a:pt x="1169" y="302"/>
                  <a:pt x="1170" y="301"/>
                  <a:pt x="1171" y="301"/>
                </a:cubicBezTo>
                <a:cubicBezTo>
                  <a:pt x="1172" y="301"/>
                  <a:pt x="1172" y="300"/>
                  <a:pt x="1172" y="299"/>
                </a:cubicBezTo>
                <a:cubicBezTo>
                  <a:pt x="1173" y="299"/>
                  <a:pt x="1175" y="299"/>
                  <a:pt x="1176" y="299"/>
                </a:cubicBezTo>
                <a:cubicBezTo>
                  <a:pt x="1176" y="300"/>
                  <a:pt x="1178" y="299"/>
                  <a:pt x="1178" y="299"/>
                </a:cubicBezTo>
                <a:cubicBezTo>
                  <a:pt x="1180" y="299"/>
                  <a:pt x="1181" y="299"/>
                  <a:pt x="1182" y="299"/>
                </a:cubicBezTo>
                <a:cubicBezTo>
                  <a:pt x="1182" y="300"/>
                  <a:pt x="1182" y="299"/>
                  <a:pt x="1183" y="299"/>
                </a:cubicBezTo>
                <a:cubicBezTo>
                  <a:pt x="1185" y="299"/>
                  <a:pt x="1184" y="300"/>
                  <a:pt x="1185" y="300"/>
                </a:cubicBezTo>
                <a:cubicBezTo>
                  <a:pt x="1185" y="300"/>
                  <a:pt x="1188" y="301"/>
                  <a:pt x="1188" y="299"/>
                </a:cubicBezTo>
                <a:cubicBezTo>
                  <a:pt x="1189" y="299"/>
                  <a:pt x="1191" y="301"/>
                  <a:pt x="1191" y="300"/>
                </a:cubicBezTo>
                <a:cubicBezTo>
                  <a:pt x="1192" y="299"/>
                  <a:pt x="1193" y="298"/>
                  <a:pt x="1193" y="297"/>
                </a:cubicBezTo>
                <a:cubicBezTo>
                  <a:pt x="1193" y="297"/>
                  <a:pt x="1193" y="298"/>
                  <a:pt x="1194" y="298"/>
                </a:cubicBezTo>
                <a:cubicBezTo>
                  <a:pt x="1193" y="297"/>
                  <a:pt x="1195" y="296"/>
                  <a:pt x="1196" y="297"/>
                </a:cubicBezTo>
                <a:cubicBezTo>
                  <a:pt x="1196" y="297"/>
                  <a:pt x="1196" y="297"/>
                  <a:pt x="1196" y="298"/>
                </a:cubicBezTo>
                <a:cubicBezTo>
                  <a:pt x="1196" y="298"/>
                  <a:pt x="1195" y="298"/>
                  <a:pt x="1195" y="298"/>
                </a:cubicBezTo>
                <a:close/>
                <a:moveTo>
                  <a:pt x="1189" y="327"/>
                </a:moveTo>
                <a:cubicBezTo>
                  <a:pt x="1189" y="328"/>
                  <a:pt x="1188" y="327"/>
                  <a:pt x="1187" y="327"/>
                </a:cubicBezTo>
                <a:cubicBezTo>
                  <a:pt x="1187" y="328"/>
                  <a:pt x="1187" y="329"/>
                  <a:pt x="1185" y="329"/>
                </a:cubicBezTo>
                <a:cubicBezTo>
                  <a:pt x="1185" y="329"/>
                  <a:pt x="1184" y="329"/>
                  <a:pt x="1184" y="330"/>
                </a:cubicBezTo>
                <a:cubicBezTo>
                  <a:pt x="1182" y="329"/>
                  <a:pt x="1181" y="328"/>
                  <a:pt x="1180" y="328"/>
                </a:cubicBezTo>
                <a:cubicBezTo>
                  <a:pt x="1181" y="327"/>
                  <a:pt x="1182" y="327"/>
                  <a:pt x="1183" y="327"/>
                </a:cubicBezTo>
                <a:cubicBezTo>
                  <a:pt x="1183" y="327"/>
                  <a:pt x="1184" y="327"/>
                  <a:pt x="1185" y="326"/>
                </a:cubicBezTo>
                <a:cubicBezTo>
                  <a:pt x="1186" y="326"/>
                  <a:pt x="1186" y="326"/>
                  <a:pt x="1187" y="326"/>
                </a:cubicBezTo>
                <a:cubicBezTo>
                  <a:pt x="1188" y="326"/>
                  <a:pt x="1190" y="326"/>
                  <a:pt x="1189" y="327"/>
                </a:cubicBezTo>
                <a:close/>
                <a:moveTo>
                  <a:pt x="1111" y="316"/>
                </a:moveTo>
                <a:cubicBezTo>
                  <a:pt x="1110" y="316"/>
                  <a:pt x="1110" y="316"/>
                  <a:pt x="1109" y="316"/>
                </a:cubicBezTo>
                <a:cubicBezTo>
                  <a:pt x="1109" y="317"/>
                  <a:pt x="1110" y="318"/>
                  <a:pt x="1110" y="318"/>
                </a:cubicBezTo>
                <a:cubicBezTo>
                  <a:pt x="1109" y="318"/>
                  <a:pt x="1108" y="318"/>
                  <a:pt x="1108" y="319"/>
                </a:cubicBezTo>
                <a:cubicBezTo>
                  <a:pt x="1108" y="320"/>
                  <a:pt x="1107" y="321"/>
                  <a:pt x="1106" y="322"/>
                </a:cubicBezTo>
                <a:cubicBezTo>
                  <a:pt x="1105" y="322"/>
                  <a:pt x="1105" y="323"/>
                  <a:pt x="1104" y="323"/>
                </a:cubicBezTo>
                <a:cubicBezTo>
                  <a:pt x="1104" y="324"/>
                  <a:pt x="1101" y="324"/>
                  <a:pt x="1101" y="324"/>
                </a:cubicBezTo>
                <a:cubicBezTo>
                  <a:pt x="1101" y="323"/>
                  <a:pt x="1101" y="323"/>
                  <a:pt x="1101" y="323"/>
                </a:cubicBezTo>
                <a:cubicBezTo>
                  <a:pt x="1101" y="322"/>
                  <a:pt x="1101" y="323"/>
                  <a:pt x="1101" y="322"/>
                </a:cubicBezTo>
                <a:cubicBezTo>
                  <a:pt x="1101" y="322"/>
                  <a:pt x="1100" y="321"/>
                  <a:pt x="1100" y="321"/>
                </a:cubicBezTo>
                <a:cubicBezTo>
                  <a:pt x="1100" y="321"/>
                  <a:pt x="1100" y="322"/>
                  <a:pt x="1100" y="323"/>
                </a:cubicBezTo>
                <a:cubicBezTo>
                  <a:pt x="1099" y="323"/>
                  <a:pt x="1099" y="326"/>
                  <a:pt x="1098" y="326"/>
                </a:cubicBezTo>
                <a:cubicBezTo>
                  <a:pt x="1098" y="326"/>
                  <a:pt x="1097" y="325"/>
                  <a:pt x="1097" y="325"/>
                </a:cubicBezTo>
                <a:cubicBezTo>
                  <a:pt x="1097" y="324"/>
                  <a:pt x="1098" y="324"/>
                  <a:pt x="1098" y="324"/>
                </a:cubicBezTo>
                <a:cubicBezTo>
                  <a:pt x="1098" y="324"/>
                  <a:pt x="1098" y="323"/>
                  <a:pt x="1098" y="322"/>
                </a:cubicBezTo>
                <a:cubicBezTo>
                  <a:pt x="1098" y="322"/>
                  <a:pt x="1099" y="322"/>
                  <a:pt x="1098" y="321"/>
                </a:cubicBezTo>
                <a:cubicBezTo>
                  <a:pt x="1097" y="321"/>
                  <a:pt x="1098" y="321"/>
                  <a:pt x="1097" y="321"/>
                </a:cubicBezTo>
                <a:cubicBezTo>
                  <a:pt x="1096" y="321"/>
                  <a:pt x="1095" y="322"/>
                  <a:pt x="1093" y="322"/>
                </a:cubicBezTo>
                <a:cubicBezTo>
                  <a:pt x="1093" y="322"/>
                  <a:pt x="1093" y="321"/>
                  <a:pt x="1093" y="321"/>
                </a:cubicBezTo>
                <a:cubicBezTo>
                  <a:pt x="1093" y="320"/>
                  <a:pt x="1094" y="320"/>
                  <a:pt x="1093" y="320"/>
                </a:cubicBezTo>
                <a:cubicBezTo>
                  <a:pt x="1093" y="320"/>
                  <a:pt x="1094" y="319"/>
                  <a:pt x="1093" y="320"/>
                </a:cubicBezTo>
                <a:cubicBezTo>
                  <a:pt x="1093" y="319"/>
                  <a:pt x="1093" y="319"/>
                  <a:pt x="1093" y="318"/>
                </a:cubicBezTo>
                <a:cubicBezTo>
                  <a:pt x="1092" y="319"/>
                  <a:pt x="1092" y="316"/>
                  <a:pt x="1093" y="316"/>
                </a:cubicBezTo>
                <a:cubicBezTo>
                  <a:pt x="1094" y="315"/>
                  <a:pt x="1093" y="314"/>
                  <a:pt x="1093" y="313"/>
                </a:cubicBezTo>
                <a:cubicBezTo>
                  <a:pt x="1093" y="312"/>
                  <a:pt x="1093" y="312"/>
                  <a:pt x="1094" y="312"/>
                </a:cubicBezTo>
                <a:cubicBezTo>
                  <a:pt x="1094" y="311"/>
                  <a:pt x="1095" y="311"/>
                  <a:pt x="1095" y="310"/>
                </a:cubicBezTo>
                <a:cubicBezTo>
                  <a:pt x="1095" y="309"/>
                  <a:pt x="1095" y="309"/>
                  <a:pt x="1096" y="308"/>
                </a:cubicBezTo>
                <a:cubicBezTo>
                  <a:pt x="1097" y="308"/>
                  <a:pt x="1097" y="308"/>
                  <a:pt x="1098" y="308"/>
                </a:cubicBezTo>
                <a:cubicBezTo>
                  <a:pt x="1098" y="308"/>
                  <a:pt x="1097" y="309"/>
                  <a:pt x="1097" y="310"/>
                </a:cubicBezTo>
                <a:cubicBezTo>
                  <a:pt x="1098" y="310"/>
                  <a:pt x="1099" y="310"/>
                  <a:pt x="1099" y="309"/>
                </a:cubicBezTo>
                <a:cubicBezTo>
                  <a:pt x="1099" y="308"/>
                  <a:pt x="1099" y="306"/>
                  <a:pt x="1099" y="306"/>
                </a:cubicBezTo>
                <a:cubicBezTo>
                  <a:pt x="1100" y="306"/>
                  <a:pt x="1101" y="307"/>
                  <a:pt x="1101" y="306"/>
                </a:cubicBezTo>
                <a:cubicBezTo>
                  <a:pt x="1101" y="306"/>
                  <a:pt x="1101" y="305"/>
                  <a:pt x="1102" y="306"/>
                </a:cubicBezTo>
                <a:cubicBezTo>
                  <a:pt x="1103" y="306"/>
                  <a:pt x="1103" y="305"/>
                  <a:pt x="1104" y="305"/>
                </a:cubicBezTo>
                <a:cubicBezTo>
                  <a:pt x="1104" y="305"/>
                  <a:pt x="1103" y="304"/>
                  <a:pt x="1103" y="303"/>
                </a:cubicBezTo>
                <a:cubicBezTo>
                  <a:pt x="1104" y="303"/>
                  <a:pt x="1106" y="303"/>
                  <a:pt x="1107" y="303"/>
                </a:cubicBezTo>
                <a:cubicBezTo>
                  <a:pt x="1107" y="303"/>
                  <a:pt x="1107" y="303"/>
                  <a:pt x="1107" y="302"/>
                </a:cubicBezTo>
                <a:cubicBezTo>
                  <a:pt x="1107" y="302"/>
                  <a:pt x="1108" y="302"/>
                  <a:pt x="1108" y="303"/>
                </a:cubicBezTo>
                <a:cubicBezTo>
                  <a:pt x="1109" y="303"/>
                  <a:pt x="1109" y="303"/>
                  <a:pt x="1110" y="303"/>
                </a:cubicBezTo>
                <a:cubicBezTo>
                  <a:pt x="1109" y="304"/>
                  <a:pt x="1109" y="305"/>
                  <a:pt x="1108" y="305"/>
                </a:cubicBezTo>
                <a:cubicBezTo>
                  <a:pt x="1107" y="306"/>
                  <a:pt x="1107" y="307"/>
                  <a:pt x="1107" y="307"/>
                </a:cubicBezTo>
                <a:cubicBezTo>
                  <a:pt x="1107" y="308"/>
                  <a:pt x="1107" y="308"/>
                  <a:pt x="1107" y="309"/>
                </a:cubicBezTo>
                <a:cubicBezTo>
                  <a:pt x="1107" y="309"/>
                  <a:pt x="1107" y="309"/>
                  <a:pt x="1107" y="309"/>
                </a:cubicBezTo>
                <a:cubicBezTo>
                  <a:pt x="1107" y="311"/>
                  <a:pt x="1107" y="312"/>
                  <a:pt x="1108" y="313"/>
                </a:cubicBezTo>
                <a:cubicBezTo>
                  <a:pt x="1108" y="314"/>
                  <a:pt x="1108" y="314"/>
                  <a:pt x="1109" y="315"/>
                </a:cubicBezTo>
                <a:cubicBezTo>
                  <a:pt x="1110" y="315"/>
                  <a:pt x="1111" y="315"/>
                  <a:pt x="1111" y="316"/>
                </a:cubicBezTo>
                <a:cubicBezTo>
                  <a:pt x="1110" y="316"/>
                  <a:pt x="1111" y="316"/>
                  <a:pt x="1111" y="316"/>
                </a:cubicBezTo>
                <a:close/>
                <a:moveTo>
                  <a:pt x="1074" y="340"/>
                </a:moveTo>
                <a:cubicBezTo>
                  <a:pt x="1074" y="340"/>
                  <a:pt x="1074" y="340"/>
                  <a:pt x="1074" y="340"/>
                </a:cubicBezTo>
                <a:cubicBezTo>
                  <a:pt x="1074" y="340"/>
                  <a:pt x="1074" y="340"/>
                  <a:pt x="1074" y="341"/>
                </a:cubicBezTo>
                <a:cubicBezTo>
                  <a:pt x="1074" y="341"/>
                  <a:pt x="1073" y="341"/>
                  <a:pt x="1073" y="341"/>
                </a:cubicBezTo>
                <a:cubicBezTo>
                  <a:pt x="1072" y="341"/>
                  <a:pt x="1072" y="340"/>
                  <a:pt x="1072" y="340"/>
                </a:cubicBezTo>
                <a:cubicBezTo>
                  <a:pt x="1071" y="340"/>
                  <a:pt x="1070" y="340"/>
                  <a:pt x="1070" y="340"/>
                </a:cubicBezTo>
                <a:cubicBezTo>
                  <a:pt x="1069" y="340"/>
                  <a:pt x="1069" y="341"/>
                  <a:pt x="1069" y="340"/>
                </a:cubicBezTo>
                <a:cubicBezTo>
                  <a:pt x="1069" y="340"/>
                  <a:pt x="1069" y="339"/>
                  <a:pt x="1069" y="338"/>
                </a:cubicBezTo>
                <a:cubicBezTo>
                  <a:pt x="1068" y="338"/>
                  <a:pt x="1068" y="338"/>
                  <a:pt x="1068" y="338"/>
                </a:cubicBezTo>
                <a:cubicBezTo>
                  <a:pt x="1068" y="340"/>
                  <a:pt x="1067" y="341"/>
                  <a:pt x="1067" y="343"/>
                </a:cubicBezTo>
                <a:cubicBezTo>
                  <a:pt x="1067" y="344"/>
                  <a:pt x="1067" y="344"/>
                  <a:pt x="1066" y="345"/>
                </a:cubicBezTo>
                <a:cubicBezTo>
                  <a:pt x="1066" y="345"/>
                  <a:pt x="1067" y="346"/>
                  <a:pt x="1067" y="346"/>
                </a:cubicBezTo>
                <a:cubicBezTo>
                  <a:pt x="1067" y="346"/>
                  <a:pt x="1068" y="345"/>
                  <a:pt x="1068" y="345"/>
                </a:cubicBezTo>
                <a:cubicBezTo>
                  <a:pt x="1069" y="345"/>
                  <a:pt x="1069" y="345"/>
                  <a:pt x="1069" y="345"/>
                </a:cubicBezTo>
                <a:cubicBezTo>
                  <a:pt x="1070" y="345"/>
                  <a:pt x="1069" y="344"/>
                  <a:pt x="1069" y="344"/>
                </a:cubicBezTo>
                <a:cubicBezTo>
                  <a:pt x="1070" y="344"/>
                  <a:pt x="1070" y="344"/>
                  <a:pt x="1071" y="344"/>
                </a:cubicBezTo>
                <a:cubicBezTo>
                  <a:pt x="1072" y="344"/>
                  <a:pt x="1074" y="345"/>
                  <a:pt x="1071" y="345"/>
                </a:cubicBezTo>
                <a:cubicBezTo>
                  <a:pt x="1070" y="345"/>
                  <a:pt x="1069" y="345"/>
                  <a:pt x="1070" y="347"/>
                </a:cubicBezTo>
                <a:cubicBezTo>
                  <a:pt x="1070" y="347"/>
                  <a:pt x="1071" y="347"/>
                  <a:pt x="1071" y="348"/>
                </a:cubicBezTo>
                <a:cubicBezTo>
                  <a:pt x="1072" y="348"/>
                  <a:pt x="1071" y="348"/>
                  <a:pt x="1071" y="349"/>
                </a:cubicBezTo>
                <a:cubicBezTo>
                  <a:pt x="1071" y="349"/>
                  <a:pt x="1071" y="349"/>
                  <a:pt x="1072" y="350"/>
                </a:cubicBezTo>
                <a:cubicBezTo>
                  <a:pt x="1072" y="350"/>
                  <a:pt x="1072" y="350"/>
                  <a:pt x="1073" y="350"/>
                </a:cubicBezTo>
                <a:cubicBezTo>
                  <a:pt x="1073" y="350"/>
                  <a:pt x="1073" y="351"/>
                  <a:pt x="1073" y="351"/>
                </a:cubicBezTo>
                <a:cubicBezTo>
                  <a:pt x="1074" y="351"/>
                  <a:pt x="1073" y="354"/>
                  <a:pt x="1073" y="354"/>
                </a:cubicBezTo>
                <a:cubicBezTo>
                  <a:pt x="1071" y="354"/>
                  <a:pt x="1072" y="355"/>
                  <a:pt x="1072" y="356"/>
                </a:cubicBezTo>
                <a:cubicBezTo>
                  <a:pt x="1072" y="357"/>
                  <a:pt x="1072" y="359"/>
                  <a:pt x="1073" y="360"/>
                </a:cubicBezTo>
                <a:cubicBezTo>
                  <a:pt x="1073" y="361"/>
                  <a:pt x="1073" y="363"/>
                  <a:pt x="1072" y="364"/>
                </a:cubicBezTo>
                <a:cubicBezTo>
                  <a:pt x="1072" y="365"/>
                  <a:pt x="1071" y="365"/>
                  <a:pt x="1070" y="365"/>
                </a:cubicBezTo>
                <a:cubicBezTo>
                  <a:pt x="1070" y="364"/>
                  <a:pt x="1070" y="364"/>
                  <a:pt x="1070" y="364"/>
                </a:cubicBezTo>
                <a:cubicBezTo>
                  <a:pt x="1069" y="364"/>
                  <a:pt x="1067" y="365"/>
                  <a:pt x="1065" y="365"/>
                </a:cubicBezTo>
                <a:cubicBezTo>
                  <a:pt x="1064" y="366"/>
                  <a:pt x="1064" y="366"/>
                  <a:pt x="1063" y="366"/>
                </a:cubicBezTo>
                <a:cubicBezTo>
                  <a:pt x="1063" y="366"/>
                  <a:pt x="1062" y="366"/>
                  <a:pt x="1062" y="366"/>
                </a:cubicBezTo>
                <a:cubicBezTo>
                  <a:pt x="1062" y="366"/>
                  <a:pt x="1062" y="365"/>
                  <a:pt x="1062" y="365"/>
                </a:cubicBezTo>
                <a:cubicBezTo>
                  <a:pt x="1061" y="365"/>
                  <a:pt x="1059" y="365"/>
                  <a:pt x="1058" y="364"/>
                </a:cubicBezTo>
                <a:cubicBezTo>
                  <a:pt x="1058" y="363"/>
                  <a:pt x="1057" y="364"/>
                  <a:pt x="1057" y="363"/>
                </a:cubicBezTo>
                <a:cubicBezTo>
                  <a:pt x="1056" y="362"/>
                  <a:pt x="1056" y="361"/>
                  <a:pt x="1055" y="361"/>
                </a:cubicBezTo>
                <a:cubicBezTo>
                  <a:pt x="1054" y="361"/>
                  <a:pt x="1054" y="361"/>
                  <a:pt x="1053" y="361"/>
                </a:cubicBezTo>
                <a:cubicBezTo>
                  <a:pt x="1053" y="360"/>
                  <a:pt x="1052" y="361"/>
                  <a:pt x="1052" y="361"/>
                </a:cubicBezTo>
                <a:cubicBezTo>
                  <a:pt x="1051" y="361"/>
                  <a:pt x="1051" y="361"/>
                  <a:pt x="1050" y="360"/>
                </a:cubicBezTo>
                <a:cubicBezTo>
                  <a:pt x="1050" y="360"/>
                  <a:pt x="1049" y="359"/>
                  <a:pt x="1049" y="359"/>
                </a:cubicBezTo>
                <a:cubicBezTo>
                  <a:pt x="1049" y="359"/>
                  <a:pt x="1049" y="358"/>
                  <a:pt x="1049" y="358"/>
                </a:cubicBezTo>
                <a:cubicBezTo>
                  <a:pt x="1048" y="358"/>
                  <a:pt x="1048" y="356"/>
                  <a:pt x="1048" y="355"/>
                </a:cubicBezTo>
                <a:cubicBezTo>
                  <a:pt x="1048" y="355"/>
                  <a:pt x="1048" y="355"/>
                  <a:pt x="1048" y="354"/>
                </a:cubicBezTo>
                <a:cubicBezTo>
                  <a:pt x="1048" y="354"/>
                  <a:pt x="1048" y="353"/>
                  <a:pt x="1048" y="353"/>
                </a:cubicBezTo>
                <a:cubicBezTo>
                  <a:pt x="1048" y="352"/>
                  <a:pt x="1048" y="352"/>
                  <a:pt x="1048" y="351"/>
                </a:cubicBezTo>
                <a:cubicBezTo>
                  <a:pt x="1049" y="351"/>
                  <a:pt x="1049" y="350"/>
                  <a:pt x="1050" y="350"/>
                </a:cubicBezTo>
                <a:cubicBezTo>
                  <a:pt x="1051" y="349"/>
                  <a:pt x="1049" y="349"/>
                  <a:pt x="1049" y="348"/>
                </a:cubicBezTo>
                <a:cubicBezTo>
                  <a:pt x="1050" y="348"/>
                  <a:pt x="1050" y="348"/>
                  <a:pt x="1050" y="347"/>
                </a:cubicBezTo>
                <a:cubicBezTo>
                  <a:pt x="1050" y="346"/>
                  <a:pt x="1051" y="347"/>
                  <a:pt x="1051" y="346"/>
                </a:cubicBezTo>
                <a:cubicBezTo>
                  <a:pt x="1051" y="345"/>
                  <a:pt x="1051" y="345"/>
                  <a:pt x="1051" y="344"/>
                </a:cubicBezTo>
                <a:cubicBezTo>
                  <a:pt x="1051" y="344"/>
                  <a:pt x="1053" y="342"/>
                  <a:pt x="1053" y="342"/>
                </a:cubicBezTo>
                <a:cubicBezTo>
                  <a:pt x="1053" y="341"/>
                  <a:pt x="1054" y="342"/>
                  <a:pt x="1055" y="342"/>
                </a:cubicBezTo>
                <a:cubicBezTo>
                  <a:pt x="1055" y="342"/>
                  <a:pt x="1055" y="341"/>
                  <a:pt x="1054" y="341"/>
                </a:cubicBezTo>
                <a:cubicBezTo>
                  <a:pt x="1054" y="340"/>
                  <a:pt x="1053" y="341"/>
                  <a:pt x="1053" y="340"/>
                </a:cubicBezTo>
                <a:cubicBezTo>
                  <a:pt x="1053" y="340"/>
                  <a:pt x="1052" y="340"/>
                  <a:pt x="1052" y="340"/>
                </a:cubicBezTo>
                <a:cubicBezTo>
                  <a:pt x="1052" y="340"/>
                  <a:pt x="1051" y="339"/>
                  <a:pt x="1051" y="338"/>
                </a:cubicBezTo>
                <a:cubicBezTo>
                  <a:pt x="1051" y="338"/>
                  <a:pt x="1051" y="338"/>
                  <a:pt x="1050" y="338"/>
                </a:cubicBezTo>
                <a:cubicBezTo>
                  <a:pt x="1050" y="337"/>
                  <a:pt x="1050" y="336"/>
                  <a:pt x="1050" y="336"/>
                </a:cubicBezTo>
                <a:cubicBezTo>
                  <a:pt x="1049" y="336"/>
                  <a:pt x="1050" y="336"/>
                  <a:pt x="1050" y="336"/>
                </a:cubicBezTo>
                <a:cubicBezTo>
                  <a:pt x="1050" y="335"/>
                  <a:pt x="1048" y="335"/>
                  <a:pt x="1048" y="334"/>
                </a:cubicBezTo>
                <a:cubicBezTo>
                  <a:pt x="1048" y="333"/>
                  <a:pt x="1048" y="334"/>
                  <a:pt x="1047" y="334"/>
                </a:cubicBezTo>
                <a:cubicBezTo>
                  <a:pt x="1047" y="333"/>
                  <a:pt x="1047" y="333"/>
                  <a:pt x="1046" y="332"/>
                </a:cubicBezTo>
                <a:cubicBezTo>
                  <a:pt x="1046" y="332"/>
                  <a:pt x="1046" y="332"/>
                  <a:pt x="1045" y="331"/>
                </a:cubicBezTo>
                <a:cubicBezTo>
                  <a:pt x="1045" y="331"/>
                  <a:pt x="1045" y="331"/>
                  <a:pt x="1045" y="330"/>
                </a:cubicBezTo>
                <a:cubicBezTo>
                  <a:pt x="1045" y="329"/>
                  <a:pt x="1044" y="330"/>
                  <a:pt x="1044" y="329"/>
                </a:cubicBezTo>
                <a:cubicBezTo>
                  <a:pt x="1044" y="328"/>
                  <a:pt x="1043" y="328"/>
                  <a:pt x="1043" y="328"/>
                </a:cubicBezTo>
                <a:cubicBezTo>
                  <a:pt x="1043" y="327"/>
                  <a:pt x="1043" y="327"/>
                  <a:pt x="1043" y="326"/>
                </a:cubicBezTo>
                <a:cubicBezTo>
                  <a:pt x="1042" y="326"/>
                  <a:pt x="1042" y="326"/>
                  <a:pt x="1042" y="326"/>
                </a:cubicBezTo>
                <a:cubicBezTo>
                  <a:pt x="1042" y="325"/>
                  <a:pt x="1042" y="324"/>
                  <a:pt x="1042" y="322"/>
                </a:cubicBezTo>
                <a:cubicBezTo>
                  <a:pt x="1041" y="323"/>
                  <a:pt x="1042" y="322"/>
                  <a:pt x="1041" y="322"/>
                </a:cubicBezTo>
                <a:cubicBezTo>
                  <a:pt x="1041" y="321"/>
                  <a:pt x="1042" y="320"/>
                  <a:pt x="1042" y="320"/>
                </a:cubicBezTo>
                <a:cubicBezTo>
                  <a:pt x="1042" y="319"/>
                  <a:pt x="1042" y="319"/>
                  <a:pt x="1041" y="318"/>
                </a:cubicBezTo>
                <a:cubicBezTo>
                  <a:pt x="1041" y="317"/>
                  <a:pt x="1039" y="319"/>
                  <a:pt x="1038" y="318"/>
                </a:cubicBezTo>
                <a:cubicBezTo>
                  <a:pt x="1038" y="318"/>
                  <a:pt x="1037" y="318"/>
                  <a:pt x="1037" y="318"/>
                </a:cubicBezTo>
                <a:cubicBezTo>
                  <a:pt x="1037" y="317"/>
                  <a:pt x="1039" y="317"/>
                  <a:pt x="1038" y="317"/>
                </a:cubicBezTo>
                <a:cubicBezTo>
                  <a:pt x="1038" y="316"/>
                  <a:pt x="1038" y="315"/>
                  <a:pt x="1039" y="315"/>
                </a:cubicBezTo>
                <a:cubicBezTo>
                  <a:pt x="1039" y="315"/>
                  <a:pt x="1039" y="311"/>
                  <a:pt x="1040" y="311"/>
                </a:cubicBezTo>
                <a:cubicBezTo>
                  <a:pt x="1040" y="311"/>
                  <a:pt x="1040" y="310"/>
                  <a:pt x="1040" y="310"/>
                </a:cubicBezTo>
                <a:cubicBezTo>
                  <a:pt x="1040" y="310"/>
                  <a:pt x="1040" y="309"/>
                  <a:pt x="1040" y="309"/>
                </a:cubicBezTo>
                <a:cubicBezTo>
                  <a:pt x="1041" y="309"/>
                  <a:pt x="1042" y="308"/>
                  <a:pt x="1041" y="308"/>
                </a:cubicBezTo>
                <a:cubicBezTo>
                  <a:pt x="1041" y="308"/>
                  <a:pt x="1041" y="308"/>
                  <a:pt x="1041" y="307"/>
                </a:cubicBezTo>
                <a:cubicBezTo>
                  <a:pt x="1041" y="307"/>
                  <a:pt x="1041" y="306"/>
                  <a:pt x="1041" y="306"/>
                </a:cubicBezTo>
                <a:cubicBezTo>
                  <a:pt x="1041" y="306"/>
                  <a:pt x="1042" y="305"/>
                  <a:pt x="1042" y="306"/>
                </a:cubicBezTo>
                <a:cubicBezTo>
                  <a:pt x="1042" y="305"/>
                  <a:pt x="1043" y="306"/>
                  <a:pt x="1043" y="305"/>
                </a:cubicBezTo>
                <a:cubicBezTo>
                  <a:pt x="1043" y="304"/>
                  <a:pt x="1044" y="304"/>
                  <a:pt x="1044" y="305"/>
                </a:cubicBezTo>
                <a:cubicBezTo>
                  <a:pt x="1044" y="305"/>
                  <a:pt x="1044" y="306"/>
                  <a:pt x="1044" y="306"/>
                </a:cubicBezTo>
                <a:cubicBezTo>
                  <a:pt x="1045" y="306"/>
                  <a:pt x="1045" y="306"/>
                  <a:pt x="1046" y="306"/>
                </a:cubicBezTo>
                <a:cubicBezTo>
                  <a:pt x="1045" y="306"/>
                  <a:pt x="1045" y="307"/>
                  <a:pt x="1045" y="307"/>
                </a:cubicBezTo>
                <a:cubicBezTo>
                  <a:pt x="1045" y="307"/>
                  <a:pt x="1047" y="306"/>
                  <a:pt x="1047" y="306"/>
                </a:cubicBezTo>
                <a:cubicBezTo>
                  <a:pt x="1047" y="306"/>
                  <a:pt x="1047" y="305"/>
                  <a:pt x="1047" y="305"/>
                </a:cubicBezTo>
                <a:cubicBezTo>
                  <a:pt x="1046" y="305"/>
                  <a:pt x="1045" y="304"/>
                  <a:pt x="1046" y="303"/>
                </a:cubicBezTo>
                <a:cubicBezTo>
                  <a:pt x="1047" y="305"/>
                  <a:pt x="1048" y="304"/>
                  <a:pt x="1048" y="303"/>
                </a:cubicBezTo>
                <a:cubicBezTo>
                  <a:pt x="1049" y="304"/>
                  <a:pt x="1050" y="303"/>
                  <a:pt x="1051" y="302"/>
                </a:cubicBezTo>
                <a:cubicBezTo>
                  <a:pt x="1052" y="302"/>
                  <a:pt x="1053" y="302"/>
                  <a:pt x="1054" y="302"/>
                </a:cubicBezTo>
                <a:cubicBezTo>
                  <a:pt x="1054" y="302"/>
                  <a:pt x="1055" y="302"/>
                  <a:pt x="1055" y="301"/>
                </a:cubicBezTo>
                <a:cubicBezTo>
                  <a:pt x="1055" y="301"/>
                  <a:pt x="1055" y="301"/>
                  <a:pt x="1056" y="301"/>
                </a:cubicBezTo>
                <a:cubicBezTo>
                  <a:pt x="1056" y="300"/>
                  <a:pt x="1057" y="301"/>
                  <a:pt x="1057" y="300"/>
                </a:cubicBezTo>
                <a:cubicBezTo>
                  <a:pt x="1057" y="299"/>
                  <a:pt x="1059" y="299"/>
                  <a:pt x="1058" y="298"/>
                </a:cubicBezTo>
                <a:cubicBezTo>
                  <a:pt x="1058" y="298"/>
                  <a:pt x="1058" y="298"/>
                  <a:pt x="1058" y="298"/>
                </a:cubicBezTo>
                <a:cubicBezTo>
                  <a:pt x="1059" y="298"/>
                  <a:pt x="1060" y="298"/>
                  <a:pt x="1061" y="299"/>
                </a:cubicBezTo>
                <a:cubicBezTo>
                  <a:pt x="1062" y="299"/>
                  <a:pt x="1061" y="299"/>
                  <a:pt x="1061" y="300"/>
                </a:cubicBezTo>
                <a:cubicBezTo>
                  <a:pt x="1062" y="300"/>
                  <a:pt x="1063" y="300"/>
                  <a:pt x="1064" y="300"/>
                </a:cubicBezTo>
                <a:cubicBezTo>
                  <a:pt x="1064" y="301"/>
                  <a:pt x="1066" y="301"/>
                  <a:pt x="1066" y="300"/>
                </a:cubicBezTo>
                <a:cubicBezTo>
                  <a:pt x="1066" y="301"/>
                  <a:pt x="1066" y="301"/>
                  <a:pt x="1067" y="301"/>
                </a:cubicBezTo>
                <a:cubicBezTo>
                  <a:pt x="1067" y="301"/>
                  <a:pt x="1068" y="302"/>
                  <a:pt x="1068" y="302"/>
                </a:cubicBezTo>
                <a:cubicBezTo>
                  <a:pt x="1068" y="302"/>
                  <a:pt x="1069" y="302"/>
                  <a:pt x="1069" y="303"/>
                </a:cubicBezTo>
                <a:cubicBezTo>
                  <a:pt x="1069" y="303"/>
                  <a:pt x="1069" y="304"/>
                  <a:pt x="1070" y="304"/>
                </a:cubicBezTo>
                <a:cubicBezTo>
                  <a:pt x="1070" y="304"/>
                  <a:pt x="1069" y="304"/>
                  <a:pt x="1070" y="304"/>
                </a:cubicBezTo>
                <a:cubicBezTo>
                  <a:pt x="1070" y="304"/>
                  <a:pt x="1071" y="304"/>
                  <a:pt x="1071" y="304"/>
                </a:cubicBezTo>
                <a:cubicBezTo>
                  <a:pt x="1072" y="304"/>
                  <a:pt x="1071" y="305"/>
                  <a:pt x="1072" y="305"/>
                </a:cubicBezTo>
                <a:cubicBezTo>
                  <a:pt x="1072" y="305"/>
                  <a:pt x="1072" y="307"/>
                  <a:pt x="1072" y="307"/>
                </a:cubicBezTo>
                <a:cubicBezTo>
                  <a:pt x="1073" y="307"/>
                  <a:pt x="1073" y="307"/>
                  <a:pt x="1073" y="308"/>
                </a:cubicBezTo>
                <a:cubicBezTo>
                  <a:pt x="1073" y="309"/>
                  <a:pt x="1073" y="308"/>
                  <a:pt x="1073" y="308"/>
                </a:cubicBezTo>
                <a:cubicBezTo>
                  <a:pt x="1073" y="309"/>
                  <a:pt x="1074" y="309"/>
                  <a:pt x="1074" y="310"/>
                </a:cubicBezTo>
                <a:cubicBezTo>
                  <a:pt x="1075" y="310"/>
                  <a:pt x="1075" y="310"/>
                  <a:pt x="1075" y="312"/>
                </a:cubicBezTo>
                <a:cubicBezTo>
                  <a:pt x="1075" y="312"/>
                  <a:pt x="1074" y="312"/>
                  <a:pt x="1074" y="312"/>
                </a:cubicBezTo>
                <a:cubicBezTo>
                  <a:pt x="1074" y="313"/>
                  <a:pt x="1075" y="313"/>
                  <a:pt x="1074" y="314"/>
                </a:cubicBezTo>
                <a:cubicBezTo>
                  <a:pt x="1074" y="314"/>
                  <a:pt x="1074" y="314"/>
                  <a:pt x="1074" y="314"/>
                </a:cubicBezTo>
                <a:cubicBezTo>
                  <a:pt x="1074" y="315"/>
                  <a:pt x="1073" y="314"/>
                  <a:pt x="1072" y="314"/>
                </a:cubicBezTo>
                <a:cubicBezTo>
                  <a:pt x="1072" y="314"/>
                  <a:pt x="1071" y="315"/>
                  <a:pt x="1070" y="315"/>
                </a:cubicBezTo>
                <a:cubicBezTo>
                  <a:pt x="1070" y="316"/>
                  <a:pt x="1069" y="316"/>
                  <a:pt x="1069" y="316"/>
                </a:cubicBezTo>
                <a:cubicBezTo>
                  <a:pt x="1068" y="317"/>
                  <a:pt x="1069" y="317"/>
                  <a:pt x="1068" y="317"/>
                </a:cubicBezTo>
                <a:cubicBezTo>
                  <a:pt x="1068" y="317"/>
                  <a:pt x="1068" y="318"/>
                  <a:pt x="1068" y="318"/>
                </a:cubicBezTo>
                <a:cubicBezTo>
                  <a:pt x="1067" y="319"/>
                  <a:pt x="1067" y="319"/>
                  <a:pt x="1066" y="319"/>
                </a:cubicBezTo>
                <a:cubicBezTo>
                  <a:pt x="1066" y="318"/>
                  <a:pt x="1066" y="318"/>
                  <a:pt x="1065" y="318"/>
                </a:cubicBezTo>
                <a:cubicBezTo>
                  <a:pt x="1065" y="318"/>
                  <a:pt x="1065" y="318"/>
                  <a:pt x="1065" y="318"/>
                </a:cubicBezTo>
                <a:cubicBezTo>
                  <a:pt x="1064" y="318"/>
                  <a:pt x="1065" y="317"/>
                  <a:pt x="1065" y="317"/>
                </a:cubicBezTo>
                <a:cubicBezTo>
                  <a:pt x="1066" y="317"/>
                  <a:pt x="1066" y="317"/>
                  <a:pt x="1067" y="318"/>
                </a:cubicBezTo>
                <a:cubicBezTo>
                  <a:pt x="1067" y="318"/>
                  <a:pt x="1068" y="316"/>
                  <a:pt x="1068" y="316"/>
                </a:cubicBezTo>
                <a:cubicBezTo>
                  <a:pt x="1069" y="316"/>
                  <a:pt x="1069" y="316"/>
                  <a:pt x="1069" y="315"/>
                </a:cubicBezTo>
                <a:cubicBezTo>
                  <a:pt x="1069" y="315"/>
                  <a:pt x="1070" y="315"/>
                  <a:pt x="1070" y="315"/>
                </a:cubicBezTo>
                <a:cubicBezTo>
                  <a:pt x="1070" y="315"/>
                  <a:pt x="1071" y="314"/>
                  <a:pt x="1071" y="314"/>
                </a:cubicBezTo>
                <a:cubicBezTo>
                  <a:pt x="1071" y="313"/>
                  <a:pt x="1068" y="313"/>
                  <a:pt x="1067" y="312"/>
                </a:cubicBezTo>
                <a:cubicBezTo>
                  <a:pt x="1066" y="311"/>
                  <a:pt x="1065" y="311"/>
                  <a:pt x="1064" y="311"/>
                </a:cubicBezTo>
                <a:cubicBezTo>
                  <a:pt x="1063" y="312"/>
                  <a:pt x="1064" y="313"/>
                  <a:pt x="1064" y="314"/>
                </a:cubicBezTo>
                <a:cubicBezTo>
                  <a:pt x="1063" y="314"/>
                  <a:pt x="1063" y="314"/>
                  <a:pt x="1062" y="314"/>
                </a:cubicBezTo>
                <a:cubicBezTo>
                  <a:pt x="1062" y="314"/>
                  <a:pt x="1062" y="314"/>
                  <a:pt x="1062" y="314"/>
                </a:cubicBezTo>
                <a:cubicBezTo>
                  <a:pt x="1062" y="315"/>
                  <a:pt x="1059" y="314"/>
                  <a:pt x="1059" y="314"/>
                </a:cubicBezTo>
                <a:cubicBezTo>
                  <a:pt x="1059" y="314"/>
                  <a:pt x="1059" y="314"/>
                  <a:pt x="1059" y="314"/>
                </a:cubicBezTo>
                <a:cubicBezTo>
                  <a:pt x="1059" y="315"/>
                  <a:pt x="1059" y="315"/>
                  <a:pt x="1059" y="316"/>
                </a:cubicBezTo>
                <a:cubicBezTo>
                  <a:pt x="1059" y="316"/>
                  <a:pt x="1060" y="316"/>
                  <a:pt x="1060" y="317"/>
                </a:cubicBezTo>
                <a:cubicBezTo>
                  <a:pt x="1060" y="317"/>
                  <a:pt x="1062" y="317"/>
                  <a:pt x="1062" y="317"/>
                </a:cubicBezTo>
                <a:cubicBezTo>
                  <a:pt x="1061" y="319"/>
                  <a:pt x="1059" y="317"/>
                  <a:pt x="1057" y="317"/>
                </a:cubicBezTo>
                <a:cubicBezTo>
                  <a:pt x="1056" y="318"/>
                  <a:pt x="1056" y="318"/>
                  <a:pt x="1055" y="318"/>
                </a:cubicBezTo>
                <a:cubicBezTo>
                  <a:pt x="1056" y="319"/>
                  <a:pt x="1056" y="319"/>
                  <a:pt x="1057" y="319"/>
                </a:cubicBezTo>
                <a:cubicBezTo>
                  <a:pt x="1058" y="319"/>
                  <a:pt x="1058" y="320"/>
                  <a:pt x="1059" y="321"/>
                </a:cubicBezTo>
                <a:cubicBezTo>
                  <a:pt x="1059" y="321"/>
                  <a:pt x="1059" y="321"/>
                  <a:pt x="1059" y="321"/>
                </a:cubicBezTo>
                <a:cubicBezTo>
                  <a:pt x="1059" y="322"/>
                  <a:pt x="1059" y="321"/>
                  <a:pt x="1059" y="322"/>
                </a:cubicBezTo>
                <a:cubicBezTo>
                  <a:pt x="1060" y="322"/>
                  <a:pt x="1059" y="322"/>
                  <a:pt x="1060" y="322"/>
                </a:cubicBezTo>
                <a:cubicBezTo>
                  <a:pt x="1060" y="323"/>
                  <a:pt x="1060" y="324"/>
                  <a:pt x="1061" y="324"/>
                </a:cubicBezTo>
                <a:cubicBezTo>
                  <a:pt x="1061" y="324"/>
                  <a:pt x="1060" y="324"/>
                  <a:pt x="1061" y="325"/>
                </a:cubicBezTo>
                <a:cubicBezTo>
                  <a:pt x="1061" y="325"/>
                  <a:pt x="1061" y="325"/>
                  <a:pt x="1061" y="325"/>
                </a:cubicBezTo>
                <a:cubicBezTo>
                  <a:pt x="1062" y="325"/>
                  <a:pt x="1061" y="325"/>
                  <a:pt x="1063" y="325"/>
                </a:cubicBezTo>
                <a:cubicBezTo>
                  <a:pt x="1063" y="326"/>
                  <a:pt x="1063" y="326"/>
                  <a:pt x="1064" y="327"/>
                </a:cubicBezTo>
                <a:cubicBezTo>
                  <a:pt x="1065" y="327"/>
                  <a:pt x="1066" y="327"/>
                  <a:pt x="1067" y="327"/>
                </a:cubicBezTo>
                <a:cubicBezTo>
                  <a:pt x="1067" y="328"/>
                  <a:pt x="1067" y="329"/>
                  <a:pt x="1066" y="329"/>
                </a:cubicBezTo>
                <a:cubicBezTo>
                  <a:pt x="1066" y="330"/>
                  <a:pt x="1066" y="330"/>
                  <a:pt x="1066" y="331"/>
                </a:cubicBezTo>
                <a:cubicBezTo>
                  <a:pt x="1066" y="332"/>
                  <a:pt x="1065" y="332"/>
                  <a:pt x="1065" y="333"/>
                </a:cubicBezTo>
                <a:cubicBezTo>
                  <a:pt x="1065" y="333"/>
                  <a:pt x="1065" y="334"/>
                  <a:pt x="1066" y="334"/>
                </a:cubicBezTo>
                <a:cubicBezTo>
                  <a:pt x="1066" y="335"/>
                  <a:pt x="1067" y="336"/>
                  <a:pt x="1067" y="335"/>
                </a:cubicBezTo>
                <a:cubicBezTo>
                  <a:pt x="1068" y="333"/>
                  <a:pt x="1067" y="334"/>
                  <a:pt x="1067" y="334"/>
                </a:cubicBezTo>
                <a:cubicBezTo>
                  <a:pt x="1067" y="333"/>
                  <a:pt x="1067" y="333"/>
                  <a:pt x="1068" y="333"/>
                </a:cubicBezTo>
                <a:cubicBezTo>
                  <a:pt x="1068" y="333"/>
                  <a:pt x="1069" y="332"/>
                  <a:pt x="1069" y="332"/>
                </a:cubicBezTo>
                <a:cubicBezTo>
                  <a:pt x="1070" y="331"/>
                  <a:pt x="1070" y="331"/>
                  <a:pt x="1071" y="332"/>
                </a:cubicBezTo>
                <a:cubicBezTo>
                  <a:pt x="1072" y="332"/>
                  <a:pt x="1073" y="332"/>
                  <a:pt x="1073" y="332"/>
                </a:cubicBezTo>
                <a:cubicBezTo>
                  <a:pt x="1074" y="333"/>
                  <a:pt x="1072" y="334"/>
                  <a:pt x="1074" y="335"/>
                </a:cubicBezTo>
                <a:cubicBezTo>
                  <a:pt x="1075" y="336"/>
                  <a:pt x="1077" y="337"/>
                  <a:pt x="1076" y="339"/>
                </a:cubicBezTo>
                <a:cubicBezTo>
                  <a:pt x="1076" y="339"/>
                  <a:pt x="1075" y="339"/>
                  <a:pt x="1074" y="340"/>
                </a:cubicBezTo>
                <a:close/>
                <a:moveTo>
                  <a:pt x="1036" y="364"/>
                </a:moveTo>
                <a:cubicBezTo>
                  <a:pt x="1036" y="364"/>
                  <a:pt x="1036" y="365"/>
                  <a:pt x="1035" y="365"/>
                </a:cubicBezTo>
                <a:cubicBezTo>
                  <a:pt x="1035" y="366"/>
                  <a:pt x="1034" y="366"/>
                  <a:pt x="1033" y="365"/>
                </a:cubicBezTo>
                <a:cubicBezTo>
                  <a:pt x="1032" y="365"/>
                  <a:pt x="1032" y="363"/>
                  <a:pt x="1031" y="363"/>
                </a:cubicBezTo>
                <a:cubicBezTo>
                  <a:pt x="1031" y="363"/>
                  <a:pt x="1031" y="362"/>
                  <a:pt x="1031" y="362"/>
                </a:cubicBezTo>
                <a:cubicBezTo>
                  <a:pt x="1031" y="361"/>
                  <a:pt x="1030" y="361"/>
                  <a:pt x="1030" y="360"/>
                </a:cubicBezTo>
                <a:cubicBezTo>
                  <a:pt x="1030" y="359"/>
                  <a:pt x="1031" y="358"/>
                  <a:pt x="1030" y="358"/>
                </a:cubicBezTo>
                <a:cubicBezTo>
                  <a:pt x="1029" y="357"/>
                  <a:pt x="1028" y="357"/>
                  <a:pt x="1028" y="356"/>
                </a:cubicBezTo>
                <a:cubicBezTo>
                  <a:pt x="1029" y="356"/>
                  <a:pt x="1031" y="356"/>
                  <a:pt x="1031" y="357"/>
                </a:cubicBezTo>
                <a:cubicBezTo>
                  <a:pt x="1032" y="357"/>
                  <a:pt x="1032" y="359"/>
                  <a:pt x="1033" y="359"/>
                </a:cubicBezTo>
                <a:cubicBezTo>
                  <a:pt x="1035" y="360"/>
                  <a:pt x="1034" y="361"/>
                  <a:pt x="1034" y="362"/>
                </a:cubicBezTo>
                <a:cubicBezTo>
                  <a:pt x="1036" y="363"/>
                  <a:pt x="1036" y="362"/>
                  <a:pt x="1036" y="364"/>
                </a:cubicBezTo>
                <a:close/>
                <a:moveTo>
                  <a:pt x="1031" y="342"/>
                </a:moveTo>
                <a:cubicBezTo>
                  <a:pt x="1031" y="343"/>
                  <a:pt x="1032" y="343"/>
                  <a:pt x="1032" y="344"/>
                </a:cubicBezTo>
                <a:cubicBezTo>
                  <a:pt x="1032" y="344"/>
                  <a:pt x="1032" y="344"/>
                  <a:pt x="1032" y="344"/>
                </a:cubicBezTo>
                <a:cubicBezTo>
                  <a:pt x="1031" y="345"/>
                  <a:pt x="1029" y="343"/>
                  <a:pt x="1029" y="342"/>
                </a:cubicBezTo>
                <a:cubicBezTo>
                  <a:pt x="1030" y="342"/>
                  <a:pt x="1030" y="343"/>
                  <a:pt x="1031" y="342"/>
                </a:cubicBezTo>
                <a:cubicBezTo>
                  <a:pt x="1032" y="343"/>
                  <a:pt x="1031" y="342"/>
                  <a:pt x="1031" y="342"/>
                </a:cubicBezTo>
                <a:close/>
                <a:moveTo>
                  <a:pt x="1022" y="354"/>
                </a:moveTo>
                <a:cubicBezTo>
                  <a:pt x="1021" y="354"/>
                  <a:pt x="1022" y="355"/>
                  <a:pt x="1022" y="355"/>
                </a:cubicBezTo>
                <a:cubicBezTo>
                  <a:pt x="1022" y="357"/>
                  <a:pt x="1021" y="355"/>
                  <a:pt x="1019" y="355"/>
                </a:cubicBezTo>
                <a:cubicBezTo>
                  <a:pt x="1019" y="355"/>
                  <a:pt x="1019" y="355"/>
                  <a:pt x="1018" y="356"/>
                </a:cubicBezTo>
                <a:cubicBezTo>
                  <a:pt x="1018" y="356"/>
                  <a:pt x="1018" y="356"/>
                  <a:pt x="1018" y="356"/>
                </a:cubicBezTo>
                <a:cubicBezTo>
                  <a:pt x="1017" y="356"/>
                  <a:pt x="1016" y="356"/>
                  <a:pt x="1016" y="356"/>
                </a:cubicBezTo>
                <a:cubicBezTo>
                  <a:pt x="1016" y="355"/>
                  <a:pt x="1016" y="355"/>
                  <a:pt x="1016" y="355"/>
                </a:cubicBezTo>
                <a:cubicBezTo>
                  <a:pt x="1016" y="355"/>
                  <a:pt x="1016" y="354"/>
                  <a:pt x="1016" y="354"/>
                </a:cubicBezTo>
                <a:cubicBezTo>
                  <a:pt x="1017" y="354"/>
                  <a:pt x="1019" y="354"/>
                  <a:pt x="1019" y="354"/>
                </a:cubicBezTo>
                <a:cubicBezTo>
                  <a:pt x="1020" y="354"/>
                  <a:pt x="1021" y="354"/>
                  <a:pt x="1021" y="353"/>
                </a:cubicBezTo>
                <a:cubicBezTo>
                  <a:pt x="1021" y="354"/>
                  <a:pt x="1022" y="353"/>
                  <a:pt x="1021" y="353"/>
                </a:cubicBezTo>
                <a:cubicBezTo>
                  <a:pt x="1022" y="352"/>
                  <a:pt x="1021" y="352"/>
                  <a:pt x="1022" y="352"/>
                </a:cubicBezTo>
                <a:cubicBezTo>
                  <a:pt x="1022" y="353"/>
                  <a:pt x="1022" y="353"/>
                  <a:pt x="1022" y="354"/>
                </a:cubicBezTo>
                <a:close/>
                <a:moveTo>
                  <a:pt x="987" y="398"/>
                </a:moveTo>
                <a:cubicBezTo>
                  <a:pt x="986" y="398"/>
                  <a:pt x="986" y="396"/>
                  <a:pt x="986" y="396"/>
                </a:cubicBezTo>
                <a:cubicBezTo>
                  <a:pt x="986" y="396"/>
                  <a:pt x="987" y="395"/>
                  <a:pt x="987" y="395"/>
                </a:cubicBezTo>
                <a:cubicBezTo>
                  <a:pt x="987" y="395"/>
                  <a:pt x="987" y="396"/>
                  <a:pt x="987" y="396"/>
                </a:cubicBezTo>
                <a:cubicBezTo>
                  <a:pt x="987" y="396"/>
                  <a:pt x="987" y="397"/>
                  <a:pt x="987" y="398"/>
                </a:cubicBezTo>
                <a:close/>
                <a:moveTo>
                  <a:pt x="972" y="409"/>
                </a:moveTo>
                <a:cubicBezTo>
                  <a:pt x="971" y="409"/>
                  <a:pt x="972" y="405"/>
                  <a:pt x="972" y="409"/>
                </a:cubicBezTo>
                <a:close/>
                <a:moveTo>
                  <a:pt x="972" y="570"/>
                </a:moveTo>
                <a:cubicBezTo>
                  <a:pt x="972" y="570"/>
                  <a:pt x="972" y="570"/>
                  <a:pt x="972" y="570"/>
                </a:cubicBezTo>
                <a:cubicBezTo>
                  <a:pt x="971" y="570"/>
                  <a:pt x="970" y="570"/>
                  <a:pt x="969" y="570"/>
                </a:cubicBezTo>
                <a:cubicBezTo>
                  <a:pt x="970" y="569"/>
                  <a:pt x="971" y="568"/>
                  <a:pt x="972" y="568"/>
                </a:cubicBezTo>
                <a:cubicBezTo>
                  <a:pt x="972" y="568"/>
                  <a:pt x="972" y="570"/>
                  <a:pt x="972" y="570"/>
                </a:cubicBezTo>
                <a:close/>
                <a:moveTo>
                  <a:pt x="973" y="577"/>
                </a:moveTo>
                <a:cubicBezTo>
                  <a:pt x="974" y="577"/>
                  <a:pt x="973" y="577"/>
                  <a:pt x="974" y="577"/>
                </a:cubicBezTo>
                <a:cubicBezTo>
                  <a:pt x="974" y="577"/>
                  <a:pt x="975" y="577"/>
                  <a:pt x="975" y="577"/>
                </a:cubicBezTo>
                <a:cubicBezTo>
                  <a:pt x="976" y="577"/>
                  <a:pt x="975" y="575"/>
                  <a:pt x="977" y="576"/>
                </a:cubicBezTo>
                <a:cubicBezTo>
                  <a:pt x="977" y="576"/>
                  <a:pt x="977" y="577"/>
                  <a:pt x="978" y="577"/>
                </a:cubicBezTo>
                <a:cubicBezTo>
                  <a:pt x="978" y="577"/>
                  <a:pt x="979" y="578"/>
                  <a:pt x="978" y="578"/>
                </a:cubicBezTo>
                <a:cubicBezTo>
                  <a:pt x="978" y="578"/>
                  <a:pt x="978" y="579"/>
                  <a:pt x="978" y="579"/>
                </a:cubicBezTo>
                <a:cubicBezTo>
                  <a:pt x="979" y="580"/>
                  <a:pt x="979" y="579"/>
                  <a:pt x="979" y="580"/>
                </a:cubicBezTo>
                <a:cubicBezTo>
                  <a:pt x="980" y="580"/>
                  <a:pt x="980" y="581"/>
                  <a:pt x="980" y="581"/>
                </a:cubicBezTo>
                <a:cubicBezTo>
                  <a:pt x="982" y="581"/>
                  <a:pt x="981" y="579"/>
                  <a:pt x="983" y="580"/>
                </a:cubicBezTo>
                <a:cubicBezTo>
                  <a:pt x="983" y="580"/>
                  <a:pt x="983" y="580"/>
                  <a:pt x="983" y="580"/>
                </a:cubicBezTo>
                <a:cubicBezTo>
                  <a:pt x="982" y="581"/>
                  <a:pt x="982" y="581"/>
                  <a:pt x="982" y="581"/>
                </a:cubicBezTo>
                <a:cubicBezTo>
                  <a:pt x="982" y="582"/>
                  <a:pt x="982" y="583"/>
                  <a:pt x="982" y="583"/>
                </a:cubicBezTo>
                <a:cubicBezTo>
                  <a:pt x="980" y="584"/>
                  <a:pt x="980" y="584"/>
                  <a:pt x="980" y="585"/>
                </a:cubicBezTo>
                <a:cubicBezTo>
                  <a:pt x="980" y="586"/>
                  <a:pt x="980" y="587"/>
                  <a:pt x="980" y="587"/>
                </a:cubicBezTo>
                <a:cubicBezTo>
                  <a:pt x="980" y="588"/>
                  <a:pt x="980" y="588"/>
                  <a:pt x="979" y="589"/>
                </a:cubicBezTo>
                <a:cubicBezTo>
                  <a:pt x="977" y="589"/>
                  <a:pt x="979" y="589"/>
                  <a:pt x="980" y="589"/>
                </a:cubicBezTo>
                <a:cubicBezTo>
                  <a:pt x="980" y="590"/>
                  <a:pt x="979" y="591"/>
                  <a:pt x="980" y="591"/>
                </a:cubicBezTo>
                <a:cubicBezTo>
                  <a:pt x="980" y="591"/>
                  <a:pt x="981" y="591"/>
                  <a:pt x="982" y="591"/>
                </a:cubicBezTo>
                <a:cubicBezTo>
                  <a:pt x="981" y="592"/>
                  <a:pt x="982" y="592"/>
                  <a:pt x="980" y="592"/>
                </a:cubicBezTo>
                <a:cubicBezTo>
                  <a:pt x="980" y="592"/>
                  <a:pt x="980" y="592"/>
                  <a:pt x="979" y="592"/>
                </a:cubicBezTo>
                <a:cubicBezTo>
                  <a:pt x="978" y="592"/>
                  <a:pt x="978" y="593"/>
                  <a:pt x="978" y="594"/>
                </a:cubicBezTo>
                <a:cubicBezTo>
                  <a:pt x="979" y="594"/>
                  <a:pt x="978" y="595"/>
                  <a:pt x="978" y="595"/>
                </a:cubicBezTo>
                <a:cubicBezTo>
                  <a:pt x="978" y="596"/>
                  <a:pt x="979" y="595"/>
                  <a:pt x="979" y="596"/>
                </a:cubicBezTo>
                <a:cubicBezTo>
                  <a:pt x="979" y="595"/>
                  <a:pt x="978" y="596"/>
                  <a:pt x="978" y="596"/>
                </a:cubicBezTo>
                <a:cubicBezTo>
                  <a:pt x="978" y="596"/>
                  <a:pt x="977" y="595"/>
                  <a:pt x="977" y="595"/>
                </a:cubicBezTo>
                <a:cubicBezTo>
                  <a:pt x="977" y="594"/>
                  <a:pt x="978" y="593"/>
                  <a:pt x="976" y="593"/>
                </a:cubicBezTo>
                <a:cubicBezTo>
                  <a:pt x="975" y="593"/>
                  <a:pt x="974" y="592"/>
                  <a:pt x="973" y="592"/>
                </a:cubicBezTo>
                <a:cubicBezTo>
                  <a:pt x="973" y="592"/>
                  <a:pt x="973" y="593"/>
                  <a:pt x="973" y="593"/>
                </a:cubicBezTo>
                <a:cubicBezTo>
                  <a:pt x="973" y="593"/>
                  <a:pt x="970" y="594"/>
                  <a:pt x="971" y="594"/>
                </a:cubicBezTo>
                <a:cubicBezTo>
                  <a:pt x="972" y="595"/>
                  <a:pt x="971" y="595"/>
                  <a:pt x="971" y="595"/>
                </a:cubicBezTo>
                <a:cubicBezTo>
                  <a:pt x="970" y="595"/>
                  <a:pt x="970" y="596"/>
                  <a:pt x="970" y="595"/>
                </a:cubicBezTo>
                <a:cubicBezTo>
                  <a:pt x="970" y="595"/>
                  <a:pt x="970" y="594"/>
                  <a:pt x="969" y="594"/>
                </a:cubicBezTo>
                <a:cubicBezTo>
                  <a:pt x="969" y="594"/>
                  <a:pt x="969" y="594"/>
                  <a:pt x="969" y="593"/>
                </a:cubicBezTo>
                <a:cubicBezTo>
                  <a:pt x="969" y="593"/>
                  <a:pt x="968" y="593"/>
                  <a:pt x="968" y="593"/>
                </a:cubicBezTo>
                <a:cubicBezTo>
                  <a:pt x="968" y="592"/>
                  <a:pt x="969" y="592"/>
                  <a:pt x="968" y="591"/>
                </a:cubicBezTo>
                <a:cubicBezTo>
                  <a:pt x="968" y="591"/>
                  <a:pt x="967" y="591"/>
                  <a:pt x="968" y="590"/>
                </a:cubicBezTo>
                <a:cubicBezTo>
                  <a:pt x="968" y="590"/>
                  <a:pt x="968" y="590"/>
                  <a:pt x="968" y="590"/>
                </a:cubicBezTo>
                <a:cubicBezTo>
                  <a:pt x="968" y="589"/>
                  <a:pt x="968" y="589"/>
                  <a:pt x="968" y="589"/>
                </a:cubicBezTo>
                <a:cubicBezTo>
                  <a:pt x="969" y="588"/>
                  <a:pt x="968" y="587"/>
                  <a:pt x="969" y="587"/>
                </a:cubicBezTo>
                <a:cubicBezTo>
                  <a:pt x="969" y="586"/>
                  <a:pt x="967" y="584"/>
                  <a:pt x="967" y="584"/>
                </a:cubicBezTo>
                <a:cubicBezTo>
                  <a:pt x="967" y="584"/>
                  <a:pt x="968" y="583"/>
                  <a:pt x="968" y="582"/>
                </a:cubicBezTo>
                <a:cubicBezTo>
                  <a:pt x="969" y="581"/>
                  <a:pt x="967" y="581"/>
                  <a:pt x="968" y="580"/>
                </a:cubicBezTo>
                <a:cubicBezTo>
                  <a:pt x="968" y="579"/>
                  <a:pt x="968" y="579"/>
                  <a:pt x="968" y="579"/>
                </a:cubicBezTo>
                <a:cubicBezTo>
                  <a:pt x="968" y="577"/>
                  <a:pt x="970" y="578"/>
                  <a:pt x="970" y="577"/>
                </a:cubicBezTo>
                <a:cubicBezTo>
                  <a:pt x="971" y="577"/>
                  <a:pt x="972" y="577"/>
                  <a:pt x="972" y="577"/>
                </a:cubicBezTo>
                <a:cubicBezTo>
                  <a:pt x="973" y="577"/>
                  <a:pt x="973" y="577"/>
                  <a:pt x="973" y="577"/>
                </a:cubicBezTo>
                <a:close/>
                <a:moveTo>
                  <a:pt x="984" y="599"/>
                </a:moveTo>
                <a:cubicBezTo>
                  <a:pt x="984" y="600"/>
                  <a:pt x="983" y="601"/>
                  <a:pt x="982" y="601"/>
                </a:cubicBezTo>
                <a:cubicBezTo>
                  <a:pt x="983" y="600"/>
                  <a:pt x="983" y="599"/>
                  <a:pt x="984" y="599"/>
                </a:cubicBezTo>
                <a:cubicBezTo>
                  <a:pt x="984" y="600"/>
                  <a:pt x="984" y="599"/>
                  <a:pt x="984" y="599"/>
                </a:cubicBezTo>
                <a:close/>
                <a:moveTo>
                  <a:pt x="983" y="656"/>
                </a:moveTo>
                <a:cubicBezTo>
                  <a:pt x="982" y="655"/>
                  <a:pt x="981" y="655"/>
                  <a:pt x="981" y="655"/>
                </a:cubicBezTo>
                <a:cubicBezTo>
                  <a:pt x="981" y="655"/>
                  <a:pt x="980" y="655"/>
                  <a:pt x="980" y="655"/>
                </a:cubicBezTo>
                <a:cubicBezTo>
                  <a:pt x="980" y="654"/>
                  <a:pt x="980" y="654"/>
                  <a:pt x="980" y="653"/>
                </a:cubicBezTo>
                <a:cubicBezTo>
                  <a:pt x="980" y="653"/>
                  <a:pt x="980" y="652"/>
                  <a:pt x="980" y="652"/>
                </a:cubicBezTo>
                <a:cubicBezTo>
                  <a:pt x="979" y="651"/>
                  <a:pt x="979" y="651"/>
                  <a:pt x="979" y="650"/>
                </a:cubicBezTo>
                <a:cubicBezTo>
                  <a:pt x="979" y="649"/>
                  <a:pt x="980" y="648"/>
                  <a:pt x="979" y="648"/>
                </a:cubicBezTo>
                <a:cubicBezTo>
                  <a:pt x="979" y="647"/>
                  <a:pt x="978" y="647"/>
                  <a:pt x="978" y="646"/>
                </a:cubicBezTo>
                <a:cubicBezTo>
                  <a:pt x="979" y="645"/>
                  <a:pt x="979" y="645"/>
                  <a:pt x="979" y="644"/>
                </a:cubicBezTo>
                <a:cubicBezTo>
                  <a:pt x="978" y="644"/>
                  <a:pt x="978" y="644"/>
                  <a:pt x="977" y="644"/>
                </a:cubicBezTo>
                <a:cubicBezTo>
                  <a:pt x="978" y="643"/>
                  <a:pt x="978" y="643"/>
                  <a:pt x="978" y="643"/>
                </a:cubicBezTo>
                <a:cubicBezTo>
                  <a:pt x="978" y="642"/>
                  <a:pt x="978" y="643"/>
                  <a:pt x="978" y="642"/>
                </a:cubicBezTo>
                <a:cubicBezTo>
                  <a:pt x="978" y="642"/>
                  <a:pt x="978" y="641"/>
                  <a:pt x="978" y="641"/>
                </a:cubicBezTo>
                <a:cubicBezTo>
                  <a:pt x="978" y="640"/>
                  <a:pt x="979" y="640"/>
                  <a:pt x="979" y="640"/>
                </a:cubicBezTo>
                <a:cubicBezTo>
                  <a:pt x="979" y="639"/>
                  <a:pt x="979" y="639"/>
                  <a:pt x="979" y="639"/>
                </a:cubicBezTo>
                <a:cubicBezTo>
                  <a:pt x="979" y="638"/>
                  <a:pt x="979" y="638"/>
                  <a:pt x="979" y="638"/>
                </a:cubicBezTo>
                <a:cubicBezTo>
                  <a:pt x="978" y="637"/>
                  <a:pt x="979" y="636"/>
                  <a:pt x="979" y="635"/>
                </a:cubicBezTo>
                <a:cubicBezTo>
                  <a:pt x="979" y="633"/>
                  <a:pt x="978" y="632"/>
                  <a:pt x="978" y="630"/>
                </a:cubicBezTo>
                <a:cubicBezTo>
                  <a:pt x="979" y="631"/>
                  <a:pt x="979" y="631"/>
                  <a:pt x="980" y="632"/>
                </a:cubicBezTo>
                <a:cubicBezTo>
                  <a:pt x="980" y="632"/>
                  <a:pt x="981" y="632"/>
                  <a:pt x="981" y="633"/>
                </a:cubicBezTo>
                <a:cubicBezTo>
                  <a:pt x="981" y="634"/>
                  <a:pt x="981" y="635"/>
                  <a:pt x="981" y="635"/>
                </a:cubicBezTo>
                <a:cubicBezTo>
                  <a:pt x="981" y="635"/>
                  <a:pt x="981" y="636"/>
                  <a:pt x="982" y="637"/>
                </a:cubicBezTo>
                <a:cubicBezTo>
                  <a:pt x="981" y="637"/>
                  <a:pt x="982" y="638"/>
                  <a:pt x="981" y="638"/>
                </a:cubicBezTo>
                <a:cubicBezTo>
                  <a:pt x="981" y="639"/>
                  <a:pt x="981" y="641"/>
                  <a:pt x="981" y="642"/>
                </a:cubicBezTo>
                <a:cubicBezTo>
                  <a:pt x="980" y="642"/>
                  <a:pt x="981" y="645"/>
                  <a:pt x="981" y="645"/>
                </a:cubicBezTo>
                <a:cubicBezTo>
                  <a:pt x="980" y="646"/>
                  <a:pt x="980" y="646"/>
                  <a:pt x="981" y="647"/>
                </a:cubicBezTo>
                <a:cubicBezTo>
                  <a:pt x="981" y="647"/>
                  <a:pt x="981" y="647"/>
                  <a:pt x="981" y="647"/>
                </a:cubicBezTo>
                <a:cubicBezTo>
                  <a:pt x="981" y="648"/>
                  <a:pt x="982" y="648"/>
                  <a:pt x="982" y="648"/>
                </a:cubicBezTo>
                <a:cubicBezTo>
                  <a:pt x="982" y="649"/>
                  <a:pt x="982" y="650"/>
                  <a:pt x="981" y="650"/>
                </a:cubicBezTo>
                <a:cubicBezTo>
                  <a:pt x="981" y="650"/>
                  <a:pt x="982" y="650"/>
                  <a:pt x="982" y="651"/>
                </a:cubicBezTo>
                <a:cubicBezTo>
                  <a:pt x="982" y="652"/>
                  <a:pt x="982" y="652"/>
                  <a:pt x="982" y="653"/>
                </a:cubicBezTo>
                <a:cubicBezTo>
                  <a:pt x="982" y="653"/>
                  <a:pt x="983" y="654"/>
                  <a:pt x="983" y="654"/>
                </a:cubicBezTo>
                <a:cubicBezTo>
                  <a:pt x="983" y="654"/>
                  <a:pt x="983" y="655"/>
                  <a:pt x="983" y="656"/>
                </a:cubicBezTo>
                <a:cubicBezTo>
                  <a:pt x="982" y="655"/>
                  <a:pt x="983" y="656"/>
                  <a:pt x="983" y="656"/>
                </a:cubicBezTo>
                <a:close/>
                <a:moveTo>
                  <a:pt x="975" y="622"/>
                </a:moveTo>
                <a:cubicBezTo>
                  <a:pt x="975" y="622"/>
                  <a:pt x="975" y="622"/>
                  <a:pt x="974" y="622"/>
                </a:cubicBezTo>
                <a:cubicBezTo>
                  <a:pt x="973" y="622"/>
                  <a:pt x="974" y="621"/>
                  <a:pt x="973" y="621"/>
                </a:cubicBezTo>
                <a:cubicBezTo>
                  <a:pt x="972" y="621"/>
                  <a:pt x="973" y="620"/>
                  <a:pt x="973" y="620"/>
                </a:cubicBezTo>
                <a:cubicBezTo>
                  <a:pt x="974" y="620"/>
                  <a:pt x="976" y="621"/>
                  <a:pt x="975" y="622"/>
                </a:cubicBezTo>
                <a:close/>
                <a:moveTo>
                  <a:pt x="968" y="625"/>
                </a:moveTo>
                <a:cubicBezTo>
                  <a:pt x="968" y="626"/>
                  <a:pt x="965" y="626"/>
                  <a:pt x="966" y="625"/>
                </a:cubicBezTo>
                <a:cubicBezTo>
                  <a:pt x="965" y="625"/>
                  <a:pt x="964" y="626"/>
                  <a:pt x="963" y="626"/>
                </a:cubicBezTo>
                <a:cubicBezTo>
                  <a:pt x="963" y="626"/>
                  <a:pt x="963" y="624"/>
                  <a:pt x="963" y="624"/>
                </a:cubicBezTo>
                <a:cubicBezTo>
                  <a:pt x="963" y="623"/>
                  <a:pt x="963" y="623"/>
                  <a:pt x="963" y="623"/>
                </a:cubicBezTo>
                <a:cubicBezTo>
                  <a:pt x="963" y="623"/>
                  <a:pt x="962" y="623"/>
                  <a:pt x="962" y="623"/>
                </a:cubicBezTo>
                <a:cubicBezTo>
                  <a:pt x="962" y="622"/>
                  <a:pt x="963" y="621"/>
                  <a:pt x="962" y="621"/>
                </a:cubicBezTo>
                <a:cubicBezTo>
                  <a:pt x="962" y="621"/>
                  <a:pt x="962" y="621"/>
                  <a:pt x="962" y="621"/>
                </a:cubicBezTo>
                <a:cubicBezTo>
                  <a:pt x="962" y="621"/>
                  <a:pt x="962" y="620"/>
                  <a:pt x="962" y="620"/>
                </a:cubicBezTo>
                <a:cubicBezTo>
                  <a:pt x="962" y="620"/>
                  <a:pt x="961" y="618"/>
                  <a:pt x="961" y="618"/>
                </a:cubicBezTo>
                <a:cubicBezTo>
                  <a:pt x="960" y="618"/>
                  <a:pt x="959" y="616"/>
                  <a:pt x="959" y="616"/>
                </a:cubicBezTo>
                <a:cubicBezTo>
                  <a:pt x="958" y="616"/>
                  <a:pt x="957" y="615"/>
                  <a:pt x="957" y="615"/>
                </a:cubicBezTo>
                <a:cubicBezTo>
                  <a:pt x="957" y="615"/>
                  <a:pt x="957" y="613"/>
                  <a:pt x="956" y="613"/>
                </a:cubicBezTo>
                <a:cubicBezTo>
                  <a:pt x="956" y="613"/>
                  <a:pt x="956" y="612"/>
                  <a:pt x="956" y="612"/>
                </a:cubicBezTo>
                <a:cubicBezTo>
                  <a:pt x="956" y="611"/>
                  <a:pt x="956" y="611"/>
                  <a:pt x="956" y="611"/>
                </a:cubicBezTo>
                <a:cubicBezTo>
                  <a:pt x="956" y="610"/>
                  <a:pt x="955" y="610"/>
                  <a:pt x="955" y="609"/>
                </a:cubicBezTo>
                <a:cubicBezTo>
                  <a:pt x="955" y="609"/>
                  <a:pt x="956" y="608"/>
                  <a:pt x="956" y="608"/>
                </a:cubicBezTo>
                <a:cubicBezTo>
                  <a:pt x="956" y="607"/>
                  <a:pt x="956" y="607"/>
                  <a:pt x="956" y="606"/>
                </a:cubicBezTo>
                <a:cubicBezTo>
                  <a:pt x="956" y="605"/>
                  <a:pt x="956" y="606"/>
                  <a:pt x="956" y="606"/>
                </a:cubicBezTo>
                <a:cubicBezTo>
                  <a:pt x="955" y="605"/>
                  <a:pt x="955" y="604"/>
                  <a:pt x="955" y="604"/>
                </a:cubicBezTo>
                <a:cubicBezTo>
                  <a:pt x="955" y="603"/>
                  <a:pt x="955" y="602"/>
                  <a:pt x="955" y="601"/>
                </a:cubicBezTo>
                <a:cubicBezTo>
                  <a:pt x="955" y="601"/>
                  <a:pt x="954" y="601"/>
                  <a:pt x="954" y="601"/>
                </a:cubicBezTo>
                <a:cubicBezTo>
                  <a:pt x="954" y="600"/>
                  <a:pt x="954" y="600"/>
                  <a:pt x="954" y="599"/>
                </a:cubicBezTo>
                <a:cubicBezTo>
                  <a:pt x="955" y="599"/>
                  <a:pt x="955" y="599"/>
                  <a:pt x="955" y="599"/>
                </a:cubicBezTo>
                <a:cubicBezTo>
                  <a:pt x="955" y="599"/>
                  <a:pt x="955" y="598"/>
                  <a:pt x="955" y="597"/>
                </a:cubicBezTo>
                <a:cubicBezTo>
                  <a:pt x="955" y="597"/>
                  <a:pt x="955" y="596"/>
                  <a:pt x="955" y="596"/>
                </a:cubicBezTo>
                <a:cubicBezTo>
                  <a:pt x="956" y="596"/>
                  <a:pt x="956" y="596"/>
                  <a:pt x="956" y="596"/>
                </a:cubicBezTo>
                <a:cubicBezTo>
                  <a:pt x="958" y="596"/>
                  <a:pt x="957" y="596"/>
                  <a:pt x="957" y="597"/>
                </a:cubicBezTo>
                <a:cubicBezTo>
                  <a:pt x="958" y="599"/>
                  <a:pt x="958" y="600"/>
                  <a:pt x="958" y="602"/>
                </a:cubicBezTo>
                <a:cubicBezTo>
                  <a:pt x="958" y="603"/>
                  <a:pt x="958" y="604"/>
                  <a:pt x="958" y="605"/>
                </a:cubicBezTo>
                <a:cubicBezTo>
                  <a:pt x="958" y="606"/>
                  <a:pt x="959" y="606"/>
                  <a:pt x="958" y="606"/>
                </a:cubicBezTo>
                <a:cubicBezTo>
                  <a:pt x="958" y="607"/>
                  <a:pt x="959" y="607"/>
                  <a:pt x="958" y="608"/>
                </a:cubicBezTo>
                <a:cubicBezTo>
                  <a:pt x="958" y="609"/>
                  <a:pt x="958" y="609"/>
                  <a:pt x="958" y="609"/>
                </a:cubicBezTo>
                <a:cubicBezTo>
                  <a:pt x="958" y="610"/>
                  <a:pt x="958" y="610"/>
                  <a:pt x="958" y="611"/>
                </a:cubicBezTo>
                <a:cubicBezTo>
                  <a:pt x="958" y="611"/>
                  <a:pt x="958" y="611"/>
                  <a:pt x="958" y="612"/>
                </a:cubicBezTo>
                <a:cubicBezTo>
                  <a:pt x="959" y="612"/>
                  <a:pt x="959" y="612"/>
                  <a:pt x="960" y="612"/>
                </a:cubicBezTo>
                <a:cubicBezTo>
                  <a:pt x="960" y="612"/>
                  <a:pt x="960" y="612"/>
                  <a:pt x="960" y="612"/>
                </a:cubicBezTo>
                <a:cubicBezTo>
                  <a:pt x="962" y="613"/>
                  <a:pt x="960" y="613"/>
                  <a:pt x="961" y="613"/>
                </a:cubicBezTo>
                <a:cubicBezTo>
                  <a:pt x="961" y="613"/>
                  <a:pt x="961" y="613"/>
                  <a:pt x="961" y="613"/>
                </a:cubicBezTo>
                <a:cubicBezTo>
                  <a:pt x="961" y="614"/>
                  <a:pt x="962" y="614"/>
                  <a:pt x="962" y="614"/>
                </a:cubicBezTo>
                <a:cubicBezTo>
                  <a:pt x="962" y="615"/>
                  <a:pt x="963" y="614"/>
                  <a:pt x="963" y="615"/>
                </a:cubicBezTo>
                <a:cubicBezTo>
                  <a:pt x="963" y="616"/>
                  <a:pt x="962" y="619"/>
                  <a:pt x="963" y="619"/>
                </a:cubicBezTo>
                <a:cubicBezTo>
                  <a:pt x="963" y="619"/>
                  <a:pt x="964" y="619"/>
                  <a:pt x="964" y="620"/>
                </a:cubicBezTo>
                <a:cubicBezTo>
                  <a:pt x="964" y="620"/>
                  <a:pt x="964" y="620"/>
                  <a:pt x="964" y="621"/>
                </a:cubicBezTo>
                <a:cubicBezTo>
                  <a:pt x="964" y="621"/>
                  <a:pt x="964" y="621"/>
                  <a:pt x="965" y="621"/>
                </a:cubicBezTo>
                <a:cubicBezTo>
                  <a:pt x="965" y="622"/>
                  <a:pt x="965" y="622"/>
                  <a:pt x="966" y="622"/>
                </a:cubicBezTo>
                <a:cubicBezTo>
                  <a:pt x="966" y="622"/>
                  <a:pt x="966" y="622"/>
                  <a:pt x="966" y="623"/>
                </a:cubicBezTo>
                <a:cubicBezTo>
                  <a:pt x="966" y="623"/>
                  <a:pt x="966" y="623"/>
                  <a:pt x="967" y="624"/>
                </a:cubicBezTo>
                <a:cubicBezTo>
                  <a:pt x="967" y="624"/>
                  <a:pt x="968" y="625"/>
                  <a:pt x="968" y="625"/>
                </a:cubicBezTo>
                <a:cubicBezTo>
                  <a:pt x="968" y="625"/>
                  <a:pt x="968" y="625"/>
                  <a:pt x="968" y="625"/>
                </a:cubicBezTo>
                <a:close/>
                <a:moveTo>
                  <a:pt x="953" y="591"/>
                </a:moveTo>
                <a:cubicBezTo>
                  <a:pt x="953" y="590"/>
                  <a:pt x="953" y="589"/>
                  <a:pt x="953" y="588"/>
                </a:cubicBezTo>
                <a:cubicBezTo>
                  <a:pt x="953" y="588"/>
                  <a:pt x="953" y="587"/>
                  <a:pt x="953" y="586"/>
                </a:cubicBezTo>
                <a:cubicBezTo>
                  <a:pt x="954" y="587"/>
                  <a:pt x="954" y="586"/>
                  <a:pt x="955" y="587"/>
                </a:cubicBezTo>
                <a:cubicBezTo>
                  <a:pt x="955" y="587"/>
                  <a:pt x="955" y="587"/>
                  <a:pt x="956" y="587"/>
                </a:cubicBezTo>
                <a:cubicBezTo>
                  <a:pt x="956" y="588"/>
                  <a:pt x="955" y="588"/>
                  <a:pt x="956" y="588"/>
                </a:cubicBezTo>
                <a:cubicBezTo>
                  <a:pt x="956" y="589"/>
                  <a:pt x="956" y="589"/>
                  <a:pt x="955" y="590"/>
                </a:cubicBezTo>
                <a:cubicBezTo>
                  <a:pt x="955" y="591"/>
                  <a:pt x="954" y="591"/>
                  <a:pt x="953" y="591"/>
                </a:cubicBezTo>
                <a:cubicBezTo>
                  <a:pt x="953" y="590"/>
                  <a:pt x="953" y="591"/>
                  <a:pt x="953" y="591"/>
                </a:cubicBezTo>
                <a:close/>
                <a:moveTo>
                  <a:pt x="952" y="627"/>
                </a:moveTo>
                <a:cubicBezTo>
                  <a:pt x="953" y="628"/>
                  <a:pt x="951" y="628"/>
                  <a:pt x="951" y="629"/>
                </a:cubicBezTo>
                <a:cubicBezTo>
                  <a:pt x="950" y="630"/>
                  <a:pt x="950" y="629"/>
                  <a:pt x="949" y="629"/>
                </a:cubicBezTo>
                <a:cubicBezTo>
                  <a:pt x="949" y="627"/>
                  <a:pt x="950" y="627"/>
                  <a:pt x="951" y="626"/>
                </a:cubicBezTo>
                <a:cubicBezTo>
                  <a:pt x="952" y="626"/>
                  <a:pt x="952" y="626"/>
                  <a:pt x="952" y="626"/>
                </a:cubicBezTo>
                <a:cubicBezTo>
                  <a:pt x="953" y="626"/>
                  <a:pt x="953" y="627"/>
                  <a:pt x="953" y="627"/>
                </a:cubicBezTo>
                <a:cubicBezTo>
                  <a:pt x="953" y="627"/>
                  <a:pt x="952" y="627"/>
                  <a:pt x="952" y="627"/>
                </a:cubicBezTo>
                <a:close/>
                <a:moveTo>
                  <a:pt x="954" y="582"/>
                </a:moveTo>
                <a:cubicBezTo>
                  <a:pt x="955" y="581"/>
                  <a:pt x="955" y="581"/>
                  <a:pt x="955" y="581"/>
                </a:cubicBezTo>
                <a:cubicBezTo>
                  <a:pt x="955" y="580"/>
                  <a:pt x="955" y="580"/>
                  <a:pt x="956" y="580"/>
                </a:cubicBezTo>
                <a:cubicBezTo>
                  <a:pt x="956" y="579"/>
                  <a:pt x="958" y="579"/>
                  <a:pt x="958" y="579"/>
                </a:cubicBezTo>
                <a:cubicBezTo>
                  <a:pt x="958" y="581"/>
                  <a:pt x="956" y="581"/>
                  <a:pt x="956" y="583"/>
                </a:cubicBezTo>
                <a:cubicBezTo>
                  <a:pt x="955" y="583"/>
                  <a:pt x="954" y="582"/>
                  <a:pt x="954" y="582"/>
                </a:cubicBezTo>
                <a:cubicBezTo>
                  <a:pt x="954" y="581"/>
                  <a:pt x="954" y="582"/>
                  <a:pt x="954" y="582"/>
                </a:cubicBezTo>
                <a:close/>
                <a:moveTo>
                  <a:pt x="963" y="569"/>
                </a:moveTo>
                <a:cubicBezTo>
                  <a:pt x="964" y="569"/>
                  <a:pt x="964" y="569"/>
                  <a:pt x="964" y="568"/>
                </a:cubicBezTo>
                <a:cubicBezTo>
                  <a:pt x="964" y="568"/>
                  <a:pt x="965" y="568"/>
                  <a:pt x="965" y="567"/>
                </a:cubicBezTo>
                <a:cubicBezTo>
                  <a:pt x="965" y="567"/>
                  <a:pt x="966" y="566"/>
                  <a:pt x="966" y="567"/>
                </a:cubicBezTo>
                <a:cubicBezTo>
                  <a:pt x="966" y="567"/>
                  <a:pt x="966" y="568"/>
                  <a:pt x="966" y="568"/>
                </a:cubicBezTo>
                <a:cubicBezTo>
                  <a:pt x="966" y="568"/>
                  <a:pt x="964" y="570"/>
                  <a:pt x="964" y="570"/>
                </a:cubicBezTo>
                <a:cubicBezTo>
                  <a:pt x="963" y="571"/>
                  <a:pt x="963" y="571"/>
                  <a:pt x="962" y="571"/>
                </a:cubicBezTo>
                <a:cubicBezTo>
                  <a:pt x="962" y="571"/>
                  <a:pt x="962" y="571"/>
                  <a:pt x="962" y="571"/>
                </a:cubicBezTo>
                <a:cubicBezTo>
                  <a:pt x="962" y="570"/>
                  <a:pt x="962" y="569"/>
                  <a:pt x="963" y="569"/>
                </a:cubicBezTo>
                <a:close/>
                <a:moveTo>
                  <a:pt x="971" y="512"/>
                </a:moveTo>
                <a:cubicBezTo>
                  <a:pt x="971" y="512"/>
                  <a:pt x="971" y="512"/>
                  <a:pt x="971" y="513"/>
                </a:cubicBezTo>
                <a:cubicBezTo>
                  <a:pt x="971" y="513"/>
                  <a:pt x="972" y="513"/>
                  <a:pt x="972" y="513"/>
                </a:cubicBezTo>
                <a:cubicBezTo>
                  <a:pt x="972" y="513"/>
                  <a:pt x="971" y="513"/>
                  <a:pt x="971" y="513"/>
                </a:cubicBezTo>
                <a:cubicBezTo>
                  <a:pt x="971" y="513"/>
                  <a:pt x="971" y="512"/>
                  <a:pt x="971" y="512"/>
                </a:cubicBezTo>
                <a:close/>
                <a:moveTo>
                  <a:pt x="988" y="556"/>
                </a:moveTo>
                <a:cubicBezTo>
                  <a:pt x="988" y="556"/>
                  <a:pt x="988" y="556"/>
                  <a:pt x="988" y="555"/>
                </a:cubicBezTo>
                <a:cubicBezTo>
                  <a:pt x="988" y="555"/>
                  <a:pt x="988" y="554"/>
                  <a:pt x="988" y="555"/>
                </a:cubicBezTo>
                <a:cubicBezTo>
                  <a:pt x="988" y="554"/>
                  <a:pt x="988" y="554"/>
                  <a:pt x="988" y="554"/>
                </a:cubicBezTo>
                <a:cubicBezTo>
                  <a:pt x="988" y="554"/>
                  <a:pt x="988" y="553"/>
                  <a:pt x="988" y="553"/>
                </a:cubicBezTo>
                <a:cubicBezTo>
                  <a:pt x="990" y="553"/>
                  <a:pt x="990" y="553"/>
                  <a:pt x="990" y="555"/>
                </a:cubicBezTo>
                <a:cubicBezTo>
                  <a:pt x="990" y="556"/>
                  <a:pt x="990" y="555"/>
                  <a:pt x="990" y="555"/>
                </a:cubicBezTo>
                <a:cubicBezTo>
                  <a:pt x="990" y="556"/>
                  <a:pt x="990" y="556"/>
                  <a:pt x="990" y="556"/>
                </a:cubicBezTo>
                <a:cubicBezTo>
                  <a:pt x="990" y="557"/>
                  <a:pt x="990" y="558"/>
                  <a:pt x="990" y="559"/>
                </a:cubicBezTo>
                <a:cubicBezTo>
                  <a:pt x="991" y="559"/>
                  <a:pt x="991" y="560"/>
                  <a:pt x="991" y="560"/>
                </a:cubicBezTo>
                <a:cubicBezTo>
                  <a:pt x="991" y="560"/>
                  <a:pt x="992" y="561"/>
                  <a:pt x="992" y="562"/>
                </a:cubicBezTo>
                <a:cubicBezTo>
                  <a:pt x="992" y="562"/>
                  <a:pt x="992" y="563"/>
                  <a:pt x="992" y="564"/>
                </a:cubicBezTo>
                <a:cubicBezTo>
                  <a:pt x="990" y="563"/>
                  <a:pt x="991" y="562"/>
                  <a:pt x="990" y="561"/>
                </a:cubicBezTo>
                <a:cubicBezTo>
                  <a:pt x="990" y="561"/>
                  <a:pt x="988" y="560"/>
                  <a:pt x="988" y="559"/>
                </a:cubicBezTo>
                <a:cubicBezTo>
                  <a:pt x="988" y="559"/>
                  <a:pt x="988" y="558"/>
                  <a:pt x="987" y="558"/>
                </a:cubicBezTo>
                <a:cubicBezTo>
                  <a:pt x="987" y="558"/>
                  <a:pt x="988" y="557"/>
                  <a:pt x="988" y="556"/>
                </a:cubicBezTo>
                <a:close/>
                <a:moveTo>
                  <a:pt x="992" y="513"/>
                </a:moveTo>
                <a:cubicBezTo>
                  <a:pt x="993" y="513"/>
                  <a:pt x="994" y="512"/>
                  <a:pt x="995" y="512"/>
                </a:cubicBezTo>
                <a:cubicBezTo>
                  <a:pt x="995" y="513"/>
                  <a:pt x="995" y="514"/>
                  <a:pt x="995" y="514"/>
                </a:cubicBezTo>
                <a:cubicBezTo>
                  <a:pt x="995" y="515"/>
                  <a:pt x="994" y="515"/>
                  <a:pt x="994" y="515"/>
                </a:cubicBezTo>
                <a:cubicBezTo>
                  <a:pt x="994" y="515"/>
                  <a:pt x="992" y="515"/>
                  <a:pt x="992" y="514"/>
                </a:cubicBezTo>
                <a:cubicBezTo>
                  <a:pt x="992" y="514"/>
                  <a:pt x="992" y="513"/>
                  <a:pt x="992" y="513"/>
                </a:cubicBezTo>
                <a:cubicBezTo>
                  <a:pt x="993" y="513"/>
                  <a:pt x="992" y="513"/>
                  <a:pt x="992" y="513"/>
                </a:cubicBezTo>
                <a:close/>
                <a:moveTo>
                  <a:pt x="890" y="501"/>
                </a:moveTo>
                <a:cubicBezTo>
                  <a:pt x="890" y="501"/>
                  <a:pt x="890" y="500"/>
                  <a:pt x="890" y="501"/>
                </a:cubicBezTo>
                <a:cubicBezTo>
                  <a:pt x="890" y="501"/>
                  <a:pt x="889" y="501"/>
                  <a:pt x="889" y="501"/>
                </a:cubicBezTo>
                <a:cubicBezTo>
                  <a:pt x="889" y="500"/>
                  <a:pt x="889" y="500"/>
                  <a:pt x="888" y="500"/>
                </a:cubicBezTo>
                <a:cubicBezTo>
                  <a:pt x="887" y="500"/>
                  <a:pt x="887" y="500"/>
                  <a:pt x="886" y="500"/>
                </a:cubicBezTo>
                <a:cubicBezTo>
                  <a:pt x="886" y="500"/>
                  <a:pt x="885" y="500"/>
                  <a:pt x="884" y="499"/>
                </a:cubicBezTo>
                <a:cubicBezTo>
                  <a:pt x="884" y="499"/>
                  <a:pt x="884" y="499"/>
                  <a:pt x="884" y="499"/>
                </a:cubicBezTo>
                <a:cubicBezTo>
                  <a:pt x="884" y="498"/>
                  <a:pt x="884" y="498"/>
                  <a:pt x="884" y="498"/>
                </a:cubicBezTo>
                <a:cubicBezTo>
                  <a:pt x="883" y="497"/>
                  <a:pt x="881" y="496"/>
                  <a:pt x="883" y="496"/>
                </a:cubicBezTo>
                <a:cubicBezTo>
                  <a:pt x="884" y="496"/>
                  <a:pt x="884" y="496"/>
                  <a:pt x="884" y="497"/>
                </a:cubicBezTo>
                <a:cubicBezTo>
                  <a:pt x="884" y="498"/>
                  <a:pt x="886" y="498"/>
                  <a:pt x="886" y="498"/>
                </a:cubicBezTo>
                <a:cubicBezTo>
                  <a:pt x="887" y="499"/>
                  <a:pt x="887" y="499"/>
                  <a:pt x="888" y="499"/>
                </a:cubicBezTo>
                <a:cubicBezTo>
                  <a:pt x="888" y="498"/>
                  <a:pt x="889" y="498"/>
                  <a:pt x="889" y="499"/>
                </a:cubicBezTo>
                <a:cubicBezTo>
                  <a:pt x="889" y="499"/>
                  <a:pt x="890" y="499"/>
                  <a:pt x="890" y="499"/>
                </a:cubicBezTo>
                <a:cubicBezTo>
                  <a:pt x="890" y="500"/>
                  <a:pt x="890" y="500"/>
                  <a:pt x="890" y="501"/>
                </a:cubicBezTo>
                <a:close/>
                <a:moveTo>
                  <a:pt x="886" y="688"/>
                </a:moveTo>
                <a:cubicBezTo>
                  <a:pt x="886" y="688"/>
                  <a:pt x="885" y="689"/>
                  <a:pt x="885" y="688"/>
                </a:cubicBezTo>
                <a:cubicBezTo>
                  <a:pt x="885" y="687"/>
                  <a:pt x="886" y="689"/>
                  <a:pt x="885" y="687"/>
                </a:cubicBezTo>
                <a:cubicBezTo>
                  <a:pt x="886" y="687"/>
                  <a:pt x="886" y="688"/>
                  <a:pt x="886" y="688"/>
                </a:cubicBezTo>
                <a:close/>
                <a:moveTo>
                  <a:pt x="1003" y="217"/>
                </a:moveTo>
                <a:cubicBezTo>
                  <a:pt x="1003" y="218"/>
                  <a:pt x="1002" y="218"/>
                  <a:pt x="1002" y="218"/>
                </a:cubicBezTo>
                <a:cubicBezTo>
                  <a:pt x="1002" y="218"/>
                  <a:pt x="1002" y="219"/>
                  <a:pt x="1002" y="220"/>
                </a:cubicBezTo>
                <a:cubicBezTo>
                  <a:pt x="1002" y="220"/>
                  <a:pt x="1001" y="220"/>
                  <a:pt x="1001" y="219"/>
                </a:cubicBezTo>
                <a:cubicBezTo>
                  <a:pt x="1001" y="221"/>
                  <a:pt x="1001" y="221"/>
                  <a:pt x="1000" y="221"/>
                </a:cubicBezTo>
                <a:cubicBezTo>
                  <a:pt x="999" y="221"/>
                  <a:pt x="999" y="221"/>
                  <a:pt x="998" y="221"/>
                </a:cubicBezTo>
                <a:cubicBezTo>
                  <a:pt x="998" y="221"/>
                  <a:pt x="998" y="220"/>
                  <a:pt x="998" y="220"/>
                </a:cubicBezTo>
                <a:cubicBezTo>
                  <a:pt x="997" y="220"/>
                  <a:pt x="997" y="220"/>
                  <a:pt x="997" y="220"/>
                </a:cubicBezTo>
                <a:cubicBezTo>
                  <a:pt x="996" y="219"/>
                  <a:pt x="996" y="219"/>
                  <a:pt x="996" y="219"/>
                </a:cubicBezTo>
                <a:cubicBezTo>
                  <a:pt x="996" y="218"/>
                  <a:pt x="993" y="217"/>
                  <a:pt x="994" y="216"/>
                </a:cubicBezTo>
                <a:cubicBezTo>
                  <a:pt x="994" y="216"/>
                  <a:pt x="994" y="216"/>
                  <a:pt x="995" y="216"/>
                </a:cubicBezTo>
                <a:cubicBezTo>
                  <a:pt x="995" y="216"/>
                  <a:pt x="995" y="217"/>
                  <a:pt x="995" y="217"/>
                </a:cubicBezTo>
                <a:cubicBezTo>
                  <a:pt x="996" y="217"/>
                  <a:pt x="996" y="216"/>
                  <a:pt x="996" y="217"/>
                </a:cubicBezTo>
                <a:cubicBezTo>
                  <a:pt x="996" y="217"/>
                  <a:pt x="997" y="217"/>
                  <a:pt x="997" y="217"/>
                </a:cubicBezTo>
                <a:cubicBezTo>
                  <a:pt x="998" y="217"/>
                  <a:pt x="998" y="217"/>
                  <a:pt x="998" y="216"/>
                </a:cubicBezTo>
                <a:cubicBezTo>
                  <a:pt x="998" y="216"/>
                  <a:pt x="998" y="215"/>
                  <a:pt x="998" y="214"/>
                </a:cubicBezTo>
                <a:cubicBezTo>
                  <a:pt x="997" y="214"/>
                  <a:pt x="996" y="214"/>
                  <a:pt x="997" y="213"/>
                </a:cubicBezTo>
                <a:cubicBezTo>
                  <a:pt x="996" y="213"/>
                  <a:pt x="995" y="213"/>
                  <a:pt x="995" y="214"/>
                </a:cubicBezTo>
                <a:cubicBezTo>
                  <a:pt x="994" y="212"/>
                  <a:pt x="996" y="213"/>
                  <a:pt x="996" y="213"/>
                </a:cubicBezTo>
                <a:cubicBezTo>
                  <a:pt x="996" y="212"/>
                  <a:pt x="997" y="211"/>
                  <a:pt x="997" y="212"/>
                </a:cubicBezTo>
                <a:cubicBezTo>
                  <a:pt x="998" y="213"/>
                  <a:pt x="998" y="213"/>
                  <a:pt x="998" y="214"/>
                </a:cubicBezTo>
                <a:cubicBezTo>
                  <a:pt x="998" y="215"/>
                  <a:pt x="999" y="215"/>
                  <a:pt x="999" y="215"/>
                </a:cubicBezTo>
                <a:cubicBezTo>
                  <a:pt x="1000" y="216"/>
                  <a:pt x="1001" y="216"/>
                  <a:pt x="1002" y="216"/>
                </a:cubicBezTo>
                <a:cubicBezTo>
                  <a:pt x="1002" y="217"/>
                  <a:pt x="1003" y="216"/>
                  <a:pt x="1003" y="217"/>
                </a:cubicBezTo>
                <a:cubicBezTo>
                  <a:pt x="1003" y="218"/>
                  <a:pt x="1003" y="217"/>
                  <a:pt x="1003" y="217"/>
                </a:cubicBezTo>
                <a:close/>
                <a:moveTo>
                  <a:pt x="993" y="204"/>
                </a:moveTo>
                <a:cubicBezTo>
                  <a:pt x="994" y="204"/>
                  <a:pt x="995" y="204"/>
                  <a:pt x="995" y="203"/>
                </a:cubicBezTo>
                <a:cubicBezTo>
                  <a:pt x="996" y="203"/>
                  <a:pt x="996" y="204"/>
                  <a:pt x="997" y="204"/>
                </a:cubicBezTo>
                <a:cubicBezTo>
                  <a:pt x="998" y="205"/>
                  <a:pt x="997" y="205"/>
                  <a:pt x="996" y="205"/>
                </a:cubicBezTo>
                <a:cubicBezTo>
                  <a:pt x="996" y="205"/>
                  <a:pt x="995" y="205"/>
                  <a:pt x="995" y="205"/>
                </a:cubicBezTo>
                <a:cubicBezTo>
                  <a:pt x="994" y="205"/>
                  <a:pt x="995" y="205"/>
                  <a:pt x="995" y="205"/>
                </a:cubicBezTo>
                <a:cubicBezTo>
                  <a:pt x="994" y="205"/>
                  <a:pt x="993" y="204"/>
                  <a:pt x="993" y="204"/>
                </a:cubicBezTo>
                <a:close/>
                <a:moveTo>
                  <a:pt x="991" y="198"/>
                </a:moveTo>
                <a:cubicBezTo>
                  <a:pt x="990" y="198"/>
                  <a:pt x="991" y="199"/>
                  <a:pt x="990" y="200"/>
                </a:cubicBezTo>
                <a:cubicBezTo>
                  <a:pt x="990" y="200"/>
                  <a:pt x="989" y="201"/>
                  <a:pt x="989" y="201"/>
                </a:cubicBezTo>
                <a:cubicBezTo>
                  <a:pt x="989" y="201"/>
                  <a:pt x="988" y="200"/>
                  <a:pt x="988" y="200"/>
                </a:cubicBezTo>
                <a:cubicBezTo>
                  <a:pt x="988" y="200"/>
                  <a:pt x="988" y="200"/>
                  <a:pt x="988" y="199"/>
                </a:cubicBezTo>
                <a:cubicBezTo>
                  <a:pt x="988" y="199"/>
                  <a:pt x="987" y="198"/>
                  <a:pt x="986" y="197"/>
                </a:cubicBezTo>
                <a:cubicBezTo>
                  <a:pt x="986" y="197"/>
                  <a:pt x="986" y="197"/>
                  <a:pt x="985" y="197"/>
                </a:cubicBezTo>
                <a:cubicBezTo>
                  <a:pt x="984" y="197"/>
                  <a:pt x="985" y="196"/>
                  <a:pt x="984" y="195"/>
                </a:cubicBezTo>
                <a:cubicBezTo>
                  <a:pt x="983" y="195"/>
                  <a:pt x="984" y="195"/>
                  <a:pt x="983" y="195"/>
                </a:cubicBezTo>
                <a:cubicBezTo>
                  <a:pt x="982" y="195"/>
                  <a:pt x="982" y="194"/>
                  <a:pt x="982" y="193"/>
                </a:cubicBezTo>
                <a:cubicBezTo>
                  <a:pt x="982" y="193"/>
                  <a:pt x="985" y="194"/>
                  <a:pt x="984" y="192"/>
                </a:cubicBezTo>
                <a:cubicBezTo>
                  <a:pt x="984" y="192"/>
                  <a:pt x="987" y="193"/>
                  <a:pt x="987" y="191"/>
                </a:cubicBezTo>
                <a:cubicBezTo>
                  <a:pt x="987" y="190"/>
                  <a:pt x="987" y="190"/>
                  <a:pt x="986" y="189"/>
                </a:cubicBezTo>
                <a:cubicBezTo>
                  <a:pt x="985" y="189"/>
                  <a:pt x="983" y="190"/>
                  <a:pt x="983" y="189"/>
                </a:cubicBezTo>
                <a:cubicBezTo>
                  <a:pt x="983" y="188"/>
                  <a:pt x="983" y="188"/>
                  <a:pt x="983" y="187"/>
                </a:cubicBezTo>
                <a:cubicBezTo>
                  <a:pt x="984" y="188"/>
                  <a:pt x="985" y="188"/>
                  <a:pt x="987" y="188"/>
                </a:cubicBezTo>
                <a:cubicBezTo>
                  <a:pt x="987" y="188"/>
                  <a:pt x="988" y="188"/>
                  <a:pt x="988" y="188"/>
                </a:cubicBezTo>
                <a:cubicBezTo>
                  <a:pt x="988" y="189"/>
                  <a:pt x="988" y="190"/>
                  <a:pt x="988" y="190"/>
                </a:cubicBezTo>
                <a:cubicBezTo>
                  <a:pt x="988" y="190"/>
                  <a:pt x="988" y="191"/>
                  <a:pt x="988" y="191"/>
                </a:cubicBezTo>
                <a:cubicBezTo>
                  <a:pt x="988" y="192"/>
                  <a:pt x="988" y="192"/>
                  <a:pt x="988" y="193"/>
                </a:cubicBezTo>
                <a:cubicBezTo>
                  <a:pt x="988" y="194"/>
                  <a:pt x="989" y="193"/>
                  <a:pt x="990" y="194"/>
                </a:cubicBezTo>
                <a:cubicBezTo>
                  <a:pt x="990" y="195"/>
                  <a:pt x="991" y="197"/>
                  <a:pt x="991" y="197"/>
                </a:cubicBezTo>
                <a:cubicBezTo>
                  <a:pt x="991" y="197"/>
                  <a:pt x="991" y="198"/>
                  <a:pt x="991" y="198"/>
                </a:cubicBezTo>
                <a:close/>
                <a:moveTo>
                  <a:pt x="980" y="179"/>
                </a:moveTo>
                <a:cubicBezTo>
                  <a:pt x="981" y="179"/>
                  <a:pt x="982" y="179"/>
                  <a:pt x="983" y="180"/>
                </a:cubicBezTo>
                <a:cubicBezTo>
                  <a:pt x="983" y="180"/>
                  <a:pt x="984" y="180"/>
                  <a:pt x="984" y="181"/>
                </a:cubicBezTo>
                <a:cubicBezTo>
                  <a:pt x="985" y="181"/>
                  <a:pt x="984" y="182"/>
                  <a:pt x="985" y="182"/>
                </a:cubicBezTo>
                <a:cubicBezTo>
                  <a:pt x="986" y="182"/>
                  <a:pt x="986" y="182"/>
                  <a:pt x="986" y="183"/>
                </a:cubicBezTo>
                <a:cubicBezTo>
                  <a:pt x="985" y="183"/>
                  <a:pt x="983" y="183"/>
                  <a:pt x="982" y="183"/>
                </a:cubicBezTo>
                <a:cubicBezTo>
                  <a:pt x="982" y="181"/>
                  <a:pt x="980" y="180"/>
                  <a:pt x="980" y="179"/>
                </a:cubicBezTo>
                <a:cubicBezTo>
                  <a:pt x="981" y="179"/>
                  <a:pt x="980" y="179"/>
                  <a:pt x="980" y="179"/>
                </a:cubicBezTo>
                <a:close/>
                <a:moveTo>
                  <a:pt x="972" y="203"/>
                </a:moveTo>
                <a:cubicBezTo>
                  <a:pt x="972" y="204"/>
                  <a:pt x="972" y="204"/>
                  <a:pt x="973" y="205"/>
                </a:cubicBezTo>
                <a:cubicBezTo>
                  <a:pt x="972" y="205"/>
                  <a:pt x="970" y="204"/>
                  <a:pt x="969" y="205"/>
                </a:cubicBezTo>
                <a:cubicBezTo>
                  <a:pt x="969" y="205"/>
                  <a:pt x="968" y="206"/>
                  <a:pt x="968" y="206"/>
                </a:cubicBezTo>
                <a:cubicBezTo>
                  <a:pt x="968" y="207"/>
                  <a:pt x="967" y="206"/>
                  <a:pt x="967" y="206"/>
                </a:cubicBezTo>
                <a:cubicBezTo>
                  <a:pt x="965" y="206"/>
                  <a:pt x="966" y="205"/>
                  <a:pt x="965" y="204"/>
                </a:cubicBezTo>
                <a:cubicBezTo>
                  <a:pt x="965" y="203"/>
                  <a:pt x="964" y="203"/>
                  <a:pt x="964" y="202"/>
                </a:cubicBezTo>
                <a:cubicBezTo>
                  <a:pt x="964" y="202"/>
                  <a:pt x="964" y="202"/>
                  <a:pt x="963" y="201"/>
                </a:cubicBezTo>
                <a:cubicBezTo>
                  <a:pt x="963" y="201"/>
                  <a:pt x="963" y="200"/>
                  <a:pt x="963" y="200"/>
                </a:cubicBezTo>
                <a:cubicBezTo>
                  <a:pt x="963" y="199"/>
                  <a:pt x="962" y="198"/>
                  <a:pt x="962" y="198"/>
                </a:cubicBezTo>
                <a:cubicBezTo>
                  <a:pt x="961" y="197"/>
                  <a:pt x="961" y="197"/>
                  <a:pt x="960" y="196"/>
                </a:cubicBezTo>
                <a:cubicBezTo>
                  <a:pt x="961" y="196"/>
                  <a:pt x="962" y="195"/>
                  <a:pt x="962" y="195"/>
                </a:cubicBezTo>
                <a:cubicBezTo>
                  <a:pt x="962" y="195"/>
                  <a:pt x="963" y="195"/>
                  <a:pt x="964" y="195"/>
                </a:cubicBezTo>
                <a:cubicBezTo>
                  <a:pt x="964" y="195"/>
                  <a:pt x="964" y="194"/>
                  <a:pt x="964" y="194"/>
                </a:cubicBezTo>
                <a:cubicBezTo>
                  <a:pt x="964" y="194"/>
                  <a:pt x="964" y="194"/>
                  <a:pt x="964" y="194"/>
                </a:cubicBezTo>
                <a:cubicBezTo>
                  <a:pt x="964" y="193"/>
                  <a:pt x="965" y="193"/>
                  <a:pt x="965" y="194"/>
                </a:cubicBezTo>
                <a:cubicBezTo>
                  <a:pt x="966" y="194"/>
                  <a:pt x="967" y="194"/>
                  <a:pt x="967" y="194"/>
                </a:cubicBezTo>
                <a:cubicBezTo>
                  <a:pt x="968" y="195"/>
                  <a:pt x="967" y="196"/>
                  <a:pt x="968" y="196"/>
                </a:cubicBezTo>
                <a:cubicBezTo>
                  <a:pt x="968" y="196"/>
                  <a:pt x="969" y="196"/>
                  <a:pt x="969" y="196"/>
                </a:cubicBezTo>
                <a:cubicBezTo>
                  <a:pt x="969" y="196"/>
                  <a:pt x="969" y="196"/>
                  <a:pt x="969" y="196"/>
                </a:cubicBezTo>
                <a:cubicBezTo>
                  <a:pt x="970" y="197"/>
                  <a:pt x="970" y="197"/>
                  <a:pt x="971" y="197"/>
                </a:cubicBezTo>
                <a:cubicBezTo>
                  <a:pt x="972" y="198"/>
                  <a:pt x="971" y="198"/>
                  <a:pt x="972" y="199"/>
                </a:cubicBezTo>
                <a:cubicBezTo>
                  <a:pt x="973" y="200"/>
                  <a:pt x="974" y="202"/>
                  <a:pt x="974" y="204"/>
                </a:cubicBezTo>
                <a:cubicBezTo>
                  <a:pt x="974" y="203"/>
                  <a:pt x="973" y="203"/>
                  <a:pt x="972" y="203"/>
                </a:cubicBezTo>
                <a:cubicBezTo>
                  <a:pt x="972" y="204"/>
                  <a:pt x="972" y="203"/>
                  <a:pt x="972" y="203"/>
                </a:cubicBezTo>
                <a:close/>
                <a:moveTo>
                  <a:pt x="952" y="224"/>
                </a:moveTo>
                <a:cubicBezTo>
                  <a:pt x="950" y="223"/>
                  <a:pt x="952" y="223"/>
                  <a:pt x="952" y="224"/>
                </a:cubicBezTo>
                <a:close/>
                <a:moveTo>
                  <a:pt x="949" y="222"/>
                </a:moveTo>
                <a:cubicBezTo>
                  <a:pt x="949" y="220"/>
                  <a:pt x="948" y="220"/>
                  <a:pt x="948" y="219"/>
                </a:cubicBezTo>
                <a:cubicBezTo>
                  <a:pt x="948" y="218"/>
                  <a:pt x="948" y="218"/>
                  <a:pt x="947" y="217"/>
                </a:cubicBezTo>
                <a:cubicBezTo>
                  <a:pt x="947" y="217"/>
                  <a:pt x="947" y="216"/>
                  <a:pt x="948" y="216"/>
                </a:cubicBezTo>
                <a:cubicBezTo>
                  <a:pt x="948" y="215"/>
                  <a:pt x="948" y="215"/>
                  <a:pt x="949" y="215"/>
                </a:cubicBezTo>
                <a:cubicBezTo>
                  <a:pt x="949" y="215"/>
                  <a:pt x="950" y="215"/>
                  <a:pt x="950" y="216"/>
                </a:cubicBezTo>
                <a:cubicBezTo>
                  <a:pt x="950" y="217"/>
                  <a:pt x="950" y="219"/>
                  <a:pt x="951" y="219"/>
                </a:cubicBezTo>
                <a:cubicBezTo>
                  <a:pt x="951" y="219"/>
                  <a:pt x="950" y="220"/>
                  <a:pt x="950" y="221"/>
                </a:cubicBezTo>
                <a:cubicBezTo>
                  <a:pt x="950" y="222"/>
                  <a:pt x="950" y="222"/>
                  <a:pt x="949" y="222"/>
                </a:cubicBezTo>
                <a:cubicBezTo>
                  <a:pt x="949" y="220"/>
                  <a:pt x="949" y="222"/>
                  <a:pt x="949" y="222"/>
                </a:cubicBezTo>
                <a:close/>
                <a:moveTo>
                  <a:pt x="862" y="255"/>
                </a:moveTo>
                <a:cubicBezTo>
                  <a:pt x="862" y="255"/>
                  <a:pt x="862" y="255"/>
                  <a:pt x="862" y="255"/>
                </a:cubicBezTo>
                <a:cubicBezTo>
                  <a:pt x="862" y="255"/>
                  <a:pt x="862" y="255"/>
                  <a:pt x="862" y="255"/>
                </a:cubicBezTo>
                <a:cubicBezTo>
                  <a:pt x="862" y="255"/>
                  <a:pt x="862" y="255"/>
                  <a:pt x="862" y="255"/>
                </a:cubicBezTo>
                <a:close/>
                <a:moveTo>
                  <a:pt x="901" y="211"/>
                </a:moveTo>
                <a:cubicBezTo>
                  <a:pt x="901" y="211"/>
                  <a:pt x="901" y="211"/>
                  <a:pt x="901" y="212"/>
                </a:cubicBezTo>
                <a:cubicBezTo>
                  <a:pt x="902" y="212"/>
                  <a:pt x="902" y="211"/>
                  <a:pt x="903" y="211"/>
                </a:cubicBezTo>
                <a:cubicBezTo>
                  <a:pt x="903" y="212"/>
                  <a:pt x="904" y="212"/>
                  <a:pt x="904" y="213"/>
                </a:cubicBezTo>
                <a:cubicBezTo>
                  <a:pt x="903" y="213"/>
                  <a:pt x="902" y="212"/>
                  <a:pt x="901" y="212"/>
                </a:cubicBezTo>
                <a:cubicBezTo>
                  <a:pt x="900" y="212"/>
                  <a:pt x="900" y="212"/>
                  <a:pt x="900" y="211"/>
                </a:cubicBezTo>
                <a:cubicBezTo>
                  <a:pt x="900" y="211"/>
                  <a:pt x="901" y="211"/>
                  <a:pt x="901" y="211"/>
                </a:cubicBezTo>
                <a:close/>
                <a:moveTo>
                  <a:pt x="898" y="211"/>
                </a:moveTo>
                <a:cubicBezTo>
                  <a:pt x="898" y="211"/>
                  <a:pt x="898" y="211"/>
                  <a:pt x="897" y="212"/>
                </a:cubicBezTo>
                <a:cubicBezTo>
                  <a:pt x="897" y="211"/>
                  <a:pt x="898" y="211"/>
                  <a:pt x="898" y="211"/>
                </a:cubicBezTo>
                <a:cubicBezTo>
                  <a:pt x="898" y="211"/>
                  <a:pt x="898" y="211"/>
                  <a:pt x="898" y="211"/>
                </a:cubicBezTo>
                <a:close/>
                <a:moveTo>
                  <a:pt x="894" y="153"/>
                </a:moveTo>
                <a:cubicBezTo>
                  <a:pt x="895" y="154"/>
                  <a:pt x="895" y="153"/>
                  <a:pt x="895" y="154"/>
                </a:cubicBezTo>
                <a:cubicBezTo>
                  <a:pt x="895" y="154"/>
                  <a:pt x="895" y="154"/>
                  <a:pt x="894" y="153"/>
                </a:cubicBezTo>
                <a:cubicBezTo>
                  <a:pt x="895" y="154"/>
                  <a:pt x="894" y="153"/>
                  <a:pt x="894" y="153"/>
                </a:cubicBezTo>
                <a:close/>
                <a:moveTo>
                  <a:pt x="888" y="219"/>
                </a:moveTo>
                <a:cubicBezTo>
                  <a:pt x="886" y="219"/>
                  <a:pt x="887" y="222"/>
                  <a:pt x="886" y="222"/>
                </a:cubicBezTo>
                <a:cubicBezTo>
                  <a:pt x="886" y="220"/>
                  <a:pt x="887" y="217"/>
                  <a:pt x="888" y="216"/>
                </a:cubicBezTo>
                <a:cubicBezTo>
                  <a:pt x="888" y="217"/>
                  <a:pt x="888" y="216"/>
                  <a:pt x="889" y="217"/>
                </a:cubicBezTo>
                <a:cubicBezTo>
                  <a:pt x="888" y="218"/>
                  <a:pt x="888" y="218"/>
                  <a:pt x="888" y="219"/>
                </a:cubicBezTo>
                <a:close/>
                <a:moveTo>
                  <a:pt x="887" y="162"/>
                </a:moveTo>
                <a:cubicBezTo>
                  <a:pt x="887" y="162"/>
                  <a:pt x="888" y="163"/>
                  <a:pt x="887" y="163"/>
                </a:cubicBezTo>
                <a:cubicBezTo>
                  <a:pt x="887" y="164"/>
                  <a:pt x="887" y="163"/>
                  <a:pt x="887" y="162"/>
                </a:cubicBezTo>
                <a:close/>
                <a:moveTo>
                  <a:pt x="884" y="215"/>
                </a:moveTo>
                <a:cubicBezTo>
                  <a:pt x="884" y="216"/>
                  <a:pt x="884" y="216"/>
                  <a:pt x="883" y="217"/>
                </a:cubicBezTo>
                <a:cubicBezTo>
                  <a:pt x="882" y="217"/>
                  <a:pt x="883" y="217"/>
                  <a:pt x="882" y="217"/>
                </a:cubicBezTo>
                <a:cubicBezTo>
                  <a:pt x="882" y="218"/>
                  <a:pt x="881" y="218"/>
                  <a:pt x="881" y="218"/>
                </a:cubicBezTo>
                <a:cubicBezTo>
                  <a:pt x="881" y="218"/>
                  <a:pt x="881" y="218"/>
                  <a:pt x="880" y="218"/>
                </a:cubicBezTo>
                <a:cubicBezTo>
                  <a:pt x="880" y="219"/>
                  <a:pt x="878" y="219"/>
                  <a:pt x="877" y="219"/>
                </a:cubicBezTo>
                <a:cubicBezTo>
                  <a:pt x="877" y="219"/>
                  <a:pt x="877" y="219"/>
                  <a:pt x="877" y="218"/>
                </a:cubicBezTo>
                <a:cubicBezTo>
                  <a:pt x="877" y="218"/>
                  <a:pt x="877" y="218"/>
                  <a:pt x="877" y="218"/>
                </a:cubicBezTo>
                <a:cubicBezTo>
                  <a:pt x="877" y="217"/>
                  <a:pt x="877" y="216"/>
                  <a:pt x="878" y="215"/>
                </a:cubicBezTo>
                <a:cubicBezTo>
                  <a:pt x="879" y="215"/>
                  <a:pt x="879" y="215"/>
                  <a:pt x="880" y="215"/>
                </a:cubicBezTo>
                <a:cubicBezTo>
                  <a:pt x="880" y="215"/>
                  <a:pt x="880" y="214"/>
                  <a:pt x="881" y="214"/>
                </a:cubicBezTo>
                <a:cubicBezTo>
                  <a:pt x="881" y="213"/>
                  <a:pt x="881" y="213"/>
                  <a:pt x="881" y="212"/>
                </a:cubicBezTo>
                <a:cubicBezTo>
                  <a:pt x="881" y="212"/>
                  <a:pt x="881" y="212"/>
                  <a:pt x="881" y="211"/>
                </a:cubicBezTo>
                <a:cubicBezTo>
                  <a:pt x="881" y="211"/>
                  <a:pt x="882" y="211"/>
                  <a:pt x="882" y="211"/>
                </a:cubicBezTo>
                <a:cubicBezTo>
                  <a:pt x="882" y="212"/>
                  <a:pt x="882" y="212"/>
                  <a:pt x="883" y="212"/>
                </a:cubicBezTo>
                <a:cubicBezTo>
                  <a:pt x="884" y="213"/>
                  <a:pt x="885" y="214"/>
                  <a:pt x="884" y="215"/>
                </a:cubicBezTo>
                <a:cubicBezTo>
                  <a:pt x="884" y="217"/>
                  <a:pt x="884" y="215"/>
                  <a:pt x="884" y="215"/>
                </a:cubicBezTo>
                <a:close/>
                <a:moveTo>
                  <a:pt x="856" y="188"/>
                </a:moveTo>
                <a:cubicBezTo>
                  <a:pt x="856" y="188"/>
                  <a:pt x="856" y="188"/>
                  <a:pt x="857" y="188"/>
                </a:cubicBezTo>
                <a:cubicBezTo>
                  <a:pt x="856" y="188"/>
                  <a:pt x="856" y="188"/>
                  <a:pt x="856" y="188"/>
                </a:cubicBezTo>
                <a:cubicBezTo>
                  <a:pt x="857" y="188"/>
                  <a:pt x="856" y="188"/>
                  <a:pt x="856" y="188"/>
                </a:cubicBezTo>
                <a:close/>
                <a:moveTo>
                  <a:pt x="1706" y="179"/>
                </a:moveTo>
                <a:cubicBezTo>
                  <a:pt x="1706" y="179"/>
                  <a:pt x="1706" y="178"/>
                  <a:pt x="1706" y="178"/>
                </a:cubicBezTo>
                <a:cubicBezTo>
                  <a:pt x="1707" y="179"/>
                  <a:pt x="1708" y="179"/>
                  <a:pt x="1709" y="179"/>
                </a:cubicBezTo>
                <a:cubicBezTo>
                  <a:pt x="1708" y="178"/>
                  <a:pt x="1707" y="176"/>
                  <a:pt x="1706" y="176"/>
                </a:cubicBezTo>
                <a:cubicBezTo>
                  <a:pt x="1706" y="176"/>
                  <a:pt x="1707" y="175"/>
                  <a:pt x="1707" y="175"/>
                </a:cubicBezTo>
                <a:cubicBezTo>
                  <a:pt x="1707" y="175"/>
                  <a:pt x="1706" y="175"/>
                  <a:pt x="1706" y="175"/>
                </a:cubicBezTo>
                <a:cubicBezTo>
                  <a:pt x="1705" y="174"/>
                  <a:pt x="1708" y="174"/>
                  <a:pt x="1708" y="174"/>
                </a:cubicBezTo>
                <a:cubicBezTo>
                  <a:pt x="1709" y="173"/>
                  <a:pt x="1709" y="172"/>
                  <a:pt x="1709" y="171"/>
                </a:cubicBezTo>
                <a:cubicBezTo>
                  <a:pt x="1708" y="171"/>
                  <a:pt x="1707" y="171"/>
                  <a:pt x="1707" y="171"/>
                </a:cubicBezTo>
                <a:cubicBezTo>
                  <a:pt x="1706" y="171"/>
                  <a:pt x="1707" y="171"/>
                  <a:pt x="1706" y="171"/>
                </a:cubicBezTo>
                <a:cubicBezTo>
                  <a:pt x="1706" y="169"/>
                  <a:pt x="1707" y="170"/>
                  <a:pt x="1709" y="170"/>
                </a:cubicBezTo>
                <a:cubicBezTo>
                  <a:pt x="1709" y="170"/>
                  <a:pt x="1710" y="171"/>
                  <a:pt x="1710" y="170"/>
                </a:cubicBezTo>
                <a:cubicBezTo>
                  <a:pt x="1711" y="170"/>
                  <a:pt x="1713" y="170"/>
                  <a:pt x="1713" y="171"/>
                </a:cubicBezTo>
                <a:cubicBezTo>
                  <a:pt x="1713" y="171"/>
                  <a:pt x="1713" y="171"/>
                  <a:pt x="1713" y="170"/>
                </a:cubicBezTo>
                <a:cubicBezTo>
                  <a:pt x="1713" y="170"/>
                  <a:pt x="1714" y="171"/>
                  <a:pt x="1714" y="171"/>
                </a:cubicBezTo>
                <a:cubicBezTo>
                  <a:pt x="1714" y="171"/>
                  <a:pt x="1715" y="170"/>
                  <a:pt x="1715" y="170"/>
                </a:cubicBezTo>
                <a:cubicBezTo>
                  <a:pt x="1715" y="170"/>
                  <a:pt x="1715" y="169"/>
                  <a:pt x="1715" y="169"/>
                </a:cubicBezTo>
                <a:cubicBezTo>
                  <a:pt x="1715" y="169"/>
                  <a:pt x="1718" y="169"/>
                  <a:pt x="1716" y="168"/>
                </a:cubicBezTo>
                <a:cubicBezTo>
                  <a:pt x="1716" y="168"/>
                  <a:pt x="1716" y="167"/>
                  <a:pt x="1717" y="167"/>
                </a:cubicBezTo>
                <a:cubicBezTo>
                  <a:pt x="1718" y="167"/>
                  <a:pt x="1718" y="166"/>
                  <a:pt x="1718" y="165"/>
                </a:cubicBezTo>
                <a:cubicBezTo>
                  <a:pt x="1717" y="165"/>
                  <a:pt x="1717" y="165"/>
                  <a:pt x="1716" y="165"/>
                </a:cubicBezTo>
                <a:cubicBezTo>
                  <a:pt x="1716" y="165"/>
                  <a:pt x="1716" y="165"/>
                  <a:pt x="1716" y="164"/>
                </a:cubicBezTo>
                <a:cubicBezTo>
                  <a:pt x="1715" y="164"/>
                  <a:pt x="1714" y="164"/>
                  <a:pt x="1714" y="163"/>
                </a:cubicBezTo>
                <a:cubicBezTo>
                  <a:pt x="1714" y="163"/>
                  <a:pt x="1713" y="163"/>
                  <a:pt x="1713" y="163"/>
                </a:cubicBezTo>
                <a:cubicBezTo>
                  <a:pt x="1713" y="163"/>
                  <a:pt x="1712" y="162"/>
                  <a:pt x="1712" y="162"/>
                </a:cubicBezTo>
                <a:cubicBezTo>
                  <a:pt x="1711" y="162"/>
                  <a:pt x="1711" y="162"/>
                  <a:pt x="1711" y="161"/>
                </a:cubicBezTo>
                <a:cubicBezTo>
                  <a:pt x="1711" y="161"/>
                  <a:pt x="1710" y="161"/>
                  <a:pt x="1710" y="161"/>
                </a:cubicBezTo>
                <a:cubicBezTo>
                  <a:pt x="1709" y="160"/>
                  <a:pt x="1709" y="160"/>
                  <a:pt x="1709" y="160"/>
                </a:cubicBezTo>
                <a:cubicBezTo>
                  <a:pt x="1708" y="158"/>
                  <a:pt x="1708" y="159"/>
                  <a:pt x="1707" y="158"/>
                </a:cubicBezTo>
                <a:cubicBezTo>
                  <a:pt x="1707" y="158"/>
                  <a:pt x="1708" y="158"/>
                  <a:pt x="1707" y="158"/>
                </a:cubicBezTo>
                <a:cubicBezTo>
                  <a:pt x="1707" y="158"/>
                  <a:pt x="1707" y="158"/>
                  <a:pt x="1707" y="158"/>
                </a:cubicBezTo>
                <a:cubicBezTo>
                  <a:pt x="1707" y="157"/>
                  <a:pt x="1705" y="158"/>
                  <a:pt x="1705" y="157"/>
                </a:cubicBezTo>
                <a:cubicBezTo>
                  <a:pt x="1702" y="157"/>
                  <a:pt x="1699" y="157"/>
                  <a:pt x="1697" y="158"/>
                </a:cubicBezTo>
                <a:cubicBezTo>
                  <a:pt x="1697" y="159"/>
                  <a:pt x="1697" y="160"/>
                  <a:pt x="1698" y="161"/>
                </a:cubicBezTo>
                <a:cubicBezTo>
                  <a:pt x="1697" y="161"/>
                  <a:pt x="1695" y="161"/>
                  <a:pt x="1695" y="160"/>
                </a:cubicBezTo>
                <a:cubicBezTo>
                  <a:pt x="1696" y="159"/>
                  <a:pt x="1696" y="158"/>
                  <a:pt x="1695" y="157"/>
                </a:cubicBezTo>
                <a:cubicBezTo>
                  <a:pt x="1695" y="157"/>
                  <a:pt x="1696" y="157"/>
                  <a:pt x="1696" y="157"/>
                </a:cubicBezTo>
                <a:cubicBezTo>
                  <a:pt x="1696" y="156"/>
                  <a:pt x="1695" y="156"/>
                  <a:pt x="1694" y="154"/>
                </a:cubicBezTo>
                <a:cubicBezTo>
                  <a:pt x="1694" y="154"/>
                  <a:pt x="1693" y="155"/>
                  <a:pt x="1693" y="154"/>
                </a:cubicBezTo>
                <a:cubicBezTo>
                  <a:pt x="1693" y="154"/>
                  <a:pt x="1694" y="153"/>
                  <a:pt x="1693" y="153"/>
                </a:cubicBezTo>
                <a:cubicBezTo>
                  <a:pt x="1693" y="153"/>
                  <a:pt x="1692" y="153"/>
                  <a:pt x="1692" y="153"/>
                </a:cubicBezTo>
                <a:cubicBezTo>
                  <a:pt x="1690" y="153"/>
                  <a:pt x="1690" y="152"/>
                  <a:pt x="1689" y="151"/>
                </a:cubicBezTo>
                <a:cubicBezTo>
                  <a:pt x="1689" y="151"/>
                  <a:pt x="1689" y="151"/>
                  <a:pt x="1688" y="151"/>
                </a:cubicBezTo>
                <a:cubicBezTo>
                  <a:pt x="1688" y="151"/>
                  <a:pt x="1688" y="151"/>
                  <a:pt x="1688" y="151"/>
                </a:cubicBezTo>
                <a:cubicBezTo>
                  <a:pt x="1688" y="151"/>
                  <a:pt x="1688" y="151"/>
                  <a:pt x="1688" y="151"/>
                </a:cubicBezTo>
                <a:cubicBezTo>
                  <a:pt x="1687" y="150"/>
                  <a:pt x="1688" y="150"/>
                  <a:pt x="1687" y="150"/>
                </a:cubicBezTo>
                <a:cubicBezTo>
                  <a:pt x="1687" y="150"/>
                  <a:pt x="1687" y="150"/>
                  <a:pt x="1687" y="150"/>
                </a:cubicBezTo>
                <a:cubicBezTo>
                  <a:pt x="1686" y="149"/>
                  <a:pt x="1686" y="149"/>
                  <a:pt x="1685" y="149"/>
                </a:cubicBezTo>
                <a:cubicBezTo>
                  <a:pt x="1684" y="148"/>
                  <a:pt x="1684" y="148"/>
                  <a:pt x="1683" y="148"/>
                </a:cubicBezTo>
                <a:cubicBezTo>
                  <a:pt x="1683" y="148"/>
                  <a:pt x="1682" y="147"/>
                  <a:pt x="1682" y="146"/>
                </a:cubicBezTo>
                <a:cubicBezTo>
                  <a:pt x="1681" y="146"/>
                  <a:pt x="1681" y="146"/>
                  <a:pt x="1680" y="146"/>
                </a:cubicBezTo>
                <a:cubicBezTo>
                  <a:pt x="1680" y="146"/>
                  <a:pt x="1679" y="145"/>
                  <a:pt x="1680" y="145"/>
                </a:cubicBezTo>
                <a:cubicBezTo>
                  <a:pt x="1680" y="145"/>
                  <a:pt x="1679" y="143"/>
                  <a:pt x="1679" y="143"/>
                </a:cubicBezTo>
                <a:cubicBezTo>
                  <a:pt x="1678" y="143"/>
                  <a:pt x="1678" y="143"/>
                  <a:pt x="1677" y="143"/>
                </a:cubicBezTo>
                <a:cubicBezTo>
                  <a:pt x="1676" y="143"/>
                  <a:pt x="1677" y="143"/>
                  <a:pt x="1676" y="142"/>
                </a:cubicBezTo>
                <a:cubicBezTo>
                  <a:pt x="1675" y="142"/>
                  <a:pt x="1674" y="142"/>
                  <a:pt x="1674" y="142"/>
                </a:cubicBezTo>
                <a:cubicBezTo>
                  <a:pt x="1672" y="141"/>
                  <a:pt x="1673" y="140"/>
                  <a:pt x="1671" y="139"/>
                </a:cubicBezTo>
                <a:cubicBezTo>
                  <a:pt x="1671" y="139"/>
                  <a:pt x="1672" y="138"/>
                  <a:pt x="1671" y="138"/>
                </a:cubicBezTo>
                <a:cubicBezTo>
                  <a:pt x="1670" y="138"/>
                  <a:pt x="1670" y="138"/>
                  <a:pt x="1669" y="138"/>
                </a:cubicBezTo>
                <a:cubicBezTo>
                  <a:pt x="1669" y="138"/>
                  <a:pt x="1669" y="137"/>
                  <a:pt x="1669" y="137"/>
                </a:cubicBezTo>
                <a:cubicBezTo>
                  <a:pt x="1668" y="137"/>
                  <a:pt x="1669" y="136"/>
                  <a:pt x="1669" y="136"/>
                </a:cubicBezTo>
                <a:cubicBezTo>
                  <a:pt x="1669" y="136"/>
                  <a:pt x="1668" y="135"/>
                  <a:pt x="1668" y="135"/>
                </a:cubicBezTo>
                <a:cubicBezTo>
                  <a:pt x="1668" y="135"/>
                  <a:pt x="1668" y="135"/>
                  <a:pt x="1668" y="135"/>
                </a:cubicBezTo>
                <a:cubicBezTo>
                  <a:pt x="1667" y="134"/>
                  <a:pt x="1663" y="135"/>
                  <a:pt x="1663" y="134"/>
                </a:cubicBezTo>
                <a:cubicBezTo>
                  <a:pt x="1664" y="134"/>
                  <a:pt x="1663" y="134"/>
                  <a:pt x="1663" y="134"/>
                </a:cubicBezTo>
                <a:cubicBezTo>
                  <a:pt x="1663" y="134"/>
                  <a:pt x="1663" y="134"/>
                  <a:pt x="1662" y="133"/>
                </a:cubicBezTo>
                <a:cubicBezTo>
                  <a:pt x="1662" y="133"/>
                  <a:pt x="1661" y="133"/>
                  <a:pt x="1661" y="133"/>
                </a:cubicBezTo>
                <a:cubicBezTo>
                  <a:pt x="1660" y="133"/>
                  <a:pt x="1660" y="133"/>
                  <a:pt x="1659" y="134"/>
                </a:cubicBezTo>
                <a:cubicBezTo>
                  <a:pt x="1659" y="134"/>
                  <a:pt x="1657" y="134"/>
                  <a:pt x="1657" y="133"/>
                </a:cubicBezTo>
                <a:cubicBezTo>
                  <a:pt x="1656" y="133"/>
                  <a:pt x="1656" y="133"/>
                  <a:pt x="1655" y="133"/>
                </a:cubicBezTo>
                <a:cubicBezTo>
                  <a:pt x="1655" y="132"/>
                  <a:pt x="1655" y="131"/>
                  <a:pt x="1655" y="131"/>
                </a:cubicBezTo>
                <a:cubicBezTo>
                  <a:pt x="1654" y="131"/>
                  <a:pt x="1654" y="131"/>
                  <a:pt x="1654" y="131"/>
                </a:cubicBezTo>
                <a:cubicBezTo>
                  <a:pt x="1654" y="130"/>
                  <a:pt x="1651" y="130"/>
                  <a:pt x="1650" y="130"/>
                </a:cubicBezTo>
                <a:cubicBezTo>
                  <a:pt x="1650" y="130"/>
                  <a:pt x="1650" y="130"/>
                  <a:pt x="1650" y="129"/>
                </a:cubicBezTo>
                <a:cubicBezTo>
                  <a:pt x="1649" y="129"/>
                  <a:pt x="1649" y="129"/>
                  <a:pt x="1649" y="129"/>
                </a:cubicBezTo>
                <a:cubicBezTo>
                  <a:pt x="1649" y="129"/>
                  <a:pt x="1648" y="129"/>
                  <a:pt x="1648" y="128"/>
                </a:cubicBezTo>
                <a:cubicBezTo>
                  <a:pt x="1648" y="127"/>
                  <a:pt x="1647" y="129"/>
                  <a:pt x="1647" y="129"/>
                </a:cubicBezTo>
                <a:cubicBezTo>
                  <a:pt x="1646" y="129"/>
                  <a:pt x="1644" y="129"/>
                  <a:pt x="1643" y="129"/>
                </a:cubicBezTo>
                <a:cubicBezTo>
                  <a:pt x="1642" y="129"/>
                  <a:pt x="1642" y="129"/>
                  <a:pt x="1641" y="129"/>
                </a:cubicBezTo>
                <a:cubicBezTo>
                  <a:pt x="1641" y="128"/>
                  <a:pt x="1641" y="128"/>
                  <a:pt x="1640" y="128"/>
                </a:cubicBezTo>
                <a:cubicBezTo>
                  <a:pt x="1640" y="128"/>
                  <a:pt x="1640" y="128"/>
                  <a:pt x="1640" y="128"/>
                </a:cubicBezTo>
                <a:cubicBezTo>
                  <a:pt x="1640" y="128"/>
                  <a:pt x="1639" y="128"/>
                  <a:pt x="1638" y="129"/>
                </a:cubicBezTo>
                <a:cubicBezTo>
                  <a:pt x="1638" y="129"/>
                  <a:pt x="1637" y="129"/>
                  <a:pt x="1637" y="129"/>
                </a:cubicBezTo>
                <a:cubicBezTo>
                  <a:pt x="1637" y="129"/>
                  <a:pt x="1635" y="128"/>
                  <a:pt x="1636" y="128"/>
                </a:cubicBezTo>
                <a:cubicBezTo>
                  <a:pt x="1635" y="128"/>
                  <a:pt x="1635" y="128"/>
                  <a:pt x="1634" y="128"/>
                </a:cubicBezTo>
                <a:cubicBezTo>
                  <a:pt x="1634" y="128"/>
                  <a:pt x="1634" y="128"/>
                  <a:pt x="1634" y="128"/>
                </a:cubicBezTo>
                <a:cubicBezTo>
                  <a:pt x="1632" y="128"/>
                  <a:pt x="1631" y="128"/>
                  <a:pt x="1630" y="128"/>
                </a:cubicBezTo>
                <a:cubicBezTo>
                  <a:pt x="1629" y="128"/>
                  <a:pt x="1630" y="128"/>
                  <a:pt x="1629" y="128"/>
                </a:cubicBezTo>
                <a:cubicBezTo>
                  <a:pt x="1628" y="127"/>
                  <a:pt x="1628" y="127"/>
                  <a:pt x="1627" y="127"/>
                </a:cubicBezTo>
                <a:cubicBezTo>
                  <a:pt x="1627" y="128"/>
                  <a:pt x="1627" y="129"/>
                  <a:pt x="1627" y="130"/>
                </a:cubicBezTo>
                <a:cubicBezTo>
                  <a:pt x="1627" y="130"/>
                  <a:pt x="1627" y="131"/>
                  <a:pt x="1627" y="132"/>
                </a:cubicBezTo>
                <a:cubicBezTo>
                  <a:pt x="1627" y="132"/>
                  <a:pt x="1628" y="132"/>
                  <a:pt x="1628" y="132"/>
                </a:cubicBezTo>
                <a:cubicBezTo>
                  <a:pt x="1629" y="133"/>
                  <a:pt x="1629" y="135"/>
                  <a:pt x="1629" y="136"/>
                </a:cubicBezTo>
                <a:cubicBezTo>
                  <a:pt x="1629" y="136"/>
                  <a:pt x="1628" y="136"/>
                  <a:pt x="1628" y="136"/>
                </a:cubicBezTo>
                <a:cubicBezTo>
                  <a:pt x="1627" y="136"/>
                  <a:pt x="1628" y="137"/>
                  <a:pt x="1627" y="137"/>
                </a:cubicBezTo>
                <a:cubicBezTo>
                  <a:pt x="1627" y="138"/>
                  <a:pt x="1627" y="138"/>
                  <a:pt x="1626" y="138"/>
                </a:cubicBezTo>
                <a:cubicBezTo>
                  <a:pt x="1625" y="138"/>
                  <a:pt x="1625" y="138"/>
                  <a:pt x="1625" y="139"/>
                </a:cubicBezTo>
                <a:cubicBezTo>
                  <a:pt x="1625" y="139"/>
                  <a:pt x="1626" y="139"/>
                  <a:pt x="1625" y="140"/>
                </a:cubicBezTo>
                <a:cubicBezTo>
                  <a:pt x="1625" y="140"/>
                  <a:pt x="1624" y="140"/>
                  <a:pt x="1623" y="140"/>
                </a:cubicBezTo>
                <a:cubicBezTo>
                  <a:pt x="1622" y="140"/>
                  <a:pt x="1619" y="141"/>
                  <a:pt x="1619" y="140"/>
                </a:cubicBezTo>
                <a:cubicBezTo>
                  <a:pt x="1619" y="139"/>
                  <a:pt x="1619" y="137"/>
                  <a:pt x="1618" y="136"/>
                </a:cubicBezTo>
                <a:cubicBezTo>
                  <a:pt x="1618" y="135"/>
                  <a:pt x="1616" y="136"/>
                  <a:pt x="1616" y="135"/>
                </a:cubicBezTo>
                <a:cubicBezTo>
                  <a:pt x="1616" y="134"/>
                  <a:pt x="1617" y="133"/>
                  <a:pt x="1616" y="133"/>
                </a:cubicBezTo>
                <a:cubicBezTo>
                  <a:pt x="1615" y="132"/>
                  <a:pt x="1616" y="132"/>
                  <a:pt x="1616" y="131"/>
                </a:cubicBezTo>
                <a:cubicBezTo>
                  <a:pt x="1615" y="131"/>
                  <a:pt x="1614" y="132"/>
                  <a:pt x="1614" y="133"/>
                </a:cubicBezTo>
                <a:cubicBezTo>
                  <a:pt x="1614" y="133"/>
                  <a:pt x="1613" y="133"/>
                  <a:pt x="1613" y="133"/>
                </a:cubicBezTo>
                <a:cubicBezTo>
                  <a:pt x="1613" y="133"/>
                  <a:pt x="1613" y="133"/>
                  <a:pt x="1613" y="133"/>
                </a:cubicBezTo>
                <a:cubicBezTo>
                  <a:pt x="1612" y="133"/>
                  <a:pt x="1612" y="133"/>
                  <a:pt x="1612" y="133"/>
                </a:cubicBezTo>
                <a:cubicBezTo>
                  <a:pt x="1611" y="133"/>
                  <a:pt x="1609" y="134"/>
                  <a:pt x="1608" y="134"/>
                </a:cubicBezTo>
                <a:cubicBezTo>
                  <a:pt x="1608" y="134"/>
                  <a:pt x="1608" y="133"/>
                  <a:pt x="1609" y="133"/>
                </a:cubicBezTo>
                <a:cubicBezTo>
                  <a:pt x="1608" y="133"/>
                  <a:pt x="1607" y="133"/>
                  <a:pt x="1607" y="133"/>
                </a:cubicBezTo>
                <a:cubicBezTo>
                  <a:pt x="1606" y="132"/>
                  <a:pt x="1605" y="131"/>
                  <a:pt x="1604" y="132"/>
                </a:cubicBezTo>
                <a:cubicBezTo>
                  <a:pt x="1604" y="133"/>
                  <a:pt x="1601" y="131"/>
                  <a:pt x="1601" y="132"/>
                </a:cubicBezTo>
                <a:cubicBezTo>
                  <a:pt x="1600" y="133"/>
                  <a:pt x="1600" y="133"/>
                  <a:pt x="1600" y="133"/>
                </a:cubicBezTo>
                <a:cubicBezTo>
                  <a:pt x="1599" y="133"/>
                  <a:pt x="1599" y="133"/>
                  <a:pt x="1599" y="133"/>
                </a:cubicBezTo>
                <a:cubicBezTo>
                  <a:pt x="1598" y="132"/>
                  <a:pt x="1598" y="132"/>
                  <a:pt x="1598" y="131"/>
                </a:cubicBezTo>
                <a:cubicBezTo>
                  <a:pt x="1596" y="131"/>
                  <a:pt x="1593" y="131"/>
                  <a:pt x="1590" y="131"/>
                </a:cubicBezTo>
                <a:cubicBezTo>
                  <a:pt x="1590" y="131"/>
                  <a:pt x="1589" y="131"/>
                  <a:pt x="1588" y="131"/>
                </a:cubicBezTo>
                <a:cubicBezTo>
                  <a:pt x="1588" y="132"/>
                  <a:pt x="1588" y="132"/>
                  <a:pt x="1588" y="132"/>
                </a:cubicBezTo>
                <a:cubicBezTo>
                  <a:pt x="1587" y="132"/>
                  <a:pt x="1587" y="132"/>
                  <a:pt x="1587" y="132"/>
                </a:cubicBezTo>
                <a:cubicBezTo>
                  <a:pt x="1586" y="132"/>
                  <a:pt x="1586" y="133"/>
                  <a:pt x="1586" y="133"/>
                </a:cubicBezTo>
                <a:cubicBezTo>
                  <a:pt x="1585" y="133"/>
                  <a:pt x="1585" y="132"/>
                  <a:pt x="1584" y="133"/>
                </a:cubicBezTo>
                <a:cubicBezTo>
                  <a:pt x="1584" y="133"/>
                  <a:pt x="1583" y="133"/>
                  <a:pt x="1583" y="133"/>
                </a:cubicBezTo>
                <a:cubicBezTo>
                  <a:pt x="1583" y="133"/>
                  <a:pt x="1583" y="134"/>
                  <a:pt x="1583" y="134"/>
                </a:cubicBezTo>
                <a:cubicBezTo>
                  <a:pt x="1582" y="134"/>
                  <a:pt x="1583" y="135"/>
                  <a:pt x="1583" y="135"/>
                </a:cubicBezTo>
                <a:cubicBezTo>
                  <a:pt x="1583" y="136"/>
                  <a:pt x="1582" y="136"/>
                  <a:pt x="1582" y="137"/>
                </a:cubicBezTo>
                <a:cubicBezTo>
                  <a:pt x="1582" y="137"/>
                  <a:pt x="1582" y="138"/>
                  <a:pt x="1582" y="139"/>
                </a:cubicBezTo>
                <a:cubicBezTo>
                  <a:pt x="1581" y="139"/>
                  <a:pt x="1581" y="139"/>
                  <a:pt x="1581" y="139"/>
                </a:cubicBezTo>
                <a:cubicBezTo>
                  <a:pt x="1581" y="138"/>
                  <a:pt x="1581" y="137"/>
                  <a:pt x="1581" y="137"/>
                </a:cubicBezTo>
                <a:cubicBezTo>
                  <a:pt x="1580" y="136"/>
                  <a:pt x="1581" y="135"/>
                  <a:pt x="1580" y="134"/>
                </a:cubicBezTo>
                <a:cubicBezTo>
                  <a:pt x="1579" y="134"/>
                  <a:pt x="1580" y="133"/>
                  <a:pt x="1579" y="132"/>
                </a:cubicBezTo>
                <a:cubicBezTo>
                  <a:pt x="1578" y="132"/>
                  <a:pt x="1577" y="132"/>
                  <a:pt x="1577" y="132"/>
                </a:cubicBezTo>
                <a:cubicBezTo>
                  <a:pt x="1577" y="131"/>
                  <a:pt x="1577" y="131"/>
                  <a:pt x="1577" y="130"/>
                </a:cubicBezTo>
                <a:cubicBezTo>
                  <a:pt x="1577" y="130"/>
                  <a:pt x="1577" y="130"/>
                  <a:pt x="1576" y="130"/>
                </a:cubicBezTo>
                <a:cubicBezTo>
                  <a:pt x="1577" y="129"/>
                  <a:pt x="1577" y="129"/>
                  <a:pt x="1578" y="128"/>
                </a:cubicBezTo>
                <a:cubicBezTo>
                  <a:pt x="1577" y="127"/>
                  <a:pt x="1577" y="127"/>
                  <a:pt x="1577" y="126"/>
                </a:cubicBezTo>
                <a:cubicBezTo>
                  <a:pt x="1576" y="126"/>
                  <a:pt x="1576" y="126"/>
                  <a:pt x="1576" y="126"/>
                </a:cubicBezTo>
                <a:cubicBezTo>
                  <a:pt x="1576" y="125"/>
                  <a:pt x="1574" y="125"/>
                  <a:pt x="1574" y="125"/>
                </a:cubicBezTo>
                <a:cubicBezTo>
                  <a:pt x="1573" y="125"/>
                  <a:pt x="1573" y="124"/>
                  <a:pt x="1573" y="123"/>
                </a:cubicBezTo>
                <a:cubicBezTo>
                  <a:pt x="1572" y="123"/>
                  <a:pt x="1572" y="123"/>
                  <a:pt x="1572" y="123"/>
                </a:cubicBezTo>
                <a:cubicBezTo>
                  <a:pt x="1572" y="122"/>
                  <a:pt x="1570" y="122"/>
                  <a:pt x="1569" y="122"/>
                </a:cubicBezTo>
                <a:cubicBezTo>
                  <a:pt x="1569" y="122"/>
                  <a:pt x="1569" y="122"/>
                  <a:pt x="1569" y="122"/>
                </a:cubicBezTo>
                <a:cubicBezTo>
                  <a:pt x="1568" y="122"/>
                  <a:pt x="1568" y="121"/>
                  <a:pt x="1567" y="121"/>
                </a:cubicBezTo>
                <a:cubicBezTo>
                  <a:pt x="1566" y="121"/>
                  <a:pt x="1565" y="121"/>
                  <a:pt x="1565" y="122"/>
                </a:cubicBezTo>
                <a:cubicBezTo>
                  <a:pt x="1565" y="122"/>
                  <a:pt x="1564" y="121"/>
                  <a:pt x="1564" y="121"/>
                </a:cubicBezTo>
                <a:cubicBezTo>
                  <a:pt x="1563" y="121"/>
                  <a:pt x="1564" y="122"/>
                  <a:pt x="1563" y="122"/>
                </a:cubicBezTo>
                <a:cubicBezTo>
                  <a:pt x="1563" y="122"/>
                  <a:pt x="1562" y="122"/>
                  <a:pt x="1563" y="122"/>
                </a:cubicBezTo>
                <a:cubicBezTo>
                  <a:pt x="1563" y="122"/>
                  <a:pt x="1562" y="122"/>
                  <a:pt x="1561" y="122"/>
                </a:cubicBezTo>
                <a:cubicBezTo>
                  <a:pt x="1561" y="122"/>
                  <a:pt x="1560" y="123"/>
                  <a:pt x="1560" y="122"/>
                </a:cubicBezTo>
                <a:cubicBezTo>
                  <a:pt x="1560" y="122"/>
                  <a:pt x="1560" y="122"/>
                  <a:pt x="1560" y="122"/>
                </a:cubicBezTo>
                <a:cubicBezTo>
                  <a:pt x="1559" y="121"/>
                  <a:pt x="1558" y="122"/>
                  <a:pt x="1557" y="122"/>
                </a:cubicBezTo>
                <a:cubicBezTo>
                  <a:pt x="1556" y="122"/>
                  <a:pt x="1557" y="122"/>
                  <a:pt x="1556" y="122"/>
                </a:cubicBezTo>
                <a:cubicBezTo>
                  <a:pt x="1555" y="122"/>
                  <a:pt x="1556" y="121"/>
                  <a:pt x="1555" y="121"/>
                </a:cubicBezTo>
                <a:cubicBezTo>
                  <a:pt x="1554" y="121"/>
                  <a:pt x="1553" y="122"/>
                  <a:pt x="1552" y="122"/>
                </a:cubicBezTo>
                <a:cubicBezTo>
                  <a:pt x="1550" y="123"/>
                  <a:pt x="1549" y="123"/>
                  <a:pt x="1547" y="122"/>
                </a:cubicBezTo>
                <a:cubicBezTo>
                  <a:pt x="1547" y="122"/>
                  <a:pt x="1546" y="122"/>
                  <a:pt x="1546" y="122"/>
                </a:cubicBezTo>
                <a:cubicBezTo>
                  <a:pt x="1545" y="122"/>
                  <a:pt x="1545" y="122"/>
                  <a:pt x="1544" y="122"/>
                </a:cubicBezTo>
                <a:cubicBezTo>
                  <a:pt x="1543" y="122"/>
                  <a:pt x="1544" y="123"/>
                  <a:pt x="1543" y="123"/>
                </a:cubicBezTo>
                <a:cubicBezTo>
                  <a:pt x="1542" y="123"/>
                  <a:pt x="1541" y="123"/>
                  <a:pt x="1541" y="123"/>
                </a:cubicBezTo>
                <a:cubicBezTo>
                  <a:pt x="1541" y="124"/>
                  <a:pt x="1541" y="124"/>
                  <a:pt x="1541" y="124"/>
                </a:cubicBezTo>
                <a:cubicBezTo>
                  <a:pt x="1540" y="124"/>
                  <a:pt x="1538" y="123"/>
                  <a:pt x="1538" y="124"/>
                </a:cubicBezTo>
                <a:cubicBezTo>
                  <a:pt x="1537" y="124"/>
                  <a:pt x="1535" y="124"/>
                  <a:pt x="1533" y="124"/>
                </a:cubicBezTo>
                <a:cubicBezTo>
                  <a:pt x="1533" y="124"/>
                  <a:pt x="1533" y="124"/>
                  <a:pt x="1532" y="124"/>
                </a:cubicBezTo>
                <a:cubicBezTo>
                  <a:pt x="1532" y="124"/>
                  <a:pt x="1531" y="124"/>
                  <a:pt x="1531" y="124"/>
                </a:cubicBezTo>
                <a:cubicBezTo>
                  <a:pt x="1531" y="124"/>
                  <a:pt x="1528" y="125"/>
                  <a:pt x="1528" y="124"/>
                </a:cubicBezTo>
                <a:cubicBezTo>
                  <a:pt x="1528" y="124"/>
                  <a:pt x="1527" y="124"/>
                  <a:pt x="1527" y="124"/>
                </a:cubicBezTo>
                <a:cubicBezTo>
                  <a:pt x="1527" y="124"/>
                  <a:pt x="1526" y="124"/>
                  <a:pt x="1526" y="124"/>
                </a:cubicBezTo>
                <a:cubicBezTo>
                  <a:pt x="1525" y="124"/>
                  <a:pt x="1525" y="124"/>
                  <a:pt x="1525" y="124"/>
                </a:cubicBezTo>
                <a:cubicBezTo>
                  <a:pt x="1524" y="124"/>
                  <a:pt x="1525" y="124"/>
                  <a:pt x="1524" y="124"/>
                </a:cubicBezTo>
                <a:cubicBezTo>
                  <a:pt x="1524" y="124"/>
                  <a:pt x="1524" y="124"/>
                  <a:pt x="1524" y="124"/>
                </a:cubicBezTo>
                <a:cubicBezTo>
                  <a:pt x="1524" y="124"/>
                  <a:pt x="1524" y="124"/>
                  <a:pt x="1524" y="124"/>
                </a:cubicBezTo>
                <a:cubicBezTo>
                  <a:pt x="1523" y="124"/>
                  <a:pt x="1523" y="124"/>
                  <a:pt x="1523" y="124"/>
                </a:cubicBezTo>
                <a:cubicBezTo>
                  <a:pt x="1524" y="123"/>
                  <a:pt x="1525" y="121"/>
                  <a:pt x="1526" y="120"/>
                </a:cubicBezTo>
                <a:cubicBezTo>
                  <a:pt x="1527" y="120"/>
                  <a:pt x="1527" y="119"/>
                  <a:pt x="1527" y="119"/>
                </a:cubicBezTo>
                <a:cubicBezTo>
                  <a:pt x="1527" y="118"/>
                  <a:pt x="1526" y="118"/>
                  <a:pt x="1526" y="118"/>
                </a:cubicBezTo>
                <a:cubicBezTo>
                  <a:pt x="1524" y="118"/>
                  <a:pt x="1524" y="119"/>
                  <a:pt x="1524" y="117"/>
                </a:cubicBezTo>
                <a:cubicBezTo>
                  <a:pt x="1524" y="117"/>
                  <a:pt x="1524" y="117"/>
                  <a:pt x="1524" y="116"/>
                </a:cubicBezTo>
                <a:cubicBezTo>
                  <a:pt x="1525" y="116"/>
                  <a:pt x="1525" y="117"/>
                  <a:pt x="1525" y="116"/>
                </a:cubicBezTo>
                <a:cubicBezTo>
                  <a:pt x="1525" y="116"/>
                  <a:pt x="1526" y="116"/>
                  <a:pt x="1526" y="116"/>
                </a:cubicBezTo>
                <a:cubicBezTo>
                  <a:pt x="1526" y="116"/>
                  <a:pt x="1526" y="118"/>
                  <a:pt x="1527" y="117"/>
                </a:cubicBezTo>
                <a:cubicBezTo>
                  <a:pt x="1529" y="117"/>
                  <a:pt x="1530" y="115"/>
                  <a:pt x="1529" y="114"/>
                </a:cubicBezTo>
                <a:cubicBezTo>
                  <a:pt x="1529" y="114"/>
                  <a:pt x="1527" y="113"/>
                  <a:pt x="1527" y="113"/>
                </a:cubicBezTo>
                <a:cubicBezTo>
                  <a:pt x="1526" y="113"/>
                  <a:pt x="1526" y="112"/>
                  <a:pt x="1526" y="112"/>
                </a:cubicBezTo>
                <a:cubicBezTo>
                  <a:pt x="1525" y="112"/>
                  <a:pt x="1525" y="112"/>
                  <a:pt x="1524" y="112"/>
                </a:cubicBezTo>
                <a:cubicBezTo>
                  <a:pt x="1523" y="112"/>
                  <a:pt x="1523" y="112"/>
                  <a:pt x="1523" y="111"/>
                </a:cubicBezTo>
                <a:cubicBezTo>
                  <a:pt x="1521" y="111"/>
                  <a:pt x="1520" y="111"/>
                  <a:pt x="1519" y="111"/>
                </a:cubicBezTo>
                <a:cubicBezTo>
                  <a:pt x="1519" y="111"/>
                  <a:pt x="1519" y="111"/>
                  <a:pt x="1519" y="111"/>
                </a:cubicBezTo>
                <a:cubicBezTo>
                  <a:pt x="1518" y="111"/>
                  <a:pt x="1517" y="110"/>
                  <a:pt x="1516" y="111"/>
                </a:cubicBezTo>
                <a:cubicBezTo>
                  <a:pt x="1515" y="111"/>
                  <a:pt x="1515" y="112"/>
                  <a:pt x="1515" y="112"/>
                </a:cubicBezTo>
                <a:cubicBezTo>
                  <a:pt x="1514" y="113"/>
                  <a:pt x="1514" y="113"/>
                  <a:pt x="1513" y="114"/>
                </a:cubicBezTo>
                <a:cubicBezTo>
                  <a:pt x="1513" y="115"/>
                  <a:pt x="1513" y="115"/>
                  <a:pt x="1512" y="116"/>
                </a:cubicBezTo>
                <a:cubicBezTo>
                  <a:pt x="1511" y="116"/>
                  <a:pt x="1512" y="116"/>
                  <a:pt x="1512" y="117"/>
                </a:cubicBezTo>
                <a:cubicBezTo>
                  <a:pt x="1511" y="117"/>
                  <a:pt x="1512" y="116"/>
                  <a:pt x="1511" y="117"/>
                </a:cubicBezTo>
                <a:cubicBezTo>
                  <a:pt x="1511" y="118"/>
                  <a:pt x="1511" y="118"/>
                  <a:pt x="1511" y="118"/>
                </a:cubicBezTo>
                <a:cubicBezTo>
                  <a:pt x="1510" y="118"/>
                  <a:pt x="1510" y="119"/>
                  <a:pt x="1510" y="119"/>
                </a:cubicBezTo>
                <a:cubicBezTo>
                  <a:pt x="1509" y="119"/>
                  <a:pt x="1509" y="119"/>
                  <a:pt x="1509" y="119"/>
                </a:cubicBezTo>
                <a:cubicBezTo>
                  <a:pt x="1509" y="119"/>
                  <a:pt x="1508" y="120"/>
                  <a:pt x="1508" y="120"/>
                </a:cubicBezTo>
                <a:cubicBezTo>
                  <a:pt x="1507" y="120"/>
                  <a:pt x="1506" y="119"/>
                  <a:pt x="1505" y="119"/>
                </a:cubicBezTo>
                <a:cubicBezTo>
                  <a:pt x="1505" y="118"/>
                  <a:pt x="1505" y="118"/>
                  <a:pt x="1506" y="118"/>
                </a:cubicBezTo>
                <a:cubicBezTo>
                  <a:pt x="1507" y="118"/>
                  <a:pt x="1507" y="118"/>
                  <a:pt x="1507" y="117"/>
                </a:cubicBezTo>
                <a:cubicBezTo>
                  <a:pt x="1507" y="117"/>
                  <a:pt x="1507" y="117"/>
                  <a:pt x="1506" y="117"/>
                </a:cubicBezTo>
                <a:cubicBezTo>
                  <a:pt x="1506" y="117"/>
                  <a:pt x="1506" y="116"/>
                  <a:pt x="1506" y="116"/>
                </a:cubicBezTo>
                <a:cubicBezTo>
                  <a:pt x="1506" y="115"/>
                  <a:pt x="1506" y="116"/>
                  <a:pt x="1507" y="116"/>
                </a:cubicBezTo>
                <a:cubicBezTo>
                  <a:pt x="1508" y="115"/>
                  <a:pt x="1508" y="115"/>
                  <a:pt x="1509" y="114"/>
                </a:cubicBezTo>
                <a:cubicBezTo>
                  <a:pt x="1509" y="113"/>
                  <a:pt x="1509" y="113"/>
                  <a:pt x="1510" y="113"/>
                </a:cubicBezTo>
                <a:cubicBezTo>
                  <a:pt x="1510" y="113"/>
                  <a:pt x="1511" y="113"/>
                  <a:pt x="1511" y="113"/>
                </a:cubicBezTo>
                <a:cubicBezTo>
                  <a:pt x="1511" y="114"/>
                  <a:pt x="1510" y="114"/>
                  <a:pt x="1510" y="114"/>
                </a:cubicBezTo>
                <a:cubicBezTo>
                  <a:pt x="1510" y="116"/>
                  <a:pt x="1511" y="114"/>
                  <a:pt x="1512" y="114"/>
                </a:cubicBezTo>
                <a:cubicBezTo>
                  <a:pt x="1512" y="112"/>
                  <a:pt x="1512" y="112"/>
                  <a:pt x="1511" y="112"/>
                </a:cubicBezTo>
                <a:cubicBezTo>
                  <a:pt x="1511" y="112"/>
                  <a:pt x="1510" y="112"/>
                  <a:pt x="1509" y="112"/>
                </a:cubicBezTo>
                <a:cubicBezTo>
                  <a:pt x="1509" y="112"/>
                  <a:pt x="1508" y="112"/>
                  <a:pt x="1508" y="112"/>
                </a:cubicBezTo>
                <a:cubicBezTo>
                  <a:pt x="1508" y="112"/>
                  <a:pt x="1508" y="112"/>
                  <a:pt x="1507" y="112"/>
                </a:cubicBezTo>
                <a:cubicBezTo>
                  <a:pt x="1506" y="112"/>
                  <a:pt x="1505" y="112"/>
                  <a:pt x="1505" y="112"/>
                </a:cubicBezTo>
                <a:cubicBezTo>
                  <a:pt x="1504" y="112"/>
                  <a:pt x="1503" y="113"/>
                  <a:pt x="1503" y="112"/>
                </a:cubicBezTo>
                <a:cubicBezTo>
                  <a:pt x="1501" y="112"/>
                  <a:pt x="1502" y="111"/>
                  <a:pt x="1501" y="110"/>
                </a:cubicBezTo>
                <a:cubicBezTo>
                  <a:pt x="1502" y="110"/>
                  <a:pt x="1503" y="109"/>
                  <a:pt x="1503" y="110"/>
                </a:cubicBezTo>
                <a:cubicBezTo>
                  <a:pt x="1503" y="110"/>
                  <a:pt x="1503" y="110"/>
                  <a:pt x="1503" y="110"/>
                </a:cubicBezTo>
                <a:cubicBezTo>
                  <a:pt x="1504" y="110"/>
                  <a:pt x="1505" y="110"/>
                  <a:pt x="1507" y="110"/>
                </a:cubicBezTo>
                <a:cubicBezTo>
                  <a:pt x="1506" y="109"/>
                  <a:pt x="1506" y="109"/>
                  <a:pt x="1506" y="109"/>
                </a:cubicBezTo>
                <a:cubicBezTo>
                  <a:pt x="1505" y="109"/>
                  <a:pt x="1504" y="109"/>
                  <a:pt x="1504" y="109"/>
                </a:cubicBezTo>
                <a:cubicBezTo>
                  <a:pt x="1503" y="109"/>
                  <a:pt x="1504" y="108"/>
                  <a:pt x="1503" y="108"/>
                </a:cubicBezTo>
                <a:cubicBezTo>
                  <a:pt x="1502" y="108"/>
                  <a:pt x="1500" y="108"/>
                  <a:pt x="1500" y="108"/>
                </a:cubicBezTo>
                <a:cubicBezTo>
                  <a:pt x="1499" y="108"/>
                  <a:pt x="1498" y="108"/>
                  <a:pt x="1497" y="108"/>
                </a:cubicBezTo>
                <a:cubicBezTo>
                  <a:pt x="1497" y="108"/>
                  <a:pt x="1494" y="107"/>
                  <a:pt x="1494" y="107"/>
                </a:cubicBezTo>
                <a:cubicBezTo>
                  <a:pt x="1493" y="107"/>
                  <a:pt x="1493" y="107"/>
                  <a:pt x="1492" y="107"/>
                </a:cubicBezTo>
                <a:cubicBezTo>
                  <a:pt x="1492" y="107"/>
                  <a:pt x="1492" y="107"/>
                  <a:pt x="1491" y="107"/>
                </a:cubicBezTo>
                <a:cubicBezTo>
                  <a:pt x="1491" y="107"/>
                  <a:pt x="1491" y="107"/>
                  <a:pt x="1491" y="107"/>
                </a:cubicBezTo>
                <a:cubicBezTo>
                  <a:pt x="1491" y="107"/>
                  <a:pt x="1490" y="107"/>
                  <a:pt x="1490" y="106"/>
                </a:cubicBezTo>
                <a:cubicBezTo>
                  <a:pt x="1490" y="106"/>
                  <a:pt x="1490" y="106"/>
                  <a:pt x="1489" y="106"/>
                </a:cubicBezTo>
                <a:cubicBezTo>
                  <a:pt x="1489" y="106"/>
                  <a:pt x="1489" y="106"/>
                  <a:pt x="1488" y="106"/>
                </a:cubicBezTo>
                <a:cubicBezTo>
                  <a:pt x="1488" y="106"/>
                  <a:pt x="1488" y="106"/>
                  <a:pt x="1488" y="106"/>
                </a:cubicBezTo>
                <a:cubicBezTo>
                  <a:pt x="1487" y="106"/>
                  <a:pt x="1487" y="105"/>
                  <a:pt x="1486" y="105"/>
                </a:cubicBezTo>
                <a:cubicBezTo>
                  <a:pt x="1486" y="104"/>
                  <a:pt x="1486" y="105"/>
                  <a:pt x="1486" y="105"/>
                </a:cubicBezTo>
                <a:cubicBezTo>
                  <a:pt x="1485" y="105"/>
                  <a:pt x="1484" y="105"/>
                  <a:pt x="1483" y="105"/>
                </a:cubicBezTo>
                <a:cubicBezTo>
                  <a:pt x="1483" y="106"/>
                  <a:pt x="1484" y="105"/>
                  <a:pt x="1485" y="106"/>
                </a:cubicBezTo>
                <a:cubicBezTo>
                  <a:pt x="1487" y="108"/>
                  <a:pt x="1481" y="108"/>
                  <a:pt x="1480" y="108"/>
                </a:cubicBezTo>
                <a:cubicBezTo>
                  <a:pt x="1480" y="108"/>
                  <a:pt x="1480" y="108"/>
                  <a:pt x="1480" y="109"/>
                </a:cubicBezTo>
                <a:cubicBezTo>
                  <a:pt x="1480" y="109"/>
                  <a:pt x="1480" y="109"/>
                  <a:pt x="1480" y="110"/>
                </a:cubicBezTo>
                <a:cubicBezTo>
                  <a:pt x="1480" y="110"/>
                  <a:pt x="1481" y="110"/>
                  <a:pt x="1481" y="110"/>
                </a:cubicBezTo>
                <a:cubicBezTo>
                  <a:pt x="1481" y="111"/>
                  <a:pt x="1483" y="110"/>
                  <a:pt x="1484" y="110"/>
                </a:cubicBezTo>
                <a:cubicBezTo>
                  <a:pt x="1485" y="111"/>
                  <a:pt x="1485" y="111"/>
                  <a:pt x="1485" y="112"/>
                </a:cubicBezTo>
                <a:cubicBezTo>
                  <a:pt x="1484" y="111"/>
                  <a:pt x="1483" y="112"/>
                  <a:pt x="1483" y="111"/>
                </a:cubicBezTo>
                <a:cubicBezTo>
                  <a:pt x="1481" y="111"/>
                  <a:pt x="1479" y="111"/>
                  <a:pt x="1479" y="113"/>
                </a:cubicBezTo>
                <a:cubicBezTo>
                  <a:pt x="1479" y="114"/>
                  <a:pt x="1479" y="115"/>
                  <a:pt x="1480" y="116"/>
                </a:cubicBezTo>
                <a:cubicBezTo>
                  <a:pt x="1480" y="116"/>
                  <a:pt x="1481" y="116"/>
                  <a:pt x="1480" y="117"/>
                </a:cubicBezTo>
                <a:cubicBezTo>
                  <a:pt x="1480" y="119"/>
                  <a:pt x="1480" y="119"/>
                  <a:pt x="1478" y="119"/>
                </a:cubicBezTo>
                <a:cubicBezTo>
                  <a:pt x="1478" y="119"/>
                  <a:pt x="1478" y="118"/>
                  <a:pt x="1477" y="118"/>
                </a:cubicBezTo>
                <a:cubicBezTo>
                  <a:pt x="1476" y="118"/>
                  <a:pt x="1477" y="119"/>
                  <a:pt x="1476" y="119"/>
                </a:cubicBezTo>
                <a:cubicBezTo>
                  <a:pt x="1476" y="118"/>
                  <a:pt x="1476" y="118"/>
                  <a:pt x="1476" y="118"/>
                </a:cubicBezTo>
                <a:cubicBezTo>
                  <a:pt x="1476" y="117"/>
                  <a:pt x="1475" y="117"/>
                  <a:pt x="1475" y="116"/>
                </a:cubicBezTo>
                <a:cubicBezTo>
                  <a:pt x="1475" y="116"/>
                  <a:pt x="1474" y="116"/>
                  <a:pt x="1474" y="117"/>
                </a:cubicBezTo>
                <a:cubicBezTo>
                  <a:pt x="1474" y="117"/>
                  <a:pt x="1474" y="116"/>
                  <a:pt x="1473" y="116"/>
                </a:cubicBezTo>
                <a:cubicBezTo>
                  <a:pt x="1473" y="117"/>
                  <a:pt x="1472" y="117"/>
                  <a:pt x="1473" y="118"/>
                </a:cubicBezTo>
                <a:cubicBezTo>
                  <a:pt x="1473" y="119"/>
                  <a:pt x="1473" y="119"/>
                  <a:pt x="1474" y="119"/>
                </a:cubicBezTo>
                <a:cubicBezTo>
                  <a:pt x="1473" y="120"/>
                  <a:pt x="1473" y="120"/>
                  <a:pt x="1472" y="120"/>
                </a:cubicBezTo>
                <a:cubicBezTo>
                  <a:pt x="1472" y="120"/>
                  <a:pt x="1472" y="121"/>
                  <a:pt x="1472" y="121"/>
                </a:cubicBezTo>
                <a:cubicBezTo>
                  <a:pt x="1471" y="121"/>
                  <a:pt x="1471" y="120"/>
                  <a:pt x="1471" y="120"/>
                </a:cubicBezTo>
                <a:cubicBezTo>
                  <a:pt x="1470" y="120"/>
                  <a:pt x="1470" y="120"/>
                  <a:pt x="1469" y="121"/>
                </a:cubicBezTo>
                <a:cubicBezTo>
                  <a:pt x="1469" y="121"/>
                  <a:pt x="1469" y="120"/>
                  <a:pt x="1468" y="120"/>
                </a:cubicBezTo>
                <a:cubicBezTo>
                  <a:pt x="1468" y="120"/>
                  <a:pt x="1467" y="120"/>
                  <a:pt x="1467" y="120"/>
                </a:cubicBezTo>
                <a:cubicBezTo>
                  <a:pt x="1466" y="120"/>
                  <a:pt x="1467" y="119"/>
                  <a:pt x="1466" y="119"/>
                </a:cubicBezTo>
                <a:cubicBezTo>
                  <a:pt x="1465" y="119"/>
                  <a:pt x="1465" y="118"/>
                  <a:pt x="1464" y="118"/>
                </a:cubicBezTo>
                <a:cubicBezTo>
                  <a:pt x="1464" y="118"/>
                  <a:pt x="1464" y="117"/>
                  <a:pt x="1463" y="117"/>
                </a:cubicBezTo>
                <a:cubicBezTo>
                  <a:pt x="1463" y="117"/>
                  <a:pt x="1463" y="117"/>
                  <a:pt x="1462" y="117"/>
                </a:cubicBezTo>
                <a:cubicBezTo>
                  <a:pt x="1462" y="116"/>
                  <a:pt x="1461" y="115"/>
                  <a:pt x="1461" y="115"/>
                </a:cubicBezTo>
                <a:cubicBezTo>
                  <a:pt x="1460" y="115"/>
                  <a:pt x="1460" y="116"/>
                  <a:pt x="1459" y="115"/>
                </a:cubicBezTo>
                <a:cubicBezTo>
                  <a:pt x="1458" y="114"/>
                  <a:pt x="1458" y="115"/>
                  <a:pt x="1457" y="115"/>
                </a:cubicBezTo>
                <a:cubicBezTo>
                  <a:pt x="1457" y="115"/>
                  <a:pt x="1456" y="115"/>
                  <a:pt x="1456" y="115"/>
                </a:cubicBezTo>
                <a:cubicBezTo>
                  <a:pt x="1456" y="116"/>
                  <a:pt x="1455" y="116"/>
                  <a:pt x="1454" y="116"/>
                </a:cubicBezTo>
                <a:cubicBezTo>
                  <a:pt x="1454" y="117"/>
                  <a:pt x="1453" y="118"/>
                  <a:pt x="1452" y="118"/>
                </a:cubicBezTo>
                <a:cubicBezTo>
                  <a:pt x="1452" y="118"/>
                  <a:pt x="1451" y="118"/>
                  <a:pt x="1451" y="118"/>
                </a:cubicBezTo>
                <a:cubicBezTo>
                  <a:pt x="1450" y="119"/>
                  <a:pt x="1450" y="119"/>
                  <a:pt x="1449" y="119"/>
                </a:cubicBezTo>
                <a:cubicBezTo>
                  <a:pt x="1449" y="118"/>
                  <a:pt x="1449" y="117"/>
                  <a:pt x="1449" y="116"/>
                </a:cubicBezTo>
                <a:cubicBezTo>
                  <a:pt x="1449" y="115"/>
                  <a:pt x="1448" y="115"/>
                  <a:pt x="1448" y="114"/>
                </a:cubicBezTo>
                <a:cubicBezTo>
                  <a:pt x="1448" y="114"/>
                  <a:pt x="1448" y="113"/>
                  <a:pt x="1448" y="113"/>
                </a:cubicBezTo>
                <a:cubicBezTo>
                  <a:pt x="1448" y="113"/>
                  <a:pt x="1447" y="113"/>
                  <a:pt x="1447" y="113"/>
                </a:cubicBezTo>
                <a:cubicBezTo>
                  <a:pt x="1446" y="112"/>
                  <a:pt x="1446" y="115"/>
                  <a:pt x="1445" y="115"/>
                </a:cubicBezTo>
                <a:cubicBezTo>
                  <a:pt x="1445" y="115"/>
                  <a:pt x="1445" y="117"/>
                  <a:pt x="1445" y="117"/>
                </a:cubicBezTo>
                <a:cubicBezTo>
                  <a:pt x="1446" y="118"/>
                  <a:pt x="1445" y="118"/>
                  <a:pt x="1444" y="119"/>
                </a:cubicBezTo>
                <a:cubicBezTo>
                  <a:pt x="1444" y="119"/>
                  <a:pt x="1444" y="120"/>
                  <a:pt x="1444" y="121"/>
                </a:cubicBezTo>
                <a:cubicBezTo>
                  <a:pt x="1444" y="122"/>
                  <a:pt x="1444" y="123"/>
                  <a:pt x="1443" y="124"/>
                </a:cubicBezTo>
                <a:cubicBezTo>
                  <a:pt x="1442" y="125"/>
                  <a:pt x="1440" y="128"/>
                  <a:pt x="1439" y="127"/>
                </a:cubicBezTo>
                <a:cubicBezTo>
                  <a:pt x="1439" y="126"/>
                  <a:pt x="1439" y="126"/>
                  <a:pt x="1439" y="125"/>
                </a:cubicBezTo>
                <a:cubicBezTo>
                  <a:pt x="1440" y="124"/>
                  <a:pt x="1440" y="124"/>
                  <a:pt x="1440" y="123"/>
                </a:cubicBezTo>
                <a:cubicBezTo>
                  <a:pt x="1439" y="123"/>
                  <a:pt x="1439" y="123"/>
                  <a:pt x="1439" y="124"/>
                </a:cubicBezTo>
                <a:cubicBezTo>
                  <a:pt x="1438" y="123"/>
                  <a:pt x="1438" y="123"/>
                  <a:pt x="1437" y="123"/>
                </a:cubicBezTo>
                <a:cubicBezTo>
                  <a:pt x="1436" y="123"/>
                  <a:pt x="1436" y="122"/>
                  <a:pt x="1436" y="122"/>
                </a:cubicBezTo>
                <a:cubicBezTo>
                  <a:pt x="1435" y="121"/>
                  <a:pt x="1433" y="122"/>
                  <a:pt x="1432" y="122"/>
                </a:cubicBezTo>
                <a:cubicBezTo>
                  <a:pt x="1432" y="121"/>
                  <a:pt x="1432" y="121"/>
                  <a:pt x="1431" y="121"/>
                </a:cubicBezTo>
                <a:cubicBezTo>
                  <a:pt x="1431" y="121"/>
                  <a:pt x="1430" y="119"/>
                  <a:pt x="1430" y="119"/>
                </a:cubicBezTo>
                <a:cubicBezTo>
                  <a:pt x="1429" y="119"/>
                  <a:pt x="1428" y="120"/>
                  <a:pt x="1427" y="119"/>
                </a:cubicBezTo>
                <a:cubicBezTo>
                  <a:pt x="1427" y="118"/>
                  <a:pt x="1429" y="117"/>
                  <a:pt x="1430" y="117"/>
                </a:cubicBezTo>
                <a:cubicBezTo>
                  <a:pt x="1430" y="116"/>
                  <a:pt x="1429" y="115"/>
                  <a:pt x="1428" y="115"/>
                </a:cubicBezTo>
                <a:cubicBezTo>
                  <a:pt x="1428" y="116"/>
                  <a:pt x="1429" y="116"/>
                  <a:pt x="1428" y="117"/>
                </a:cubicBezTo>
                <a:cubicBezTo>
                  <a:pt x="1428" y="117"/>
                  <a:pt x="1427" y="117"/>
                  <a:pt x="1426" y="117"/>
                </a:cubicBezTo>
                <a:cubicBezTo>
                  <a:pt x="1426" y="116"/>
                  <a:pt x="1426" y="115"/>
                  <a:pt x="1425" y="114"/>
                </a:cubicBezTo>
                <a:cubicBezTo>
                  <a:pt x="1425" y="114"/>
                  <a:pt x="1424" y="114"/>
                  <a:pt x="1424" y="114"/>
                </a:cubicBezTo>
                <a:cubicBezTo>
                  <a:pt x="1424" y="113"/>
                  <a:pt x="1424" y="114"/>
                  <a:pt x="1423" y="114"/>
                </a:cubicBezTo>
                <a:cubicBezTo>
                  <a:pt x="1423" y="113"/>
                  <a:pt x="1421" y="111"/>
                  <a:pt x="1420" y="111"/>
                </a:cubicBezTo>
                <a:cubicBezTo>
                  <a:pt x="1419" y="112"/>
                  <a:pt x="1419" y="112"/>
                  <a:pt x="1419" y="113"/>
                </a:cubicBezTo>
                <a:cubicBezTo>
                  <a:pt x="1419" y="114"/>
                  <a:pt x="1419" y="115"/>
                  <a:pt x="1420" y="115"/>
                </a:cubicBezTo>
                <a:cubicBezTo>
                  <a:pt x="1420" y="116"/>
                  <a:pt x="1420" y="116"/>
                  <a:pt x="1419" y="116"/>
                </a:cubicBezTo>
                <a:cubicBezTo>
                  <a:pt x="1419" y="116"/>
                  <a:pt x="1419" y="115"/>
                  <a:pt x="1418" y="114"/>
                </a:cubicBezTo>
                <a:cubicBezTo>
                  <a:pt x="1418" y="114"/>
                  <a:pt x="1418" y="114"/>
                  <a:pt x="1418" y="113"/>
                </a:cubicBezTo>
                <a:cubicBezTo>
                  <a:pt x="1418" y="113"/>
                  <a:pt x="1418" y="113"/>
                  <a:pt x="1418" y="113"/>
                </a:cubicBezTo>
                <a:cubicBezTo>
                  <a:pt x="1417" y="113"/>
                  <a:pt x="1417" y="112"/>
                  <a:pt x="1416" y="112"/>
                </a:cubicBezTo>
                <a:cubicBezTo>
                  <a:pt x="1416" y="112"/>
                  <a:pt x="1415" y="112"/>
                  <a:pt x="1415" y="112"/>
                </a:cubicBezTo>
                <a:cubicBezTo>
                  <a:pt x="1415" y="111"/>
                  <a:pt x="1414" y="112"/>
                  <a:pt x="1414" y="112"/>
                </a:cubicBezTo>
                <a:cubicBezTo>
                  <a:pt x="1414" y="112"/>
                  <a:pt x="1414" y="111"/>
                  <a:pt x="1414" y="111"/>
                </a:cubicBezTo>
                <a:cubicBezTo>
                  <a:pt x="1413" y="111"/>
                  <a:pt x="1413" y="111"/>
                  <a:pt x="1413" y="111"/>
                </a:cubicBezTo>
                <a:cubicBezTo>
                  <a:pt x="1412" y="111"/>
                  <a:pt x="1413" y="111"/>
                  <a:pt x="1412" y="111"/>
                </a:cubicBezTo>
                <a:cubicBezTo>
                  <a:pt x="1412" y="111"/>
                  <a:pt x="1411" y="111"/>
                  <a:pt x="1410" y="110"/>
                </a:cubicBezTo>
                <a:cubicBezTo>
                  <a:pt x="1410" y="110"/>
                  <a:pt x="1409" y="109"/>
                  <a:pt x="1409" y="109"/>
                </a:cubicBezTo>
                <a:cubicBezTo>
                  <a:pt x="1408" y="109"/>
                  <a:pt x="1407" y="109"/>
                  <a:pt x="1408" y="109"/>
                </a:cubicBezTo>
                <a:cubicBezTo>
                  <a:pt x="1409" y="109"/>
                  <a:pt x="1409" y="107"/>
                  <a:pt x="1410" y="107"/>
                </a:cubicBezTo>
                <a:cubicBezTo>
                  <a:pt x="1409" y="107"/>
                  <a:pt x="1407" y="106"/>
                  <a:pt x="1407" y="107"/>
                </a:cubicBezTo>
                <a:cubicBezTo>
                  <a:pt x="1407" y="107"/>
                  <a:pt x="1405" y="107"/>
                  <a:pt x="1405" y="106"/>
                </a:cubicBezTo>
                <a:cubicBezTo>
                  <a:pt x="1404" y="106"/>
                  <a:pt x="1403" y="106"/>
                  <a:pt x="1403" y="107"/>
                </a:cubicBezTo>
                <a:cubicBezTo>
                  <a:pt x="1403" y="107"/>
                  <a:pt x="1403" y="108"/>
                  <a:pt x="1403" y="108"/>
                </a:cubicBezTo>
                <a:cubicBezTo>
                  <a:pt x="1402" y="108"/>
                  <a:pt x="1401" y="108"/>
                  <a:pt x="1400" y="108"/>
                </a:cubicBezTo>
                <a:cubicBezTo>
                  <a:pt x="1399" y="108"/>
                  <a:pt x="1400" y="108"/>
                  <a:pt x="1399" y="108"/>
                </a:cubicBezTo>
                <a:cubicBezTo>
                  <a:pt x="1399" y="108"/>
                  <a:pt x="1398" y="108"/>
                  <a:pt x="1398" y="108"/>
                </a:cubicBezTo>
                <a:cubicBezTo>
                  <a:pt x="1397" y="107"/>
                  <a:pt x="1397" y="107"/>
                  <a:pt x="1396" y="106"/>
                </a:cubicBezTo>
                <a:cubicBezTo>
                  <a:pt x="1396" y="106"/>
                  <a:pt x="1396" y="107"/>
                  <a:pt x="1396" y="106"/>
                </a:cubicBezTo>
                <a:cubicBezTo>
                  <a:pt x="1395" y="106"/>
                  <a:pt x="1395" y="106"/>
                  <a:pt x="1394" y="106"/>
                </a:cubicBezTo>
                <a:cubicBezTo>
                  <a:pt x="1394" y="106"/>
                  <a:pt x="1394" y="106"/>
                  <a:pt x="1394" y="106"/>
                </a:cubicBezTo>
                <a:cubicBezTo>
                  <a:pt x="1393" y="106"/>
                  <a:pt x="1393" y="106"/>
                  <a:pt x="1393" y="106"/>
                </a:cubicBezTo>
                <a:cubicBezTo>
                  <a:pt x="1393" y="106"/>
                  <a:pt x="1393" y="105"/>
                  <a:pt x="1392" y="105"/>
                </a:cubicBezTo>
                <a:cubicBezTo>
                  <a:pt x="1392" y="105"/>
                  <a:pt x="1392" y="105"/>
                  <a:pt x="1392" y="105"/>
                </a:cubicBezTo>
                <a:cubicBezTo>
                  <a:pt x="1391" y="105"/>
                  <a:pt x="1391" y="105"/>
                  <a:pt x="1391" y="106"/>
                </a:cubicBezTo>
                <a:cubicBezTo>
                  <a:pt x="1389" y="105"/>
                  <a:pt x="1388" y="105"/>
                  <a:pt x="1386" y="105"/>
                </a:cubicBezTo>
                <a:cubicBezTo>
                  <a:pt x="1386" y="105"/>
                  <a:pt x="1386" y="106"/>
                  <a:pt x="1386" y="106"/>
                </a:cubicBezTo>
                <a:cubicBezTo>
                  <a:pt x="1385" y="106"/>
                  <a:pt x="1384" y="105"/>
                  <a:pt x="1383" y="104"/>
                </a:cubicBezTo>
                <a:cubicBezTo>
                  <a:pt x="1383" y="104"/>
                  <a:pt x="1382" y="104"/>
                  <a:pt x="1382" y="104"/>
                </a:cubicBezTo>
                <a:cubicBezTo>
                  <a:pt x="1381" y="104"/>
                  <a:pt x="1382" y="104"/>
                  <a:pt x="1381" y="103"/>
                </a:cubicBezTo>
                <a:cubicBezTo>
                  <a:pt x="1380" y="103"/>
                  <a:pt x="1379" y="103"/>
                  <a:pt x="1379" y="103"/>
                </a:cubicBezTo>
                <a:cubicBezTo>
                  <a:pt x="1379" y="103"/>
                  <a:pt x="1379" y="103"/>
                  <a:pt x="1378" y="103"/>
                </a:cubicBezTo>
                <a:cubicBezTo>
                  <a:pt x="1378" y="101"/>
                  <a:pt x="1378" y="103"/>
                  <a:pt x="1377" y="102"/>
                </a:cubicBezTo>
                <a:cubicBezTo>
                  <a:pt x="1377" y="102"/>
                  <a:pt x="1377" y="102"/>
                  <a:pt x="1377" y="102"/>
                </a:cubicBezTo>
                <a:cubicBezTo>
                  <a:pt x="1376" y="101"/>
                  <a:pt x="1378" y="101"/>
                  <a:pt x="1378" y="101"/>
                </a:cubicBezTo>
                <a:cubicBezTo>
                  <a:pt x="1378" y="100"/>
                  <a:pt x="1378" y="99"/>
                  <a:pt x="1378" y="99"/>
                </a:cubicBezTo>
                <a:cubicBezTo>
                  <a:pt x="1378" y="97"/>
                  <a:pt x="1378" y="97"/>
                  <a:pt x="1376" y="97"/>
                </a:cubicBezTo>
                <a:cubicBezTo>
                  <a:pt x="1376" y="97"/>
                  <a:pt x="1376" y="97"/>
                  <a:pt x="1376" y="97"/>
                </a:cubicBezTo>
                <a:cubicBezTo>
                  <a:pt x="1375" y="98"/>
                  <a:pt x="1376" y="97"/>
                  <a:pt x="1375" y="97"/>
                </a:cubicBezTo>
                <a:cubicBezTo>
                  <a:pt x="1374" y="97"/>
                  <a:pt x="1373" y="97"/>
                  <a:pt x="1373" y="97"/>
                </a:cubicBezTo>
                <a:cubicBezTo>
                  <a:pt x="1372" y="97"/>
                  <a:pt x="1371" y="98"/>
                  <a:pt x="1370" y="97"/>
                </a:cubicBezTo>
                <a:cubicBezTo>
                  <a:pt x="1369" y="97"/>
                  <a:pt x="1369" y="96"/>
                  <a:pt x="1368" y="96"/>
                </a:cubicBezTo>
                <a:cubicBezTo>
                  <a:pt x="1368" y="97"/>
                  <a:pt x="1366" y="97"/>
                  <a:pt x="1366" y="96"/>
                </a:cubicBezTo>
                <a:cubicBezTo>
                  <a:pt x="1366" y="96"/>
                  <a:pt x="1364" y="96"/>
                  <a:pt x="1363" y="95"/>
                </a:cubicBezTo>
                <a:cubicBezTo>
                  <a:pt x="1361" y="95"/>
                  <a:pt x="1361" y="97"/>
                  <a:pt x="1359" y="97"/>
                </a:cubicBezTo>
                <a:cubicBezTo>
                  <a:pt x="1359" y="98"/>
                  <a:pt x="1358" y="98"/>
                  <a:pt x="1358" y="99"/>
                </a:cubicBezTo>
                <a:cubicBezTo>
                  <a:pt x="1357" y="99"/>
                  <a:pt x="1357" y="98"/>
                  <a:pt x="1357" y="99"/>
                </a:cubicBezTo>
                <a:cubicBezTo>
                  <a:pt x="1357" y="99"/>
                  <a:pt x="1355" y="100"/>
                  <a:pt x="1355" y="100"/>
                </a:cubicBezTo>
                <a:cubicBezTo>
                  <a:pt x="1355" y="101"/>
                  <a:pt x="1354" y="101"/>
                  <a:pt x="1354" y="102"/>
                </a:cubicBezTo>
                <a:cubicBezTo>
                  <a:pt x="1354" y="103"/>
                  <a:pt x="1354" y="103"/>
                  <a:pt x="1355" y="103"/>
                </a:cubicBezTo>
                <a:cubicBezTo>
                  <a:pt x="1356" y="103"/>
                  <a:pt x="1356" y="104"/>
                  <a:pt x="1356" y="105"/>
                </a:cubicBezTo>
                <a:cubicBezTo>
                  <a:pt x="1356" y="105"/>
                  <a:pt x="1356" y="105"/>
                  <a:pt x="1356" y="105"/>
                </a:cubicBezTo>
                <a:cubicBezTo>
                  <a:pt x="1356" y="106"/>
                  <a:pt x="1356" y="105"/>
                  <a:pt x="1355" y="106"/>
                </a:cubicBezTo>
                <a:cubicBezTo>
                  <a:pt x="1355" y="107"/>
                  <a:pt x="1353" y="108"/>
                  <a:pt x="1353" y="109"/>
                </a:cubicBezTo>
                <a:cubicBezTo>
                  <a:pt x="1353" y="109"/>
                  <a:pt x="1354" y="109"/>
                  <a:pt x="1353" y="110"/>
                </a:cubicBezTo>
                <a:cubicBezTo>
                  <a:pt x="1353" y="111"/>
                  <a:pt x="1352" y="108"/>
                  <a:pt x="1352" y="108"/>
                </a:cubicBezTo>
                <a:cubicBezTo>
                  <a:pt x="1353" y="108"/>
                  <a:pt x="1353" y="107"/>
                  <a:pt x="1353" y="107"/>
                </a:cubicBezTo>
                <a:cubicBezTo>
                  <a:pt x="1354" y="107"/>
                  <a:pt x="1354" y="106"/>
                  <a:pt x="1354" y="106"/>
                </a:cubicBezTo>
                <a:cubicBezTo>
                  <a:pt x="1354" y="106"/>
                  <a:pt x="1353" y="106"/>
                  <a:pt x="1353" y="105"/>
                </a:cubicBezTo>
                <a:cubicBezTo>
                  <a:pt x="1353" y="105"/>
                  <a:pt x="1352" y="105"/>
                  <a:pt x="1353" y="105"/>
                </a:cubicBezTo>
                <a:cubicBezTo>
                  <a:pt x="1353" y="105"/>
                  <a:pt x="1353" y="105"/>
                  <a:pt x="1353" y="105"/>
                </a:cubicBezTo>
                <a:cubicBezTo>
                  <a:pt x="1353" y="104"/>
                  <a:pt x="1354" y="105"/>
                  <a:pt x="1354" y="105"/>
                </a:cubicBezTo>
                <a:cubicBezTo>
                  <a:pt x="1355" y="105"/>
                  <a:pt x="1355" y="103"/>
                  <a:pt x="1354" y="103"/>
                </a:cubicBezTo>
                <a:cubicBezTo>
                  <a:pt x="1353" y="102"/>
                  <a:pt x="1353" y="101"/>
                  <a:pt x="1354" y="100"/>
                </a:cubicBezTo>
                <a:cubicBezTo>
                  <a:pt x="1354" y="99"/>
                  <a:pt x="1354" y="98"/>
                  <a:pt x="1353" y="98"/>
                </a:cubicBezTo>
                <a:cubicBezTo>
                  <a:pt x="1353" y="98"/>
                  <a:pt x="1352" y="96"/>
                  <a:pt x="1352" y="97"/>
                </a:cubicBezTo>
                <a:cubicBezTo>
                  <a:pt x="1352" y="97"/>
                  <a:pt x="1352" y="98"/>
                  <a:pt x="1352" y="99"/>
                </a:cubicBezTo>
                <a:cubicBezTo>
                  <a:pt x="1352" y="100"/>
                  <a:pt x="1350" y="99"/>
                  <a:pt x="1349" y="99"/>
                </a:cubicBezTo>
                <a:cubicBezTo>
                  <a:pt x="1348" y="99"/>
                  <a:pt x="1348" y="99"/>
                  <a:pt x="1347" y="99"/>
                </a:cubicBezTo>
                <a:cubicBezTo>
                  <a:pt x="1346" y="99"/>
                  <a:pt x="1347" y="100"/>
                  <a:pt x="1346" y="100"/>
                </a:cubicBezTo>
                <a:cubicBezTo>
                  <a:pt x="1346" y="100"/>
                  <a:pt x="1346" y="99"/>
                  <a:pt x="1346" y="99"/>
                </a:cubicBezTo>
                <a:cubicBezTo>
                  <a:pt x="1345" y="99"/>
                  <a:pt x="1346" y="100"/>
                  <a:pt x="1345" y="99"/>
                </a:cubicBezTo>
                <a:cubicBezTo>
                  <a:pt x="1345" y="98"/>
                  <a:pt x="1344" y="97"/>
                  <a:pt x="1344" y="96"/>
                </a:cubicBezTo>
                <a:cubicBezTo>
                  <a:pt x="1343" y="96"/>
                  <a:pt x="1343" y="96"/>
                  <a:pt x="1343" y="96"/>
                </a:cubicBezTo>
                <a:cubicBezTo>
                  <a:pt x="1343" y="97"/>
                  <a:pt x="1343" y="97"/>
                  <a:pt x="1343" y="97"/>
                </a:cubicBezTo>
                <a:cubicBezTo>
                  <a:pt x="1342" y="97"/>
                  <a:pt x="1342" y="97"/>
                  <a:pt x="1342" y="96"/>
                </a:cubicBezTo>
                <a:cubicBezTo>
                  <a:pt x="1341" y="96"/>
                  <a:pt x="1341" y="96"/>
                  <a:pt x="1341" y="96"/>
                </a:cubicBezTo>
                <a:cubicBezTo>
                  <a:pt x="1340" y="95"/>
                  <a:pt x="1339" y="98"/>
                  <a:pt x="1338" y="99"/>
                </a:cubicBezTo>
                <a:cubicBezTo>
                  <a:pt x="1338" y="99"/>
                  <a:pt x="1338" y="98"/>
                  <a:pt x="1337" y="99"/>
                </a:cubicBezTo>
                <a:cubicBezTo>
                  <a:pt x="1337" y="100"/>
                  <a:pt x="1337" y="100"/>
                  <a:pt x="1337" y="100"/>
                </a:cubicBezTo>
                <a:cubicBezTo>
                  <a:pt x="1338" y="102"/>
                  <a:pt x="1339" y="102"/>
                  <a:pt x="1340" y="101"/>
                </a:cubicBezTo>
                <a:cubicBezTo>
                  <a:pt x="1340" y="102"/>
                  <a:pt x="1339" y="103"/>
                  <a:pt x="1338" y="103"/>
                </a:cubicBezTo>
                <a:cubicBezTo>
                  <a:pt x="1337" y="103"/>
                  <a:pt x="1336" y="102"/>
                  <a:pt x="1336" y="102"/>
                </a:cubicBezTo>
                <a:cubicBezTo>
                  <a:pt x="1336" y="102"/>
                  <a:pt x="1336" y="103"/>
                  <a:pt x="1336" y="103"/>
                </a:cubicBezTo>
                <a:cubicBezTo>
                  <a:pt x="1336" y="103"/>
                  <a:pt x="1336" y="103"/>
                  <a:pt x="1335" y="103"/>
                </a:cubicBezTo>
                <a:cubicBezTo>
                  <a:pt x="1335" y="104"/>
                  <a:pt x="1335" y="104"/>
                  <a:pt x="1334" y="104"/>
                </a:cubicBezTo>
                <a:cubicBezTo>
                  <a:pt x="1333" y="105"/>
                  <a:pt x="1331" y="105"/>
                  <a:pt x="1331" y="106"/>
                </a:cubicBezTo>
                <a:cubicBezTo>
                  <a:pt x="1330" y="106"/>
                  <a:pt x="1329" y="105"/>
                  <a:pt x="1328" y="105"/>
                </a:cubicBezTo>
                <a:cubicBezTo>
                  <a:pt x="1327" y="106"/>
                  <a:pt x="1327" y="106"/>
                  <a:pt x="1326" y="106"/>
                </a:cubicBezTo>
                <a:cubicBezTo>
                  <a:pt x="1326" y="106"/>
                  <a:pt x="1325" y="106"/>
                  <a:pt x="1325" y="106"/>
                </a:cubicBezTo>
                <a:cubicBezTo>
                  <a:pt x="1324" y="106"/>
                  <a:pt x="1325" y="106"/>
                  <a:pt x="1325" y="106"/>
                </a:cubicBezTo>
                <a:cubicBezTo>
                  <a:pt x="1324" y="106"/>
                  <a:pt x="1324" y="106"/>
                  <a:pt x="1324" y="106"/>
                </a:cubicBezTo>
                <a:cubicBezTo>
                  <a:pt x="1324" y="107"/>
                  <a:pt x="1324" y="107"/>
                  <a:pt x="1323" y="107"/>
                </a:cubicBezTo>
                <a:cubicBezTo>
                  <a:pt x="1322" y="108"/>
                  <a:pt x="1322" y="108"/>
                  <a:pt x="1321" y="108"/>
                </a:cubicBezTo>
                <a:cubicBezTo>
                  <a:pt x="1320" y="108"/>
                  <a:pt x="1321" y="108"/>
                  <a:pt x="1321" y="108"/>
                </a:cubicBezTo>
                <a:cubicBezTo>
                  <a:pt x="1320" y="109"/>
                  <a:pt x="1319" y="108"/>
                  <a:pt x="1318" y="108"/>
                </a:cubicBezTo>
                <a:cubicBezTo>
                  <a:pt x="1318" y="108"/>
                  <a:pt x="1314" y="109"/>
                  <a:pt x="1313" y="109"/>
                </a:cubicBezTo>
                <a:cubicBezTo>
                  <a:pt x="1313" y="108"/>
                  <a:pt x="1317" y="108"/>
                  <a:pt x="1317" y="108"/>
                </a:cubicBezTo>
                <a:cubicBezTo>
                  <a:pt x="1319" y="107"/>
                  <a:pt x="1320" y="107"/>
                  <a:pt x="1322" y="106"/>
                </a:cubicBezTo>
                <a:cubicBezTo>
                  <a:pt x="1323" y="106"/>
                  <a:pt x="1323" y="104"/>
                  <a:pt x="1324" y="104"/>
                </a:cubicBezTo>
                <a:cubicBezTo>
                  <a:pt x="1325" y="103"/>
                  <a:pt x="1326" y="103"/>
                  <a:pt x="1327" y="103"/>
                </a:cubicBezTo>
                <a:cubicBezTo>
                  <a:pt x="1328" y="103"/>
                  <a:pt x="1328" y="102"/>
                  <a:pt x="1329" y="102"/>
                </a:cubicBezTo>
                <a:cubicBezTo>
                  <a:pt x="1329" y="102"/>
                  <a:pt x="1329" y="102"/>
                  <a:pt x="1329" y="102"/>
                </a:cubicBezTo>
                <a:cubicBezTo>
                  <a:pt x="1329" y="102"/>
                  <a:pt x="1331" y="102"/>
                  <a:pt x="1331" y="101"/>
                </a:cubicBezTo>
                <a:cubicBezTo>
                  <a:pt x="1331" y="101"/>
                  <a:pt x="1333" y="100"/>
                  <a:pt x="1333" y="100"/>
                </a:cubicBezTo>
                <a:cubicBezTo>
                  <a:pt x="1333" y="99"/>
                  <a:pt x="1333" y="99"/>
                  <a:pt x="1333" y="99"/>
                </a:cubicBezTo>
                <a:cubicBezTo>
                  <a:pt x="1334" y="98"/>
                  <a:pt x="1335" y="98"/>
                  <a:pt x="1335" y="98"/>
                </a:cubicBezTo>
                <a:cubicBezTo>
                  <a:pt x="1335" y="97"/>
                  <a:pt x="1336" y="96"/>
                  <a:pt x="1335" y="96"/>
                </a:cubicBezTo>
                <a:cubicBezTo>
                  <a:pt x="1335" y="95"/>
                  <a:pt x="1335" y="95"/>
                  <a:pt x="1335" y="95"/>
                </a:cubicBezTo>
                <a:cubicBezTo>
                  <a:pt x="1335" y="95"/>
                  <a:pt x="1336" y="95"/>
                  <a:pt x="1336" y="95"/>
                </a:cubicBezTo>
                <a:cubicBezTo>
                  <a:pt x="1336" y="95"/>
                  <a:pt x="1336" y="94"/>
                  <a:pt x="1337" y="93"/>
                </a:cubicBezTo>
                <a:cubicBezTo>
                  <a:pt x="1337" y="92"/>
                  <a:pt x="1338" y="92"/>
                  <a:pt x="1339" y="92"/>
                </a:cubicBezTo>
                <a:cubicBezTo>
                  <a:pt x="1340" y="92"/>
                  <a:pt x="1341" y="92"/>
                  <a:pt x="1342" y="92"/>
                </a:cubicBezTo>
                <a:cubicBezTo>
                  <a:pt x="1342" y="91"/>
                  <a:pt x="1342" y="91"/>
                  <a:pt x="1343" y="91"/>
                </a:cubicBezTo>
                <a:cubicBezTo>
                  <a:pt x="1344" y="91"/>
                  <a:pt x="1343" y="91"/>
                  <a:pt x="1344" y="91"/>
                </a:cubicBezTo>
                <a:cubicBezTo>
                  <a:pt x="1344" y="91"/>
                  <a:pt x="1344" y="91"/>
                  <a:pt x="1344" y="91"/>
                </a:cubicBezTo>
                <a:cubicBezTo>
                  <a:pt x="1345" y="91"/>
                  <a:pt x="1345" y="90"/>
                  <a:pt x="1346" y="90"/>
                </a:cubicBezTo>
                <a:cubicBezTo>
                  <a:pt x="1347" y="90"/>
                  <a:pt x="1348" y="90"/>
                  <a:pt x="1350" y="90"/>
                </a:cubicBezTo>
                <a:cubicBezTo>
                  <a:pt x="1350" y="90"/>
                  <a:pt x="1349" y="90"/>
                  <a:pt x="1350" y="90"/>
                </a:cubicBezTo>
                <a:cubicBezTo>
                  <a:pt x="1351" y="90"/>
                  <a:pt x="1350" y="89"/>
                  <a:pt x="1351" y="89"/>
                </a:cubicBezTo>
                <a:cubicBezTo>
                  <a:pt x="1352" y="89"/>
                  <a:pt x="1351" y="89"/>
                  <a:pt x="1352" y="89"/>
                </a:cubicBezTo>
                <a:cubicBezTo>
                  <a:pt x="1354" y="89"/>
                  <a:pt x="1355" y="89"/>
                  <a:pt x="1356" y="88"/>
                </a:cubicBezTo>
                <a:cubicBezTo>
                  <a:pt x="1357" y="87"/>
                  <a:pt x="1358" y="88"/>
                  <a:pt x="1358" y="86"/>
                </a:cubicBezTo>
                <a:cubicBezTo>
                  <a:pt x="1357" y="85"/>
                  <a:pt x="1356" y="84"/>
                  <a:pt x="1356" y="83"/>
                </a:cubicBezTo>
                <a:cubicBezTo>
                  <a:pt x="1354" y="83"/>
                  <a:pt x="1354" y="82"/>
                  <a:pt x="1354" y="81"/>
                </a:cubicBezTo>
                <a:cubicBezTo>
                  <a:pt x="1355" y="81"/>
                  <a:pt x="1356" y="82"/>
                  <a:pt x="1357" y="82"/>
                </a:cubicBezTo>
                <a:cubicBezTo>
                  <a:pt x="1358" y="82"/>
                  <a:pt x="1358" y="80"/>
                  <a:pt x="1358" y="79"/>
                </a:cubicBezTo>
                <a:cubicBezTo>
                  <a:pt x="1357" y="79"/>
                  <a:pt x="1358" y="78"/>
                  <a:pt x="1357" y="78"/>
                </a:cubicBezTo>
                <a:cubicBezTo>
                  <a:pt x="1356" y="78"/>
                  <a:pt x="1356" y="77"/>
                  <a:pt x="1355" y="76"/>
                </a:cubicBezTo>
                <a:cubicBezTo>
                  <a:pt x="1355" y="75"/>
                  <a:pt x="1355" y="74"/>
                  <a:pt x="1354" y="74"/>
                </a:cubicBezTo>
                <a:cubicBezTo>
                  <a:pt x="1353" y="73"/>
                  <a:pt x="1352" y="73"/>
                  <a:pt x="1351" y="73"/>
                </a:cubicBezTo>
                <a:cubicBezTo>
                  <a:pt x="1351" y="73"/>
                  <a:pt x="1351" y="73"/>
                  <a:pt x="1350" y="73"/>
                </a:cubicBezTo>
                <a:cubicBezTo>
                  <a:pt x="1349" y="73"/>
                  <a:pt x="1349" y="72"/>
                  <a:pt x="1349" y="71"/>
                </a:cubicBezTo>
                <a:cubicBezTo>
                  <a:pt x="1349" y="70"/>
                  <a:pt x="1349" y="70"/>
                  <a:pt x="1349" y="69"/>
                </a:cubicBezTo>
                <a:cubicBezTo>
                  <a:pt x="1348" y="69"/>
                  <a:pt x="1348" y="68"/>
                  <a:pt x="1347" y="68"/>
                </a:cubicBezTo>
                <a:cubicBezTo>
                  <a:pt x="1346" y="68"/>
                  <a:pt x="1347" y="68"/>
                  <a:pt x="1346" y="68"/>
                </a:cubicBezTo>
                <a:cubicBezTo>
                  <a:pt x="1346" y="68"/>
                  <a:pt x="1346" y="69"/>
                  <a:pt x="1345" y="69"/>
                </a:cubicBezTo>
                <a:cubicBezTo>
                  <a:pt x="1345" y="69"/>
                  <a:pt x="1344" y="68"/>
                  <a:pt x="1343" y="69"/>
                </a:cubicBezTo>
                <a:cubicBezTo>
                  <a:pt x="1343" y="69"/>
                  <a:pt x="1344" y="69"/>
                  <a:pt x="1343" y="69"/>
                </a:cubicBezTo>
                <a:cubicBezTo>
                  <a:pt x="1342" y="69"/>
                  <a:pt x="1341" y="70"/>
                  <a:pt x="1341" y="69"/>
                </a:cubicBezTo>
                <a:cubicBezTo>
                  <a:pt x="1340" y="68"/>
                  <a:pt x="1340" y="68"/>
                  <a:pt x="1339" y="68"/>
                </a:cubicBezTo>
                <a:cubicBezTo>
                  <a:pt x="1338" y="69"/>
                  <a:pt x="1337" y="69"/>
                  <a:pt x="1336" y="69"/>
                </a:cubicBezTo>
                <a:cubicBezTo>
                  <a:pt x="1335" y="70"/>
                  <a:pt x="1333" y="70"/>
                  <a:pt x="1332" y="70"/>
                </a:cubicBezTo>
                <a:cubicBezTo>
                  <a:pt x="1331" y="71"/>
                  <a:pt x="1330" y="73"/>
                  <a:pt x="1329" y="73"/>
                </a:cubicBezTo>
                <a:cubicBezTo>
                  <a:pt x="1328" y="73"/>
                  <a:pt x="1327" y="73"/>
                  <a:pt x="1326" y="73"/>
                </a:cubicBezTo>
                <a:cubicBezTo>
                  <a:pt x="1326" y="73"/>
                  <a:pt x="1326" y="73"/>
                  <a:pt x="1326" y="72"/>
                </a:cubicBezTo>
                <a:cubicBezTo>
                  <a:pt x="1327" y="71"/>
                  <a:pt x="1327" y="72"/>
                  <a:pt x="1327" y="72"/>
                </a:cubicBezTo>
                <a:cubicBezTo>
                  <a:pt x="1327" y="71"/>
                  <a:pt x="1327" y="70"/>
                  <a:pt x="1328" y="70"/>
                </a:cubicBezTo>
                <a:cubicBezTo>
                  <a:pt x="1328" y="67"/>
                  <a:pt x="1323" y="69"/>
                  <a:pt x="1324" y="67"/>
                </a:cubicBezTo>
                <a:cubicBezTo>
                  <a:pt x="1323" y="67"/>
                  <a:pt x="1322" y="68"/>
                  <a:pt x="1321" y="68"/>
                </a:cubicBezTo>
                <a:cubicBezTo>
                  <a:pt x="1321" y="68"/>
                  <a:pt x="1320" y="68"/>
                  <a:pt x="1320" y="68"/>
                </a:cubicBezTo>
                <a:cubicBezTo>
                  <a:pt x="1320" y="68"/>
                  <a:pt x="1320" y="68"/>
                  <a:pt x="1319" y="68"/>
                </a:cubicBezTo>
                <a:cubicBezTo>
                  <a:pt x="1319" y="68"/>
                  <a:pt x="1320" y="68"/>
                  <a:pt x="1320" y="67"/>
                </a:cubicBezTo>
                <a:cubicBezTo>
                  <a:pt x="1320" y="67"/>
                  <a:pt x="1320" y="67"/>
                  <a:pt x="1320" y="67"/>
                </a:cubicBezTo>
                <a:cubicBezTo>
                  <a:pt x="1320" y="67"/>
                  <a:pt x="1320" y="67"/>
                  <a:pt x="1320" y="67"/>
                </a:cubicBezTo>
                <a:cubicBezTo>
                  <a:pt x="1319" y="67"/>
                  <a:pt x="1319" y="67"/>
                  <a:pt x="1319" y="67"/>
                </a:cubicBezTo>
                <a:cubicBezTo>
                  <a:pt x="1319" y="67"/>
                  <a:pt x="1318" y="68"/>
                  <a:pt x="1318" y="67"/>
                </a:cubicBezTo>
                <a:cubicBezTo>
                  <a:pt x="1318" y="66"/>
                  <a:pt x="1319" y="66"/>
                  <a:pt x="1319" y="65"/>
                </a:cubicBezTo>
                <a:cubicBezTo>
                  <a:pt x="1320" y="65"/>
                  <a:pt x="1320" y="65"/>
                  <a:pt x="1321" y="65"/>
                </a:cubicBezTo>
                <a:cubicBezTo>
                  <a:pt x="1321" y="63"/>
                  <a:pt x="1319" y="63"/>
                  <a:pt x="1317" y="63"/>
                </a:cubicBezTo>
                <a:cubicBezTo>
                  <a:pt x="1317" y="63"/>
                  <a:pt x="1317" y="62"/>
                  <a:pt x="1317" y="61"/>
                </a:cubicBezTo>
                <a:cubicBezTo>
                  <a:pt x="1316" y="62"/>
                  <a:pt x="1315" y="62"/>
                  <a:pt x="1314" y="61"/>
                </a:cubicBezTo>
                <a:cubicBezTo>
                  <a:pt x="1313" y="61"/>
                  <a:pt x="1313" y="61"/>
                  <a:pt x="1312" y="61"/>
                </a:cubicBezTo>
                <a:cubicBezTo>
                  <a:pt x="1312" y="61"/>
                  <a:pt x="1312" y="61"/>
                  <a:pt x="1312" y="61"/>
                </a:cubicBezTo>
                <a:cubicBezTo>
                  <a:pt x="1311" y="61"/>
                  <a:pt x="1311" y="61"/>
                  <a:pt x="1311" y="61"/>
                </a:cubicBezTo>
                <a:cubicBezTo>
                  <a:pt x="1311" y="62"/>
                  <a:pt x="1311" y="62"/>
                  <a:pt x="1311" y="62"/>
                </a:cubicBezTo>
                <a:cubicBezTo>
                  <a:pt x="1311" y="63"/>
                  <a:pt x="1310" y="63"/>
                  <a:pt x="1309" y="63"/>
                </a:cubicBezTo>
                <a:cubicBezTo>
                  <a:pt x="1308" y="63"/>
                  <a:pt x="1308" y="63"/>
                  <a:pt x="1308" y="62"/>
                </a:cubicBezTo>
                <a:cubicBezTo>
                  <a:pt x="1307" y="62"/>
                  <a:pt x="1306" y="62"/>
                  <a:pt x="1306" y="62"/>
                </a:cubicBezTo>
                <a:cubicBezTo>
                  <a:pt x="1305" y="63"/>
                  <a:pt x="1302" y="63"/>
                  <a:pt x="1302" y="64"/>
                </a:cubicBezTo>
                <a:cubicBezTo>
                  <a:pt x="1302" y="64"/>
                  <a:pt x="1302" y="65"/>
                  <a:pt x="1302" y="65"/>
                </a:cubicBezTo>
                <a:cubicBezTo>
                  <a:pt x="1302" y="65"/>
                  <a:pt x="1302" y="66"/>
                  <a:pt x="1301" y="66"/>
                </a:cubicBezTo>
                <a:cubicBezTo>
                  <a:pt x="1301" y="66"/>
                  <a:pt x="1300" y="66"/>
                  <a:pt x="1300" y="67"/>
                </a:cubicBezTo>
                <a:cubicBezTo>
                  <a:pt x="1299" y="67"/>
                  <a:pt x="1299" y="68"/>
                  <a:pt x="1299" y="68"/>
                </a:cubicBezTo>
                <a:cubicBezTo>
                  <a:pt x="1299" y="68"/>
                  <a:pt x="1299" y="68"/>
                  <a:pt x="1298" y="68"/>
                </a:cubicBezTo>
                <a:cubicBezTo>
                  <a:pt x="1294" y="69"/>
                  <a:pt x="1301" y="72"/>
                  <a:pt x="1300" y="73"/>
                </a:cubicBezTo>
                <a:cubicBezTo>
                  <a:pt x="1299" y="73"/>
                  <a:pt x="1298" y="73"/>
                  <a:pt x="1297" y="72"/>
                </a:cubicBezTo>
                <a:cubicBezTo>
                  <a:pt x="1297" y="71"/>
                  <a:pt x="1296" y="71"/>
                  <a:pt x="1295" y="72"/>
                </a:cubicBezTo>
                <a:cubicBezTo>
                  <a:pt x="1295" y="72"/>
                  <a:pt x="1294" y="73"/>
                  <a:pt x="1294" y="72"/>
                </a:cubicBezTo>
                <a:cubicBezTo>
                  <a:pt x="1294" y="72"/>
                  <a:pt x="1291" y="72"/>
                  <a:pt x="1291" y="72"/>
                </a:cubicBezTo>
                <a:cubicBezTo>
                  <a:pt x="1291" y="72"/>
                  <a:pt x="1288" y="72"/>
                  <a:pt x="1288" y="73"/>
                </a:cubicBezTo>
                <a:cubicBezTo>
                  <a:pt x="1288" y="73"/>
                  <a:pt x="1288" y="73"/>
                  <a:pt x="1289" y="73"/>
                </a:cubicBezTo>
                <a:cubicBezTo>
                  <a:pt x="1289" y="73"/>
                  <a:pt x="1289" y="74"/>
                  <a:pt x="1289" y="74"/>
                </a:cubicBezTo>
                <a:cubicBezTo>
                  <a:pt x="1290" y="74"/>
                  <a:pt x="1290" y="74"/>
                  <a:pt x="1290" y="74"/>
                </a:cubicBezTo>
                <a:cubicBezTo>
                  <a:pt x="1290" y="75"/>
                  <a:pt x="1291" y="75"/>
                  <a:pt x="1291" y="75"/>
                </a:cubicBezTo>
                <a:cubicBezTo>
                  <a:pt x="1291" y="75"/>
                  <a:pt x="1291" y="76"/>
                  <a:pt x="1291" y="77"/>
                </a:cubicBezTo>
                <a:cubicBezTo>
                  <a:pt x="1291" y="77"/>
                  <a:pt x="1291" y="78"/>
                  <a:pt x="1291" y="78"/>
                </a:cubicBezTo>
                <a:cubicBezTo>
                  <a:pt x="1290" y="78"/>
                  <a:pt x="1290" y="78"/>
                  <a:pt x="1290" y="79"/>
                </a:cubicBezTo>
                <a:cubicBezTo>
                  <a:pt x="1290" y="79"/>
                  <a:pt x="1290" y="79"/>
                  <a:pt x="1290" y="79"/>
                </a:cubicBezTo>
                <a:cubicBezTo>
                  <a:pt x="1290" y="79"/>
                  <a:pt x="1290" y="78"/>
                  <a:pt x="1290" y="78"/>
                </a:cubicBezTo>
                <a:cubicBezTo>
                  <a:pt x="1290" y="77"/>
                  <a:pt x="1290" y="77"/>
                  <a:pt x="1290" y="76"/>
                </a:cubicBezTo>
                <a:cubicBezTo>
                  <a:pt x="1290" y="75"/>
                  <a:pt x="1289" y="75"/>
                  <a:pt x="1288" y="74"/>
                </a:cubicBezTo>
                <a:cubicBezTo>
                  <a:pt x="1287" y="74"/>
                  <a:pt x="1285" y="75"/>
                  <a:pt x="1285" y="76"/>
                </a:cubicBezTo>
                <a:cubicBezTo>
                  <a:pt x="1284" y="76"/>
                  <a:pt x="1284" y="78"/>
                  <a:pt x="1283" y="78"/>
                </a:cubicBezTo>
                <a:cubicBezTo>
                  <a:pt x="1283" y="78"/>
                  <a:pt x="1283" y="77"/>
                  <a:pt x="1283" y="78"/>
                </a:cubicBezTo>
                <a:cubicBezTo>
                  <a:pt x="1282" y="78"/>
                  <a:pt x="1282" y="78"/>
                  <a:pt x="1282" y="77"/>
                </a:cubicBezTo>
                <a:cubicBezTo>
                  <a:pt x="1281" y="77"/>
                  <a:pt x="1281" y="78"/>
                  <a:pt x="1281" y="78"/>
                </a:cubicBezTo>
                <a:cubicBezTo>
                  <a:pt x="1281" y="78"/>
                  <a:pt x="1280" y="79"/>
                  <a:pt x="1280" y="79"/>
                </a:cubicBezTo>
                <a:cubicBezTo>
                  <a:pt x="1280" y="78"/>
                  <a:pt x="1280" y="78"/>
                  <a:pt x="1279" y="77"/>
                </a:cubicBezTo>
                <a:cubicBezTo>
                  <a:pt x="1279" y="79"/>
                  <a:pt x="1278" y="79"/>
                  <a:pt x="1277" y="79"/>
                </a:cubicBezTo>
                <a:cubicBezTo>
                  <a:pt x="1276" y="79"/>
                  <a:pt x="1277" y="79"/>
                  <a:pt x="1276" y="79"/>
                </a:cubicBezTo>
                <a:cubicBezTo>
                  <a:pt x="1276" y="79"/>
                  <a:pt x="1275" y="80"/>
                  <a:pt x="1275" y="79"/>
                </a:cubicBezTo>
                <a:cubicBezTo>
                  <a:pt x="1275" y="79"/>
                  <a:pt x="1277" y="78"/>
                  <a:pt x="1276" y="78"/>
                </a:cubicBezTo>
                <a:cubicBezTo>
                  <a:pt x="1277" y="78"/>
                  <a:pt x="1277" y="78"/>
                  <a:pt x="1277" y="77"/>
                </a:cubicBezTo>
                <a:cubicBezTo>
                  <a:pt x="1277" y="77"/>
                  <a:pt x="1278" y="76"/>
                  <a:pt x="1278" y="76"/>
                </a:cubicBezTo>
                <a:cubicBezTo>
                  <a:pt x="1279" y="75"/>
                  <a:pt x="1274" y="74"/>
                  <a:pt x="1274" y="75"/>
                </a:cubicBezTo>
                <a:cubicBezTo>
                  <a:pt x="1274" y="75"/>
                  <a:pt x="1273" y="75"/>
                  <a:pt x="1272" y="75"/>
                </a:cubicBezTo>
                <a:cubicBezTo>
                  <a:pt x="1272" y="74"/>
                  <a:pt x="1272" y="74"/>
                  <a:pt x="1271" y="74"/>
                </a:cubicBezTo>
                <a:cubicBezTo>
                  <a:pt x="1271" y="75"/>
                  <a:pt x="1271" y="75"/>
                  <a:pt x="1271" y="76"/>
                </a:cubicBezTo>
                <a:cubicBezTo>
                  <a:pt x="1270" y="75"/>
                  <a:pt x="1269" y="74"/>
                  <a:pt x="1269" y="74"/>
                </a:cubicBezTo>
                <a:cubicBezTo>
                  <a:pt x="1268" y="74"/>
                  <a:pt x="1267" y="74"/>
                  <a:pt x="1267" y="75"/>
                </a:cubicBezTo>
                <a:cubicBezTo>
                  <a:pt x="1267" y="75"/>
                  <a:pt x="1266" y="75"/>
                  <a:pt x="1266" y="74"/>
                </a:cubicBezTo>
                <a:cubicBezTo>
                  <a:pt x="1266" y="75"/>
                  <a:pt x="1266" y="75"/>
                  <a:pt x="1266" y="76"/>
                </a:cubicBezTo>
                <a:cubicBezTo>
                  <a:pt x="1265" y="75"/>
                  <a:pt x="1265" y="75"/>
                  <a:pt x="1264" y="75"/>
                </a:cubicBezTo>
                <a:cubicBezTo>
                  <a:pt x="1264" y="75"/>
                  <a:pt x="1264" y="74"/>
                  <a:pt x="1264" y="74"/>
                </a:cubicBezTo>
                <a:cubicBezTo>
                  <a:pt x="1263" y="74"/>
                  <a:pt x="1264" y="75"/>
                  <a:pt x="1263" y="75"/>
                </a:cubicBezTo>
                <a:cubicBezTo>
                  <a:pt x="1262" y="75"/>
                  <a:pt x="1262" y="75"/>
                  <a:pt x="1262" y="76"/>
                </a:cubicBezTo>
                <a:cubicBezTo>
                  <a:pt x="1262" y="76"/>
                  <a:pt x="1262" y="76"/>
                  <a:pt x="1262" y="77"/>
                </a:cubicBezTo>
                <a:cubicBezTo>
                  <a:pt x="1260" y="77"/>
                  <a:pt x="1258" y="77"/>
                  <a:pt x="1255" y="77"/>
                </a:cubicBezTo>
                <a:cubicBezTo>
                  <a:pt x="1255" y="77"/>
                  <a:pt x="1255" y="77"/>
                  <a:pt x="1255" y="78"/>
                </a:cubicBezTo>
                <a:cubicBezTo>
                  <a:pt x="1255" y="78"/>
                  <a:pt x="1255" y="77"/>
                  <a:pt x="1254" y="78"/>
                </a:cubicBezTo>
                <a:cubicBezTo>
                  <a:pt x="1254" y="78"/>
                  <a:pt x="1255" y="78"/>
                  <a:pt x="1254" y="78"/>
                </a:cubicBezTo>
                <a:cubicBezTo>
                  <a:pt x="1254" y="78"/>
                  <a:pt x="1254" y="78"/>
                  <a:pt x="1253" y="78"/>
                </a:cubicBezTo>
                <a:cubicBezTo>
                  <a:pt x="1253" y="78"/>
                  <a:pt x="1251" y="78"/>
                  <a:pt x="1251" y="78"/>
                </a:cubicBezTo>
                <a:cubicBezTo>
                  <a:pt x="1251" y="79"/>
                  <a:pt x="1250" y="78"/>
                  <a:pt x="1250" y="78"/>
                </a:cubicBezTo>
                <a:cubicBezTo>
                  <a:pt x="1250" y="79"/>
                  <a:pt x="1248" y="79"/>
                  <a:pt x="1248" y="79"/>
                </a:cubicBezTo>
                <a:cubicBezTo>
                  <a:pt x="1247" y="78"/>
                  <a:pt x="1247" y="78"/>
                  <a:pt x="1246" y="78"/>
                </a:cubicBezTo>
                <a:cubicBezTo>
                  <a:pt x="1246" y="78"/>
                  <a:pt x="1246" y="79"/>
                  <a:pt x="1246" y="79"/>
                </a:cubicBezTo>
                <a:cubicBezTo>
                  <a:pt x="1244" y="79"/>
                  <a:pt x="1244" y="79"/>
                  <a:pt x="1243" y="80"/>
                </a:cubicBezTo>
                <a:cubicBezTo>
                  <a:pt x="1243" y="80"/>
                  <a:pt x="1242" y="80"/>
                  <a:pt x="1242" y="80"/>
                </a:cubicBezTo>
                <a:cubicBezTo>
                  <a:pt x="1242" y="80"/>
                  <a:pt x="1241" y="81"/>
                  <a:pt x="1241" y="81"/>
                </a:cubicBezTo>
                <a:cubicBezTo>
                  <a:pt x="1240" y="81"/>
                  <a:pt x="1240" y="81"/>
                  <a:pt x="1239" y="81"/>
                </a:cubicBezTo>
                <a:cubicBezTo>
                  <a:pt x="1238" y="81"/>
                  <a:pt x="1238" y="81"/>
                  <a:pt x="1238" y="81"/>
                </a:cubicBezTo>
                <a:cubicBezTo>
                  <a:pt x="1238" y="81"/>
                  <a:pt x="1237" y="81"/>
                  <a:pt x="1237" y="82"/>
                </a:cubicBezTo>
                <a:cubicBezTo>
                  <a:pt x="1237" y="82"/>
                  <a:pt x="1236" y="81"/>
                  <a:pt x="1236" y="81"/>
                </a:cubicBezTo>
                <a:cubicBezTo>
                  <a:pt x="1235" y="81"/>
                  <a:pt x="1236" y="82"/>
                  <a:pt x="1235" y="82"/>
                </a:cubicBezTo>
                <a:cubicBezTo>
                  <a:pt x="1235" y="82"/>
                  <a:pt x="1235" y="81"/>
                  <a:pt x="1235" y="81"/>
                </a:cubicBezTo>
                <a:cubicBezTo>
                  <a:pt x="1235" y="81"/>
                  <a:pt x="1233" y="81"/>
                  <a:pt x="1233" y="82"/>
                </a:cubicBezTo>
                <a:cubicBezTo>
                  <a:pt x="1233" y="82"/>
                  <a:pt x="1233" y="82"/>
                  <a:pt x="1234" y="82"/>
                </a:cubicBezTo>
                <a:cubicBezTo>
                  <a:pt x="1235" y="82"/>
                  <a:pt x="1235" y="83"/>
                  <a:pt x="1236" y="83"/>
                </a:cubicBezTo>
                <a:cubicBezTo>
                  <a:pt x="1236" y="83"/>
                  <a:pt x="1235" y="84"/>
                  <a:pt x="1235" y="84"/>
                </a:cubicBezTo>
                <a:cubicBezTo>
                  <a:pt x="1235" y="84"/>
                  <a:pt x="1234" y="84"/>
                  <a:pt x="1234" y="85"/>
                </a:cubicBezTo>
                <a:cubicBezTo>
                  <a:pt x="1234" y="85"/>
                  <a:pt x="1233" y="85"/>
                  <a:pt x="1233" y="85"/>
                </a:cubicBezTo>
                <a:cubicBezTo>
                  <a:pt x="1233" y="86"/>
                  <a:pt x="1233" y="86"/>
                  <a:pt x="1233" y="86"/>
                </a:cubicBezTo>
                <a:cubicBezTo>
                  <a:pt x="1233" y="87"/>
                  <a:pt x="1233" y="87"/>
                  <a:pt x="1233" y="88"/>
                </a:cubicBezTo>
                <a:cubicBezTo>
                  <a:pt x="1232" y="88"/>
                  <a:pt x="1232" y="87"/>
                  <a:pt x="1231" y="87"/>
                </a:cubicBezTo>
                <a:cubicBezTo>
                  <a:pt x="1230" y="87"/>
                  <a:pt x="1232" y="87"/>
                  <a:pt x="1230" y="86"/>
                </a:cubicBezTo>
                <a:cubicBezTo>
                  <a:pt x="1230" y="86"/>
                  <a:pt x="1230" y="86"/>
                  <a:pt x="1229" y="86"/>
                </a:cubicBezTo>
                <a:cubicBezTo>
                  <a:pt x="1229" y="86"/>
                  <a:pt x="1228" y="87"/>
                  <a:pt x="1228" y="88"/>
                </a:cubicBezTo>
                <a:cubicBezTo>
                  <a:pt x="1229" y="88"/>
                  <a:pt x="1230" y="88"/>
                  <a:pt x="1231" y="88"/>
                </a:cubicBezTo>
                <a:cubicBezTo>
                  <a:pt x="1231" y="89"/>
                  <a:pt x="1232" y="90"/>
                  <a:pt x="1232" y="90"/>
                </a:cubicBezTo>
                <a:cubicBezTo>
                  <a:pt x="1231" y="90"/>
                  <a:pt x="1231" y="90"/>
                  <a:pt x="1230" y="90"/>
                </a:cubicBezTo>
                <a:cubicBezTo>
                  <a:pt x="1230" y="90"/>
                  <a:pt x="1228" y="90"/>
                  <a:pt x="1228" y="91"/>
                </a:cubicBezTo>
                <a:cubicBezTo>
                  <a:pt x="1228" y="91"/>
                  <a:pt x="1228" y="91"/>
                  <a:pt x="1229" y="92"/>
                </a:cubicBezTo>
                <a:cubicBezTo>
                  <a:pt x="1229" y="92"/>
                  <a:pt x="1231" y="92"/>
                  <a:pt x="1231" y="93"/>
                </a:cubicBezTo>
                <a:cubicBezTo>
                  <a:pt x="1231" y="93"/>
                  <a:pt x="1231" y="94"/>
                  <a:pt x="1231" y="94"/>
                </a:cubicBezTo>
                <a:cubicBezTo>
                  <a:pt x="1232" y="95"/>
                  <a:pt x="1232" y="95"/>
                  <a:pt x="1232" y="96"/>
                </a:cubicBezTo>
                <a:cubicBezTo>
                  <a:pt x="1232" y="96"/>
                  <a:pt x="1233" y="96"/>
                  <a:pt x="1233" y="97"/>
                </a:cubicBezTo>
                <a:cubicBezTo>
                  <a:pt x="1233" y="97"/>
                  <a:pt x="1233" y="98"/>
                  <a:pt x="1233" y="99"/>
                </a:cubicBezTo>
                <a:cubicBezTo>
                  <a:pt x="1232" y="99"/>
                  <a:pt x="1230" y="99"/>
                  <a:pt x="1229" y="99"/>
                </a:cubicBezTo>
                <a:cubicBezTo>
                  <a:pt x="1230" y="98"/>
                  <a:pt x="1231" y="98"/>
                  <a:pt x="1231" y="97"/>
                </a:cubicBezTo>
                <a:cubicBezTo>
                  <a:pt x="1231" y="97"/>
                  <a:pt x="1230" y="96"/>
                  <a:pt x="1230" y="96"/>
                </a:cubicBezTo>
                <a:cubicBezTo>
                  <a:pt x="1230" y="96"/>
                  <a:pt x="1229" y="96"/>
                  <a:pt x="1230" y="96"/>
                </a:cubicBezTo>
                <a:cubicBezTo>
                  <a:pt x="1229" y="95"/>
                  <a:pt x="1228" y="96"/>
                  <a:pt x="1228" y="95"/>
                </a:cubicBezTo>
                <a:cubicBezTo>
                  <a:pt x="1228" y="95"/>
                  <a:pt x="1227" y="95"/>
                  <a:pt x="1226" y="96"/>
                </a:cubicBezTo>
                <a:cubicBezTo>
                  <a:pt x="1226" y="96"/>
                  <a:pt x="1227" y="96"/>
                  <a:pt x="1226" y="96"/>
                </a:cubicBezTo>
                <a:cubicBezTo>
                  <a:pt x="1225" y="96"/>
                  <a:pt x="1224" y="96"/>
                  <a:pt x="1224" y="96"/>
                </a:cubicBezTo>
                <a:cubicBezTo>
                  <a:pt x="1224" y="96"/>
                  <a:pt x="1223" y="96"/>
                  <a:pt x="1222" y="96"/>
                </a:cubicBezTo>
                <a:cubicBezTo>
                  <a:pt x="1222" y="97"/>
                  <a:pt x="1222" y="97"/>
                  <a:pt x="1221" y="97"/>
                </a:cubicBezTo>
                <a:cubicBezTo>
                  <a:pt x="1220" y="96"/>
                  <a:pt x="1219" y="95"/>
                  <a:pt x="1218" y="95"/>
                </a:cubicBezTo>
                <a:cubicBezTo>
                  <a:pt x="1217" y="95"/>
                  <a:pt x="1217" y="96"/>
                  <a:pt x="1216" y="96"/>
                </a:cubicBezTo>
                <a:cubicBezTo>
                  <a:pt x="1215" y="96"/>
                  <a:pt x="1216" y="96"/>
                  <a:pt x="1215" y="96"/>
                </a:cubicBezTo>
                <a:cubicBezTo>
                  <a:pt x="1215" y="96"/>
                  <a:pt x="1215" y="96"/>
                  <a:pt x="1215" y="97"/>
                </a:cubicBezTo>
                <a:cubicBezTo>
                  <a:pt x="1213" y="97"/>
                  <a:pt x="1212" y="96"/>
                  <a:pt x="1211" y="96"/>
                </a:cubicBezTo>
                <a:cubicBezTo>
                  <a:pt x="1211" y="97"/>
                  <a:pt x="1211" y="97"/>
                  <a:pt x="1210" y="97"/>
                </a:cubicBezTo>
                <a:cubicBezTo>
                  <a:pt x="1210" y="97"/>
                  <a:pt x="1210" y="97"/>
                  <a:pt x="1210" y="97"/>
                </a:cubicBezTo>
                <a:cubicBezTo>
                  <a:pt x="1209" y="97"/>
                  <a:pt x="1208" y="97"/>
                  <a:pt x="1207" y="97"/>
                </a:cubicBezTo>
                <a:cubicBezTo>
                  <a:pt x="1206" y="97"/>
                  <a:pt x="1207" y="97"/>
                  <a:pt x="1206" y="97"/>
                </a:cubicBezTo>
                <a:cubicBezTo>
                  <a:pt x="1205" y="98"/>
                  <a:pt x="1204" y="97"/>
                  <a:pt x="1204" y="98"/>
                </a:cubicBezTo>
                <a:cubicBezTo>
                  <a:pt x="1204" y="99"/>
                  <a:pt x="1204" y="99"/>
                  <a:pt x="1203" y="99"/>
                </a:cubicBezTo>
                <a:cubicBezTo>
                  <a:pt x="1203" y="100"/>
                  <a:pt x="1203" y="100"/>
                  <a:pt x="1203" y="100"/>
                </a:cubicBezTo>
                <a:cubicBezTo>
                  <a:pt x="1203" y="101"/>
                  <a:pt x="1203" y="101"/>
                  <a:pt x="1203" y="102"/>
                </a:cubicBezTo>
                <a:cubicBezTo>
                  <a:pt x="1202" y="102"/>
                  <a:pt x="1203" y="102"/>
                  <a:pt x="1203" y="103"/>
                </a:cubicBezTo>
                <a:cubicBezTo>
                  <a:pt x="1203" y="103"/>
                  <a:pt x="1202" y="103"/>
                  <a:pt x="1202" y="103"/>
                </a:cubicBezTo>
                <a:cubicBezTo>
                  <a:pt x="1202" y="104"/>
                  <a:pt x="1202" y="104"/>
                  <a:pt x="1202" y="104"/>
                </a:cubicBezTo>
                <a:cubicBezTo>
                  <a:pt x="1202" y="105"/>
                  <a:pt x="1202" y="104"/>
                  <a:pt x="1202" y="105"/>
                </a:cubicBezTo>
                <a:cubicBezTo>
                  <a:pt x="1202" y="105"/>
                  <a:pt x="1202" y="106"/>
                  <a:pt x="1202" y="106"/>
                </a:cubicBezTo>
                <a:cubicBezTo>
                  <a:pt x="1202" y="108"/>
                  <a:pt x="1202" y="110"/>
                  <a:pt x="1204" y="111"/>
                </a:cubicBezTo>
                <a:cubicBezTo>
                  <a:pt x="1205" y="111"/>
                  <a:pt x="1205" y="111"/>
                  <a:pt x="1205" y="111"/>
                </a:cubicBezTo>
                <a:cubicBezTo>
                  <a:pt x="1205" y="111"/>
                  <a:pt x="1206" y="112"/>
                  <a:pt x="1206" y="112"/>
                </a:cubicBezTo>
                <a:cubicBezTo>
                  <a:pt x="1207" y="112"/>
                  <a:pt x="1208" y="112"/>
                  <a:pt x="1209" y="112"/>
                </a:cubicBezTo>
                <a:cubicBezTo>
                  <a:pt x="1209" y="112"/>
                  <a:pt x="1210" y="112"/>
                  <a:pt x="1211" y="113"/>
                </a:cubicBezTo>
                <a:cubicBezTo>
                  <a:pt x="1211" y="113"/>
                  <a:pt x="1211" y="114"/>
                  <a:pt x="1212" y="114"/>
                </a:cubicBezTo>
                <a:cubicBezTo>
                  <a:pt x="1212" y="114"/>
                  <a:pt x="1213" y="114"/>
                  <a:pt x="1214" y="114"/>
                </a:cubicBezTo>
                <a:cubicBezTo>
                  <a:pt x="1214" y="115"/>
                  <a:pt x="1215" y="115"/>
                  <a:pt x="1215" y="116"/>
                </a:cubicBezTo>
                <a:cubicBezTo>
                  <a:pt x="1215" y="118"/>
                  <a:pt x="1214" y="117"/>
                  <a:pt x="1214" y="118"/>
                </a:cubicBezTo>
                <a:cubicBezTo>
                  <a:pt x="1214" y="119"/>
                  <a:pt x="1214" y="118"/>
                  <a:pt x="1214" y="119"/>
                </a:cubicBezTo>
                <a:cubicBezTo>
                  <a:pt x="1214" y="119"/>
                  <a:pt x="1214" y="119"/>
                  <a:pt x="1213" y="119"/>
                </a:cubicBezTo>
                <a:cubicBezTo>
                  <a:pt x="1213" y="120"/>
                  <a:pt x="1213" y="120"/>
                  <a:pt x="1213" y="120"/>
                </a:cubicBezTo>
                <a:cubicBezTo>
                  <a:pt x="1213" y="121"/>
                  <a:pt x="1213" y="122"/>
                  <a:pt x="1214" y="123"/>
                </a:cubicBezTo>
                <a:cubicBezTo>
                  <a:pt x="1214" y="124"/>
                  <a:pt x="1215" y="124"/>
                  <a:pt x="1215" y="125"/>
                </a:cubicBezTo>
                <a:cubicBezTo>
                  <a:pt x="1215" y="126"/>
                  <a:pt x="1215" y="127"/>
                  <a:pt x="1214" y="128"/>
                </a:cubicBezTo>
                <a:cubicBezTo>
                  <a:pt x="1213" y="128"/>
                  <a:pt x="1211" y="127"/>
                  <a:pt x="1211" y="128"/>
                </a:cubicBezTo>
                <a:cubicBezTo>
                  <a:pt x="1211" y="128"/>
                  <a:pt x="1211" y="129"/>
                  <a:pt x="1211" y="129"/>
                </a:cubicBezTo>
                <a:cubicBezTo>
                  <a:pt x="1212" y="129"/>
                  <a:pt x="1212" y="130"/>
                  <a:pt x="1212" y="130"/>
                </a:cubicBezTo>
                <a:cubicBezTo>
                  <a:pt x="1213" y="130"/>
                  <a:pt x="1214" y="131"/>
                  <a:pt x="1214" y="131"/>
                </a:cubicBezTo>
                <a:cubicBezTo>
                  <a:pt x="1215" y="131"/>
                  <a:pt x="1216" y="132"/>
                  <a:pt x="1217" y="132"/>
                </a:cubicBezTo>
                <a:cubicBezTo>
                  <a:pt x="1217" y="133"/>
                  <a:pt x="1218" y="132"/>
                  <a:pt x="1218" y="132"/>
                </a:cubicBezTo>
                <a:cubicBezTo>
                  <a:pt x="1219" y="132"/>
                  <a:pt x="1220" y="131"/>
                  <a:pt x="1221" y="131"/>
                </a:cubicBezTo>
                <a:cubicBezTo>
                  <a:pt x="1222" y="132"/>
                  <a:pt x="1221" y="133"/>
                  <a:pt x="1223" y="133"/>
                </a:cubicBezTo>
                <a:cubicBezTo>
                  <a:pt x="1223" y="133"/>
                  <a:pt x="1223" y="133"/>
                  <a:pt x="1224" y="133"/>
                </a:cubicBezTo>
                <a:cubicBezTo>
                  <a:pt x="1224" y="133"/>
                  <a:pt x="1224" y="134"/>
                  <a:pt x="1224" y="134"/>
                </a:cubicBezTo>
                <a:cubicBezTo>
                  <a:pt x="1224" y="135"/>
                  <a:pt x="1224" y="136"/>
                  <a:pt x="1225" y="136"/>
                </a:cubicBezTo>
                <a:cubicBezTo>
                  <a:pt x="1223" y="136"/>
                  <a:pt x="1223" y="136"/>
                  <a:pt x="1223" y="134"/>
                </a:cubicBezTo>
                <a:cubicBezTo>
                  <a:pt x="1223" y="133"/>
                  <a:pt x="1223" y="134"/>
                  <a:pt x="1222" y="133"/>
                </a:cubicBezTo>
                <a:cubicBezTo>
                  <a:pt x="1221" y="133"/>
                  <a:pt x="1221" y="132"/>
                  <a:pt x="1219" y="133"/>
                </a:cubicBezTo>
                <a:cubicBezTo>
                  <a:pt x="1219" y="133"/>
                  <a:pt x="1218" y="134"/>
                  <a:pt x="1218" y="133"/>
                </a:cubicBezTo>
                <a:cubicBezTo>
                  <a:pt x="1218" y="133"/>
                  <a:pt x="1215" y="133"/>
                  <a:pt x="1215" y="133"/>
                </a:cubicBezTo>
                <a:cubicBezTo>
                  <a:pt x="1214" y="133"/>
                  <a:pt x="1214" y="133"/>
                  <a:pt x="1213" y="133"/>
                </a:cubicBezTo>
                <a:cubicBezTo>
                  <a:pt x="1213" y="133"/>
                  <a:pt x="1213" y="133"/>
                  <a:pt x="1213" y="133"/>
                </a:cubicBezTo>
                <a:cubicBezTo>
                  <a:pt x="1212" y="133"/>
                  <a:pt x="1211" y="133"/>
                  <a:pt x="1211" y="132"/>
                </a:cubicBezTo>
                <a:cubicBezTo>
                  <a:pt x="1211" y="131"/>
                  <a:pt x="1211" y="131"/>
                  <a:pt x="1211" y="131"/>
                </a:cubicBezTo>
                <a:cubicBezTo>
                  <a:pt x="1210" y="130"/>
                  <a:pt x="1209" y="128"/>
                  <a:pt x="1208" y="128"/>
                </a:cubicBezTo>
                <a:cubicBezTo>
                  <a:pt x="1208" y="128"/>
                  <a:pt x="1207" y="130"/>
                  <a:pt x="1207" y="130"/>
                </a:cubicBezTo>
                <a:cubicBezTo>
                  <a:pt x="1206" y="131"/>
                  <a:pt x="1206" y="131"/>
                  <a:pt x="1205" y="131"/>
                </a:cubicBezTo>
                <a:cubicBezTo>
                  <a:pt x="1205" y="130"/>
                  <a:pt x="1206" y="130"/>
                  <a:pt x="1206" y="129"/>
                </a:cubicBezTo>
                <a:cubicBezTo>
                  <a:pt x="1207" y="129"/>
                  <a:pt x="1207" y="129"/>
                  <a:pt x="1207" y="127"/>
                </a:cubicBezTo>
                <a:cubicBezTo>
                  <a:pt x="1207" y="127"/>
                  <a:pt x="1208" y="125"/>
                  <a:pt x="1208" y="125"/>
                </a:cubicBezTo>
                <a:cubicBezTo>
                  <a:pt x="1209" y="125"/>
                  <a:pt x="1208" y="122"/>
                  <a:pt x="1208" y="122"/>
                </a:cubicBezTo>
                <a:cubicBezTo>
                  <a:pt x="1208" y="121"/>
                  <a:pt x="1209" y="120"/>
                  <a:pt x="1209" y="119"/>
                </a:cubicBezTo>
                <a:cubicBezTo>
                  <a:pt x="1210" y="119"/>
                  <a:pt x="1210" y="119"/>
                  <a:pt x="1211" y="118"/>
                </a:cubicBezTo>
                <a:cubicBezTo>
                  <a:pt x="1211" y="117"/>
                  <a:pt x="1212" y="117"/>
                  <a:pt x="1212" y="117"/>
                </a:cubicBezTo>
                <a:cubicBezTo>
                  <a:pt x="1212" y="116"/>
                  <a:pt x="1212" y="116"/>
                  <a:pt x="1211" y="115"/>
                </a:cubicBezTo>
                <a:cubicBezTo>
                  <a:pt x="1210" y="115"/>
                  <a:pt x="1208" y="115"/>
                  <a:pt x="1206" y="115"/>
                </a:cubicBezTo>
                <a:cubicBezTo>
                  <a:pt x="1206" y="115"/>
                  <a:pt x="1205" y="115"/>
                  <a:pt x="1204" y="115"/>
                </a:cubicBezTo>
                <a:cubicBezTo>
                  <a:pt x="1203" y="115"/>
                  <a:pt x="1204" y="115"/>
                  <a:pt x="1203" y="115"/>
                </a:cubicBezTo>
                <a:cubicBezTo>
                  <a:pt x="1203" y="115"/>
                  <a:pt x="1202" y="114"/>
                  <a:pt x="1202" y="113"/>
                </a:cubicBezTo>
                <a:cubicBezTo>
                  <a:pt x="1201" y="112"/>
                  <a:pt x="1201" y="112"/>
                  <a:pt x="1200" y="112"/>
                </a:cubicBezTo>
                <a:cubicBezTo>
                  <a:pt x="1200" y="112"/>
                  <a:pt x="1199" y="111"/>
                  <a:pt x="1199" y="111"/>
                </a:cubicBezTo>
                <a:cubicBezTo>
                  <a:pt x="1199" y="111"/>
                  <a:pt x="1198" y="111"/>
                  <a:pt x="1198" y="111"/>
                </a:cubicBezTo>
                <a:cubicBezTo>
                  <a:pt x="1198" y="111"/>
                  <a:pt x="1198" y="110"/>
                  <a:pt x="1197" y="110"/>
                </a:cubicBezTo>
                <a:cubicBezTo>
                  <a:pt x="1197" y="110"/>
                  <a:pt x="1197" y="110"/>
                  <a:pt x="1197" y="110"/>
                </a:cubicBezTo>
                <a:cubicBezTo>
                  <a:pt x="1196" y="110"/>
                  <a:pt x="1196" y="110"/>
                  <a:pt x="1196" y="110"/>
                </a:cubicBezTo>
                <a:cubicBezTo>
                  <a:pt x="1196" y="110"/>
                  <a:pt x="1195" y="110"/>
                  <a:pt x="1195" y="110"/>
                </a:cubicBezTo>
                <a:cubicBezTo>
                  <a:pt x="1194" y="109"/>
                  <a:pt x="1194" y="109"/>
                  <a:pt x="1193" y="109"/>
                </a:cubicBezTo>
                <a:cubicBezTo>
                  <a:pt x="1192" y="109"/>
                  <a:pt x="1192" y="109"/>
                  <a:pt x="1192" y="110"/>
                </a:cubicBezTo>
                <a:cubicBezTo>
                  <a:pt x="1192" y="110"/>
                  <a:pt x="1191" y="110"/>
                  <a:pt x="1191" y="110"/>
                </a:cubicBezTo>
                <a:cubicBezTo>
                  <a:pt x="1190" y="110"/>
                  <a:pt x="1190" y="111"/>
                  <a:pt x="1190" y="111"/>
                </a:cubicBezTo>
                <a:cubicBezTo>
                  <a:pt x="1189" y="111"/>
                  <a:pt x="1189" y="111"/>
                  <a:pt x="1189" y="111"/>
                </a:cubicBezTo>
                <a:cubicBezTo>
                  <a:pt x="1189" y="111"/>
                  <a:pt x="1187" y="112"/>
                  <a:pt x="1187" y="112"/>
                </a:cubicBezTo>
                <a:cubicBezTo>
                  <a:pt x="1187" y="112"/>
                  <a:pt x="1189" y="112"/>
                  <a:pt x="1189" y="112"/>
                </a:cubicBezTo>
                <a:cubicBezTo>
                  <a:pt x="1189" y="112"/>
                  <a:pt x="1189" y="113"/>
                  <a:pt x="1189" y="113"/>
                </a:cubicBezTo>
                <a:cubicBezTo>
                  <a:pt x="1190" y="113"/>
                  <a:pt x="1190" y="113"/>
                  <a:pt x="1191" y="113"/>
                </a:cubicBezTo>
                <a:cubicBezTo>
                  <a:pt x="1191" y="114"/>
                  <a:pt x="1189" y="116"/>
                  <a:pt x="1188" y="116"/>
                </a:cubicBezTo>
                <a:cubicBezTo>
                  <a:pt x="1188" y="116"/>
                  <a:pt x="1188" y="116"/>
                  <a:pt x="1187" y="116"/>
                </a:cubicBezTo>
                <a:cubicBezTo>
                  <a:pt x="1186" y="115"/>
                  <a:pt x="1186" y="114"/>
                  <a:pt x="1185" y="114"/>
                </a:cubicBezTo>
                <a:cubicBezTo>
                  <a:pt x="1184" y="114"/>
                  <a:pt x="1184" y="114"/>
                  <a:pt x="1184" y="114"/>
                </a:cubicBezTo>
                <a:cubicBezTo>
                  <a:pt x="1183" y="114"/>
                  <a:pt x="1182" y="114"/>
                  <a:pt x="1182" y="114"/>
                </a:cubicBezTo>
                <a:cubicBezTo>
                  <a:pt x="1181" y="114"/>
                  <a:pt x="1181" y="115"/>
                  <a:pt x="1180" y="116"/>
                </a:cubicBezTo>
                <a:cubicBezTo>
                  <a:pt x="1180" y="116"/>
                  <a:pt x="1180" y="117"/>
                  <a:pt x="1181" y="117"/>
                </a:cubicBezTo>
                <a:cubicBezTo>
                  <a:pt x="1181" y="118"/>
                  <a:pt x="1182" y="118"/>
                  <a:pt x="1182" y="118"/>
                </a:cubicBezTo>
                <a:cubicBezTo>
                  <a:pt x="1183" y="118"/>
                  <a:pt x="1183" y="119"/>
                  <a:pt x="1183" y="119"/>
                </a:cubicBezTo>
                <a:cubicBezTo>
                  <a:pt x="1184" y="119"/>
                  <a:pt x="1184" y="119"/>
                  <a:pt x="1185" y="119"/>
                </a:cubicBezTo>
                <a:cubicBezTo>
                  <a:pt x="1185" y="119"/>
                  <a:pt x="1185" y="120"/>
                  <a:pt x="1185" y="120"/>
                </a:cubicBezTo>
                <a:cubicBezTo>
                  <a:pt x="1186" y="120"/>
                  <a:pt x="1186" y="120"/>
                  <a:pt x="1186" y="120"/>
                </a:cubicBezTo>
                <a:cubicBezTo>
                  <a:pt x="1187" y="120"/>
                  <a:pt x="1186" y="121"/>
                  <a:pt x="1187" y="121"/>
                </a:cubicBezTo>
                <a:cubicBezTo>
                  <a:pt x="1187" y="121"/>
                  <a:pt x="1187" y="121"/>
                  <a:pt x="1188" y="121"/>
                </a:cubicBezTo>
                <a:cubicBezTo>
                  <a:pt x="1188" y="122"/>
                  <a:pt x="1188" y="122"/>
                  <a:pt x="1187" y="123"/>
                </a:cubicBezTo>
                <a:cubicBezTo>
                  <a:pt x="1188" y="123"/>
                  <a:pt x="1190" y="124"/>
                  <a:pt x="1190" y="124"/>
                </a:cubicBezTo>
                <a:cubicBezTo>
                  <a:pt x="1190" y="124"/>
                  <a:pt x="1188" y="123"/>
                  <a:pt x="1188" y="124"/>
                </a:cubicBezTo>
                <a:cubicBezTo>
                  <a:pt x="1188" y="124"/>
                  <a:pt x="1188" y="122"/>
                  <a:pt x="1187" y="122"/>
                </a:cubicBezTo>
                <a:cubicBezTo>
                  <a:pt x="1186" y="122"/>
                  <a:pt x="1184" y="122"/>
                  <a:pt x="1184" y="122"/>
                </a:cubicBezTo>
                <a:cubicBezTo>
                  <a:pt x="1184" y="122"/>
                  <a:pt x="1182" y="123"/>
                  <a:pt x="1182" y="122"/>
                </a:cubicBezTo>
                <a:cubicBezTo>
                  <a:pt x="1182" y="122"/>
                  <a:pt x="1180" y="122"/>
                  <a:pt x="1180" y="122"/>
                </a:cubicBezTo>
                <a:cubicBezTo>
                  <a:pt x="1179" y="122"/>
                  <a:pt x="1179" y="122"/>
                  <a:pt x="1179" y="122"/>
                </a:cubicBezTo>
                <a:cubicBezTo>
                  <a:pt x="1178" y="123"/>
                  <a:pt x="1178" y="123"/>
                  <a:pt x="1177" y="123"/>
                </a:cubicBezTo>
                <a:cubicBezTo>
                  <a:pt x="1176" y="122"/>
                  <a:pt x="1175" y="121"/>
                  <a:pt x="1175" y="121"/>
                </a:cubicBezTo>
                <a:cubicBezTo>
                  <a:pt x="1175" y="121"/>
                  <a:pt x="1175" y="120"/>
                  <a:pt x="1175" y="119"/>
                </a:cubicBezTo>
                <a:cubicBezTo>
                  <a:pt x="1175" y="119"/>
                  <a:pt x="1175" y="119"/>
                  <a:pt x="1175" y="118"/>
                </a:cubicBezTo>
                <a:cubicBezTo>
                  <a:pt x="1175" y="117"/>
                  <a:pt x="1174" y="117"/>
                  <a:pt x="1174" y="117"/>
                </a:cubicBezTo>
                <a:cubicBezTo>
                  <a:pt x="1174" y="116"/>
                  <a:pt x="1174" y="116"/>
                  <a:pt x="1174" y="115"/>
                </a:cubicBezTo>
                <a:cubicBezTo>
                  <a:pt x="1174" y="115"/>
                  <a:pt x="1174" y="115"/>
                  <a:pt x="1174" y="114"/>
                </a:cubicBezTo>
                <a:cubicBezTo>
                  <a:pt x="1174" y="114"/>
                  <a:pt x="1173" y="114"/>
                  <a:pt x="1173" y="114"/>
                </a:cubicBezTo>
                <a:cubicBezTo>
                  <a:pt x="1173" y="114"/>
                  <a:pt x="1173" y="113"/>
                  <a:pt x="1173" y="113"/>
                </a:cubicBezTo>
                <a:cubicBezTo>
                  <a:pt x="1174" y="112"/>
                  <a:pt x="1174" y="112"/>
                  <a:pt x="1174" y="112"/>
                </a:cubicBezTo>
                <a:cubicBezTo>
                  <a:pt x="1174" y="112"/>
                  <a:pt x="1174" y="112"/>
                  <a:pt x="1174" y="112"/>
                </a:cubicBezTo>
                <a:cubicBezTo>
                  <a:pt x="1174" y="112"/>
                  <a:pt x="1175" y="111"/>
                  <a:pt x="1175" y="111"/>
                </a:cubicBezTo>
                <a:cubicBezTo>
                  <a:pt x="1174" y="111"/>
                  <a:pt x="1173" y="110"/>
                  <a:pt x="1173" y="110"/>
                </a:cubicBezTo>
                <a:cubicBezTo>
                  <a:pt x="1173" y="109"/>
                  <a:pt x="1173" y="108"/>
                  <a:pt x="1174" y="108"/>
                </a:cubicBezTo>
                <a:cubicBezTo>
                  <a:pt x="1174" y="107"/>
                  <a:pt x="1174" y="106"/>
                  <a:pt x="1173" y="106"/>
                </a:cubicBezTo>
                <a:cubicBezTo>
                  <a:pt x="1173" y="106"/>
                  <a:pt x="1173" y="106"/>
                  <a:pt x="1173" y="105"/>
                </a:cubicBezTo>
                <a:cubicBezTo>
                  <a:pt x="1172" y="104"/>
                  <a:pt x="1172" y="105"/>
                  <a:pt x="1171" y="105"/>
                </a:cubicBezTo>
                <a:cubicBezTo>
                  <a:pt x="1172" y="108"/>
                  <a:pt x="1172" y="110"/>
                  <a:pt x="1172" y="113"/>
                </a:cubicBezTo>
                <a:cubicBezTo>
                  <a:pt x="1171" y="114"/>
                  <a:pt x="1171" y="115"/>
                  <a:pt x="1171" y="115"/>
                </a:cubicBezTo>
                <a:cubicBezTo>
                  <a:pt x="1170" y="115"/>
                  <a:pt x="1170" y="115"/>
                  <a:pt x="1170" y="116"/>
                </a:cubicBezTo>
                <a:cubicBezTo>
                  <a:pt x="1170" y="116"/>
                  <a:pt x="1169" y="116"/>
                  <a:pt x="1169" y="117"/>
                </a:cubicBezTo>
                <a:cubicBezTo>
                  <a:pt x="1169" y="117"/>
                  <a:pt x="1169" y="117"/>
                  <a:pt x="1169" y="117"/>
                </a:cubicBezTo>
                <a:cubicBezTo>
                  <a:pt x="1168" y="117"/>
                  <a:pt x="1169" y="117"/>
                  <a:pt x="1168" y="117"/>
                </a:cubicBezTo>
                <a:cubicBezTo>
                  <a:pt x="1168" y="118"/>
                  <a:pt x="1168" y="118"/>
                  <a:pt x="1168" y="119"/>
                </a:cubicBezTo>
                <a:cubicBezTo>
                  <a:pt x="1168" y="120"/>
                  <a:pt x="1168" y="120"/>
                  <a:pt x="1167" y="121"/>
                </a:cubicBezTo>
                <a:cubicBezTo>
                  <a:pt x="1167" y="122"/>
                  <a:pt x="1166" y="122"/>
                  <a:pt x="1166" y="122"/>
                </a:cubicBezTo>
                <a:cubicBezTo>
                  <a:pt x="1167" y="123"/>
                  <a:pt x="1167" y="124"/>
                  <a:pt x="1167" y="124"/>
                </a:cubicBezTo>
                <a:cubicBezTo>
                  <a:pt x="1168" y="124"/>
                  <a:pt x="1168" y="124"/>
                  <a:pt x="1168" y="124"/>
                </a:cubicBezTo>
                <a:cubicBezTo>
                  <a:pt x="1168" y="124"/>
                  <a:pt x="1168" y="125"/>
                  <a:pt x="1168" y="125"/>
                </a:cubicBezTo>
                <a:cubicBezTo>
                  <a:pt x="1168" y="125"/>
                  <a:pt x="1168" y="125"/>
                  <a:pt x="1168" y="125"/>
                </a:cubicBezTo>
                <a:cubicBezTo>
                  <a:pt x="1168" y="125"/>
                  <a:pt x="1168" y="126"/>
                  <a:pt x="1169" y="126"/>
                </a:cubicBezTo>
                <a:cubicBezTo>
                  <a:pt x="1169" y="126"/>
                  <a:pt x="1169" y="127"/>
                  <a:pt x="1170" y="127"/>
                </a:cubicBezTo>
                <a:cubicBezTo>
                  <a:pt x="1169" y="128"/>
                  <a:pt x="1169" y="129"/>
                  <a:pt x="1169" y="129"/>
                </a:cubicBezTo>
                <a:cubicBezTo>
                  <a:pt x="1169" y="129"/>
                  <a:pt x="1168" y="129"/>
                  <a:pt x="1168" y="130"/>
                </a:cubicBezTo>
                <a:cubicBezTo>
                  <a:pt x="1168" y="131"/>
                  <a:pt x="1168" y="130"/>
                  <a:pt x="1168" y="131"/>
                </a:cubicBezTo>
                <a:cubicBezTo>
                  <a:pt x="1168" y="131"/>
                  <a:pt x="1168" y="131"/>
                  <a:pt x="1168" y="131"/>
                </a:cubicBezTo>
                <a:cubicBezTo>
                  <a:pt x="1168" y="131"/>
                  <a:pt x="1168" y="131"/>
                  <a:pt x="1168" y="132"/>
                </a:cubicBezTo>
                <a:cubicBezTo>
                  <a:pt x="1168" y="132"/>
                  <a:pt x="1168" y="133"/>
                  <a:pt x="1168" y="134"/>
                </a:cubicBezTo>
                <a:cubicBezTo>
                  <a:pt x="1168" y="134"/>
                  <a:pt x="1169" y="134"/>
                  <a:pt x="1169" y="135"/>
                </a:cubicBezTo>
                <a:cubicBezTo>
                  <a:pt x="1169" y="136"/>
                  <a:pt x="1169" y="137"/>
                  <a:pt x="1170" y="137"/>
                </a:cubicBezTo>
                <a:cubicBezTo>
                  <a:pt x="1170" y="138"/>
                  <a:pt x="1171" y="138"/>
                  <a:pt x="1171" y="137"/>
                </a:cubicBezTo>
                <a:cubicBezTo>
                  <a:pt x="1171" y="136"/>
                  <a:pt x="1174" y="137"/>
                  <a:pt x="1175" y="136"/>
                </a:cubicBezTo>
                <a:cubicBezTo>
                  <a:pt x="1175" y="136"/>
                  <a:pt x="1175" y="136"/>
                  <a:pt x="1175" y="136"/>
                </a:cubicBezTo>
                <a:cubicBezTo>
                  <a:pt x="1175" y="136"/>
                  <a:pt x="1176" y="136"/>
                  <a:pt x="1176" y="135"/>
                </a:cubicBezTo>
                <a:cubicBezTo>
                  <a:pt x="1177" y="135"/>
                  <a:pt x="1178" y="135"/>
                  <a:pt x="1179" y="135"/>
                </a:cubicBezTo>
                <a:cubicBezTo>
                  <a:pt x="1181" y="135"/>
                  <a:pt x="1179" y="135"/>
                  <a:pt x="1180" y="135"/>
                </a:cubicBezTo>
                <a:cubicBezTo>
                  <a:pt x="1180" y="135"/>
                  <a:pt x="1180" y="135"/>
                  <a:pt x="1181" y="135"/>
                </a:cubicBezTo>
                <a:cubicBezTo>
                  <a:pt x="1181" y="136"/>
                  <a:pt x="1179" y="136"/>
                  <a:pt x="1181" y="136"/>
                </a:cubicBezTo>
                <a:cubicBezTo>
                  <a:pt x="1182" y="136"/>
                  <a:pt x="1183" y="136"/>
                  <a:pt x="1183" y="136"/>
                </a:cubicBezTo>
                <a:cubicBezTo>
                  <a:pt x="1184" y="136"/>
                  <a:pt x="1185" y="137"/>
                  <a:pt x="1185" y="137"/>
                </a:cubicBezTo>
                <a:cubicBezTo>
                  <a:pt x="1186" y="137"/>
                  <a:pt x="1186" y="138"/>
                  <a:pt x="1186" y="139"/>
                </a:cubicBezTo>
                <a:cubicBezTo>
                  <a:pt x="1187" y="139"/>
                  <a:pt x="1187" y="139"/>
                  <a:pt x="1187" y="140"/>
                </a:cubicBezTo>
                <a:cubicBezTo>
                  <a:pt x="1187" y="140"/>
                  <a:pt x="1187" y="140"/>
                  <a:pt x="1187" y="141"/>
                </a:cubicBezTo>
                <a:cubicBezTo>
                  <a:pt x="1187" y="141"/>
                  <a:pt x="1187" y="141"/>
                  <a:pt x="1187" y="141"/>
                </a:cubicBezTo>
                <a:cubicBezTo>
                  <a:pt x="1188" y="141"/>
                  <a:pt x="1188" y="141"/>
                  <a:pt x="1188" y="142"/>
                </a:cubicBezTo>
                <a:cubicBezTo>
                  <a:pt x="1189" y="142"/>
                  <a:pt x="1189" y="142"/>
                  <a:pt x="1189" y="143"/>
                </a:cubicBezTo>
                <a:cubicBezTo>
                  <a:pt x="1189" y="143"/>
                  <a:pt x="1190" y="144"/>
                  <a:pt x="1190" y="145"/>
                </a:cubicBezTo>
                <a:cubicBezTo>
                  <a:pt x="1190" y="146"/>
                  <a:pt x="1188" y="146"/>
                  <a:pt x="1187" y="146"/>
                </a:cubicBezTo>
                <a:cubicBezTo>
                  <a:pt x="1187" y="147"/>
                  <a:pt x="1187" y="147"/>
                  <a:pt x="1187" y="148"/>
                </a:cubicBezTo>
                <a:cubicBezTo>
                  <a:pt x="1187" y="149"/>
                  <a:pt x="1187" y="149"/>
                  <a:pt x="1188" y="150"/>
                </a:cubicBezTo>
                <a:cubicBezTo>
                  <a:pt x="1188" y="150"/>
                  <a:pt x="1189" y="150"/>
                  <a:pt x="1189" y="150"/>
                </a:cubicBezTo>
                <a:cubicBezTo>
                  <a:pt x="1189" y="150"/>
                  <a:pt x="1190" y="151"/>
                  <a:pt x="1190" y="151"/>
                </a:cubicBezTo>
                <a:cubicBezTo>
                  <a:pt x="1190" y="151"/>
                  <a:pt x="1191" y="151"/>
                  <a:pt x="1191" y="151"/>
                </a:cubicBezTo>
                <a:cubicBezTo>
                  <a:pt x="1191" y="151"/>
                  <a:pt x="1192" y="151"/>
                  <a:pt x="1192" y="151"/>
                </a:cubicBezTo>
                <a:cubicBezTo>
                  <a:pt x="1193" y="151"/>
                  <a:pt x="1192" y="152"/>
                  <a:pt x="1193" y="152"/>
                </a:cubicBezTo>
                <a:cubicBezTo>
                  <a:pt x="1194" y="152"/>
                  <a:pt x="1193" y="152"/>
                  <a:pt x="1194" y="152"/>
                </a:cubicBezTo>
                <a:cubicBezTo>
                  <a:pt x="1194" y="152"/>
                  <a:pt x="1194" y="152"/>
                  <a:pt x="1195" y="152"/>
                </a:cubicBezTo>
                <a:cubicBezTo>
                  <a:pt x="1195" y="152"/>
                  <a:pt x="1195" y="152"/>
                  <a:pt x="1195" y="152"/>
                </a:cubicBezTo>
                <a:cubicBezTo>
                  <a:pt x="1196" y="153"/>
                  <a:pt x="1196" y="152"/>
                  <a:pt x="1196" y="153"/>
                </a:cubicBezTo>
                <a:cubicBezTo>
                  <a:pt x="1197" y="154"/>
                  <a:pt x="1195" y="154"/>
                  <a:pt x="1194" y="154"/>
                </a:cubicBezTo>
                <a:cubicBezTo>
                  <a:pt x="1194" y="153"/>
                  <a:pt x="1194" y="153"/>
                  <a:pt x="1194" y="153"/>
                </a:cubicBezTo>
                <a:cubicBezTo>
                  <a:pt x="1193" y="153"/>
                  <a:pt x="1194" y="153"/>
                  <a:pt x="1193" y="153"/>
                </a:cubicBezTo>
                <a:cubicBezTo>
                  <a:pt x="1192" y="153"/>
                  <a:pt x="1192" y="153"/>
                  <a:pt x="1191" y="153"/>
                </a:cubicBezTo>
                <a:cubicBezTo>
                  <a:pt x="1191" y="153"/>
                  <a:pt x="1190" y="152"/>
                  <a:pt x="1190" y="152"/>
                </a:cubicBezTo>
                <a:cubicBezTo>
                  <a:pt x="1189" y="152"/>
                  <a:pt x="1188" y="152"/>
                  <a:pt x="1188" y="152"/>
                </a:cubicBezTo>
                <a:cubicBezTo>
                  <a:pt x="1188" y="153"/>
                  <a:pt x="1188" y="153"/>
                  <a:pt x="1188" y="154"/>
                </a:cubicBezTo>
                <a:cubicBezTo>
                  <a:pt x="1188" y="154"/>
                  <a:pt x="1188" y="154"/>
                  <a:pt x="1188" y="154"/>
                </a:cubicBezTo>
                <a:cubicBezTo>
                  <a:pt x="1187" y="154"/>
                  <a:pt x="1186" y="153"/>
                  <a:pt x="1184" y="152"/>
                </a:cubicBezTo>
                <a:cubicBezTo>
                  <a:pt x="1183" y="151"/>
                  <a:pt x="1184" y="150"/>
                  <a:pt x="1184" y="149"/>
                </a:cubicBezTo>
                <a:cubicBezTo>
                  <a:pt x="1185" y="147"/>
                  <a:pt x="1185" y="145"/>
                  <a:pt x="1185" y="144"/>
                </a:cubicBezTo>
                <a:cubicBezTo>
                  <a:pt x="1185" y="143"/>
                  <a:pt x="1185" y="143"/>
                  <a:pt x="1185" y="142"/>
                </a:cubicBezTo>
                <a:cubicBezTo>
                  <a:pt x="1185" y="142"/>
                  <a:pt x="1184" y="143"/>
                  <a:pt x="1184" y="142"/>
                </a:cubicBezTo>
                <a:cubicBezTo>
                  <a:pt x="1184" y="142"/>
                  <a:pt x="1184" y="142"/>
                  <a:pt x="1183" y="141"/>
                </a:cubicBezTo>
                <a:cubicBezTo>
                  <a:pt x="1183" y="141"/>
                  <a:pt x="1183" y="137"/>
                  <a:pt x="1182" y="137"/>
                </a:cubicBezTo>
                <a:cubicBezTo>
                  <a:pt x="1181" y="137"/>
                  <a:pt x="1181" y="137"/>
                  <a:pt x="1180" y="137"/>
                </a:cubicBezTo>
                <a:cubicBezTo>
                  <a:pt x="1180" y="137"/>
                  <a:pt x="1179" y="137"/>
                  <a:pt x="1179" y="137"/>
                </a:cubicBezTo>
                <a:cubicBezTo>
                  <a:pt x="1179" y="137"/>
                  <a:pt x="1179" y="139"/>
                  <a:pt x="1178" y="139"/>
                </a:cubicBezTo>
                <a:cubicBezTo>
                  <a:pt x="1178" y="139"/>
                  <a:pt x="1178" y="139"/>
                  <a:pt x="1177" y="139"/>
                </a:cubicBezTo>
                <a:cubicBezTo>
                  <a:pt x="1177" y="139"/>
                  <a:pt x="1177" y="139"/>
                  <a:pt x="1177" y="139"/>
                </a:cubicBezTo>
                <a:cubicBezTo>
                  <a:pt x="1176" y="139"/>
                  <a:pt x="1175" y="139"/>
                  <a:pt x="1174" y="140"/>
                </a:cubicBezTo>
                <a:cubicBezTo>
                  <a:pt x="1174" y="140"/>
                  <a:pt x="1173" y="140"/>
                  <a:pt x="1172" y="140"/>
                </a:cubicBezTo>
                <a:cubicBezTo>
                  <a:pt x="1172" y="141"/>
                  <a:pt x="1172" y="142"/>
                  <a:pt x="1172" y="142"/>
                </a:cubicBezTo>
                <a:cubicBezTo>
                  <a:pt x="1172" y="143"/>
                  <a:pt x="1171" y="143"/>
                  <a:pt x="1171" y="144"/>
                </a:cubicBezTo>
                <a:cubicBezTo>
                  <a:pt x="1172" y="144"/>
                  <a:pt x="1172" y="145"/>
                  <a:pt x="1172" y="145"/>
                </a:cubicBezTo>
                <a:cubicBezTo>
                  <a:pt x="1172" y="147"/>
                  <a:pt x="1172" y="148"/>
                  <a:pt x="1171" y="150"/>
                </a:cubicBezTo>
                <a:cubicBezTo>
                  <a:pt x="1171" y="150"/>
                  <a:pt x="1171" y="150"/>
                  <a:pt x="1171" y="150"/>
                </a:cubicBezTo>
                <a:cubicBezTo>
                  <a:pt x="1171" y="151"/>
                  <a:pt x="1171" y="151"/>
                  <a:pt x="1171" y="151"/>
                </a:cubicBezTo>
                <a:cubicBezTo>
                  <a:pt x="1171" y="151"/>
                  <a:pt x="1171" y="152"/>
                  <a:pt x="1171" y="152"/>
                </a:cubicBezTo>
                <a:cubicBezTo>
                  <a:pt x="1171" y="153"/>
                  <a:pt x="1171" y="153"/>
                  <a:pt x="1170" y="153"/>
                </a:cubicBezTo>
                <a:cubicBezTo>
                  <a:pt x="1170" y="154"/>
                  <a:pt x="1170" y="154"/>
                  <a:pt x="1170" y="155"/>
                </a:cubicBezTo>
                <a:cubicBezTo>
                  <a:pt x="1169" y="155"/>
                  <a:pt x="1169" y="155"/>
                  <a:pt x="1169" y="155"/>
                </a:cubicBezTo>
                <a:cubicBezTo>
                  <a:pt x="1169" y="157"/>
                  <a:pt x="1166" y="157"/>
                  <a:pt x="1165" y="157"/>
                </a:cubicBezTo>
                <a:cubicBezTo>
                  <a:pt x="1164" y="157"/>
                  <a:pt x="1162" y="158"/>
                  <a:pt x="1161" y="159"/>
                </a:cubicBezTo>
                <a:cubicBezTo>
                  <a:pt x="1160" y="159"/>
                  <a:pt x="1160" y="159"/>
                  <a:pt x="1160" y="160"/>
                </a:cubicBezTo>
                <a:cubicBezTo>
                  <a:pt x="1161" y="160"/>
                  <a:pt x="1161" y="160"/>
                  <a:pt x="1162" y="160"/>
                </a:cubicBezTo>
                <a:cubicBezTo>
                  <a:pt x="1163" y="160"/>
                  <a:pt x="1163" y="160"/>
                  <a:pt x="1163" y="161"/>
                </a:cubicBezTo>
                <a:cubicBezTo>
                  <a:pt x="1163" y="162"/>
                  <a:pt x="1163" y="163"/>
                  <a:pt x="1163" y="164"/>
                </a:cubicBezTo>
                <a:cubicBezTo>
                  <a:pt x="1163" y="165"/>
                  <a:pt x="1163" y="165"/>
                  <a:pt x="1164" y="165"/>
                </a:cubicBezTo>
                <a:cubicBezTo>
                  <a:pt x="1164" y="165"/>
                  <a:pt x="1164" y="166"/>
                  <a:pt x="1164" y="166"/>
                </a:cubicBezTo>
                <a:cubicBezTo>
                  <a:pt x="1164" y="166"/>
                  <a:pt x="1163" y="166"/>
                  <a:pt x="1164" y="166"/>
                </a:cubicBezTo>
                <a:cubicBezTo>
                  <a:pt x="1163" y="165"/>
                  <a:pt x="1163" y="165"/>
                  <a:pt x="1162" y="165"/>
                </a:cubicBezTo>
                <a:cubicBezTo>
                  <a:pt x="1162" y="165"/>
                  <a:pt x="1161" y="164"/>
                  <a:pt x="1161" y="163"/>
                </a:cubicBezTo>
                <a:cubicBezTo>
                  <a:pt x="1161" y="163"/>
                  <a:pt x="1161" y="163"/>
                  <a:pt x="1160" y="163"/>
                </a:cubicBezTo>
                <a:cubicBezTo>
                  <a:pt x="1159" y="162"/>
                  <a:pt x="1160" y="162"/>
                  <a:pt x="1159" y="161"/>
                </a:cubicBezTo>
                <a:cubicBezTo>
                  <a:pt x="1158" y="161"/>
                  <a:pt x="1156" y="161"/>
                  <a:pt x="1155" y="161"/>
                </a:cubicBezTo>
                <a:cubicBezTo>
                  <a:pt x="1155" y="161"/>
                  <a:pt x="1154" y="161"/>
                  <a:pt x="1153" y="161"/>
                </a:cubicBezTo>
                <a:cubicBezTo>
                  <a:pt x="1154" y="161"/>
                  <a:pt x="1152" y="161"/>
                  <a:pt x="1151" y="161"/>
                </a:cubicBezTo>
                <a:cubicBezTo>
                  <a:pt x="1151" y="161"/>
                  <a:pt x="1151" y="161"/>
                  <a:pt x="1151" y="161"/>
                </a:cubicBezTo>
                <a:cubicBezTo>
                  <a:pt x="1150" y="159"/>
                  <a:pt x="1150" y="161"/>
                  <a:pt x="1149" y="160"/>
                </a:cubicBezTo>
                <a:cubicBezTo>
                  <a:pt x="1149" y="160"/>
                  <a:pt x="1150" y="160"/>
                  <a:pt x="1149" y="159"/>
                </a:cubicBezTo>
                <a:cubicBezTo>
                  <a:pt x="1148" y="159"/>
                  <a:pt x="1148" y="158"/>
                  <a:pt x="1148" y="157"/>
                </a:cubicBezTo>
                <a:cubicBezTo>
                  <a:pt x="1149" y="157"/>
                  <a:pt x="1151" y="157"/>
                  <a:pt x="1152" y="157"/>
                </a:cubicBezTo>
                <a:cubicBezTo>
                  <a:pt x="1153" y="157"/>
                  <a:pt x="1156" y="158"/>
                  <a:pt x="1156" y="157"/>
                </a:cubicBezTo>
                <a:cubicBezTo>
                  <a:pt x="1156" y="157"/>
                  <a:pt x="1157" y="157"/>
                  <a:pt x="1157" y="157"/>
                </a:cubicBezTo>
                <a:cubicBezTo>
                  <a:pt x="1158" y="157"/>
                  <a:pt x="1158" y="156"/>
                  <a:pt x="1158" y="155"/>
                </a:cubicBezTo>
                <a:cubicBezTo>
                  <a:pt x="1159" y="154"/>
                  <a:pt x="1160" y="155"/>
                  <a:pt x="1161" y="156"/>
                </a:cubicBezTo>
                <a:cubicBezTo>
                  <a:pt x="1161" y="156"/>
                  <a:pt x="1162" y="156"/>
                  <a:pt x="1162" y="156"/>
                </a:cubicBezTo>
                <a:cubicBezTo>
                  <a:pt x="1162" y="155"/>
                  <a:pt x="1162" y="155"/>
                  <a:pt x="1163" y="155"/>
                </a:cubicBezTo>
                <a:cubicBezTo>
                  <a:pt x="1163" y="155"/>
                  <a:pt x="1163" y="154"/>
                  <a:pt x="1163" y="154"/>
                </a:cubicBezTo>
                <a:cubicBezTo>
                  <a:pt x="1163" y="153"/>
                  <a:pt x="1162" y="154"/>
                  <a:pt x="1163" y="153"/>
                </a:cubicBezTo>
                <a:cubicBezTo>
                  <a:pt x="1164" y="153"/>
                  <a:pt x="1164" y="152"/>
                  <a:pt x="1164" y="151"/>
                </a:cubicBezTo>
                <a:cubicBezTo>
                  <a:pt x="1164" y="151"/>
                  <a:pt x="1166" y="150"/>
                  <a:pt x="1166" y="150"/>
                </a:cubicBezTo>
                <a:cubicBezTo>
                  <a:pt x="1166" y="149"/>
                  <a:pt x="1166" y="149"/>
                  <a:pt x="1166" y="148"/>
                </a:cubicBezTo>
                <a:cubicBezTo>
                  <a:pt x="1166" y="148"/>
                  <a:pt x="1165" y="148"/>
                  <a:pt x="1165" y="148"/>
                </a:cubicBezTo>
                <a:cubicBezTo>
                  <a:pt x="1164" y="148"/>
                  <a:pt x="1165" y="147"/>
                  <a:pt x="1165" y="147"/>
                </a:cubicBezTo>
                <a:cubicBezTo>
                  <a:pt x="1165" y="146"/>
                  <a:pt x="1165" y="145"/>
                  <a:pt x="1166" y="145"/>
                </a:cubicBezTo>
                <a:cubicBezTo>
                  <a:pt x="1166" y="144"/>
                  <a:pt x="1166" y="144"/>
                  <a:pt x="1166" y="143"/>
                </a:cubicBezTo>
                <a:cubicBezTo>
                  <a:pt x="1166" y="143"/>
                  <a:pt x="1167" y="144"/>
                  <a:pt x="1167" y="143"/>
                </a:cubicBezTo>
                <a:cubicBezTo>
                  <a:pt x="1167" y="141"/>
                  <a:pt x="1165" y="141"/>
                  <a:pt x="1164" y="140"/>
                </a:cubicBezTo>
                <a:cubicBezTo>
                  <a:pt x="1164" y="140"/>
                  <a:pt x="1164" y="140"/>
                  <a:pt x="1164" y="139"/>
                </a:cubicBezTo>
                <a:cubicBezTo>
                  <a:pt x="1164" y="139"/>
                  <a:pt x="1163" y="139"/>
                  <a:pt x="1163" y="138"/>
                </a:cubicBezTo>
                <a:cubicBezTo>
                  <a:pt x="1163" y="138"/>
                  <a:pt x="1162" y="136"/>
                  <a:pt x="1162" y="136"/>
                </a:cubicBezTo>
                <a:cubicBezTo>
                  <a:pt x="1162" y="136"/>
                  <a:pt x="1162" y="135"/>
                  <a:pt x="1162" y="135"/>
                </a:cubicBezTo>
                <a:cubicBezTo>
                  <a:pt x="1162" y="134"/>
                  <a:pt x="1162" y="135"/>
                  <a:pt x="1162" y="134"/>
                </a:cubicBezTo>
                <a:cubicBezTo>
                  <a:pt x="1162" y="134"/>
                  <a:pt x="1161" y="132"/>
                  <a:pt x="1162" y="132"/>
                </a:cubicBezTo>
                <a:cubicBezTo>
                  <a:pt x="1162" y="132"/>
                  <a:pt x="1162" y="130"/>
                  <a:pt x="1163" y="130"/>
                </a:cubicBezTo>
                <a:cubicBezTo>
                  <a:pt x="1163" y="130"/>
                  <a:pt x="1163" y="129"/>
                  <a:pt x="1163" y="129"/>
                </a:cubicBezTo>
                <a:cubicBezTo>
                  <a:pt x="1164" y="129"/>
                  <a:pt x="1163" y="128"/>
                  <a:pt x="1163" y="127"/>
                </a:cubicBezTo>
                <a:cubicBezTo>
                  <a:pt x="1163" y="127"/>
                  <a:pt x="1163" y="127"/>
                  <a:pt x="1162" y="126"/>
                </a:cubicBezTo>
                <a:cubicBezTo>
                  <a:pt x="1162" y="126"/>
                  <a:pt x="1162" y="125"/>
                  <a:pt x="1162" y="125"/>
                </a:cubicBezTo>
                <a:cubicBezTo>
                  <a:pt x="1163" y="125"/>
                  <a:pt x="1163" y="124"/>
                  <a:pt x="1163" y="124"/>
                </a:cubicBezTo>
                <a:cubicBezTo>
                  <a:pt x="1162" y="124"/>
                  <a:pt x="1161" y="124"/>
                  <a:pt x="1161" y="123"/>
                </a:cubicBezTo>
                <a:cubicBezTo>
                  <a:pt x="1160" y="123"/>
                  <a:pt x="1160" y="123"/>
                  <a:pt x="1160" y="122"/>
                </a:cubicBezTo>
                <a:cubicBezTo>
                  <a:pt x="1160" y="122"/>
                  <a:pt x="1160" y="121"/>
                  <a:pt x="1159" y="121"/>
                </a:cubicBezTo>
                <a:cubicBezTo>
                  <a:pt x="1159" y="120"/>
                  <a:pt x="1159" y="119"/>
                  <a:pt x="1160" y="119"/>
                </a:cubicBezTo>
                <a:cubicBezTo>
                  <a:pt x="1160" y="118"/>
                  <a:pt x="1160" y="119"/>
                  <a:pt x="1160" y="118"/>
                </a:cubicBezTo>
                <a:cubicBezTo>
                  <a:pt x="1161" y="118"/>
                  <a:pt x="1161" y="117"/>
                  <a:pt x="1161" y="117"/>
                </a:cubicBezTo>
                <a:cubicBezTo>
                  <a:pt x="1162" y="117"/>
                  <a:pt x="1162" y="114"/>
                  <a:pt x="1163" y="114"/>
                </a:cubicBezTo>
                <a:cubicBezTo>
                  <a:pt x="1162" y="113"/>
                  <a:pt x="1162" y="112"/>
                  <a:pt x="1162" y="111"/>
                </a:cubicBezTo>
                <a:cubicBezTo>
                  <a:pt x="1163" y="111"/>
                  <a:pt x="1162" y="110"/>
                  <a:pt x="1163" y="110"/>
                </a:cubicBezTo>
                <a:cubicBezTo>
                  <a:pt x="1164" y="109"/>
                  <a:pt x="1163" y="109"/>
                  <a:pt x="1163" y="109"/>
                </a:cubicBezTo>
                <a:cubicBezTo>
                  <a:pt x="1163" y="108"/>
                  <a:pt x="1163" y="108"/>
                  <a:pt x="1163" y="107"/>
                </a:cubicBezTo>
                <a:cubicBezTo>
                  <a:pt x="1163" y="107"/>
                  <a:pt x="1163" y="107"/>
                  <a:pt x="1163" y="107"/>
                </a:cubicBezTo>
                <a:cubicBezTo>
                  <a:pt x="1163" y="106"/>
                  <a:pt x="1163" y="107"/>
                  <a:pt x="1163" y="106"/>
                </a:cubicBezTo>
                <a:cubicBezTo>
                  <a:pt x="1162" y="106"/>
                  <a:pt x="1162" y="105"/>
                  <a:pt x="1162" y="104"/>
                </a:cubicBezTo>
                <a:cubicBezTo>
                  <a:pt x="1161" y="104"/>
                  <a:pt x="1160" y="104"/>
                  <a:pt x="1160" y="103"/>
                </a:cubicBezTo>
                <a:cubicBezTo>
                  <a:pt x="1159" y="103"/>
                  <a:pt x="1159" y="103"/>
                  <a:pt x="1159" y="103"/>
                </a:cubicBezTo>
                <a:cubicBezTo>
                  <a:pt x="1158" y="103"/>
                  <a:pt x="1158" y="103"/>
                  <a:pt x="1157" y="103"/>
                </a:cubicBezTo>
                <a:cubicBezTo>
                  <a:pt x="1156" y="103"/>
                  <a:pt x="1155" y="103"/>
                  <a:pt x="1154" y="103"/>
                </a:cubicBezTo>
                <a:cubicBezTo>
                  <a:pt x="1153" y="103"/>
                  <a:pt x="1152" y="103"/>
                  <a:pt x="1151" y="103"/>
                </a:cubicBezTo>
                <a:cubicBezTo>
                  <a:pt x="1150" y="103"/>
                  <a:pt x="1150" y="103"/>
                  <a:pt x="1150" y="103"/>
                </a:cubicBezTo>
                <a:cubicBezTo>
                  <a:pt x="1151" y="104"/>
                  <a:pt x="1147" y="104"/>
                  <a:pt x="1147" y="105"/>
                </a:cubicBezTo>
                <a:cubicBezTo>
                  <a:pt x="1147" y="106"/>
                  <a:pt x="1147" y="105"/>
                  <a:pt x="1147" y="106"/>
                </a:cubicBezTo>
                <a:cubicBezTo>
                  <a:pt x="1147" y="106"/>
                  <a:pt x="1147" y="106"/>
                  <a:pt x="1147" y="106"/>
                </a:cubicBezTo>
                <a:cubicBezTo>
                  <a:pt x="1147" y="107"/>
                  <a:pt x="1147" y="106"/>
                  <a:pt x="1147" y="106"/>
                </a:cubicBezTo>
                <a:cubicBezTo>
                  <a:pt x="1146" y="107"/>
                  <a:pt x="1146" y="107"/>
                  <a:pt x="1146" y="108"/>
                </a:cubicBezTo>
                <a:cubicBezTo>
                  <a:pt x="1146" y="108"/>
                  <a:pt x="1146" y="108"/>
                  <a:pt x="1146" y="108"/>
                </a:cubicBezTo>
                <a:cubicBezTo>
                  <a:pt x="1146" y="108"/>
                  <a:pt x="1146" y="109"/>
                  <a:pt x="1146" y="109"/>
                </a:cubicBezTo>
                <a:cubicBezTo>
                  <a:pt x="1146" y="109"/>
                  <a:pt x="1146" y="109"/>
                  <a:pt x="1145" y="109"/>
                </a:cubicBezTo>
                <a:cubicBezTo>
                  <a:pt x="1145" y="109"/>
                  <a:pt x="1146" y="109"/>
                  <a:pt x="1145" y="109"/>
                </a:cubicBezTo>
                <a:cubicBezTo>
                  <a:pt x="1145" y="110"/>
                  <a:pt x="1145" y="109"/>
                  <a:pt x="1145" y="110"/>
                </a:cubicBezTo>
                <a:cubicBezTo>
                  <a:pt x="1145" y="111"/>
                  <a:pt x="1144" y="110"/>
                  <a:pt x="1144" y="111"/>
                </a:cubicBezTo>
                <a:cubicBezTo>
                  <a:pt x="1144" y="112"/>
                  <a:pt x="1142" y="113"/>
                  <a:pt x="1142" y="113"/>
                </a:cubicBezTo>
                <a:cubicBezTo>
                  <a:pt x="1141" y="114"/>
                  <a:pt x="1140" y="116"/>
                  <a:pt x="1140" y="116"/>
                </a:cubicBezTo>
                <a:cubicBezTo>
                  <a:pt x="1140" y="116"/>
                  <a:pt x="1140" y="117"/>
                  <a:pt x="1139" y="117"/>
                </a:cubicBezTo>
                <a:cubicBezTo>
                  <a:pt x="1139" y="117"/>
                  <a:pt x="1139" y="117"/>
                  <a:pt x="1138" y="117"/>
                </a:cubicBezTo>
                <a:cubicBezTo>
                  <a:pt x="1136" y="117"/>
                  <a:pt x="1136" y="119"/>
                  <a:pt x="1137" y="121"/>
                </a:cubicBezTo>
                <a:cubicBezTo>
                  <a:pt x="1136" y="120"/>
                  <a:pt x="1136" y="121"/>
                  <a:pt x="1136" y="121"/>
                </a:cubicBezTo>
                <a:cubicBezTo>
                  <a:pt x="1136" y="122"/>
                  <a:pt x="1137" y="122"/>
                  <a:pt x="1137" y="122"/>
                </a:cubicBezTo>
                <a:cubicBezTo>
                  <a:pt x="1137" y="123"/>
                  <a:pt x="1137" y="123"/>
                  <a:pt x="1137" y="123"/>
                </a:cubicBezTo>
                <a:cubicBezTo>
                  <a:pt x="1137" y="123"/>
                  <a:pt x="1137" y="123"/>
                  <a:pt x="1137" y="123"/>
                </a:cubicBezTo>
                <a:cubicBezTo>
                  <a:pt x="1137" y="124"/>
                  <a:pt x="1138" y="124"/>
                  <a:pt x="1138" y="125"/>
                </a:cubicBezTo>
                <a:cubicBezTo>
                  <a:pt x="1138" y="125"/>
                  <a:pt x="1137" y="126"/>
                  <a:pt x="1137" y="127"/>
                </a:cubicBezTo>
                <a:cubicBezTo>
                  <a:pt x="1138" y="127"/>
                  <a:pt x="1138" y="127"/>
                  <a:pt x="1138" y="128"/>
                </a:cubicBezTo>
                <a:cubicBezTo>
                  <a:pt x="1138" y="128"/>
                  <a:pt x="1138" y="129"/>
                  <a:pt x="1137" y="129"/>
                </a:cubicBezTo>
                <a:cubicBezTo>
                  <a:pt x="1137" y="129"/>
                  <a:pt x="1136" y="129"/>
                  <a:pt x="1136" y="129"/>
                </a:cubicBezTo>
                <a:cubicBezTo>
                  <a:pt x="1136" y="130"/>
                  <a:pt x="1136" y="132"/>
                  <a:pt x="1136" y="133"/>
                </a:cubicBezTo>
                <a:cubicBezTo>
                  <a:pt x="1137" y="133"/>
                  <a:pt x="1137" y="133"/>
                  <a:pt x="1138" y="133"/>
                </a:cubicBezTo>
                <a:cubicBezTo>
                  <a:pt x="1139" y="134"/>
                  <a:pt x="1140" y="134"/>
                  <a:pt x="1140" y="134"/>
                </a:cubicBezTo>
                <a:cubicBezTo>
                  <a:pt x="1140" y="134"/>
                  <a:pt x="1140" y="134"/>
                  <a:pt x="1140" y="134"/>
                </a:cubicBezTo>
                <a:cubicBezTo>
                  <a:pt x="1141" y="134"/>
                  <a:pt x="1141" y="134"/>
                  <a:pt x="1141" y="134"/>
                </a:cubicBezTo>
                <a:cubicBezTo>
                  <a:pt x="1141" y="135"/>
                  <a:pt x="1140" y="136"/>
                  <a:pt x="1140" y="137"/>
                </a:cubicBezTo>
                <a:cubicBezTo>
                  <a:pt x="1140" y="137"/>
                  <a:pt x="1140" y="138"/>
                  <a:pt x="1140" y="138"/>
                </a:cubicBezTo>
                <a:cubicBezTo>
                  <a:pt x="1141" y="139"/>
                  <a:pt x="1141" y="139"/>
                  <a:pt x="1141" y="139"/>
                </a:cubicBezTo>
                <a:cubicBezTo>
                  <a:pt x="1141" y="141"/>
                  <a:pt x="1142" y="140"/>
                  <a:pt x="1143" y="140"/>
                </a:cubicBezTo>
                <a:cubicBezTo>
                  <a:pt x="1143" y="141"/>
                  <a:pt x="1142" y="142"/>
                  <a:pt x="1142" y="144"/>
                </a:cubicBezTo>
                <a:cubicBezTo>
                  <a:pt x="1142" y="144"/>
                  <a:pt x="1141" y="144"/>
                  <a:pt x="1141" y="145"/>
                </a:cubicBezTo>
                <a:cubicBezTo>
                  <a:pt x="1141" y="145"/>
                  <a:pt x="1141" y="145"/>
                  <a:pt x="1141" y="145"/>
                </a:cubicBezTo>
                <a:cubicBezTo>
                  <a:pt x="1141" y="146"/>
                  <a:pt x="1141" y="146"/>
                  <a:pt x="1140" y="146"/>
                </a:cubicBezTo>
                <a:cubicBezTo>
                  <a:pt x="1139" y="146"/>
                  <a:pt x="1139" y="146"/>
                  <a:pt x="1139" y="145"/>
                </a:cubicBezTo>
                <a:cubicBezTo>
                  <a:pt x="1139" y="144"/>
                  <a:pt x="1139" y="144"/>
                  <a:pt x="1138" y="144"/>
                </a:cubicBezTo>
                <a:cubicBezTo>
                  <a:pt x="1137" y="144"/>
                  <a:pt x="1137" y="144"/>
                  <a:pt x="1137" y="143"/>
                </a:cubicBezTo>
                <a:cubicBezTo>
                  <a:pt x="1137" y="143"/>
                  <a:pt x="1136" y="142"/>
                  <a:pt x="1136" y="142"/>
                </a:cubicBezTo>
                <a:cubicBezTo>
                  <a:pt x="1135" y="141"/>
                  <a:pt x="1136" y="142"/>
                  <a:pt x="1135" y="141"/>
                </a:cubicBezTo>
                <a:cubicBezTo>
                  <a:pt x="1135" y="140"/>
                  <a:pt x="1134" y="140"/>
                  <a:pt x="1134" y="140"/>
                </a:cubicBezTo>
                <a:cubicBezTo>
                  <a:pt x="1134" y="139"/>
                  <a:pt x="1133" y="140"/>
                  <a:pt x="1133" y="139"/>
                </a:cubicBezTo>
                <a:cubicBezTo>
                  <a:pt x="1133" y="139"/>
                  <a:pt x="1132" y="139"/>
                  <a:pt x="1132" y="139"/>
                </a:cubicBezTo>
                <a:cubicBezTo>
                  <a:pt x="1131" y="139"/>
                  <a:pt x="1130" y="139"/>
                  <a:pt x="1130" y="138"/>
                </a:cubicBezTo>
                <a:cubicBezTo>
                  <a:pt x="1130" y="138"/>
                  <a:pt x="1130" y="138"/>
                  <a:pt x="1131" y="137"/>
                </a:cubicBezTo>
                <a:cubicBezTo>
                  <a:pt x="1129" y="137"/>
                  <a:pt x="1128" y="136"/>
                  <a:pt x="1127" y="136"/>
                </a:cubicBezTo>
                <a:cubicBezTo>
                  <a:pt x="1126" y="137"/>
                  <a:pt x="1125" y="140"/>
                  <a:pt x="1125" y="137"/>
                </a:cubicBezTo>
                <a:cubicBezTo>
                  <a:pt x="1125" y="137"/>
                  <a:pt x="1125" y="137"/>
                  <a:pt x="1125" y="136"/>
                </a:cubicBezTo>
                <a:cubicBezTo>
                  <a:pt x="1125" y="136"/>
                  <a:pt x="1126" y="134"/>
                  <a:pt x="1125" y="134"/>
                </a:cubicBezTo>
                <a:cubicBezTo>
                  <a:pt x="1124" y="134"/>
                  <a:pt x="1124" y="134"/>
                  <a:pt x="1123" y="134"/>
                </a:cubicBezTo>
                <a:cubicBezTo>
                  <a:pt x="1122" y="134"/>
                  <a:pt x="1121" y="134"/>
                  <a:pt x="1120" y="134"/>
                </a:cubicBezTo>
                <a:cubicBezTo>
                  <a:pt x="1119" y="134"/>
                  <a:pt x="1119" y="133"/>
                  <a:pt x="1119" y="132"/>
                </a:cubicBezTo>
                <a:cubicBezTo>
                  <a:pt x="1119" y="132"/>
                  <a:pt x="1119" y="133"/>
                  <a:pt x="1118" y="133"/>
                </a:cubicBezTo>
                <a:cubicBezTo>
                  <a:pt x="1118" y="132"/>
                  <a:pt x="1118" y="132"/>
                  <a:pt x="1118" y="132"/>
                </a:cubicBezTo>
                <a:cubicBezTo>
                  <a:pt x="1118" y="131"/>
                  <a:pt x="1117" y="132"/>
                  <a:pt x="1117" y="131"/>
                </a:cubicBezTo>
                <a:cubicBezTo>
                  <a:pt x="1117" y="131"/>
                  <a:pt x="1115" y="131"/>
                  <a:pt x="1115" y="132"/>
                </a:cubicBezTo>
                <a:cubicBezTo>
                  <a:pt x="1115" y="132"/>
                  <a:pt x="1114" y="132"/>
                  <a:pt x="1114" y="133"/>
                </a:cubicBezTo>
                <a:cubicBezTo>
                  <a:pt x="1113" y="133"/>
                  <a:pt x="1113" y="133"/>
                  <a:pt x="1112" y="132"/>
                </a:cubicBezTo>
                <a:cubicBezTo>
                  <a:pt x="1110" y="132"/>
                  <a:pt x="1109" y="132"/>
                  <a:pt x="1108" y="132"/>
                </a:cubicBezTo>
                <a:cubicBezTo>
                  <a:pt x="1107" y="132"/>
                  <a:pt x="1107" y="133"/>
                  <a:pt x="1107" y="133"/>
                </a:cubicBezTo>
                <a:cubicBezTo>
                  <a:pt x="1107" y="134"/>
                  <a:pt x="1106" y="133"/>
                  <a:pt x="1105" y="133"/>
                </a:cubicBezTo>
                <a:cubicBezTo>
                  <a:pt x="1105" y="133"/>
                  <a:pt x="1105" y="134"/>
                  <a:pt x="1104" y="134"/>
                </a:cubicBezTo>
                <a:cubicBezTo>
                  <a:pt x="1105" y="135"/>
                  <a:pt x="1106" y="136"/>
                  <a:pt x="1106" y="137"/>
                </a:cubicBezTo>
                <a:cubicBezTo>
                  <a:pt x="1106" y="138"/>
                  <a:pt x="1107" y="139"/>
                  <a:pt x="1107" y="140"/>
                </a:cubicBezTo>
                <a:cubicBezTo>
                  <a:pt x="1107" y="141"/>
                  <a:pt x="1107" y="141"/>
                  <a:pt x="1106" y="141"/>
                </a:cubicBezTo>
                <a:cubicBezTo>
                  <a:pt x="1106" y="141"/>
                  <a:pt x="1106" y="142"/>
                  <a:pt x="1106" y="142"/>
                </a:cubicBezTo>
                <a:cubicBezTo>
                  <a:pt x="1106" y="143"/>
                  <a:pt x="1105" y="143"/>
                  <a:pt x="1104" y="143"/>
                </a:cubicBezTo>
                <a:cubicBezTo>
                  <a:pt x="1104" y="143"/>
                  <a:pt x="1103" y="143"/>
                  <a:pt x="1103" y="142"/>
                </a:cubicBezTo>
                <a:cubicBezTo>
                  <a:pt x="1103" y="142"/>
                  <a:pt x="1102" y="142"/>
                  <a:pt x="1102" y="142"/>
                </a:cubicBezTo>
                <a:cubicBezTo>
                  <a:pt x="1102" y="143"/>
                  <a:pt x="1100" y="142"/>
                  <a:pt x="1101" y="144"/>
                </a:cubicBezTo>
                <a:cubicBezTo>
                  <a:pt x="1101" y="145"/>
                  <a:pt x="1101" y="145"/>
                  <a:pt x="1100" y="146"/>
                </a:cubicBezTo>
                <a:cubicBezTo>
                  <a:pt x="1100" y="145"/>
                  <a:pt x="1099" y="145"/>
                  <a:pt x="1099" y="145"/>
                </a:cubicBezTo>
                <a:cubicBezTo>
                  <a:pt x="1099" y="144"/>
                  <a:pt x="1098" y="144"/>
                  <a:pt x="1098" y="143"/>
                </a:cubicBezTo>
                <a:cubicBezTo>
                  <a:pt x="1098" y="143"/>
                  <a:pt x="1098" y="142"/>
                  <a:pt x="1098" y="142"/>
                </a:cubicBezTo>
                <a:cubicBezTo>
                  <a:pt x="1097" y="141"/>
                  <a:pt x="1098" y="141"/>
                  <a:pt x="1098" y="140"/>
                </a:cubicBezTo>
                <a:cubicBezTo>
                  <a:pt x="1096" y="140"/>
                  <a:pt x="1095" y="140"/>
                  <a:pt x="1093" y="141"/>
                </a:cubicBezTo>
                <a:cubicBezTo>
                  <a:pt x="1092" y="141"/>
                  <a:pt x="1092" y="141"/>
                  <a:pt x="1091" y="142"/>
                </a:cubicBezTo>
                <a:cubicBezTo>
                  <a:pt x="1091" y="143"/>
                  <a:pt x="1090" y="143"/>
                  <a:pt x="1089" y="143"/>
                </a:cubicBezTo>
                <a:cubicBezTo>
                  <a:pt x="1088" y="142"/>
                  <a:pt x="1088" y="141"/>
                  <a:pt x="1087" y="141"/>
                </a:cubicBezTo>
                <a:cubicBezTo>
                  <a:pt x="1086" y="141"/>
                  <a:pt x="1085" y="141"/>
                  <a:pt x="1083" y="141"/>
                </a:cubicBezTo>
                <a:cubicBezTo>
                  <a:pt x="1082" y="142"/>
                  <a:pt x="1080" y="143"/>
                  <a:pt x="1078" y="143"/>
                </a:cubicBezTo>
                <a:cubicBezTo>
                  <a:pt x="1078" y="144"/>
                  <a:pt x="1079" y="144"/>
                  <a:pt x="1079" y="145"/>
                </a:cubicBezTo>
                <a:cubicBezTo>
                  <a:pt x="1079" y="145"/>
                  <a:pt x="1079" y="145"/>
                  <a:pt x="1078" y="145"/>
                </a:cubicBezTo>
                <a:cubicBezTo>
                  <a:pt x="1078" y="145"/>
                  <a:pt x="1077" y="145"/>
                  <a:pt x="1077" y="144"/>
                </a:cubicBezTo>
                <a:cubicBezTo>
                  <a:pt x="1076" y="144"/>
                  <a:pt x="1075" y="145"/>
                  <a:pt x="1074" y="145"/>
                </a:cubicBezTo>
                <a:cubicBezTo>
                  <a:pt x="1074" y="146"/>
                  <a:pt x="1073" y="145"/>
                  <a:pt x="1073" y="145"/>
                </a:cubicBezTo>
                <a:cubicBezTo>
                  <a:pt x="1072" y="145"/>
                  <a:pt x="1071" y="145"/>
                  <a:pt x="1070" y="145"/>
                </a:cubicBezTo>
                <a:cubicBezTo>
                  <a:pt x="1070" y="143"/>
                  <a:pt x="1071" y="144"/>
                  <a:pt x="1073" y="144"/>
                </a:cubicBezTo>
                <a:cubicBezTo>
                  <a:pt x="1073" y="144"/>
                  <a:pt x="1073" y="144"/>
                  <a:pt x="1073" y="144"/>
                </a:cubicBezTo>
                <a:cubicBezTo>
                  <a:pt x="1073" y="142"/>
                  <a:pt x="1072" y="142"/>
                  <a:pt x="1072" y="141"/>
                </a:cubicBezTo>
                <a:cubicBezTo>
                  <a:pt x="1072" y="140"/>
                  <a:pt x="1071" y="141"/>
                  <a:pt x="1070" y="141"/>
                </a:cubicBezTo>
                <a:cubicBezTo>
                  <a:pt x="1070" y="140"/>
                  <a:pt x="1071" y="139"/>
                  <a:pt x="1071" y="139"/>
                </a:cubicBezTo>
                <a:cubicBezTo>
                  <a:pt x="1070" y="139"/>
                  <a:pt x="1069" y="139"/>
                  <a:pt x="1069" y="139"/>
                </a:cubicBezTo>
                <a:cubicBezTo>
                  <a:pt x="1068" y="140"/>
                  <a:pt x="1070" y="140"/>
                  <a:pt x="1068" y="140"/>
                </a:cubicBezTo>
                <a:cubicBezTo>
                  <a:pt x="1068" y="140"/>
                  <a:pt x="1068" y="140"/>
                  <a:pt x="1068" y="141"/>
                </a:cubicBezTo>
                <a:cubicBezTo>
                  <a:pt x="1067" y="141"/>
                  <a:pt x="1067" y="141"/>
                  <a:pt x="1066" y="141"/>
                </a:cubicBezTo>
                <a:cubicBezTo>
                  <a:pt x="1065" y="141"/>
                  <a:pt x="1066" y="142"/>
                  <a:pt x="1066" y="143"/>
                </a:cubicBezTo>
                <a:cubicBezTo>
                  <a:pt x="1066" y="143"/>
                  <a:pt x="1066" y="144"/>
                  <a:pt x="1065" y="144"/>
                </a:cubicBezTo>
                <a:cubicBezTo>
                  <a:pt x="1065" y="144"/>
                  <a:pt x="1065" y="143"/>
                  <a:pt x="1065" y="142"/>
                </a:cubicBezTo>
                <a:cubicBezTo>
                  <a:pt x="1064" y="142"/>
                  <a:pt x="1063" y="142"/>
                  <a:pt x="1062" y="143"/>
                </a:cubicBezTo>
                <a:cubicBezTo>
                  <a:pt x="1061" y="143"/>
                  <a:pt x="1061" y="144"/>
                  <a:pt x="1060" y="144"/>
                </a:cubicBezTo>
                <a:cubicBezTo>
                  <a:pt x="1059" y="144"/>
                  <a:pt x="1059" y="144"/>
                  <a:pt x="1058" y="144"/>
                </a:cubicBezTo>
                <a:cubicBezTo>
                  <a:pt x="1059" y="144"/>
                  <a:pt x="1057" y="144"/>
                  <a:pt x="1058" y="144"/>
                </a:cubicBezTo>
                <a:cubicBezTo>
                  <a:pt x="1057" y="145"/>
                  <a:pt x="1056" y="145"/>
                  <a:pt x="1055" y="145"/>
                </a:cubicBezTo>
                <a:cubicBezTo>
                  <a:pt x="1055" y="145"/>
                  <a:pt x="1055" y="146"/>
                  <a:pt x="1055" y="146"/>
                </a:cubicBezTo>
                <a:cubicBezTo>
                  <a:pt x="1054" y="146"/>
                  <a:pt x="1054" y="146"/>
                  <a:pt x="1054" y="146"/>
                </a:cubicBezTo>
                <a:cubicBezTo>
                  <a:pt x="1053" y="147"/>
                  <a:pt x="1052" y="147"/>
                  <a:pt x="1051" y="147"/>
                </a:cubicBezTo>
                <a:cubicBezTo>
                  <a:pt x="1050" y="148"/>
                  <a:pt x="1049" y="148"/>
                  <a:pt x="1048" y="148"/>
                </a:cubicBezTo>
                <a:cubicBezTo>
                  <a:pt x="1048" y="148"/>
                  <a:pt x="1048" y="148"/>
                  <a:pt x="1048" y="149"/>
                </a:cubicBezTo>
                <a:cubicBezTo>
                  <a:pt x="1048" y="149"/>
                  <a:pt x="1047" y="149"/>
                  <a:pt x="1047" y="150"/>
                </a:cubicBezTo>
                <a:cubicBezTo>
                  <a:pt x="1047" y="149"/>
                  <a:pt x="1047" y="149"/>
                  <a:pt x="1046" y="149"/>
                </a:cubicBezTo>
                <a:cubicBezTo>
                  <a:pt x="1046" y="150"/>
                  <a:pt x="1045" y="150"/>
                  <a:pt x="1044" y="150"/>
                </a:cubicBezTo>
                <a:cubicBezTo>
                  <a:pt x="1044" y="152"/>
                  <a:pt x="1043" y="153"/>
                  <a:pt x="1043" y="155"/>
                </a:cubicBezTo>
                <a:cubicBezTo>
                  <a:pt x="1043" y="155"/>
                  <a:pt x="1043" y="156"/>
                  <a:pt x="1043" y="157"/>
                </a:cubicBezTo>
                <a:cubicBezTo>
                  <a:pt x="1043" y="157"/>
                  <a:pt x="1042" y="157"/>
                  <a:pt x="1041" y="156"/>
                </a:cubicBezTo>
                <a:cubicBezTo>
                  <a:pt x="1041" y="157"/>
                  <a:pt x="1041" y="158"/>
                  <a:pt x="1040" y="158"/>
                </a:cubicBezTo>
                <a:cubicBezTo>
                  <a:pt x="1040" y="158"/>
                  <a:pt x="1039" y="158"/>
                  <a:pt x="1039" y="158"/>
                </a:cubicBezTo>
                <a:cubicBezTo>
                  <a:pt x="1039" y="158"/>
                  <a:pt x="1039" y="158"/>
                  <a:pt x="1039" y="158"/>
                </a:cubicBezTo>
                <a:cubicBezTo>
                  <a:pt x="1038" y="158"/>
                  <a:pt x="1038" y="158"/>
                  <a:pt x="1037" y="158"/>
                </a:cubicBezTo>
                <a:cubicBezTo>
                  <a:pt x="1036" y="158"/>
                  <a:pt x="1036" y="159"/>
                  <a:pt x="1036" y="159"/>
                </a:cubicBezTo>
                <a:cubicBezTo>
                  <a:pt x="1035" y="159"/>
                  <a:pt x="1035" y="159"/>
                  <a:pt x="1034" y="158"/>
                </a:cubicBezTo>
                <a:cubicBezTo>
                  <a:pt x="1034" y="157"/>
                  <a:pt x="1034" y="156"/>
                  <a:pt x="1034" y="155"/>
                </a:cubicBezTo>
                <a:cubicBezTo>
                  <a:pt x="1033" y="155"/>
                  <a:pt x="1033" y="155"/>
                  <a:pt x="1033" y="154"/>
                </a:cubicBezTo>
                <a:cubicBezTo>
                  <a:pt x="1033" y="153"/>
                  <a:pt x="1033" y="153"/>
                  <a:pt x="1033" y="153"/>
                </a:cubicBezTo>
                <a:cubicBezTo>
                  <a:pt x="1034" y="152"/>
                  <a:pt x="1034" y="152"/>
                  <a:pt x="1034" y="151"/>
                </a:cubicBezTo>
                <a:cubicBezTo>
                  <a:pt x="1034" y="150"/>
                  <a:pt x="1036" y="151"/>
                  <a:pt x="1036" y="151"/>
                </a:cubicBezTo>
                <a:cubicBezTo>
                  <a:pt x="1036" y="150"/>
                  <a:pt x="1039" y="150"/>
                  <a:pt x="1040" y="150"/>
                </a:cubicBezTo>
                <a:cubicBezTo>
                  <a:pt x="1040" y="149"/>
                  <a:pt x="1039" y="149"/>
                  <a:pt x="1039" y="148"/>
                </a:cubicBezTo>
                <a:cubicBezTo>
                  <a:pt x="1039" y="148"/>
                  <a:pt x="1039" y="148"/>
                  <a:pt x="1039" y="148"/>
                </a:cubicBezTo>
                <a:cubicBezTo>
                  <a:pt x="1039" y="148"/>
                  <a:pt x="1039" y="147"/>
                  <a:pt x="1039" y="147"/>
                </a:cubicBezTo>
                <a:cubicBezTo>
                  <a:pt x="1038" y="146"/>
                  <a:pt x="1037" y="146"/>
                  <a:pt x="1037" y="145"/>
                </a:cubicBezTo>
                <a:cubicBezTo>
                  <a:pt x="1037" y="143"/>
                  <a:pt x="1035" y="142"/>
                  <a:pt x="1035" y="142"/>
                </a:cubicBezTo>
                <a:cubicBezTo>
                  <a:pt x="1033" y="142"/>
                  <a:pt x="1032" y="141"/>
                  <a:pt x="1030" y="141"/>
                </a:cubicBezTo>
                <a:cubicBezTo>
                  <a:pt x="1030" y="141"/>
                  <a:pt x="1029" y="141"/>
                  <a:pt x="1029" y="141"/>
                </a:cubicBezTo>
                <a:cubicBezTo>
                  <a:pt x="1029" y="140"/>
                  <a:pt x="1028" y="141"/>
                  <a:pt x="1027" y="140"/>
                </a:cubicBezTo>
                <a:cubicBezTo>
                  <a:pt x="1027" y="140"/>
                  <a:pt x="1026" y="139"/>
                  <a:pt x="1025" y="139"/>
                </a:cubicBezTo>
                <a:cubicBezTo>
                  <a:pt x="1025" y="140"/>
                  <a:pt x="1026" y="142"/>
                  <a:pt x="1027" y="142"/>
                </a:cubicBezTo>
                <a:cubicBezTo>
                  <a:pt x="1028" y="143"/>
                  <a:pt x="1027" y="143"/>
                  <a:pt x="1028" y="143"/>
                </a:cubicBezTo>
                <a:cubicBezTo>
                  <a:pt x="1028" y="143"/>
                  <a:pt x="1028" y="143"/>
                  <a:pt x="1028" y="143"/>
                </a:cubicBezTo>
                <a:cubicBezTo>
                  <a:pt x="1028" y="144"/>
                  <a:pt x="1028" y="144"/>
                  <a:pt x="1028" y="145"/>
                </a:cubicBezTo>
                <a:cubicBezTo>
                  <a:pt x="1028" y="145"/>
                  <a:pt x="1028" y="145"/>
                  <a:pt x="1028" y="145"/>
                </a:cubicBezTo>
                <a:cubicBezTo>
                  <a:pt x="1028" y="145"/>
                  <a:pt x="1028" y="146"/>
                  <a:pt x="1027" y="146"/>
                </a:cubicBezTo>
                <a:cubicBezTo>
                  <a:pt x="1027" y="146"/>
                  <a:pt x="1027" y="147"/>
                  <a:pt x="1027" y="147"/>
                </a:cubicBezTo>
                <a:cubicBezTo>
                  <a:pt x="1027" y="148"/>
                  <a:pt x="1027" y="148"/>
                  <a:pt x="1026" y="148"/>
                </a:cubicBezTo>
                <a:cubicBezTo>
                  <a:pt x="1026" y="148"/>
                  <a:pt x="1026" y="148"/>
                  <a:pt x="1026" y="149"/>
                </a:cubicBezTo>
                <a:cubicBezTo>
                  <a:pt x="1025" y="149"/>
                  <a:pt x="1026" y="149"/>
                  <a:pt x="1026" y="150"/>
                </a:cubicBezTo>
                <a:cubicBezTo>
                  <a:pt x="1025" y="150"/>
                  <a:pt x="1025" y="150"/>
                  <a:pt x="1025" y="151"/>
                </a:cubicBezTo>
                <a:cubicBezTo>
                  <a:pt x="1025" y="151"/>
                  <a:pt x="1024" y="152"/>
                  <a:pt x="1025" y="152"/>
                </a:cubicBezTo>
                <a:cubicBezTo>
                  <a:pt x="1026" y="152"/>
                  <a:pt x="1026" y="153"/>
                  <a:pt x="1027" y="153"/>
                </a:cubicBezTo>
                <a:cubicBezTo>
                  <a:pt x="1027" y="154"/>
                  <a:pt x="1027" y="154"/>
                  <a:pt x="1027" y="154"/>
                </a:cubicBezTo>
                <a:cubicBezTo>
                  <a:pt x="1027" y="154"/>
                  <a:pt x="1027" y="154"/>
                  <a:pt x="1027" y="154"/>
                </a:cubicBezTo>
                <a:cubicBezTo>
                  <a:pt x="1027" y="156"/>
                  <a:pt x="1026" y="156"/>
                  <a:pt x="1025" y="156"/>
                </a:cubicBezTo>
                <a:cubicBezTo>
                  <a:pt x="1025" y="157"/>
                  <a:pt x="1025" y="158"/>
                  <a:pt x="1025" y="158"/>
                </a:cubicBezTo>
                <a:cubicBezTo>
                  <a:pt x="1025" y="158"/>
                  <a:pt x="1024" y="158"/>
                  <a:pt x="1024" y="158"/>
                </a:cubicBezTo>
                <a:cubicBezTo>
                  <a:pt x="1024" y="159"/>
                  <a:pt x="1024" y="159"/>
                  <a:pt x="1024" y="159"/>
                </a:cubicBezTo>
                <a:cubicBezTo>
                  <a:pt x="1024" y="160"/>
                  <a:pt x="1023" y="162"/>
                  <a:pt x="1024" y="162"/>
                </a:cubicBezTo>
                <a:cubicBezTo>
                  <a:pt x="1023" y="162"/>
                  <a:pt x="1022" y="162"/>
                  <a:pt x="1021" y="162"/>
                </a:cubicBezTo>
                <a:cubicBezTo>
                  <a:pt x="1022" y="162"/>
                  <a:pt x="1022" y="161"/>
                  <a:pt x="1022" y="161"/>
                </a:cubicBezTo>
                <a:cubicBezTo>
                  <a:pt x="1022" y="161"/>
                  <a:pt x="1022" y="161"/>
                  <a:pt x="1021" y="160"/>
                </a:cubicBezTo>
                <a:cubicBezTo>
                  <a:pt x="1021" y="160"/>
                  <a:pt x="1021" y="160"/>
                  <a:pt x="1021" y="160"/>
                </a:cubicBezTo>
                <a:cubicBezTo>
                  <a:pt x="1020" y="160"/>
                  <a:pt x="1020" y="159"/>
                  <a:pt x="1019" y="159"/>
                </a:cubicBezTo>
                <a:cubicBezTo>
                  <a:pt x="1018" y="159"/>
                  <a:pt x="1018" y="159"/>
                  <a:pt x="1018" y="158"/>
                </a:cubicBezTo>
                <a:cubicBezTo>
                  <a:pt x="1017" y="158"/>
                  <a:pt x="1017" y="158"/>
                  <a:pt x="1016" y="158"/>
                </a:cubicBezTo>
                <a:cubicBezTo>
                  <a:pt x="1016" y="158"/>
                  <a:pt x="1016" y="159"/>
                  <a:pt x="1015" y="159"/>
                </a:cubicBezTo>
                <a:cubicBezTo>
                  <a:pt x="1014" y="159"/>
                  <a:pt x="1014" y="160"/>
                  <a:pt x="1013" y="160"/>
                </a:cubicBezTo>
                <a:cubicBezTo>
                  <a:pt x="1012" y="160"/>
                  <a:pt x="1011" y="160"/>
                  <a:pt x="1011" y="162"/>
                </a:cubicBezTo>
                <a:cubicBezTo>
                  <a:pt x="1011" y="162"/>
                  <a:pt x="1009" y="164"/>
                  <a:pt x="1008" y="164"/>
                </a:cubicBezTo>
                <a:cubicBezTo>
                  <a:pt x="1008" y="164"/>
                  <a:pt x="1008" y="164"/>
                  <a:pt x="1007" y="164"/>
                </a:cubicBezTo>
                <a:cubicBezTo>
                  <a:pt x="1007" y="165"/>
                  <a:pt x="1007" y="166"/>
                  <a:pt x="1007" y="167"/>
                </a:cubicBezTo>
                <a:cubicBezTo>
                  <a:pt x="1008" y="167"/>
                  <a:pt x="1008" y="168"/>
                  <a:pt x="1009" y="168"/>
                </a:cubicBezTo>
                <a:cubicBezTo>
                  <a:pt x="1009" y="168"/>
                  <a:pt x="1009" y="169"/>
                  <a:pt x="1009" y="169"/>
                </a:cubicBezTo>
                <a:cubicBezTo>
                  <a:pt x="1009" y="169"/>
                  <a:pt x="1010" y="169"/>
                  <a:pt x="1010" y="169"/>
                </a:cubicBezTo>
                <a:cubicBezTo>
                  <a:pt x="1011" y="171"/>
                  <a:pt x="1011" y="171"/>
                  <a:pt x="1011" y="172"/>
                </a:cubicBezTo>
                <a:cubicBezTo>
                  <a:pt x="1010" y="172"/>
                  <a:pt x="1010" y="172"/>
                  <a:pt x="1009" y="172"/>
                </a:cubicBezTo>
                <a:cubicBezTo>
                  <a:pt x="1009" y="172"/>
                  <a:pt x="1009" y="172"/>
                  <a:pt x="1009" y="172"/>
                </a:cubicBezTo>
                <a:cubicBezTo>
                  <a:pt x="1008" y="172"/>
                  <a:pt x="1007" y="172"/>
                  <a:pt x="1006" y="172"/>
                </a:cubicBezTo>
                <a:cubicBezTo>
                  <a:pt x="1006" y="172"/>
                  <a:pt x="1007" y="171"/>
                  <a:pt x="1006" y="171"/>
                </a:cubicBezTo>
                <a:cubicBezTo>
                  <a:pt x="1006" y="171"/>
                  <a:pt x="1005" y="171"/>
                  <a:pt x="1005" y="171"/>
                </a:cubicBezTo>
                <a:cubicBezTo>
                  <a:pt x="1005" y="171"/>
                  <a:pt x="1005" y="171"/>
                  <a:pt x="1005" y="171"/>
                </a:cubicBezTo>
                <a:cubicBezTo>
                  <a:pt x="1004" y="171"/>
                  <a:pt x="1003" y="171"/>
                  <a:pt x="1003" y="170"/>
                </a:cubicBezTo>
                <a:cubicBezTo>
                  <a:pt x="1003" y="170"/>
                  <a:pt x="1002" y="170"/>
                  <a:pt x="1002" y="171"/>
                </a:cubicBezTo>
                <a:cubicBezTo>
                  <a:pt x="1002" y="171"/>
                  <a:pt x="1002" y="172"/>
                  <a:pt x="1001" y="171"/>
                </a:cubicBezTo>
                <a:cubicBezTo>
                  <a:pt x="1001" y="171"/>
                  <a:pt x="1003" y="170"/>
                  <a:pt x="1003" y="169"/>
                </a:cubicBezTo>
                <a:cubicBezTo>
                  <a:pt x="1002" y="169"/>
                  <a:pt x="1002" y="169"/>
                  <a:pt x="1000" y="168"/>
                </a:cubicBezTo>
                <a:cubicBezTo>
                  <a:pt x="1000" y="168"/>
                  <a:pt x="1000" y="168"/>
                  <a:pt x="999" y="167"/>
                </a:cubicBezTo>
                <a:cubicBezTo>
                  <a:pt x="998" y="167"/>
                  <a:pt x="997" y="166"/>
                  <a:pt x="997" y="166"/>
                </a:cubicBezTo>
                <a:cubicBezTo>
                  <a:pt x="996" y="167"/>
                  <a:pt x="996" y="168"/>
                  <a:pt x="997" y="169"/>
                </a:cubicBezTo>
                <a:cubicBezTo>
                  <a:pt x="996" y="169"/>
                  <a:pt x="996" y="169"/>
                  <a:pt x="995" y="170"/>
                </a:cubicBezTo>
                <a:cubicBezTo>
                  <a:pt x="995" y="170"/>
                  <a:pt x="995" y="171"/>
                  <a:pt x="996" y="171"/>
                </a:cubicBezTo>
                <a:cubicBezTo>
                  <a:pt x="996" y="171"/>
                  <a:pt x="996" y="172"/>
                  <a:pt x="996" y="172"/>
                </a:cubicBezTo>
                <a:cubicBezTo>
                  <a:pt x="997" y="173"/>
                  <a:pt x="998" y="174"/>
                  <a:pt x="999" y="174"/>
                </a:cubicBezTo>
                <a:cubicBezTo>
                  <a:pt x="1000" y="174"/>
                  <a:pt x="1000" y="175"/>
                  <a:pt x="1000" y="176"/>
                </a:cubicBezTo>
                <a:cubicBezTo>
                  <a:pt x="1000" y="177"/>
                  <a:pt x="1000" y="177"/>
                  <a:pt x="1000" y="177"/>
                </a:cubicBezTo>
                <a:cubicBezTo>
                  <a:pt x="1000" y="178"/>
                  <a:pt x="999" y="178"/>
                  <a:pt x="999" y="178"/>
                </a:cubicBezTo>
                <a:cubicBezTo>
                  <a:pt x="1000" y="178"/>
                  <a:pt x="1000" y="179"/>
                  <a:pt x="1000" y="179"/>
                </a:cubicBezTo>
                <a:cubicBezTo>
                  <a:pt x="1000" y="179"/>
                  <a:pt x="998" y="179"/>
                  <a:pt x="998" y="179"/>
                </a:cubicBezTo>
                <a:cubicBezTo>
                  <a:pt x="997" y="180"/>
                  <a:pt x="999" y="180"/>
                  <a:pt x="997" y="180"/>
                </a:cubicBezTo>
                <a:cubicBezTo>
                  <a:pt x="997" y="180"/>
                  <a:pt x="997" y="180"/>
                  <a:pt x="997" y="180"/>
                </a:cubicBezTo>
                <a:cubicBezTo>
                  <a:pt x="997" y="179"/>
                  <a:pt x="995" y="179"/>
                  <a:pt x="995" y="179"/>
                </a:cubicBezTo>
                <a:cubicBezTo>
                  <a:pt x="994" y="178"/>
                  <a:pt x="992" y="178"/>
                  <a:pt x="991" y="179"/>
                </a:cubicBezTo>
                <a:cubicBezTo>
                  <a:pt x="990" y="178"/>
                  <a:pt x="990" y="177"/>
                  <a:pt x="990" y="177"/>
                </a:cubicBezTo>
                <a:cubicBezTo>
                  <a:pt x="990" y="176"/>
                  <a:pt x="990" y="176"/>
                  <a:pt x="989" y="175"/>
                </a:cubicBezTo>
                <a:cubicBezTo>
                  <a:pt x="989" y="175"/>
                  <a:pt x="988" y="175"/>
                  <a:pt x="988" y="176"/>
                </a:cubicBezTo>
                <a:cubicBezTo>
                  <a:pt x="987" y="176"/>
                  <a:pt x="986" y="176"/>
                  <a:pt x="986" y="174"/>
                </a:cubicBezTo>
                <a:cubicBezTo>
                  <a:pt x="986" y="174"/>
                  <a:pt x="986" y="173"/>
                  <a:pt x="986" y="172"/>
                </a:cubicBezTo>
                <a:cubicBezTo>
                  <a:pt x="986" y="172"/>
                  <a:pt x="986" y="172"/>
                  <a:pt x="986" y="172"/>
                </a:cubicBezTo>
                <a:cubicBezTo>
                  <a:pt x="985" y="172"/>
                  <a:pt x="986" y="171"/>
                  <a:pt x="986" y="171"/>
                </a:cubicBezTo>
                <a:cubicBezTo>
                  <a:pt x="986" y="170"/>
                  <a:pt x="986" y="169"/>
                  <a:pt x="986" y="169"/>
                </a:cubicBezTo>
                <a:cubicBezTo>
                  <a:pt x="985" y="169"/>
                  <a:pt x="985" y="169"/>
                  <a:pt x="985" y="168"/>
                </a:cubicBezTo>
                <a:cubicBezTo>
                  <a:pt x="985" y="168"/>
                  <a:pt x="985" y="167"/>
                  <a:pt x="984" y="167"/>
                </a:cubicBezTo>
                <a:cubicBezTo>
                  <a:pt x="985" y="167"/>
                  <a:pt x="984" y="165"/>
                  <a:pt x="985" y="165"/>
                </a:cubicBezTo>
                <a:cubicBezTo>
                  <a:pt x="986" y="165"/>
                  <a:pt x="985" y="163"/>
                  <a:pt x="985" y="163"/>
                </a:cubicBezTo>
                <a:cubicBezTo>
                  <a:pt x="984" y="163"/>
                  <a:pt x="984" y="163"/>
                  <a:pt x="984" y="163"/>
                </a:cubicBezTo>
                <a:cubicBezTo>
                  <a:pt x="983" y="162"/>
                  <a:pt x="983" y="162"/>
                  <a:pt x="983" y="162"/>
                </a:cubicBezTo>
                <a:cubicBezTo>
                  <a:pt x="983" y="161"/>
                  <a:pt x="981" y="162"/>
                  <a:pt x="981" y="162"/>
                </a:cubicBezTo>
                <a:cubicBezTo>
                  <a:pt x="980" y="162"/>
                  <a:pt x="981" y="161"/>
                  <a:pt x="980" y="161"/>
                </a:cubicBezTo>
                <a:cubicBezTo>
                  <a:pt x="980" y="161"/>
                  <a:pt x="980" y="161"/>
                  <a:pt x="980" y="161"/>
                </a:cubicBezTo>
                <a:cubicBezTo>
                  <a:pt x="979" y="161"/>
                  <a:pt x="980" y="161"/>
                  <a:pt x="980" y="161"/>
                </a:cubicBezTo>
                <a:cubicBezTo>
                  <a:pt x="979" y="161"/>
                  <a:pt x="978" y="161"/>
                  <a:pt x="977" y="160"/>
                </a:cubicBezTo>
                <a:cubicBezTo>
                  <a:pt x="977" y="160"/>
                  <a:pt x="976" y="160"/>
                  <a:pt x="975" y="160"/>
                </a:cubicBezTo>
                <a:cubicBezTo>
                  <a:pt x="975" y="160"/>
                  <a:pt x="975" y="160"/>
                  <a:pt x="975" y="160"/>
                </a:cubicBezTo>
                <a:cubicBezTo>
                  <a:pt x="976" y="160"/>
                  <a:pt x="976" y="160"/>
                  <a:pt x="977" y="160"/>
                </a:cubicBezTo>
                <a:cubicBezTo>
                  <a:pt x="977" y="160"/>
                  <a:pt x="977" y="159"/>
                  <a:pt x="977" y="159"/>
                </a:cubicBezTo>
                <a:cubicBezTo>
                  <a:pt x="977" y="159"/>
                  <a:pt x="977" y="158"/>
                  <a:pt x="977" y="159"/>
                </a:cubicBezTo>
                <a:cubicBezTo>
                  <a:pt x="976" y="159"/>
                  <a:pt x="975" y="158"/>
                  <a:pt x="975" y="158"/>
                </a:cubicBezTo>
                <a:cubicBezTo>
                  <a:pt x="974" y="158"/>
                  <a:pt x="974" y="157"/>
                  <a:pt x="974" y="157"/>
                </a:cubicBezTo>
                <a:cubicBezTo>
                  <a:pt x="975" y="157"/>
                  <a:pt x="975" y="157"/>
                  <a:pt x="976" y="156"/>
                </a:cubicBezTo>
                <a:cubicBezTo>
                  <a:pt x="974" y="155"/>
                  <a:pt x="974" y="155"/>
                  <a:pt x="973" y="156"/>
                </a:cubicBezTo>
                <a:cubicBezTo>
                  <a:pt x="973" y="156"/>
                  <a:pt x="973" y="156"/>
                  <a:pt x="973" y="155"/>
                </a:cubicBezTo>
                <a:cubicBezTo>
                  <a:pt x="973" y="155"/>
                  <a:pt x="972" y="155"/>
                  <a:pt x="972" y="155"/>
                </a:cubicBezTo>
                <a:cubicBezTo>
                  <a:pt x="972" y="155"/>
                  <a:pt x="973" y="155"/>
                  <a:pt x="973" y="154"/>
                </a:cubicBezTo>
                <a:cubicBezTo>
                  <a:pt x="973" y="154"/>
                  <a:pt x="973" y="154"/>
                  <a:pt x="972" y="154"/>
                </a:cubicBezTo>
                <a:cubicBezTo>
                  <a:pt x="972" y="154"/>
                  <a:pt x="972" y="153"/>
                  <a:pt x="972" y="153"/>
                </a:cubicBezTo>
                <a:cubicBezTo>
                  <a:pt x="972" y="153"/>
                  <a:pt x="972" y="152"/>
                  <a:pt x="971" y="152"/>
                </a:cubicBezTo>
                <a:cubicBezTo>
                  <a:pt x="971" y="152"/>
                  <a:pt x="970" y="152"/>
                  <a:pt x="971" y="151"/>
                </a:cubicBezTo>
                <a:cubicBezTo>
                  <a:pt x="971" y="151"/>
                  <a:pt x="971" y="151"/>
                  <a:pt x="972" y="151"/>
                </a:cubicBezTo>
                <a:cubicBezTo>
                  <a:pt x="972" y="152"/>
                  <a:pt x="972" y="151"/>
                  <a:pt x="973" y="152"/>
                </a:cubicBezTo>
                <a:cubicBezTo>
                  <a:pt x="974" y="152"/>
                  <a:pt x="973" y="153"/>
                  <a:pt x="974" y="153"/>
                </a:cubicBezTo>
                <a:cubicBezTo>
                  <a:pt x="974" y="153"/>
                  <a:pt x="974" y="153"/>
                  <a:pt x="975" y="153"/>
                </a:cubicBezTo>
                <a:cubicBezTo>
                  <a:pt x="975" y="153"/>
                  <a:pt x="975" y="154"/>
                  <a:pt x="975" y="154"/>
                </a:cubicBezTo>
                <a:cubicBezTo>
                  <a:pt x="976" y="154"/>
                  <a:pt x="976" y="154"/>
                  <a:pt x="976" y="154"/>
                </a:cubicBezTo>
                <a:cubicBezTo>
                  <a:pt x="977" y="154"/>
                  <a:pt x="978" y="154"/>
                  <a:pt x="978" y="154"/>
                </a:cubicBezTo>
                <a:cubicBezTo>
                  <a:pt x="978" y="155"/>
                  <a:pt x="981" y="155"/>
                  <a:pt x="981" y="156"/>
                </a:cubicBezTo>
                <a:cubicBezTo>
                  <a:pt x="981" y="157"/>
                  <a:pt x="981" y="157"/>
                  <a:pt x="982" y="157"/>
                </a:cubicBezTo>
                <a:cubicBezTo>
                  <a:pt x="982" y="157"/>
                  <a:pt x="982" y="156"/>
                  <a:pt x="982" y="155"/>
                </a:cubicBezTo>
                <a:cubicBezTo>
                  <a:pt x="982" y="155"/>
                  <a:pt x="982" y="155"/>
                  <a:pt x="982" y="155"/>
                </a:cubicBezTo>
                <a:cubicBezTo>
                  <a:pt x="983" y="155"/>
                  <a:pt x="983" y="156"/>
                  <a:pt x="983" y="157"/>
                </a:cubicBezTo>
                <a:cubicBezTo>
                  <a:pt x="983" y="158"/>
                  <a:pt x="985" y="158"/>
                  <a:pt x="986" y="158"/>
                </a:cubicBezTo>
                <a:cubicBezTo>
                  <a:pt x="987" y="158"/>
                  <a:pt x="987" y="159"/>
                  <a:pt x="988" y="159"/>
                </a:cubicBezTo>
                <a:cubicBezTo>
                  <a:pt x="989" y="159"/>
                  <a:pt x="989" y="159"/>
                  <a:pt x="990" y="159"/>
                </a:cubicBezTo>
                <a:cubicBezTo>
                  <a:pt x="990" y="159"/>
                  <a:pt x="990" y="159"/>
                  <a:pt x="990" y="159"/>
                </a:cubicBezTo>
                <a:cubicBezTo>
                  <a:pt x="991" y="159"/>
                  <a:pt x="991" y="159"/>
                  <a:pt x="992" y="160"/>
                </a:cubicBezTo>
                <a:cubicBezTo>
                  <a:pt x="993" y="160"/>
                  <a:pt x="992" y="160"/>
                  <a:pt x="993" y="160"/>
                </a:cubicBezTo>
                <a:cubicBezTo>
                  <a:pt x="993" y="160"/>
                  <a:pt x="994" y="160"/>
                  <a:pt x="995" y="160"/>
                </a:cubicBezTo>
                <a:cubicBezTo>
                  <a:pt x="996" y="160"/>
                  <a:pt x="996" y="160"/>
                  <a:pt x="997" y="160"/>
                </a:cubicBezTo>
                <a:cubicBezTo>
                  <a:pt x="997" y="160"/>
                  <a:pt x="997" y="160"/>
                  <a:pt x="997" y="160"/>
                </a:cubicBezTo>
                <a:cubicBezTo>
                  <a:pt x="997" y="161"/>
                  <a:pt x="998" y="161"/>
                  <a:pt x="998" y="161"/>
                </a:cubicBezTo>
                <a:cubicBezTo>
                  <a:pt x="1000" y="161"/>
                  <a:pt x="1002" y="161"/>
                  <a:pt x="1003" y="161"/>
                </a:cubicBezTo>
                <a:cubicBezTo>
                  <a:pt x="1003" y="161"/>
                  <a:pt x="1003" y="161"/>
                  <a:pt x="1004" y="161"/>
                </a:cubicBezTo>
                <a:cubicBezTo>
                  <a:pt x="1004" y="161"/>
                  <a:pt x="1004" y="160"/>
                  <a:pt x="1004" y="160"/>
                </a:cubicBezTo>
                <a:cubicBezTo>
                  <a:pt x="1004" y="160"/>
                  <a:pt x="1005" y="160"/>
                  <a:pt x="1005" y="160"/>
                </a:cubicBezTo>
                <a:cubicBezTo>
                  <a:pt x="1005" y="160"/>
                  <a:pt x="1005" y="160"/>
                  <a:pt x="1005" y="160"/>
                </a:cubicBezTo>
                <a:cubicBezTo>
                  <a:pt x="1005" y="160"/>
                  <a:pt x="1005" y="160"/>
                  <a:pt x="1006" y="160"/>
                </a:cubicBezTo>
                <a:cubicBezTo>
                  <a:pt x="1006" y="159"/>
                  <a:pt x="1006" y="159"/>
                  <a:pt x="1006" y="159"/>
                </a:cubicBezTo>
                <a:cubicBezTo>
                  <a:pt x="1007" y="159"/>
                  <a:pt x="1008" y="158"/>
                  <a:pt x="1008" y="158"/>
                </a:cubicBezTo>
                <a:cubicBezTo>
                  <a:pt x="1009" y="157"/>
                  <a:pt x="1009" y="157"/>
                  <a:pt x="1009" y="157"/>
                </a:cubicBezTo>
                <a:cubicBezTo>
                  <a:pt x="1009" y="157"/>
                  <a:pt x="1009" y="157"/>
                  <a:pt x="1009" y="156"/>
                </a:cubicBezTo>
                <a:cubicBezTo>
                  <a:pt x="1010" y="156"/>
                  <a:pt x="1010" y="156"/>
                  <a:pt x="1011" y="155"/>
                </a:cubicBezTo>
                <a:cubicBezTo>
                  <a:pt x="1012" y="155"/>
                  <a:pt x="1012" y="154"/>
                  <a:pt x="1012" y="154"/>
                </a:cubicBezTo>
                <a:cubicBezTo>
                  <a:pt x="1012" y="153"/>
                  <a:pt x="1012" y="152"/>
                  <a:pt x="1012" y="151"/>
                </a:cubicBezTo>
                <a:cubicBezTo>
                  <a:pt x="1012" y="151"/>
                  <a:pt x="1012" y="150"/>
                  <a:pt x="1012" y="150"/>
                </a:cubicBezTo>
                <a:cubicBezTo>
                  <a:pt x="1012" y="150"/>
                  <a:pt x="1011" y="149"/>
                  <a:pt x="1011" y="149"/>
                </a:cubicBezTo>
                <a:cubicBezTo>
                  <a:pt x="1011" y="149"/>
                  <a:pt x="1011" y="149"/>
                  <a:pt x="1011" y="149"/>
                </a:cubicBezTo>
                <a:cubicBezTo>
                  <a:pt x="1010" y="149"/>
                  <a:pt x="1010" y="148"/>
                  <a:pt x="1010" y="148"/>
                </a:cubicBezTo>
                <a:cubicBezTo>
                  <a:pt x="1009" y="148"/>
                  <a:pt x="1009" y="147"/>
                  <a:pt x="1009" y="147"/>
                </a:cubicBezTo>
                <a:cubicBezTo>
                  <a:pt x="1009" y="146"/>
                  <a:pt x="1005" y="147"/>
                  <a:pt x="1005" y="145"/>
                </a:cubicBezTo>
                <a:cubicBezTo>
                  <a:pt x="1005" y="145"/>
                  <a:pt x="1005" y="145"/>
                  <a:pt x="1005" y="144"/>
                </a:cubicBezTo>
                <a:cubicBezTo>
                  <a:pt x="1005" y="144"/>
                  <a:pt x="1005" y="144"/>
                  <a:pt x="1004" y="144"/>
                </a:cubicBezTo>
                <a:cubicBezTo>
                  <a:pt x="1004" y="144"/>
                  <a:pt x="1004" y="144"/>
                  <a:pt x="1003" y="144"/>
                </a:cubicBezTo>
                <a:cubicBezTo>
                  <a:pt x="1003" y="144"/>
                  <a:pt x="1003" y="143"/>
                  <a:pt x="1002" y="143"/>
                </a:cubicBezTo>
                <a:cubicBezTo>
                  <a:pt x="1001" y="142"/>
                  <a:pt x="1000" y="142"/>
                  <a:pt x="1000" y="142"/>
                </a:cubicBezTo>
                <a:cubicBezTo>
                  <a:pt x="999" y="141"/>
                  <a:pt x="999" y="141"/>
                  <a:pt x="999" y="141"/>
                </a:cubicBezTo>
                <a:cubicBezTo>
                  <a:pt x="999" y="140"/>
                  <a:pt x="998" y="141"/>
                  <a:pt x="998" y="141"/>
                </a:cubicBezTo>
                <a:cubicBezTo>
                  <a:pt x="998" y="140"/>
                  <a:pt x="998" y="140"/>
                  <a:pt x="998" y="140"/>
                </a:cubicBezTo>
                <a:cubicBezTo>
                  <a:pt x="997" y="140"/>
                  <a:pt x="997" y="140"/>
                  <a:pt x="996" y="140"/>
                </a:cubicBezTo>
                <a:cubicBezTo>
                  <a:pt x="995" y="139"/>
                  <a:pt x="995" y="139"/>
                  <a:pt x="993" y="138"/>
                </a:cubicBezTo>
                <a:cubicBezTo>
                  <a:pt x="992" y="138"/>
                  <a:pt x="990" y="137"/>
                  <a:pt x="988" y="136"/>
                </a:cubicBezTo>
                <a:cubicBezTo>
                  <a:pt x="988" y="137"/>
                  <a:pt x="988" y="136"/>
                  <a:pt x="987" y="136"/>
                </a:cubicBezTo>
                <a:cubicBezTo>
                  <a:pt x="987" y="136"/>
                  <a:pt x="986" y="135"/>
                  <a:pt x="986" y="135"/>
                </a:cubicBezTo>
                <a:cubicBezTo>
                  <a:pt x="985" y="135"/>
                  <a:pt x="985" y="135"/>
                  <a:pt x="984" y="135"/>
                </a:cubicBezTo>
                <a:cubicBezTo>
                  <a:pt x="984" y="135"/>
                  <a:pt x="984" y="135"/>
                  <a:pt x="983" y="135"/>
                </a:cubicBezTo>
                <a:cubicBezTo>
                  <a:pt x="983" y="134"/>
                  <a:pt x="982" y="134"/>
                  <a:pt x="982" y="134"/>
                </a:cubicBezTo>
                <a:cubicBezTo>
                  <a:pt x="981" y="134"/>
                  <a:pt x="981" y="134"/>
                  <a:pt x="980" y="133"/>
                </a:cubicBezTo>
                <a:cubicBezTo>
                  <a:pt x="979" y="133"/>
                  <a:pt x="978" y="133"/>
                  <a:pt x="977" y="133"/>
                </a:cubicBezTo>
                <a:cubicBezTo>
                  <a:pt x="977" y="133"/>
                  <a:pt x="978" y="132"/>
                  <a:pt x="977" y="132"/>
                </a:cubicBezTo>
                <a:cubicBezTo>
                  <a:pt x="977" y="132"/>
                  <a:pt x="977" y="132"/>
                  <a:pt x="977" y="133"/>
                </a:cubicBezTo>
                <a:cubicBezTo>
                  <a:pt x="976" y="133"/>
                  <a:pt x="976" y="132"/>
                  <a:pt x="975" y="132"/>
                </a:cubicBezTo>
                <a:cubicBezTo>
                  <a:pt x="975" y="132"/>
                  <a:pt x="974" y="132"/>
                  <a:pt x="973" y="133"/>
                </a:cubicBezTo>
                <a:cubicBezTo>
                  <a:pt x="974" y="131"/>
                  <a:pt x="971" y="133"/>
                  <a:pt x="971" y="131"/>
                </a:cubicBezTo>
                <a:cubicBezTo>
                  <a:pt x="971" y="131"/>
                  <a:pt x="972" y="131"/>
                  <a:pt x="972" y="131"/>
                </a:cubicBezTo>
                <a:cubicBezTo>
                  <a:pt x="973" y="131"/>
                  <a:pt x="973" y="130"/>
                  <a:pt x="974" y="130"/>
                </a:cubicBezTo>
                <a:cubicBezTo>
                  <a:pt x="974" y="129"/>
                  <a:pt x="973" y="129"/>
                  <a:pt x="973" y="129"/>
                </a:cubicBezTo>
                <a:cubicBezTo>
                  <a:pt x="971" y="129"/>
                  <a:pt x="971" y="128"/>
                  <a:pt x="970" y="128"/>
                </a:cubicBezTo>
                <a:cubicBezTo>
                  <a:pt x="970" y="128"/>
                  <a:pt x="969" y="128"/>
                  <a:pt x="970" y="129"/>
                </a:cubicBezTo>
                <a:cubicBezTo>
                  <a:pt x="969" y="129"/>
                  <a:pt x="968" y="128"/>
                  <a:pt x="968" y="129"/>
                </a:cubicBezTo>
                <a:cubicBezTo>
                  <a:pt x="968" y="129"/>
                  <a:pt x="968" y="129"/>
                  <a:pt x="967" y="129"/>
                </a:cubicBezTo>
                <a:cubicBezTo>
                  <a:pt x="967" y="129"/>
                  <a:pt x="967" y="129"/>
                  <a:pt x="967" y="129"/>
                </a:cubicBezTo>
                <a:cubicBezTo>
                  <a:pt x="966" y="129"/>
                  <a:pt x="966" y="129"/>
                  <a:pt x="965" y="129"/>
                </a:cubicBezTo>
                <a:cubicBezTo>
                  <a:pt x="964" y="129"/>
                  <a:pt x="963" y="127"/>
                  <a:pt x="962" y="129"/>
                </a:cubicBezTo>
                <a:cubicBezTo>
                  <a:pt x="962" y="129"/>
                  <a:pt x="962" y="129"/>
                  <a:pt x="961" y="128"/>
                </a:cubicBezTo>
                <a:cubicBezTo>
                  <a:pt x="961" y="129"/>
                  <a:pt x="961" y="129"/>
                  <a:pt x="961" y="129"/>
                </a:cubicBezTo>
                <a:cubicBezTo>
                  <a:pt x="961" y="130"/>
                  <a:pt x="960" y="130"/>
                  <a:pt x="959" y="130"/>
                </a:cubicBezTo>
                <a:cubicBezTo>
                  <a:pt x="959" y="129"/>
                  <a:pt x="958" y="128"/>
                  <a:pt x="958" y="127"/>
                </a:cubicBezTo>
                <a:cubicBezTo>
                  <a:pt x="958" y="127"/>
                  <a:pt x="959" y="127"/>
                  <a:pt x="959" y="128"/>
                </a:cubicBezTo>
                <a:cubicBezTo>
                  <a:pt x="959" y="128"/>
                  <a:pt x="960" y="128"/>
                  <a:pt x="960" y="128"/>
                </a:cubicBezTo>
                <a:cubicBezTo>
                  <a:pt x="960" y="127"/>
                  <a:pt x="961" y="127"/>
                  <a:pt x="962" y="127"/>
                </a:cubicBezTo>
                <a:cubicBezTo>
                  <a:pt x="962" y="125"/>
                  <a:pt x="964" y="126"/>
                  <a:pt x="965" y="126"/>
                </a:cubicBezTo>
                <a:cubicBezTo>
                  <a:pt x="965" y="125"/>
                  <a:pt x="965" y="125"/>
                  <a:pt x="965" y="124"/>
                </a:cubicBezTo>
                <a:cubicBezTo>
                  <a:pt x="965" y="124"/>
                  <a:pt x="964" y="124"/>
                  <a:pt x="964" y="124"/>
                </a:cubicBezTo>
                <a:cubicBezTo>
                  <a:pt x="964" y="123"/>
                  <a:pt x="964" y="123"/>
                  <a:pt x="963" y="123"/>
                </a:cubicBezTo>
                <a:cubicBezTo>
                  <a:pt x="963" y="123"/>
                  <a:pt x="962" y="123"/>
                  <a:pt x="961" y="123"/>
                </a:cubicBezTo>
                <a:cubicBezTo>
                  <a:pt x="962" y="123"/>
                  <a:pt x="962" y="122"/>
                  <a:pt x="962" y="122"/>
                </a:cubicBezTo>
                <a:cubicBezTo>
                  <a:pt x="962" y="121"/>
                  <a:pt x="962" y="121"/>
                  <a:pt x="961" y="121"/>
                </a:cubicBezTo>
                <a:cubicBezTo>
                  <a:pt x="961" y="121"/>
                  <a:pt x="961" y="122"/>
                  <a:pt x="960" y="122"/>
                </a:cubicBezTo>
                <a:cubicBezTo>
                  <a:pt x="960" y="122"/>
                  <a:pt x="960" y="121"/>
                  <a:pt x="960" y="121"/>
                </a:cubicBezTo>
                <a:cubicBezTo>
                  <a:pt x="959" y="121"/>
                  <a:pt x="959" y="121"/>
                  <a:pt x="958" y="120"/>
                </a:cubicBezTo>
                <a:cubicBezTo>
                  <a:pt x="958" y="119"/>
                  <a:pt x="957" y="119"/>
                  <a:pt x="957" y="119"/>
                </a:cubicBezTo>
                <a:cubicBezTo>
                  <a:pt x="956" y="119"/>
                  <a:pt x="956" y="120"/>
                  <a:pt x="956" y="120"/>
                </a:cubicBezTo>
                <a:cubicBezTo>
                  <a:pt x="955" y="121"/>
                  <a:pt x="956" y="121"/>
                  <a:pt x="956" y="122"/>
                </a:cubicBezTo>
                <a:cubicBezTo>
                  <a:pt x="956" y="123"/>
                  <a:pt x="955" y="123"/>
                  <a:pt x="955" y="124"/>
                </a:cubicBezTo>
                <a:cubicBezTo>
                  <a:pt x="954" y="124"/>
                  <a:pt x="954" y="123"/>
                  <a:pt x="954" y="122"/>
                </a:cubicBezTo>
                <a:cubicBezTo>
                  <a:pt x="955" y="122"/>
                  <a:pt x="955" y="121"/>
                  <a:pt x="955" y="121"/>
                </a:cubicBezTo>
                <a:cubicBezTo>
                  <a:pt x="954" y="121"/>
                  <a:pt x="954" y="121"/>
                  <a:pt x="953" y="122"/>
                </a:cubicBezTo>
                <a:cubicBezTo>
                  <a:pt x="953" y="121"/>
                  <a:pt x="952" y="120"/>
                  <a:pt x="953" y="120"/>
                </a:cubicBezTo>
                <a:cubicBezTo>
                  <a:pt x="954" y="119"/>
                  <a:pt x="955" y="119"/>
                  <a:pt x="955" y="118"/>
                </a:cubicBezTo>
                <a:cubicBezTo>
                  <a:pt x="955" y="118"/>
                  <a:pt x="954" y="119"/>
                  <a:pt x="954" y="118"/>
                </a:cubicBezTo>
                <a:cubicBezTo>
                  <a:pt x="954" y="118"/>
                  <a:pt x="954" y="117"/>
                  <a:pt x="954" y="117"/>
                </a:cubicBezTo>
                <a:cubicBezTo>
                  <a:pt x="954" y="117"/>
                  <a:pt x="953" y="118"/>
                  <a:pt x="952" y="117"/>
                </a:cubicBezTo>
                <a:cubicBezTo>
                  <a:pt x="952" y="117"/>
                  <a:pt x="952" y="116"/>
                  <a:pt x="952" y="116"/>
                </a:cubicBezTo>
                <a:cubicBezTo>
                  <a:pt x="951" y="116"/>
                  <a:pt x="951" y="116"/>
                  <a:pt x="950" y="116"/>
                </a:cubicBezTo>
                <a:cubicBezTo>
                  <a:pt x="950" y="117"/>
                  <a:pt x="951" y="118"/>
                  <a:pt x="950" y="118"/>
                </a:cubicBezTo>
                <a:cubicBezTo>
                  <a:pt x="950" y="118"/>
                  <a:pt x="950" y="118"/>
                  <a:pt x="950" y="118"/>
                </a:cubicBezTo>
                <a:cubicBezTo>
                  <a:pt x="950" y="118"/>
                  <a:pt x="949" y="118"/>
                  <a:pt x="949" y="118"/>
                </a:cubicBezTo>
                <a:cubicBezTo>
                  <a:pt x="949" y="119"/>
                  <a:pt x="949" y="120"/>
                  <a:pt x="950" y="121"/>
                </a:cubicBezTo>
                <a:cubicBezTo>
                  <a:pt x="948" y="121"/>
                  <a:pt x="948" y="121"/>
                  <a:pt x="948" y="123"/>
                </a:cubicBezTo>
                <a:cubicBezTo>
                  <a:pt x="948" y="124"/>
                  <a:pt x="946" y="124"/>
                  <a:pt x="946" y="124"/>
                </a:cubicBezTo>
                <a:cubicBezTo>
                  <a:pt x="945" y="125"/>
                  <a:pt x="946" y="126"/>
                  <a:pt x="945" y="126"/>
                </a:cubicBezTo>
                <a:cubicBezTo>
                  <a:pt x="945" y="125"/>
                  <a:pt x="945" y="124"/>
                  <a:pt x="945" y="123"/>
                </a:cubicBezTo>
                <a:cubicBezTo>
                  <a:pt x="945" y="123"/>
                  <a:pt x="945" y="123"/>
                  <a:pt x="945" y="122"/>
                </a:cubicBezTo>
                <a:cubicBezTo>
                  <a:pt x="945" y="122"/>
                  <a:pt x="945" y="122"/>
                  <a:pt x="946" y="121"/>
                </a:cubicBezTo>
                <a:cubicBezTo>
                  <a:pt x="946" y="121"/>
                  <a:pt x="946" y="120"/>
                  <a:pt x="946" y="121"/>
                </a:cubicBezTo>
                <a:cubicBezTo>
                  <a:pt x="946" y="120"/>
                  <a:pt x="946" y="119"/>
                  <a:pt x="946" y="119"/>
                </a:cubicBezTo>
                <a:cubicBezTo>
                  <a:pt x="946" y="119"/>
                  <a:pt x="945" y="119"/>
                  <a:pt x="945" y="119"/>
                </a:cubicBezTo>
                <a:cubicBezTo>
                  <a:pt x="945" y="121"/>
                  <a:pt x="945" y="120"/>
                  <a:pt x="945" y="120"/>
                </a:cubicBezTo>
                <a:cubicBezTo>
                  <a:pt x="944" y="121"/>
                  <a:pt x="944" y="122"/>
                  <a:pt x="943" y="122"/>
                </a:cubicBezTo>
                <a:cubicBezTo>
                  <a:pt x="943" y="122"/>
                  <a:pt x="942" y="124"/>
                  <a:pt x="942" y="124"/>
                </a:cubicBezTo>
                <a:cubicBezTo>
                  <a:pt x="942" y="125"/>
                  <a:pt x="942" y="125"/>
                  <a:pt x="941" y="125"/>
                </a:cubicBezTo>
                <a:cubicBezTo>
                  <a:pt x="940" y="125"/>
                  <a:pt x="940" y="127"/>
                  <a:pt x="940" y="127"/>
                </a:cubicBezTo>
                <a:cubicBezTo>
                  <a:pt x="940" y="128"/>
                  <a:pt x="939" y="128"/>
                  <a:pt x="939" y="129"/>
                </a:cubicBezTo>
                <a:cubicBezTo>
                  <a:pt x="939" y="129"/>
                  <a:pt x="938" y="129"/>
                  <a:pt x="938" y="129"/>
                </a:cubicBezTo>
                <a:cubicBezTo>
                  <a:pt x="938" y="128"/>
                  <a:pt x="938" y="128"/>
                  <a:pt x="938" y="127"/>
                </a:cubicBezTo>
                <a:cubicBezTo>
                  <a:pt x="939" y="126"/>
                  <a:pt x="938" y="125"/>
                  <a:pt x="939" y="124"/>
                </a:cubicBezTo>
                <a:cubicBezTo>
                  <a:pt x="940" y="124"/>
                  <a:pt x="940" y="124"/>
                  <a:pt x="941" y="124"/>
                </a:cubicBezTo>
                <a:cubicBezTo>
                  <a:pt x="941" y="123"/>
                  <a:pt x="941" y="122"/>
                  <a:pt x="941" y="122"/>
                </a:cubicBezTo>
                <a:cubicBezTo>
                  <a:pt x="941" y="121"/>
                  <a:pt x="941" y="122"/>
                  <a:pt x="941" y="121"/>
                </a:cubicBezTo>
                <a:cubicBezTo>
                  <a:pt x="940" y="121"/>
                  <a:pt x="940" y="122"/>
                  <a:pt x="939" y="122"/>
                </a:cubicBezTo>
                <a:cubicBezTo>
                  <a:pt x="939" y="121"/>
                  <a:pt x="940" y="121"/>
                  <a:pt x="939" y="121"/>
                </a:cubicBezTo>
                <a:cubicBezTo>
                  <a:pt x="938" y="121"/>
                  <a:pt x="939" y="121"/>
                  <a:pt x="939" y="121"/>
                </a:cubicBezTo>
                <a:cubicBezTo>
                  <a:pt x="938" y="121"/>
                  <a:pt x="938" y="121"/>
                  <a:pt x="937" y="121"/>
                </a:cubicBezTo>
                <a:cubicBezTo>
                  <a:pt x="937" y="120"/>
                  <a:pt x="936" y="120"/>
                  <a:pt x="935" y="119"/>
                </a:cubicBezTo>
                <a:cubicBezTo>
                  <a:pt x="935" y="120"/>
                  <a:pt x="935" y="122"/>
                  <a:pt x="935" y="122"/>
                </a:cubicBezTo>
                <a:cubicBezTo>
                  <a:pt x="935" y="123"/>
                  <a:pt x="936" y="124"/>
                  <a:pt x="935" y="124"/>
                </a:cubicBezTo>
                <a:cubicBezTo>
                  <a:pt x="934" y="124"/>
                  <a:pt x="934" y="123"/>
                  <a:pt x="934" y="122"/>
                </a:cubicBezTo>
                <a:cubicBezTo>
                  <a:pt x="934" y="121"/>
                  <a:pt x="933" y="122"/>
                  <a:pt x="932" y="122"/>
                </a:cubicBezTo>
                <a:cubicBezTo>
                  <a:pt x="932" y="122"/>
                  <a:pt x="932" y="122"/>
                  <a:pt x="932" y="123"/>
                </a:cubicBezTo>
                <a:cubicBezTo>
                  <a:pt x="932" y="123"/>
                  <a:pt x="932" y="123"/>
                  <a:pt x="932" y="124"/>
                </a:cubicBezTo>
                <a:cubicBezTo>
                  <a:pt x="931" y="124"/>
                  <a:pt x="931" y="124"/>
                  <a:pt x="930" y="124"/>
                </a:cubicBezTo>
                <a:cubicBezTo>
                  <a:pt x="930" y="125"/>
                  <a:pt x="930" y="125"/>
                  <a:pt x="930" y="125"/>
                </a:cubicBezTo>
                <a:cubicBezTo>
                  <a:pt x="929" y="126"/>
                  <a:pt x="928" y="125"/>
                  <a:pt x="928" y="126"/>
                </a:cubicBezTo>
                <a:cubicBezTo>
                  <a:pt x="928" y="126"/>
                  <a:pt x="928" y="127"/>
                  <a:pt x="928" y="127"/>
                </a:cubicBezTo>
                <a:cubicBezTo>
                  <a:pt x="927" y="127"/>
                  <a:pt x="928" y="127"/>
                  <a:pt x="928" y="127"/>
                </a:cubicBezTo>
                <a:cubicBezTo>
                  <a:pt x="927" y="127"/>
                  <a:pt x="927" y="127"/>
                  <a:pt x="927" y="127"/>
                </a:cubicBezTo>
                <a:cubicBezTo>
                  <a:pt x="927" y="127"/>
                  <a:pt x="927" y="127"/>
                  <a:pt x="926" y="127"/>
                </a:cubicBezTo>
                <a:cubicBezTo>
                  <a:pt x="925" y="126"/>
                  <a:pt x="924" y="125"/>
                  <a:pt x="924" y="124"/>
                </a:cubicBezTo>
                <a:cubicBezTo>
                  <a:pt x="924" y="124"/>
                  <a:pt x="923" y="124"/>
                  <a:pt x="923" y="125"/>
                </a:cubicBezTo>
                <a:cubicBezTo>
                  <a:pt x="922" y="124"/>
                  <a:pt x="922" y="124"/>
                  <a:pt x="921" y="123"/>
                </a:cubicBezTo>
                <a:cubicBezTo>
                  <a:pt x="920" y="125"/>
                  <a:pt x="920" y="124"/>
                  <a:pt x="919" y="124"/>
                </a:cubicBezTo>
                <a:cubicBezTo>
                  <a:pt x="919" y="125"/>
                  <a:pt x="919" y="126"/>
                  <a:pt x="919" y="126"/>
                </a:cubicBezTo>
                <a:cubicBezTo>
                  <a:pt x="920" y="126"/>
                  <a:pt x="920" y="125"/>
                  <a:pt x="921" y="126"/>
                </a:cubicBezTo>
                <a:cubicBezTo>
                  <a:pt x="922" y="127"/>
                  <a:pt x="922" y="128"/>
                  <a:pt x="922" y="129"/>
                </a:cubicBezTo>
                <a:cubicBezTo>
                  <a:pt x="921" y="128"/>
                  <a:pt x="920" y="127"/>
                  <a:pt x="918" y="127"/>
                </a:cubicBezTo>
                <a:cubicBezTo>
                  <a:pt x="918" y="127"/>
                  <a:pt x="918" y="127"/>
                  <a:pt x="918" y="127"/>
                </a:cubicBezTo>
                <a:cubicBezTo>
                  <a:pt x="918" y="128"/>
                  <a:pt x="919" y="128"/>
                  <a:pt x="919" y="128"/>
                </a:cubicBezTo>
                <a:cubicBezTo>
                  <a:pt x="918" y="130"/>
                  <a:pt x="918" y="130"/>
                  <a:pt x="917" y="129"/>
                </a:cubicBezTo>
                <a:cubicBezTo>
                  <a:pt x="917" y="129"/>
                  <a:pt x="917" y="128"/>
                  <a:pt x="917" y="127"/>
                </a:cubicBezTo>
                <a:cubicBezTo>
                  <a:pt x="917" y="127"/>
                  <a:pt x="916" y="128"/>
                  <a:pt x="916" y="128"/>
                </a:cubicBezTo>
                <a:cubicBezTo>
                  <a:pt x="917" y="130"/>
                  <a:pt x="915" y="129"/>
                  <a:pt x="915" y="131"/>
                </a:cubicBezTo>
                <a:cubicBezTo>
                  <a:pt x="914" y="130"/>
                  <a:pt x="915" y="129"/>
                  <a:pt x="915" y="129"/>
                </a:cubicBezTo>
                <a:cubicBezTo>
                  <a:pt x="915" y="128"/>
                  <a:pt x="915" y="128"/>
                  <a:pt x="914" y="127"/>
                </a:cubicBezTo>
                <a:cubicBezTo>
                  <a:pt x="914" y="129"/>
                  <a:pt x="913" y="128"/>
                  <a:pt x="913" y="129"/>
                </a:cubicBezTo>
                <a:cubicBezTo>
                  <a:pt x="913" y="129"/>
                  <a:pt x="913" y="129"/>
                  <a:pt x="913" y="130"/>
                </a:cubicBezTo>
                <a:cubicBezTo>
                  <a:pt x="912" y="130"/>
                  <a:pt x="911" y="131"/>
                  <a:pt x="911" y="131"/>
                </a:cubicBezTo>
                <a:cubicBezTo>
                  <a:pt x="910" y="130"/>
                  <a:pt x="910" y="130"/>
                  <a:pt x="910" y="129"/>
                </a:cubicBezTo>
                <a:cubicBezTo>
                  <a:pt x="910" y="129"/>
                  <a:pt x="910" y="129"/>
                  <a:pt x="910" y="129"/>
                </a:cubicBezTo>
                <a:cubicBezTo>
                  <a:pt x="910" y="129"/>
                  <a:pt x="909" y="129"/>
                  <a:pt x="909" y="129"/>
                </a:cubicBezTo>
                <a:cubicBezTo>
                  <a:pt x="909" y="130"/>
                  <a:pt x="909" y="130"/>
                  <a:pt x="908" y="130"/>
                </a:cubicBezTo>
                <a:cubicBezTo>
                  <a:pt x="908" y="131"/>
                  <a:pt x="908" y="131"/>
                  <a:pt x="908" y="132"/>
                </a:cubicBezTo>
                <a:cubicBezTo>
                  <a:pt x="908" y="132"/>
                  <a:pt x="909" y="132"/>
                  <a:pt x="909" y="132"/>
                </a:cubicBezTo>
                <a:cubicBezTo>
                  <a:pt x="909" y="133"/>
                  <a:pt x="909" y="134"/>
                  <a:pt x="909" y="135"/>
                </a:cubicBezTo>
                <a:cubicBezTo>
                  <a:pt x="909" y="135"/>
                  <a:pt x="909" y="134"/>
                  <a:pt x="909" y="134"/>
                </a:cubicBezTo>
                <a:cubicBezTo>
                  <a:pt x="909" y="133"/>
                  <a:pt x="909" y="134"/>
                  <a:pt x="908" y="133"/>
                </a:cubicBezTo>
                <a:cubicBezTo>
                  <a:pt x="908" y="133"/>
                  <a:pt x="907" y="132"/>
                  <a:pt x="906" y="132"/>
                </a:cubicBezTo>
                <a:cubicBezTo>
                  <a:pt x="907" y="133"/>
                  <a:pt x="907" y="133"/>
                  <a:pt x="908" y="134"/>
                </a:cubicBezTo>
                <a:cubicBezTo>
                  <a:pt x="907" y="134"/>
                  <a:pt x="907" y="134"/>
                  <a:pt x="907" y="135"/>
                </a:cubicBezTo>
                <a:cubicBezTo>
                  <a:pt x="906" y="134"/>
                  <a:pt x="905" y="135"/>
                  <a:pt x="905" y="134"/>
                </a:cubicBezTo>
                <a:cubicBezTo>
                  <a:pt x="905" y="134"/>
                  <a:pt x="905" y="133"/>
                  <a:pt x="905" y="133"/>
                </a:cubicBezTo>
                <a:cubicBezTo>
                  <a:pt x="904" y="133"/>
                  <a:pt x="904" y="134"/>
                  <a:pt x="904" y="135"/>
                </a:cubicBezTo>
                <a:cubicBezTo>
                  <a:pt x="904" y="136"/>
                  <a:pt x="905" y="136"/>
                  <a:pt x="903" y="136"/>
                </a:cubicBezTo>
                <a:cubicBezTo>
                  <a:pt x="903" y="136"/>
                  <a:pt x="902" y="138"/>
                  <a:pt x="902" y="138"/>
                </a:cubicBezTo>
                <a:cubicBezTo>
                  <a:pt x="902" y="139"/>
                  <a:pt x="902" y="139"/>
                  <a:pt x="902" y="140"/>
                </a:cubicBezTo>
                <a:cubicBezTo>
                  <a:pt x="902" y="140"/>
                  <a:pt x="902" y="140"/>
                  <a:pt x="902" y="140"/>
                </a:cubicBezTo>
                <a:cubicBezTo>
                  <a:pt x="902" y="140"/>
                  <a:pt x="902" y="141"/>
                  <a:pt x="902" y="142"/>
                </a:cubicBezTo>
                <a:cubicBezTo>
                  <a:pt x="901" y="142"/>
                  <a:pt x="900" y="142"/>
                  <a:pt x="900" y="142"/>
                </a:cubicBezTo>
                <a:cubicBezTo>
                  <a:pt x="900" y="143"/>
                  <a:pt x="899" y="143"/>
                  <a:pt x="898" y="143"/>
                </a:cubicBezTo>
                <a:cubicBezTo>
                  <a:pt x="898" y="143"/>
                  <a:pt x="898" y="143"/>
                  <a:pt x="897" y="144"/>
                </a:cubicBezTo>
                <a:cubicBezTo>
                  <a:pt x="897" y="144"/>
                  <a:pt x="897" y="143"/>
                  <a:pt x="897" y="144"/>
                </a:cubicBezTo>
                <a:cubicBezTo>
                  <a:pt x="897" y="145"/>
                  <a:pt x="898" y="145"/>
                  <a:pt x="898" y="145"/>
                </a:cubicBezTo>
                <a:cubicBezTo>
                  <a:pt x="899" y="145"/>
                  <a:pt x="900" y="145"/>
                  <a:pt x="900" y="144"/>
                </a:cubicBezTo>
                <a:cubicBezTo>
                  <a:pt x="901" y="143"/>
                  <a:pt x="901" y="144"/>
                  <a:pt x="902" y="144"/>
                </a:cubicBezTo>
                <a:cubicBezTo>
                  <a:pt x="901" y="146"/>
                  <a:pt x="900" y="145"/>
                  <a:pt x="899" y="145"/>
                </a:cubicBezTo>
                <a:cubicBezTo>
                  <a:pt x="898" y="146"/>
                  <a:pt x="898" y="148"/>
                  <a:pt x="898" y="149"/>
                </a:cubicBezTo>
                <a:cubicBezTo>
                  <a:pt x="898" y="149"/>
                  <a:pt x="897" y="146"/>
                  <a:pt x="896" y="146"/>
                </a:cubicBezTo>
                <a:cubicBezTo>
                  <a:pt x="895" y="146"/>
                  <a:pt x="894" y="146"/>
                  <a:pt x="894" y="147"/>
                </a:cubicBezTo>
                <a:cubicBezTo>
                  <a:pt x="894" y="147"/>
                  <a:pt x="894" y="147"/>
                  <a:pt x="895" y="147"/>
                </a:cubicBezTo>
                <a:cubicBezTo>
                  <a:pt x="895" y="147"/>
                  <a:pt x="896" y="147"/>
                  <a:pt x="896" y="148"/>
                </a:cubicBezTo>
                <a:cubicBezTo>
                  <a:pt x="895" y="149"/>
                  <a:pt x="894" y="147"/>
                  <a:pt x="894" y="149"/>
                </a:cubicBezTo>
                <a:cubicBezTo>
                  <a:pt x="895" y="149"/>
                  <a:pt x="896" y="149"/>
                  <a:pt x="896" y="149"/>
                </a:cubicBezTo>
                <a:cubicBezTo>
                  <a:pt x="896" y="149"/>
                  <a:pt x="896" y="150"/>
                  <a:pt x="896" y="151"/>
                </a:cubicBezTo>
                <a:cubicBezTo>
                  <a:pt x="896" y="151"/>
                  <a:pt x="897" y="150"/>
                  <a:pt x="897" y="151"/>
                </a:cubicBezTo>
                <a:cubicBezTo>
                  <a:pt x="897" y="152"/>
                  <a:pt x="896" y="152"/>
                  <a:pt x="896" y="152"/>
                </a:cubicBezTo>
                <a:cubicBezTo>
                  <a:pt x="895" y="152"/>
                  <a:pt x="894" y="152"/>
                  <a:pt x="894" y="152"/>
                </a:cubicBezTo>
                <a:cubicBezTo>
                  <a:pt x="893" y="152"/>
                  <a:pt x="893" y="153"/>
                  <a:pt x="893" y="153"/>
                </a:cubicBezTo>
                <a:cubicBezTo>
                  <a:pt x="893" y="154"/>
                  <a:pt x="893" y="154"/>
                  <a:pt x="894" y="154"/>
                </a:cubicBezTo>
                <a:cubicBezTo>
                  <a:pt x="893" y="155"/>
                  <a:pt x="893" y="154"/>
                  <a:pt x="892" y="155"/>
                </a:cubicBezTo>
                <a:cubicBezTo>
                  <a:pt x="891" y="155"/>
                  <a:pt x="891" y="156"/>
                  <a:pt x="891" y="156"/>
                </a:cubicBezTo>
                <a:cubicBezTo>
                  <a:pt x="890" y="156"/>
                  <a:pt x="890" y="156"/>
                  <a:pt x="890" y="156"/>
                </a:cubicBezTo>
                <a:cubicBezTo>
                  <a:pt x="890" y="157"/>
                  <a:pt x="889" y="156"/>
                  <a:pt x="888" y="156"/>
                </a:cubicBezTo>
                <a:cubicBezTo>
                  <a:pt x="888" y="156"/>
                  <a:pt x="888" y="158"/>
                  <a:pt x="888" y="158"/>
                </a:cubicBezTo>
                <a:cubicBezTo>
                  <a:pt x="889" y="158"/>
                  <a:pt x="888" y="158"/>
                  <a:pt x="887" y="158"/>
                </a:cubicBezTo>
                <a:cubicBezTo>
                  <a:pt x="887" y="158"/>
                  <a:pt x="887" y="159"/>
                  <a:pt x="887" y="159"/>
                </a:cubicBezTo>
                <a:cubicBezTo>
                  <a:pt x="886" y="159"/>
                  <a:pt x="886" y="159"/>
                  <a:pt x="885" y="159"/>
                </a:cubicBezTo>
                <a:cubicBezTo>
                  <a:pt x="885" y="159"/>
                  <a:pt x="885" y="160"/>
                  <a:pt x="885" y="160"/>
                </a:cubicBezTo>
                <a:cubicBezTo>
                  <a:pt x="885" y="161"/>
                  <a:pt x="886" y="160"/>
                  <a:pt x="886" y="160"/>
                </a:cubicBezTo>
                <a:cubicBezTo>
                  <a:pt x="886" y="162"/>
                  <a:pt x="885" y="160"/>
                  <a:pt x="885" y="161"/>
                </a:cubicBezTo>
                <a:cubicBezTo>
                  <a:pt x="884" y="162"/>
                  <a:pt x="885" y="162"/>
                  <a:pt x="885" y="162"/>
                </a:cubicBezTo>
                <a:cubicBezTo>
                  <a:pt x="885" y="163"/>
                  <a:pt x="885" y="163"/>
                  <a:pt x="885" y="164"/>
                </a:cubicBezTo>
                <a:cubicBezTo>
                  <a:pt x="884" y="164"/>
                  <a:pt x="884" y="165"/>
                  <a:pt x="883" y="165"/>
                </a:cubicBezTo>
                <a:cubicBezTo>
                  <a:pt x="883" y="165"/>
                  <a:pt x="883" y="165"/>
                  <a:pt x="882" y="165"/>
                </a:cubicBezTo>
                <a:cubicBezTo>
                  <a:pt x="881" y="165"/>
                  <a:pt x="881" y="165"/>
                  <a:pt x="881" y="166"/>
                </a:cubicBezTo>
                <a:cubicBezTo>
                  <a:pt x="881" y="167"/>
                  <a:pt x="879" y="167"/>
                  <a:pt x="879" y="167"/>
                </a:cubicBezTo>
                <a:cubicBezTo>
                  <a:pt x="878" y="168"/>
                  <a:pt x="878" y="168"/>
                  <a:pt x="878" y="169"/>
                </a:cubicBezTo>
                <a:cubicBezTo>
                  <a:pt x="879" y="170"/>
                  <a:pt x="878" y="170"/>
                  <a:pt x="878" y="171"/>
                </a:cubicBezTo>
                <a:cubicBezTo>
                  <a:pt x="877" y="171"/>
                  <a:pt x="876" y="170"/>
                  <a:pt x="876" y="170"/>
                </a:cubicBezTo>
                <a:cubicBezTo>
                  <a:pt x="875" y="170"/>
                  <a:pt x="875" y="170"/>
                  <a:pt x="874" y="171"/>
                </a:cubicBezTo>
                <a:cubicBezTo>
                  <a:pt x="874" y="171"/>
                  <a:pt x="875" y="172"/>
                  <a:pt x="874" y="172"/>
                </a:cubicBezTo>
                <a:cubicBezTo>
                  <a:pt x="873" y="172"/>
                  <a:pt x="873" y="172"/>
                  <a:pt x="873" y="173"/>
                </a:cubicBezTo>
                <a:cubicBezTo>
                  <a:pt x="872" y="173"/>
                  <a:pt x="872" y="173"/>
                  <a:pt x="871" y="173"/>
                </a:cubicBezTo>
                <a:cubicBezTo>
                  <a:pt x="871" y="173"/>
                  <a:pt x="871" y="173"/>
                  <a:pt x="871" y="174"/>
                </a:cubicBezTo>
                <a:cubicBezTo>
                  <a:pt x="871" y="175"/>
                  <a:pt x="870" y="175"/>
                  <a:pt x="869" y="176"/>
                </a:cubicBezTo>
                <a:cubicBezTo>
                  <a:pt x="869" y="176"/>
                  <a:pt x="868" y="178"/>
                  <a:pt x="867" y="178"/>
                </a:cubicBezTo>
                <a:cubicBezTo>
                  <a:pt x="867" y="178"/>
                  <a:pt x="866" y="178"/>
                  <a:pt x="866" y="179"/>
                </a:cubicBezTo>
                <a:cubicBezTo>
                  <a:pt x="866" y="179"/>
                  <a:pt x="867" y="179"/>
                  <a:pt x="867" y="179"/>
                </a:cubicBezTo>
                <a:cubicBezTo>
                  <a:pt x="867" y="180"/>
                  <a:pt x="866" y="179"/>
                  <a:pt x="866" y="180"/>
                </a:cubicBezTo>
                <a:cubicBezTo>
                  <a:pt x="867" y="181"/>
                  <a:pt x="868" y="180"/>
                  <a:pt x="868" y="180"/>
                </a:cubicBezTo>
                <a:cubicBezTo>
                  <a:pt x="869" y="180"/>
                  <a:pt x="869" y="179"/>
                  <a:pt x="869" y="179"/>
                </a:cubicBezTo>
                <a:cubicBezTo>
                  <a:pt x="870" y="179"/>
                  <a:pt x="869" y="180"/>
                  <a:pt x="870" y="179"/>
                </a:cubicBezTo>
                <a:cubicBezTo>
                  <a:pt x="870" y="179"/>
                  <a:pt x="871" y="178"/>
                  <a:pt x="871" y="178"/>
                </a:cubicBezTo>
                <a:cubicBezTo>
                  <a:pt x="871" y="178"/>
                  <a:pt x="871" y="178"/>
                  <a:pt x="871" y="178"/>
                </a:cubicBezTo>
                <a:cubicBezTo>
                  <a:pt x="872" y="178"/>
                  <a:pt x="872" y="177"/>
                  <a:pt x="873" y="177"/>
                </a:cubicBezTo>
                <a:cubicBezTo>
                  <a:pt x="873" y="178"/>
                  <a:pt x="872" y="178"/>
                  <a:pt x="872" y="179"/>
                </a:cubicBezTo>
                <a:cubicBezTo>
                  <a:pt x="872" y="179"/>
                  <a:pt x="870" y="180"/>
                  <a:pt x="870" y="180"/>
                </a:cubicBezTo>
                <a:cubicBezTo>
                  <a:pt x="869" y="180"/>
                  <a:pt x="869" y="181"/>
                  <a:pt x="869" y="182"/>
                </a:cubicBezTo>
                <a:cubicBezTo>
                  <a:pt x="869" y="183"/>
                  <a:pt x="868" y="182"/>
                  <a:pt x="867" y="182"/>
                </a:cubicBezTo>
                <a:cubicBezTo>
                  <a:pt x="865" y="182"/>
                  <a:pt x="865" y="182"/>
                  <a:pt x="865" y="181"/>
                </a:cubicBezTo>
                <a:cubicBezTo>
                  <a:pt x="865" y="180"/>
                  <a:pt x="865" y="180"/>
                  <a:pt x="864" y="180"/>
                </a:cubicBezTo>
                <a:cubicBezTo>
                  <a:pt x="864" y="180"/>
                  <a:pt x="865" y="179"/>
                  <a:pt x="864" y="179"/>
                </a:cubicBezTo>
                <a:cubicBezTo>
                  <a:pt x="864" y="180"/>
                  <a:pt x="863" y="180"/>
                  <a:pt x="863" y="181"/>
                </a:cubicBezTo>
                <a:cubicBezTo>
                  <a:pt x="863" y="181"/>
                  <a:pt x="860" y="180"/>
                  <a:pt x="860" y="180"/>
                </a:cubicBezTo>
                <a:cubicBezTo>
                  <a:pt x="860" y="181"/>
                  <a:pt x="860" y="182"/>
                  <a:pt x="861" y="182"/>
                </a:cubicBezTo>
                <a:cubicBezTo>
                  <a:pt x="860" y="183"/>
                  <a:pt x="859" y="183"/>
                  <a:pt x="858" y="184"/>
                </a:cubicBezTo>
                <a:cubicBezTo>
                  <a:pt x="858" y="184"/>
                  <a:pt x="858" y="185"/>
                  <a:pt x="859" y="185"/>
                </a:cubicBezTo>
                <a:cubicBezTo>
                  <a:pt x="860" y="185"/>
                  <a:pt x="860" y="185"/>
                  <a:pt x="860" y="186"/>
                </a:cubicBezTo>
                <a:cubicBezTo>
                  <a:pt x="859" y="185"/>
                  <a:pt x="858" y="184"/>
                  <a:pt x="857" y="184"/>
                </a:cubicBezTo>
                <a:cubicBezTo>
                  <a:pt x="857" y="185"/>
                  <a:pt x="857" y="185"/>
                  <a:pt x="857" y="186"/>
                </a:cubicBezTo>
                <a:cubicBezTo>
                  <a:pt x="856" y="185"/>
                  <a:pt x="856" y="185"/>
                  <a:pt x="855" y="185"/>
                </a:cubicBezTo>
                <a:cubicBezTo>
                  <a:pt x="854" y="186"/>
                  <a:pt x="853" y="185"/>
                  <a:pt x="852" y="185"/>
                </a:cubicBezTo>
                <a:cubicBezTo>
                  <a:pt x="852" y="186"/>
                  <a:pt x="852" y="187"/>
                  <a:pt x="853" y="187"/>
                </a:cubicBezTo>
                <a:cubicBezTo>
                  <a:pt x="853" y="187"/>
                  <a:pt x="854" y="187"/>
                  <a:pt x="854" y="187"/>
                </a:cubicBezTo>
                <a:cubicBezTo>
                  <a:pt x="854" y="188"/>
                  <a:pt x="854" y="188"/>
                  <a:pt x="853" y="188"/>
                </a:cubicBezTo>
                <a:cubicBezTo>
                  <a:pt x="853" y="189"/>
                  <a:pt x="853" y="189"/>
                  <a:pt x="852" y="189"/>
                </a:cubicBezTo>
                <a:cubicBezTo>
                  <a:pt x="852" y="189"/>
                  <a:pt x="852" y="189"/>
                  <a:pt x="852" y="190"/>
                </a:cubicBezTo>
                <a:cubicBezTo>
                  <a:pt x="852" y="189"/>
                  <a:pt x="851" y="189"/>
                  <a:pt x="850" y="189"/>
                </a:cubicBezTo>
                <a:cubicBezTo>
                  <a:pt x="849" y="189"/>
                  <a:pt x="849" y="189"/>
                  <a:pt x="849" y="190"/>
                </a:cubicBezTo>
                <a:cubicBezTo>
                  <a:pt x="849" y="190"/>
                  <a:pt x="848" y="191"/>
                  <a:pt x="849" y="191"/>
                </a:cubicBezTo>
                <a:cubicBezTo>
                  <a:pt x="849" y="191"/>
                  <a:pt x="850" y="191"/>
                  <a:pt x="851" y="191"/>
                </a:cubicBezTo>
                <a:cubicBezTo>
                  <a:pt x="851" y="191"/>
                  <a:pt x="851" y="192"/>
                  <a:pt x="852" y="192"/>
                </a:cubicBezTo>
                <a:cubicBezTo>
                  <a:pt x="853" y="193"/>
                  <a:pt x="852" y="192"/>
                  <a:pt x="852" y="193"/>
                </a:cubicBezTo>
                <a:cubicBezTo>
                  <a:pt x="852" y="193"/>
                  <a:pt x="852" y="194"/>
                  <a:pt x="851" y="194"/>
                </a:cubicBezTo>
                <a:cubicBezTo>
                  <a:pt x="851" y="193"/>
                  <a:pt x="851" y="192"/>
                  <a:pt x="851" y="192"/>
                </a:cubicBezTo>
                <a:cubicBezTo>
                  <a:pt x="850" y="192"/>
                  <a:pt x="850" y="192"/>
                  <a:pt x="849" y="193"/>
                </a:cubicBezTo>
                <a:cubicBezTo>
                  <a:pt x="848" y="191"/>
                  <a:pt x="848" y="192"/>
                  <a:pt x="848" y="193"/>
                </a:cubicBezTo>
                <a:cubicBezTo>
                  <a:pt x="848" y="193"/>
                  <a:pt x="846" y="194"/>
                  <a:pt x="846" y="192"/>
                </a:cubicBezTo>
                <a:cubicBezTo>
                  <a:pt x="846" y="193"/>
                  <a:pt x="844" y="193"/>
                  <a:pt x="844" y="193"/>
                </a:cubicBezTo>
                <a:cubicBezTo>
                  <a:pt x="844" y="194"/>
                  <a:pt x="844" y="194"/>
                  <a:pt x="843" y="193"/>
                </a:cubicBezTo>
                <a:cubicBezTo>
                  <a:pt x="843" y="193"/>
                  <a:pt x="843" y="194"/>
                  <a:pt x="843" y="195"/>
                </a:cubicBezTo>
                <a:cubicBezTo>
                  <a:pt x="844" y="195"/>
                  <a:pt x="847" y="195"/>
                  <a:pt x="848" y="196"/>
                </a:cubicBezTo>
                <a:cubicBezTo>
                  <a:pt x="847" y="196"/>
                  <a:pt x="841" y="196"/>
                  <a:pt x="841" y="196"/>
                </a:cubicBezTo>
                <a:cubicBezTo>
                  <a:pt x="841" y="197"/>
                  <a:pt x="841" y="197"/>
                  <a:pt x="841" y="198"/>
                </a:cubicBezTo>
                <a:cubicBezTo>
                  <a:pt x="842" y="198"/>
                  <a:pt x="842" y="198"/>
                  <a:pt x="841" y="198"/>
                </a:cubicBezTo>
                <a:cubicBezTo>
                  <a:pt x="841" y="198"/>
                  <a:pt x="841" y="199"/>
                  <a:pt x="841" y="200"/>
                </a:cubicBezTo>
                <a:cubicBezTo>
                  <a:pt x="842" y="200"/>
                  <a:pt x="843" y="199"/>
                  <a:pt x="844" y="199"/>
                </a:cubicBezTo>
                <a:cubicBezTo>
                  <a:pt x="844" y="199"/>
                  <a:pt x="844" y="200"/>
                  <a:pt x="845" y="200"/>
                </a:cubicBezTo>
                <a:cubicBezTo>
                  <a:pt x="845" y="200"/>
                  <a:pt x="845" y="200"/>
                  <a:pt x="845" y="200"/>
                </a:cubicBezTo>
                <a:cubicBezTo>
                  <a:pt x="846" y="200"/>
                  <a:pt x="846" y="200"/>
                  <a:pt x="847" y="200"/>
                </a:cubicBezTo>
                <a:cubicBezTo>
                  <a:pt x="847" y="200"/>
                  <a:pt x="847" y="199"/>
                  <a:pt x="847" y="199"/>
                </a:cubicBezTo>
                <a:cubicBezTo>
                  <a:pt x="847" y="198"/>
                  <a:pt x="848" y="199"/>
                  <a:pt x="848" y="199"/>
                </a:cubicBezTo>
                <a:cubicBezTo>
                  <a:pt x="849" y="199"/>
                  <a:pt x="849" y="199"/>
                  <a:pt x="849" y="199"/>
                </a:cubicBezTo>
                <a:cubicBezTo>
                  <a:pt x="850" y="199"/>
                  <a:pt x="850" y="199"/>
                  <a:pt x="850" y="200"/>
                </a:cubicBezTo>
                <a:cubicBezTo>
                  <a:pt x="850" y="200"/>
                  <a:pt x="850" y="200"/>
                  <a:pt x="850" y="200"/>
                </a:cubicBezTo>
                <a:cubicBezTo>
                  <a:pt x="851" y="200"/>
                  <a:pt x="850" y="199"/>
                  <a:pt x="851" y="199"/>
                </a:cubicBezTo>
                <a:cubicBezTo>
                  <a:pt x="852" y="199"/>
                  <a:pt x="852" y="199"/>
                  <a:pt x="852" y="200"/>
                </a:cubicBezTo>
                <a:cubicBezTo>
                  <a:pt x="852" y="200"/>
                  <a:pt x="851" y="200"/>
                  <a:pt x="850" y="200"/>
                </a:cubicBezTo>
                <a:cubicBezTo>
                  <a:pt x="850" y="200"/>
                  <a:pt x="849" y="202"/>
                  <a:pt x="849" y="201"/>
                </a:cubicBezTo>
                <a:cubicBezTo>
                  <a:pt x="848" y="201"/>
                  <a:pt x="848" y="200"/>
                  <a:pt x="848" y="200"/>
                </a:cubicBezTo>
                <a:cubicBezTo>
                  <a:pt x="848" y="201"/>
                  <a:pt x="846" y="200"/>
                  <a:pt x="845" y="200"/>
                </a:cubicBezTo>
                <a:cubicBezTo>
                  <a:pt x="844" y="200"/>
                  <a:pt x="842" y="200"/>
                  <a:pt x="842" y="201"/>
                </a:cubicBezTo>
                <a:cubicBezTo>
                  <a:pt x="842" y="201"/>
                  <a:pt x="841" y="201"/>
                  <a:pt x="841" y="201"/>
                </a:cubicBezTo>
                <a:cubicBezTo>
                  <a:pt x="841" y="202"/>
                  <a:pt x="843" y="202"/>
                  <a:pt x="844" y="202"/>
                </a:cubicBezTo>
                <a:cubicBezTo>
                  <a:pt x="843" y="202"/>
                  <a:pt x="843" y="204"/>
                  <a:pt x="843" y="204"/>
                </a:cubicBezTo>
                <a:cubicBezTo>
                  <a:pt x="843" y="204"/>
                  <a:pt x="842" y="204"/>
                  <a:pt x="842" y="204"/>
                </a:cubicBezTo>
                <a:cubicBezTo>
                  <a:pt x="842" y="205"/>
                  <a:pt x="842" y="205"/>
                  <a:pt x="841" y="205"/>
                </a:cubicBezTo>
                <a:cubicBezTo>
                  <a:pt x="841" y="205"/>
                  <a:pt x="842" y="206"/>
                  <a:pt x="843" y="205"/>
                </a:cubicBezTo>
                <a:cubicBezTo>
                  <a:pt x="844" y="205"/>
                  <a:pt x="844" y="205"/>
                  <a:pt x="845" y="206"/>
                </a:cubicBezTo>
                <a:cubicBezTo>
                  <a:pt x="844" y="206"/>
                  <a:pt x="844" y="206"/>
                  <a:pt x="843" y="207"/>
                </a:cubicBezTo>
                <a:cubicBezTo>
                  <a:pt x="844" y="207"/>
                  <a:pt x="845" y="207"/>
                  <a:pt x="845" y="207"/>
                </a:cubicBezTo>
                <a:cubicBezTo>
                  <a:pt x="845" y="208"/>
                  <a:pt x="845" y="208"/>
                  <a:pt x="847" y="208"/>
                </a:cubicBezTo>
                <a:cubicBezTo>
                  <a:pt x="847" y="207"/>
                  <a:pt x="847" y="206"/>
                  <a:pt x="849" y="206"/>
                </a:cubicBezTo>
                <a:cubicBezTo>
                  <a:pt x="849" y="206"/>
                  <a:pt x="849" y="205"/>
                  <a:pt x="850" y="205"/>
                </a:cubicBezTo>
                <a:cubicBezTo>
                  <a:pt x="850" y="205"/>
                  <a:pt x="850" y="205"/>
                  <a:pt x="851" y="205"/>
                </a:cubicBezTo>
                <a:cubicBezTo>
                  <a:pt x="851" y="205"/>
                  <a:pt x="851" y="205"/>
                  <a:pt x="851" y="205"/>
                </a:cubicBezTo>
                <a:cubicBezTo>
                  <a:pt x="851" y="206"/>
                  <a:pt x="850" y="206"/>
                  <a:pt x="849" y="206"/>
                </a:cubicBezTo>
                <a:cubicBezTo>
                  <a:pt x="848" y="206"/>
                  <a:pt x="848" y="207"/>
                  <a:pt x="848" y="208"/>
                </a:cubicBezTo>
                <a:cubicBezTo>
                  <a:pt x="848" y="209"/>
                  <a:pt x="847" y="209"/>
                  <a:pt x="847" y="209"/>
                </a:cubicBezTo>
                <a:cubicBezTo>
                  <a:pt x="847" y="210"/>
                  <a:pt x="847" y="210"/>
                  <a:pt x="847" y="211"/>
                </a:cubicBezTo>
                <a:cubicBezTo>
                  <a:pt x="847" y="211"/>
                  <a:pt x="846" y="211"/>
                  <a:pt x="846" y="211"/>
                </a:cubicBezTo>
                <a:cubicBezTo>
                  <a:pt x="846" y="211"/>
                  <a:pt x="846" y="211"/>
                  <a:pt x="846" y="212"/>
                </a:cubicBezTo>
                <a:cubicBezTo>
                  <a:pt x="845" y="212"/>
                  <a:pt x="844" y="212"/>
                  <a:pt x="843" y="212"/>
                </a:cubicBezTo>
                <a:cubicBezTo>
                  <a:pt x="843" y="212"/>
                  <a:pt x="843" y="212"/>
                  <a:pt x="842" y="213"/>
                </a:cubicBezTo>
                <a:cubicBezTo>
                  <a:pt x="842" y="214"/>
                  <a:pt x="844" y="213"/>
                  <a:pt x="844" y="214"/>
                </a:cubicBezTo>
                <a:cubicBezTo>
                  <a:pt x="844" y="216"/>
                  <a:pt x="844" y="215"/>
                  <a:pt x="845" y="215"/>
                </a:cubicBezTo>
                <a:cubicBezTo>
                  <a:pt x="845" y="215"/>
                  <a:pt x="845" y="213"/>
                  <a:pt x="845" y="213"/>
                </a:cubicBezTo>
                <a:cubicBezTo>
                  <a:pt x="846" y="213"/>
                  <a:pt x="847" y="215"/>
                  <a:pt x="847" y="213"/>
                </a:cubicBezTo>
                <a:cubicBezTo>
                  <a:pt x="847" y="213"/>
                  <a:pt x="848" y="213"/>
                  <a:pt x="848" y="213"/>
                </a:cubicBezTo>
                <a:cubicBezTo>
                  <a:pt x="848" y="213"/>
                  <a:pt x="848" y="214"/>
                  <a:pt x="847" y="214"/>
                </a:cubicBezTo>
                <a:cubicBezTo>
                  <a:pt x="847" y="215"/>
                  <a:pt x="847" y="215"/>
                  <a:pt x="848" y="216"/>
                </a:cubicBezTo>
                <a:cubicBezTo>
                  <a:pt x="847" y="216"/>
                  <a:pt x="847" y="217"/>
                  <a:pt x="847" y="218"/>
                </a:cubicBezTo>
                <a:cubicBezTo>
                  <a:pt x="846" y="218"/>
                  <a:pt x="846" y="218"/>
                  <a:pt x="845" y="218"/>
                </a:cubicBezTo>
                <a:cubicBezTo>
                  <a:pt x="845" y="220"/>
                  <a:pt x="845" y="220"/>
                  <a:pt x="846" y="221"/>
                </a:cubicBezTo>
                <a:cubicBezTo>
                  <a:pt x="847" y="222"/>
                  <a:pt x="847" y="222"/>
                  <a:pt x="847" y="223"/>
                </a:cubicBezTo>
                <a:cubicBezTo>
                  <a:pt x="848" y="223"/>
                  <a:pt x="849" y="223"/>
                  <a:pt x="850" y="223"/>
                </a:cubicBezTo>
                <a:cubicBezTo>
                  <a:pt x="850" y="222"/>
                  <a:pt x="850" y="222"/>
                  <a:pt x="851" y="222"/>
                </a:cubicBezTo>
                <a:cubicBezTo>
                  <a:pt x="851" y="223"/>
                  <a:pt x="851" y="223"/>
                  <a:pt x="851" y="224"/>
                </a:cubicBezTo>
                <a:cubicBezTo>
                  <a:pt x="852" y="224"/>
                  <a:pt x="852" y="224"/>
                  <a:pt x="853" y="224"/>
                </a:cubicBezTo>
                <a:cubicBezTo>
                  <a:pt x="854" y="224"/>
                  <a:pt x="854" y="224"/>
                  <a:pt x="855" y="223"/>
                </a:cubicBezTo>
                <a:cubicBezTo>
                  <a:pt x="855" y="223"/>
                  <a:pt x="856" y="223"/>
                  <a:pt x="856" y="223"/>
                </a:cubicBezTo>
                <a:cubicBezTo>
                  <a:pt x="856" y="222"/>
                  <a:pt x="856" y="223"/>
                  <a:pt x="857" y="223"/>
                </a:cubicBezTo>
                <a:cubicBezTo>
                  <a:pt x="857" y="223"/>
                  <a:pt x="857" y="223"/>
                  <a:pt x="857" y="223"/>
                </a:cubicBezTo>
                <a:cubicBezTo>
                  <a:pt x="858" y="222"/>
                  <a:pt x="858" y="222"/>
                  <a:pt x="859" y="222"/>
                </a:cubicBezTo>
                <a:cubicBezTo>
                  <a:pt x="859" y="221"/>
                  <a:pt x="859" y="221"/>
                  <a:pt x="859" y="221"/>
                </a:cubicBezTo>
                <a:cubicBezTo>
                  <a:pt x="859" y="221"/>
                  <a:pt x="859" y="221"/>
                  <a:pt x="860" y="221"/>
                </a:cubicBezTo>
                <a:cubicBezTo>
                  <a:pt x="860" y="221"/>
                  <a:pt x="860" y="221"/>
                  <a:pt x="860" y="221"/>
                </a:cubicBezTo>
                <a:cubicBezTo>
                  <a:pt x="860" y="220"/>
                  <a:pt x="861" y="221"/>
                  <a:pt x="861" y="221"/>
                </a:cubicBezTo>
                <a:cubicBezTo>
                  <a:pt x="862" y="221"/>
                  <a:pt x="862" y="219"/>
                  <a:pt x="862" y="219"/>
                </a:cubicBezTo>
                <a:cubicBezTo>
                  <a:pt x="863" y="219"/>
                  <a:pt x="863" y="219"/>
                  <a:pt x="863" y="218"/>
                </a:cubicBezTo>
                <a:cubicBezTo>
                  <a:pt x="864" y="218"/>
                  <a:pt x="864" y="218"/>
                  <a:pt x="865" y="218"/>
                </a:cubicBezTo>
                <a:cubicBezTo>
                  <a:pt x="866" y="218"/>
                  <a:pt x="865" y="218"/>
                  <a:pt x="866" y="218"/>
                </a:cubicBezTo>
                <a:cubicBezTo>
                  <a:pt x="866" y="218"/>
                  <a:pt x="867" y="217"/>
                  <a:pt x="867" y="217"/>
                </a:cubicBezTo>
                <a:cubicBezTo>
                  <a:pt x="868" y="217"/>
                  <a:pt x="868" y="217"/>
                  <a:pt x="869" y="217"/>
                </a:cubicBezTo>
                <a:cubicBezTo>
                  <a:pt x="869" y="217"/>
                  <a:pt x="869" y="217"/>
                  <a:pt x="869" y="216"/>
                </a:cubicBezTo>
                <a:cubicBezTo>
                  <a:pt x="869" y="216"/>
                  <a:pt x="870" y="216"/>
                  <a:pt x="870" y="216"/>
                </a:cubicBezTo>
                <a:cubicBezTo>
                  <a:pt x="870" y="216"/>
                  <a:pt x="870" y="216"/>
                  <a:pt x="870" y="216"/>
                </a:cubicBezTo>
                <a:cubicBezTo>
                  <a:pt x="871" y="215"/>
                  <a:pt x="871" y="215"/>
                  <a:pt x="871" y="215"/>
                </a:cubicBezTo>
                <a:cubicBezTo>
                  <a:pt x="871" y="217"/>
                  <a:pt x="871" y="218"/>
                  <a:pt x="871" y="219"/>
                </a:cubicBezTo>
                <a:cubicBezTo>
                  <a:pt x="871" y="220"/>
                  <a:pt x="871" y="220"/>
                  <a:pt x="872" y="220"/>
                </a:cubicBezTo>
                <a:cubicBezTo>
                  <a:pt x="872" y="220"/>
                  <a:pt x="872" y="220"/>
                  <a:pt x="873" y="221"/>
                </a:cubicBezTo>
                <a:cubicBezTo>
                  <a:pt x="873" y="221"/>
                  <a:pt x="873" y="222"/>
                  <a:pt x="874" y="222"/>
                </a:cubicBezTo>
                <a:cubicBezTo>
                  <a:pt x="874" y="223"/>
                  <a:pt x="873" y="223"/>
                  <a:pt x="873" y="223"/>
                </a:cubicBezTo>
                <a:cubicBezTo>
                  <a:pt x="873" y="224"/>
                  <a:pt x="873" y="224"/>
                  <a:pt x="873" y="224"/>
                </a:cubicBezTo>
                <a:cubicBezTo>
                  <a:pt x="872" y="225"/>
                  <a:pt x="873" y="225"/>
                  <a:pt x="873" y="226"/>
                </a:cubicBezTo>
                <a:cubicBezTo>
                  <a:pt x="874" y="226"/>
                  <a:pt x="873" y="227"/>
                  <a:pt x="874" y="227"/>
                </a:cubicBezTo>
                <a:cubicBezTo>
                  <a:pt x="875" y="227"/>
                  <a:pt x="875" y="227"/>
                  <a:pt x="875" y="228"/>
                </a:cubicBezTo>
                <a:cubicBezTo>
                  <a:pt x="875" y="228"/>
                  <a:pt x="876" y="229"/>
                  <a:pt x="876" y="230"/>
                </a:cubicBezTo>
                <a:cubicBezTo>
                  <a:pt x="877" y="230"/>
                  <a:pt x="877" y="231"/>
                  <a:pt x="878" y="231"/>
                </a:cubicBezTo>
                <a:cubicBezTo>
                  <a:pt x="878" y="232"/>
                  <a:pt x="878" y="232"/>
                  <a:pt x="878" y="232"/>
                </a:cubicBezTo>
                <a:cubicBezTo>
                  <a:pt x="878" y="233"/>
                  <a:pt x="879" y="233"/>
                  <a:pt x="880" y="233"/>
                </a:cubicBezTo>
                <a:cubicBezTo>
                  <a:pt x="880" y="234"/>
                  <a:pt x="879" y="234"/>
                  <a:pt x="879" y="234"/>
                </a:cubicBezTo>
                <a:cubicBezTo>
                  <a:pt x="878" y="234"/>
                  <a:pt x="878" y="235"/>
                  <a:pt x="879" y="236"/>
                </a:cubicBezTo>
                <a:cubicBezTo>
                  <a:pt x="877" y="237"/>
                  <a:pt x="878" y="237"/>
                  <a:pt x="878" y="238"/>
                </a:cubicBezTo>
                <a:cubicBezTo>
                  <a:pt x="878" y="239"/>
                  <a:pt x="877" y="239"/>
                  <a:pt x="878" y="239"/>
                </a:cubicBezTo>
                <a:cubicBezTo>
                  <a:pt x="879" y="239"/>
                  <a:pt x="878" y="241"/>
                  <a:pt x="878" y="242"/>
                </a:cubicBezTo>
                <a:cubicBezTo>
                  <a:pt x="878" y="242"/>
                  <a:pt x="880" y="242"/>
                  <a:pt x="880" y="242"/>
                </a:cubicBezTo>
                <a:cubicBezTo>
                  <a:pt x="880" y="242"/>
                  <a:pt x="882" y="242"/>
                  <a:pt x="883" y="242"/>
                </a:cubicBezTo>
                <a:cubicBezTo>
                  <a:pt x="883" y="242"/>
                  <a:pt x="885" y="241"/>
                  <a:pt x="885" y="241"/>
                </a:cubicBezTo>
                <a:cubicBezTo>
                  <a:pt x="886" y="240"/>
                  <a:pt x="885" y="240"/>
                  <a:pt x="885" y="239"/>
                </a:cubicBezTo>
                <a:cubicBezTo>
                  <a:pt x="885" y="239"/>
                  <a:pt x="886" y="237"/>
                  <a:pt x="886" y="237"/>
                </a:cubicBezTo>
                <a:cubicBezTo>
                  <a:pt x="886" y="237"/>
                  <a:pt x="887" y="237"/>
                  <a:pt x="887" y="237"/>
                </a:cubicBezTo>
                <a:cubicBezTo>
                  <a:pt x="887" y="235"/>
                  <a:pt x="888" y="236"/>
                  <a:pt x="889" y="235"/>
                </a:cubicBezTo>
                <a:cubicBezTo>
                  <a:pt x="889" y="236"/>
                  <a:pt x="892" y="236"/>
                  <a:pt x="892" y="236"/>
                </a:cubicBezTo>
                <a:cubicBezTo>
                  <a:pt x="893" y="236"/>
                  <a:pt x="893" y="236"/>
                  <a:pt x="894" y="235"/>
                </a:cubicBezTo>
                <a:cubicBezTo>
                  <a:pt x="894" y="235"/>
                  <a:pt x="895" y="234"/>
                  <a:pt x="894" y="234"/>
                </a:cubicBezTo>
                <a:cubicBezTo>
                  <a:pt x="895" y="234"/>
                  <a:pt x="895" y="234"/>
                  <a:pt x="895" y="235"/>
                </a:cubicBezTo>
                <a:cubicBezTo>
                  <a:pt x="895" y="235"/>
                  <a:pt x="895" y="235"/>
                  <a:pt x="895" y="235"/>
                </a:cubicBezTo>
                <a:cubicBezTo>
                  <a:pt x="896" y="236"/>
                  <a:pt x="896" y="235"/>
                  <a:pt x="896" y="235"/>
                </a:cubicBezTo>
                <a:cubicBezTo>
                  <a:pt x="897" y="234"/>
                  <a:pt x="897" y="233"/>
                  <a:pt x="897" y="231"/>
                </a:cubicBezTo>
                <a:cubicBezTo>
                  <a:pt x="896" y="232"/>
                  <a:pt x="896" y="233"/>
                  <a:pt x="895" y="233"/>
                </a:cubicBezTo>
                <a:cubicBezTo>
                  <a:pt x="895" y="233"/>
                  <a:pt x="895" y="231"/>
                  <a:pt x="896" y="231"/>
                </a:cubicBezTo>
                <a:cubicBezTo>
                  <a:pt x="896" y="231"/>
                  <a:pt x="896" y="230"/>
                  <a:pt x="896" y="230"/>
                </a:cubicBezTo>
                <a:cubicBezTo>
                  <a:pt x="896" y="229"/>
                  <a:pt x="896" y="227"/>
                  <a:pt x="897" y="227"/>
                </a:cubicBezTo>
                <a:cubicBezTo>
                  <a:pt x="897" y="226"/>
                  <a:pt x="896" y="226"/>
                  <a:pt x="897" y="225"/>
                </a:cubicBezTo>
                <a:cubicBezTo>
                  <a:pt x="897" y="225"/>
                  <a:pt x="897" y="224"/>
                  <a:pt x="897" y="224"/>
                </a:cubicBezTo>
                <a:cubicBezTo>
                  <a:pt x="897" y="222"/>
                  <a:pt x="898" y="221"/>
                  <a:pt x="897" y="219"/>
                </a:cubicBezTo>
                <a:cubicBezTo>
                  <a:pt x="897" y="219"/>
                  <a:pt x="898" y="219"/>
                  <a:pt x="898" y="219"/>
                </a:cubicBezTo>
                <a:cubicBezTo>
                  <a:pt x="898" y="219"/>
                  <a:pt x="898" y="218"/>
                  <a:pt x="897" y="218"/>
                </a:cubicBezTo>
                <a:cubicBezTo>
                  <a:pt x="897" y="218"/>
                  <a:pt x="896" y="218"/>
                  <a:pt x="896" y="217"/>
                </a:cubicBezTo>
                <a:cubicBezTo>
                  <a:pt x="897" y="217"/>
                  <a:pt x="898" y="218"/>
                  <a:pt x="899" y="218"/>
                </a:cubicBezTo>
                <a:cubicBezTo>
                  <a:pt x="899" y="218"/>
                  <a:pt x="899" y="217"/>
                  <a:pt x="900" y="217"/>
                </a:cubicBezTo>
                <a:cubicBezTo>
                  <a:pt x="900" y="217"/>
                  <a:pt x="900" y="217"/>
                  <a:pt x="901" y="217"/>
                </a:cubicBezTo>
                <a:cubicBezTo>
                  <a:pt x="901" y="217"/>
                  <a:pt x="902" y="216"/>
                  <a:pt x="902" y="216"/>
                </a:cubicBezTo>
                <a:cubicBezTo>
                  <a:pt x="902" y="217"/>
                  <a:pt x="902" y="218"/>
                  <a:pt x="903" y="217"/>
                </a:cubicBezTo>
                <a:cubicBezTo>
                  <a:pt x="903" y="216"/>
                  <a:pt x="904" y="216"/>
                  <a:pt x="905" y="216"/>
                </a:cubicBezTo>
                <a:cubicBezTo>
                  <a:pt x="905" y="216"/>
                  <a:pt x="906" y="215"/>
                  <a:pt x="906" y="215"/>
                </a:cubicBezTo>
                <a:cubicBezTo>
                  <a:pt x="906" y="214"/>
                  <a:pt x="906" y="214"/>
                  <a:pt x="908" y="214"/>
                </a:cubicBezTo>
                <a:cubicBezTo>
                  <a:pt x="907" y="213"/>
                  <a:pt x="907" y="213"/>
                  <a:pt x="906" y="213"/>
                </a:cubicBezTo>
                <a:cubicBezTo>
                  <a:pt x="904" y="213"/>
                  <a:pt x="907" y="212"/>
                  <a:pt x="908" y="211"/>
                </a:cubicBezTo>
                <a:cubicBezTo>
                  <a:pt x="908" y="211"/>
                  <a:pt x="909" y="210"/>
                  <a:pt x="908" y="209"/>
                </a:cubicBezTo>
                <a:cubicBezTo>
                  <a:pt x="908" y="209"/>
                  <a:pt x="908" y="209"/>
                  <a:pt x="908" y="208"/>
                </a:cubicBezTo>
                <a:cubicBezTo>
                  <a:pt x="908" y="207"/>
                  <a:pt x="908" y="207"/>
                  <a:pt x="907" y="207"/>
                </a:cubicBezTo>
                <a:cubicBezTo>
                  <a:pt x="906" y="207"/>
                  <a:pt x="905" y="206"/>
                  <a:pt x="906" y="205"/>
                </a:cubicBezTo>
                <a:cubicBezTo>
                  <a:pt x="906" y="205"/>
                  <a:pt x="905" y="205"/>
                  <a:pt x="905" y="205"/>
                </a:cubicBezTo>
                <a:cubicBezTo>
                  <a:pt x="905" y="205"/>
                  <a:pt x="904" y="203"/>
                  <a:pt x="903" y="203"/>
                </a:cubicBezTo>
                <a:cubicBezTo>
                  <a:pt x="903" y="204"/>
                  <a:pt x="903" y="204"/>
                  <a:pt x="902" y="204"/>
                </a:cubicBezTo>
                <a:cubicBezTo>
                  <a:pt x="900" y="204"/>
                  <a:pt x="900" y="204"/>
                  <a:pt x="900" y="202"/>
                </a:cubicBezTo>
                <a:cubicBezTo>
                  <a:pt x="901" y="202"/>
                  <a:pt x="900" y="201"/>
                  <a:pt x="901" y="201"/>
                </a:cubicBezTo>
                <a:cubicBezTo>
                  <a:pt x="900" y="200"/>
                  <a:pt x="900" y="200"/>
                  <a:pt x="900" y="199"/>
                </a:cubicBezTo>
                <a:cubicBezTo>
                  <a:pt x="900" y="198"/>
                  <a:pt x="899" y="199"/>
                  <a:pt x="900" y="198"/>
                </a:cubicBezTo>
                <a:cubicBezTo>
                  <a:pt x="900" y="197"/>
                  <a:pt x="900" y="197"/>
                  <a:pt x="900" y="197"/>
                </a:cubicBezTo>
                <a:cubicBezTo>
                  <a:pt x="900" y="197"/>
                  <a:pt x="900" y="197"/>
                  <a:pt x="900" y="196"/>
                </a:cubicBezTo>
                <a:cubicBezTo>
                  <a:pt x="900" y="196"/>
                  <a:pt x="899" y="195"/>
                  <a:pt x="900" y="195"/>
                </a:cubicBezTo>
                <a:cubicBezTo>
                  <a:pt x="901" y="195"/>
                  <a:pt x="900" y="194"/>
                  <a:pt x="900" y="193"/>
                </a:cubicBezTo>
                <a:cubicBezTo>
                  <a:pt x="900" y="193"/>
                  <a:pt x="901" y="192"/>
                  <a:pt x="901" y="192"/>
                </a:cubicBezTo>
                <a:cubicBezTo>
                  <a:pt x="902" y="192"/>
                  <a:pt x="900" y="189"/>
                  <a:pt x="900" y="188"/>
                </a:cubicBezTo>
                <a:cubicBezTo>
                  <a:pt x="900" y="187"/>
                  <a:pt x="902" y="189"/>
                  <a:pt x="902" y="188"/>
                </a:cubicBezTo>
                <a:cubicBezTo>
                  <a:pt x="902" y="187"/>
                  <a:pt x="903" y="187"/>
                  <a:pt x="903" y="187"/>
                </a:cubicBezTo>
                <a:cubicBezTo>
                  <a:pt x="904" y="187"/>
                  <a:pt x="904" y="186"/>
                  <a:pt x="904" y="185"/>
                </a:cubicBezTo>
                <a:cubicBezTo>
                  <a:pt x="904" y="185"/>
                  <a:pt x="904" y="185"/>
                  <a:pt x="904" y="185"/>
                </a:cubicBezTo>
                <a:cubicBezTo>
                  <a:pt x="904" y="185"/>
                  <a:pt x="906" y="184"/>
                  <a:pt x="906" y="184"/>
                </a:cubicBezTo>
                <a:cubicBezTo>
                  <a:pt x="907" y="184"/>
                  <a:pt x="906" y="183"/>
                  <a:pt x="907" y="183"/>
                </a:cubicBezTo>
                <a:cubicBezTo>
                  <a:pt x="907" y="183"/>
                  <a:pt x="906" y="182"/>
                  <a:pt x="906" y="182"/>
                </a:cubicBezTo>
                <a:cubicBezTo>
                  <a:pt x="907" y="182"/>
                  <a:pt x="907" y="181"/>
                  <a:pt x="907" y="181"/>
                </a:cubicBezTo>
                <a:cubicBezTo>
                  <a:pt x="908" y="180"/>
                  <a:pt x="908" y="181"/>
                  <a:pt x="909" y="181"/>
                </a:cubicBezTo>
                <a:cubicBezTo>
                  <a:pt x="909" y="180"/>
                  <a:pt x="911" y="181"/>
                  <a:pt x="911" y="180"/>
                </a:cubicBezTo>
                <a:cubicBezTo>
                  <a:pt x="911" y="180"/>
                  <a:pt x="911" y="180"/>
                  <a:pt x="912" y="179"/>
                </a:cubicBezTo>
                <a:cubicBezTo>
                  <a:pt x="913" y="178"/>
                  <a:pt x="913" y="178"/>
                  <a:pt x="914" y="178"/>
                </a:cubicBezTo>
                <a:cubicBezTo>
                  <a:pt x="914" y="179"/>
                  <a:pt x="915" y="179"/>
                  <a:pt x="915" y="178"/>
                </a:cubicBezTo>
                <a:cubicBezTo>
                  <a:pt x="916" y="178"/>
                  <a:pt x="916" y="178"/>
                  <a:pt x="916" y="177"/>
                </a:cubicBezTo>
                <a:cubicBezTo>
                  <a:pt x="917" y="177"/>
                  <a:pt x="917" y="176"/>
                  <a:pt x="917" y="175"/>
                </a:cubicBezTo>
                <a:cubicBezTo>
                  <a:pt x="918" y="175"/>
                  <a:pt x="918" y="175"/>
                  <a:pt x="918" y="175"/>
                </a:cubicBezTo>
                <a:cubicBezTo>
                  <a:pt x="919" y="174"/>
                  <a:pt x="919" y="174"/>
                  <a:pt x="919" y="173"/>
                </a:cubicBezTo>
                <a:cubicBezTo>
                  <a:pt x="919" y="173"/>
                  <a:pt x="919" y="173"/>
                  <a:pt x="918" y="173"/>
                </a:cubicBezTo>
                <a:cubicBezTo>
                  <a:pt x="918" y="172"/>
                  <a:pt x="919" y="172"/>
                  <a:pt x="918" y="171"/>
                </a:cubicBezTo>
                <a:cubicBezTo>
                  <a:pt x="919" y="170"/>
                  <a:pt x="917" y="169"/>
                  <a:pt x="918" y="168"/>
                </a:cubicBezTo>
                <a:cubicBezTo>
                  <a:pt x="919" y="168"/>
                  <a:pt x="919" y="167"/>
                  <a:pt x="920" y="167"/>
                </a:cubicBezTo>
                <a:cubicBezTo>
                  <a:pt x="920" y="167"/>
                  <a:pt x="919" y="166"/>
                  <a:pt x="919" y="166"/>
                </a:cubicBezTo>
                <a:cubicBezTo>
                  <a:pt x="920" y="166"/>
                  <a:pt x="920" y="166"/>
                  <a:pt x="920" y="165"/>
                </a:cubicBezTo>
                <a:cubicBezTo>
                  <a:pt x="920" y="165"/>
                  <a:pt x="920" y="165"/>
                  <a:pt x="920" y="164"/>
                </a:cubicBezTo>
                <a:cubicBezTo>
                  <a:pt x="920" y="164"/>
                  <a:pt x="921" y="164"/>
                  <a:pt x="921" y="164"/>
                </a:cubicBezTo>
                <a:cubicBezTo>
                  <a:pt x="921" y="164"/>
                  <a:pt x="921" y="165"/>
                  <a:pt x="922" y="164"/>
                </a:cubicBezTo>
                <a:cubicBezTo>
                  <a:pt x="922" y="164"/>
                  <a:pt x="923" y="163"/>
                  <a:pt x="924" y="163"/>
                </a:cubicBezTo>
                <a:cubicBezTo>
                  <a:pt x="924" y="163"/>
                  <a:pt x="923" y="162"/>
                  <a:pt x="923" y="162"/>
                </a:cubicBezTo>
                <a:cubicBezTo>
                  <a:pt x="924" y="162"/>
                  <a:pt x="924" y="161"/>
                  <a:pt x="924" y="160"/>
                </a:cubicBezTo>
                <a:cubicBezTo>
                  <a:pt x="924" y="161"/>
                  <a:pt x="925" y="161"/>
                  <a:pt x="925" y="161"/>
                </a:cubicBezTo>
                <a:cubicBezTo>
                  <a:pt x="926" y="162"/>
                  <a:pt x="925" y="161"/>
                  <a:pt x="926" y="161"/>
                </a:cubicBezTo>
                <a:cubicBezTo>
                  <a:pt x="926" y="161"/>
                  <a:pt x="927" y="161"/>
                  <a:pt x="927" y="162"/>
                </a:cubicBezTo>
                <a:cubicBezTo>
                  <a:pt x="927" y="162"/>
                  <a:pt x="927" y="162"/>
                  <a:pt x="927" y="162"/>
                </a:cubicBezTo>
                <a:cubicBezTo>
                  <a:pt x="928" y="161"/>
                  <a:pt x="928" y="161"/>
                  <a:pt x="929" y="161"/>
                </a:cubicBezTo>
                <a:cubicBezTo>
                  <a:pt x="930" y="161"/>
                  <a:pt x="932" y="162"/>
                  <a:pt x="933" y="161"/>
                </a:cubicBezTo>
                <a:cubicBezTo>
                  <a:pt x="934" y="161"/>
                  <a:pt x="935" y="162"/>
                  <a:pt x="935" y="163"/>
                </a:cubicBezTo>
                <a:cubicBezTo>
                  <a:pt x="935" y="163"/>
                  <a:pt x="936" y="162"/>
                  <a:pt x="936" y="163"/>
                </a:cubicBezTo>
                <a:cubicBezTo>
                  <a:pt x="937" y="164"/>
                  <a:pt x="936" y="163"/>
                  <a:pt x="937" y="163"/>
                </a:cubicBezTo>
                <a:cubicBezTo>
                  <a:pt x="937" y="164"/>
                  <a:pt x="936" y="164"/>
                  <a:pt x="936" y="165"/>
                </a:cubicBezTo>
                <a:cubicBezTo>
                  <a:pt x="936" y="165"/>
                  <a:pt x="936" y="165"/>
                  <a:pt x="937" y="165"/>
                </a:cubicBezTo>
                <a:cubicBezTo>
                  <a:pt x="937" y="166"/>
                  <a:pt x="936" y="166"/>
                  <a:pt x="937" y="167"/>
                </a:cubicBezTo>
                <a:cubicBezTo>
                  <a:pt x="937" y="167"/>
                  <a:pt x="937" y="168"/>
                  <a:pt x="937" y="168"/>
                </a:cubicBezTo>
                <a:cubicBezTo>
                  <a:pt x="937" y="169"/>
                  <a:pt x="936" y="168"/>
                  <a:pt x="937" y="169"/>
                </a:cubicBezTo>
                <a:cubicBezTo>
                  <a:pt x="936" y="169"/>
                  <a:pt x="936" y="170"/>
                  <a:pt x="936" y="169"/>
                </a:cubicBezTo>
                <a:cubicBezTo>
                  <a:pt x="934" y="169"/>
                  <a:pt x="934" y="170"/>
                  <a:pt x="933" y="172"/>
                </a:cubicBezTo>
                <a:cubicBezTo>
                  <a:pt x="933" y="173"/>
                  <a:pt x="933" y="173"/>
                  <a:pt x="933" y="174"/>
                </a:cubicBezTo>
                <a:cubicBezTo>
                  <a:pt x="932" y="174"/>
                  <a:pt x="932" y="174"/>
                  <a:pt x="932" y="175"/>
                </a:cubicBezTo>
                <a:cubicBezTo>
                  <a:pt x="932" y="175"/>
                  <a:pt x="931" y="175"/>
                  <a:pt x="931" y="176"/>
                </a:cubicBezTo>
                <a:cubicBezTo>
                  <a:pt x="931" y="176"/>
                  <a:pt x="930" y="176"/>
                  <a:pt x="930" y="176"/>
                </a:cubicBezTo>
                <a:cubicBezTo>
                  <a:pt x="930" y="177"/>
                  <a:pt x="930" y="177"/>
                  <a:pt x="930" y="177"/>
                </a:cubicBezTo>
                <a:cubicBezTo>
                  <a:pt x="930" y="177"/>
                  <a:pt x="930" y="177"/>
                  <a:pt x="930" y="178"/>
                </a:cubicBezTo>
                <a:cubicBezTo>
                  <a:pt x="930" y="178"/>
                  <a:pt x="929" y="178"/>
                  <a:pt x="929" y="178"/>
                </a:cubicBezTo>
                <a:cubicBezTo>
                  <a:pt x="928" y="179"/>
                  <a:pt x="929" y="179"/>
                  <a:pt x="928" y="179"/>
                </a:cubicBezTo>
                <a:cubicBezTo>
                  <a:pt x="927" y="179"/>
                  <a:pt x="927" y="179"/>
                  <a:pt x="926" y="180"/>
                </a:cubicBezTo>
                <a:cubicBezTo>
                  <a:pt x="926" y="180"/>
                  <a:pt x="925" y="181"/>
                  <a:pt x="925" y="181"/>
                </a:cubicBezTo>
                <a:cubicBezTo>
                  <a:pt x="925" y="182"/>
                  <a:pt x="925" y="182"/>
                  <a:pt x="924" y="182"/>
                </a:cubicBezTo>
                <a:cubicBezTo>
                  <a:pt x="923" y="182"/>
                  <a:pt x="922" y="183"/>
                  <a:pt x="922" y="184"/>
                </a:cubicBezTo>
                <a:cubicBezTo>
                  <a:pt x="922" y="184"/>
                  <a:pt x="922" y="185"/>
                  <a:pt x="921" y="185"/>
                </a:cubicBezTo>
                <a:cubicBezTo>
                  <a:pt x="920" y="186"/>
                  <a:pt x="920" y="186"/>
                  <a:pt x="920" y="187"/>
                </a:cubicBezTo>
                <a:cubicBezTo>
                  <a:pt x="920" y="187"/>
                  <a:pt x="920" y="188"/>
                  <a:pt x="921" y="188"/>
                </a:cubicBezTo>
                <a:cubicBezTo>
                  <a:pt x="922" y="188"/>
                  <a:pt x="921" y="189"/>
                  <a:pt x="921" y="190"/>
                </a:cubicBezTo>
                <a:cubicBezTo>
                  <a:pt x="922" y="190"/>
                  <a:pt x="922" y="190"/>
                  <a:pt x="922" y="191"/>
                </a:cubicBezTo>
                <a:cubicBezTo>
                  <a:pt x="922" y="191"/>
                  <a:pt x="922" y="192"/>
                  <a:pt x="922" y="192"/>
                </a:cubicBezTo>
                <a:cubicBezTo>
                  <a:pt x="922" y="192"/>
                  <a:pt x="922" y="192"/>
                  <a:pt x="923" y="192"/>
                </a:cubicBezTo>
                <a:cubicBezTo>
                  <a:pt x="923" y="193"/>
                  <a:pt x="922" y="194"/>
                  <a:pt x="921" y="194"/>
                </a:cubicBezTo>
                <a:cubicBezTo>
                  <a:pt x="922" y="195"/>
                  <a:pt x="922" y="195"/>
                  <a:pt x="922" y="196"/>
                </a:cubicBezTo>
                <a:cubicBezTo>
                  <a:pt x="921" y="196"/>
                  <a:pt x="922" y="197"/>
                  <a:pt x="921" y="198"/>
                </a:cubicBezTo>
                <a:cubicBezTo>
                  <a:pt x="921" y="197"/>
                  <a:pt x="921" y="198"/>
                  <a:pt x="921" y="198"/>
                </a:cubicBezTo>
                <a:cubicBezTo>
                  <a:pt x="922" y="198"/>
                  <a:pt x="922" y="198"/>
                  <a:pt x="922" y="199"/>
                </a:cubicBezTo>
                <a:cubicBezTo>
                  <a:pt x="922" y="200"/>
                  <a:pt x="922" y="199"/>
                  <a:pt x="923" y="199"/>
                </a:cubicBezTo>
                <a:cubicBezTo>
                  <a:pt x="923" y="200"/>
                  <a:pt x="923" y="201"/>
                  <a:pt x="924" y="202"/>
                </a:cubicBezTo>
                <a:cubicBezTo>
                  <a:pt x="924" y="202"/>
                  <a:pt x="924" y="202"/>
                  <a:pt x="925" y="202"/>
                </a:cubicBezTo>
                <a:cubicBezTo>
                  <a:pt x="925" y="201"/>
                  <a:pt x="924" y="201"/>
                  <a:pt x="924" y="200"/>
                </a:cubicBezTo>
                <a:cubicBezTo>
                  <a:pt x="925" y="201"/>
                  <a:pt x="926" y="201"/>
                  <a:pt x="927" y="201"/>
                </a:cubicBezTo>
                <a:cubicBezTo>
                  <a:pt x="928" y="202"/>
                  <a:pt x="927" y="203"/>
                  <a:pt x="927" y="203"/>
                </a:cubicBezTo>
                <a:cubicBezTo>
                  <a:pt x="928" y="203"/>
                  <a:pt x="929" y="203"/>
                  <a:pt x="929" y="203"/>
                </a:cubicBezTo>
                <a:cubicBezTo>
                  <a:pt x="929" y="203"/>
                  <a:pt x="930" y="204"/>
                  <a:pt x="929" y="204"/>
                </a:cubicBezTo>
                <a:cubicBezTo>
                  <a:pt x="927" y="204"/>
                  <a:pt x="926" y="204"/>
                  <a:pt x="926" y="205"/>
                </a:cubicBezTo>
                <a:cubicBezTo>
                  <a:pt x="926" y="205"/>
                  <a:pt x="926" y="205"/>
                  <a:pt x="926" y="206"/>
                </a:cubicBezTo>
                <a:cubicBezTo>
                  <a:pt x="925" y="206"/>
                  <a:pt x="926" y="207"/>
                  <a:pt x="926" y="207"/>
                </a:cubicBezTo>
                <a:cubicBezTo>
                  <a:pt x="927" y="207"/>
                  <a:pt x="927" y="207"/>
                  <a:pt x="928" y="207"/>
                </a:cubicBezTo>
                <a:cubicBezTo>
                  <a:pt x="928" y="207"/>
                  <a:pt x="927" y="206"/>
                  <a:pt x="928" y="206"/>
                </a:cubicBezTo>
                <a:cubicBezTo>
                  <a:pt x="928" y="206"/>
                  <a:pt x="928" y="205"/>
                  <a:pt x="928" y="205"/>
                </a:cubicBezTo>
                <a:cubicBezTo>
                  <a:pt x="928" y="205"/>
                  <a:pt x="929" y="205"/>
                  <a:pt x="929" y="205"/>
                </a:cubicBezTo>
                <a:cubicBezTo>
                  <a:pt x="929" y="205"/>
                  <a:pt x="929" y="205"/>
                  <a:pt x="929" y="205"/>
                </a:cubicBezTo>
                <a:cubicBezTo>
                  <a:pt x="930" y="206"/>
                  <a:pt x="930" y="206"/>
                  <a:pt x="930" y="207"/>
                </a:cubicBezTo>
                <a:cubicBezTo>
                  <a:pt x="931" y="207"/>
                  <a:pt x="931" y="207"/>
                  <a:pt x="931" y="208"/>
                </a:cubicBezTo>
                <a:cubicBezTo>
                  <a:pt x="931" y="208"/>
                  <a:pt x="932" y="208"/>
                  <a:pt x="933" y="208"/>
                </a:cubicBezTo>
                <a:cubicBezTo>
                  <a:pt x="933" y="208"/>
                  <a:pt x="933" y="207"/>
                  <a:pt x="933" y="207"/>
                </a:cubicBezTo>
                <a:cubicBezTo>
                  <a:pt x="935" y="207"/>
                  <a:pt x="935" y="208"/>
                  <a:pt x="935" y="206"/>
                </a:cubicBezTo>
                <a:cubicBezTo>
                  <a:pt x="936" y="206"/>
                  <a:pt x="936" y="206"/>
                  <a:pt x="937" y="205"/>
                </a:cubicBezTo>
                <a:cubicBezTo>
                  <a:pt x="937" y="204"/>
                  <a:pt x="938" y="204"/>
                  <a:pt x="939" y="204"/>
                </a:cubicBezTo>
                <a:cubicBezTo>
                  <a:pt x="941" y="204"/>
                  <a:pt x="941" y="204"/>
                  <a:pt x="941" y="203"/>
                </a:cubicBezTo>
                <a:cubicBezTo>
                  <a:pt x="942" y="203"/>
                  <a:pt x="942" y="203"/>
                  <a:pt x="943" y="202"/>
                </a:cubicBezTo>
                <a:cubicBezTo>
                  <a:pt x="943" y="202"/>
                  <a:pt x="943" y="202"/>
                  <a:pt x="943" y="202"/>
                </a:cubicBezTo>
                <a:cubicBezTo>
                  <a:pt x="943" y="203"/>
                  <a:pt x="945" y="203"/>
                  <a:pt x="945" y="203"/>
                </a:cubicBezTo>
                <a:cubicBezTo>
                  <a:pt x="945" y="202"/>
                  <a:pt x="946" y="202"/>
                  <a:pt x="947" y="201"/>
                </a:cubicBezTo>
                <a:cubicBezTo>
                  <a:pt x="947" y="201"/>
                  <a:pt x="947" y="202"/>
                  <a:pt x="947" y="202"/>
                </a:cubicBezTo>
                <a:cubicBezTo>
                  <a:pt x="949" y="202"/>
                  <a:pt x="950" y="201"/>
                  <a:pt x="952" y="200"/>
                </a:cubicBezTo>
                <a:cubicBezTo>
                  <a:pt x="952" y="201"/>
                  <a:pt x="952" y="201"/>
                  <a:pt x="951" y="201"/>
                </a:cubicBezTo>
                <a:cubicBezTo>
                  <a:pt x="952" y="203"/>
                  <a:pt x="954" y="203"/>
                  <a:pt x="955" y="204"/>
                </a:cubicBezTo>
                <a:cubicBezTo>
                  <a:pt x="956" y="205"/>
                  <a:pt x="956" y="205"/>
                  <a:pt x="957" y="205"/>
                </a:cubicBezTo>
                <a:cubicBezTo>
                  <a:pt x="958" y="205"/>
                  <a:pt x="958" y="205"/>
                  <a:pt x="959" y="205"/>
                </a:cubicBezTo>
                <a:cubicBezTo>
                  <a:pt x="959" y="205"/>
                  <a:pt x="959" y="205"/>
                  <a:pt x="959" y="205"/>
                </a:cubicBezTo>
                <a:cubicBezTo>
                  <a:pt x="960" y="205"/>
                  <a:pt x="961" y="206"/>
                  <a:pt x="961" y="207"/>
                </a:cubicBezTo>
                <a:cubicBezTo>
                  <a:pt x="962" y="207"/>
                  <a:pt x="962" y="207"/>
                  <a:pt x="963" y="207"/>
                </a:cubicBezTo>
                <a:cubicBezTo>
                  <a:pt x="962" y="208"/>
                  <a:pt x="962" y="208"/>
                  <a:pt x="961" y="208"/>
                </a:cubicBezTo>
                <a:cubicBezTo>
                  <a:pt x="960" y="208"/>
                  <a:pt x="959" y="208"/>
                  <a:pt x="958" y="207"/>
                </a:cubicBezTo>
                <a:cubicBezTo>
                  <a:pt x="958" y="208"/>
                  <a:pt x="957" y="208"/>
                  <a:pt x="957" y="208"/>
                </a:cubicBezTo>
                <a:cubicBezTo>
                  <a:pt x="957" y="209"/>
                  <a:pt x="956" y="209"/>
                  <a:pt x="956" y="209"/>
                </a:cubicBezTo>
                <a:cubicBezTo>
                  <a:pt x="955" y="209"/>
                  <a:pt x="954" y="209"/>
                  <a:pt x="953" y="209"/>
                </a:cubicBezTo>
                <a:cubicBezTo>
                  <a:pt x="953" y="209"/>
                  <a:pt x="953" y="209"/>
                  <a:pt x="953" y="209"/>
                </a:cubicBezTo>
                <a:cubicBezTo>
                  <a:pt x="952" y="209"/>
                  <a:pt x="952" y="209"/>
                  <a:pt x="952" y="208"/>
                </a:cubicBezTo>
                <a:cubicBezTo>
                  <a:pt x="952" y="209"/>
                  <a:pt x="951" y="210"/>
                  <a:pt x="951" y="212"/>
                </a:cubicBezTo>
                <a:cubicBezTo>
                  <a:pt x="950" y="212"/>
                  <a:pt x="949" y="211"/>
                  <a:pt x="948" y="211"/>
                </a:cubicBezTo>
                <a:cubicBezTo>
                  <a:pt x="947" y="211"/>
                  <a:pt x="948" y="211"/>
                  <a:pt x="948" y="210"/>
                </a:cubicBezTo>
                <a:cubicBezTo>
                  <a:pt x="947" y="210"/>
                  <a:pt x="947" y="210"/>
                  <a:pt x="947" y="210"/>
                </a:cubicBezTo>
                <a:cubicBezTo>
                  <a:pt x="947" y="210"/>
                  <a:pt x="946" y="210"/>
                  <a:pt x="946" y="210"/>
                </a:cubicBezTo>
                <a:cubicBezTo>
                  <a:pt x="946" y="211"/>
                  <a:pt x="945" y="210"/>
                  <a:pt x="945" y="210"/>
                </a:cubicBezTo>
                <a:cubicBezTo>
                  <a:pt x="945" y="211"/>
                  <a:pt x="945" y="211"/>
                  <a:pt x="945" y="211"/>
                </a:cubicBezTo>
                <a:cubicBezTo>
                  <a:pt x="945" y="212"/>
                  <a:pt x="944" y="212"/>
                  <a:pt x="944" y="212"/>
                </a:cubicBezTo>
                <a:cubicBezTo>
                  <a:pt x="944" y="212"/>
                  <a:pt x="943" y="212"/>
                  <a:pt x="942" y="212"/>
                </a:cubicBezTo>
                <a:cubicBezTo>
                  <a:pt x="942" y="212"/>
                  <a:pt x="941" y="212"/>
                  <a:pt x="941" y="212"/>
                </a:cubicBezTo>
                <a:cubicBezTo>
                  <a:pt x="941" y="211"/>
                  <a:pt x="940" y="212"/>
                  <a:pt x="940" y="211"/>
                </a:cubicBezTo>
                <a:cubicBezTo>
                  <a:pt x="939" y="211"/>
                  <a:pt x="939" y="211"/>
                  <a:pt x="939" y="212"/>
                </a:cubicBezTo>
                <a:cubicBezTo>
                  <a:pt x="939" y="212"/>
                  <a:pt x="939" y="212"/>
                  <a:pt x="938" y="212"/>
                </a:cubicBezTo>
                <a:cubicBezTo>
                  <a:pt x="938" y="212"/>
                  <a:pt x="937" y="212"/>
                  <a:pt x="937" y="212"/>
                </a:cubicBezTo>
                <a:cubicBezTo>
                  <a:pt x="937" y="212"/>
                  <a:pt x="936" y="212"/>
                  <a:pt x="936" y="212"/>
                </a:cubicBezTo>
                <a:cubicBezTo>
                  <a:pt x="936" y="212"/>
                  <a:pt x="936" y="213"/>
                  <a:pt x="935" y="213"/>
                </a:cubicBezTo>
                <a:cubicBezTo>
                  <a:pt x="935" y="213"/>
                  <a:pt x="935" y="213"/>
                  <a:pt x="935" y="213"/>
                </a:cubicBezTo>
                <a:cubicBezTo>
                  <a:pt x="934" y="213"/>
                  <a:pt x="934" y="213"/>
                  <a:pt x="933" y="213"/>
                </a:cubicBezTo>
                <a:cubicBezTo>
                  <a:pt x="933" y="213"/>
                  <a:pt x="933" y="213"/>
                  <a:pt x="933" y="213"/>
                </a:cubicBezTo>
                <a:cubicBezTo>
                  <a:pt x="932" y="214"/>
                  <a:pt x="932" y="214"/>
                  <a:pt x="931" y="213"/>
                </a:cubicBezTo>
                <a:cubicBezTo>
                  <a:pt x="931" y="214"/>
                  <a:pt x="931" y="214"/>
                  <a:pt x="930" y="214"/>
                </a:cubicBezTo>
                <a:cubicBezTo>
                  <a:pt x="930" y="215"/>
                  <a:pt x="931" y="216"/>
                  <a:pt x="931" y="216"/>
                </a:cubicBezTo>
                <a:cubicBezTo>
                  <a:pt x="930" y="216"/>
                  <a:pt x="931" y="217"/>
                  <a:pt x="930" y="217"/>
                </a:cubicBezTo>
                <a:cubicBezTo>
                  <a:pt x="930" y="218"/>
                  <a:pt x="930" y="219"/>
                  <a:pt x="930" y="219"/>
                </a:cubicBezTo>
                <a:cubicBezTo>
                  <a:pt x="930" y="220"/>
                  <a:pt x="930" y="220"/>
                  <a:pt x="931" y="221"/>
                </a:cubicBezTo>
                <a:cubicBezTo>
                  <a:pt x="931" y="220"/>
                  <a:pt x="932" y="220"/>
                  <a:pt x="932" y="220"/>
                </a:cubicBezTo>
                <a:cubicBezTo>
                  <a:pt x="932" y="221"/>
                  <a:pt x="932" y="222"/>
                  <a:pt x="932" y="224"/>
                </a:cubicBezTo>
                <a:cubicBezTo>
                  <a:pt x="932" y="224"/>
                  <a:pt x="931" y="223"/>
                  <a:pt x="931" y="224"/>
                </a:cubicBezTo>
                <a:cubicBezTo>
                  <a:pt x="931" y="225"/>
                  <a:pt x="931" y="225"/>
                  <a:pt x="931" y="226"/>
                </a:cubicBezTo>
                <a:cubicBezTo>
                  <a:pt x="931" y="227"/>
                  <a:pt x="932" y="227"/>
                  <a:pt x="932" y="229"/>
                </a:cubicBezTo>
                <a:cubicBezTo>
                  <a:pt x="932" y="230"/>
                  <a:pt x="931" y="230"/>
                  <a:pt x="930" y="230"/>
                </a:cubicBezTo>
                <a:cubicBezTo>
                  <a:pt x="929" y="230"/>
                  <a:pt x="926" y="231"/>
                  <a:pt x="926" y="230"/>
                </a:cubicBezTo>
                <a:cubicBezTo>
                  <a:pt x="926" y="229"/>
                  <a:pt x="925" y="227"/>
                  <a:pt x="924" y="227"/>
                </a:cubicBezTo>
                <a:cubicBezTo>
                  <a:pt x="924" y="226"/>
                  <a:pt x="924" y="226"/>
                  <a:pt x="924" y="225"/>
                </a:cubicBezTo>
                <a:cubicBezTo>
                  <a:pt x="923" y="225"/>
                  <a:pt x="923" y="225"/>
                  <a:pt x="922" y="226"/>
                </a:cubicBezTo>
                <a:cubicBezTo>
                  <a:pt x="921" y="226"/>
                  <a:pt x="921" y="226"/>
                  <a:pt x="920" y="227"/>
                </a:cubicBezTo>
                <a:cubicBezTo>
                  <a:pt x="920" y="227"/>
                  <a:pt x="920" y="227"/>
                  <a:pt x="920" y="227"/>
                </a:cubicBezTo>
                <a:cubicBezTo>
                  <a:pt x="920" y="228"/>
                  <a:pt x="920" y="227"/>
                  <a:pt x="920" y="228"/>
                </a:cubicBezTo>
                <a:cubicBezTo>
                  <a:pt x="920" y="228"/>
                  <a:pt x="920" y="228"/>
                  <a:pt x="920" y="228"/>
                </a:cubicBezTo>
                <a:cubicBezTo>
                  <a:pt x="919" y="229"/>
                  <a:pt x="919" y="229"/>
                  <a:pt x="919" y="229"/>
                </a:cubicBezTo>
                <a:cubicBezTo>
                  <a:pt x="919" y="229"/>
                  <a:pt x="918" y="230"/>
                  <a:pt x="918" y="230"/>
                </a:cubicBezTo>
                <a:cubicBezTo>
                  <a:pt x="918" y="231"/>
                  <a:pt x="918" y="231"/>
                  <a:pt x="918" y="232"/>
                </a:cubicBezTo>
                <a:cubicBezTo>
                  <a:pt x="918" y="232"/>
                  <a:pt x="918" y="232"/>
                  <a:pt x="917" y="232"/>
                </a:cubicBezTo>
                <a:cubicBezTo>
                  <a:pt x="917" y="232"/>
                  <a:pt x="917" y="233"/>
                  <a:pt x="917" y="234"/>
                </a:cubicBezTo>
                <a:cubicBezTo>
                  <a:pt x="917" y="234"/>
                  <a:pt x="917" y="233"/>
                  <a:pt x="917" y="234"/>
                </a:cubicBezTo>
                <a:cubicBezTo>
                  <a:pt x="917" y="235"/>
                  <a:pt x="917" y="236"/>
                  <a:pt x="917" y="236"/>
                </a:cubicBezTo>
                <a:cubicBezTo>
                  <a:pt x="916" y="237"/>
                  <a:pt x="916" y="239"/>
                  <a:pt x="916" y="240"/>
                </a:cubicBezTo>
                <a:cubicBezTo>
                  <a:pt x="916" y="240"/>
                  <a:pt x="917" y="240"/>
                  <a:pt x="917" y="240"/>
                </a:cubicBezTo>
                <a:cubicBezTo>
                  <a:pt x="917" y="241"/>
                  <a:pt x="917" y="241"/>
                  <a:pt x="917" y="241"/>
                </a:cubicBezTo>
                <a:cubicBezTo>
                  <a:pt x="916" y="241"/>
                  <a:pt x="917" y="241"/>
                  <a:pt x="917" y="242"/>
                </a:cubicBezTo>
                <a:cubicBezTo>
                  <a:pt x="917" y="242"/>
                  <a:pt x="917" y="243"/>
                  <a:pt x="916" y="243"/>
                </a:cubicBezTo>
                <a:cubicBezTo>
                  <a:pt x="917" y="244"/>
                  <a:pt x="915" y="245"/>
                  <a:pt x="914" y="245"/>
                </a:cubicBezTo>
                <a:cubicBezTo>
                  <a:pt x="915" y="244"/>
                  <a:pt x="915" y="244"/>
                  <a:pt x="915" y="242"/>
                </a:cubicBezTo>
                <a:cubicBezTo>
                  <a:pt x="914" y="243"/>
                  <a:pt x="913" y="243"/>
                  <a:pt x="913" y="244"/>
                </a:cubicBezTo>
                <a:cubicBezTo>
                  <a:pt x="912" y="244"/>
                  <a:pt x="912" y="244"/>
                  <a:pt x="912" y="244"/>
                </a:cubicBezTo>
                <a:cubicBezTo>
                  <a:pt x="912" y="245"/>
                  <a:pt x="911" y="246"/>
                  <a:pt x="911" y="246"/>
                </a:cubicBezTo>
                <a:cubicBezTo>
                  <a:pt x="912" y="246"/>
                  <a:pt x="912" y="246"/>
                  <a:pt x="912" y="247"/>
                </a:cubicBezTo>
                <a:cubicBezTo>
                  <a:pt x="912" y="247"/>
                  <a:pt x="912" y="247"/>
                  <a:pt x="911" y="247"/>
                </a:cubicBezTo>
                <a:cubicBezTo>
                  <a:pt x="911" y="248"/>
                  <a:pt x="911" y="248"/>
                  <a:pt x="911" y="249"/>
                </a:cubicBezTo>
                <a:cubicBezTo>
                  <a:pt x="910" y="249"/>
                  <a:pt x="910" y="250"/>
                  <a:pt x="910" y="251"/>
                </a:cubicBezTo>
                <a:cubicBezTo>
                  <a:pt x="909" y="251"/>
                  <a:pt x="909" y="250"/>
                  <a:pt x="909" y="250"/>
                </a:cubicBezTo>
                <a:cubicBezTo>
                  <a:pt x="909" y="250"/>
                  <a:pt x="909" y="250"/>
                  <a:pt x="909" y="249"/>
                </a:cubicBezTo>
                <a:cubicBezTo>
                  <a:pt x="908" y="249"/>
                  <a:pt x="908" y="250"/>
                  <a:pt x="907" y="250"/>
                </a:cubicBezTo>
                <a:cubicBezTo>
                  <a:pt x="906" y="250"/>
                  <a:pt x="906" y="251"/>
                  <a:pt x="905" y="251"/>
                </a:cubicBezTo>
                <a:cubicBezTo>
                  <a:pt x="904" y="251"/>
                  <a:pt x="905" y="250"/>
                  <a:pt x="904" y="249"/>
                </a:cubicBezTo>
                <a:cubicBezTo>
                  <a:pt x="905" y="249"/>
                  <a:pt x="905" y="250"/>
                  <a:pt x="906" y="249"/>
                </a:cubicBezTo>
                <a:cubicBezTo>
                  <a:pt x="906" y="249"/>
                  <a:pt x="907" y="249"/>
                  <a:pt x="905" y="248"/>
                </a:cubicBezTo>
                <a:cubicBezTo>
                  <a:pt x="905" y="248"/>
                  <a:pt x="904" y="248"/>
                  <a:pt x="904" y="248"/>
                </a:cubicBezTo>
                <a:cubicBezTo>
                  <a:pt x="904" y="247"/>
                  <a:pt x="903" y="248"/>
                  <a:pt x="904" y="248"/>
                </a:cubicBezTo>
                <a:cubicBezTo>
                  <a:pt x="903" y="248"/>
                  <a:pt x="902" y="248"/>
                  <a:pt x="901" y="248"/>
                </a:cubicBezTo>
                <a:cubicBezTo>
                  <a:pt x="901" y="248"/>
                  <a:pt x="901" y="249"/>
                  <a:pt x="901" y="249"/>
                </a:cubicBezTo>
                <a:cubicBezTo>
                  <a:pt x="900" y="249"/>
                  <a:pt x="900" y="249"/>
                  <a:pt x="900" y="249"/>
                </a:cubicBezTo>
                <a:cubicBezTo>
                  <a:pt x="899" y="249"/>
                  <a:pt x="899" y="249"/>
                  <a:pt x="899" y="249"/>
                </a:cubicBezTo>
                <a:cubicBezTo>
                  <a:pt x="898" y="249"/>
                  <a:pt x="899" y="250"/>
                  <a:pt x="898" y="250"/>
                </a:cubicBezTo>
                <a:cubicBezTo>
                  <a:pt x="898" y="250"/>
                  <a:pt x="898" y="250"/>
                  <a:pt x="898" y="250"/>
                </a:cubicBezTo>
                <a:cubicBezTo>
                  <a:pt x="897" y="250"/>
                  <a:pt x="896" y="250"/>
                  <a:pt x="896" y="250"/>
                </a:cubicBezTo>
                <a:cubicBezTo>
                  <a:pt x="896" y="250"/>
                  <a:pt x="895" y="251"/>
                  <a:pt x="895" y="251"/>
                </a:cubicBezTo>
                <a:cubicBezTo>
                  <a:pt x="894" y="251"/>
                  <a:pt x="894" y="251"/>
                  <a:pt x="894" y="252"/>
                </a:cubicBezTo>
                <a:cubicBezTo>
                  <a:pt x="893" y="252"/>
                  <a:pt x="893" y="251"/>
                  <a:pt x="892" y="251"/>
                </a:cubicBezTo>
                <a:cubicBezTo>
                  <a:pt x="892" y="252"/>
                  <a:pt x="891" y="252"/>
                  <a:pt x="891" y="252"/>
                </a:cubicBezTo>
                <a:cubicBezTo>
                  <a:pt x="889" y="252"/>
                  <a:pt x="887" y="253"/>
                  <a:pt x="885" y="253"/>
                </a:cubicBezTo>
                <a:cubicBezTo>
                  <a:pt x="885" y="253"/>
                  <a:pt x="884" y="252"/>
                  <a:pt x="884" y="252"/>
                </a:cubicBezTo>
                <a:cubicBezTo>
                  <a:pt x="883" y="252"/>
                  <a:pt x="883" y="252"/>
                  <a:pt x="883" y="252"/>
                </a:cubicBezTo>
                <a:cubicBezTo>
                  <a:pt x="882" y="252"/>
                  <a:pt x="882" y="252"/>
                  <a:pt x="882" y="251"/>
                </a:cubicBezTo>
                <a:cubicBezTo>
                  <a:pt x="881" y="251"/>
                  <a:pt x="881" y="252"/>
                  <a:pt x="881" y="252"/>
                </a:cubicBezTo>
                <a:cubicBezTo>
                  <a:pt x="881" y="251"/>
                  <a:pt x="877" y="251"/>
                  <a:pt x="878" y="250"/>
                </a:cubicBezTo>
                <a:cubicBezTo>
                  <a:pt x="876" y="250"/>
                  <a:pt x="874" y="251"/>
                  <a:pt x="874" y="253"/>
                </a:cubicBezTo>
                <a:cubicBezTo>
                  <a:pt x="874" y="253"/>
                  <a:pt x="874" y="252"/>
                  <a:pt x="874" y="252"/>
                </a:cubicBezTo>
                <a:cubicBezTo>
                  <a:pt x="874" y="253"/>
                  <a:pt x="872" y="253"/>
                  <a:pt x="872" y="253"/>
                </a:cubicBezTo>
                <a:cubicBezTo>
                  <a:pt x="872" y="254"/>
                  <a:pt x="872" y="254"/>
                  <a:pt x="872" y="254"/>
                </a:cubicBezTo>
                <a:cubicBezTo>
                  <a:pt x="872" y="254"/>
                  <a:pt x="870" y="253"/>
                  <a:pt x="870" y="253"/>
                </a:cubicBezTo>
                <a:cubicBezTo>
                  <a:pt x="870" y="252"/>
                  <a:pt x="870" y="252"/>
                  <a:pt x="869" y="252"/>
                </a:cubicBezTo>
                <a:cubicBezTo>
                  <a:pt x="868" y="252"/>
                  <a:pt x="867" y="252"/>
                  <a:pt x="867" y="252"/>
                </a:cubicBezTo>
                <a:cubicBezTo>
                  <a:pt x="867" y="252"/>
                  <a:pt x="866" y="252"/>
                  <a:pt x="866" y="252"/>
                </a:cubicBezTo>
                <a:cubicBezTo>
                  <a:pt x="866" y="251"/>
                  <a:pt x="866" y="251"/>
                  <a:pt x="866" y="250"/>
                </a:cubicBezTo>
                <a:cubicBezTo>
                  <a:pt x="866" y="250"/>
                  <a:pt x="866" y="250"/>
                  <a:pt x="866" y="250"/>
                </a:cubicBezTo>
                <a:cubicBezTo>
                  <a:pt x="866" y="249"/>
                  <a:pt x="865" y="250"/>
                  <a:pt x="865" y="249"/>
                </a:cubicBezTo>
                <a:cubicBezTo>
                  <a:pt x="865" y="248"/>
                  <a:pt x="865" y="248"/>
                  <a:pt x="864" y="248"/>
                </a:cubicBezTo>
                <a:cubicBezTo>
                  <a:pt x="863" y="248"/>
                  <a:pt x="864" y="247"/>
                  <a:pt x="864" y="247"/>
                </a:cubicBezTo>
                <a:cubicBezTo>
                  <a:pt x="865" y="247"/>
                  <a:pt x="865" y="246"/>
                  <a:pt x="866" y="245"/>
                </a:cubicBezTo>
                <a:cubicBezTo>
                  <a:pt x="866" y="245"/>
                  <a:pt x="865" y="245"/>
                  <a:pt x="865" y="245"/>
                </a:cubicBezTo>
                <a:cubicBezTo>
                  <a:pt x="865" y="246"/>
                  <a:pt x="864" y="246"/>
                  <a:pt x="863" y="246"/>
                </a:cubicBezTo>
                <a:cubicBezTo>
                  <a:pt x="863" y="246"/>
                  <a:pt x="863" y="244"/>
                  <a:pt x="864" y="244"/>
                </a:cubicBezTo>
                <a:cubicBezTo>
                  <a:pt x="864" y="244"/>
                  <a:pt x="864" y="243"/>
                  <a:pt x="864" y="243"/>
                </a:cubicBezTo>
                <a:cubicBezTo>
                  <a:pt x="864" y="243"/>
                  <a:pt x="864" y="243"/>
                  <a:pt x="864" y="242"/>
                </a:cubicBezTo>
                <a:cubicBezTo>
                  <a:pt x="864" y="241"/>
                  <a:pt x="865" y="242"/>
                  <a:pt x="865" y="241"/>
                </a:cubicBezTo>
                <a:cubicBezTo>
                  <a:pt x="865" y="241"/>
                  <a:pt x="865" y="240"/>
                  <a:pt x="865" y="240"/>
                </a:cubicBezTo>
                <a:cubicBezTo>
                  <a:pt x="866" y="240"/>
                  <a:pt x="866" y="240"/>
                  <a:pt x="866" y="239"/>
                </a:cubicBezTo>
                <a:cubicBezTo>
                  <a:pt x="866" y="238"/>
                  <a:pt x="867" y="237"/>
                  <a:pt x="867" y="236"/>
                </a:cubicBezTo>
                <a:cubicBezTo>
                  <a:pt x="867" y="236"/>
                  <a:pt x="868" y="237"/>
                  <a:pt x="868" y="237"/>
                </a:cubicBezTo>
                <a:cubicBezTo>
                  <a:pt x="869" y="237"/>
                  <a:pt x="869" y="236"/>
                  <a:pt x="870" y="235"/>
                </a:cubicBezTo>
                <a:cubicBezTo>
                  <a:pt x="869" y="235"/>
                  <a:pt x="868" y="235"/>
                  <a:pt x="868" y="235"/>
                </a:cubicBezTo>
                <a:cubicBezTo>
                  <a:pt x="867" y="234"/>
                  <a:pt x="867" y="234"/>
                  <a:pt x="867" y="233"/>
                </a:cubicBezTo>
                <a:cubicBezTo>
                  <a:pt x="867" y="232"/>
                  <a:pt x="867" y="231"/>
                  <a:pt x="867" y="230"/>
                </a:cubicBezTo>
                <a:cubicBezTo>
                  <a:pt x="866" y="230"/>
                  <a:pt x="866" y="230"/>
                  <a:pt x="865" y="230"/>
                </a:cubicBezTo>
                <a:cubicBezTo>
                  <a:pt x="865" y="230"/>
                  <a:pt x="864" y="230"/>
                  <a:pt x="864" y="230"/>
                </a:cubicBezTo>
                <a:cubicBezTo>
                  <a:pt x="865" y="229"/>
                  <a:pt x="866" y="229"/>
                  <a:pt x="867" y="229"/>
                </a:cubicBezTo>
                <a:cubicBezTo>
                  <a:pt x="866" y="229"/>
                  <a:pt x="867" y="228"/>
                  <a:pt x="867" y="228"/>
                </a:cubicBezTo>
                <a:cubicBezTo>
                  <a:pt x="868" y="228"/>
                  <a:pt x="868" y="228"/>
                  <a:pt x="868" y="227"/>
                </a:cubicBezTo>
                <a:cubicBezTo>
                  <a:pt x="868" y="225"/>
                  <a:pt x="868" y="225"/>
                  <a:pt x="868" y="224"/>
                </a:cubicBezTo>
                <a:cubicBezTo>
                  <a:pt x="868" y="224"/>
                  <a:pt x="867" y="225"/>
                  <a:pt x="867" y="225"/>
                </a:cubicBezTo>
                <a:cubicBezTo>
                  <a:pt x="867" y="225"/>
                  <a:pt x="864" y="225"/>
                  <a:pt x="864" y="226"/>
                </a:cubicBezTo>
                <a:cubicBezTo>
                  <a:pt x="864" y="226"/>
                  <a:pt x="864" y="227"/>
                  <a:pt x="863" y="228"/>
                </a:cubicBezTo>
                <a:cubicBezTo>
                  <a:pt x="863" y="229"/>
                  <a:pt x="861" y="228"/>
                  <a:pt x="860" y="228"/>
                </a:cubicBezTo>
                <a:cubicBezTo>
                  <a:pt x="860" y="228"/>
                  <a:pt x="860" y="228"/>
                  <a:pt x="859" y="228"/>
                </a:cubicBezTo>
                <a:cubicBezTo>
                  <a:pt x="859" y="228"/>
                  <a:pt x="858" y="229"/>
                  <a:pt x="858" y="229"/>
                </a:cubicBezTo>
                <a:cubicBezTo>
                  <a:pt x="858" y="229"/>
                  <a:pt x="857" y="230"/>
                  <a:pt x="857" y="230"/>
                </a:cubicBezTo>
                <a:cubicBezTo>
                  <a:pt x="856" y="231"/>
                  <a:pt x="856" y="231"/>
                  <a:pt x="856" y="232"/>
                </a:cubicBezTo>
                <a:cubicBezTo>
                  <a:pt x="856" y="232"/>
                  <a:pt x="857" y="232"/>
                  <a:pt x="857" y="232"/>
                </a:cubicBezTo>
                <a:cubicBezTo>
                  <a:pt x="858" y="232"/>
                  <a:pt x="858" y="232"/>
                  <a:pt x="858" y="231"/>
                </a:cubicBezTo>
                <a:cubicBezTo>
                  <a:pt x="859" y="230"/>
                  <a:pt x="860" y="230"/>
                  <a:pt x="860" y="230"/>
                </a:cubicBezTo>
                <a:cubicBezTo>
                  <a:pt x="861" y="230"/>
                  <a:pt x="862" y="230"/>
                  <a:pt x="863" y="230"/>
                </a:cubicBezTo>
                <a:cubicBezTo>
                  <a:pt x="863" y="230"/>
                  <a:pt x="862" y="231"/>
                  <a:pt x="862" y="231"/>
                </a:cubicBezTo>
                <a:cubicBezTo>
                  <a:pt x="863" y="232"/>
                  <a:pt x="863" y="232"/>
                  <a:pt x="863" y="232"/>
                </a:cubicBezTo>
                <a:cubicBezTo>
                  <a:pt x="863" y="233"/>
                  <a:pt x="863" y="234"/>
                  <a:pt x="863" y="233"/>
                </a:cubicBezTo>
                <a:cubicBezTo>
                  <a:pt x="863" y="233"/>
                  <a:pt x="862" y="232"/>
                  <a:pt x="862" y="232"/>
                </a:cubicBezTo>
                <a:cubicBezTo>
                  <a:pt x="861" y="232"/>
                  <a:pt x="861" y="232"/>
                  <a:pt x="860" y="233"/>
                </a:cubicBezTo>
                <a:cubicBezTo>
                  <a:pt x="860" y="233"/>
                  <a:pt x="860" y="233"/>
                  <a:pt x="860" y="234"/>
                </a:cubicBezTo>
                <a:cubicBezTo>
                  <a:pt x="859" y="235"/>
                  <a:pt x="859" y="234"/>
                  <a:pt x="858" y="234"/>
                </a:cubicBezTo>
                <a:cubicBezTo>
                  <a:pt x="857" y="234"/>
                  <a:pt x="857" y="234"/>
                  <a:pt x="856" y="234"/>
                </a:cubicBezTo>
                <a:cubicBezTo>
                  <a:pt x="856" y="234"/>
                  <a:pt x="856" y="235"/>
                  <a:pt x="856" y="235"/>
                </a:cubicBezTo>
                <a:cubicBezTo>
                  <a:pt x="856" y="236"/>
                  <a:pt x="855" y="238"/>
                  <a:pt x="856" y="238"/>
                </a:cubicBezTo>
                <a:cubicBezTo>
                  <a:pt x="857" y="238"/>
                  <a:pt x="857" y="239"/>
                  <a:pt x="857" y="239"/>
                </a:cubicBezTo>
                <a:cubicBezTo>
                  <a:pt x="857" y="240"/>
                  <a:pt x="856" y="240"/>
                  <a:pt x="856" y="241"/>
                </a:cubicBezTo>
                <a:cubicBezTo>
                  <a:pt x="856" y="242"/>
                  <a:pt x="857" y="242"/>
                  <a:pt x="857" y="243"/>
                </a:cubicBezTo>
                <a:cubicBezTo>
                  <a:pt x="858" y="244"/>
                  <a:pt x="858" y="244"/>
                  <a:pt x="858" y="244"/>
                </a:cubicBezTo>
                <a:cubicBezTo>
                  <a:pt x="859" y="244"/>
                  <a:pt x="859" y="245"/>
                  <a:pt x="859" y="245"/>
                </a:cubicBezTo>
                <a:cubicBezTo>
                  <a:pt x="859" y="246"/>
                  <a:pt x="858" y="246"/>
                  <a:pt x="858" y="248"/>
                </a:cubicBezTo>
                <a:cubicBezTo>
                  <a:pt x="860" y="247"/>
                  <a:pt x="860" y="250"/>
                  <a:pt x="860" y="251"/>
                </a:cubicBezTo>
                <a:cubicBezTo>
                  <a:pt x="860" y="251"/>
                  <a:pt x="860" y="251"/>
                  <a:pt x="860" y="251"/>
                </a:cubicBezTo>
                <a:cubicBezTo>
                  <a:pt x="859" y="251"/>
                  <a:pt x="859" y="253"/>
                  <a:pt x="859" y="253"/>
                </a:cubicBezTo>
                <a:cubicBezTo>
                  <a:pt x="860" y="254"/>
                  <a:pt x="861" y="254"/>
                  <a:pt x="861" y="255"/>
                </a:cubicBezTo>
                <a:cubicBezTo>
                  <a:pt x="860" y="255"/>
                  <a:pt x="859" y="255"/>
                  <a:pt x="859" y="255"/>
                </a:cubicBezTo>
                <a:cubicBezTo>
                  <a:pt x="859" y="256"/>
                  <a:pt x="859" y="257"/>
                  <a:pt x="858" y="257"/>
                </a:cubicBezTo>
                <a:cubicBezTo>
                  <a:pt x="858" y="257"/>
                  <a:pt x="857" y="258"/>
                  <a:pt x="857" y="258"/>
                </a:cubicBezTo>
                <a:cubicBezTo>
                  <a:pt x="857" y="258"/>
                  <a:pt x="857" y="258"/>
                  <a:pt x="857" y="257"/>
                </a:cubicBezTo>
                <a:cubicBezTo>
                  <a:pt x="856" y="256"/>
                  <a:pt x="854" y="257"/>
                  <a:pt x="853" y="258"/>
                </a:cubicBezTo>
                <a:cubicBezTo>
                  <a:pt x="851" y="259"/>
                  <a:pt x="854" y="260"/>
                  <a:pt x="854" y="261"/>
                </a:cubicBezTo>
                <a:cubicBezTo>
                  <a:pt x="853" y="261"/>
                  <a:pt x="852" y="260"/>
                  <a:pt x="852" y="259"/>
                </a:cubicBezTo>
                <a:cubicBezTo>
                  <a:pt x="852" y="258"/>
                  <a:pt x="851" y="258"/>
                  <a:pt x="850" y="258"/>
                </a:cubicBezTo>
                <a:cubicBezTo>
                  <a:pt x="850" y="258"/>
                  <a:pt x="847" y="259"/>
                  <a:pt x="847" y="258"/>
                </a:cubicBezTo>
                <a:cubicBezTo>
                  <a:pt x="847" y="258"/>
                  <a:pt x="846" y="258"/>
                  <a:pt x="845" y="258"/>
                </a:cubicBezTo>
                <a:cubicBezTo>
                  <a:pt x="845" y="258"/>
                  <a:pt x="844" y="258"/>
                  <a:pt x="844" y="259"/>
                </a:cubicBezTo>
                <a:cubicBezTo>
                  <a:pt x="844" y="260"/>
                  <a:pt x="844" y="259"/>
                  <a:pt x="844" y="259"/>
                </a:cubicBezTo>
                <a:cubicBezTo>
                  <a:pt x="844" y="260"/>
                  <a:pt x="843" y="260"/>
                  <a:pt x="843" y="260"/>
                </a:cubicBezTo>
                <a:cubicBezTo>
                  <a:pt x="842" y="261"/>
                  <a:pt x="841" y="260"/>
                  <a:pt x="840" y="261"/>
                </a:cubicBezTo>
                <a:cubicBezTo>
                  <a:pt x="840" y="262"/>
                  <a:pt x="840" y="261"/>
                  <a:pt x="840" y="262"/>
                </a:cubicBezTo>
                <a:cubicBezTo>
                  <a:pt x="840" y="262"/>
                  <a:pt x="839" y="263"/>
                  <a:pt x="839" y="263"/>
                </a:cubicBezTo>
                <a:cubicBezTo>
                  <a:pt x="839" y="265"/>
                  <a:pt x="838" y="266"/>
                  <a:pt x="839" y="267"/>
                </a:cubicBezTo>
                <a:cubicBezTo>
                  <a:pt x="839" y="267"/>
                  <a:pt x="837" y="268"/>
                  <a:pt x="837" y="268"/>
                </a:cubicBezTo>
                <a:cubicBezTo>
                  <a:pt x="837" y="269"/>
                  <a:pt x="838" y="269"/>
                  <a:pt x="838" y="269"/>
                </a:cubicBezTo>
                <a:cubicBezTo>
                  <a:pt x="838" y="270"/>
                  <a:pt x="837" y="270"/>
                  <a:pt x="837" y="270"/>
                </a:cubicBezTo>
                <a:cubicBezTo>
                  <a:pt x="837" y="270"/>
                  <a:pt x="836" y="270"/>
                  <a:pt x="836" y="270"/>
                </a:cubicBezTo>
                <a:cubicBezTo>
                  <a:pt x="835" y="270"/>
                  <a:pt x="835" y="271"/>
                  <a:pt x="834" y="270"/>
                </a:cubicBezTo>
                <a:cubicBezTo>
                  <a:pt x="834" y="270"/>
                  <a:pt x="834" y="269"/>
                  <a:pt x="833" y="270"/>
                </a:cubicBezTo>
                <a:cubicBezTo>
                  <a:pt x="832" y="270"/>
                  <a:pt x="833" y="270"/>
                  <a:pt x="832" y="270"/>
                </a:cubicBezTo>
                <a:cubicBezTo>
                  <a:pt x="831" y="270"/>
                  <a:pt x="831" y="270"/>
                  <a:pt x="830" y="270"/>
                </a:cubicBezTo>
                <a:cubicBezTo>
                  <a:pt x="830" y="270"/>
                  <a:pt x="830" y="271"/>
                  <a:pt x="830" y="271"/>
                </a:cubicBezTo>
                <a:cubicBezTo>
                  <a:pt x="830" y="271"/>
                  <a:pt x="830" y="271"/>
                  <a:pt x="829" y="271"/>
                </a:cubicBezTo>
                <a:cubicBezTo>
                  <a:pt x="829" y="271"/>
                  <a:pt x="829" y="271"/>
                  <a:pt x="829" y="271"/>
                </a:cubicBezTo>
                <a:cubicBezTo>
                  <a:pt x="828" y="271"/>
                  <a:pt x="828" y="271"/>
                  <a:pt x="827" y="272"/>
                </a:cubicBezTo>
                <a:cubicBezTo>
                  <a:pt x="826" y="272"/>
                  <a:pt x="825" y="272"/>
                  <a:pt x="825" y="272"/>
                </a:cubicBezTo>
                <a:cubicBezTo>
                  <a:pt x="825" y="272"/>
                  <a:pt x="825" y="272"/>
                  <a:pt x="825" y="272"/>
                </a:cubicBezTo>
                <a:cubicBezTo>
                  <a:pt x="824" y="273"/>
                  <a:pt x="824" y="273"/>
                  <a:pt x="823" y="273"/>
                </a:cubicBezTo>
                <a:cubicBezTo>
                  <a:pt x="824" y="274"/>
                  <a:pt x="824" y="276"/>
                  <a:pt x="823" y="277"/>
                </a:cubicBezTo>
                <a:cubicBezTo>
                  <a:pt x="823" y="278"/>
                  <a:pt x="824" y="278"/>
                  <a:pt x="824" y="278"/>
                </a:cubicBezTo>
                <a:cubicBezTo>
                  <a:pt x="824" y="278"/>
                  <a:pt x="824" y="278"/>
                  <a:pt x="824" y="279"/>
                </a:cubicBezTo>
                <a:cubicBezTo>
                  <a:pt x="823" y="278"/>
                  <a:pt x="821" y="279"/>
                  <a:pt x="821" y="279"/>
                </a:cubicBezTo>
                <a:cubicBezTo>
                  <a:pt x="819" y="280"/>
                  <a:pt x="818" y="280"/>
                  <a:pt x="818" y="282"/>
                </a:cubicBezTo>
                <a:cubicBezTo>
                  <a:pt x="818" y="282"/>
                  <a:pt x="818" y="282"/>
                  <a:pt x="817" y="282"/>
                </a:cubicBezTo>
                <a:cubicBezTo>
                  <a:pt x="816" y="282"/>
                  <a:pt x="816" y="283"/>
                  <a:pt x="815" y="283"/>
                </a:cubicBezTo>
                <a:cubicBezTo>
                  <a:pt x="815" y="283"/>
                  <a:pt x="814" y="283"/>
                  <a:pt x="813" y="283"/>
                </a:cubicBezTo>
                <a:cubicBezTo>
                  <a:pt x="812" y="283"/>
                  <a:pt x="812" y="283"/>
                  <a:pt x="811" y="284"/>
                </a:cubicBezTo>
                <a:cubicBezTo>
                  <a:pt x="811" y="283"/>
                  <a:pt x="811" y="282"/>
                  <a:pt x="811" y="281"/>
                </a:cubicBezTo>
                <a:cubicBezTo>
                  <a:pt x="810" y="281"/>
                  <a:pt x="809" y="281"/>
                  <a:pt x="808" y="281"/>
                </a:cubicBezTo>
                <a:cubicBezTo>
                  <a:pt x="808" y="282"/>
                  <a:pt x="808" y="282"/>
                  <a:pt x="808" y="283"/>
                </a:cubicBezTo>
                <a:cubicBezTo>
                  <a:pt x="808" y="284"/>
                  <a:pt x="809" y="283"/>
                  <a:pt x="809" y="284"/>
                </a:cubicBezTo>
                <a:cubicBezTo>
                  <a:pt x="809" y="284"/>
                  <a:pt x="809" y="284"/>
                  <a:pt x="809" y="284"/>
                </a:cubicBezTo>
                <a:cubicBezTo>
                  <a:pt x="809" y="284"/>
                  <a:pt x="809" y="284"/>
                  <a:pt x="809" y="284"/>
                </a:cubicBezTo>
                <a:cubicBezTo>
                  <a:pt x="810" y="285"/>
                  <a:pt x="809" y="287"/>
                  <a:pt x="810" y="287"/>
                </a:cubicBezTo>
                <a:cubicBezTo>
                  <a:pt x="810" y="288"/>
                  <a:pt x="811" y="289"/>
                  <a:pt x="810" y="289"/>
                </a:cubicBezTo>
                <a:cubicBezTo>
                  <a:pt x="809" y="289"/>
                  <a:pt x="809" y="289"/>
                  <a:pt x="808" y="289"/>
                </a:cubicBezTo>
                <a:cubicBezTo>
                  <a:pt x="808" y="289"/>
                  <a:pt x="808" y="289"/>
                  <a:pt x="807" y="289"/>
                </a:cubicBezTo>
                <a:cubicBezTo>
                  <a:pt x="808" y="289"/>
                  <a:pt x="807" y="287"/>
                  <a:pt x="807" y="288"/>
                </a:cubicBezTo>
                <a:cubicBezTo>
                  <a:pt x="807" y="289"/>
                  <a:pt x="806" y="288"/>
                  <a:pt x="806" y="288"/>
                </a:cubicBezTo>
                <a:cubicBezTo>
                  <a:pt x="806" y="288"/>
                  <a:pt x="806" y="289"/>
                  <a:pt x="806" y="289"/>
                </a:cubicBezTo>
                <a:cubicBezTo>
                  <a:pt x="805" y="289"/>
                  <a:pt x="804" y="289"/>
                  <a:pt x="804" y="289"/>
                </a:cubicBezTo>
                <a:cubicBezTo>
                  <a:pt x="804" y="289"/>
                  <a:pt x="803" y="290"/>
                  <a:pt x="803" y="290"/>
                </a:cubicBezTo>
                <a:cubicBezTo>
                  <a:pt x="802" y="290"/>
                  <a:pt x="802" y="289"/>
                  <a:pt x="801" y="289"/>
                </a:cubicBezTo>
                <a:cubicBezTo>
                  <a:pt x="801" y="288"/>
                  <a:pt x="800" y="288"/>
                  <a:pt x="799" y="288"/>
                </a:cubicBezTo>
                <a:cubicBezTo>
                  <a:pt x="799" y="288"/>
                  <a:pt x="798" y="288"/>
                  <a:pt x="798" y="289"/>
                </a:cubicBezTo>
                <a:cubicBezTo>
                  <a:pt x="797" y="289"/>
                  <a:pt x="794" y="289"/>
                  <a:pt x="794" y="290"/>
                </a:cubicBezTo>
                <a:cubicBezTo>
                  <a:pt x="795" y="291"/>
                  <a:pt x="795" y="291"/>
                  <a:pt x="796" y="291"/>
                </a:cubicBezTo>
                <a:cubicBezTo>
                  <a:pt x="796" y="292"/>
                  <a:pt x="796" y="292"/>
                  <a:pt x="796" y="292"/>
                </a:cubicBezTo>
                <a:cubicBezTo>
                  <a:pt x="795" y="292"/>
                  <a:pt x="795" y="292"/>
                  <a:pt x="794" y="292"/>
                </a:cubicBezTo>
                <a:cubicBezTo>
                  <a:pt x="794" y="293"/>
                  <a:pt x="795" y="293"/>
                  <a:pt x="793" y="294"/>
                </a:cubicBezTo>
                <a:cubicBezTo>
                  <a:pt x="794" y="295"/>
                  <a:pt x="795" y="294"/>
                  <a:pt x="796" y="294"/>
                </a:cubicBezTo>
                <a:cubicBezTo>
                  <a:pt x="797" y="294"/>
                  <a:pt x="797" y="293"/>
                  <a:pt x="798" y="294"/>
                </a:cubicBezTo>
                <a:cubicBezTo>
                  <a:pt x="798" y="295"/>
                  <a:pt x="798" y="295"/>
                  <a:pt x="799" y="295"/>
                </a:cubicBezTo>
                <a:cubicBezTo>
                  <a:pt x="799" y="295"/>
                  <a:pt x="799" y="295"/>
                  <a:pt x="799" y="296"/>
                </a:cubicBezTo>
                <a:cubicBezTo>
                  <a:pt x="800" y="296"/>
                  <a:pt x="800" y="296"/>
                  <a:pt x="800" y="296"/>
                </a:cubicBezTo>
                <a:cubicBezTo>
                  <a:pt x="801" y="297"/>
                  <a:pt x="801" y="299"/>
                  <a:pt x="801" y="297"/>
                </a:cubicBezTo>
                <a:cubicBezTo>
                  <a:pt x="802" y="296"/>
                  <a:pt x="801" y="296"/>
                  <a:pt x="802" y="296"/>
                </a:cubicBezTo>
                <a:cubicBezTo>
                  <a:pt x="803" y="296"/>
                  <a:pt x="802" y="296"/>
                  <a:pt x="803" y="296"/>
                </a:cubicBezTo>
                <a:cubicBezTo>
                  <a:pt x="803" y="296"/>
                  <a:pt x="803" y="296"/>
                  <a:pt x="804" y="296"/>
                </a:cubicBezTo>
                <a:cubicBezTo>
                  <a:pt x="803" y="297"/>
                  <a:pt x="802" y="297"/>
                  <a:pt x="802" y="298"/>
                </a:cubicBezTo>
                <a:cubicBezTo>
                  <a:pt x="802" y="298"/>
                  <a:pt x="804" y="298"/>
                  <a:pt x="804" y="298"/>
                </a:cubicBezTo>
                <a:cubicBezTo>
                  <a:pt x="804" y="298"/>
                  <a:pt x="804" y="299"/>
                  <a:pt x="804" y="299"/>
                </a:cubicBezTo>
                <a:cubicBezTo>
                  <a:pt x="804" y="299"/>
                  <a:pt x="804" y="299"/>
                  <a:pt x="804" y="299"/>
                </a:cubicBezTo>
                <a:cubicBezTo>
                  <a:pt x="805" y="299"/>
                  <a:pt x="805" y="299"/>
                  <a:pt x="806" y="299"/>
                </a:cubicBezTo>
                <a:cubicBezTo>
                  <a:pt x="806" y="300"/>
                  <a:pt x="806" y="300"/>
                  <a:pt x="805" y="300"/>
                </a:cubicBezTo>
                <a:cubicBezTo>
                  <a:pt x="806" y="301"/>
                  <a:pt x="806" y="301"/>
                  <a:pt x="806" y="301"/>
                </a:cubicBezTo>
                <a:cubicBezTo>
                  <a:pt x="806" y="303"/>
                  <a:pt x="806" y="303"/>
                  <a:pt x="807" y="303"/>
                </a:cubicBezTo>
                <a:cubicBezTo>
                  <a:pt x="807" y="303"/>
                  <a:pt x="807" y="304"/>
                  <a:pt x="807" y="304"/>
                </a:cubicBezTo>
                <a:cubicBezTo>
                  <a:pt x="808" y="304"/>
                  <a:pt x="808" y="304"/>
                  <a:pt x="808" y="305"/>
                </a:cubicBezTo>
                <a:cubicBezTo>
                  <a:pt x="809" y="306"/>
                  <a:pt x="810" y="306"/>
                  <a:pt x="811" y="306"/>
                </a:cubicBezTo>
                <a:cubicBezTo>
                  <a:pt x="811" y="307"/>
                  <a:pt x="811" y="307"/>
                  <a:pt x="812" y="307"/>
                </a:cubicBezTo>
                <a:cubicBezTo>
                  <a:pt x="812" y="308"/>
                  <a:pt x="812" y="309"/>
                  <a:pt x="812" y="309"/>
                </a:cubicBezTo>
                <a:cubicBezTo>
                  <a:pt x="812" y="310"/>
                  <a:pt x="812" y="310"/>
                  <a:pt x="812" y="311"/>
                </a:cubicBezTo>
                <a:cubicBezTo>
                  <a:pt x="813" y="311"/>
                  <a:pt x="813" y="312"/>
                  <a:pt x="812" y="312"/>
                </a:cubicBezTo>
                <a:cubicBezTo>
                  <a:pt x="812" y="312"/>
                  <a:pt x="812" y="313"/>
                  <a:pt x="812" y="313"/>
                </a:cubicBezTo>
                <a:cubicBezTo>
                  <a:pt x="812" y="314"/>
                  <a:pt x="812" y="314"/>
                  <a:pt x="812" y="315"/>
                </a:cubicBezTo>
                <a:cubicBezTo>
                  <a:pt x="812" y="316"/>
                  <a:pt x="813" y="315"/>
                  <a:pt x="813" y="316"/>
                </a:cubicBezTo>
                <a:cubicBezTo>
                  <a:pt x="813" y="316"/>
                  <a:pt x="812" y="319"/>
                  <a:pt x="812" y="319"/>
                </a:cubicBezTo>
                <a:cubicBezTo>
                  <a:pt x="812" y="319"/>
                  <a:pt x="812" y="320"/>
                  <a:pt x="812" y="321"/>
                </a:cubicBezTo>
                <a:cubicBezTo>
                  <a:pt x="812" y="322"/>
                  <a:pt x="810" y="324"/>
                  <a:pt x="809" y="324"/>
                </a:cubicBezTo>
                <a:cubicBezTo>
                  <a:pt x="808" y="324"/>
                  <a:pt x="806" y="324"/>
                  <a:pt x="805" y="324"/>
                </a:cubicBezTo>
                <a:cubicBezTo>
                  <a:pt x="805" y="324"/>
                  <a:pt x="804" y="323"/>
                  <a:pt x="804" y="323"/>
                </a:cubicBezTo>
                <a:cubicBezTo>
                  <a:pt x="804" y="323"/>
                  <a:pt x="801" y="323"/>
                  <a:pt x="801" y="322"/>
                </a:cubicBezTo>
                <a:cubicBezTo>
                  <a:pt x="800" y="322"/>
                  <a:pt x="800" y="323"/>
                  <a:pt x="799" y="323"/>
                </a:cubicBezTo>
                <a:cubicBezTo>
                  <a:pt x="799" y="323"/>
                  <a:pt x="799" y="322"/>
                  <a:pt x="798" y="322"/>
                </a:cubicBezTo>
                <a:cubicBezTo>
                  <a:pt x="798" y="322"/>
                  <a:pt x="797" y="322"/>
                  <a:pt x="797" y="322"/>
                </a:cubicBezTo>
                <a:cubicBezTo>
                  <a:pt x="796" y="322"/>
                  <a:pt x="796" y="323"/>
                  <a:pt x="796" y="323"/>
                </a:cubicBezTo>
                <a:cubicBezTo>
                  <a:pt x="795" y="323"/>
                  <a:pt x="795" y="322"/>
                  <a:pt x="794" y="322"/>
                </a:cubicBezTo>
                <a:cubicBezTo>
                  <a:pt x="794" y="322"/>
                  <a:pt x="794" y="322"/>
                  <a:pt x="793" y="322"/>
                </a:cubicBezTo>
                <a:cubicBezTo>
                  <a:pt x="793" y="322"/>
                  <a:pt x="792" y="322"/>
                  <a:pt x="792" y="322"/>
                </a:cubicBezTo>
                <a:cubicBezTo>
                  <a:pt x="791" y="322"/>
                  <a:pt x="790" y="322"/>
                  <a:pt x="788" y="322"/>
                </a:cubicBezTo>
                <a:cubicBezTo>
                  <a:pt x="788" y="322"/>
                  <a:pt x="785" y="322"/>
                  <a:pt x="785" y="322"/>
                </a:cubicBezTo>
                <a:cubicBezTo>
                  <a:pt x="784" y="322"/>
                  <a:pt x="784" y="321"/>
                  <a:pt x="784" y="321"/>
                </a:cubicBezTo>
                <a:cubicBezTo>
                  <a:pt x="783" y="321"/>
                  <a:pt x="782" y="321"/>
                  <a:pt x="782" y="321"/>
                </a:cubicBezTo>
                <a:cubicBezTo>
                  <a:pt x="780" y="321"/>
                  <a:pt x="780" y="322"/>
                  <a:pt x="779" y="322"/>
                </a:cubicBezTo>
                <a:cubicBezTo>
                  <a:pt x="778" y="322"/>
                  <a:pt x="778" y="323"/>
                  <a:pt x="778" y="323"/>
                </a:cubicBezTo>
                <a:cubicBezTo>
                  <a:pt x="778" y="323"/>
                  <a:pt x="777" y="323"/>
                  <a:pt x="776" y="323"/>
                </a:cubicBezTo>
                <a:cubicBezTo>
                  <a:pt x="776" y="323"/>
                  <a:pt x="776" y="323"/>
                  <a:pt x="776" y="323"/>
                </a:cubicBezTo>
                <a:cubicBezTo>
                  <a:pt x="776" y="322"/>
                  <a:pt x="773" y="324"/>
                  <a:pt x="773" y="325"/>
                </a:cubicBezTo>
                <a:cubicBezTo>
                  <a:pt x="772" y="325"/>
                  <a:pt x="772" y="324"/>
                  <a:pt x="772" y="325"/>
                </a:cubicBezTo>
                <a:cubicBezTo>
                  <a:pt x="772" y="326"/>
                  <a:pt x="773" y="326"/>
                  <a:pt x="773" y="326"/>
                </a:cubicBezTo>
                <a:cubicBezTo>
                  <a:pt x="773" y="326"/>
                  <a:pt x="773" y="327"/>
                  <a:pt x="774" y="327"/>
                </a:cubicBezTo>
                <a:cubicBezTo>
                  <a:pt x="774" y="327"/>
                  <a:pt x="773" y="327"/>
                  <a:pt x="773" y="328"/>
                </a:cubicBezTo>
                <a:cubicBezTo>
                  <a:pt x="775" y="328"/>
                  <a:pt x="774" y="328"/>
                  <a:pt x="775" y="329"/>
                </a:cubicBezTo>
                <a:cubicBezTo>
                  <a:pt x="775" y="330"/>
                  <a:pt x="775" y="330"/>
                  <a:pt x="776" y="330"/>
                </a:cubicBezTo>
                <a:cubicBezTo>
                  <a:pt x="775" y="331"/>
                  <a:pt x="774" y="331"/>
                  <a:pt x="774" y="332"/>
                </a:cubicBezTo>
                <a:cubicBezTo>
                  <a:pt x="775" y="332"/>
                  <a:pt x="775" y="333"/>
                  <a:pt x="775" y="334"/>
                </a:cubicBezTo>
                <a:cubicBezTo>
                  <a:pt x="775" y="335"/>
                  <a:pt x="775" y="335"/>
                  <a:pt x="775" y="336"/>
                </a:cubicBezTo>
                <a:cubicBezTo>
                  <a:pt x="776" y="337"/>
                  <a:pt x="776" y="336"/>
                  <a:pt x="776" y="337"/>
                </a:cubicBezTo>
                <a:cubicBezTo>
                  <a:pt x="776" y="337"/>
                  <a:pt x="776" y="337"/>
                  <a:pt x="776" y="338"/>
                </a:cubicBezTo>
                <a:cubicBezTo>
                  <a:pt x="776" y="338"/>
                  <a:pt x="776" y="338"/>
                  <a:pt x="776" y="339"/>
                </a:cubicBezTo>
                <a:cubicBezTo>
                  <a:pt x="776" y="339"/>
                  <a:pt x="776" y="339"/>
                  <a:pt x="776" y="339"/>
                </a:cubicBezTo>
                <a:cubicBezTo>
                  <a:pt x="775" y="339"/>
                  <a:pt x="776" y="340"/>
                  <a:pt x="776" y="340"/>
                </a:cubicBezTo>
                <a:cubicBezTo>
                  <a:pt x="776" y="341"/>
                  <a:pt x="776" y="341"/>
                  <a:pt x="776" y="341"/>
                </a:cubicBezTo>
                <a:cubicBezTo>
                  <a:pt x="776" y="341"/>
                  <a:pt x="775" y="341"/>
                  <a:pt x="775" y="341"/>
                </a:cubicBezTo>
                <a:cubicBezTo>
                  <a:pt x="775" y="341"/>
                  <a:pt x="775" y="342"/>
                  <a:pt x="775" y="342"/>
                </a:cubicBezTo>
                <a:cubicBezTo>
                  <a:pt x="775" y="342"/>
                  <a:pt x="774" y="343"/>
                  <a:pt x="774" y="343"/>
                </a:cubicBezTo>
                <a:cubicBezTo>
                  <a:pt x="774" y="343"/>
                  <a:pt x="774" y="343"/>
                  <a:pt x="775" y="344"/>
                </a:cubicBezTo>
                <a:cubicBezTo>
                  <a:pt x="775" y="346"/>
                  <a:pt x="774" y="344"/>
                  <a:pt x="774" y="344"/>
                </a:cubicBezTo>
                <a:cubicBezTo>
                  <a:pt x="774" y="345"/>
                  <a:pt x="773" y="346"/>
                  <a:pt x="773" y="347"/>
                </a:cubicBezTo>
                <a:cubicBezTo>
                  <a:pt x="773" y="347"/>
                  <a:pt x="773" y="347"/>
                  <a:pt x="772" y="348"/>
                </a:cubicBezTo>
                <a:cubicBezTo>
                  <a:pt x="772" y="348"/>
                  <a:pt x="773" y="349"/>
                  <a:pt x="772" y="349"/>
                </a:cubicBezTo>
                <a:cubicBezTo>
                  <a:pt x="772" y="350"/>
                  <a:pt x="772" y="350"/>
                  <a:pt x="772" y="351"/>
                </a:cubicBezTo>
                <a:cubicBezTo>
                  <a:pt x="772" y="352"/>
                  <a:pt x="772" y="351"/>
                  <a:pt x="772" y="352"/>
                </a:cubicBezTo>
                <a:cubicBezTo>
                  <a:pt x="772" y="352"/>
                  <a:pt x="772" y="353"/>
                  <a:pt x="773" y="352"/>
                </a:cubicBezTo>
                <a:cubicBezTo>
                  <a:pt x="773" y="351"/>
                  <a:pt x="774" y="351"/>
                  <a:pt x="774" y="351"/>
                </a:cubicBezTo>
                <a:cubicBezTo>
                  <a:pt x="774" y="352"/>
                  <a:pt x="774" y="352"/>
                  <a:pt x="773" y="352"/>
                </a:cubicBezTo>
                <a:cubicBezTo>
                  <a:pt x="773" y="353"/>
                  <a:pt x="773" y="353"/>
                  <a:pt x="773" y="353"/>
                </a:cubicBezTo>
                <a:cubicBezTo>
                  <a:pt x="773" y="354"/>
                  <a:pt x="773" y="354"/>
                  <a:pt x="774" y="354"/>
                </a:cubicBezTo>
                <a:cubicBezTo>
                  <a:pt x="774" y="354"/>
                  <a:pt x="774" y="357"/>
                  <a:pt x="774" y="358"/>
                </a:cubicBezTo>
                <a:cubicBezTo>
                  <a:pt x="774" y="357"/>
                  <a:pt x="773" y="361"/>
                  <a:pt x="773" y="362"/>
                </a:cubicBezTo>
                <a:cubicBezTo>
                  <a:pt x="774" y="362"/>
                  <a:pt x="775" y="361"/>
                  <a:pt x="776" y="362"/>
                </a:cubicBezTo>
                <a:cubicBezTo>
                  <a:pt x="776" y="362"/>
                  <a:pt x="776" y="362"/>
                  <a:pt x="777" y="362"/>
                </a:cubicBezTo>
                <a:cubicBezTo>
                  <a:pt x="777" y="362"/>
                  <a:pt x="778" y="362"/>
                  <a:pt x="778" y="363"/>
                </a:cubicBezTo>
                <a:cubicBezTo>
                  <a:pt x="779" y="363"/>
                  <a:pt x="779" y="363"/>
                  <a:pt x="780" y="363"/>
                </a:cubicBezTo>
                <a:cubicBezTo>
                  <a:pt x="781" y="362"/>
                  <a:pt x="781" y="362"/>
                  <a:pt x="782" y="362"/>
                </a:cubicBezTo>
                <a:cubicBezTo>
                  <a:pt x="783" y="362"/>
                  <a:pt x="783" y="362"/>
                  <a:pt x="783" y="362"/>
                </a:cubicBezTo>
                <a:cubicBezTo>
                  <a:pt x="784" y="362"/>
                  <a:pt x="784" y="362"/>
                  <a:pt x="785" y="362"/>
                </a:cubicBezTo>
                <a:cubicBezTo>
                  <a:pt x="785" y="363"/>
                  <a:pt x="785" y="363"/>
                  <a:pt x="786" y="363"/>
                </a:cubicBezTo>
                <a:cubicBezTo>
                  <a:pt x="785" y="363"/>
                  <a:pt x="787" y="364"/>
                  <a:pt x="786" y="364"/>
                </a:cubicBezTo>
                <a:cubicBezTo>
                  <a:pt x="787" y="364"/>
                  <a:pt x="787" y="365"/>
                  <a:pt x="787" y="365"/>
                </a:cubicBezTo>
                <a:cubicBezTo>
                  <a:pt x="787" y="367"/>
                  <a:pt x="787" y="365"/>
                  <a:pt x="787" y="366"/>
                </a:cubicBezTo>
                <a:cubicBezTo>
                  <a:pt x="788" y="366"/>
                  <a:pt x="788" y="367"/>
                  <a:pt x="789" y="367"/>
                </a:cubicBezTo>
                <a:cubicBezTo>
                  <a:pt x="789" y="368"/>
                  <a:pt x="789" y="368"/>
                  <a:pt x="790" y="368"/>
                </a:cubicBezTo>
                <a:cubicBezTo>
                  <a:pt x="791" y="368"/>
                  <a:pt x="791" y="368"/>
                  <a:pt x="791" y="367"/>
                </a:cubicBezTo>
                <a:cubicBezTo>
                  <a:pt x="792" y="367"/>
                  <a:pt x="793" y="367"/>
                  <a:pt x="793" y="366"/>
                </a:cubicBezTo>
                <a:cubicBezTo>
                  <a:pt x="793" y="366"/>
                  <a:pt x="793" y="366"/>
                  <a:pt x="794" y="366"/>
                </a:cubicBezTo>
                <a:cubicBezTo>
                  <a:pt x="795" y="366"/>
                  <a:pt x="795" y="366"/>
                  <a:pt x="796" y="365"/>
                </a:cubicBezTo>
                <a:cubicBezTo>
                  <a:pt x="796" y="364"/>
                  <a:pt x="797" y="364"/>
                  <a:pt x="798" y="365"/>
                </a:cubicBezTo>
                <a:cubicBezTo>
                  <a:pt x="798" y="365"/>
                  <a:pt x="797" y="366"/>
                  <a:pt x="798" y="365"/>
                </a:cubicBezTo>
                <a:cubicBezTo>
                  <a:pt x="799" y="365"/>
                  <a:pt x="799" y="365"/>
                  <a:pt x="799" y="365"/>
                </a:cubicBezTo>
                <a:cubicBezTo>
                  <a:pt x="799" y="366"/>
                  <a:pt x="801" y="365"/>
                  <a:pt x="801" y="366"/>
                </a:cubicBezTo>
                <a:cubicBezTo>
                  <a:pt x="801" y="365"/>
                  <a:pt x="802" y="365"/>
                  <a:pt x="802" y="365"/>
                </a:cubicBezTo>
                <a:cubicBezTo>
                  <a:pt x="802" y="365"/>
                  <a:pt x="802" y="365"/>
                  <a:pt x="803" y="365"/>
                </a:cubicBezTo>
                <a:cubicBezTo>
                  <a:pt x="803" y="365"/>
                  <a:pt x="804" y="365"/>
                  <a:pt x="804" y="365"/>
                </a:cubicBezTo>
                <a:cubicBezTo>
                  <a:pt x="805" y="365"/>
                  <a:pt x="805" y="364"/>
                  <a:pt x="805" y="364"/>
                </a:cubicBezTo>
                <a:cubicBezTo>
                  <a:pt x="806" y="364"/>
                  <a:pt x="806" y="364"/>
                  <a:pt x="806" y="363"/>
                </a:cubicBezTo>
                <a:cubicBezTo>
                  <a:pt x="806" y="362"/>
                  <a:pt x="807" y="362"/>
                  <a:pt x="807" y="361"/>
                </a:cubicBezTo>
                <a:cubicBezTo>
                  <a:pt x="808" y="361"/>
                  <a:pt x="808" y="361"/>
                  <a:pt x="808" y="361"/>
                </a:cubicBezTo>
                <a:cubicBezTo>
                  <a:pt x="809" y="360"/>
                  <a:pt x="809" y="360"/>
                  <a:pt x="810" y="360"/>
                </a:cubicBezTo>
                <a:cubicBezTo>
                  <a:pt x="810" y="359"/>
                  <a:pt x="811" y="359"/>
                  <a:pt x="811" y="359"/>
                </a:cubicBezTo>
                <a:cubicBezTo>
                  <a:pt x="812" y="359"/>
                  <a:pt x="813" y="358"/>
                  <a:pt x="813" y="358"/>
                </a:cubicBezTo>
                <a:cubicBezTo>
                  <a:pt x="813" y="357"/>
                  <a:pt x="813" y="357"/>
                  <a:pt x="813" y="356"/>
                </a:cubicBezTo>
                <a:cubicBezTo>
                  <a:pt x="813" y="355"/>
                  <a:pt x="814" y="355"/>
                  <a:pt x="815" y="354"/>
                </a:cubicBezTo>
                <a:cubicBezTo>
                  <a:pt x="815" y="354"/>
                  <a:pt x="815" y="354"/>
                  <a:pt x="815" y="354"/>
                </a:cubicBezTo>
                <a:cubicBezTo>
                  <a:pt x="815" y="354"/>
                  <a:pt x="815" y="353"/>
                  <a:pt x="816" y="353"/>
                </a:cubicBezTo>
                <a:cubicBezTo>
                  <a:pt x="816" y="353"/>
                  <a:pt x="816" y="352"/>
                  <a:pt x="817" y="352"/>
                </a:cubicBezTo>
                <a:cubicBezTo>
                  <a:pt x="818" y="351"/>
                  <a:pt x="818" y="351"/>
                  <a:pt x="818" y="350"/>
                </a:cubicBezTo>
                <a:cubicBezTo>
                  <a:pt x="818" y="350"/>
                  <a:pt x="817" y="350"/>
                  <a:pt x="817" y="349"/>
                </a:cubicBezTo>
                <a:cubicBezTo>
                  <a:pt x="816" y="348"/>
                  <a:pt x="816" y="347"/>
                  <a:pt x="816" y="347"/>
                </a:cubicBezTo>
                <a:cubicBezTo>
                  <a:pt x="816" y="346"/>
                  <a:pt x="817" y="346"/>
                  <a:pt x="817" y="346"/>
                </a:cubicBezTo>
                <a:cubicBezTo>
                  <a:pt x="817" y="345"/>
                  <a:pt x="818" y="346"/>
                  <a:pt x="818" y="345"/>
                </a:cubicBezTo>
                <a:cubicBezTo>
                  <a:pt x="818" y="344"/>
                  <a:pt x="818" y="344"/>
                  <a:pt x="819" y="344"/>
                </a:cubicBezTo>
                <a:cubicBezTo>
                  <a:pt x="819" y="344"/>
                  <a:pt x="819" y="343"/>
                  <a:pt x="819" y="343"/>
                </a:cubicBezTo>
                <a:cubicBezTo>
                  <a:pt x="819" y="343"/>
                  <a:pt x="819" y="343"/>
                  <a:pt x="819" y="343"/>
                </a:cubicBezTo>
                <a:cubicBezTo>
                  <a:pt x="819" y="343"/>
                  <a:pt x="819" y="343"/>
                  <a:pt x="819" y="343"/>
                </a:cubicBezTo>
                <a:cubicBezTo>
                  <a:pt x="819" y="342"/>
                  <a:pt x="820" y="342"/>
                  <a:pt x="820" y="342"/>
                </a:cubicBezTo>
                <a:cubicBezTo>
                  <a:pt x="821" y="341"/>
                  <a:pt x="820" y="340"/>
                  <a:pt x="822" y="340"/>
                </a:cubicBezTo>
                <a:cubicBezTo>
                  <a:pt x="822" y="339"/>
                  <a:pt x="824" y="337"/>
                  <a:pt x="824" y="337"/>
                </a:cubicBezTo>
                <a:cubicBezTo>
                  <a:pt x="825" y="337"/>
                  <a:pt x="825" y="336"/>
                  <a:pt x="825" y="336"/>
                </a:cubicBezTo>
                <a:cubicBezTo>
                  <a:pt x="826" y="336"/>
                  <a:pt x="826" y="336"/>
                  <a:pt x="826" y="336"/>
                </a:cubicBezTo>
                <a:cubicBezTo>
                  <a:pt x="827" y="336"/>
                  <a:pt x="826" y="336"/>
                  <a:pt x="826" y="336"/>
                </a:cubicBezTo>
                <a:cubicBezTo>
                  <a:pt x="827" y="336"/>
                  <a:pt x="827" y="336"/>
                  <a:pt x="828" y="336"/>
                </a:cubicBezTo>
                <a:cubicBezTo>
                  <a:pt x="828" y="336"/>
                  <a:pt x="828" y="336"/>
                  <a:pt x="828" y="336"/>
                </a:cubicBezTo>
                <a:cubicBezTo>
                  <a:pt x="828" y="335"/>
                  <a:pt x="828" y="335"/>
                  <a:pt x="829" y="335"/>
                </a:cubicBezTo>
                <a:cubicBezTo>
                  <a:pt x="830" y="335"/>
                  <a:pt x="831" y="334"/>
                  <a:pt x="831" y="333"/>
                </a:cubicBezTo>
                <a:cubicBezTo>
                  <a:pt x="832" y="333"/>
                  <a:pt x="832" y="332"/>
                  <a:pt x="833" y="332"/>
                </a:cubicBezTo>
                <a:cubicBezTo>
                  <a:pt x="832" y="332"/>
                  <a:pt x="833" y="329"/>
                  <a:pt x="832" y="329"/>
                </a:cubicBezTo>
                <a:cubicBezTo>
                  <a:pt x="832" y="328"/>
                  <a:pt x="832" y="327"/>
                  <a:pt x="832" y="327"/>
                </a:cubicBezTo>
                <a:cubicBezTo>
                  <a:pt x="832" y="326"/>
                  <a:pt x="832" y="326"/>
                  <a:pt x="832" y="325"/>
                </a:cubicBezTo>
                <a:cubicBezTo>
                  <a:pt x="833" y="325"/>
                  <a:pt x="833" y="325"/>
                  <a:pt x="833" y="325"/>
                </a:cubicBezTo>
                <a:cubicBezTo>
                  <a:pt x="834" y="325"/>
                  <a:pt x="834" y="325"/>
                  <a:pt x="834" y="324"/>
                </a:cubicBezTo>
                <a:cubicBezTo>
                  <a:pt x="834" y="324"/>
                  <a:pt x="835" y="324"/>
                  <a:pt x="835" y="324"/>
                </a:cubicBezTo>
                <a:cubicBezTo>
                  <a:pt x="836" y="324"/>
                  <a:pt x="835" y="323"/>
                  <a:pt x="836" y="323"/>
                </a:cubicBezTo>
                <a:cubicBezTo>
                  <a:pt x="837" y="323"/>
                  <a:pt x="840" y="322"/>
                  <a:pt x="840" y="324"/>
                </a:cubicBezTo>
                <a:cubicBezTo>
                  <a:pt x="841" y="323"/>
                  <a:pt x="841" y="323"/>
                  <a:pt x="841" y="323"/>
                </a:cubicBezTo>
                <a:cubicBezTo>
                  <a:pt x="842" y="323"/>
                  <a:pt x="842" y="324"/>
                  <a:pt x="842" y="324"/>
                </a:cubicBezTo>
                <a:cubicBezTo>
                  <a:pt x="843" y="324"/>
                  <a:pt x="843" y="324"/>
                  <a:pt x="843" y="324"/>
                </a:cubicBezTo>
                <a:cubicBezTo>
                  <a:pt x="843" y="324"/>
                  <a:pt x="843" y="324"/>
                  <a:pt x="843" y="324"/>
                </a:cubicBezTo>
                <a:cubicBezTo>
                  <a:pt x="845" y="325"/>
                  <a:pt x="845" y="326"/>
                  <a:pt x="846" y="325"/>
                </a:cubicBezTo>
                <a:cubicBezTo>
                  <a:pt x="847" y="325"/>
                  <a:pt x="848" y="325"/>
                  <a:pt x="848" y="325"/>
                </a:cubicBezTo>
                <a:cubicBezTo>
                  <a:pt x="848" y="324"/>
                  <a:pt x="849" y="324"/>
                  <a:pt x="849" y="324"/>
                </a:cubicBezTo>
                <a:cubicBezTo>
                  <a:pt x="849" y="323"/>
                  <a:pt x="850" y="323"/>
                  <a:pt x="850" y="323"/>
                </a:cubicBezTo>
                <a:cubicBezTo>
                  <a:pt x="851" y="323"/>
                  <a:pt x="850" y="322"/>
                  <a:pt x="851" y="322"/>
                </a:cubicBezTo>
                <a:cubicBezTo>
                  <a:pt x="851" y="322"/>
                  <a:pt x="852" y="322"/>
                  <a:pt x="852" y="322"/>
                </a:cubicBezTo>
                <a:cubicBezTo>
                  <a:pt x="852" y="322"/>
                  <a:pt x="852" y="322"/>
                  <a:pt x="853" y="322"/>
                </a:cubicBezTo>
                <a:cubicBezTo>
                  <a:pt x="853" y="322"/>
                  <a:pt x="853" y="321"/>
                  <a:pt x="853" y="321"/>
                </a:cubicBezTo>
                <a:cubicBezTo>
                  <a:pt x="853" y="321"/>
                  <a:pt x="854" y="321"/>
                  <a:pt x="855" y="321"/>
                </a:cubicBezTo>
                <a:cubicBezTo>
                  <a:pt x="855" y="320"/>
                  <a:pt x="855" y="320"/>
                  <a:pt x="856" y="319"/>
                </a:cubicBezTo>
                <a:cubicBezTo>
                  <a:pt x="857" y="319"/>
                  <a:pt x="856" y="318"/>
                  <a:pt x="856" y="318"/>
                </a:cubicBezTo>
                <a:cubicBezTo>
                  <a:pt x="856" y="318"/>
                  <a:pt x="856" y="318"/>
                  <a:pt x="857" y="318"/>
                </a:cubicBezTo>
                <a:cubicBezTo>
                  <a:pt x="857" y="318"/>
                  <a:pt x="857" y="318"/>
                  <a:pt x="857" y="317"/>
                </a:cubicBezTo>
                <a:cubicBezTo>
                  <a:pt x="858" y="317"/>
                  <a:pt x="859" y="317"/>
                  <a:pt x="860" y="317"/>
                </a:cubicBezTo>
                <a:cubicBezTo>
                  <a:pt x="860" y="317"/>
                  <a:pt x="860" y="318"/>
                  <a:pt x="860" y="318"/>
                </a:cubicBezTo>
                <a:cubicBezTo>
                  <a:pt x="861" y="318"/>
                  <a:pt x="862" y="318"/>
                  <a:pt x="862" y="318"/>
                </a:cubicBezTo>
                <a:cubicBezTo>
                  <a:pt x="862" y="319"/>
                  <a:pt x="862" y="319"/>
                  <a:pt x="863" y="319"/>
                </a:cubicBezTo>
                <a:cubicBezTo>
                  <a:pt x="863" y="319"/>
                  <a:pt x="863" y="319"/>
                  <a:pt x="863" y="319"/>
                </a:cubicBezTo>
                <a:cubicBezTo>
                  <a:pt x="863" y="320"/>
                  <a:pt x="866" y="320"/>
                  <a:pt x="866" y="322"/>
                </a:cubicBezTo>
                <a:cubicBezTo>
                  <a:pt x="866" y="322"/>
                  <a:pt x="865" y="323"/>
                  <a:pt x="866" y="323"/>
                </a:cubicBezTo>
                <a:cubicBezTo>
                  <a:pt x="866" y="323"/>
                  <a:pt x="866" y="323"/>
                  <a:pt x="867" y="324"/>
                </a:cubicBezTo>
                <a:cubicBezTo>
                  <a:pt x="867" y="324"/>
                  <a:pt x="867" y="324"/>
                  <a:pt x="867" y="324"/>
                </a:cubicBezTo>
                <a:cubicBezTo>
                  <a:pt x="867" y="325"/>
                  <a:pt x="867" y="324"/>
                  <a:pt x="867" y="325"/>
                </a:cubicBezTo>
                <a:cubicBezTo>
                  <a:pt x="867" y="326"/>
                  <a:pt x="867" y="326"/>
                  <a:pt x="868" y="327"/>
                </a:cubicBezTo>
                <a:cubicBezTo>
                  <a:pt x="868" y="327"/>
                  <a:pt x="868" y="328"/>
                  <a:pt x="868" y="328"/>
                </a:cubicBezTo>
                <a:cubicBezTo>
                  <a:pt x="869" y="329"/>
                  <a:pt x="869" y="330"/>
                  <a:pt x="869" y="330"/>
                </a:cubicBezTo>
                <a:cubicBezTo>
                  <a:pt x="870" y="331"/>
                  <a:pt x="870" y="332"/>
                  <a:pt x="871" y="332"/>
                </a:cubicBezTo>
                <a:cubicBezTo>
                  <a:pt x="872" y="332"/>
                  <a:pt x="872" y="333"/>
                  <a:pt x="873" y="333"/>
                </a:cubicBezTo>
                <a:cubicBezTo>
                  <a:pt x="873" y="333"/>
                  <a:pt x="874" y="334"/>
                  <a:pt x="874" y="334"/>
                </a:cubicBezTo>
                <a:cubicBezTo>
                  <a:pt x="874" y="335"/>
                  <a:pt x="874" y="336"/>
                  <a:pt x="875" y="336"/>
                </a:cubicBezTo>
                <a:cubicBezTo>
                  <a:pt x="876" y="337"/>
                  <a:pt x="877" y="337"/>
                  <a:pt x="878" y="337"/>
                </a:cubicBezTo>
                <a:cubicBezTo>
                  <a:pt x="878" y="338"/>
                  <a:pt x="878" y="338"/>
                  <a:pt x="879" y="338"/>
                </a:cubicBezTo>
                <a:cubicBezTo>
                  <a:pt x="879" y="338"/>
                  <a:pt x="879" y="338"/>
                  <a:pt x="879" y="339"/>
                </a:cubicBezTo>
                <a:cubicBezTo>
                  <a:pt x="880" y="338"/>
                  <a:pt x="880" y="338"/>
                  <a:pt x="881" y="338"/>
                </a:cubicBezTo>
                <a:cubicBezTo>
                  <a:pt x="882" y="338"/>
                  <a:pt x="881" y="339"/>
                  <a:pt x="882" y="339"/>
                </a:cubicBezTo>
                <a:cubicBezTo>
                  <a:pt x="882" y="340"/>
                  <a:pt x="884" y="341"/>
                  <a:pt x="884" y="341"/>
                </a:cubicBezTo>
                <a:cubicBezTo>
                  <a:pt x="884" y="342"/>
                  <a:pt x="884" y="342"/>
                  <a:pt x="885" y="342"/>
                </a:cubicBezTo>
                <a:cubicBezTo>
                  <a:pt x="886" y="342"/>
                  <a:pt x="887" y="343"/>
                  <a:pt x="887" y="343"/>
                </a:cubicBezTo>
                <a:cubicBezTo>
                  <a:pt x="887" y="345"/>
                  <a:pt x="888" y="345"/>
                  <a:pt x="889" y="346"/>
                </a:cubicBezTo>
                <a:cubicBezTo>
                  <a:pt x="890" y="346"/>
                  <a:pt x="890" y="346"/>
                  <a:pt x="891" y="347"/>
                </a:cubicBezTo>
                <a:cubicBezTo>
                  <a:pt x="891" y="347"/>
                  <a:pt x="891" y="349"/>
                  <a:pt x="892" y="349"/>
                </a:cubicBezTo>
                <a:cubicBezTo>
                  <a:pt x="892" y="350"/>
                  <a:pt x="891" y="351"/>
                  <a:pt x="892" y="351"/>
                </a:cubicBezTo>
                <a:cubicBezTo>
                  <a:pt x="892" y="351"/>
                  <a:pt x="892" y="351"/>
                  <a:pt x="892" y="351"/>
                </a:cubicBezTo>
                <a:cubicBezTo>
                  <a:pt x="892" y="352"/>
                  <a:pt x="892" y="352"/>
                  <a:pt x="892" y="353"/>
                </a:cubicBezTo>
                <a:cubicBezTo>
                  <a:pt x="892" y="354"/>
                  <a:pt x="891" y="353"/>
                  <a:pt x="891" y="354"/>
                </a:cubicBezTo>
                <a:cubicBezTo>
                  <a:pt x="891" y="355"/>
                  <a:pt x="891" y="355"/>
                  <a:pt x="891" y="356"/>
                </a:cubicBezTo>
                <a:cubicBezTo>
                  <a:pt x="891" y="356"/>
                  <a:pt x="891" y="356"/>
                  <a:pt x="891" y="356"/>
                </a:cubicBezTo>
                <a:cubicBezTo>
                  <a:pt x="890" y="357"/>
                  <a:pt x="890" y="357"/>
                  <a:pt x="890" y="358"/>
                </a:cubicBezTo>
                <a:cubicBezTo>
                  <a:pt x="890" y="359"/>
                  <a:pt x="890" y="359"/>
                  <a:pt x="891" y="359"/>
                </a:cubicBezTo>
                <a:cubicBezTo>
                  <a:pt x="892" y="359"/>
                  <a:pt x="893" y="360"/>
                  <a:pt x="893" y="359"/>
                </a:cubicBezTo>
                <a:cubicBezTo>
                  <a:pt x="893" y="359"/>
                  <a:pt x="892" y="358"/>
                  <a:pt x="893" y="358"/>
                </a:cubicBezTo>
                <a:cubicBezTo>
                  <a:pt x="893" y="358"/>
                  <a:pt x="895" y="356"/>
                  <a:pt x="895" y="356"/>
                </a:cubicBezTo>
                <a:cubicBezTo>
                  <a:pt x="895" y="355"/>
                  <a:pt x="895" y="355"/>
                  <a:pt x="895" y="354"/>
                </a:cubicBezTo>
                <a:cubicBezTo>
                  <a:pt x="896" y="353"/>
                  <a:pt x="896" y="354"/>
                  <a:pt x="896" y="353"/>
                </a:cubicBezTo>
                <a:cubicBezTo>
                  <a:pt x="897" y="353"/>
                  <a:pt x="897" y="352"/>
                  <a:pt x="897" y="351"/>
                </a:cubicBezTo>
                <a:cubicBezTo>
                  <a:pt x="897" y="351"/>
                  <a:pt x="897" y="351"/>
                  <a:pt x="897" y="351"/>
                </a:cubicBezTo>
                <a:cubicBezTo>
                  <a:pt x="897" y="350"/>
                  <a:pt x="895" y="349"/>
                  <a:pt x="895" y="348"/>
                </a:cubicBezTo>
                <a:cubicBezTo>
                  <a:pt x="895" y="347"/>
                  <a:pt x="894" y="347"/>
                  <a:pt x="894" y="347"/>
                </a:cubicBezTo>
                <a:cubicBezTo>
                  <a:pt x="894" y="346"/>
                  <a:pt x="895" y="345"/>
                  <a:pt x="895" y="344"/>
                </a:cubicBezTo>
                <a:cubicBezTo>
                  <a:pt x="896" y="343"/>
                  <a:pt x="896" y="342"/>
                  <a:pt x="897" y="342"/>
                </a:cubicBezTo>
                <a:cubicBezTo>
                  <a:pt x="897" y="342"/>
                  <a:pt x="897" y="342"/>
                  <a:pt x="897" y="343"/>
                </a:cubicBezTo>
                <a:cubicBezTo>
                  <a:pt x="897" y="344"/>
                  <a:pt x="898" y="343"/>
                  <a:pt x="898" y="344"/>
                </a:cubicBezTo>
                <a:cubicBezTo>
                  <a:pt x="899" y="344"/>
                  <a:pt x="900" y="344"/>
                  <a:pt x="901" y="344"/>
                </a:cubicBezTo>
                <a:cubicBezTo>
                  <a:pt x="901" y="345"/>
                  <a:pt x="901" y="346"/>
                  <a:pt x="902" y="346"/>
                </a:cubicBezTo>
                <a:cubicBezTo>
                  <a:pt x="902" y="346"/>
                  <a:pt x="903" y="344"/>
                  <a:pt x="903" y="344"/>
                </a:cubicBezTo>
                <a:cubicBezTo>
                  <a:pt x="902" y="344"/>
                  <a:pt x="902" y="343"/>
                  <a:pt x="902" y="343"/>
                </a:cubicBezTo>
                <a:cubicBezTo>
                  <a:pt x="902" y="342"/>
                  <a:pt x="901" y="342"/>
                  <a:pt x="901" y="342"/>
                </a:cubicBezTo>
                <a:cubicBezTo>
                  <a:pt x="900" y="342"/>
                  <a:pt x="899" y="340"/>
                  <a:pt x="899" y="340"/>
                </a:cubicBezTo>
                <a:cubicBezTo>
                  <a:pt x="898" y="340"/>
                  <a:pt x="898" y="340"/>
                  <a:pt x="898" y="339"/>
                </a:cubicBezTo>
                <a:cubicBezTo>
                  <a:pt x="898" y="339"/>
                  <a:pt x="897" y="339"/>
                  <a:pt x="897" y="339"/>
                </a:cubicBezTo>
                <a:cubicBezTo>
                  <a:pt x="896" y="339"/>
                  <a:pt x="895" y="338"/>
                  <a:pt x="894" y="338"/>
                </a:cubicBezTo>
                <a:cubicBezTo>
                  <a:pt x="894" y="338"/>
                  <a:pt x="893" y="337"/>
                  <a:pt x="892" y="336"/>
                </a:cubicBezTo>
                <a:cubicBezTo>
                  <a:pt x="892" y="336"/>
                  <a:pt x="893" y="335"/>
                  <a:pt x="893" y="334"/>
                </a:cubicBezTo>
                <a:cubicBezTo>
                  <a:pt x="892" y="334"/>
                  <a:pt x="891" y="334"/>
                  <a:pt x="891" y="334"/>
                </a:cubicBezTo>
                <a:cubicBezTo>
                  <a:pt x="890" y="334"/>
                  <a:pt x="890" y="334"/>
                  <a:pt x="890" y="334"/>
                </a:cubicBezTo>
                <a:cubicBezTo>
                  <a:pt x="890" y="333"/>
                  <a:pt x="889" y="334"/>
                  <a:pt x="888" y="334"/>
                </a:cubicBezTo>
                <a:cubicBezTo>
                  <a:pt x="888" y="334"/>
                  <a:pt x="888" y="334"/>
                  <a:pt x="887" y="334"/>
                </a:cubicBezTo>
                <a:cubicBezTo>
                  <a:pt x="887" y="332"/>
                  <a:pt x="887" y="334"/>
                  <a:pt x="886" y="333"/>
                </a:cubicBezTo>
                <a:cubicBezTo>
                  <a:pt x="886" y="333"/>
                  <a:pt x="887" y="333"/>
                  <a:pt x="886" y="332"/>
                </a:cubicBezTo>
                <a:cubicBezTo>
                  <a:pt x="885" y="332"/>
                  <a:pt x="885" y="332"/>
                  <a:pt x="885" y="331"/>
                </a:cubicBezTo>
                <a:cubicBezTo>
                  <a:pt x="885" y="331"/>
                  <a:pt x="883" y="330"/>
                  <a:pt x="883" y="330"/>
                </a:cubicBezTo>
                <a:cubicBezTo>
                  <a:pt x="883" y="329"/>
                  <a:pt x="883" y="329"/>
                  <a:pt x="883" y="329"/>
                </a:cubicBezTo>
                <a:cubicBezTo>
                  <a:pt x="882" y="329"/>
                  <a:pt x="882" y="326"/>
                  <a:pt x="882" y="326"/>
                </a:cubicBezTo>
                <a:cubicBezTo>
                  <a:pt x="882" y="326"/>
                  <a:pt x="881" y="326"/>
                  <a:pt x="881" y="326"/>
                </a:cubicBezTo>
                <a:cubicBezTo>
                  <a:pt x="881" y="325"/>
                  <a:pt x="881" y="325"/>
                  <a:pt x="881" y="324"/>
                </a:cubicBezTo>
                <a:cubicBezTo>
                  <a:pt x="880" y="324"/>
                  <a:pt x="880" y="324"/>
                  <a:pt x="880" y="323"/>
                </a:cubicBezTo>
                <a:cubicBezTo>
                  <a:pt x="880" y="323"/>
                  <a:pt x="879" y="324"/>
                  <a:pt x="879" y="323"/>
                </a:cubicBezTo>
                <a:cubicBezTo>
                  <a:pt x="879" y="323"/>
                  <a:pt x="878" y="322"/>
                  <a:pt x="878" y="322"/>
                </a:cubicBezTo>
                <a:cubicBezTo>
                  <a:pt x="878" y="322"/>
                  <a:pt x="878" y="322"/>
                  <a:pt x="877" y="322"/>
                </a:cubicBezTo>
                <a:cubicBezTo>
                  <a:pt x="877" y="322"/>
                  <a:pt x="877" y="321"/>
                  <a:pt x="877" y="321"/>
                </a:cubicBezTo>
                <a:cubicBezTo>
                  <a:pt x="876" y="321"/>
                  <a:pt x="876" y="321"/>
                  <a:pt x="876" y="321"/>
                </a:cubicBezTo>
                <a:cubicBezTo>
                  <a:pt x="875" y="321"/>
                  <a:pt x="876" y="321"/>
                  <a:pt x="875" y="321"/>
                </a:cubicBezTo>
                <a:cubicBezTo>
                  <a:pt x="875" y="321"/>
                  <a:pt x="875" y="321"/>
                  <a:pt x="874" y="320"/>
                </a:cubicBezTo>
                <a:cubicBezTo>
                  <a:pt x="874" y="319"/>
                  <a:pt x="874" y="319"/>
                  <a:pt x="874" y="319"/>
                </a:cubicBezTo>
                <a:cubicBezTo>
                  <a:pt x="874" y="318"/>
                  <a:pt x="874" y="318"/>
                  <a:pt x="874" y="317"/>
                </a:cubicBezTo>
                <a:cubicBezTo>
                  <a:pt x="874" y="316"/>
                  <a:pt x="874" y="316"/>
                  <a:pt x="875" y="315"/>
                </a:cubicBezTo>
                <a:cubicBezTo>
                  <a:pt x="876" y="314"/>
                  <a:pt x="876" y="313"/>
                  <a:pt x="874" y="312"/>
                </a:cubicBezTo>
                <a:cubicBezTo>
                  <a:pt x="874" y="311"/>
                  <a:pt x="874" y="311"/>
                  <a:pt x="875" y="311"/>
                </a:cubicBezTo>
                <a:cubicBezTo>
                  <a:pt x="875" y="311"/>
                  <a:pt x="875" y="311"/>
                  <a:pt x="876" y="311"/>
                </a:cubicBezTo>
                <a:cubicBezTo>
                  <a:pt x="876" y="311"/>
                  <a:pt x="876" y="311"/>
                  <a:pt x="877" y="311"/>
                </a:cubicBezTo>
                <a:cubicBezTo>
                  <a:pt x="877" y="310"/>
                  <a:pt x="877" y="310"/>
                  <a:pt x="878" y="310"/>
                </a:cubicBezTo>
                <a:cubicBezTo>
                  <a:pt x="879" y="310"/>
                  <a:pt x="879" y="310"/>
                  <a:pt x="879" y="309"/>
                </a:cubicBezTo>
                <a:cubicBezTo>
                  <a:pt x="879" y="309"/>
                  <a:pt x="879" y="309"/>
                  <a:pt x="879" y="309"/>
                </a:cubicBezTo>
                <a:cubicBezTo>
                  <a:pt x="880" y="309"/>
                  <a:pt x="881" y="310"/>
                  <a:pt x="881" y="309"/>
                </a:cubicBezTo>
                <a:cubicBezTo>
                  <a:pt x="881" y="309"/>
                  <a:pt x="881" y="310"/>
                  <a:pt x="881" y="310"/>
                </a:cubicBezTo>
                <a:cubicBezTo>
                  <a:pt x="881" y="310"/>
                  <a:pt x="880" y="311"/>
                  <a:pt x="880" y="312"/>
                </a:cubicBezTo>
                <a:cubicBezTo>
                  <a:pt x="880" y="312"/>
                  <a:pt x="880" y="312"/>
                  <a:pt x="880" y="312"/>
                </a:cubicBezTo>
                <a:cubicBezTo>
                  <a:pt x="880" y="313"/>
                  <a:pt x="880" y="312"/>
                  <a:pt x="881" y="313"/>
                </a:cubicBezTo>
                <a:cubicBezTo>
                  <a:pt x="881" y="314"/>
                  <a:pt x="880" y="316"/>
                  <a:pt x="882" y="316"/>
                </a:cubicBezTo>
                <a:cubicBezTo>
                  <a:pt x="882" y="316"/>
                  <a:pt x="882" y="316"/>
                  <a:pt x="882" y="316"/>
                </a:cubicBezTo>
                <a:cubicBezTo>
                  <a:pt x="882" y="315"/>
                  <a:pt x="882" y="315"/>
                  <a:pt x="883" y="315"/>
                </a:cubicBezTo>
                <a:cubicBezTo>
                  <a:pt x="883" y="315"/>
                  <a:pt x="883" y="315"/>
                  <a:pt x="883" y="315"/>
                </a:cubicBezTo>
                <a:cubicBezTo>
                  <a:pt x="884" y="315"/>
                  <a:pt x="884" y="312"/>
                  <a:pt x="885" y="312"/>
                </a:cubicBezTo>
                <a:cubicBezTo>
                  <a:pt x="887" y="313"/>
                  <a:pt x="886" y="314"/>
                  <a:pt x="886" y="316"/>
                </a:cubicBezTo>
                <a:cubicBezTo>
                  <a:pt x="886" y="317"/>
                  <a:pt x="887" y="317"/>
                  <a:pt x="888" y="318"/>
                </a:cubicBezTo>
                <a:cubicBezTo>
                  <a:pt x="888" y="319"/>
                  <a:pt x="889" y="319"/>
                  <a:pt x="890" y="320"/>
                </a:cubicBezTo>
                <a:cubicBezTo>
                  <a:pt x="889" y="320"/>
                  <a:pt x="888" y="320"/>
                  <a:pt x="888" y="321"/>
                </a:cubicBezTo>
                <a:cubicBezTo>
                  <a:pt x="888" y="321"/>
                  <a:pt x="890" y="322"/>
                  <a:pt x="890" y="322"/>
                </a:cubicBezTo>
                <a:cubicBezTo>
                  <a:pt x="890" y="322"/>
                  <a:pt x="892" y="323"/>
                  <a:pt x="892" y="323"/>
                </a:cubicBezTo>
                <a:cubicBezTo>
                  <a:pt x="892" y="323"/>
                  <a:pt x="892" y="323"/>
                  <a:pt x="892" y="323"/>
                </a:cubicBezTo>
                <a:cubicBezTo>
                  <a:pt x="892" y="324"/>
                  <a:pt x="893" y="324"/>
                  <a:pt x="893" y="324"/>
                </a:cubicBezTo>
                <a:cubicBezTo>
                  <a:pt x="893" y="324"/>
                  <a:pt x="894" y="324"/>
                  <a:pt x="894" y="324"/>
                </a:cubicBezTo>
                <a:cubicBezTo>
                  <a:pt x="894" y="324"/>
                  <a:pt x="895" y="324"/>
                  <a:pt x="895" y="324"/>
                </a:cubicBezTo>
                <a:cubicBezTo>
                  <a:pt x="895" y="324"/>
                  <a:pt x="896" y="325"/>
                  <a:pt x="897" y="326"/>
                </a:cubicBezTo>
                <a:cubicBezTo>
                  <a:pt x="898" y="326"/>
                  <a:pt x="899" y="328"/>
                  <a:pt x="899" y="328"/>
                </a:cubicBezTo>
                <a:cubicBezTo>
                  <a:pt x="900" y="328"/>
                  <a:pt x="900" y="329"/>
                  <a:pt x="901" y="328"/>
                </a:cubicBezTo>
                <a:cubicBezTo>
                  <a:pt x="902" y="328"/>
                  <a:pt x="903" y="329"/>
                  <a:pt x="903" y="330"/>
                </a:cubicBezTo>
                <a:cubicBezTo>
                  <a:pt x="904" y="331"/>
                  <a:pt x="905" y="331"/>
                  <a:pt x="906" y="331"/>
                </a:cubicBezTo>
                <a:cubicBezTo>
                  <a:pt x="906" y="331"/>
                  <a:pt x="906" y="331"/>
                  <a:pt x="906" y="332"/>
                </a:cubicBezTo>
                <a:cubicBezTo>
                  <a:pt x="907" y="332"/>
                  <a:pt x="907" y="332"/>
                  <a:pt x="907" y="332"/>
                </a:cubicBezTo>
                <a:cubicBezTo>
                  <a:pt x="908" y="332"/>
                  <a:pt x="908" y="333"/>
                  <a:pt x="909" y="333"/>
                </a:cubicBezTo>
                <a:cubicBezTo>
                  <a:pt x="910" y="333"/>
                  <a:pt x="910" y="333"/>
                  <a:pt x="910" y="334"/>
                </a:cubicBezTo>
                <a:cubicBezTo>
                  <a:pt x="910" y="334"/>
                  <a:pt x="910" y="335"/>
                  <a:pt x="910" y="335"/>
                </a:cubicBezTo>
                <a:cubicBezTo>
                  <a:pt x="910" y="335"/>
                  <a:pt x="910" y="335"/>
                  <a:pt x="910" y="336"/>
                </a:cubicBezTo>
                <a:cubicBezTo>
                  <a:pt x="910" y="336"/>
                  <a:pt x="909" y="336"/>
                  <a:pt x="909" y="337"/>
                </a:cubicBezTo>
                <a:cubicBezTo>
                  <a:pt x="910" y="337"/>
                  <a:pt x="910" y="337"/>
                  <a:pt x="910" y="337"/>
                </a:cubicBezTo>
                <a:cubicBezTo>
                  <a:pt x="909" y="337"/>
                  <a:pt x="910" y="339"/>
                  <a:pt x="910" y="339"/>
                </a:cubicBezTo>
                <a:cubicBezTo>
                  <a:pt x="910" y="339"/>
                  <a:pt x="909" y="339"/>
                  <a:pt x="909" y="340"/>
                </a:cubicBezTo>
                <a:cubicBezTo>
                  <a:pt x="909" y="340"/>
                  <a:pt x="909" y="341"/>
                  <a:pt x="909" y="342"/>
                </a:cubicBezTo>
                <a:cubicBezTo>
                  <a:pt x="909" y="342"/>
                  <a:pt x="909" y="342"/>
                  <a:pt x="910" y="343"/>
                </a:cubicBezTo>
                <a:cubicBezTo>
                  <a:pt x="910" y="343"/>
                  <a:pt x="910" y="344"/>
                  <a:pt x="910" y="344"/>
                </a:cubicBezTo>
                <a:cubicBezTo>
                  <a:pt x="911" y="345"/>
                  <a:pt x="911" y="344"/>
                  <a:pt x="912" y="345"/>
                </a:cubicBezTo>
                <a:cubicBezTo>
                  <a:pt x="912" y="345"/>
                  <a:pt x="912" y="345"/>
                  <a:pt x="912" y="345"/>
                </a:cubicBezTo>
                <a:cubicBezTo>
                  <a:pt x="912" y="345"/>
                  <a:pt x="912" y="346"/>
                  <a:pt x="913" y="346"/>
                </a:cubicBezTo>
                <a:cubicBezTo>
                  <a:pt x="913" y="346"/>
                  <a:pt x="913" y="347"/>
                  <a:pt x="913" y="347"/>
                </a:cubicBezTo>
                <a:cubicBezTo>
                  <a:pt x="913" y="348"/>
                  <a:pt x="913" y="347"/>
                  <a:pt x="913" y="348"/>
                </a:cubicBezTo>
                <a:cubicBezTo>
                  <a:pt x="913" y="348"/>
                  <a:pt x="914" y="348"/>
                  <a:pt x="914" y="348"/>
                </a:cubicBezTo>
                <a:cubicBezTo>
                  <a:pt x="914" y="349"/>
                  <a:pt x="914" y="349"/>
                  <a:pt x="914" y="349"/>
                </a:cubicBezTo>
                <a:cubicBezTo>
                  <a:pt x="914" y="349"/>
                  <a:pt x="915" y="350"/>
                  <a:pt x="915" y="350"/>
                </a:cubicBezTo>
                <a:cubicBezTo>
                  <a:pt x="915" y="351"/>
                  <a:pt x="915" y="351"/>
                  <a:pt x="916" y="351"/>
                </a:cubicBezTo>
                <a:cubicBezTo>
                  <a:pt x="916" y="352"/>
                  <a:pt x="917" y="352"/>
                  <a:pt x="917" y="352"/>
                </a:cubicBezTo>
                <a:cubicBezTo>
                  <a:pt x="917" y="352"/>
                  <a:pt x="918" y="352"/>
                  <a:pt x="919" y="352"/>
                </a:cubicBezTo>
                <a:cubicBezTo>
                  <a:pt x="919" y="353"/>
                  <a:pt x="919" y="353"/>
                  <a:pt x="918" y="353"/>
                </a:cubicBezTo>
                <a:cubicBezTo>
                  <a:pt x="917" y="353"/>
                  <a:pt x="917" y="355"/>
                  <a:pt x="918" y="355"/>
                </a:cubicBezTo>
                <a:cubicBezTo>
                  <a:pt x="918" y="357"/>
                  <a:pt x="920" y="356"/>
                  <a:pt x="921" y="356"/>
                </a:cubicBezTo>
                <a:cubicBezTo>
                  <a:pt x="922" y="357"/>
                  <a:pt x="923" y="356"/>
                  <a:pt x="924" y="357"/>
                </a:cubicBezTo>
                <a:cubicBezTo>
                  <a:pt x="925" y="358"/>
                  <a:pt x="925" y="358"/>
                  <a:pt x="926" y="358"/>
                </a:cubicBezTo>
                <a:cubicBezTo>
                  <a:pt x="925" y="359"/>
                  <a:pt x="924" y="359"/>
                  <a:pt x="923" y="359"/>
                </a:cubicBezTo>
                <a:cubicBezTo>
                  <a:pt x="923" y="358"/>
                  <a:pt x="923" y="358"/>
                  <a:pt x="923" y="358"/>
                </a:cubicBezTo>
                <a:cubicBezTo>
                  <a:pt x="922" y="357"/>
                  <a:pt x="922" y="358"/>
                  <a:pt x="922" y="358"/>
                </a:cubicBezTo>
                <a:cubicBezTo>
                  <a:pt x="922" y="357"/>
                  <a:pt x="922" y="357"/>
                  <a:pt x="921" y="357"/>
                </a:cubicBezTo>
                <a:cubicBezTo>
                  <a:pt x="921" y="357"/>
                  <a:pt x="920" y="357"/>
                  <a:pt x="920" y="358"/>
                </a:cubicBezTo>
                <a:cubicBezTo>
                  <a:pt x="919" y="357"/>
                  <a:pt x="919" y="358"/>
                  <a:pt x="918" y="359"/>
                </a:cubicBezTo>
                <a:cubicBezTo>
                  <a:pt x="919" y="359"/>
                  <a:pt x="918" y="359"/>
                  <a:pt x="919" y="360"/>
                </a:cubicBezTo>
                <a:cubicBezTo>
                  <a:pt x="919" y="360"/>
                  <a:pt x="919" y="360"/>
                  <a:pt x="920" y="361"/>
                </a:cubicBezTo>
                <a:cubicBezTo>
                  <a:pt x="920" y="362"/>
                  <a:pt x="919" y="362"/>
                  <a:pt x="919" y="363"/>
                </a:cubicBezTo>
                <a:cubicBezTo>
                  <a:pt x="920" y="364"/>
                  <a:pt x="920" y="364"/>
                  <a:pt x="921" y="365"/>
                </a:cubicBezTo>
                <a:cubicBezTo>
                  <a:pt x="921" y="364"/>
                  <a:pt x="921" y="364"/>
                  <a:pt x="921" y="364"/>
                </a:cubicBezTo>
                <a:cubicBezTo>
                  <a:pt x="922" y="364"/>
                  <a:pt x="924" y="364"/>
                  <a:pt x="926" y="365"/>
                </a:cubicBezTo>
                <a:cubicBezTo>
                  <a:pt x="925" y="364"/>
                  <a:pt x="925" y="363"/>
                  <a:pt x="925" y="362"/>
                </a:cubicBezTo>
                <a:cubicBezTo>
                  <a:pt x="926" y="362"/>
                  <a:pt x="927" y="362"/>
                  <a:pt x="928" y="363"/>
                </a:cubicBezTo>
                <a:cubicBezTo>
                  <a:pt x="929" y="363"/>
                  <a:pt x="928" y="362"/>
                  <a:pt x="929" y="362"/>
                </a:cubicBezTo>
                <a:cubicBezTo>
                  <a:pt x="929" y="362"/>
                  <a:pt x="929" y="362"/>
                  <a:pt x="929" y="361"/>
                </a:cubicBezTo>
                <a:cubicBezTo>
                  <a:pt x="928" y="360"/>
                  <a:pt x="928" y="361"/>
                  <a:pt x="928" y="361"/>
                </a:cubicBezTo>
                <a:cubicBezTo>
                  <a:pt x="928" y="360"/>
                  <a:pt x="927" y="360"/>
                  <a:pt x="927" y="360"/>
                </a:cubicBezTo>
                <a:cubicBezTo>
                  <a:pt x="927" y="360"/>
                  <a:pt x="927" y="359"/>
                  <a:pt x="927" y="359"/>
                </a:cubicBezTo>
                <a:cubicBezTo>
                  <a:pt x="928" y="359"/>
                  <a:pt x="928" y="359"/>
                  <a:pt x="929" y="359"/>
                </a:cubicBezTo>
                <a:cubicBezTo>
                  <a:pt x="929" y="359"/>
                  <a:pt x="929" y="359"/>
                  <a:pt x="929" y="359"/>
                </a:cubicBezTo>
                <a:cubicBezTo>
                  <a:pt x="929" y="359"/>
                  <a:pt x="931" y="360"/>
                  <a:pt x="931" y="361"/>
                </a:cubicBezTo>
                <a:cubicBezTo>
                  <a:pt x="931" y="360"/>
                  <a:pt x="932" y="359"/>
                  <a:pt x="932" y="358"/>
                </a:cubicBezTo>
                <a:cubicBezTo>
                  <a:pt x="931" y="358"/>
                  <a:pt x="931" y="357"/>
                  <a:pt x="930" y="357"/>
                </a:cubicBezTo>
                <a:cubicBezTo>
                  <a:pt x="930" y="357"/>
                  <a:pt x="930" y="356"/>
                  <a:pt x="929" y="356"/>
                </a:cubicBezTo>
                <a:cubicBezTo>
                  <a:pt x="928" y="356"/>
                  <a:pt x="928" y="355"/>
                  <a:pt x="928" y="355"/>
                </a:cubicBezTo>
                <a:cubicBezTo>
                  <a:pt x="928" y="354"/>
                  <a:pt x="927" y="355"/>
                  <a:pt x="927" y="354"/>
                </a:cubicBezTo>
                <a:cubicBezTo>
                  <a:pt x="928" y="354"/>
                  <a:pt x="929" y="355"/>
                  <a:pt x="930" y="356"/>
                </a:cubicBezTo>
                <a:cubicBezTo>
                  <a:pt x="930" y="356"/>
                  <a:pt x="931" y="357"/>
                  <a:pt x="931" y="357"/>
                </a:cubicBezTo>
                <a:cubicBezTo>
                  <a:pt x="931" y="357"/>
                  <a:pt x="932" y="357"/>
                  <a:pt x="933" y="357"/>
                </a:cubicBezTo>
                <a:cubicBezTo>
                  <a:pt x="933" y="357"/>
                  <a:pt x="934" y="358"/>
                  <a:pt x="933" y="358"/>
                </a:cubicBezTo>
                <a:cubicBezTo>
                  <a:pt x="934" y="358"/>
                  <a:pt x="934" y="359"/>
                  <a:pt x="935" y="359"/>
                </a:cubicBezTo>
                <a:cubicBezTo>
                  <a:pt x="935" y="359"/>
                  <a:pt x="935" y="359"/>
                  <a:pt x="935" y="359"/>
                </a:cubicBezTo>
                <a:cubicBezTo>
                  <a:pt x="935" y="358"/>
                  <a:pt x="935" y="358"/>
                  <a:pt x="935" y="357"/>
                </a:cubicBezTo>
                <a:cubicBezTo>
                  <a:pt x="935" y="357"/>
                  <a:pt x="934" y="357"/>
                  <a:pt x="934" y="357"/>
                </a:cubicBezTo>
                <a:cubicBezTo>
                  <a:pt x="934" y="356"/>
                  <a:pt x="933" y="356"/>
                  <a:pt x="932" y="355"/>
                </a:cubicBezTo>
                <a:cubicBezTo>
                  <a:pt x="932" y="355"/>
                  <a:pt x="931" y="355"/>
                  <a:pt x="931" y="354"/>
                </a:cubicBezTo>
                <a:cubicBezTo>
                  <a:pt x="930" y="354"/>
                  <a:pt x="930" y="354"/>
                  <a:pt x="930" y="353"/>
                </a:cubicBezTo>
                <a:cubicBezTo>
                  <a:pt x="930" y="353"/>
                  <a:pt x="929" y="353"/>
                  <a:pt x="929" y="352"/>
                </a:cubicBezTo>
                <a:cubicBezTo>
                  <a:pt x="928" y="352"/>
                  <a:pt x="927" y="353"/>
                  <a:pt x="927" y="353"/>
                </a:cubicBezTo>
                <a:cubicBezTo>
                  <a:pt x="927" y="353"/>
                  <a:pt x="927" y="354"/>
                  <a:pt x="927" y="354"/>
                </a:cubicBezTo>
                <a:cubicBezTo>
                  <a:pt x="927" y="354"/>
                  <a:pt x="926" y="353"/>
                  <a:pt x="926" y="353"/>
                </a:cubicBezTo>
                <a:cubicBezTo>
                  <a:pt x="926" y="353"/>
                  <a:pt x="924" y="353"/>
                  <a:pt x="926" y="353"/>
                </a:cubicBezTo>
                <a:cubicBezTo>
                  <a:pt x="926" y="353"/>
                  <a:pt x="926" y="352"/>
                  <a:pt x="927" y="352"/>
                </a:cubicBezTo>
                <a:cubicBezTo>
                  <a:pt x="927" y="352"/>
                  <a:pt x="925" y="350"/>
                  <a:pt x="926" y="350"/>
                </a:cubicBezTo>
                <a:cubicBezTo>
                  <a:pt x="927" y="350"/>
                  <a:pt x="927" y="351"/>
                  <a:pt x="927" y="351"/>
                </a:cubicBezTo>
                <a:cubicBezTo>
                  <a:pt x="928" y="351"/>
                  <a:pt x="928" y="351"/>
                  <a:pt x="928" y="351"/>
                </a:cubicBezTo>
                <a:cubicBezTo>
                  <a:pt x="928" y="349"/>
                  <a:pt x="927" y="349"/>
                  <a:pt x="926" y="348"/>
                </a:cubicBezTo>
                <a:cubicBezTo>
                  <a:pt x="926" y="347"/>
                  <a:pt x="926" y="346"/>
                  <a:pt x="925" y="346"/>
                </a:cubicBezTo>
                <a:cubicBezTo>
                  <a:pt x="925" y="346"/>
                  <a:pt x="925" y="345"/>
                  <a:pt x="924" y="345"/>
                </a:cubicBezTo>
                <a:cubicBezTo>
                  <a:pt x="925" y="344"/>
                  <a:pt x="926" y="344"/>
                  <a:pt x="926" y="343"/>
                </a:cubicBezTo>
                <a:cubicBezTo>
                  <a:pt x="926" y="342"/>
                  <a:pt x="926" y="342"/>
                  <a:pt x="926" y="341"/>
                </a:cubicBezTo>
                <a:cubicBezTo>
                  <a:pt x="927" y="343"/>
                  <a:pt x="928" y="343"/>
                  <a:pt x="928" y="344"/>
                </a:cubicBezTo>
                <a:cubicBezTo>
                  <a:pt x="928" y="344"/>
                  <a:pt x="928" y="345"/>
                  <a:pt x="928" y="345"/>
                </a:cubicBezTo>
                <a:cubicBezTo>
                  <a:pt x="929" y="346"/>
                  <a:pt x="929" y="345"/>
                  <a:pt x="930" y="345"/>
                </a:cubicBezTo>
                <a:cubicBezTo>
                  <a:pt x="929" y="345"/>
                  <a:pt x="929" y="345"/>
                  <a:pt x="929" y="344"/>
                </a:cubicBezTo>
                <a:cubicBezTo>
                  <a:pt x="929" y="344"/>
                  <a:pt x="930" y="344"/>
                  <a:pt x="930" y="344"/>
                </a:cubicBezTo>
                <a:cubicBezTo>
                  <a:pt x="930" y="344"/>
                  <a:pt x="931" y="344"/>
                  <a:pt x="931" y="344"/>
                </a:cubicBezTo>
                <a:cubicBezTo>
                  <a:pt x="931" y="344"/>
                  <a:pt x="931" y="344"/>
                  <a:pt x="931" y="344"/>
                </a:cubicBezTo>
                <a:cubicBezTo>
                  <a:pt x="931" y="344"/>
                  <a:pt x="931" y="343"/>
                  <a:pt x="931" y="343"/>
                </a:cubicBezTo>
                <a:cubicBezTo>
                  <a:pt x="932" y="343"/>
                  <a:pt x="932" y="343"/>
                  <a:pt x="933" y="343"/>
                </a:cubicBezTo>
                <a:cubicBezTo>
                  <a:pt x="932" y="342"/>
                  <a:pt x="930" y="342"/>
                  <a:pt x="930" y="341"/>
                </a:cubicBezTo>
                <a:cubicBezTo>
                  <a:pt x="930" y="340"/>
                  <a:pt x="930" y="340"/>
                  <a:pt x="931" y="340"/>
                </a:cubicBezTo>
                <a:cubicBezTo>
                  <a:pt x="932" y="339"/>
                  <a:pt x="933" y="339"/>
                  <a:pt x="934" y="339"/>
                </a:cubicBezTo>
                <a:cubicBezTo>
                  <a:pt x="934" y="340"/>
                  <a:pt x="937" y="340"/>
                  <a:pt x="937" y="340"/>
                </a:cubicBezTo>
                <a:cubicBezTo>
                  <a:pt x="937" y="340"/>
                  <a:pt x="938" y="340"/>
                  <a:pt x="939" y="340"/>
                </a:cubicBezTo>
                <a:cubicBezTo>
                  <a:pt x="940" y="340"/>
                  <a:pt x="940" y="339"/>
                  <a:pt x="941" y="339"/>
                </a:cubicBezTo>
                <a:cubicBezTo>
                  <a:pt x="941" y="340"/>
                  <a:pt x="941" y="340"/>
                  <a:pt x="942" y="341"/>
                </a:cubicBezTo>
                <a:cubicBezTo>
                  <a:pt x="942" y="341"/>
                  <a:pt x="943" y="341"/>
                  <a:pt x="943" y="341"/>
                </a:cubicBezTo>
                <a:cubicBezTo>
                  <a:pt x="943" y="342"/>
                  <a:pt x="942" y="342"/>
                  <a:pt x="942" y="342"/>
                </a:cubicBezTo>
                <a:cubicBezTo>
                  <a:pt x="942" y="343"/>
                  <a:pt x="942" y="344"/>
                  <a:pt x="942" y="344"/>
                </a:cubicBezTo>
                <a:cubicBezTo>
                  <a:pt x="942" y="344"/>
                  <a:pt x="943" y="344"/>
                  <a:pt x="943" y="344"/>
                </a:cubicBezTo>
                <a:cubicBezTo>
                  <a:pt x="944" y="344"/>
                  <a:pt x="942" y="344"/>
                  <a:pt x="944" y="343"/>
                </a:cubicBezTo>
                <a:cubicBezTo>
                  <a:pt x="944" y="343"/>
                  <a:pt x="944" y="342"/>
                  <a:pt x="945" y="342"/>
                </a:cubicBezTo>
                <a:cubicBezTo>
                  <a:pt x="945" y="342"/>
                  <a:pt x="946" y="342"/>
                  <a:pt x="946" y="342"/>
                </a:cubicBezTo>
                <a:cubicBezTo>
                  <a:pt x="946" y="341"/>
                  <a:pt x="947" y="341"/>
                  <a:pt x="948" y="341"/>
                </a:cubicBezTo>
                <a:cubicBezTo>
                  <a:pt x="948" y="341"/>
                  <a:pt x="949" y="340"/>
                  <a:pt x="949" y="340"/>
                </a:cubicBezTo>
                <a:cubicBezTo>
                  <a:pt x="950" y="340"/>
                  <a:pt x="951" y="340"/>
                  <a:pt x="952" y="340"/>
                </a:cubicBezTo>
                <a:cubicBezTo>
                  <a:pt x="952" y="339"/>
                  <a:pt x="952" y="339"/>
                  <a:pt x="952" y="339"/>
                </a:cubicBezTo>
                <a:cubicBezTo>
                  <a:pt x="952" y="339"/>
                  <a:pt x="953" y="339"/>
                  <a:pt x="953" y="339"/>
                </a:cubicBezTo>
                <a:cubicBezTo>
                  <a:pt x="953" y="339"/>
                  <a:pt x="953" y="339"/>
                  <a:pt x="953" y="339"/>
                </a:cubicBezTo>
                <a:cubicBezTo>
                  <a:pt x="953" y="339"/>
                  <a:pt x="954" y="339"/>
                  <a:pt x="954" y="339"/>
                </a:cubicBezTo>
                <a:cubicBezTo>
                  <a:pt x="955" y="339"/>
                  <a:pt x="956" y="338"/>
                  <a:pt x="955" y="337"/>
                </a:cubicBezTo>
                <a:cubicBezTo>
                  <a:pt x="954" y="337"/>
                  <a:pt x="953" y="336"/>
                  <a:pt x="952" y="336"/>
                </a:cubicBezTo>
                <a:cubicBezTo>
                  <a:pt x="951" y="336"/>
                  <a:pt x="951" y="335"/>
                  <a:pt x="951" y="335"/>
                </a:cubicBezTo>
                <a:cubicBezTo>
                  <a:pt x="951" y="335"/>
                  <a:pt x="951" y="335"/>
                  <a:pt x="950" y="335"/>
                </a:cubicBezTo>
                <a:cubicBezTo>
                  <a:pt x="950" y="335"/>
                  <a:pt x="950" y="334"/>
                  <a:pt x="950" y="334"/>
                </a:cubicBezTo>
                <a:cubicBezTo>
                  <a:pt x="950" y="334"/>
                  <a:pt x="950" y="334"/>
                  <a:pt x="950" y="333"/>
                </a:cubicBezTo>
                <a:cubicBezTo>
                  <a:pt x="950" y="332"/>
                  <a:pt x="949" y="332"/>
                  <a:pt x="948" y="331"/>
                </a:cubicBezTo>
                <a:cubicBezTo>
                  <a:pt x="949" y="330"/>
                  <a:pt x="950" y="330"/>
                  <a:pt x="950" y="329"/>
                </a:cubicBezTo>
                <a:cubicBezTo>
                  <a:pt x="950" y="329"/>
                  <a:pt x="950" y="328"/>
                  <a:pt x="950" y="327"/>
                </a:cubicBezTo>
                <a:cubicBezTo>
                  <a:pt x="951" y="327"/>
                  <a:pt x="951" y="327"/>
                  <a:pt x="951" y="326"/>
                </a:cubicBezTo>
                <a:cubicBezTo>
                  <a:pt x="951" y="326"/>
                  <a:pt x="953" y="325"/>
                  <a:pt x="953" y="325"/>
                </a:cubicBezTo>
                <a:cubicBezTo>
                  <a:pt x="954" y="325"/>
                  <a:pt x="953" y="320"/>
                  <a:pt x="953" y="320"/>
                </a:cubicBezTo>
                <a:cubicBezTo>
                  <a:pt x="955" y="320"/>
                  <a:pt x="954" y="318"/>
                  <a:pt x="955" y="318"/>
                </a:cubicBezTo>
                <a:cubicBezTo>
                  <a:pt x="955" y="318"/>
                  <a:pt x="955" y="317"/>
                  <a:pt x="955" y="317"/>
                </a:cubicBezTo>
                <a:cubicBezTo>
                  <a:pt x="955" y="317"/>
                  <a:pt x="955" y="316"/>
                  <a:pt x="956" y="316"/>
                </a:cubicBezTo>
                <a:cubicBezTo>
                  <a:pt x="956" y="316"/>
                  <a:pt x="956" y="317"/>
                  <a:pt x="957" y="317"/>
                </a:cubicBezTo>
                <a:cubicBezTo>
                  <a:pt x="957" y="316"/>
                  <a:pt x="957" y="316"/>
                  <a:pt x="957" y="316"/>
                </a:cubicBezTo>
                <a:cubicBezTo>
                  <a:pt x="957" y="316"/>
                  <a:pt x="957" y="315"/>
                  <a:pt x="957" y="315"/>
                </a:cubicBezTo>
                <a:cubicBezTo>
                  <a:pt x="958" y="315"/>
                  <a:pt x="957" y="314"/>
                  <a:pt x="958" y="314"/>
                </a:cubicBezTo>
                <a:cubicBezTo>
                  <a:pt x="957" y="313"/>
                  <a:pt x="958" y="313"/>
                  <a:pt x="958" y="312"/>
                </a:cubicBezTo>
                <a:cubicBezTo>
                  <a:pt x="957" y="312"/>
                  <a:pt x="957" y="312"/>
                  <a:pt x="957" y="311"/>
                </a:cubicBezTo>
                <a:cubicBezTo>
                  <a:pt x="957" y="311"/>
                  <a:pt x="958" y="311"/>
                  <a:pt x="958" y="311"/>
                </a:cubicBezTo>
                <a:cubicBezTo>
                  <a:pt x="958" y="311"/>
                  <a:pt x="958" y="312"/>
                  <a:pt x="959" y="312"/>
                </a:cubicBezTo>
                <a:cubicBezTo>
                  <a:pt x="959" y="311"/>
                  <a:pt x="959" y="310"/>
                  <a:pt x="958" y="310"/>
                </a:cubicBezTo>
                <a:cubicBezTo>
                  <a:pt x="959" y="310"/>
                  <a:pt x="960" y="309"/>
                  <a:pt x="960" y="309"/>
                </a:cubicBezTo>
                <a:cubicBezTo>
                  <a:pt x="960" y="309"/>
                  <a:pt x="961" y="308"/>
                  <a:pt x="961" y="308"/>
                </a:cubicBezTo>
                <a:cubicBezTo>
                  <a:pt x="961" y="308"/>
                  <a:pt x="962" y="306"/>
                  <a:pt x="962" y="306"/>
                </a:cubicBezTo>
                <a:cubicBezTo>
                  <a:pt x="963" y="306"/>
                  <a:pt x="963" y="305"/>
                  <a:pt x="964" y="304"/>
                </a:cubicBezTo>
                <a:cubicBezTo>
                  <a:pt x="965" y="304"/>
                  <a:pt x="965" y="304"/>
                  <a:pt x="965" y="304"/>
                </a:cubicBezTo>
                <a:cubicBezTo>
                  <a:pt x="966" y="304"/>
                  <a:pt x="967" y="304"/>
                  <a:pt x="968" y="304"/>
                </a:cubicBezTo>
                <a:cubicBezTo>
                  <a:pt x="968" y="304"/>
                  <a:pt x="969" y="303"/>
                  <a:pt x="969" y="303"/>
                </a:cubicBezTo>
                <a:cubicBezTo>
                  <a:pt x="969" y="303"/>
                  <a:pt x="969" y="304"/>
                  <a:pt x="970" y="304"/>
                </a:cubicBezTo>
                <a:cubicBezTo>
                  <a:pt x="970" y="304"/>
                  <a:pt x="971" y="304"/>
                  <a:pt x="971" y="304"/>
                </a:cubicBezTo>
                <a:cubicBezTo>
                  <a:pt x="971" y="305"/>
                  <a:pt x="971" y="305"/>
                  <a:pt x="970" y="305"/>
                </a:cubicBezTo>
                <a:cubicBezTo>
                  <a:pt x="970" y="305"/>
                  <a:pt x="969" y="305"/>
                  <a:pt x="968" y="305"/>
                </a:cubicBezTo>
                <a:cubicBezTo>
                  <a:pt x="968" y="305"/>
                  <a:pt x="968" y="305"/>
                  <a:pt x="968" y="305"/>
                </a:cubicBezTo>
                <a:cubicBezTo>
                  <a:pt x="967" y="305"/>
                  <a:pt x="968" y="306"/>
                  <a:pt x="968" y="306"/>
                </a:cubicBezTo>
                <a:cubicBezTo>
                  <a:pt x="969" y="306"/>
                  <a:pt x="969" y="306"/>
                  <a:pt x="969" y="307"/>
                </a:cubicBezTo>
                <a:cubicBezTo>
                  <a:pt x="969" y="307"/>
                  <a:pt x="971" y="307"/>
                  <a:pt x="971" y="307"/>
                </a:cubicBezTo>
                <a:cubicBezTo>
                  <a:pt x="972" y="307"/>
                  <a:pt x="972" y="309"/>
                  <a:pt x="973" y="308"/>
                </a:cubicBezTo>
                <a:cubicBezTo>
                  <a:pt x="973" y="307"/>
                  <a:pt x="973" y="307"/>
                  <a:pt x="974" y="307"/>
                </a:cubicBezTo>
                <a:cubicBezTo>
                  <a:pt x="975" y="307"/>
                  <a:pt x="976" y="306"/>
                  <a:pt x="976" y="307"/>
                </a:cubicBezTo>
                <a:cubicBezTo>
                  <a:pt x="977" y="308"/>
                  <a:pt x="978" y="306"/>
                  <a:pt x="978" y="307"/>
                </a:cubicBezTo>
                <a:cubicBezTo>
                  <a:pt x="978" y="308"/>
                  <a:pt x="979" y="309"/>
                  <a:pt x="979" y="309"/>
                </a:cubicBezTo>
                <a:cubicBezTo>
                  <a:pt x="978" y="309"/>
                  <a:pt x="977" y="309"/>
                  <a:pt x="977" y="309"/>
                </a:cubicBezTo>
                <a:cubicBezTo>
                  <a:pt x="976" y="310"/>
                  <a:pt x="975" y="310"/>
                  <a:pt x="974" y="310"/>
                </a:cubicBezTo>
                <a:cubicBezTo>
                  <a:pt x="974" y="311"/>
                  <a:pt x="972" y="311"/>
                  <a:pt x="972" y="313"/>
                </a:cubicBezTo>
                <a:cubicBezTo>
                  <a:pt x="973" y="313"/>
                  <a:pt x="973" y="313"/>
                  <a:pt x="974" y="313"/>
                </a:cubicBezTo>
                <a:cubicBezTo>
                  <a:pt x="974" y="313"/>
                  <a:pt x="974" y="312"/>
                  <a:pt x="974" y="312"/>
                </a:cubicBezTo>
                <a:cubicBezTo>
                  <a:pt x="974" y="312"/>
                  <a:pt x="974" y="313"/>
                  <a:pt x="974" y="313"/>
                </a:cubicBezTo>
                <a:cubicBezTo>
                  <a:pt x="975" y="313"/>
                  <a:pt x="975" y="313"/>
                  <a:pt x="976" y="313"/>
                </a:cubicBezTo>
                <a:cubicBezTo>
                  <a:pt x="977" y="313"/>
                  <a:pt x="977" y="313"/>
                  <a:pt x="977" y="314"/>
                </a:cubicBezTo>
                <a:cubicBezTo>
                  <a:pt x="977" y="315"/>
                  <a:pt x="977" y="316"/>
                  <a:pt x="977" y="317"/>
                </a:cubicBezTo>
                <a:cubicBezTo>
                  <a:pt x="977" y="317"/>
                  <a:pt x="976" y="318"/>
                  <a:pt x="976" y="318"/>
                </a:cubicBezTo>
                <a:cubicBezTo>
                  <a:pt x="977" y="318"/>
                  <a:pt x="977" y="318"/>
                  <a:pt x="977" y="318"/>
                </a:cubicBezTo>
                <a:cubicBezTo>
                  <a:pt x="978" y="318"/>
                  <a:pt x="978" y="318"/>
                  <a:pt x="979" y="318"/>
                </a:cubicBezTo>
                <a:cubicBezTo>
                  <a:pt x="980" y="317"/>
                  <a:pt x="981" y="317"/>
                  <a:pt x="983" y="316"/>
                </a:cubicBezTo>
                <a:cubicBezTo>
                  <a:pt x="983" y="316"/>
                  <a:pt x="982" y="316"/>
                  <a:pt x="983" y="316"/>
                </a:cubicBezTo>
                <a:cubicBezTo>
                  <a:pt x="983" y="316"/>
                  <a:pt x="984" y="316"/>
                  <a:pt x="984" y="316"/>
                </a:cubicBezTo>
                <a:cubicBezTo>
                  <a:pt x="984" y="316"/>
                  <a:pt x="985" y="315"/>
                  <a:pt x="985" y="315"/>
                </a:cubicBezTo>
                <a:cubicBezTo>
                  <a:pt x="986" y="315"/>
                  <a:pt x="987" y="315"/>
                  <a:pt x="987" y="314"/>
                </a:cubicBezTo>
                <a:cubicBezTo>
                  <a:pt x="987" y="314"/>
                  <a:pt x="988" y="315"/>
                  <a:pt x="988" y="315"/>
                </a:cubicBezTo>
                <a:cubicBezTo>
                  <a:pt x="989" y="314"/>
                  <a:pt x="989" y="314"/>
                  <a:pt x="989" y="314"/>
                </a:cubicBezTo>
                <a:cubicBezTo>
                  <a:pt x="991" y="314"/>
                  <a:pt x="991" y="314"/>
                  <a:pt x="991" y="312"/>
                </a:cubicBezTo>
                <a:cubicBezTo>
                  <a:pt x="991" y="312"/>
                  <a:pt x="991" y="312"/>
                  <a:pt x="991" y="312"/>
                </a:cubicBezTo>
                <a:cubicBezTo>
                  <a:pt x="991" y="312"/>
                  <a:pt x="989" y="312"/>
                  <a:pt x="989" y="312"/>
                </a:cubicBezTo>
                <a:cubicBezTo>
                  <a:pt x="988" y="312"/>
                  <a:pt x="988" y="312"/>
                  <a:pt x="987" y="312"/>
                </a:cubicBezTo>
                <a:cubicBezTo>
                  <a:pt x="987" y="312"/>
                  <a:pt x="987" y="312"/>
                  <a:pt x="987" y="312"/>
                </a:cubicBezTo>
                <a:cubicBezTo>
                  <a:pt x="987" y="312"/>
                  <a:pt x="986" y="312"/>
                  <a:pt x="986" y="312"/>
                </a:cubicBezTo>
                <a:cubicBezTo>
                  <a:pt x="985" y="312"/>
                  <a:pt x="984" y="313"/>
                  <a:pt x="984" y="312"/>
                </a:cubicBezTo>
                <a:cubicBezTo>
                  <a:pt x="983" y="311"/>
                  <a:pt x="983" y="311"/>
                  <a:pt x="983" y="311"/>
                </a:cubicBezTo>
                <a:cubicBezTo>
                  <a:pt x="983" y="310"/>
                  <a:pt x="983" y="310"/>
                  <a:pt x="983" y="309"/>
                </a:cubicBezTo>
                <a:cubicBezTo>
                  <a:pt x="983" y="309"/>
                  <a:pt x="982" y="309"/>
                  <a:pt x="982" y="309"/>
                </a:cubicBezTo>
                <a:cubicBezTo>
                  <a:pt x="981" y="309"/>
                  <a:pt x="981" y="308"/>
                  <a:pt x="981" y="308"/>
                </a:cubicBezTo>
                <a:cubicBezTo>
                  <a:pt x="981" y="308"/>
                  <a:pt x="980" y="308"/>
                  <a:pt x="980" y="308"/>
                </a:cubicBezTo>
                <a:cubicBezTo>
                  <a:pt x="980" y="307"/>
                  <a:pt x="979" y="307"/>
                  <a:pt x="979" y="307"/>
                </a:cubicBezTo>
                <a:cubicBezTo>
                  <a:pt x="979" y="307"/>
                  <a:pt x="979" y="306"/>
                  <a:pt x="979" y="306"/>
                </a:cubicBezTo>
                <a:cubicBezTo>
                  <a:pt x="980" y="306"/>
                  <a:pt x="981" y="306"/>
                  <a:pt x="982" y="306"/>
                </a:cubicBezTo>
                <a:cubicBezTo>
                  <a:pt x="981" y="307"/>
                  <a:pt x="982" y="306"/>
                  <a:pt x="983" y="306"/>
                </a:cubicBezTo>
                <a:cubicBezTo>
                  <a:pt x="984" y="306"/>
                  <a:pt x="985" y="307"/>
                  <a:pt x="986" y="306"/>
                </a:cubicBezTo>
                <a:cubicBezTo>
                  <a:pt x="986" y="305"/>
                  <a:pt x="987" y="305"/>
                  <a:pt x="987" y="305"/>
                </a:cubicBezTo>
                <a:cubicBezTo>
                  <a:pt x="987" y="305"/>
                  <a:pt x="990" y="302"/>
                  <a:pt x="989" y="304"/>
                </a:cubicBezTo>
                <a:cubicBezTo>
                  <a:pt x="990" y="304"/>
                  <a:pt x="990" y="304"/>
                  <a:pt x="990" y="304"/>
                </a:cubicBezTo>
                <a:cubicBezTo>
                  <a:pt x="991" y="304"/>
                  <a:pt x="991" y="303"/>
                  <a:pt x="992" y="303"/>
                </a:cubicBezTo>
                <a:cubicBezTo>
                  <a:pt x="993" y="303"/>
                  <a:pt x="994" y="303"/>
                  <a:pt x="995" y="302"/>
                </a:cubicBezTo>
                <a:cubicBezTo>
                  <a:pt x="996" y="302"/>
                  <a:pt x="997" y="301"/>
                  <a:pt x="998" y="301"/>
                </a:cubicBezTo>
                <a:cubicBezTo>
                  <a:pt x="998" y="301"/>
                  <a:pt x="998" y="301"/>
                  <a:pt x="998" y="300"/>
                </a:cubicBezTo>
                <a:cubicBezTo>
                  <a:pt x="999" y="300"/>
                  <a:pt x="1000" y="300"/>
                  <a:pt x="1001" y="300"/>
                </a:cubicBezTo>
                <a:cubicBezTo>
                  <a:pt x="1001" y="300"/>
                  <a:pt x="1001" y="300"/>
                  <a:pt x="1001" y="300"/>
                </a:cubicBezTo>
                <a:cubicBezTo>
                  <a:pt x="1001" y="300"/>
                  <a:pt x="1002" y="300"/>
                  <a:pt x="1003" y="300"/>
                </a:cubicBezTo>
                <a:cubicBezTo>
                  <a:pt x="1004" y="300"/>
                  <a:pt x="1004" y="299"/>
                  <a:pt x="1005" y="299"/>
                </a:cubicBezTo>
                <a:cubicBezTo>
                  <a:pt x="1005" y="300"/>
                  <a:pt x="1006" y="299"/>
                  <a:pt x="1005" y="300"/>
                </a:cubicBezTo>
                <a:cubicBezTo>
                  <a:pt x="1005" y="300"/>
                  <a:pt x="1004" y="300"/>
                  <a:pt x="1004" y="300"/>
                </a:cubicBezTo>
                <a:cubicBezTo>
                  <a:pt x="1004" y="301"/>
                  <a:pt x="1004" y="301"/>
                  <a:pt x="1003" y="301"/>
                </a:cubicBezTo>
                <a:cubicBezTo>
                  <a:pt x="1003" y="301"/>
                  <a:pt x="1002" y="301"/>
                  <a:pt x="1002" y="301"/>
                </a:cubicBezTo>
                <a:cubicBezTo>
                  <a:pt x="1002" y="302"/>
                  <a:pt x="1001" y="303"/>
                  <a:pt x="1001" y="303"/>
                </a:cubicBezTo>
                <a:cubicBezTo>
                  <a:pt x="1000" y="303"/>
                  <a:pt x="1001" y="302"/>
                  <a:pt x="1000" y="302"/>
                </a:cubicBezTo>
                <a:cubicBezTo>
                  <a:pt x="1000" y="302"/>
                  <a:pt x="999" y="303"/>
                  <a:pt x="999" y="304"/>
                </a:cubicBezTo>
                <a:cubicBezTo>
                  <a:pt x="1000" y="304"/>
                  <a:pt x="1000" y="304"/>
                  <a:pt x="1000" y="304"/>
                </a:cubicBezTo>
                <a:cubicBezTo>
                  <a:pt x="998" y="304"/>
                  <a:pt x="997" y="304"/>
                  <a:pt x="996" y="305"/>
                </a:cubicBezTo>
                <a:cubicBezTo>
                  <a:pt x="996" y="305"/>
                  <a:pt x="997" y="306"/>
                  <a:pt x="997" y="306"/>
                </a:cubicBezTo>
                <a:cubicBezTo>
                  <a:pt x="997" y="306"/>
                  <a:pt x="998" y="306"/>
                  <a:pt x="998" y="306"/>
                </a:cubicBezTo>
                <a:cubicBezTo>
                  <a:pt x="999" y="306"/>
                  <a:pt x="999" y="307"/>
                  <a:pt x="999" y="307"/>
                </a:cubicBezTo>
                <a:cubicBezTo>
                  <a:pt x="999" y="308"/>
                  <a:pt x="999" y="307"/>
                  <a:pt x="998" y="307"/>
                </a:cubicBezTo>
                <a:cubicBezTo>
                  <a:pt x="998" y="308"/>
                  <a:pt x="998" y="308"/>
                  <a:pt x="998" y="309"/>
                </a:cubicBezTo>
                <a:cubicBezTo>
                  <a:pt x="998" y="309"/>
                  <a:pt x="997" y="309"/>
                  <a:pt x="997" y="309"/>
                </a:cubicBezTo>
                <a:cubicBezTo>
                  <a:pt x="997" y="309"/>
                  <a:pt x="997" y="310"/>
                  <a:pt x="997" y="311"/>
                </a:cubicBezTo>
                <a:cubicBezTo>
                  <a:pt x="997" y="311"/>
                  <a:pt x="996" y="311"/>
                  <a:pt x="995" y="311"/>
                </a:cubicBezTo>
                <a:cubicBezTo>
                  <a:pt x="995" y="311"/>
                  <a:pt x="994" y="311"/>
                  <a:pt x="994" y="311"/>
                </a:cubicBezTo>
                <a:cubicBezTo>
                  <a:pt x="994" y="312"/>
                  <a:pt x="994" y="312"/>
                  <a:pt x="993" y="312"/>
                </a:cubicBezTo>
                <a:cubicBezTo>
                  <a:pt x="992" y="313"/>
                  <a:pt x="992" y="312"/>
                  <a:pt x="992" y="314"/>
                </a:cubicBezTo>
                <a:cubicBezTo>
                  <a:pt x="993" y="313"/>
                  <a:pt x="994" y="313"/>
                  <a:pt x="995" y="313"/>
                </a:cubicBezTo>
                <a:cubicBezTo>
                  <a:pt x="995" y="313"/>
                  <a:pt x="995" y="314"/>
                  <a:pt x="995" y="314"/>
                </a:cubicBezTo>
                <a:cubicBezTo>
                  <a:pt x="995" y="315"/>
                  <a:pt x="996" y="314"/>
                  <a:pt x="996" y="314"/>
                </a:cubicBezTo>
                <a:cubicBezTo>
                  <a:pt x="996" y="315"/>
                  <a:pt x="996" y="316"/>
                  <a:pt x="997" y="316"/>
                </a:cubicBezTo>
                <a:cubicBezTo>
                  <a:pt x="998" y="316"/>
                  <a:pt x="998" y="316"/>
                  <a:pt x="998" y="317"/>
                </a:cubicBezTo>
                <a:cubicBezTo>
                  <a:pt x="999" y="317"/>
                  <a:pt x="999" y="317"/>
                  <a:pt x="999" y="317"/>
                </a:cubicBezTo>
                <a:cubicBezTo>
                  <a:pt x="999" y="318"/>
                  <a:pt x="999" y="317"/>
                  <a:pt x="999" y="317"/>
                </a:cubicBezTo>
                <a:cubicBezTo>
                  <a:pt x="1000" y="318"/>
                  <a:pt x="1000" y="318"/>
                  <a:pt x="1000" y="318"/>
                </a:cubicBezTo>
                <a:cubicBezTo>
                  <a:pt x="1001" y="318"/>
                  <a:pt x="1001" y="318"/>
                  <a:pt x="1001" y="319"/>
                </a:cubicBezTo>
                <a:cubicBezTo>
                  <a:pt x="1001" y="319"/>
                  <a:pt x="1001" y="319"/>
                  <a:pt x="1001" y="319"/>
                </a:cubicBezTo>
                <a:cubicBezTo>
                  <a:pt x="1002" y="320"/>
                  <a:pt x="1002" y="321"/>
                  <a:pt x="1003" y="321"/>
                </a:cubicBezTo>
                <a:cubicBezTo>
                  <a:pt x="1004" y="321"/>
                  <a:pt x="1004" y="322"/>
                  <a:pt x="1005" y="323"/>
                </a:cubicBezTo>
                <a:cubicBezTo>
                  <a:pt x="1005" y="323"/>
                  <a:pt x="1005" y="323"/>
                  <a:pt x="1006" y="323"/>
                </a:cubicBezTo>
                <a:cubicBezTo>
                  <a:pt x="1006" y="323"/>
                  <a:pt x="1006" y="324"/>
                  <a:pt x="1006" y="324"/>
                </a:cubicBezTo>
                <a:cubicBezTo>
                  <a:pt x="1006" y="324"/>
                  <a:pt x="1006" y="324"/>
                  <a:pt x="1007" y="324"/>
                </a:cubicBezTo>
                <a:cubicBezTo>
                  <a:pt x="1008" y="325"/>
                  <a:pt x="1007" y="324"/>
                  <a:pt x="1008" y="325"/>
                </a:cubicBezTo>
                <a:cubicBezTo>
                  <a:pt x="1008" y="325"/>
                  <a:pt x="1009" y="325"/>
                  <a:pt x="1009" y="325"/>
                </a:cubicBezTo>
                <a:cubicBezTo>
                  <a:pt x="1010" y="325"/>
                  <a:pt x="1010" y="326"/>
                  <a:pt x="1010" y="326"/>
                </a:cubicBezTo>
                <a:cubicBezTo>
                  <a:pt x="1011" y="326"/>
                  <a:pt x="1011" y="326"/>
                  <a:pt x="1011" y="326"/>
                </a:cubicBezTo>
                <a:cubicBezTo>
                  <a:pt x="1011" y="327"/>
                  <a:pt x="1011" y="326"/>
                  <a:pt x="1012" y="326"/>
                </a:cubicBezTo>
                <a:cubicBezTo>
                  <a:pt x="1012" y="326"/>
                  <a:pt x="1012" y="327"/>
                  <a:pt x="1012" y="327"/>
                </a:cubicBezTo>
                <a:cubicBezTo>
                  <a:pt x="1012" y="328"/>
                  <a:pt x="1013" y="328"/>
                  <a:pt x="1013" y="328"/>
                </a:cubicBezTo>
                <a:cubicBezTo>
                  <a:pt x="1014" y="330"/>
                  <a:pt x="1015" y="331"/>
                  <a:pt x="1015" y="333"/>
                </a:cubicBezTo>
                <a:cubicBezTo>
                  <a:pt x="1015" y="333"/>
                  <a:pt x="1015" y="333"/>
                  <a:pt x="1014" y="333"/>
                </a:cubicBezTo>
                <a:cubicBezTo>
                  <a:pt x="1014" y="334"/>
                  <a:pt x="1014" y="335"/>
                  <a:pt x="1013" y="335"/>
                </a:cubicBezTo>
                <a:cubicBezTo>
                  <a:pt x="1013" y="336"/>
                  <a:pt x="1012" y="337"/>
                  <a:pt x="1012" y="337"/>
                </a:cubicBezTo>
                <a:cubicBezTo>
                  <a:pt x="1012" y="337"/>
                  <a:pt x="1012" y="337"/>
                  <a:pt x="1012" y="337"/>
                </a:cubicBezTo>
                <a:cubicBezTo>
                  <a:pt x="1011" y="337"/>
                  <a:pt x="1012" y="337"/>
                  <a:pt x="1012" y="337"/>
                </a:cubicBezTo>
                <a:cubicBezTo>
                  <a:pt x="1011" y="337"/>
                  <a:pt x="1011" y="337"/>
                  <a:pt x="1011" y="337"/>
                </a:cubicBezTo>
                <a:cubicBezTo>
                  <a:pt x="1011" y="337"/>
                  <a:pt x="1011" y="337"/>
                  <a:pt x="1011" y="337"/>
                </a:cubicBezTo>
                <a:cubicBezTo>
                  <a:pt x="1010" y="338"/>
                  <a:pt x="1010" y="337"/>
                  <a:pt x="1010" y="337"/>
                </a:cubicBezTo>
                <a:cubicBezTo>
                  <a:pt x="1010" y="337"/>
                  <a:pt x="1009" y="338"/>
                  <a:pt x="1009" y="338"/>
                </a:cubicBezTo>
                <a:cubicBezTo>
                  <a:pt x="1008" y="339"/>
                  <a:pt x="1007" y="338"/>
                  <a:pt x="1006" y="338"/>
                </a:cubicBezTo>
                <a:cubicBezTo>
                  <a:pt x="1005" y="338"/>
                  <a:pt x="1005" y="337"/>
                  <a:pt x="1004" y="337"/>
                </a:cubicBezTo>
                <a:cubicBezTo>
                  <a:pt x="1004" y="338"/>
                  <a:pt x="1004" y="338"/>
                  <a:pt x="1004" y="338"/>
                </a:cubicBezTo>
                <a:cubicBezTo>
                  <a:pt x="1004" y="338"/>
                  <a:pt x="1004" y="338"/>
                  <a:pt x="1003" y="338"/>
                </a:cubicBezTo>
                <a:cubicBezTo>
                  <a:pt x="1003" y="339"/>
                  <a:pt x="1003" y="339"/>
                  <a:pt x="1002" y="339"/>
                </a:cubicBezTo>
                <a:cubicBezTo>
                  <a:pt x="1002" y="339"/>
                  <a:pt x="1001" y="338"/>
                  <a:pt x="1001" y="339"/>
                </a:cubicBezTo>
                <a:cubicBezTo>
                  <a:pt x="1000" y="339"/>
                  <a:pt x="998" y="339"/>
                  <a:pt x="997" y="338"/>
                </a:cubicBezTo>
                <a:cubicBezTo>
                  <a:pt x="997" y="338"/>
                  <a:pt x="996" y="338"/>
                  <a:pt x="995" y="338"/>
                </a:cubicBezTo>
                <a:cubicBezTo>
                  <a:pt x="995" y="338"/>
                  <a:pt x="995" y="337"/>
                  <a:pt x="994" y="336"/>
                </a:cubicBezTo>
                <a:cubicBezTo>
                  <a:pt x="993" y="336"/>
                  <a:pt x="992" y="336"/>
                  <a:pt x="992" y="336"/>
                </a:cubicBezTo>
                <a:cubicBezTo>
                  <a:pt x="991" y="336"/>
                  <a:pt x="991" y="337"/>
                  <a:pt x="991" y="337"/>
                </a:cubicBezTo>
                <a:cubicBezTo>
                  <a:pt x="990" y="337"/>
                  <a:pt x="990" y="337"/>
                  <a:pt x="989" y="337"/>
                </a:cubicBezTo>
                <a:cubicBezTo>
                  <a:pt x="989" y="336"/>
                  <a:pt x="988" y="334"/>
                  <a:pt x="988" y="334"/>
                </a:cubicBezTo>
                <a:cubicBezTo>
                  <a:pt x="988" y="334"/>
                  <a:pt x="986" y="335"/>
                  <a:pt x="986" y="334"/>
                </a:cubicBezTo>
                <a:cubicBezTo>
                  <a:pt x="986" y="334"/>
                  <a:pt x="985" y="334"/>
                  <a:pt x="984" y="334"/>
                </a:cubicBezTo>
                <a:cubicBezTo>
                  <a:pt x="984" y="333"/>
                  <a:pt x="984" y="333"/>
                  <a:pt x="984" y="332"/>
                </a:cubicBezTo>
                <a:cubicBezTo>
                  <a:pt x="983" y="333"/>
                  <a:pt x="983" y="333"/>
                  <a:pt x="982" y="333"/>
                </a:cubicBezTo>
                <a:cubicBezTo>
                  <a:pt x="981" y="333"/>
                  <a:pt x="981" y="334"/>
                  <a:pt x="980" y="333"/>
                </a:cubicBezTo>
                <a:cubicBezTo>
                  <a:pt x="980" y="333"/>
                  <a:pt x="980" y="333"/>
                  <a:pt x="980" y="333"/>
                </a:cubicBezTo>
                <a:cubicBezTo>
                  <a:pt x="980" y="333"/>
                  <a:pt x="979" y="333"/>
                  <a:pt x="979" y="332"/>
                </a:cubicBezTo>
                <a:cubicBezTo>
                  <a:pt x="979" y="332"/>
                  <a:pt x="977" y="332"/>
                  <a:pt x="976" y="332"/>
                </a:cubicBezTo>
                <a:cubicBezTo>
                  <a:pt x="976" y="332"/>
                  <a:pt x="976" y="332"/>
                  <a:pt x="975" y="332"/>
                </a:cubicBezTo>
                <a:cubicBezTo>
                  <a:pt x="975" y="334"/>
                  <a:pt x="972" y="333"/>
                  <a:pt x="971" y="334"/>
                </a:cubicBezTo>
                <a:cubicBezTo>
                  <a:pt x="971" y="335"/>
                  <a:pt x="971" y="335"/>
                  <a:pt x="970" y="335"/>
                </a:cubicBezTo>
                <a:cubicBezTo>
                  <a:pt x="970" y="335"/>
                  <a:pt x="968" y="336"/>
                  <a:pt x="968" y="336"/>
                </a:cubicBezTo>
                <a:cubicBezTo>
                  <a:pt x="968" y="337"/>
                  <a:pt x="967" y="336"/>
                  <a:pt x="967" y="336"/>
                </a:cubicBezTo>
                <a:cubicBezTo>
                  <a:pt x="966" y="337"/>
                  <a:pt x="966" y="338"/>
                  <a:pt x="965" y="338"/>
                </a:cubicBezTo>
                <a:cubicBezTo>
                  <a:pt x="964" y="338"/>
                  <a:pt x="963" y="338"/>
                  <a:pt x="962" y="338"/>
                </a:cubicBezTo>
                <a:cubicBezTo>
                  <a:pt x="962" y="337"/>
                  <a:pt x="961" y="337"/>
                  <a:pt x="961" y="338"/>
                </a:cubicBezTo>
                <a:cubicBezTo>
                  <a:pt x="960" y="338"/>
                  <a:pt x="959" y="337"/>
                  <a:pt x="958" y="338"/>
                </a:cubicBezTo>
                <a:cubicBezTo>
                  <a:pt x="957" y="338"/>
                  <a:pt x="956" y="337"/>
                  <a:pt x="956" y="339"/>
                </a:cubicBezTo>
                <a:cubicBezTo>
                  <a:pt x="956" y="339"/>
                  <a:pt x="959" y="340"/>
                  <a:pt x="959" y="340"/>
                </a:cubicBezTo>
                <a:cubicBezTo>
                  <a:pt x="959" y="340"/>
                  <a:pt x="958" y="340"/>
                  <a:pt x="958" y="340"/>
                </a:cubicBezTo>
                <a:cubicBezTo>
                  <a:pt x="957" y="340"/>
                  <a:pt x="956" y="340"/>
                  <a:pt x="956" y="341"/>
                </a:cubicBezTo>
                <a:cubicBezTo>
                  <a:pt x="956" y="341"/>
                  <a:pt x="956" y="341"/>
                  <a:pt x="956" y="341"/>
                </a:cubicBezTo>
                <a:cubicBezTo>
                  <a:pt x="955" y="342"/>
                  <a:pt x="953" y="342"/>
                  <a:pt x="952" y="342"/>
                </a:cubicBezTo>
                <a:cubicBezTo>
                  <a:pt x="952" y="341"/>
                  <a:pt x="951" y="341"/>
                  <a:pt x="950" y="341"/>
                </a:cubicBezTo>
                <a:cubicBezTo>
                  <a:pt x="949" y="341"/>
                  <a:pt x="950" y="342"/>
                  <a:pt x="950" y="343"/>
                </a:cubicBezTo>
                <a:cubicBezTo>
                  <a:pt x="948" y="343"/>
                  <a:pt x="945" y="342"/>
                  <a:pt x="944" y="344"/>
                </a:cubicBezTo>
                <a:cubicBezTo>
                  <a:pt x="944" y="345"/>
                  <a:pt x="943" y="345"/>
                  <a:pt x="943" y="345"/>
                </a:cubicBezTo>
                <a:cubicBezTo>
                  <a:pt x="942" y="346"/>
                  <a:pt x="942" y="346"/>
                  <a:pt x="943" y="347"/>
                </a:cubicBezTo>
                <a:cubicBezTo>
                  <a:pt x="943" y="348"/>
                  <a:pt x="942" y="348"/>
                  <a:pt x="942" y="349"/>
                </a:cubicBezTo>
                <a:cubicBezTo>
                  <a:pt x="943" y="349"/>
                  <a:pt x="944" y="349"/>
                  <a:pt x="945" y="349"/>
                </a:cubicBezTo>
                <a:cubicBezTo>
                  <a:pt x="945" y="350"/>
                  <a:pt x="946" y="350"/>
                  <a:pt x="946" y="351"/>
                </a:cubicBezTo>
                <a:cubicBezTo>
                  <a:pt x="946" y="352"/>
                  <a:pt x="946" y="353"/>
                  <a:pt x="945" y="353"/>
                </a:cubicBezTo>
                <a:cubicBezTo>
                  <a:pt x="945" y="354"/>
                  <a:pt x="946" y="354"/>
                  <a:pt x="946" y="354"/>
                </a:cubicBezTo>
                <a:cubicBezTo>
                  <a:pt x="946" y="355"/>
                  <a:pt x="945" y="355"/>
                  <a:pt x="945" y="356"/>
                </a:cubicBezTo>
                <a:cubicBezTo>
                  <a:pt x="944" y="356"/>
                  <a:pt x="944" y="355"/>
                  <a:pt x="943" y="355"/>
                </a:cubicBezTo>
                <a:cubicBezTo>
                  <a:pt x="943" y="356"/>
                  <a:pt x="944" y="356"/>
                  <a:pt x="943" y="358"/>
                </a:cubicBezTo>
                <a:cubicBezTo>
                  <a:pt x="944" y="357"/>
                  <a:pt x="945" y="357"/>
                  <a:pt x="945" y="357"/>
                </a:cubicBezTo>
                <a:cubicBezTo>
                  <a:pt x="946" y="358"/>
                  <a:pt x="946" y="358"/>
                  <a:pt x="947" y="359"/>
                </a:cubicBezTo>
                <a:cubicBezTo>
                  <a:pt x="947" y="359"/>
                  <a:pt x="947" y="361"/>
                  <a:pt x="947" y="361"/>
                </a:cubicBezTo>
                <a:cubicBezTo>
                  <a:pt x="947" y="361"/>
                  <a:pt x="948" y="361"/>
                  <a:pt x="948" y="361"/>
                </a:cubicBezTo>
                <a:cubicBezTo>
                  <a:pt x="948" y="362"/>
                  <a:pt x="948" y="362"/>
                  <a:pt x="948" y="362"/>
                </a:cubicBezTo>
                <a:cubicBezTo>
                  <a:pt x="947" y="363"/>
                  <a:pt x="947" y="362"/>
                  <a:pt x="947" y="363"/>
                </a:cubicBezTo>
                <a:cubicBezTo>
                  <a:pt x="947" y="363"/>
                  <a:pt x="947" y="363"/>
                  <a:pt x="948" y="364"/>
                </a:cubicBezTo>
                <a:cubicBezTo>
                  <a:pt x="949" y="364"/>
                  <a:pt x="950" y="364"/>
                  <a:pt x="951" y="364"/>
                </a:cubicBezTo>
                <a:cubicBezTo>
                  <a:pt x="951" y="364"/>
                  <a:pt x="951" y="364"/>
                  <a:pt x="950" y="365"/>
                </a:cubicBezTo>
                <a:cubicBezTo>
                  <a:pt x="950" y="365"/>
                  <a:pt x="951" y="365"/>
                  <a:pt x="951" y="365"/>
                </a:cubicBezTo>
                <a:cubicBezTo>
                  <a:pt x="951" y="366"/>
                  <a:pt x="952" y="366"/>
                  <a:pt x="952" y="366"/>
                </a:cubicBezTo>
                <a:cubicBezTo>
                  <a:pt x="952" y="365"/>
                  <a:pt x="951" y="365"/>
                  <a:pt x="952" y="365"/>
                </a:cubicBezTo>
                <a:cubicBezTo>
                  <a:pt x="953" y="365"/>
                  <a:pt x="953" y="367"/>
                  <a:pt x="954" y="367"/>
                </a:cubicBezTo>
                <a:cubicBezTo>
                  <a:pt x="954" y="367"/>
                  <a:pt x="955" y="366"/>
                  <a:pt x="955" y="366"/>
                </a:cubicBezTo>
                <a:cubicBezTo>
                  <a:pt x="956" y="367"/>
                  <a:pt x="955" y="367"/>
                  <a:pt x="956" y="367"/>
                </a:cubicBezTo>
                <a:cubicBezTo>
                  <a:pt x="956" y="367"/>
                  <a:pt x="956" y="368"/>
                  <a:pt x="956" y="368"/>
                </a:cubicBezTo>
                <a:cubicBezTo>
                  <a:pt x="956" y="368"/>
                  <a:pt x="956" y="369"/>
                  <a:pt x="957" y="369"/>
                </a:cubicBezTo>
                <a:cubicBezTo>
                  <a:pt x="958" y="369"/>
                  <a:pt x="958" y="371"/>
                  <a:pt x="959" y="371"/>
                </a:cubicBezTo>
                <a:cubicBezTo>
                  <a:pt x="960" y="370"/>
                  <a:pt x="960" y="370"/>
                  <a:pt x="961" y="370"/>
                </a:cubicBezTo>
                <a:cubicBezTo>
                  <a:pt x="962" y="369"/>
                  <a:pt x="962" y="369"/>
                  <a:pt x="963" y="368"/>
                </a:cubicBezTo>
                <a:cubicBezTo>
                  <a:pt x="963" y="367"/>
                  <a:pt x="963" y="366"/>
                  <a:pt x="964" y="366"/>
                </a:cubicBezTo>
                <a:cubicBezTo>
                  <a:pt x="964" y="366"/>
                  <a:pt x="964" y="366"/>
                  <a:pt x="965" y="366"/>
                </a:cubicBezTo>
                <a:cubicBezTo>
                  <a:pt x="965" y="366"/>
                  <a:pt x="965" y="366"/>
                  <a:pt x="965" y="366"/>
                </a:cubicBezTo>
                <a:cubicBezTo>
                  <a:pt x="967" y="366"/>
                  <a:pt x="965" y="366"/>
                  <a:pt x="966" y="366"/>
                </a:cubicBezTo>
                <a:cubicBezTo>
                  <a:pt x="966" y="366"/>
                  <a:pt x="966" y="366"/>
                  <a:pt x="967" y="366"/>
                </a:cubicBezTo>
                <a:cubicBezTo>
                  <a:pt x="967" y="366"/>
                  <a:pt x="966" y="367"/>
                  <a:pt x="967" y="367"/>
                </a:cubicBezTo>
                <a:cubicBezTo>
                  <a:pt x="967" y="367"/>
                  <a:pt x="967" y="367"/>
                  <a:pt x="968" y="367"/>
                </a:cubicBezTo>
                <a:cubicBezTo>
                  <a:pt x="968" y="367"/>
                  <a:pt x="968" y="367"/>
                  <a:pt x="969" y="367"/>
                </a:cubicBezTo>
                <a:cubicBezTo>
                  <a:pt x="969" y="367"/>
                  <a:pt x="970" y="368"/>
                  <a:pt x="970" y="368"/>
                </a:cubicBezTo>
                <a:cubicBezTo>
                  <a:pt x="970" y="368"/>
                  <a:pt x="970" y="369"/>
                  <a:pt x="971" y="369"/>
                </a:cubicBezTo>
                <a:cubicBezTo>
                  <a:pt x="971" y="369"/>
                  <a:pt x="972" y="369"/>
                  <a:pt x="972" y="370"/>
                </a:cubicBezTo>
                <a:cubicBezTo>
                  <a:pt x="973" y="370"/>
                  <a:pt x="975" y="370"/>
                  <a:pt x="976" y="370"/>
                </a:cubicBezTo>
                <a:cubicBezTo>
                  <a:pt x="978" y="370"/>
                  <a:pt x="980" y="369"/>
                  <a:pt x="981" y="368"/>
                </a:cubicBezTo>
                <a:cubicBezTo>
                  <a:pt x="982" y="367"/>
                  <a:pt x="982" y="367"/>
                  <a:pt x="983" y="367"/>
                </a:cubicBezTo>
                <a:cubicBezTo>
                  <a:pt x="983" y="367"/>
                  <a:pt x="984" y="366"/>
                  <a:pt x="984" y="367"/>
                </a:cubicBezTo>
                <a:cubicBezTo>
                  <a:pt x="985" y="367"/>
                  <a:pt x="986" y="366"/>
                  <a:pt x="986" y="365"/>
                </a:cubicBezTo>
                <a:cubicBezTo>
                  <a:pt x="986" y="365"/>
                  <a:pt x="987" y="364"/>
                  <a:pt x="988" y="365"/>
                </a:cubicBezTo>
                <a:cubicBezTo>
                  <a:pt x="988" y="366"/>
                  <a:pt x="988" y="367"/>
                  <a:pt x="988" y="368"/>
                </a:cubicBezTo>
                <a:cubicBezTo>
                  <a:pt x="987" y="368"/>
                  <a:pt x="987" y="368"/>
                  <a:pt x="987" y="369"/>
                </a:cubicBezTo>
                <a:cubicBezTo>
                  <a:pt x="987" y="370"/>
                  <a:pt x="987" y="371"/>
                  <a:pt x="987" y="371"/>
                </a:cubicBezTo>
                <a:cubicBezTo>
                  <a:pt x="987" y="371"/>
                  <a:pt x="986" y="373"/>
                  <a:pt x="987" y="372"/>
                </a:cubicBezTo>
                <a:cubicBezTo>
                  <a:pt x="987" y="373"/>
                  <a:pt x="987" y="374"/>
                  <a:pt x="988" y="374"/>
                </a:cubicBezTo>
                <a:cubicBezTo>
                  <a:pt x="988" y="375"/>
                  <a:pt x="988" y="376"/>
                  <a:pt x="988" y="377"/>
                </a:cubicBezTo>
                <a:cubicBezTo>
                  <a:pt x="988" y="377"/>
                  <a:pt x="987" y="377"/>
                  <a:pt x="988" y="378"/>
                </a:cubicBezTo>
                <a:cubicBezTo>
                  <a:pt x="988" y="379"/>
                  <a:pt x="988" y="379"/>
                  <a:pt x="989" y="379"/>
                </a:cubicBezTo>
                <a:cubicBezTo>
                  <a:pt x="989" y="380"/>
                  <a:pt x="988" y="380"/>
                  <a:pt x="988" y="380"/>
                </a:cubicBezTo>
                <a:cubicBezTo>
                  <a:pt x="988" y="381"/>
                  <a:pt x="988" y="382"/>
                  <a:pt x="987" y="382"/>
                </a:cubicBezTo>
                <a:cubicBezTo>
                  <a:pt x="986" y="383"/>
                  <a:pt x="986" y="384"/>
                  <a:pt x="986" y="385"/>
                </a:cubicBezTo>
                <a:cubicBezTo>
                  <a:pt x="986" y="385"/>
                  <a:pt x="986" y="385"/>
                  <a:pt x="986" y="385"/>
                </a:cubicBezTo>
                <a:cubicBezTo>
                  <a:pt x="986" y="385"/>
                  <a:pt x="986" y="386"/>
                  <a:pt x="986" y="386"/>
                </a:cubicBezTo>
                <a:cubicBezTo>
                  <a:pt x="986" y="388"/>
                  <a:pt x="986" y="387"/>
                  <a:pt x="985" y="388"/>
                </a:cubicBezTo>
                <a:cubicBezTo>
                  <a:pt x="985" y="389"/>
                  <a:pt x="985" y="388"/>
                  <a:pt x="984" y="389"/>
                </a:cubicBezTo>
                <a:cubicBezTo>
                  <a:pt x="984" y="390"/>
                  <a:pt x="984" y="391"/>
                  <a:pt x="984" y="392"/>
                </a:cubicBezTo>
                <a:cubicBezTo>
                  <a:pt x="984" y="393"/>
                  <a:pt x="983" y="393"/>
                  <a:pt x="983" y="393"/>
                </a:cubicBezTo>
                <a:cubicBezTo>
                  <a:pt x="983" y="394"/>
                  <a:pt x="983" y="394"/>
                  <a:pt x="982" y="395"/>
                </a:cubicBezTo>
                <a:cubicBezTo>
                  <a:pt x="982" y="396"/>
                  <a:pt x="983" y="396"/>
                  <a:pt x="982" y="397"/>
                </a:cubicBezTo>
                <a:cubicBezTo>
                  <a:pt x="982" y="397"/>
                  <a:pt x="982" y="397"/>
                  <a:pt x="982" y="397"/>
                </a:cubicBezTo>
                <a:cubicBezTo>
                  <a:pt x="981" y="398"/>
                  <a:pt x="981" y="398"/>
                  <a:pt x="980" y="399"/>
                </a:cubicBezTo>
                <a:cubicBezTo>
                  <a:pt x="978" y="399"/>
                  <a:pt x="976" y="399"/>
                  <a:pt x="974" y="400"/>
                </a:cubicBezTo>
                <a:cubicBezTo>
                  <a:pt x="974" y="399"/>
                  <a:pt x="974" y="399"/>
                  <a:pt x="974" y="399"/>
                </a:cubicBezTo>
                <a:cubicBezTo>
                  <a:pt x="973" y="399"/>
                  <a:pt x="972" y="399"/>
                  <a:pt x="972" y="399"/>
                </a:cubicBezTo>
                <a:cubicBezTo>
                  <a:pt x="971" y="399"/>
                  <a:pt x="970" y="401"/>
                  <a:pt x="970" y="400"/>
                </a:cubicBezTo>
                <a:cubicBezTo>
                  <a:pt x="970" y="399"/>
                  <a:pt x="969" y="399"/>
                  <a:pt x="968" y="399"/>
                </a:cubicBezTo>
                <a:cubicBezTo>
                  <a:pt x="968" y="399"/>
                  <a:pt x="968" y="399"/>
                  <a:pt x="968" y="398"/>
                </a:cubicBezTo>
                <a:cubicBezTo>
                  <a:pt x="967" y="398"/>
                  <a:pt x="967" y="398"/>
                  <a:pt x="966" y="398"/>
                </a:cubicBezTo>
                <a:cubicBezTo>
                  <a:pt x="966" y="399"/>
                  <a:pt x="967" y="399"/>
                  <a:pt x="966" y="400"/>
                </a:cubicBezTo>
                <a:cubicBezTo>
                  <a:pt x="965" y="401"/>
                  <a:pt x="965" y="399"/>
                  <a:pt x="965" y="399"/>
                </a:cubicBezTo>
                <a:cubicBezTo>
                  <a:pt x="965" y="399"/>
                  <a:pt x="964" y="399"/>
                  <a:pt x="964" y="399"/>
                </a:cubicBezTo>
                <a:cubicBezTo>
                  <a:pt x="963" y="399"/>
                  <a:pt x="963" y="399"/>
                  <a:pt x="962" y="399"/>
                </a:cubicBezTo>
                <a:cubicBezTo>
                  <a:pt x="961" y="399"/>
                  <a:pt x="961" y="400"/>
                  <a:pt x="961" y="401"/>
                </a:cubicBezTo>
                <a:cubicBezTo>
                  <a:pt x="960" y="401"/>
                  <a:pt x="958" y="399"/>
                  <a:pt x="958" y="400"/>
                </a:cubicBezTo>
                <a:cubicBezTo>
                  <a:pt x="958" y="401"/>
                  <a:pt x="956" y="401"/>
                  <a:pt x="956" y="401"/>
                </a:cubicBezTo>
                <a:cubicBezTo>
                  <a:pt x="955" y="401"/>
                  <a:pt x="955" y="400"/>
                  <a:pt x="954" y="400"/>
                </a:cubicBezTo>
                <a:cubicBezTo>
                  <a:pt x="954" y="400"/>
                  <a:pt x="954" y="399"/>
                  <a:pt x="953" y="399"/>
                </a:cubicBezTo>
                <a:cubicBezTo>
                  <a:pt x="953" y="399"/>
                  <a:pt x="953" y="400"/>
                  <a:pt x="953" y="400"/>
                </a:cubicBezTo>
                <a:cubicBezTo>
                  <a:pt x="952" y="400"/>
                  <a:pt x="951" y="400"/>
                  <a:pt x="950" y="399"/>
                </a:cubicBezTo>
                <a:cubicBezTo>
                  <a:pt x="950" y="400"/>
                  <a:pt x="948" y="400"/>
                  <a:pt x="948" y="400"/>
                </a:cubicBezTo>
                <a:cubicBezTo>
                  <a:pt x="947" y="399"/>
                  <a:pt x="947" y="399"/>
                  <a:pt x="946" y="399"/>
                </a:cubicBezTo>
                <a:cubicBezTo>
                  <a:pt x="946" y="399"/>
                  <a:pt x="946" y="399"/>
                  <a:pt x="946" y="399"/>
                </a:cubicBezTo>
                <a:cubicBezTo>
                  <a:pt x="945" y="399"/>
                  <a:pt x="946" y="398"/>
                  <a:pt x="945" y="398"/>
                </a:cubicBezTo>
                <a:cubicBezTo>
                  <a:pt x="944" y="398"/>
                  <a:pt x="944" y="398"/>
                  <a:pt x="944" y="397"/>
                </a:cubicBezTo>
                <a:cubicBezTo>
                  <a:pt x="943" y="397"/>
                  <a:pt x="941" y="397"/>
                  <a:pt x="940" y="397"/>
                </a:cubicBezTo>
                <a:cubicBezTo>
                  <a:pt x="940" y="397"/>
                  <a:pt x="940" y="397"/>
                  <a:pt x="940" y="397"/>
                </a:cubicBezTo>
                <a:cubicBezTo>
                  <a:pt x="939" y="397"/>
                  <a:pt x="939" y="397"/>
                  <a:pt x="938" y="397"/>
                </a:cubicBezTo>
                <a:cubicBezTo>
                  <a:pt x="937" y="397"/>
                  <a:pt x="938" y="397"/>
                  <a:pt x="937" y="397"/>
                </a:cubicBezTo>
                <a:cubicBezTo>
                  <a:pt x="936" y="396"/>
                  <a:pt x="937" y="395"/>
                  <a:pt x="936" y="395"/>
                </a:cubicBezTo>
                <a:cubicBezTo>
                  <a:pt x="935" y="395"/>
                  <a:pt x="933" y="395"/>
                  <a:pt x="932" y="395"/>
                </a:cubicBezTo>
                <a:cubicBezTo>
                  <a:pt x="932" y="394"/>
                  <a:pt x="933" y="394"/>
                  <a:pt x="932" y="394"/>
                </a:cubicBezTo>
                <a:cubicBezTo>
                  <a:pt x="931" y="393"/>
                  <a:pt x="930" y="393"/>
                  <a:pt x="929" y="393"/>
                </a:cubicBezTo>
                <a:cubicBezTo>
                  <a:pt x="928" y="393"/>
                  <a:pt x="927" y="394"/>
                  <a:pt x="927" y="393"/>
                </a:cubicBezTo>
                <a:cubicBezTo>
                  <a:pt x="927" y="393"/>
                  <a:pt x="927" y="393"/>
                  <a:pt x="927" y="392"/>
                </a:cubicBezTo>
                <a:cubicBezTo>
                  <a:pt x="926" y="392"/>
                  <a:pt x="926" y="392"/>
                  <a:pt x="926" y="391"/>
                </a:cubicBezTo>
                <a:cubicBezTo>
                  <a:pt x="926" y="391"/>
                  <a:pt x="924" y="391"/>
                  <a:pt x="924" y="391"/>
                </a:cubicBezTo>
                <a:cubicBezTo>
                  <a:pt x="923" y="391"/>
                  <a:pt x="922" y="390"/>
                  <a:pt x="921" y="390"/>
                </a:cubicBezTo>
                <a:cubicBezTo>
                  <a:pt x="920" y="389"/>
                  <a:pt x="919" y="389"/>
                  <a:pt x="919" y="389"/>
                </a:cubicBezTo>
                <a:cubicBezTo>
                  <a:pt x="918" y="389"/>
                  <a:pt x="918" y="389"/>
                  <a:pt x="918" y="389"/>
                </a:cubicBezTo>
                <a:cubicBezTo>
                  <a:pt x="918" y="389"/>
                  <a:pt x="917" y="389"/>
                  <a:pt x="917" y="390"/>
                </a:cubicBezTo>
                <a:cubicBezTo>
                  <a:pt x="917" y="390"/>
                  <a:pt x="917" y="390"/>
                  <a:pt x="916" y="390"/>
                </a:cubicBezTo>
                <a:cubicBezTo>
                  <a:pt x="916" y="390"/>
                  <a:pt x="916" y="391"/>
                  <a:pt x="915" y="391"/>
                </a:cubicBezTo>
                <a:cubicBezTo>
                  <a:pt x="915" y="391"/>
                  <a:pt x="915" y="391"/>
                  <a:pt x="915" y="391"/>
                </a:cubicBezTo>
                <a:cubicBezTo>
                  <a:pt x="914" y="391"/>
                  <a:pt x="914" y="391"/>
                  <a:pt x="913" y="392"/>
                </a:cubicBezTo>
                <a:cubicBezTo>
                  <a:pt x="913" y="393"/>
                  <a:pt x="912" y="395"/>
                  <a:pt x="911" y="395"/>
                </a:cubicBezTo>
                <a:cubicBezTo>
                  <a:pt x="911" y="396"/>
                  <a:pt x="911" y="397"/>
                  <a:pt x="912" y="397"/>
                </a:cubicBezTo>
                <a:cubicBezTo>
                  <a:pt x="913" y="398"/>
                  <a:pt x="912" y="398"/>
                  <a:pt x="913" y="398"/>
                </a:cubicBezTo>
                <a:cubicBezTo>
                  <a:pt x="913" y="400"/>
                  <a:pt x="911" y="401"/>
                  <a:pt x="910" y="402"/>
                </a:cubicBezTo>
                <a:cubicBezTo>
                  <a:pt x="910" y="403"/>
                  <a:pt x="910" y="403"/>
                  <a:pt x="909" y="403"/>
                </a:cubicBezTo>
                <a:cubicBezTo>
                  <a:pt x="909" y="404"/>
                  <a:pt x="908" y="403"/>
                  <a:pt x="907" y="403"/>
                </a:cubicBezTo>
                <a:cubicBezTo>
                  <a:pt x="906" y="403"/>
                  <a:pt x="904" y="403"/>
                  <a:pt x="903" y="402"/>
                </a:cubicBezTo>
                <a:cubicBezTo>
                  <a:pt x="902" y="402"/>
                  <a:pt x="900" y="402"/>
                  <a:pt x="900" y="401"/>
                </a:cubicBezTo>
                <a:cubicBezTo>
                  <a:pt x="900" y="401"/>
                  <a:pt x="899" y="401"/>
                  <a:pt x="899" y="401"/>
                </a:cubicBezTo>
                <a:cubicBezTo>
                  <a:pt x="898" y="401"/>
                  <a:pt x="898" y="401"/>
                  <a:pt x="897" y="401"/>
                </a:cubicBezTo>
                <a:cubicBezTo>
                  <a:pt x="897" y="400"/>
                  <a:pt x="896" y="400"/>
                  <a:pt x="896" y="400"/>
                </a:cubicBezTo>
                <a:cubicBezTo>
                  <a:pt x="895" y="400"/>
                  <a:pt x="894" y="400"/>
                  <a:pt x="894" y="400"/>
                </a:cubicBezTo>
                <a:cubicBezTo>
                  <a:pt x="893" y="399"/>
                  <a:pt x="893" y="399"/>
                  <a:pt x="892" y="399"/>
                </a:cubicBezTo>
                <a:cubicBezTo>
                  <a:pt x="891" y="398"/>
                  <a:pt x="891" y="397"/>
                  <a:pt x="890" y="396"/>
                </a:cubicBezTo>
                <a:cubicBezTo>
                  <a:pt x="889" y="395"/>
                  <a:pt x="888" y="395"/>
                  <a:pt x="888" y="394"/>
                </a:cubicBezTo>
                <a:cubicBezTo>
                  <a:pt x="888" y="393"/>
                  <a:pt x="887" y="393"/>
                  <a:pt x="886" y="393"/>
                </a:cubicBezTo>
                <a:cubicBezTo>
                  <a:pt x="886" y="393"/>
                  <a:pt x="885" y="393"/>
                  <a:pt x="885" y="393"/>
                </a:cubicBezTo>
                <a:cubicBezTo>
                  <a:pt x="885" y="392"/>
                  <a:pt x="885" y="392"/>
                  <a:pt x="884" y="392"/>
                </a:cubicBezTo>
                <a:cubicBezTo>
                  <a:pt x="883" y="392"/>
                  <a:pt x="883" y="392"/>
                  <a:pt x="883" y="391"/>
                </a:cubicBezTo>
                <a:cubicBezTo>
                  <a:pt x="882" y="391"/>
                  <a:pt x="882" y="391"/>
                  <a:pt x="882" y="391"/>
                </a:cubicBezTo>
                <a:cubicBezTo>
                  <a:pt x="881" y="391"/>
                  <a:pt x="881" y="390"/>
                  <a:pt x="880" y="390"/>
                </a:cubicBezTo>
                <a:cubicBezTo>
                  <a:pt x="880" y="390"/>
                  <a:pt x="879" y="390"/>
                  <a:pt x="879" y="390"/>
                </a:cubicBezTo>
                <a:cubicBezTo>
                  <a:pt x="879" y="389"/>
                  <a:pt x="877" y="390"/>
                  <a:pt x="877" y="390"/>
                </a:cubicBezTo>
                <a:cubicBezTo>
                  <a:pt x="876" y="390"/>
                  <a:pt x="876" y="390"/>
                  <a:pt x="875" y="390"/>
                </a:cubicBezTo>
                <a:cubicBezTo>
                  <a:pt x="874" y="390"/>
                  <a:pt x="874" y="390"/>
                  <a:pt x="874" y="390"/>
                </a:cubicBezTo>
                <a:cubicBezTo>
                  <a:pt x="874" y="390"/>
                  <a:pt x="874" y="389"/>
                  <a:pt x="874" y="389"/>
                </a:cubicBezTo>
                <a:cubicBezTo>
                  <a:pt x="873" y="389"/>
                  <a:pt x="873" y="389"/>
                  <a:pt x="873" y="388"/>
                </a:cubicBezTo>
                <a:cubicBezTo>
                  <a:pt x="873" y="388"/>
                  <a:pt x="872" y="388"/>
                  <a:pt x="871" y="388"/>
                </a:cubicBezTo>
                <a:cubicBezTo>
                  <a:pt x="871" y="388"/>
                  <a:pt x="871" y="388"/>
                  <a:pt x="871" y="388"/>
                </a:cubicBezTo>
                <a:cubicBezTo>
                  <a:pt x="871" y="387"/>
                  <a:pt x="870" y="387"/>
                  <a:pt x="870" y="387"/>
                </a:cubicBezTo>
                <a:cubicBezTo>
                  <a:pt x="870" y="387"/>
                  <a:pt x="870" y="387"/>
                  <a:pt x="870" y="387"/>
                </a:cubicBezTo>
                <a:cubicBezTo>
                  <a:pt x="870" y="386"/>
                  <a:pt x="869" y="385"/>
                  <a:pt x="868" y="385"/>
                </a:cubicBezTo>
                <a:cubicBezTo>
                  <a:pt x="868" y="386"/>
                  <a:pt x="867" y="384"/>
                  <a:pt x="867" y="384"/>
                </a:cubicBezTo>
                <a:cubicBezTo>
                  <a:pt x="867" y="384"/>
                  <a:pt x="866" y="384"/>
                  <a:pt x="866" y="383"/>
                </a:cubicBezTo>
                <a:cubicBezTo>
                  <a:pt x="865" y="383"/>
                  <a:pt x="866" y="382"/>
                  <a:pt x="866" y="382"/>
                </a:cubicBezTo>
                <a:cubicBezTo>
                  <a:pt x="866" y="382"/>
                  <a:pt x="866" y="381"/>
                  <a:pt x="866" y="381"/>
                </a:cubicBezTo>
                <a:cubicBezTo>
                  <a:pt x="866" y="381"/>
                  <a:pt x="867" y="380"/>
                  <a:pt x="867" y="380"/>
                </a:cubicBezTo>
                <a:cubicBezTo>
                  <a:pt x="867" y="379"/>
                  <a:pt x="868" y="379"/>
                  <a:pt x="868" y="378"/>
                </a:cubicBezTo>
                <a:cubicBezTo>
                  <a:pt x="868" y="377"/>
                  <a:pt x="868" y="377"/>
                  <a:pt x="869" y="377"/>
                </a:cubicBezTo>
                <a:cubicBezTo>
                  <a:pt x="869" y="376"/>
                  <a:pt x="869" y="375"/>
                  <a:pt x="868" y="374"/>
                </a:cubicBezTo>
                <a:cubicBezTo>
                  <a:pt x="869" y="374"/>
                  <a:pt x="869" y="373"/>
                  <a:pt x="869" y="372"/>
                </a:cubicBezTo>
                <a:cubicBezTo>
                  <a:pt x="869" y="372"/>
                  <a:pt x="868" y="373"/>
                  <a:pt x="867" y="372"/>
                </a:cubicBezTo>
                <a:cubicBezTo>
                  <a:pt x="867" y="372"/>
                  <a:pt x="867" y="371"/>
                  <a:pt x="867" y="370"/>
                </a:cubicBezTo>
                <a:cubicBezTo>
                  <a:pt x="867" y="369"/>
                  <a:pt x="868" y="369"/>
                  <a:pt x="869" y="368"/>
                </a:cubicBezTo>
                <a:cubicBezTo>
                  <a:pt x="869" y="367"/>
                  <a:pt x="870" y="367"/>
                  <a:pt x="870" y="367"/>
                </a:cubicBezTo>
                <a:cubicBezTo>
                  <a:pt x="870" y="366"/>
                  <a:pt x="871" y="365"/>
                  <a:pt x="871" y="364"/>
                </a:cubicBezTo>
                <a:cubicBezTo>
                  <a:pt x="870" y="364"/>
                  <a:pt x="868" y="364"/>
                  <a:pt x="868" y="365"/>
                </a:cubicBezTo>
                <a:cubicBezTo>
                  <a:pt x="867" y="365"/>
                  <a:pt x="866" y="364"/>
                  <a:pt x="866" y="362"/>
                </a:cubicBezTo>
                <a:cubicBezTo>
                  <a:pt x="864" y="363"/>
                  <a:pt x="865" y="362"/>
                  <a:pt x="864" y="362"/>
                </a:cubicBezTo>
                <a:cubicBezTo>
                  <a:pt x="863" y="362"/>
                  <a:pt x="864" y="362"/>
                  <a:pt x="863" y="362"/>
                </a:cubicBezTo>
                <a:cubicBezTo>
                  <a:pt x="863" y="362"/>
                  <a:pt x="862" y="362"/>
                  <a:pt x="862" y="362"/>
                </a:cubicBezTo>
                <a:cubicBezTo>
                  <a:pt x="862" y="363"/>
                  <a:pt x="862" y="363"/>
                  <a:pt x="861" y="363"/>
                </a:cubicBezTo>
                <a:cubicBezTo>
                  <a:pt x="861" y="363"/>
                  <a:pt x="861" y="363"/>
                  <a:pt x="861" y="363"/>
                </a:cubicBezTo>
                <a:cubicBezTo>
                  <a:pt x="860" y="363"/>
                  <a:pt x="860" y="364"/>
                  <a:pt x="859" y="364"/>
                </a:cubicBezTo>
                <a:cubicBezTo>
                  <a:pt x="858" y="364"/>
                  <a:pt x="857" y="364"/>
                  <a:pt x="856" y="364"/>
                </a:cubicBezTo>
                <a:cubicBezTo>
                  <a:pt x="856" y="364"/>
                  <a:pt x="856" y="364"/>
                  <a:pt x="856" y="363"/>
                </a:cubicBezTo>
                <a:cubicBezTo>
                  <a:pt x="856" y="364"/>
                  <a:pt x="855" y="364"/>
                  <a:pt x="854" y="364"/>
                </a:cubicBezTo>
                <a:cubicBezTo>
                  <a:pt x="854" y="363"/>
                  <a:pt x="854" y="364"/>
                  <a:pt x="853" y="363"/>
                </a:cubicBezTo>
                <a:cubicBezTo>
                  <a:pt x="852" y="363"/>
                  <a:pt x="852" y="363"/>
                  <a:pt x="852" y="364"/>
                </a:cubicBezTo>
                <a:cubicBezTo>
                  <a:pt x="852" y="365"/>
                  <a:pt x="851" y="365"/>
                  <a:pt x="851" y="365"/>
                </a:cubicBezTo>
                <a:cubicBezTo>
                  <a:pt x="850" y="364"/>
                  <a:pt x="849" y="363"/>
                  <a:pt x="848" y="363"/>
                </a:cubicBezTo>
                <a:cubicBezTo>
                  <a:pt x="847" y="363"/>
                  <a:pt x="846" y="363"/>
                  <a:pt x="846" y="364"/>
                </a:cubicBezTo>
                <a:cubicBezTo>
                  <a:pt x="845" y="364"/>
                  <a:pt x="844" y="364"/>
                  <a:pt x="844" y="364"/>
                </a:cubicBezTo>
                <a:cubicBezTo>
                  <a:pt x="844" y="364"/>
                  <a:pt x="843" y="364"/>
                  <a:pt x="843" y="364"/>
                </a:cubicBezTo>
                <a:cubicBezTo>
                  <a:pt x="842" y="364"/>
                  <a:pt x="842" y="365"/>
                  <a:pt x="841" y="364"/>
                </a:cubicBezTo>
                <a:cubicBezTo>
                  <a:pt x="840" y="363"/>
                  <a:pt x="839" y="365"/>
                  <a:pt x="838" y="364"/>
                </a:cubicBezTo>
                <a:cubicBezTo>
                  <a:pt x="837" y="363"/>
                  <a:pt x="834" y="364"/>
                  <a:pt x="833" y="364"/>
                </a:cubicBezTo>
                <a:cubicBezTo>
                  <a:pt x="833" y="365"/>
                  <a:pt x="833" y="365"/>
                  <a:pt x="832" y="365"/>
                </a:cubicBezTo>
                <a:cubicBezTo>
                  <a:pt x="832" y="365"/>
                  <a:pt x="832" y="365"/>
                  <a:pt x="832" y="365"/>
                </a:cubicBezTo>
                <a:cubicBezTo>
                  <a:pt x="830" y="365"/>
                  <a:pt x="826" y="364"/>
                  <a:pt x="825" y="365"/>
                </a:cubicBezTo>
                <a:cubicBezTo>
                  <a:pt x="824" y="366"/>
                  <a:pt x="823" y="365"/>
                  <a:pt x="822" y="367"/>
                </a:cubicBezTo>
                <a:cubicBezTo>
                  <a:pt x="822" y="367"/>
                  <a:pt x="822" y="367"/>
                  <a:pt x="822" y="367"/>
                </a:cubicBezTo>
                <a:cubicBezTo>
                  <a:pt x="821" y="368"/>
                  <a:pt x="822" y="368"/>
                  <a:pt x="821" y="368"/>
                </a:cubicBezTo>
                <a:cubicBezTo>
                  <a:pt x="820" y="368"/>
                  <a:pt x="820" y="368"/>
                  <a:pt x="819" y="368"/>
                </a:cubicBezTo>
                <a:cubicBezTo>
                  <a:pt x="818" y="368"/>
                  <a:pt x="818" y="369"/>
                  <a:pt x="817" y="369"/>
                </a:cubicBezTo>
                <a:cubicBezTo>
                  <a:pt x="817" y="369"/>
                  <a:pt x="817" y="369"/>
                  <a:pt x="817" y="370"/>
                </a:cubicBezTo>
                <a:cubicBezTo>
                  <a:pt x="816" y="370"/>
                  <a:pt x="815" y="369"/>
                  <a:pt x="815" y="369"/>
                </a:cubicBezTo>
                <a:cubicBezTo>
                  <a:pt x="814" y="371"/>
                  <a:pt x="813" y="370"/>
                  <a:pt x="812" y="370"/>
                </a:cubicBezTo>
                <a:cubicBezTo>
                  <a:pt x="812" y="370"/>
                  <a:pt x="812" y="371"/>
                  <a:pt x="811" y="371"/>
                </a:cubicBezTo>
                <a:cubicBezTo>
                  <a:pt x="811" y="371"/>
                  <a:pt x="811" y="371"/>
                  <a:pt x="811" y="372"/>
                </a:cubicBezTo>
                <a:cubicBezTo>
                  <a:pt x="811" y="372"/>
                  <a:pt x="811" y="372"/>
                  <a:pt x="811" y="372"/>
                </a:cubicBezTo>
                <a:cubicBezTo>
                  <a:pt x="810" y="373"/>
                  <a:pt x="810" y="374"/>
                  <a:pt x="808" y="374"/>
                </a:cubicBezTo>
                <a:cubicBezTo>
                  <a:pt x="808" y="374"/>
                  <a:pt x="807" y="373"/>
                  <a:pt x="807" y="374"/>
                </a:cubicBezTo>
                <a:cubicBezTo>
                  <a:pt x="807" y="374"/>
                  <a:pt x="807" y="374"/>
                  <a:pt x="807" y="374"/>
                </a:cubicBezTo>
                <a:cubicBezTo>
                  <a:pt x="806" y="374"/>
                  <a:pt x="807" y="374"/>
                  <a:pt x="807" y="374"/>
                </a:cubicBezTo>
                <a:cubicBezTo>
                  <a:pt x="806" y="374"/>
                  <a:pt x="805" y="374"/>
                  <a:pt x="804" y="374"/>
                </a:cubicBezTo>
                <a:cubicBezTo>
                  <a:pt x="804" y="373"/>
                  <a:pt x="804" y="374"/>
                  <a:pt x="804" y="373"/>
                </a:cubicBezTo>
                <a:cubicBezTo>
                  <a:pt x="804" y="373"/>
                  <a:pt x="804" y="373"/>
                  <a:pt x="804" y="372"/>
                </a:cubicBezTo>
                <a:cubicBezTo>
                  <a:pt x="803" y="373"/>
                  <a:pt x="802" y="373"/>
                  <a:pt x="802" y="373"/>
                </a:cubicBezTo>
                <a:cubicBezTo>
                  <a:pt x="802" y="374"/>
                  <a:pt x="801" y="373"/>
                  <a:pt x="801" y="374"/>
                </a:cubicBezTo>
                <a:cubicBezTo>
                  <a:pt x="800" y="374"/>
                  <a:pt x="799" y="374"/>
                  <a:pt x="797" y="374"/>
                </a:cubicBezTo>
                <a:cubicBezTo>
                  <a:pt x="797" y="375"/>
                  <a:pt x="793" y="374"/>
                  <a:pt x="793" y="373"/>
                </a:cubicBezTo>
                <a:cubicBezTo>
                  <a:pt x="792" y="372"/>
                  <a:pt x="791" y="371"/>
                  <a:pt x="791" y="370"/>
                </a:cubicBezTo>
                <a:cubicBezTo>
                  <a:pt x="791" y="370"/>
                  <a:pt x="790" y="370"/>
                  <a:pt x="790" y="370"/>
                </a:cubicBezTo>
                <a:cubicBezTo>
                  <a:pt x="790" y="371"/>
                  <a:pt x="789" y="371"/>
                  <a:pt x="789" y="371"/>
                </a:cubicBezTo>
                <a:cubicBezTo>
                  <a:pt x="788" y="372"/>
                  <a:pt x="788" y="372"/>
                  <a:pt x="788" y="373"/>
                </a:cubicBezTo>
                <a:cubicBezTo>
                  <a:pt x="787" y="375"/>
                  <a:pt x="788" y="373"/>
                  <a:pt x="787" y="374"/>
                </a:cubicBezTo>
                <a:cubicBezTo>
                  <a:pt x="787" y="374"/>
                  <a:pt x="787" y="374"/>
                  <a:pt x="787" y="375"/>
                </a:cubicBezTo>
                <a:cubicBezTo>
                  <a:pt x="786" y="375"/>
                  <a:pt x="786" y="375"/>
                  <a:pt x="786" y="376"/>
                </a:cubicBezTo>
                <a:cubicBezTo>
                  <a:pt x="786" y="376"/>
                  <a:pt x="786" y="377"/>
                  <a:pt x="786" y="377"/>
                </a:cubicBezTo>
                <a:cubicBezTo>
                  <a:pt x="786" y="378"/>
                  <a:pt x="786" y="377"/>
                  <a:pt x="786" y="377"/>
                </a:cubicBezTo>
                <a:cubicBezTo>
                  <a:pt x="786" y="378"/>
                  <a:pt x="785" y="379"/>
                  <a:pt x="785" y="379"/>
                </a:cubicBezTo>
                <a:cubicBezTo>
                  <a:pt x="785" y="380"/>
                  <a:pt x="785" y="380"/>
                  <a:pt x="784" y="380"/>
                </a:cubicBezTo>
                <a:cubicBezTo>
                  <a:pt x="784" y="381"/>
                  <a:pt x="784" y="381"/>
                  <a:pt x="784" y="382"/>
                </a:cubicBezTo>
                <a:cubicBezTo>
                  <a:pt x="784" y="382"/>
                  <a:pt x="782" y="383"/>
                  <a:pt x="782" y="383"/>
                </a:cubicBezTo>
                <a:cubicBezTo>
                  <a:pt x="782" y="383"/>
                  <a:pt x="782" y="383"/>
                  <a:pt x="781" y="384"/>
                </a:cubicBezTo>
                <a:cubicBezTo>
                  <a:pt x="781" y="384"/>
                  <a:pt x="781" y="384"/>
                  <a:pt x="781" y="384"/>
                </a:cubicBezTo>
                <a:cubicBezTo>
                  <a:pt x="781" y="384"/>
                  <a:pt x="780" y="384"/>
                  <a:pt x="780" y="384"/>
                </a:cubicBezTo>
                <a:cubicBezTo>
                  <a:pt x="780" y="384"/>
                  <a:pt x="780" y="385"/>
                  <a:pt x="780" y="385"/>
                </a:cubicBezTo>
                <a:cubicBezTo>
                  <a:pt x="779" y="385"/>
                  <a:pt x="778" y="385"/>
                  <a:pt x="778" y="385"/>
                </a:cubicBezTo>
                <a:cubicBezTo>
                  <a:pt x="778" y="386"/>
                  <a:pt x="778" y="386"/>
                  <a:pt x="778" y="386"/>
                </a:cubicBezTo>
                <a:cubicBezTo>
                  <a:pt x="777" y="386"/>
                  <a:pt x="776" y="385"/>
                  <a:pt x="776" y="386"/>
                </a:cubicBezTo>
                <a:cubicBezTo>
                  <a:pt x="775" y="387"/>
                  <a:pt x="775" y="386"/>
                  <a:pt x="774" y="387"/>
                </a:cubicBezTo>
                <a:cubicBezTo>
                  <a:pt x="774" y="389"/>
                  <a:pt x="772" y="389"/>
                  <a:pt x="772" y="390"/>
                </a:cubicBezTo>
                <a:cubicBezTo>
                  <a:pt x="772" y="391"/>
                  <a:pt x="772" y="391"/>
                  <a:pt x="772" y="392"/>
                </a:cubicBezTo>
                <a:cubicBezTo>
                  <a:pt x="772" y="392"/>
                  <a:pt x="772" y="393"/>
                  <a:pt x="772" y="393"/>
                </a:cubicBezTo>
                <a:cubicBezTo>
                  <a:pt x="771" y="393"/>
                  <a:pt x="771" y="393"/>
                  <a:pt x="771" y="393"/>
                </a:cubicBezTo>
                <a:cubicBezTo>
                  <a:pt x="771" y="394"/>
                  <a:pt x="771" y="394"/>
                  <a:pt x="770" y="395"/>
                </a:cubicBezTo>
                <a:cubicBezTo>
                  <a:pt x="770" y="395"/>
                  <a:pt x="770" y="395"/>
                  <a:pt x="770" y="395"/>
                </a:cubicBezTo>
                <a:cubicBezTo>
                  <a:pt x="770" y="396"/>
                  <a:pt x="770" y="397"/>
                  <a:pt x="770" y="397"/>
                </a:cubicBezTo>
                <a:cubicBezTo>
                  <a:pt x="770" y="398"/>
                  <a:pt x="769" y="398"/>
                  <a:pt x="769" y="398"/>
                </a:cubicBezTo>
                <a:cubicBezTo>
                  <a:pt x="769" y="399"/>
                  <a:pt x="769" y="399"/>
                  <a:pt x="769" y="399"/>
                </a:cubicBezTo>
                <a:cubicBezTo>
                  <a:pt x="769" y="400"/>
                  <a:pt x="769" y="401"/>
                  <a:pt x="769" y="401"/>
                </a:cubicBezTo>
                <a:cubicBezTo>
                  <a:pt x="770" y="402"/>
                  <a:pt x="770" y="402"/>
                  <a:pt x="770" y="403"/>
                </a:cubicBezTo>
                <a:cubicBezTo>
                  <a:pt x="770" y="404"/>
                  <a:pt x="771" y="405"/>
                  <a:pt x="770" y="406"/>
                </a:cubicBezTo>
                <a:cubicBezTo>
                  <a:pt x="770" y="406"/>
                  <a:pt x="770" y="407"/>
                  <a:pt x="770" y="407"/>
                </a:cubicBezTo>
                <a:cubicBezTo>
                  <a:pt x="769" y="407"/>
                  <a:pt x="769" y="408"/>
                  <a:pt x="769" y="408"/>
                </a:cubicBezTo>
                <a:cubicBezTo>
                  <a:pt x="769" y="409"/>
                  <a:pt x="768" y="409"/>
                  <a:pt x="768" y="410"/>
                </a:cubicBezTo>
                <a:cubicBezTo>
                  <a:pt x="768" y="411"/>
                  <a:pt x="767" y="411"/>
                  <a:pt x="767" y="412"/>
                </a:cubicBezTo>
                <a:cubicBezTo>
                  <a:pt x="767" y="412"/>
                  <a:pt x="767" y="412"/>
                  <a:pt x="767" y="412"/>
                </a:cubicBezTo>
                <a:cubicBezTo>
                  <a:pt x="766" y="414"/>
                  <a:pt x="765" y="415"/>
                  <a:pt x="763" y="415"/>
                </a:cubicBezTo>
                <a:cubicBezTo>
                  <a:pt x="762" y="416"/>
                  <a:pt x="762" y="417"/>
                  <a:pt x="761" y="418"/>
                </a:cubicBezTo>
                <a:cubicBezTo>
                  <a:pt x="760" y="418"/>
                  <a:pt x="759" y="418"/>
                  <a:pt x="759" y="419"/>
                </a:cubicBezTo>
                <a:cubicBezTo>
                  <a:pt x="759" y="420"/>
                  <a:pt x="758" y="419"/>
                  <a:pt x="757" y="420"/>
                </a:cubicBezTo>
                <a:cubicBezTo>
                  <a:pt x="757" y="421"/>
                  <a:pt x="757" y="421"/>
                  <a:pt x="757" y="422"/>
                </a:cubicBezTo>
                <a:cubicBezTo>
                  <a:pt x="756" y="422"/>
                  <a:pt x="755" y="421"/>
                  <a:pt x="755" y="421"/>
                </a:cubicBezTo>
                <a:cubicBezTo>
                  <a:pt x="754" y="421"/>
                  <a:pt x="754" y="422"/>
                  <a:pt x="753" y="423"/>
                </a:cubicBezTo>
                <a:cubicBezTo>
                  <a:pt x="753" y="423"/>
                  <a:pt x="752" y="424"/>
                  <a:pt x="752" y="424"/>
                </a:cubicBezTo>
                <a:cubicBezTo>
                  <a:pt x="752" y="424"/>
                  <a:pt x="752" y="425"/>
                  <a:pt x="752" y="425"/>
                </a:cubicBezTo>
                <a:cubicBezTo>
                  <a:pt x="752" y="425"/>
                  <a:pt x="752" y="425"/>
                  <a:pt x="752" y="426"/>
                </a:cubicBezTo>
                <a:cubicBezTo>
                  <a:pt x="752" y="427"/>
                  <a:pt x="751" y="426"/>
                  <a:pt x="751" y="427"/>
                </a:cubicBezTo>
                <a:cubicBezTo>
                  <a:pt x="750" y="428"/>
                  <a:pt x="750" y="428"/>
                  <a:pt x="749" y="429"/>
                </a:cubicBezTo>
                <a:cubicBezTo>
                  <a:pt x="749" y="429"/>
                  <a:pt x="748" y="429"/>
                  <a:pt x="748" y="430"/>
                </a:cubicBezTo>
                <a:cubicBezTo>
                  <a:pt x="748" y="430"/>
                  <a:pt x="748" y="430"/>
                  <a:pt x="748" y="430"/>
                </a:cubicBezTo>
                <a:cubicBezTo>
                  <a:pt x="747" y="431"/>
                  <a:pt x="747" y="432"/>
                  <a:pt x="747" y="432"/>
                </a:cubicBezTo>
                <a:cubicBezTo>
                  <a:pt x="747" y="433"/>
                  <a:pt x="747" y="433"/>
                  <a:pt x="747" y="433"/>
                </a:cubicBezTo>
                <a:cubicBezTo>
                  <a:pt x="746" y="433"/>
                  <a:pt x="747" y="434"/>
                  <a:pt x="747" y="434"/>
                </a:cubicBezTo>
                <a:cubicBezTo>
                  <a:pt x="747" y="434"/>
                  <a:pt x="746" y="435"/>
                  <a:pt x="746" y="435"/>
                </a:cubicBezTo>
                <a:cubicBezTo>
                  <a:pt x="746" y="435"/>
                  <a:pt x="746" y="435"/>
                  <a:pt x="746" y="435"/>
                </a:cubicBezTo>
                <a:cubicBezTo>
                  <a:pt x="746" y="435"/>
                  <a:pt x="745" y="437"/>
                  <a:pt x="745" y="437"/>
                </a:cubicBezTo>
                <a:cubicBezTo>
                  <a:pt x="745" y="438"/>
                  <a:pt x="745" y="438"/>
                  <a:pt x="745" y="438"/>
                </a:cubicBezTo>
                <a:cubicBezTo>
                  <a:pt x="745" y="438"/>
                  <a:pt x="744" y="438"/>
                  <a:pt x="744" y="438"/>
                </a:cubicBezTo>
                <a:cubicBezTo>
                  <a:pt x="744" y="440"/>
                  <a:pt x="744" y="439"/>
                  <a:pt x="743" y="441"/>
                </a:cubicBezTo>
                <a:cubicBezTo>
                  <a:pt x="743" y="442"/>
                  <a:pt x="742" y="441"/>
                  <a:pt x="742" y="442"/>
                </a:cubicBezTo>
                <a:cubicBezTo>
                  <a:pt x="742" y="442"/>
                  <a:pt x="742" y="442"/>
                  <a:pt x="742" y="442"/>
                </a:cubicBezTo>
                <a:cubicBezTo>
                  <a:pt x="742" y="443"/>
                  <a:pt x="742" y="443"/>
                  <a:pt x="741" y="443"/>
                </a:cubicBezTo>
                <a:cubicBezTo>
                  <a:pt x="741" y="444"/>
                  <a:pt x="742" y="444"/>
                  <a:pt x="741" y="444"/>
                </a:cubicBezTo>
                <a:cubicBezTo>
                  <a:pt x="741" y="444"/>
                  <a:pt x="741" y="445"/>
                  <a:pt x="741" y="445"/>
                </a:cubicBezTo>
                <a:cubicBezTo>
                  <a:pt x="740" y="445"/>
                  <a:pt x="740" y="446"/>
                  <a:pt x="740" y="447"/>
                </a:cubicBezTo>
                <a:cubicBezTo>
                  <a:pt x="739" y="447"/>
                  <a:pt x="739" y="447"/>
                  <a:pt x="739" y="448"/>
                </a:cubicBezTo>
                <a:cubicBezTo>
                  <a:pt x="739" y="448"/>
                  <a:pt x="739" y="449"/>
                  <a:pt x="739" y="449"/>
                </a:cubicBezTo>
                <a:cubicBezTo>
                  <a:pt x="738" y="449"/>
                  <a:pt x="738" y="450"/>
                  <a:pt x="738" y="451"/>
                </a:cubicBezTo>
                <a:cubicBezTo>
                  <a:pt x="738" y="452"/>
                  <a:pt x="738" y="452"/>
                  <a:pt x="737" y="452"/>
                </a:cubicBezTo>
                <a:cubicBezTo>
                  <a:pt x="736" y="452"/>
                  <a:pt x="736" y="453"/>
                  <a:pt x="736" y="453"/>
                </a:cubicBezTo>
                <a:cubicBezTo>
                  <a:pt x="736" y="453"/>
                  <a:pt x="736" y="454"/>
                  <a:pt x="736" y="455"/>
                </a:cubicBezTo>
                <a:cubicBezTo>
                  <a:pt x="735" y="455"/>
                  <a:pt x="736" y="456"/>
                  <a:pt x="735" y="456"/>
                </a:cubicBezTo>
                <a:cubicBezTo>
                  <a:pt x="735" y="456"/>
                  <a:pt x="735" y="458"/>
                  <a:pt x="735" y="458"/>
                </a:cubicBezTo>
                <a:cubicBezTo>
                  <a:pt x="736" y="458"/>
                  <a:pt x="736" y="459"/>
                  <a:pt x="737" y="459"/>
                </a:cubicBezTo>
                <a:cubicBezTo>
                  <a:pt x="737" y="460"/>
                  <a:pt x="737" y="460"/>
                  <a:pt x="737" y="461"/>
                </a:cubicBezTo>
                <a:cubicBezTo>
                  <a:pt x="738" y="461"/>
                  <a:pt x="738" y="461"/>
                  <a:pt x="738" y="461"/>
                </a:cubicBezTo>
                <a:cubicBezTo>
                  <a:pt x="738" y="462"/>
                  <a:pt x="738" y="461"/>
                  <a:pt x="738" y="462"/>
                </a:cubicBezTo>
                <a:cubicBezTo>
                  <a:pt x="738" y="462"/>
                  <a:pt x="738" y="463"/>
                  <a:pt x="738" y="463"/>
                </a:cubicBezTo>
                <a:cubicBezTo>
                  <a:pt x="737" y="464"/>
                  <a:pt x="738" y="464"/>
                  <a:pt x="738" y="464"/>
                </a:cubicBezTo>
                <a:cubicBezTo>
                  <a:pt x="738" y="466"/>
                  <a:pt x="738" y="466"/>
                  <a:pt x="737" y="467"/>
                </a:cubicBezTo>
                <a:cubicBezTo>
                  <a:pt x="737" y="467"/>
                  <a:pt x="737" y="468"/>
                  <a:pt x="737" y="469"/>
                </a:cubicBezTo>
                <a:cubicBezTo>
                  <a:pt x="737" y="469"/>
                  <a:pt x="738" y="470"/>
                  <a:pt x="738" y="470"/>
                </a:cubicBezTo>
                <a:cubicBezTo>
                  <a:pt x="739" y="470"/>
                  <a:pt x="738" y="471"/>
                  <a:pt x="739" y="471"/>
                </a:cubicBezTo>
                <a:cubicBezTo>
                  <a:pt x="739" y="472"/>
                  <a:pt x="739" y="473"/>
                  <a:pt x="739" y="474"/>
                </a:cubicBezTo>
                <a:cubicBezTo>
                  <a:pt x="739" y="475"/>
                  <a:pt x="738" y="475"/>
                  <a:pt x="739" y="476"/>
                </a:cubicBezTo>
                <a:cubicBezTo>
                  <a:pt x="740" y="477"/>
                  <a:pt x="739" y="476"/>
                  <a:pt x="739" y="477"/>
                </a:cubicBezTo>
                <a:cubicBezTo>
                  <a:pt x="739" y="478"/>
                  <a:pt x="739" y="479"/>
                  <a:pt x="739" y="481"/>
                </a:cubicBezTo>
                <a:cubicBezTo>
                  <a:pt x="738" y="481"/>
                  <a:pt x="739" y="481"/>
                  <a:pt x="739" y="482"/>
                </a:cubicBezTo>
                <a:cubicBezTo>
                  <a:pt x="739" y="482"/>
                  <a:pt x="738" y="482"/>
                  <a:pt x="738" y="482"/>
                </a:cubicBezTo>
                <a:cubicBezTo>
                  <a:pt x="738" y="482"/>
                  <a:pt x="738" y="483"/>
                  <a:pt x="738" y="483"/>
                </a:cubicBezTo>
                <a:cubicBezTo>
                  <a:pt x="738" y="483"/>
                  <a:pt x="738" y="484"/>
                  <a:pt x="738" y="484"/>
                </a:cubicBezTo>
                <a:cubicBezTo>
                  <a:pt x="737" y="485"/>
                  <a:pt x="738" y="482"/>
                  <a:pt x="737" y="485"/>
                </a:cubicBezTo>
                <a:cubicBezTo>
                  <a:pt x="737" y="486"/>
                  <a:pt x="737" y="486"/>
                  <a:pt x="737" y="487"/>
                </a:cubicBezTo>
                <a:cubicBezTo>
                  <a:pt x="738" y="487"/>
                  <a:pt x="737" y="489"/>
                  <a:pt x="737" y="489"/>
                </a:cubicBezTo>
                <a:cubicBezTo>
                  <a:pt x="737" y="490"/>
                  <a:pt x="736" y="491"/>
                  <a:pt x="736" y="491"/>
                </a:cubicBezTo>
                <a:cubicBezTo>
                  <a:pt x="736" y="492"/>
                  <a:pt x="735" y="492"/>
                  <a:pt x="735" y="493"/>
                </a:cubicBezTo>
                <a:cubicBezTo>
                  <a:pt x="735" y="494"/>
                  <a:pt x="734" y="494"/>
                  <a:pt x="733" y="494"/>
                </a:cubicBezTo>
                <a:cubicBezTo>
                  <a:pt x="734" y="495"/>
                  <a:pt x="734" y="495"/>
                  <a:pt x="734" y="495"/>
                </a:cubicBezTo>
                <a:cubicBezTo>
                  <a:pt x="735" y="495"/>
                  <a:pt x="735" y="497"/>
                  <a:pt x="735" y="497"/>
                </a:cubicBezTo>
                <a:cubicBezTo>
                  <a:pt x="735" y="498"/>
                  <a:pt x="735" y="499"/>
                  <a:pt x="736" y="500"/>
                </a:cubicBezTo>
                <a:cubicBezTo>
                  <a:pt x="737" y="500"/>
                  <a:pt x="737" y="501"/>
                  <a:pt x="737" y="502"/>
                </a:cubicBezTo>
                <a:cubicBezTo>
                  <a:pt x="737" y="502"/>
                  <a:pt x="737" y="502"/>
                  <a:pt x="736" y="502"/>
                </a:cubicBezTo>
                <a:cubicBezTo>
                  <a:pt x="736" y="503"/>
                  <a:pt x="736" y="504"/>
                  <a:pt x="737" y="504"/>
                </a:cubicBezTo>
                <a:cubicBezTo>
                  <a:pt x="738" y="505"/>
                  <a:pt x="737" y="505"/>
                  <a:pt x="737" y="505"/>
                </a:cubicBezTo>
                <a:cubicBezTo>
                  <a:pt x="737" y="506"/>
                  <a:pt x="737" y="507"/>
                  <a:pt x="738" y="507"/>
                </a:cubicBezTo>
                <a:cubicBezTo>
                  <a:pt x="738" y="508"/>
                  <a:pt x="738" y="508"/>
                  <a:pt x="739" y="509"/>
                </a:cubicBezTo>
                <a:cubicBezTo>
                  <a:pt x="739" y="509"/>
                  <a:pt x="740" y="509"/>
                  <a:pt x="740" y="509"/>
                </a:cubicBezTo>
                <a:cubicBezTo>
                  <a:pt x="741" y="509"/>
                  <a:pt x="740" y="510"/>
                  <a:pt x="741" y="510"/>
                </a:cubicBezTo>
                <a:cubicBezTo>
                  <a:pt x="741" y="510"/>
                  <a:pt x="742" y="510"/>
                  <a:pt x="742" y="510"/>
                </a:cubicBezTo>
                <a:cubicBezTo>
                  <a:pt x="742" y="510"/>
                  <a:pt x="742" y="511"/>
                  <a:pt x="742" y="511"/>
                </a:cubicBezTo>
                <a:cubicBezTo>
                  <a:pt x="743" y="511"/>
                  <a:pt x="742" y="512"/>
                  <a:pt x="742" y="512"/>
                </a:cubicBezTo>
                <a:cubicBezTo>
                  <a:pt x="742" y="513"/>
                  <a:pt x="744" y="513"/>
                  <a:pt x="744" y="514"/>
                </a:cubicBezTo>
                <a:cubicBezTo>
                  <a:pt x="745" y="514"/>
                  <a:pt x="744" y="514"/>
                  <a:pt x="745" y="514"/>
                </a:cubicBezTo>
                <a:cubicBezTo>
                  <a:pt x="745" y="514"/>
                  <a:pt x="745" y="514"/>
                  <a:pt x="746" y="515"/>
                </a:cubicBezTo>
                <a:cubicBezTo>
                  <a:pt x="746" y="515"/>
                  <a:pt x="746" y="516"/>
                  <a:pt x="747" y="516"/>
                </a:cubicBezTo>
                <a:cubicBezTo>
                  <a:pt x="748" y="516"/>
                  <a:pt x="747" y="517"/>
                  <a:pt x="747" y="517"/>
                </a:cubicBezTo>
                <a:cubicBezTo>
                  <a:pt x="747" y="517"/>
                  <a:pt x="747" y="518"/>
                  <a:pt x="747" y="518"/>
                </a:cubicBezTo>
                <a:cubicBezTo>
                  <a:pt x="748" y="518"/>
                  <a:pt x="748" y="519"/>
                  <a:pt x="748" y="519"/>
                </a:cubicBezTo>
                <a:cubicBezTo>
                  <a:pt x="748" y="519"/>
                  <a:pt x="749" y="519"/>
                  <a:pt x="750" y="520"/>
                </a:cubicBezTo>
                <a:cubicBezTo>
                  <a:pt x="749" y="521"/>
                  <a:pt x="749" y="522"/>
                  <a:pt x="749" y="523"/>
                </a:cubicBezTo>
                <a:cubicBezTo>
                  <a:pt x="750" y="522"/>
                  <a:pt x="750" y="523"/>
                  <a:pt x="750" y="523"/>
                </a:cubicBezTo>
                <a:cubicBezTo>
                  <a:pt x="750" y="525"/>
                  <a:pt x="750" y="524"/>
                  <a:pt x="751" y="525"/>
                </a:cubicBezTo>
                <a:cubicBezTo>
                  <a:pt x="752" y="525"/>
                  <a:pt x="752" y="525"/>
                  <a:pt x="752" y="526"/>
                </a:cubicBezTo>
                <a:cubicBezTo>
                  <a:pt x="752" y="527"/>
                  <a:pt x="752" y="527"/>
                  <a:pt x="752" y="528"/>
                </a:cubicBezTo>
                <a:cubicBezTo>
                  <a:pt x="752" y="528"/>
                  <a:pt x="752" y="529"/>
                  <a:pt x="752" y="529"/>
                </a:cubicBezTo>
                <a:cubicBezTo>
                  <a:pt x="753" y="529"/>
                  <a:pt x="753" y="529"/>
                  <a:pt x="753" y="529"/>
                </a:cubicBezTo>
                <a:cubicBezTo>
                  <a:pt x="753" y="530"/>
                  <a:pt x="754" y="529"/>
                  <a:pt x="754" y="530"/>
                </a:cubicBezTo>
                <a:cubicBezTo>
                  <a:pt x="754" y="530"/>
                  <a:pt x="753" y="530"/>
                  <a:pt x="753" y="531"/>
                </a:cubicBezTo>
                <a:cubicBezTo>
                  <a:pt x="753" y="531"/>
                  <a:pt x="752" y="530"/>
                  <a:pt x="752" y="531"/>
                </a:cubicBezTo>
                <a:cubicBezTo>
                  <a:pt x="752" y="531"/>
                  <a:pt x="754" y="532"/>
                  <a:pt x="755" y="532"/>
                </a:cubicBezTo>
                <a:cubicBezTo>
                  <a:pt x="755" y="532"/>
                  <a:pt x="755" y="533"/>
                  <a:pt x="755" y="533"/>
                </a:cubicBezTo>
                <a:cubicBezTo>
                  <a:pt x="755" y="534"/>
                  <a:pt x="756" y="534"/>
                  <a:pt x="756" y="535"/>
                </a:cubicBezTo>
                <a:cubicBezTo>
                  <a:pt x="757" y="535"/>
                  <a:pt x="757" y="537"/>
                  <a:pt x="757" y="537"/>
                </a:cubicBezTo>
                <a:cubicBezTo>
                  <a:pt x="758" y="537"/>
                  <a:pt x="758" y="537"/>
                  <a:pt x="758" y="538"/>
                </a:cubicBezTo>
                <a:cubicBezTo>
                  <a:pt x="759" y="538"/>
                  <a:pt x="759" y="538"/>
                  <a:pt x="759" y="538"/>
                </a:cubicBezTo>
                <a:cubicBezTo>
                  <a:pt x="761" y="538"/>
                  <a:pt x="761" y="538"/>
                  <a:pt x="761" y="539"/>
                </a:cubicBezTo>
                <a:cubicBezTo>
                  <a:pt x="762" y="540"/>
                  <a:pt x="762" y="541"/>
                  <a:pt x="763" y="541"/>
                </a:cubicBezTo>
                <a:cubicBezTo>
                  <a:pt x="764" y="541"/>
                  <a:pt x="763" y="541"/>
                  <a:pt x="763" y="542"/>
                </a:cubicBezTo>
                <a:cubicBezTo>
                  <a:pt x="763" y="542"/>
                  <a:pt x="764" y="542"/>
                  <a:pt x="764" y="542"/>
                </a:cubicBezTo>
                <a:cubicBezTo>
                  <a:pt x="764" y="543"/>
                  <a:pt x="764" y="543"/>
                  <a:pt x="765" y="543"/>
                </a:cubicBezTo>
                <a:cubicBezTo>
                  <a:pt x="766" y="543"/>
                  <a:pt x="766" y="543"/>
                  <a:pt x="766" y="544"/>
                </a:cubicBezTo>
                <a:cubicBezTo>
                  <a:pt x="767" y="544"/>
                  <a:pt x="768" y="544"/>
                  <a:pt x="768" y="545"/>
                </a:cubicBezTo>
                <a:cubicBezTo>
                  <a:pt x="769" y="546"/>
                  <a:pt x="769" y="546"/>
                  <a:pt x="770" y="546"/>
                </a:cubicBezTo>
                <a:cubicBezTo>
                  <a:pt x="770" y="546"/>
                  <a:pt x="770" y="547"/>
                  <a:pt x="770" y="547"/>
                </a:cubicBezTo>
                <a:cubicBezTo>
                  <a:pt x="771" y="548"/>
                  <a:pt x="772" y="549"/>
                  <a:pt x="772" y="549"/>
                </a:cubicBezTo>
                <a:cubicBezTo>
                  <a:pt x="773" y="549"/>
                  <a:pt x="773" y="550"/>
                  <a:pt x="774" y="550"/>
                </a:cubicBezTo>
                <a:cubicBezTo>
                  <a:pt x="774" y="550"/>
                  <a:pt x="774" y="551"/>
                  <a:pt x="775" y="551"/>
                </a:cubicBezTo>
                <a:cubicBezTo>
                  <a:pt x="775" y="551"/>
                  <a:pt x="776" y="551"/>
                  <a:pt x="776" y="551"/>
                </a:cubicBezTo>
                <a:cubicBezTo>
                  <a:pt x="776" y="552"/>
                  <a:pt x="778" y="553"/>
                  <a:pt x="779" y="553"/>
                </a:cubicBezTo>
                <a:cubicBezTo>
                  <a:pt x="781" y="553"/>
                  <a:pt x="784" y="551"/>
                  <a:pt x="786" y="550"/>
                </a:cubicBezTo>
                <a:cubicBezTo>
                  <a:pt x="787" y="549"/>
                  <a:pt x="787" y="548"/>
                  <a:pt x="788" y="548"/>
                </a:cubicBezTo>
                <a:cubicBezTo>
                  <a:pt x="790" y="548"/>
                  <a:pt x="792" y="548"/>
                  <a:pt x="793" y="548"/>
                </a:cubicBezTo>
                <a:cubicBezTo>
                  <a:pt x="794" y="548"/>
                  <a:pt x="794" y="548"/>
                  <a:pt x="795" y="548"/>
                </a:cubicBezTo>
                <a:cubicBezTo>
                  <a:pt x="795" y="548"/>
                  <a:pt x="795" y="548"/>
                  <a:pt x="795" y="548"/>
                </a:cubicBezTo>
                <a:cubicBezTo>
                  <a:pt x="796" y="549"/>
                  <a:pt x="797" y="549"/>
                  <a:pt x="797" y="549"/>
                </a:cubicBezTo>
                <a:cubicBezTo>
                  <a:pt x="798" y="549"/>
                  <a:pt x="798" y="550"/>
                  <a:pt x="798" y="550"/>
                </a:cubicBezTo>
                <a:cubicBezTo>
                  <a:pt x="798" y="550"/>
                  <a:pt x="799" y="550"/>
                  <a:pt x="799" y="550"/>
                </a:cubicBezTo>
                <a:cubicBezTo>
                  <a:pt x="799" y="550"/>
                  <a:pt x="802" y="550"/>
                  <a:pt x="802" y="549"/>
                </a:cubicBezTo>
                <a:cubicBezTo>
                  <a:pt x="802" y="549"/>
                  <a:pt x="805" y="548"/>
                  <a:pt x="806" y="548"/>
                </a:cubicBezTo>
                <a:cubicBezTo>
                  <a:pt x="806" y="548"/>
                  <a:pt x="806" y="548"/>
                  <a:pt x="807" y="548"/>
                </a:cubicBezTo>
                <a:cubicBezTo>
                  <a:pt x="808" y="548"/>
                  <a:pt x="808" y="548"/>
                  <a:pt x="809" y="547"/>
                </a:cubicBezTo>
                <a:cubicBezTo>
                  <a:pt x="809" y="546"/>
                  <a:pt x="810" y="547"/>
                  <a:pt x="810" y="547"/>
                </a:cubicBezTo>
                <a:cubicBezTo>
                  <a:pt x="811" y="547"/>
                  <a:pt x="810" y="546"/>
                  <a:pt x="810" y="546"/>
                </a:cubicBezTo>
                <a:cubicBezTo>
                  <a:pt x="811" y="546"/>
                  <a:pt x="811" y="546"/>
                  <a:pt x="811" y="546"/>
                </a:cubicBezTo>
                <a:cubicBezTo>
                  <a:pt x="812" y="546"/>
                  <a:pt x="813" y="546"/>
                  <a:pt x="814" y="546"/>
                </a:cubicBezTo>
                <a:cubicBezTo>
                  <a:pt x="814" y="546"/>
                  <a:pt x="815" y="546"/>
                  <a:pt x="815" y="546"/>
                </a:cubicBezTo>
                <a:cubicBezTo>
                  <a:pt x="815" y="546"/>
                  <a:pt x="815" y="546"/>
                  <a:pt x="815" y="546"/>
                </a:cubicBezTo>
                <a:cubicBezTo>
                  <a:pt x="816" y="545"/>
                  <a:pt x="816" y="546"/>
                  <a:pt x="817" y="545"/>
                </a:cubicBezTo>
                <a:cubicBezTo>
                  <a:pt x="817" y="545"/>
                  <a:pt x="818" y="545"/>
                  <a:pt x="819" y="545"/>
                </a:cubicBezTo>
                <a:cubicBezTo>
                  <a:pt x="819" y="544"/>
                  <a:pt x="819" y="543"/>
                  <a:pt x="819" y="543"/>
                </a:cubicBezTo>
                <a:cubicBezTo>
                  <a:pt x="818" y="542"/>
                  <a:pt x="818" y="542"/>
                  <a:pt x="818" y="542"/>
                </a:cubicBezTo>
                <a:cubicBezTo>
                  <a:pt x="818" y="542"/>
                  <a:pt x="818" y="542"/>
                  <a:pt x="819" y="542"/>
                </a:cubicBezTo>
                <a:cubicBezTo>
                  <a:pt x="820" y="542"/>
                  <a:pt x="819" y="543"/>
                  <a:pt x="820" y="543"/>
                </a:cubicBezTo>
                <a:cubicBezTo>
                  <a:pt x="820" y="544"/>
                  <a:pt x="820" y="544"/>
                  <a:pt x="821" y="544"/>
                </a:cubicBezTo>
                <a:cubicBezTo>
                  <a:pt x="821" y="543"/>
                  <a:pt x="822" y="542"/>
                  <a:pt x="822" y="542"/>
                </a:cubicBezTo>
                <a:cubicBezTo>
                  <a:pt x="822" y="542"/>
                  <a:pt x="823" y="543"/>
                  <a:pt x="823" y="543"/>
                </a:cubicBezTo>
                <a:cubicBezTo>
                  <a:pt x="822" y="544"/>
                  <a:pt x="821" y="544"/>
                  <a:pt x="822" y="544"/>
                </a:cubicBezTo>
                <a:cubicBezTo>
                  <a:pt x="822" y="544"/>
                  <a:pt x="824" y="544"/>
                  <a:pt x="823" y="543"/>
                </a:cubicBezTo>
                <a:cubicBezTo>
                  <a:pt x="824" y="543"/>
                  <a:pt x="824" y="543"/>
                  <a:pt x="824" y="543"/>
                </a:cubicBezTo>
                <a:cubicBezTo>
                  <a:pt x="824" y="543"/>
                  <a:pt x="825" y="543"/>
                  <a:pt x="825" y="543"/>
                </a:cubicBezTo>
                <a:cubicBezTo>
                  <a:pt x="825" y="543"/>
                  <a:pt x="826" y="542"/>
                  <a:pt x="826" y="541"/>
                </a:cubicBezTo>
                <a:cubicBezTo>
                  <a:pt x="827" y="541"/>
                  <a:pt x="829" y="541"/>
                  <a:pt x="830" y="541"/>
                </a:cubicBezTo>
                <a:cubicBezTo>
                  <a:pt x="830" y="540"/>
                  <a:pt x="830" y="540"/>
                  <a:pt x="831" y="540"/>
                </a:cubicBezTo>
                <a:cubicBezTo>
                  <a:pt x="831" y="540"/>
                  <a:pt x="831" y="540"/>
                  <a:pt x="831" y="540"/>
                </a:cubicBezTo>
                <a:cubicBezTo>
                  <a:pt x="831" y="539"/>
                  <a:pt x="833" y="539"/>
                  <a:pt x="833" y="540"/>
                </a:cubicBezTo>
                <a:cubicBezTo>
                  <a:pt x="833" y="540"/>
                  <a:pt x="832" y="540"/>
                  <a:pt x="832" y="540"/>
                </a:cubicBezTo>
                <a:cubicBezTo>
                  <a:pt x="832" y="541"/>
                  <a:pt x="833" y="541"/>
                  <a:pt x="833" y="541"/>
                </a:cubicBezTo>
                <a:cubicBezTo>
                  <a:pt x="834" y="541"/>
                  <a:pt x="836" y="541"/>
                  <a:pt x="837" y="541"/>
                </a:cubicBezTo>
                <a:cubicBezTo>
                  <a:pt x="837" y="541"/>
                  <a:pt x="837" y="541"/>
                  <a:pt x="838" y="541"/>
                </a:cubicBezTo>
                <a:cubicBezTo>
                  <a:pt x="838" y="542"/>
                  <a:pt x="839" y="542"/>
                  <a:pt x="839" y="542"/>
                </a:cubicBezTo>
                <a:cubicBezTo>
                  <a:pt x="839" y="543"/>
                  <a:pt x="839" y="543"/>
                  <a:pt x="840" y="543"/>
                </a:cubicBezTo>
                <a:cubicBezTo>
                  <a:pt x="841" y="543"/>
                  <a:pt x="842" y="543"/>
                  <a:pt x="842" y="544"/>
                </a:cubicBezTo>
                <a:cubicBezTo>
                  <a:pt x="842" y="544"/>
                  <a:pt x="842" y="545"/>
                  <a:pt x="842" y="545"/>
                </a:cubicBezTo>
                <a:cubicBezTo>
                  <a:pt x="843" y="545"/>
                  <a:pt x="843" y="546"/>
                  <a:pt x="844" y="547"/>
                </a:cubicBezTo>
                <a:cubicBezTo>
                  <a:pt x="843" y="547"/>
                  <a:pt x="843" y="548"/>
                  <a:pt x="842" y="548"/>
                </a:cubicBezTo>
                <a:cubicBezTo>
                  <a:pt x="842" y="548"/>
                  <a:pt x="842" y="549"/>
                  <a:pt x="842" y="549"/>
                </a:cubicBezTo>
                <a:cubicBezTo>
                  <a:pt x="843" y="549"/>
                  <a:pt x="843" y="549"/>
                  <a:pt x="843" y="549"/>
                </a:cubicBezTo>
                <a:cubicBezTo>
                  <a:pt x="843" y="549"/>
                  <a:pt x="843" y="550"/>
                  <a:pt x="843" y="550"/>
                </a:cubicBezTo>
                <a:cubicBezTo>
                  <a:pt x="843" y="550"/>
                  <a:pt x="843" y="550"/>
                  <a:pt x="843" y="550"/>
                </a:cubicBezTo>
                <a:cubicBezTo>
                  <a:pt x="843" y="551"/>
                  <a:pt x="845" y="552"/>
                  <a:pt x="845" y="553"/>
                </a:cubicBezTo>
                <a:cubicBezTo>
                  <a:pt x="846" y="553"/>
                  <a:pt x="849" y="553"/>
                  <a:pt x="849" y="552"/>
                </a:cubicBezTo>
                <a:cubicBezTo>
                  <a:pt x="849" y="552"/>
                  <a:pt x="851" y="552"/>
                  <a:pt x="851" y="551"/>
                </a:cubicBezTo>
                <a:cubicBezTo>
                  <a:pt x="851" y="551"/>
                  <a:pt x="852" y="552"/>
                  <a:pt x="852" y="551"/>
                </a:cubicBezTo>
                <a:cubicBezTo>
                  <a:pt x="852" y="550"/>
                  <a:pt x="853" y="551"/>
                  <a:pt x="853" y="550"/>
                </a:cubicBezTo>
                <a:cubicBezTo>
                  <a:pt x="854" y="550"/>
                  <a:pt x="855" y="550"/>
                  <a:pt x="855" y="550"/>
                </a:cubicBezTo>
                <a:cubicBezTo>
                  <a:pt x="855" y="551"/>
                  <a:pt x="855" y="551"/>
                  <a:pt x="855" y="551"/>
                </a:cubicBezTo>
                <a:cubicBezTo>
                  <a:pt x="856" y="551"/>
                  <a:pt x="856" y="551"/>
                  <a:pt x="856" y="551"/>
                </a:cubicBezTo>
                <a:cubicBezTo>
                  <a:pt x="856" y="549"/>
                  <a:pt x="857" y="551"/>
                  <a:pt x="857" y="551"/>
                </a:cubicBezTo>
                <a:cubicBezTo>
                  <a:pt x="858" y="551"/>
                  <a:pt x="858" y="550"/>
                  <a:pt x="859" y="550"/>
                </a:cubicBezTo>
                <a:cubicBezTo>
                  <a:pt x="859" y="551"/>
                  <a:pt x="859" y="552"/>
                  <a:pt x="859" y="553"/>
                </a:cubicBezTo>
                <a:cubicBezTo>
                  <a:pt x="859" y="553"/>
                  <a:pt x="860" y="554"/>
                  <a:pt x="861" y="553"/>
                </a:cubicBezTo>
                <a:cubicBezTo>
                  <a:pt x="861" y="553"/>
                  <a:pt x="862" y="552"/>
                  <a:pt x="863" y="553"/>
                </a:cubicBezTo>
                <a:cubicBezTo>
                  <a:pt x="863" y="553"/>
                  <a:pt x="862" y="554"/>
                  <a:pt x="862" y="553"/>
                </a:cubicBezTo>
                <a:cubicBezTo>
                  <a:pt x="862" y="554"/>
                  <a:pt x="862" y="554"/>
                  <a:pt x="862" y="555"/>
                </a:cubicBezTo>
                <a:cubicBezTo>
                  <a:pt x="862" y="555"/>
                  <a:pt x="862" y="555"/>
                  <a:pt x="862" y="555"/>
                </a:cubicBezTo>
                <a:cubicBezTo>
                  <a:pt x="862" y="556"/>
                  <a:pt x="862" y="556"/>
                  <a:pt x="862" y="556"/>
                </a:cubicBezTo>
                <a:cubicBezTo>
                  <a:pt x="862" y="557"/>
                  <a:pt x="863" y="557"/>
                  <a:pt x="863" y="557"/>
                </a:cubicBezTo>
                <a:cubicBezTo>
                  <a:pt x="863" y="558"/>
                  <a:pt x="863" y="558"/>
                  <a:pt x="864" y="558"/>
                </a:cubicBezTo>
                <a:cubicBezTo>
                  <a:pt x="864" y="559"/>
                  <a:pt x="863" y="559"/>
                  <a:pt x="863" y="559"/>
                </a:cubicBezTo>
                <a:cubicBezTo>
                  <a:pt x="863" y="560"/>
                  <a:pt x="863" y="560"/>
                  <a:pt x="863" y="561"/>
                </a:cubicBezTo>
                <a:cubicBezTo>
                  <a:pt x="863" y="561"/>
                  <a:pt x="863" y="561"/>
                  <a:pt x="863" y="561"/>
                </a:cubicBezTo>
                <a:cubicBezTo>
                  <a:pt x="863" y="562"/>
                  <a:pt x="863" y="563"/>
                  <a:pt x="863" y="563"/>
                </a:cubicBezTo>
                <a:cubicBezTo>
                  <a:pt x="862" y="564"/>
                  <a:pt x="862" y="564"/>
                  <a:pt x="863" y="565"/>
                </a:cubicBezTo>
                <a:cubicBezTo>
                  <a:pt x="863" y="566"/>
                  <a:pt x="862" y="566"/>
                  <a:pt x="862" y="567"/>
                </a:cubicBezTo>
                <a:cubicBezTo>
                  <a:pt x="862" y="568"/>
                  <a:pt x="861" y="569"/>
                  <a:pt x="861" y="570"/>
                </a:cubicBezTo>
                <a:cubicBezTo>
                  <a:pt x="862" y="571"/>
                  <a:pt x="862" y="573"/>
                  <a:pt x="862" y="574"/>
                </a:cubicBezTo>
                <a:cubicBezTo>
                  <a:pt x="862" y="574"/>
                  <a:pt x="860" y="574"/>
                  <a:pt x="860" y="574"/>
                </a:cubicBezTo>
                <a:cubicBezTo>
                  <a:pt x="860" y="575"/>
                  <a:pt x="861" y="575"/>
                  <a:pt x="862" y="576"/>
                </a:cubicBezTo>
                <a:cubicBezTo>
                  <a:pt x="861" y="576"/>
                  <a:pt x="861" y="576"/>
                  <a:pt x="860" y="576"/>
                </a:cubicBezTo>
                <a:cubicBezTo>
                  <a:pt x="861" y="577"/>
                  <a:pt x="860" y="578"/>
                  <a:pt x="860" y="580"/>
                </a:cubicBezTo>
                <a:cubicBezTo>
                  <a:pt x="860" y="580"/>
                  <a:pt x="859" y="582"/>
                  <a:pt x="859" y="582"/>
                </a:cubicBezTo>
                <a:cubicBezTo>
                  <a:pt x="859" y="582"/>
                  <a:pt x="858" y="582"/>
                  <a:pt x="858" y="582"/>
                </a:cubicBezTo>
                <a:cubicBezTo>
                  <a:pt x="858" y="582"/>
                  <a:pt x="858" y="583"/>
                  <a:pt x="858" y="583"/>
                </a:cubicBezTo>
                <a:cubicBezTo>
                  <a:pt x="858" y="583"/>
                  <a:pt x="858" y="583"/>
                  <a:pt x="858" y="583"/>
                </a:cubicBezTo>
                <a:cubicBezTo>
                  <a:pt x="859" y="583"/>
                  <a:pt x="859" y="583"/>
                  <a:pt x="859" y="583"/>
                </a:cubicBezTo>
                <a:cubicBezTo>
                  <a:pt x="859" y="584"/>
                  <a:pt x="859" y="584"/>
                  <a:pt x="859" y="585"/>
                </a:cubicBezTo>
                <a:cubicBezTo>
                  <a:pt x="860" y="585"/>
                  <a:pt x="860" y="585"/>
                  <a:pt x="861" y="585"/>
                </a:cubicBezTo>
                <a:cubicBezTo>
                  <a:pt x="861" y="585"/>
                  <a:pt x="861" y="586"/>
                  <a:pt x="861" y="586"/>
                </a:cubicBezTo>
                <a:cubicBezTo>
                  <a:pt x="861" y="586"/>
                  <a:pt x="862" y="586"/>
                  <a:pt x="862" y="587"/>
                </a:cubicBezTo>
                <a:cubicBezTo>
                  <a:pt x="862" y="587"/>
                  <a:pt x="860" y="587"/>
                  <a:pt x="860" y="587"/>
                </a:cubicBezTo>
                <a:cubicBezTo>
                  <a:pt x="860" y="588"/>
                  <a:pt x="861" y="588"/>
                  <a:pt x="862" y="589"/>
                </a:cubicBezTo>
                <a:cubicBezTo>
                  <a:pt x="862" y="589"/>
                  <a:pt x="862" y="589"/>
                  <a:pt x="862" y="589"/>
                </a:cubicBezTo>
                <a:cubicBezTo>
                  <a:pt x="862" y="589"/>
                  <a:pt x="862" y="589"/>
                  <a:pt x="862" y="589"/>
                </a:cubicBezTo>
                <a:cubicBezTo>
                  <a:pt x="863" y="589"/>
                  <a:pt x="863" y="590"/>
                  <a:pt x="863" y="590"/>
                </a:cubicBezTo>
                <a:cubicBezTo>
                  <a:pt x="863" y="591"/>
                  <a:pt x="864" y="591"/>
                  <a:pt x="864" y="591"/>
                </a:cubicBezTo>
                <a:cubicBezTo>
                  <a:pt x="865" y="592"/>
                  <a:pt x="865" y="593"/>
                  <a:pt x="866" y="593"/>
                </a:cubicBezTo>
                <a:cubicBezTo>
                  <a:pt x="867" y="593"/>
                  <a:pt x="867" y="593"/>
                  <a:pt x="867" y="594"/>
                </a:cubicBezTo>
                <a:cubicBezTo>
                  <a:pt x="868" y="594"/>
                  <a:pt x="868" y="595"/>
                  <a:pt x="867" y="596"/>
                </a:cubicBezTo>
                <a:cubicBezTo>
                  <a:pt x="868" y="596"/>
                  <a:pt x="868" y="596"/>
                  <a:pt x="868" y="596"/>
                </a:cubicBezTo>
                <a:cubicBezTo>
                  <a:pt x="868" y="597"/>
                  <a:pt x="868" y="597"/>
                  <a:pt x="869" y="597"/>
                </a:cubicBezTo>
                <a:cubicBezTo>
                  <a:pt x="869" y="598"/>
                  <a:pt x="870" y="598"/>
                  <a:pt x="871" y="598"/>
                </a:cubicBezTo>
                <a:cubicBezTo>
                  <a:pt x="871" y="599"/>
                  <a:pt x="871" y="599"/>
                  <a:pt x="872" y="599"/>
                </a:cubicBezTo>
                <a:cubicBezTo>
                  <a:pt x="872" y="599"/>
                  <a:pt x="871" y="601"/>
                  <a:pt x="872" y="601"/>
                </a:cubicBezTo>
                <a:cubicBezTo>
                  <a:pt x="872" y="601"/>
                  <a:pt x="873" y="603"/>
                  <a:pt x="873" y="603"/>
                </a:cubicBezTo>
                <a:cubicBezTo>
                  <a:pt x="873" y="603"/>
                  <a:pt x="874" y="603"/>
                  <a:pt x="874" y="603"/>
                </a:cubicBezTo>
                <a:cubicBezTo>
                  <a:pt x="874" y="604"/>
                  <a:pt x="874" y="604"/>
                  <a:pt x="874" y="604"/>
                </a:cubicBezTo>
                <a:cubicBezTo>
                  <a:pt x="875" y="604"/>
                  <a:pt x="875" y="605"/>
                  <a:pt x="875" y="605"/>
                </a:cubicBezTo>
                <a:cubicBezTo>
                  <a:pt x="874" y="605"/>
                  <a:pt x="874" y="605"/>
                  <a:pt x="874" y="606"/>
                </a:cubicBezTo>
                <a:cubicBezTo>
                  <a:pt x="874" y="606"/>
                  <a:pt x="874" y="606"/>
                  <a:pt x="874" y="606"/>
                </a:cubicBezTo>
                <a:cubicBezTo>
                  <a:pt x="875" y="607"/>
                  <a:pt x="874" y="607"/>
                  <a:pt x="875" y="607"/>
                </a:cubicBezTo>
                <a:cubicBezTo>
                  <a:pt x="876" y="608"/>
                  <a:pt x="876" y="608"/>
                  <a:pt x="875" y="609"/>
                </a:cubicBezTo>
                <a:cubicBezTo>
                  <a:pt x="876" y="609"/>
                  <a:pt x="876" y="611"/>
                  <a:pt x="876" y="611"/>
                </a:cubicBezTo>
                <a:cubicBezTo>
                  <a:pt x="876" y="612"/>
                  <a:pt x="877" y="611"/>
                  <a:pt x="877" y="612"/>
                </a:cubicBezTo>
                <a:cubicBezTo>
                  <a:pt x="877" y="612"/>
                  <a:pt x="877" y="612"/>
                  <a:pt x="877" y="613"/>
                </a:cubicBezTo>
                <a:cubicBezTo>
                  <a:pt x="877" y="614"/>
                  <a:pt x="877" y="613"/>
                  <a:pt x="877" y="614"/>
                </a:cubicBezTo>
                <a:cubicBezTo>
                  <a:pt x="878" y="615"/>
                  <a:pt x="879" y="616"/>
                  <a:pt x="879" y="617"/>
                </a:cubicBezTo>
                <a:cubicBezTo>
                  <a:pt x="879" y="618"/>
                  <a:pt x="879" y="619"/>
                  <a:pt x="880" y="620"/>
                </a:cubicBezTo>
                <a:cubicBezTo>
                  <a:pt x="880" y="620"/>
                  <a:pt x="879" y="620"/>
                  <a:pt x="880" y="620"/>
                </a:cubicBezTo>
                <a:cubicBezTo>
                  <a:pt x="880" y="621"/>
                  <a:pt x="880" y="622"/>
                  <a:pt x="880" y="622"/>
                </a:cubicBezTo>
                <a:cubicBezTo>
                  <a:pt x="881" y="622"/>
                  <a:pt x="881" y="624"/>
                  <a:pt x="880" y="624"/>
                </a:cubicBezTo>
                <a:cubicBezTo>
                  <a:pt x="880" y="624"/>
                  <a:pt x="881" y="625"/>
                  <a:pt x="881" y="625"/>
                </a:cubicBezTo>
                <a:cubicBezTo>
                  <a:pt x="880" y="626"/>
                  <a:pt x="879" y="626"/>
                  <a:pt x="880" y="627"/>
                </a:cubicBezTo>
                <a:cubicBezTo>
                  <a:pt x="880" y="627"/>
                  <a:pt x="880" y="628"/>
                  <a:pt x="880" y="629"/>
                </a:cubicBezTo>
                <a:cubicBezTo>
                  <a:pt x="879" y="629"/>
                  <a:pt x="879" y="630"/>
                  <a:pt x="880" y="630"/>
                </a:cubicBezTo>
                <a:cubicBezTo>
                  <a:pt x="880" y="630"/>
                  <a:pt x="879" y="631"/>
                  <a:pt x="880" y="631"/>
                </a:cubicBezTo>
                <a:cubicBezTo>
                  <a:pt x="880" y="632"/>
                  <a:pt x="880" y="633"/>
                  <a:pt x="880" y="633"/>
                </a:cubicBezTo>
                <a:cubicBezTo>
                  <a:pt x="880" y="634"/>
                  <a:pt x="881" y="634"/>
                  <a:pt x="881" y="635"/>
                </a:cubicBezTo>
                <a:cubicBezTo>
                  <a:pt x="881" y="635"/>
                  <a:pt x="881" y="635"/>
                  <a:pt x="882" y="635"/>
                </a:cubicBezTo>
                <a:cubicBezTo>
                  <a:pt x="882" y="636"/>
                  <a:pt x="882" y="636"/>
                  <a:pt x="882" y="637"/>
                </a:cubicBezTo>
                <a:cubicBezTo>
                  <a:pt x="882" y="637"/>
                  <a:pt x="882" y="637"/>
                  <a:pt x="882" y="638"/>
                </a:cubicBezTo>
                <a:cubicBezTo>
                  <a:pt x="882" y="638"/>
                  <a:pt x="882" y="639"/>
                  <a:pt x="882" y="639"/>
                </a:cubicBezTo>
                <a:cubicBezTo>
                  <a:pt x="882" y="641"/>
                  <a:pt x="882" y="642"/>
                  <a:pt x="882" y="644"/>
                </a:cubicBezTo>
                <a:cubicBezTo>
                  <a:pt x="882" y="644"/>
                  <a:pt x="882" y="644"/>
                  <a:pt x="882" y="644"/>
                </a:cubicBezTo>
                <a:cubicBezTo>
                  <a:pt x="882" y="644"/>
                  <a:pt x="882" y="645"/>
                  <a:pt x="882" y="645"/>
                </a:cubicBezTo>
                <a:cubicBezTo>
                  <a:pt x="882" y="646"/>
                  <a:pt x="881" y="646"/>
                  <a:pt x="881" y="646"/>
                </a:cubicBezTo>
                <a:cubicBezTo>
                  <a:pt x="881" y="647"/>
                  <a:pt x="881" y="647"/>
                  <a:pt x="880" y="647"/>
                </a:cubicBezTo>
                <a:cubicBezTo>
                  <a:pt x="879" y="647"/>
                  <a:pt x="880" y="647"/>
                  <a:pt x="880" y="648"/>
                </a:cubicBezTo>
                <a:cubicBezTo>
                  <a:pt x="879" y="648"/>
                  <a:pt x="879" y="648"/>
                  <a:pt x="879" y="649"/>
                </a:cubicBezTo>
                <a:cubicBezTo>
                  <a:pt x="879" y="650"/>
                  <a:pt x="879" y="650"/>
                  <a:pt x="878" y="650"/>
                </a:cubicBezTo>
                <a:cubicBezTo>
                  <a:pt x="878" y="651"/>
                  <a:pt x="878" y="651"/>
                  <a:pt x="877" y="651"/>
                </a:cubicBezTo>
                <a:cubicBezTo>
                  <a:pt x="877" y="651"/>
                  <a:pt x="877" y="651"/>
                  <a:pt x="877" y="652"/>
                </a:cubicBezTo>
                <a:cubicBezTo>
                  <a:pt x="877" y="653"/>
                  <a:pt x="877" y="655"/>
                  <a:pt x="876" y="655"/>
                </a:cubicBezTo>
                <a:cubicBezTo>
                  <a:pt x="876" y="656"/>
                  <a:pt x="876" y="657"/>
                  <a:pt x="876" y="658"/>
                </a:cubicBezTo>
                <a:cubicBezTo>
                  <a:pt x="876" y="659"/>
                  <a:pt x="875" y="659"/>
                  <a:pt x="875" y="660"/>
                </a:cubicBezTo>
                <a:cubicBezTo>
                  <a:pt x="875" y="661"/>
                  <a:pt x="874" y="661"/>
                  <a:pt x="874" y="662"/>
                </a:cubicBezTo>
                <a:cubicBezTo>
                  <a:pt x="874" y="662"/>
                  <a:pt x="874" y="663"/>
                  <a:pt x="873" y="663"/>
                </a:cubicBezTo>
                <a:cubicBezTo>
                  <a:pt x="873" y="663"/>
                  <a:pt x="872" y="666"/>
                  <a:pt x="872" y="666"/>
                </a:cubicBezTo>
                <a:cubicBezTo>
                  <a:pt x="872" y="668"/>
                  <a:pt x="874" y="670"/>
                  <a:pt x="872" y="671"/>
                </a:cubicBezTo>
                <a:cubicBezTo>
                  <a:pt x="873" y="671"/>
                  <a:pt x="872" y="674"/>
                  <a:pt x="873" y="674"/>
                </a:cubicBezTo>
                <a:cubicBezTo>
                  <a:pt x="873" y="674"/>
                  <a:pt x="873" y="675"/>
                  <a:pt x="872" y="675"/>
                </a:cubicBezTo>
                <a:cubicBezTo>
                  <a:pt x="872" y="676"/>
                  <a:pt x="872" y="676"/>
                  <a:pt x="872" y="677"/>
                </a:cubicBezTo>
                <a:cubicBezTo>
                  <a:pt x="872" y="678"/>
                  <a:pt x="872" y="679"/>
                  <a:pt x="873" y="680"/>
                </a:cubicBezTo>
                <a:cubicBezTo>
                  <a:pt x="873" y="680"/>
                  <a:pt x="874" y="680"/>
                  <a:pt x="874" y="680"/>
                </a:cubicBezTo>
                <a:cubicBezTo>
                  <a:pt x="875" y="681"/>
                  <a:pt x="875" y="682"/>
                  <a:pt x="875" y="682"/>
                </a:cubicBezTo>
                <a:cubicBezTo>
                  <a:pt x="876" y="683"/>
                  <a:pt x="876" y="683"/>
                  <a:pt x="877" y="683"/>
                </a:cubicBezTo>
                <a:cubicBezTo>
                  <a:pt x="877" y="684"/>
                  <a:pt x="877" y="684"/>
                  <a:pt x="878" y="684"/>
                </a:cubicBezTo>
                <a:cubicBezTo>
                  <a:pt x="879" y="685"/>
                  <a:pt x="878" y="686"/>
                  <a:pt x="878" y="687"/>
                </a:cubicBezTo>
                <a:cubicBezTo>
                  <a:pt x="878" y="687"/>
                  <a:pt x="878" y="687"/>
                  <a:pt x="878" y="688"/>
                </a:cubicBezTo>
                <a:cubicBezTo>
                  <a:pt x="878" y="689"/>
                  <a:pt x="878" y="688"/>
                  <a:pt x="878" y="688"/>
                </a:cubicBezTo>
                <a:cubicBezTo>
                  <a:pt x="878" y="689"/>
                  <a:pt x="879" y="691"/>
                  <a:pt x="879" y="692"/>
                </a:cubicBezTo>
                <a:cubicBezTo>
                  <a:pt x="880" y="692"/>
                  <a:pt x="879" y="692"/>
                  <a:pt x="879" y="693"/>
                </a:cubicBezTo>
                <a:cubicBezTo>
                  <a:pt x="880" y="693"/>
                  <a:pt x="880" y="693"/>
                  <a:pt x="880" y="693"/>
                </a:cubicBezTo>
                <a:cubicBezTo>
                  <a:pt x="880" y="693"/>
                  <a:pt x="880" y="694"/>
                  <a:pt x="880" y="694"/>
                </a:cubicBezTo>
                <a:cubicBezTo>
                  <a:pt x="880" y="695"/>
                  <a:pt x="881" y="695"/>
                  <a:pt x="881" y="695"/>
                </a:cubicBezTo>
                <a:cubicBezTo>
                  <a:pt x="882" y="695"/>
                  <a:pt x="882" y="695"/>
                  <a:pt x="882" y="696"/>
                </a:cubicBezTo>
                <a:cubicBezTo>
                  <a:pt x="882" y="696"/>
                  <a:pt x="883" y="696"/>
                  <a:pt x="883" y="696"/>
                </a:cubicBezTo>
                <a:cubicBezTo>
                  <a:pt x="883" y="697"/>
                  <a:pt x="883" y="698"/>
                  <a:pt x="882" y="699"/>
                </a:cubicBezTo>
                <a:cubicBezTo>
                  <a:pt x="883" y="699"/>
                  <a:pt x="883" y="700"/>
                  <a:pt x="884" y="700"/>
                </a:cubicBezTo>
                <a:cubicBezTo>
                  <a:pt x="884" y="701"/>
                  <a:pt x="885" y="701"/>
                  <a:pt x="885" y="702"/>
                </a:cubicBezTo>
                <a:cubicBezTo>
                  <a:pt x="885" y="703"/>
                  <a:pt x="885" y="703"/>
                  <a:pt x="885" y="704"/>
                </a:cubicBezTo>
                <a:cubicBezTo>
                  <a:pt x="885" y="704"/>
                  <a:pt x="886" y="704"/>
                  <a:pt x="886" y="704"/>
                </a:cubicBezTo>
                <a:cubicBezTo>
                  <a:pt x="886" y="704"/>
                  <a:pt x="885" y="704"/>
                  <a:pt x="885" y="704"/>
                </a:cubicBezTo>
                <a:cubicBezTo>
                  <a:pt x="885" y="704"/>
                  <a:pt x="885" y="705"/>
                  <a:pt x="885" y="705"/>
                </a:cubicBezTo>
                <a:cubicBezTo>
                  <a:pt x="886" y="705"/>
                  <a:pt x="885" y="706"/>
                  <a:pt x="885" y="707"/>
                </a:cubicBezTo>
                <a:cubicBezTo>
                  <a:pt x="885" y="708"/>
                  <a:pt x="885" y="708"/>
                  <a:pt x="886" y="709"/>
                </a:cubicBezTo>
                <a:cubicBezTo>
                  <a:pt x="885" y="709"/>
                  <a:pt x="885" y="709"/>
                  <a:pt x="885" y="709"/>
                </a:cubicBezTo>
                <a:cubicBezTo>
                  <a:pt x="885" y="710"/>
                  <a:pt x="885" y="712"/>
                  <a:pt x="886" y="712"/>
                </a:cubicBezTo>
                <a:cubicBezTo>
                  <a:pt x="886" y="712"/>
                  <a:pt x="885" y="714"/>
                  <a:pt x="885" y="714"/>
                </a:cubicBezTo>
                <a:cubicBezTo>
                  <a:pt x="886" y="714"/>
                  <a:pt x="886" y="715"/>
                  <a:pt x="886" y="715"/>
                </a:cubicBezTo>
                <a:cubicBezTo>
                  <a:pt x="886" y="716"/>
                  <a:pt x="887" y="716"/>
                  <a:pt x="887" y="716"/>
                </a:cubicBezTo>
                <a:cubicBezTo>
                  <a:pt x="887" y="717"/>
                  <a:pt x="887" y="717"/>
                  <a:pt x="887" y="718"/>
                </a:cubicBezTo>
                <a:cubicBezTo>
                  <a:pt x="887" y="718"/>
                  <a:pt x="888" y="718"/>
                  <a:pt x="887" y="718"/>
                </a:cubicBezTo>
                <a:cubicBezTo>
                  <a:pt x="887" y="719"/>
                  <a:pt x="887" y="720"/>
                  <a:pt x="887" y="721"/>
                </a:cubicBezTo>
                <a:cubicBezTo>
                  <a:pt x="887" y="722"/>
                  <a:pt x="887" y="721"/>
                  <a:pt x="886" y="722"/>
                </a:cubicBezTo>
                <a:cubicBezTo>
                  <a:pt x="886" y="723"/>
                  <a:pt x="887" y="722"/>
                  <a:pt x="887" y="723"/>
                </a:cubicBezTo>
                <a:cubicBezTo>
                  <a:pt x="887" y="723"/>
                  <a:pt x="887" y="724"/>
                  <a:pt x="887" y="724"/>
                </a:cubicBezTo>
                <a:cubicBezTo>
                  <a:pt x="888" y="725"/>
                  <a:pt x="886" y="725"/>
                  <a:pt x="887" y="726"/>
                </a:cubicBezTo>
                <a:cubicBezTo>
                  <a:pt x="888" y="726"/>
                  <a:pt x="887" y="727"/>
                  <a:pt x="887" y="728"/>
                </a:cubicBezTo>
                <a:cubicBezTo>
                  <a:pt x="887" y="729"/>
                  <a:pt x="888" y="728"/>
                  <a:pt x="888" y="729"/>
                </a:cubicBezTo>
                <a:cubicBezTo>
                  <a:pt x="888" y="729"/>
                  <a:pt x="888" y="730"/>
                  <a:pt x="888" y="730"/>
                </a:cubicBezTo>
                <a:cubicBezTo>
                  <a:pt x="889" y="730"/>
                  <a:pt x="889" y="732"/>
                  <a:pt x="889" y="732"/>
                </a:cubicBezTo>
                <a:cubicBezTo>
                  <a:pt x="889" y="732"/>
                  <a:pt x="889" y="733"/>
                  <a:pt x="890" y="734"/>
                </a:cubicBezTo>
                <a:cubicBezTo>
                  <a:pt x="890" y="734"/>
                  <a:pt x="890" y="735"/>
                  <a:pt x="890" y="735"/>
                </a:cubicBezTo>
                <a:cubicBezTo>
                  <a:pt x="891" y="735"/>
                  <a:pt x="891" y="735"/>
                  <a:pt x="891" y="735"/>
                </a:cubicBezTo>
                <a:cubicBezTo>
                  <a:pt x="891" y="736"/>
                  <a:pt x="891" y="736"/>
                  <a:pt x="892" y="736"/>
                </a:cubicBezTo>
                <a:cubicBezTo>
                  <a:pt x="892" y="736"/>
                  <a:pt x="893" y="736"/>
                  <a:pt x="893" y="736"/>
                </a:cubicBezTo>
                <a:cubicBezTo>
                  <a:pt x="894" y="737"/>
                  <a:pt x="894" y="740"/>
                  <a:pt x="895" y="741"/>
                </a:cubicBezTo>
                <a:cubicBezTo>
                  <a:pt x="896" y="741"/>
                  <a:pt x="896" y="741"/>
                  <a:pt x="896" y="742"/>
                </a:cubicBezTo>
                <a:cubicBezTo>
                  <a:pt x="896" y="743"/>
                  <a:pt x="896" y="741"/>
                  <a:pt x="897" y="743"/>
                </a:cubicBezTo>
                <a:cubicBezTo>
                  <a:pt x="897" y="744"/>
                  <a:pt x="897" y="743"/>
                  <a:pt x="897" y="744"/>
                </a:cubicBezTo>
                <a:cubicBezTo>
                  <a:pt x="896" y="744"/>
                  <a:pt x="897" y="744"/>
                  <a:pt x="897" y="744"/>
                </a:cubicBezTo>
                <a:cubicBezTo>
                  <a:pt x="897" y="744"/>
                  <a:pt x="898" y="745"/>
                  <a:pt x="897" y="745"/>
                </a:cubicBezTo>
                <a:cubicBezTo>
                  <a:pt x="897" y="746"/>
                  <a:pt x="898" y="747"/>
                  <a:pt x="898" y="747"/>
                </a:cubicBezTo>
                <a:cubicBezTo>
                  <a:pt x="898" y="748"/>
                  <a:pt x="898" y="748"/>
                  <a:pt x="898" y="749"/>
                </a:cubicBezTo>
                <a:cubicBezTo>
                  <a:pt x="898" y="749"/>
                  <a:pt x="898" y="749"/>
                  <a:pt x="898" y="749"/>
                </a:cubicBezTo>
                <a:cubicBezTo>
                  <a:pt x="898" y="749"/>
                  <a:pt x="898" y="750"/>
                  <a:pt x="898" y="750"/>
                </a:cubicBezTo>
                <a:cubicBezTo>
                  <a:pt x="899" y="751"/>
                  <a:pt x="899" y="750"/>
                  <a:pt x="899" y="751"/>
                </a:cubicBezTo>
                <a:cubicBezTo>
                  <a:pt x="900" y="751"/>
                  <a:pt x="900" y="752"/>
                  <a:pt x="900" y="753"/>
                </a:cubicBezTo>
                <a:cubicBezTo>
                  <a:pt x="900" y="754"/>
                  <a:pt x="900" y="753"/>
                  <a:pt x="901" y="753"/>
                </a:cubicBezTo>
                <a:cubicBezTo>
                  <a:pt x="901" y="754"/>
                  <a:pt x="900" y="754"/>
                  <a:pt x="901" y="754"/>
                </a:cubicBezTo>
                <a:cubicBezTo>
                  <a:pt x="902" y="754"/>
                  <a:pt x="902" y="758"/>
                  <a:pt x="902" y="759"/>
                </a:cubicBezTo>
                <a:cubicBezTo>
                  <a:pt x="903" y="760"/>
                  <a:pt x="903" y="760"/>
                  <a:pt x="902" y="760"/>
                </a:cubicBezTo>
                <a:cubicBezTo>
                  <a:pt x="901" y="761"/>
                  <a:pt x="902" y="761"/>
                  <a:pt x="902" y="762"/>
                </a:cubicBezTo>
                <a:cubicBezTo>
                  <a:pt x="901" y="762"/>
                  <a:pt x="902" y="762"/>
                  <a:pt x="901" y="763"/>
                </a:cubicBezTo>
                <a:cubicBezTo>
                  <a:pt x="900" y="762"/>
                  <a:pt x="900" y="762"/>
                  <a:pt x="900" y="763"/>
                </a:cubicBezTo>
                <a:cubicBezTo>
                  <a:pt x="900" y="764"/>
                  <a:pt x="900" y="764"/>
                  <a:pt x="901" y="765"/>
                </a:cubicBezTo>
                <a:cubicBezTo>
                  <a:pt x="901" y="766"/>
                  <a:pt x="900" y="766"/>
                  <a:pt x="900" y="766"/>
                </a:cubicBezTo>
                <a:cubicBezTo>
                  <a:pt x="900" y="767"/>
                  <a:pt x="901" y="768"/>
                  <a:pt x="901" y="768"/>
                </a:cubicBezTo>
                <a:cubicBezTo>
                  <a:pt x="902" y="769"/>
                  <a:pt x="902" y="770"/>
                  <a:pt x="901" y="770"/>
                </a:cubicBezTo>
                <a:cubicBezTo>
                  <a:pt x="901" y="771"/>
                  <a:pt x="902" y="773"/>
                  <a:pt x="902" y="773"/>
                </a:cubicBezTo>
                <a:cubicBezTo>
                  <a:pt x="902" y="773"/>
                  <a:pt x="902" y="773"/>
                  <a:pt x="902" y="773"/>
                </a:cubicBezTo>
                <a:cubicBezTo>
                  <a:pt x="902" y="773"/>
                  <a:pt x="903" y="773"/>
                  <a:pt x="903" y="773"/>
                </a:cubicBezTo>
                <a:cubicBezTo>
                  <a:pt x="904" y="773"/>
                  <a:pt x="903" y="772"/>
                  <a:pt x="904" y="772"/>
                </a:cubicBezTo>
                <a:cubicBezTo>
                  <a:pt x="904" y="772"/>
                  <a:pt x="904" y="772"/>
                  <a:pt x="905" y="773"/>
                </a:cubicBezTo>
                <a:cubicBezTo>
                  <a:pt x="905" y="773"/>
                  <a:pt x="905" y="773"/>
                  <a:pt x="905" y="773"/>
                </a:cubicBezTo>
                <a:cubicBezTo>
                  <a:pt x="905" y="773"/>
                  <a:pt x="905" y="773"/>
                  <a:pt x="906" y="773"/>
                </a:cubicBezTo>
                <a:cubicBezTo>
                  <a:pt x="906" y="773"/>
                  <a:pt x="906" y="774"/>
                  <a:pt x="907" y="774"/>
                </a:cubicBezTo>
                <a:cubicBezTo>
                  <a:pt x="908" y="774"/>
                  <a:pt x="908" y="775"/>
                  <a:pt x="909" y="775"/>
                </a:cubicBezTo>
                <a:cubicBezTo>
                  <a:pt x="910" y="774"/>
                  <a:pt x="911" y="774"/>
                  <a:pt x="912" y="773"/>
                </a:cubicBezTo>
                <a:cubicBezTo>
                  <a:pt x="914" y="773"/>
                  <a:pt x="915" y="773"/>
                  <a:pt x="915" y="772"/>
                </a:cubicBezTo>
                <a:cubicBezTo>
                  <a:pt x="916" y="772"/>
                  <a:pt x="918" y="771"/>
                  <a:pt x="919" y="773"/>
                </a:cubicBezTo>
                <a:cubicBezTo>
                  <a:pt x="920" y="772"/>
                  <a:pt x="920" y="772"/>
                  <a:pt x="921" y="772"/>
                </a:cubicBezTo>
                <a:cubicBezTo>
                  <a:pt x="921" y="771"/>
                  <a:pt x="921" y="771"/>
                  <a:pt x="922" y="771"/>
                </a:cubicBezTo>
                <a:cubicBezTo>
                  <a:pt x="922" y="771"/>
                  <a:pt x="922" y="772"/>
                  <a:pt x="923" y="771"/>
                </a:cubicBezTo>
                <a:cubicBezTo>
                  <a:pt x="923" y="770"/>
                  <a:pt x="924" y="771"/>
                  <a:pt x="924" y="770"/>
                </a:cubicBezTo>
                <a:cubicBezTo>
                  <a:pt x="925" y="770"/>
                  <a:pt x="925" y="771"/>
                  <a:pt x="926" y="771"/>
                </a:cubicBezTo>
                <a:cubicBezTo>
                  <a:pt x="926" y="770"/>
                  <a:pt x="926" y="770"/>
                  <a:pt x="927" y="770"/>
                </a:cubicBezTo>
                <a:cubicBezTo>
                  <a:pt x="927" y="770"/>
                  <a:pt x="927" y="770"/>
                  <a:pt x="928" y="770"/>
                </a:cubicBezTo>
                <a:cubicBezTo>
                  <a:pt x="929" y="770"/>
                  <a:pt x="930" y="771"/>
                  <a:pt x="931" y="771"/>
                </a:cubicBezTo>
                <a:cubicBezTo>
                  <a:pt x="933" y="772"/>
                  <a:pt x="934" y="771"/>
                  <a:pt x="935" y="770"/>
                </a:cubicBezTo>
                <a:cubicBezTo>
                  <a:pt x="935" y="770"/>
                  <a:pt x="935" y="770"/>
                  <a:pt x="935" y="770"/>
                </a:cubicBezTo>
                <a:cubicBezTo>
                  <a:pt x="935" y="770"/>
                  <a:pt x="935" y="770"/>
                  <a:pt x="936" y="770"/>
                </a:cubicBezTo>
                <a:cubicBezTo>
                  <a:pt x="937" y="770"/>
                  <a:pt x="938" y="770"/>
                  <a:pt x="939" y="770"/>
                </a:cubicBezTo>
                <a:cubicBezTo>
                  <a:pt x="939" y="770"/>
                  <a:pt x="939" y="769"/>
                  <a:pt x="939" y="769"/>
                </a:cubicBezTo>
                <a:cubicBezTo>
                  <a:pt x="939" y="768"/>
                  <a:pt x="939" y="769"/>
                  <a:pt x="939" y="769"/>
                </a:cubicBezTo>
                <a:cubicBezTo>
                  <a:pt x="940" y="768"/>
                  <a:pt x="942" y="769"/>
                  <a:pt x="942" y="769"/>
                </a:cubicBezTo>
                <a:cubicBezTo>
                  <a:pt x="942" y="768"/>
                  <a:pt x="943" y="769"/>
                  <a:pt x="943" y="768"/>
                </a:cubicBezTo>
                <a:cubicBezTo>
                  <a:pt x="944" y="767"/>
                  <a:pt x="944" y="768"/>
                  <a:pt x="945" y="767"/>
                </a:cubicBezTo>
                <a:cubicBezTo>
                  <a:pt x="946" y="767"/>
                  <a:pt x="946" y="766"/>
                  <a:pt x="947" y="766"/>
                </a:cubicBezTo>
                <a:cubicBezTo>
                  <a:pt x="947" y="766"/>
                  <a:pt x="948" y="766"/>
                  <a:pt x="948" y="765"/>
                </a:cubicBezTo>
                <a:cubicBezTo>
                  <a:pt x="948" y="764"/>
                  <a:pt x="949" y="764"/>
                  <a:pt x="949" y="763"/>
                </a:cubicBezTo>
                <a:cubicBezTo>
                  <a:pt x="949" y="763"/>
                  <a:pt x="950" y="763"/>
                  <a:pt x="950" y="762"/>
                </a:cubicBezTo>
                <a:cubicBezTo>
                  <a:pt x="951" y="761"/>
                  <a:pt x="951" y="761"/>
                  <a:pt x="952" y="761"/>
                </a:cubicBezTo>
                <a:cubicBezTo>
                  <a:pt x="953" y="761"/>
                  <a:pt x="953" y="760"/>
                  <a:pt x="953" y="760"/>
                </a:cubicBezTo>
                <a:cubicBezTo>
                  <a:pt x="953" y="759"/>
                  <a:pt x="954" y="759"/>
                  <a:pt x="954" y="759"/>
                </a:cubicBezTo>
                <a:cubicBezTo>
                  <a:pt x="955" y="758"/>
                  <a:pt x="955" y="758"/>
                  <a:pt x="955" y="758"/>
                </a:cubicBezTo>
                <a:cubicBezTo>
                  <a:pt x="956" y="757"/>
                  <a:pt x="957" y="757"/>
                  <a:pt x="957" y="756"/>
                </a:cubicBezTo>
                <a:cubicBezTo>
                  <a:pt x="957" y="755"/>
                  <a:pt x="957" y="755"/>
                  <a:pt x="958" y="755"/>
                </a:cubicBezTo>
                <a:cubicBezTo>
                  <a:pt x="958" y="755"/>
                  <a:pt x="957" y="754"/>
                  <a:pt x="958" y="754"/>
                </a:cubicBezTo>
                <a:cubicBezTo>
                  <a:pt x="959" y="754"/>
                  <a:pt x="960" y="752"/>
                  <a:pt x="961" y="751"/>
                </a:cubicBezTo>
                <a:cubicBezTo>
                  <a:pt x="961" y="750"/>
                  <a:pt x="961" y="750"/>
                  <a:pt x="962" y="750"/>
                </a:cubicBezTo>
                <a:cubicBezTo>
                  <a:pt x="962" y="749"/>
                  <a:pt x="962" y="749"/>
                  <a:pt x="962" y="748"/>
                </a:cubicBezTo>
                <a:cubicBezTo>
                  <a:pt x="962" y="748"/>
                  <a:pt x="963" y="748"/>
                  <a:pt x="963" y="748"/>
                </a:cubicBezTo>
                <a:cubicBezTo>
                  <a:pt x="963" y="747"/>
                  <a:pt x="963" y="746"/>
                  <a:pt x="963" y="746"/>
                </a:cubicBezTo>
                <a:cubicBezTo>
                  <a:pt x="963" y="746"/>
                  <a:pt x="964" y="745"/>
                  <a:pt x="964" y="745"/>
                </a:cubicBezTo>
                <a:cubicBezTo>
                  <a:pt x="964" y="744"/>
                  <a:pt x="964" y="745"/>
                  <a:pt x="965" y="744"/>
                </a:cubicBezTo>
                <a:cubicBezTo>
                  <a:pt x="965" y="743"/>
                  <a:pt x="965" y="743"/>
                  <a:pt x="966" y="743"/>
                </a:cubicBezTo>
                <a:cubicBezTo>
                  <a:pt x="966" y="743"/>
                  <a:pt x="967" y="743"/>
                  <a:pt x="967" y="742"/>
                </a:cubicBezTo>
                <a:cubicBezTo>
                  <a:pt x="967" y="741"/>
                  <a:pt x="968" y="741"/>
                  <a:pt x="968" y="741"/>
                </a:cubicBezTo>
                <a:cubicBezTo>
                  <a:pt x="969" y="741"/>
                  <a:pt x="970" y="741"/>
                  <a:pt x="970" y="740"/>
                </a:cubicBezTo>
                <a:cubicBezTo>
                  <a:pt x="970" y="739"/>
                  <a:pt x="970" y="737"/>
                  <a:pt x="969" y="737"/>
                </a:cubicBezTo>
                <a:cubicBezTo>
                  <a:pt x="969" y="737"/>
                  <a:pt x="969" y="736"/>
                  <a:pt x="969" y="736"/>
                </a:cubicBezTo>
                <a:cubicBezTo>
                  <a:pt x="970" y="736"/>
                  <a:pt x="970" y="736"/>
                  <a:pt x="971" y="734"/>
                </a:cubicBezTo>
                <a:cubicBezTo>
                  <a:pt x="971" y="734"/>
                  <a:pt x="972" y="729"/>
                  <a:pt x="971" y="729"/>
                </a:cubicBezTo>
                <a:cubicBezTo>
                  <a:pt x="971" y="729"/>
                  <a:pt x="971" y="727"/>
                  <a:pt x="971" y="727"/>
                </a:cubicBezTo>
                <a:cubicBezTo>
                  <a:pt x="971" y="726"/>
                  <a:pt x="971" y="727"/>
                  <a:pt x="971" y="726"/>
                </a:cubicBezTo>
                <a:cubicBezTo>
                  <a:pt x="972" y="725"/>
                  <a:pt x="972" y="725"/>
                  <a:pt x="971" y="725"/>
                </a:cubicBezTo>
                <a:cubicBezTo>
                  <a:pt x="970" y="724"/>
                  <a:pt x="970" y="724"/>
                  <a:pt x="970" y="723"/>
                </a:cubicBezTo>
                <a:cubicBezTo>
                  <a:pt x="970" y="722"/>
                  <a:pt x="971" y="722"/>
                  <a:pt x="971" y="721"/>
                </a:cubicBezTo>
                <a:cubicBezTo>
                  <a:pt x="972" y="720"/>
                  <a:pt x="972" y="721"/>
                  <a:pt x="973" y="720"/>
                </a:cubicBezTo>
                <a:cubicBezTo>
                  <a:pt x="973" y="720"/>
                  <a:pt x="974" y="720"/>
                  <a:pt x="974" y="720"/>
                </a:cubicBezTo>
                <a:cubicBezTo>
                  <a:pt x="974" y="720"/>
                  <a:pt x="974" y="720"/>
                  <a:pt x="974" y="720"/>
                </a:cubicBezTo>
                <a:cubicBezTo>
                  <a:pt x="975" y="720"/>
                  <a:pt x="975" y="719"/>
                  <a:pt x="976" y="719"/>
                </a:cubicBezTo>
                <a:cubicBezTo>
                  <a:pt x="977" y="719"/>
                  <a:pt x="975" y="719"/>
                  <a:pt x="977" y="719"/>
                </a:cubicBezTo>
                <a:cubicBezTo>
                  <a:pt x="977" y="719"/>
                  <a:pt x="978" y="718"/>
                  <a:pt x="978" y="718"/>
                </a:cubicBezTo>
                <a:cubicBezTo>
                  <a:pt x="979" y="718"/>
                  <a:pt x="979" y="718"/>
                  <a:pt x="979" y="718"/>
                </a:cubicBezTo>
                <a:cubicBezTo>
                  <a:pt x="980" y="718"/>
                  <a:pt x="979" y="718"/>
                  <a:pt x="980" y="718"/>
                </a:cubicBezTo>
                <a:cubicBezTo>
                  <a:pt x="981" y="718"/>
                  <a:pt x="981" y="718"/>
                  <a:pt x="982" y="717"/>
                </a:cubicBezTo>
                <a:cubicBezTo>
                  <a:pt x="982" y="716"/>
                  <a:pt x="982" y="716"/>
                  <a:pt x="982" y="716"/>
                </a:cubicBezTo>
                <a:cubicBezTo>
                  <a:pt x="983" y="716"/>
                  <a:pt x="982" y="716"/>
                  <a:pt x="983" y="716"/>
                </a:cubicBezTo>
                <a:cubicBezTo>
                  <a:pt x="983" y="716"/>
                  <a:pt x="984" y="715"/>
                  <a:pt x="984" y="715"/>
                </a:cubicBezTo>
                <a:cubicBezTo>
                  <a:pt x="984" y="714"/>
                  <a:pt x="984" y="714"/>
                  <a:pt x="984" y="713"/>
                </a:cubicBezTo>
                <a:cubicBezTo>
                  <a:pt x="984" y="713"/>
                  <a:pt x="985" y="712"/>
                  <a:pt x="984" y="712"/>
                </a:cubicBezTo>
                <a:cubicBezTo>
                  <a:pt x="984" y="712"/>
                  <a:pt x="984" y="711"/>
                  <a:pt x="984" y="711"/>
                </a:cubicBezTo>
                <a:cubicBezTo>
                  <a:pt x="984" y="711"/>
                  <a:pt x="984" y="711"/>
                  <a:pt x="984" y="711"/>
                </a:cubicBezTo>
                <a:cubicBezTo>
                  <a:pt x="984" y="710"/>
                  <a:pt x="984" y="708"/>
                  <a:pt x="984" y="707"/>
                </a:cubicBezTo>
                <a:cubicBezTo>
                  <a:pt x="983" y="707"/>
                  <a:pt x="984" y="706"/>
                  <a:pt x="984" y="706"/>
                </a:cubicBezTo>
                <a:cubicBezTo>
                  <a:pt x="984" y="705"/>
                  <a:pt x="983" y="706"/>
                  <a:pt x="983" y="705"/>
                </a:cubicBezTo>
                <a:cubicBezTo>
                  <a:pt x="983" y="704"/>
                  <a:pt x="984" y="704"/>
                  <a:pt x="984" y="703"/>
                </a:cubicBezTo>
                <a:cubicBezTo>
                  <a:pt x="983" y="703"/>
                  <a:pt x="983" y="703"/>
                  <a:pt x="983" y="702"/>
                </a:cubicBezTo>
                <a:cubicBezTo>
                  <a:pt x="983" y="702"/>
                  <a:pt x="983" y="702"/>
                  <a:pt x="983" y="702"/>
                </a:cubicBezTo>
                <a:cubicBezTo>
                  <a:pt x="983" y="701"/>
                  <a:pt x="983" y="702"/>
                  <a:pt x="983" y="701"/>
                </a:cubicBezTo>
                <a:cubicBezTo>
                  <a:pt x="983" y="701"/>
                  <a:pt x="983" y="700"/>
                  <a:pt x="982" y="700"/>
                </a:cubicBezTo>
                <a:cubicBezTo>
                  <a:pt x="982" y="700"/>
                  <a:pt x="983" y="699"/>
                  <a:pt x="982" y="699"/>
                </a:cubicBezTo>
                <a:cubicBezTo>
                  <a:pt x="982" y="699"/>
                  <a:pt x="982" y="696"/>
                  <a:pt x="982" y="696"/>
                </a:cubicBezTo>
                <a:cubicBezTo>
                  <a:pt x="982" y="695"/>
                  <a:pt x="982" y="695"/>
                  <a:pt x="981" y="694"/>
                </a:cubicBezTo>
                <a:cubicBezTo>
                  <a:pt x="980" y="694"/>
                  <a:pt x="980" y="693"/>
                  <a:pt x="980" y="692"/>
                </a:cubicBezTo>
                <a:cubicBezTo>
                  <a:pt x="980" y="691"/>
                  <a:pt x="980" y="690"/>
                  <a:pt x="980" y="689"/>
                </a:cubicBezTo>
                <a:cubicBezTo>
                  <a:pt x="980" y="688"/>
                  <a:pt x="980" y="688"/>
                  <a:pt x="980" y="688"/>
                </a:cubicBezTo>
                <a:cubicBezTo>
                  <a:pt x="981" y="687"/>
                  <a:pt x="982" y="687"/>
                  <a:pt x="982" y="687"/>
                </a:cubicBezTo>
                <a:cubicBezTo>
                  <a:pt x="983" y="686"/>
                  <a:pt x="983" y="686"/>
                  <a:pt x="983" y="685"/>
                </a:cubicBezTo>
                <a:cubicBezTo>
                  <a:pt x="984" y="685"/>
                  <a:pt x="984" y="685"/>
                  <a:pt x="984" y="684"/>
                </a:cubicBezTo>
                <a:cubicBezTo>
                  <a:pt x="984" y="684"/>
                  <a:pt x="985" y="684"/>
                  <a:pt x="985" y="683"/>
                </a:cubicBezTo>
                <a:cubicBezTo>
                  <a:pt x="986" y="683"/>
                  <a:pt x="986" y="682"/>
                  <a:pt x="987" y="682"/>
                </a:cubicBezTo>
                <a:cubicBezTo>
                  <a:pt x="987" y="682"/>
                  <a:pt x="987" y="681"/>
                  <a:pt x="987" y="681"/>
                </a:cubicBezTo>
                <a:cubicBezTo>
                  <a:pt x="987" y="680"/>
                  <a:pt x="987" y="680"/>
                  <a:pt x="987" y="679"/>
                </a:cubicBezTo>
                <a:cubicBezTo>
                  <a:pt x="987" y="679"/>
                  <a:pt x="988" y="679"/>
                  <a:pt x="987" y="679"/>
                </a:cubicBezTo>
                <a:cubicBezTo>
                  <a:pt x="987" y="679"/>
                  <a:pt x="987" y="678"/>
                  <a:pt x="987" y="678"/>
                </a:cubicBezTo>
                <a:cubicBezTo>
                  <a:pt x="988" y="678"/>
                  <a:pt x="988" y="678"/>
                  <a:pt x="989" y="678"/>
                </a:cubicBezTo>
                <a:cubicBezTo>
                  <a:pt x="989" y="678"/>
                  <a:pt x="990" y="679"/>
                  <a:pt x="990" y="678"/>
                </a:cubicBezTo>
                <a:cubicBezTo>
                  <a:pt x="990" y="678"/>
                  <a:pt x="991" y="679"/>
                  <a:pt x="991" y="678"/>
                </a:cubicBezTo>
                <a:cubicBezTo>
                  <a:pt x="991" y="678"/>
                  <a:pt x="992" y="678"/>
                  <a:pt x="992" y="678"/>
                </a:cubicBezTo>
                <a:cubicBezTo>
                  <a:pt x="993" y="678"/>
                  <a:pt x="994" y="678"/>
                  <a:pt x="994" y="677"/>
                </a:cubicBezTo>
                <a:cubicBezTo>
                  <a:pt x="994" y="677"/>
                  <a:pt x="996" y="676"/>
                  <a:pt x="996" y="676"/>
                </a:cubicBezTo>
                <a:cubicBezTo>
                  <a:pt x="997" y="676"/>
                  <a:pt x="997" y="675"/>
                  <a:pt x="998" y="675"/>
                </a:cubicBezTo>
                <a:cubicBezTo>
                  <a:pt x="998" y="675"/>
                  <a:pt x="999" y="675"/>
                  <a:pt x="999" y="675"/>
                </a:cubicBezTo>
                <a:cubicBezTo>
                  <a:pt x="999" y="674"/>
                  <a:pt x="999" y="674"/>
                  <a:pt x="999" y="674"/>
                </a:cubicBezTo>
                <a:cubicBezTo>
                  <a:pt x="1000" y="674"/>
                  <a:pt x="1000" y="674"/>
                  <a:pt x="1000" y="674"/>
                </a:cubicBezTo>
                <a:cubicBezTo>
                  <a:pt x="1000" y="674"/>
                  <a:pt x="1000" y="674"/>
                  <a:pt x="1000" y="674"/>
                </a:cubicBezTo>
                <a:cubicBezTo>
                  <a:pt x="1001" y="674"/>
                  <a:pt x="1001" y="674"/>
                  <a:pt x="1001" y="674"/>
                </a:cubicBezTo>
                <a:cubicBezTo>
                  <a:pt x="1001" y="674"/>
                  <a:pt x="1002" y="673"/>
                  <a:pt x="1002" y="673"/>
                </a:cubicBezTo>
                <a:cubicBezTo>
                  <a:pt x="1004" y="672"/>
                  <a:pt x="1003" y="671"/>
                  <a:pt x="1004" y="671"/>
                </a:cubicBezTo>
                <a:cubicBezTo>
                  <a:pt x="1005" y="671"/>
                  <a:pt x="1005" y="671"/>
                  <a:pt x="1005" y="671"/>
                </a:cubicBezTo>
                <a:cubicBezTo>
                  <a:pt x="1005" y="670"/>
                  <a:pt x="1006" y="670"/>
                  <a:pt x="1006" y="670"/>
                </a:cubicBezTo>
                <a:cubicBezTo>
                  <a:pt x="1006" y="669"/>
                  <a:pt x="1006" y="669"/>
                  <a:pt x="1006" y="668"/>
                </a:cubicBezTo>
                <a:cubicBezTo>
                  <a:pt x="1006" y="668"/>
                  <a:pt x="1007" y="668"/>
                  <a:pt x="1007" y="668"/>
                </a:cubicBezTo>
                <a:cubicBezTo>
                  <a:pt x="1008" y="666"/>
                  <a:pt x="1009" y="666"/>
                  <a:pt x="1008" y="664"/>
                </a:cubicBezTo>
                <a:cubicBezTo>
                  <a:pt x="1009" y="664"/>
                  <a:pt x="1009" y="664"/>
                  <a:pt x="1009" y="663"/>
                </a:cubicBezTo>
                <a:cubicBezTo>
                  <a:pt x="1010" y="663"/>
                  <a:pt x="1009" y="662"/>
                  <a:pt x="1009" y="662"/>
                </a:cubicBezTo>
                <a:cubicBezTo>
                  <a:pt x="1008" y="661"/>
                  <a:pt x="1008" y="657"/>
                  <a:pt x="1009" y="657"/>
                </a:cubicBezTo>
                <a:cubicBezTo>
                  <a:pt x="1009" y="657"/>
                  <a:pt x="1009" y="656"/>
                  <a:pt x="1009" y="655"/>
                </a:cubicBezTo>
                <a:cubicBezTo>
                  <a:pt x="1009" y="655"/>
                  <a:pt x="1009" y="654"/>
                  <a:pt x="1009" y="654"/>
                </a:cubicBezTo>
                <a:cubicBezTo>
                  <a:pt x="1009" y="653"/>
                  <a:pt x="1010" y="653"/>
                  <a:pt x="1010" y="653"/>
                </a:cubicBezTo>
                <a:cubicBezTo>
                  <a:pt x="1009" y="653"/>
                  <a:pt x="1010" y="652"/>
                  <a:pt x="1009" y="652"/>
                </a:cubicBezTo>
                <a:cubicBezTo>
                  <a:pt x="1009" y="652"/>
                  <a:pt x="1009" y="649"/>
                  <a:pt x="1009" y="649"/>
                </a:cubicBezTo>
                <a:cubicBezTo>
                  <a:pt x="1010" y="649"/>
                  <a:pt x="1009" y="647"/>
                  <a:pt x="1009" y="647"/>
                </a:cubicBezTo>
                <a:cubicBezTo>
                  <a:pt x="1009" y="646"/>
                  <a:pt x="1009" y="643"/>
                  <a:pt x="1009" y="643"/>
                </a:cubicBezTo>
                <a:cubicBezTo>
                  <a:pt x="1009" y="643"/>
                  <a:pt x="1009" y="643"/>
                  <a:pt x="1009" y="642"/>
                </a:cubicBezTo>
                <a:cubicBezTo>
                  <a:pt x="1008" y="643"/>
                  <a:pt x="1009" y="639"/>
                  <a:pt x="1008" y="640"/>
                </a:cubicBezTo>
                <a:cubicBezTo>
                  <a:pt x="1008" y="639"/>
                  <a:pt x="1008" y="638"/>
                  <a:pt x="1008" y="638"/>
                </a:cubicBezTo>
                <a:cubicBezTo>
                  <a:pt x="1008" y="638"/>
                  <a:pt x="1009" y="638"/>
                  <a:pt x="1009" y="638"/>
                </a:cubicBezTo>
                <a:cubicBezTo>
                  <a:pt x="1009" y="637"/>
                  <a:pt x="1009" y="636"/>
                  <a:pt x="1009" y="636"/>
                </a:cubicBezTo>
                <a:cubicBezTo>
                  <a:pt x="1009" y="635"/>
                  <a:pt x="1008" y="636"/>
                  <a:pt x="1008" y="635"/>
                </a:cubicBezTo>
                <a:cubicBezTo>
                  <a:pt x="1007" y="634"/>
                  <a:pt x="1006" y="633"/>
                  <a:pt x="1005" y="632"/>
                </a:cubicBezTo>
                <a:cubicBezTo>
                  <a:pt x="1005" y="632"/>
                  <a:pt x="1005" y="631"/>
                  <a:pt x="1005" y="631"/>
                </a:cubicBezTo>
                <a:cubicBezTo>
                  <a:pt x="1005" y="631"/>
                  <a:pt x="1004" y="631"/>
                  <a:pt x="1004" y="631"/>
                </a:cubicBezTo>
                <a:cubicBezTo>
                  <a:pt x="1004" y="630"/>
                  <a:pt x="1004" y="629"/>
                  <a:pt x="1004" y="629"/>
                </a:cubicBezTo>
                <a:cubicBezTo>
                  <a:pt x="1004" y="627"/>
                  <a:pt x="1004" y="627"/>
                  <a:pt x="1004" y="626"/>
                </a:cubicBezTo>
                <a:cubicBezTo>
                  <a:pt x="1004" y="625"/>
                  <a:pt x="1003" y="624"/>
                  <a:pt x="1003" y="623"/>
                </a:cubicBezTo>
                <a:cubicBezTo>
                  <a:pt x="1004" y="622"/>
                  <a:pt x="1004" y="621"/>
                  <a:pt x="1004" y="620"/>
                </a:cubicBezTo>
                <a:cubicBezTo>
                  <a:pt x="1004" y="619"/>
                  <a:pt x="1005" y="619"/>
                  <a:pt x="1005" y="618"/>
                </a:cubicBezTo>
                <a:cubicBezTo>
                  <a:pt x="1005" y="617"/>
                  <a:pt x="1005" y="617"/>
                  <a:pt x="1004" y="617"/>
                </a:cubicBezTo>
                <a:cubicBezTo>
                  <a:pt x="1004" y="616"/>
                  <a:pt x="1004" y="617"/>
                  <a:pt x="1004" y="616"/>
                </a:cubicBezTo>
                <a:cubicBezTo>
                  <a:pt x="1004" y="616"/>
                  <a:pt x="1004" y="616"/>
                  <a:pt x="1003" y="616"/>
                </a:cubicBezTo>
                <a:cubicBezTo>
                  <a:pt x="1002" y="615"/>
                  <a:pt x="1002" y="614"/>
                  <a:pt x="1001" y="614"/>
                </a:cubicBezTo>
                <a:cubicBezTo>
                  <a:pt x="1001" y="614"/>
                  <a:pt x="1002" y="611"/>
                  <a:pt x="1001" y="611"/>
                </a:cubicBezTo>
                <a:cubicBezTo>
                  <a:pt x="1000" y="610"/>
                  <a:pt x="1001" y="611"/>
                  <a:pt x="1001" y="610"/>
                </a:cubicBezTo>
                <a:cubicBezTo>
                  <a:pt x="1001" y="609"/>
                  <a:pt x="1002" y="610"/>
                  <a:pt x="1002" y="609"/>
                </a:cubicBezTo>
                <a:cubicBezTo>
                  <a:pt x="1002" y="609"/>
                  <a:pt x="1002" y="606"/>
                  <a:pt x="1003" y="606"/>
                </a:cubicBezTo>
                <a:cubicBezTo>
                  <a:pt x="1003" y="605"/>
                  <a:pt x="1002" y="605"/>
                  <a:pt x="1003" y="605"/>
                </a:cubicBezTo>
                <a:cubicBezTo>
                  <a:pt x="1003" y="605"/>
                  <a:pt x="1003" y="604"/>
                  <a:pt x="1004" y="603"/>
                </a:cubicBezTo>
                <a:cubicBezTo>
                  <a:pt x="1004" y="602"/>
                  <a:pt x="1005" y="602"/>
                  <a:pt x="1005" y="602"/>
                </a:cubicBezTo>
                <a:cubicBezTo>
                  <a:pt x="1005" y="601"/>
                  <a:pt x="1004" y="601"/>
                  <a:pt x="1005" y="601"/>
                </a:cubicBezTo>
                <a:cubicBezTo>
                  <a:pt x="1005" y="601"/>
                  <a:pt x="1004" y="599"/>
                  <a:pt x="1005" y="599"/>
                </a:cubicBezTo>
                <a:cubicBezTo>
                  <a:pt x="1005" y="598"/>
                  <a:pt x="1005" y="598"/>
                  <a:pt x="1005" y="597"/>
                </a:cubicBezTo>
                <a:cubicBezTo>
                  <a:pt x="1005" y="596"/>
                  <a:pt x="1006" y="597"/>
                  <a:pt x="1006" y="596"/>
                </a:cubicBezTo>
                <a:cubicBezTo>
                  <a:pt x="1006" y="595"/>
                  <a:pt x="1007" y="594"/>
                  <a:pt x="1007" y="593"/>
                </a:cubicBezTo>
                <a:cubicBezTo>
                  <a:pt x="1009" y="592"/>
                  <a:pt x="1010" y="593"/>
                  <a:pt x="1011" y="592"/>
                </a:cubicBezTo>
                <a:cubicBezTo>
                  <a:pt x="1011" y="591"/>
                  <a:pt x="1012" y="591"/>
                  <a:pt x="1012" y="590"/>
                </a:cubicBezTo>
                <a:cubicBezTo>
                  <a:pt x="1012" y="589"/>
                  <a:pt x="1012" y="589"/>
                  <a:pt x="1012" y="589"/>
                </a:cubicBezTo>
                <a:cubicBezTo>
                  <a:pt x="1013" y="589"/>
                  <a:pt x="1014" y="589"/>
                  <a:pt x="1015" y="588"/>
                </a:cubicBezTo>
                <a:cubicBezTo>
                  <a:pt x="1015" y="587"/>
                  <a:pt x="1015" y="587"/>
                  <a:pt x="1015" y="586"/>
                </a:cubicBezTo>
                <a:cubicBezTo>
                  <a:pt x="1015" y="586"/>
                  <a:pt x="1015" y="586"/>
                  <a:pt x="1015" y="586"/>
                </a:cubicBezTo>
                <a:cubicBezTo>
                  <a:pt x="1015" y="585"/>
                  <a:pt x="1015" y="585"/>
                  <a:pt x="1016" y="584"/>
                </a:cubicBezTo>
                <a:cubicBezTo>
                  <a:pt x="1017" y="584"/>
                  <a:pt x="1017" y="584"/>
                  <a:pt x="1017" y="583"/>
                </a:cubicBezTo>
                <a:cubicBezTo>
                  <a:pt x="1016" y="581"/>
                  <a:pt x="1018" y="582"/>
                  <a:pt x="1018" y="581"/>
                </a:cubicBezTo>
                <a:cubicBezTo>
                  <a:pt x="1018" y="580"/>
                  <a:pt x="1019" y="580"/>
                  <a:pt x="1019" y="579"/>
                </a:cubicBezTo>
                <a:cubicBezTo>
                  <a:pt x="1018" y="578"/>
                  <a:pt x="1020" y="578"/>
                  <a:pt x="1020" y="577"/>
                </a:cubicBezTo>
                <a:cubicBezTo>
                  <a:pt x="1020" y="576"/>
                  <a:pt x="1020" y="577"/>
                  <a:pt x="1021" y="576"/>
                </a:cubicBezTo>
                <a:cubicBezTo>
                  <a:pt x="1021" y="576"/>
                  <a:pt x="1022" y="576"/>
                  <a:pt x="1022" y="576"/>
                </a:cubicBezTo>
                <a:cubicBezTo>
                  <a:pt x="1022" y="575"/>
                  <a:pt x="1023" y="575"/>
                  <a:pt x="1023" y="574"/>
                </a:cubicBezTo>
                <a:cubicBezTo>
                  <a:pt x="1023" y="573"/>
                  <a:pt x="1023" y="573"/>
                  <a:pt x="1024" y="573"/>
                </a:cubicBezTo>
                <a:cubicBezTo>
                  <a:pt x="1024" y="573"/>
                  <a:pt x="1024" y="573"/>
                  <a:pt x="1024" y="572"/>
                </a:cubicBezTo>
                <a:cubicBezTo>
                  <a:pt x="1025" y="572"/>
                  <a:pt x="1025" y="572"/>
                  <a:pt x="1025" y="572"/>
                </a:cubicBezTo>
                <a:cubicBezTo>
                  <a:pt x="1025" y="571"/>
                  <a:pt x="1025" y="571"/>
                  <a:pt x="1026" y="571"/>
                </a:cubicBezTo>
                <a:cubicBezTo>
                  <a:pt x="1027" y="571"/>
                  <a:pt x="1027" y="571"/>
                  <a:pt x="1027" y="570"/>
                </a:cubicBezTo>
                <a:cubicBezTo>
                  <a:pt x="1027" y="570"/>
                  <a:pt x="1027" y="570"/>
                  <a:pt x="1027" y="570"/>
                </a:cubicBezTo>
                <a:cubicBezTo>
                  <a:pt x="1027" y="570"/>
                  <a:pt x="1027" y="569"/>
                  <a:pt x="1028" y="569"/>
                </a:cubicBezTo>
                <a:cubicBezTo>
                  <a:pt x="1029" y="569"/>
                  <a:pt x="1028" y="568"/>
                  <a:pt x="1029" y="568"/>
                </a:cubicBezTo>
                <a:cubicBezTo>
                  <a:pt x="1030" y="568"/>
                  <a:pt x="1029" y="568"/>
                  <a:pt x="1030" y="568"/>
                </a:cubicBezTo>
                <a:cubicBezTo>
                  <a:pt x="1030" y="567"/>
                  <a:pt x="1031" y="567"/>
                  <a:pt x="1031" y="567"/>
                </a:cubicBezTo>
                <a:cubicBezTo>
                  <a:pt x="1032" y="567"/>
                  <a:pt x="1033" y="566"/>
                  <a:pt x="1033" y="566"/>
                </a:cubicBezTo>
                <a:cubicBezTo>
                  <a:pt x="1033" y="564"/>
                  <a:pt x="1038" y="563"/>
                  <a:pt x="1038" y="561"/>
                </a:cubicBezTo>
                <a:cubicBezTo>
                  <a:pt x="1038" y="559"/>
                  <a:pt x="1039" y="560"/>
                  <a:pt x="1039" y="560"/>
                </a:cubicBezTo>
                <a:cubicBezTo>
                  <a:pt x="1039" y="559"/>
                  <a:pt x="1041" y="559"/>
                  <a:pt x="1041" y="558"/>
                </a:cubicBezTo>
                <a:cubicBezTo>
                  <a:pt x="1041" y="557"/>
                  <a:pt x="1041" y="556"/>
                  <a:pt x="1041" y="556"/>
                </a:cubicBezTo>
                <a:cubicBezTo>
                  <a:pt x="1042" y="555"/>
                  <a:pt x="1043" y="555"/>
                  <a:pt x="1044" y="555"/>
                </a:cubicBezTo>
                <a:cubicBezTo>
                  <a:pt x="1044" y="554"/>
                  <a:pt x="1043" y="554"/>
                  <a:pt x="1044" y="554"/>
                </a:cubicBezTo>
                <a:cubicBezTo>
                  <a:pt x="1044" y="554"/>
                  <a:pt x="1045" y="554"/>
                  <a:pt x="1045" y="554"/>
                </a:cubicBezTo>
                <a:cubicBezTo>
                  <a:pt x="1045" y="553"/>
                  <a:pt x="1044" y="553"/>
                  <a:pt x="1045" y="552"/>
                </a:cubicBezTo>
                <a:cubicBezTo>
                  <a:pt x="1046" y="552"/>
                  <a:pt x="1046" y="551"/>
                  <a:pt x="1047" y="550"/>
                </a:cubicBezTo>
                <a:cubicBezTo>
                  <a:pt x="1047" y="550"/>
                  <a:pt x="1047" y="549"/>
                  <a:pt x="1047" y="549"/>
                </a:cubicBezTo>
                <a:cubicBezTo>
                  <a:pt x="1047" y="549"/>
                  <a:pt x="1047" y="548"/>
                  <a:pt x="1048" y="548"/>
                </a:cubicBezTo>
                <a:cubicBezTo>
                  <a:pt x="1048" y="547"/>
                  <a:pt x="1048" y="546"/>
                  <a:pt x="1048" y="545"/>
                </a:cubicBezTo>
                <a:cubicBezTo>
                  <a:pt x="1049" y="545"/>
                  <a:pt x="1049" y="544"/>
                  <a:pt x="1050" y="544"/>
                </a:cubicBezTo>
                <a:cubicBezTo>
                  <a:pt x="1050" y="543"/>
                  <a:pt x="1050" y="543"/>
                  <a:pt x="1050" y="542"/>
                </a:cubicBezTo>
                <a:cubicBezTo>
                  <a:pt x="1050" y="542"/>
                  <a:pt x="1050" y="542"/>
                  <a:pt x="1050" y="541"/>
                </a:cubicBezTo>
                <a:cubicBezTo>
                  <a:pt x="1050" y="541"/>
                  <a:pt x="1050" y="541"/>
                  <a:pt x="1050" y="541"/>
                </a:cubicBezTo>
                <a:cubicBezTo>
                  <a:pt x="1050" y="541"/>
                  <a:pt x="1051" y="540"/>
                  <a:pt x="1051" y="539"/>
                </a:cubicBezTo>
                <a:cubicBezTo>
                  <a:pt x="1051" y="539"/>
                  <a:pt x="1051" y="539"/>
                  <a:pt x="1051" y="539"/>
                </a:cubicBezTo>
                <a:cubicBezTo>
                  <a:pt x="1051" y="539"/>
                  <a:pt x="1051" y="538"/>
                  <a:pt x="1051" y="538"/>
                </a:cubicBezTo>
                <a:cubicBezTo>
                  <a:pt x="1051" y="538"/>
                  <a:pt x="1051" y="538"/>
                  <a:pt x="1052" y="537"/>
                </a:cubicBezTo>
                <a:cubicBezTo>
                  <a:pt x="1052" y="537"/>
                  <a:pt x="1052" y="536"/>
                  <a:pt x="1052" y="535"/>
                </a:cubicBezTo>
                <a:cubicBezTo>
                  <a:pt x="1052" y="534"/>
                  <a:pt x="1053" y="534"/>
                  <a:pt x="1053" y="534"/>
                </a:cubicBezTo>
                <a:cubicBezTo>
                  <a:pt x="1053" y="532"/>
                  <a:pt x="1053" y="532"/>
                  <a:pt x="1054" y="532"/>
                </a:cubicBezTo>
                <a:cubicBezTo>
                  <a:pt x="1055" y="531"/>
                  <a:pt x="1055" y="531"/>
                  <a:pt x="1055" y="530"/>
                </a:cubicBezTo>
                <a:cubicBezTo>
                  <a:pt x="1055" y="530"/>
                  <a:pt x="1055" y="530"/>
                  <a:pt x="1056" y="530"/>
                </a:cubicBezTo>
                <a:cubicBezTo>
                  <a:pt x="1056" y="529"/>
                  <a:pt x="1056" y="529"/>
                  <a:pt x="1056" y="528"/>
                </a:cubicBezTo>
                <a:cubicBezTo>
                  <a:pt x="1056" y="527"/>
                  <a:pt x="1056" y="526"/>
                  <a:pt x="1057" y="526"/>
                </a:cubicBezTo>
                <a:cubicBezTo>
                  <a:pt x="1058" y="526"/>
                  <a:pt x="1057" y="524"/>
                  <a:pt x="1058" y="523"/>
                </a:cubicBezTo>
                <a:cubicBezTo>
                  <a:pt x="1058" y="522"/>
                  <a:pt x="1058" y="523"/>
                  <a:pt x="1058" y="522"/>
                </a:cubicBezTo>
                <a:cubicBezTo>
                  <a:pt x="1058" y="522"/>
                  <a:pt x="1058" y="521"/>
                  <a:pt x="1058" y="521"/>
                </a:cubicBezTo>
                <a:cubicBezTo>
                  <a:pt x="1058" y="521"/>
                  <a:pt x="1058" y="521"/>
                  <a:pt x="1058" y="521"/>
                </a:cubicBezTo>
                <a:cubicBezTo>
                  <a:pt x="1059" y="520"/>
                  <a:pt x="1058" y="519"/>
                  <a:pt x="1059" y="518"/>
                </a:cubicBezTo>
                <a:cubicBezTo>
                  <a:pt x="1059" y="518"/>
                  <a:pt x="1059" y="518"/>
                  <a:pt x="1059" y="518"/>
                </a:cubicBezTo>
                <a:cubicBezTo>
                  <a:pt x="1059" y="517"/>
                  <a:pt x="1059" y="516"/>
                  <a:pt x="1059" y="515"/>
                </a:cubicBezTo>
                <a:cubicBezTo>
                  <a:pt x="1059" y="515"/>
                  <a:pt x="1059" y="514"/>
                  <a:pt x="1059" y="513"/>
                </a:cubicBezTo>
                <a:cubicBezTo>
                  <a:pt x="1059" y="513"/>
                  <a:pt x="1060" y="512"/>
                  <a:pt x="1059" y="512"/>
                </a:cubicBezTo>
                <a:cubicBezTo>
                  <a:pt x="1058" y="511"/>
                  <a:pt x="1057" y="512"/>
                  <a:pt x="1056" y="512"/>
                </a:cubicBezTo>
                <a:cubicBezTo>
                  <a:pt x="1056" y="512"/>
                  <a:pt x="1056" y="513"/>
                  <a:pt x="1056" y="513"/>
                </a:cubicBezTo>
                <a:cubicBezTo>
                  <a:pt x="1056" y="513"/>
                  <a:pt x="1055" y="513"/>
                  <a:pt x="1055" y="513"/>
                </a:cubicBezTo>
                <a:cubicBezTo>
                  <a:pt x="1054" y="513"/>
                  <a:pt x="1056" y="513"/>
                  <a:pt x="1054" y="513"/>
                </a:cubicBezTo>
                <a:cubicBezTo>
                  <a:pt x="1054" y="513"/>
                  <a:pt x="1054" y="513"/>
                  <a:pt x="1053" y="513"/>
                </a:cubicBezTo>
                <a:cubicBezTo>
                  <a:pt x="1053" y="513"/>
                  <a:pt x="1053" y="514"/>
                  <a:pt x="1053" y="514"/>
                </a:cubicBezTo>
                <a:cubicBezTo>
                  <a:pt x="1052" y="514"/>
                  <a:pt x="1051" y="514"/>
                  <a:pt x="1049" y="514"/>
                </a:cubicBezTo>
                <a:cubicBezTo>
                  <a:pt x="1049" y="514"/>
                  <a:pt x="1048" y="514"/>
                  <a:pt x="1048" y="514"/>
                </a:cubicBezTo>
                <a:cubicBezTo>
                  <a:pt x="1046" y="514"/>
                  <a:pt x="1048" y="514"/>
                  <a:pt x="1047" y="514"/>
                </a:cubicBezTo>
                <a:cubicBezTo>
                  <a:pt x="1047" y="514"/>
                  <a:pt x="1046" y="514"/>
                  <a:pt x="1046" y="514"/>
                </a:cubicBezTo>
                <a:cubicBezTo>
                  <a:pt x="1046" y="515"/>
                  <a:pt x="1046" y="515"/>
                  <a:pt x="1045" y="515"/>
                </a:cubicBezTo>
                <a:cubicBezTo>
                  <a:pt x="1045" y="515"/>
                  <a:pt x="1044" y="515"/>
                  <a:pt x="1044" y="515"/>
                </a:cubicBezTo>
                <a:cubicBezTo>
                  <a:pt x="1044" y="515"/>
                  <a:pt x="1044" y="515"/>
                  <a:pt x="1043" y="516"/>
                </a:cubicBezTo>
                <a:cubicBezTo>
                  <a:pt x="1042" y="516"/>
                  <a:pt x="1042" y="516"/>
                  <a:pt x="1042" y="516"/>
                </a:cubicBezTo>
                <a:cubicBezTo>
                  <a:pt x="1041" y="517"/>
                  <a:pt x="1041" y="517"/>
                  <a:pt x="1041" y="517"/>
                </a:cubicBezTo>
                <a:cubicBezTo>
                  <a:pt x="1040" y="517"/>
                  <a:pt x="1041" y="517"/>
                  <a:pt x="1040" y="517"/>
                </a:cubicBezTo>
                <a:cubicBezTo>
                  <a:pt x="1040" y="517"/>
                  <a:pt x="1040" y="517"/>
                  <a:pt x="1040" y="517"/>
                </a:cubicBezTo>
                <a:cubicBezTo>
                  <a:pt x="1039" y="517"/>
                  <a:pt x="1040" y="517"/>
                  <a:pt x="1039" y="517"/>
                </a:cubicBezTo>
                <a:cubicBezTo>
                  <a:pt x="1038" y="517"/>
                  <a:pt x="1038" y="518"/>
                  <a:pt x="1037" y="518"/>
                </a:cubicBezTo>
                <a:cubicBezTo>
                  <a:pt x="1037" y="518"/>
                  <a:pt x="1036" y="518"/>
                  <a:pt x="1036" y="517"/>
                </a:cubicBezTo>
                <a:cubicBezTo>
                  <a:pt x="1035" y="516"/>
                  <a:pt x="1032" y="517"/>
                  <a:pt x="1031" y="518"/>
                </a:cubicBezTo>
                <a:cubicBezTo>
                  <a:pt x="1030" y="518"/>
                  <a:pt x="1029" y="519"/>
                  <a:pt x="1028" y="519"/>
                </a:cubicBezTo>
                <a:cubicBezTo>
                  <a:pt x="1027" y="518"/>
                  <a:pt x="1027" y="518"/>
                  <a:pt x="1027" y="518"/>
                </a:cubicBezTo>
                <a:cubicBezTo>
                  <a:pt x="1026" y="518"/>
                  <a:pt x="1027" y="518"/>
                  <a:pt x="1027" y="517"/>
                </a:cubicBezTo>
                <a:cubicBezTo>
                  <a:pt x="1026" y="517"/>
                  <a:pt x="1026" y="517"/>
                  <a:pt x="1026" y="517"/>
                </a:cubicBezTo>
                <a:cubicBezTo>
                  <a:pt x="1026" y="517"/>
                  <a:pt x="1025" y="517"/>
                  <a:pt x="1025" y="517"/>
                </a:cubicBezTo>
                <a:cubicBezTo>
                  <a:pt x="1024" y="516"/>
                  <a:pt x="1024" y="516"/>
                  <a:pt x="1024" y="515"/>
                </a:cubicBezTo>
                <a:cubicBezTo>
                  <a:pt x="1023" y="515"/>
                  <a:pt x="1023" y="515"/>
                  <a:pt x="1023" y="514"/>
                </a:cubicBezTo>
                <a:cubicBezTo>
                  <a:pt x="1023" y="513"/>
                  <a:pt x="1022" y="512"/>
                  <a:pt x="1021" y="512"/>
                </a:cubicBezTo>
                <a:cubicBezTo>
                  <a:pt x="1021" y="512"/>
                  <a:pt x="1021" y="511"/>
                  <a:pt x="1021" y="511"/>
                </a:cubicBezTo>
                <a:cubicBezTo>
                  <a:pt x="1022" y="510"/>
                  <a:pt x="1022" y="511"/>
                  <a:pt x="1022" y="511"/>
                </a:cubicBezTo>
                <a:cubicBezTo>
                  <a:pt x="1022" y="510"/>
                  <a:pt x="1023" y="509"/>
                  <a:pt x="1023" y="509"/>
                </a:cubicBezTo>
                <a:cubicBezTo>
                  <a:pt x="1023" y="508"/>
                  <a:pt x="1023" y="508"/>
                  <a:pt x="1023" y="507"/>
                </a:cubicBezTo>
                <a:cubicBezTo>
                  <a:pt x="1022" y="508"/>
                  <a:pt x="1023" y="506"/>
                  <a:pt x="1022" y="506"/>
                </a:cubicBezTo>
                <a:cubicBezTo>
                  <a:pt x="1021" y="506"/>
                  <a:pt x="1020" y="504"/>
                  <a:pt x="1019" y="503"/>
                </a:cubicBezTo>
                <a:cubicBezTo>
                  <a:pt x="1018" y="502"/>
                  <a:pt x="1018" y="503"/>
                  <a:pt x="1018" y="501"/>
                </a:cubicBezTo>
                <a:cubicBezTo>
                  <a:pt x="1018" y="501"/>
                  <a:pt x="1018" y="501"/>
                  <a:pt x="1018" y="500"/>
                </a:cubicBezTo>
                <a:cubicBezTo>
                  <a:pt x="1018" y="500"/>
                  <a:pt x="1017" y="500"/>
                  <a:pt x="1017" y="500"/>
                </a:cubicBezTo>
                <a:cubicBezTo>
                  <a:pt x="1017" y="499"/>
                  <a:pt x="1017" y="499"/>
                  <a:pt x="1017" y="499"/>
                </a:cubicBezTo>
                <a:cubicBezTo>
                  <a:pt x="1016" y="499"/>
                  <a:pt x="1015" y="498"/>
                  <a:pt x="1015" y="498"/>
                </a:cubicBezTo>
                <a:cubicBezTo>
                  <a:pt x="1013" y="497"/>
                  <a:pt x="1014" y="494"/>
                  <a:pt x="1011" y="493"/>
                </a:cubicBezTo>
                <a:cubicBezTo>
                  <a:pt x="1010" y="493"/>
                  <a:pt x="1009" y="493"/>
                  <a:pt x="1009" y="493"/>
                </a:cubicBezTo>
                <a:cubicBezTo>
                  <a:pt x="1009" y="492"/>
                  <a:pt x="1009" y="492"/>
                  <a:pt x="1009" y="492"/>
                </a:cubicBezTo>
                <a:cubicBezTo>
                  <a:pt x="1009" y="491"/>
                  <a:pt x="1008" y="492"/>
                  <a:pt x="1008" y="491"/>
                </a:cubicBezTo>
                <a:cubicBezTo>
                  <a:pt x="1007" y="491"/>
                  <a:pt x="1007" y="489"/>
                  <a:pt x="1006" y="489"/>
                </a:cubicBezTo>
                <a:cubicBezTo>
                  <a:pt x="1006" y="491"/>
                  <a:pt x="1005" y="489"/>
                  <a:pt x="1005" y="489"/>
                </a:cubicBezTo>
                <a:cubicBezTo>
                  <a:pt x="1004" y="488"/>
                  <a:pt x="1004" y="486"/>
                  <a:pt x="1003" y="485"/>
                </a:cubicBezTo>
                <a:cubicBezTo>
                  <a:pt x="1003" y="484"/>
                  <a:pt x="1004" y="481"/>
                  <a:pt x="1003" y="481"/>
                </a:cubicBezTo>
                <a:cubicBezTo>
                  <a:pt x="1003" y="481"/>
                  <a:pt x="1003" y="480"/>
                  <a:pt x="1003" y="479"/>
                </a:cubicBezTo>
                <a:cubicBezTo>
                  <a:pt x="1003" y="479"/>
                  <a:pt x="1003" y="479"/>
                  <a:pt x="1003" y="478"/>
                </a:cubicBezTo>
                <a:cubicBezTo>
                  <a:pt x="1003" y="477"/>
                  <a:pt x="1003" y="478"/>
                  <a:pt x="1002" y="478"/>
                </a:cubicBezTo>
                <a:cubicBezTo>
                  <a:pt x="1002" y="477"/>
                  <a:pt x="1002" y="477"/>
                  <a:pt x="1002" y="477"/>
                </a:cubicBezTo>
                <a:cubicBezTo>
                  <a:pt x="1002" y="477"/>
                  <a:pt x="1002" y="477"/>
                  <a:pt x="1002" y="477"/>
                </a:cubicBezTo>
                <a:cubicBezTo>
                  <a:pt x="1002" y="477"/>
                  <a:pt x="1002" y="476"/>
                  <a:pt x="1002" y="476"/>
                </a:cubicBezTo>
                <a:cubicBezTo>
                  <a:pt x="1002" y="475"/>
                  <a:pt x="1002" y="476"/>
                  <a:pt x="1002" y="475"/>
                </a:cubicBezTo>
                <a:cubicBezTo>
                  <a:pt x="1001" y="474"/>
                  <a:pt x="1000" y="475"/>
                  <a:pt x="999" y="474"/>
                </a:cubicBezTo>
                <a:cubicBezTo>
                  <a:pt x="999" y="473"/>
                  <a:pt x="998" y="472"/>
                  <a:pt x="997" y="471"/>
                </a:cubicBezTo>
                <a:cubicBezTo>
                  <a:pt x="997" y="471"/>
                  <a:pt x="996" y="470"/>
                  <a:pt x="995" y="470"/>
                </a:cubicBezTo>
                <a:cubicBezTo>
                  <a:pt x="995" y="470"/>
                  <a:pt x="995" y="469"/>
                  <a:pt x="995" y="468"/>
                </a:cubicBezTo>
                <a:cubicBezTo>
                  <a:pt x="995" y="468"/>
                  <a:pt x="995" y="468"/>
                  <a:pt x="994" y="467"/>
                </a:cubicBezTo>
                <a:cubicBezTo>
                  <a:pt x="994" y="467"/>
                  <a:pt x="994" y="466"/>
                  <a:pt x="994" y="466"/>
                </a:cubicBezTo>
                <a:cubicBezTo>
                  <a:pt x="994" y="466"/>
                  <a:pt x="994" y="464"/>
                  <a:pt x="994" y="464"/>
                </a:cubicBezTo>
                <a:cubicBezTo>
                  <a:pt x="994" y="464"/>
                  <a:pt x="994" y="463"/>
                  <a:pt x="994" y="462"/>
                </a:cubicBezTo>
                <a:cubicBezTo>
                  <a:pt x="995" y="462"/>
                  <a:pt x="995" y="462"/>
                  <a:pt x="995" y="461"/>
                </a:cubicBezTo>
                <a:cubicBezTo>
                  <a:pt x="995" y="461"/>
                  <a:pt x="994" y="460"/>
                  <a:pt x="994" y="459"/>
                </a:cubicBezTo>
                <a:cubicBezTo>
                  <a:pt x="994" y="459"/>
                  <a:pt x="995" y="459"/>
                  <a:pt x="995" y="459"/>
                </a:cubicBezTo>
                <a:cubicBezTo>
                  <a:pt x="994" y="459"/>
                  <a:pt x="994" y="459"/>
                  <a:pt x="994" y="458"/>
                </a:cubicBezTo>
                <a:cubicBezTo>
                  <a:pt x="994" y="458"/>
                  <a:pt x="994" y="458"/>
                  <a:pt x="994" y="458"/>
                </a:cubicBezTo>
                <a:cubicBezTo>
                  <a:pt x="994" y="457"/>
                  <a:pt x="994" y="457"/>
                  <a:pt x="994" y="456"/>
                </a:cubicBezTo>
                <a:cubicBezTo>
                  <a:pt x="994" y="456"/>
                  <a:pt x="994" y="456"/>
                  <a:pt x="994" y="456"/>
                </a:cubicBezTo>
                <a:cubicBezTo>
                  <a:pt x="994" y="455"/>
                  <a:pt x="993" y="455"/>
                  <a:pt x="993" y="454"/>
                </a:cubicBezTo>
                <a:cubicBezTo>
                  <a:pt x="993" y="454"/>
                  <a:pt x="993" y="454"/>
                  <a:pt x="993" y="453"/>
                </a:cubicBezTo>
                <a:cubicBezTo>
                  <a:pt x="993" y="453"/>
                  <a:pt x="992" y="453"/>
                  <a:pt x="992" y="453"/>
                </a:cubicBezTo>
                <a:cubicBezTo>
                  <a:pt x="992" y="452"/>
                  <a:pt x="992" y="452"/>
                  <a:pt x="992" y="452"/>
                </a:cubicBezTo>
                <a:cubicBezTo>
                  <a:pt x="992" y="450"/>
                  <a:pt x="992" y="451"/>
                  <a:pt x="991" y="450"/>
                </a:cubicBezTo>
                <a:cubicBezTo>
                  <a:pt x="990" y="449"/>
                  <a:pt x="991" y="450"/>
                  <a:pt x="990" y="449"/>
                </a:cubicBezTo>
                <a:cubicBezTo>
                  <a:pt x="989" y="448"/>
                  <a:pt x="988" y="448"/>
                  <a:pt x="988" y="447"/>
                </a:cubicBezTo>
                <a:cubicBezTo>
                  <a:pt x="987" y="447"/>
                  <a:pt x="987" y="446"/>
                  <a:pt x="987" y="446"/>
                </a:cubicBezTo>
                <a:cubicBezTo>
                  <a:pt x="987" y="446"/>
                  <a:pt x="987" y="445"/>
                  <a:pt x="987" y="445"/>
                </a:cubicBezTo>
                <a:cubicBezTo>
                  <a:pt x="987" y="444"/>
                  <a:pt x="987" y="444"/>
                  <a:pt x="987" y="444"/>
                </a:cubicBezTo>
                <a:cubicBezTo>
                  <a:pt x="986" y="444"/>
                  <a:pt x="986" y="445"/>
                  <a:pt x="986" y="444"/>
                </a:cubicBezTo>
                <a:cubicBezTo>
                  <a:pt x="986" y="442"/>
                  <a:pt x="986" y="441"/>
                  <a:pt x="986" y="440"/>
                </a:cubicBezTo>
                <a:cubicBezTo>
                  <a:pt x="986" y="440"/>
                  <a:pt x="987" y="440"/>
                  <a:pt x="987" y="440"/>
                </a:cubicBezTo>
                <a:cubicBezTo>
                  <a:pt x="987" y="439"/>
                  <a:pt x="986" y="439"/>
                  <a:pt x="986" y="438"/>
                </a:cubicBezTo>
                <a:cubicBezTo>
                  <a:pt x="986" y="437"/>
                  <a:pt x="985" y="438"/>
                  <a:pt x="985" y="436"/>
                </a:cubicBezTo>
                <a:cubicBezTo>
                  <a:pt x="985" y="436"/>
                  <a:pt x="985" y="435"/>
                  <a:pt x="984" y="435"/>
                </a:cubicBezTo>
                <a:cubicBezTo>
                  <a:pt x="984" y="435"/>
                  <a:pt x="984" y="435"/>
                  <a:pt x="984" y="434"/>
                </a:cubicBezTo>
                <a:cubicBezTo>
                  <a:pt x="984" y="434"/>
                  <a:pt x="984" y="435"/>
                  <a:pt x="984" y="434"/>
                </a:cubicBezTo>
                <a:cubicBezTo>
                  <a:pt x="984" y="434"/>
                  <a:pt x="983" y="433"/>
                  <a:pt x="983" y="433"/>
                </a:cubicBezTo>
                <a:cubicBezTo>
                  <a:pt x="983" y="432"/>
                  <a:pt x="983" y="431"/>
                  <a:pt x="982" y="431"/>
                </a:cubicBezTo>
                <a:cubicBezTo>
                  <a:pt x="980" y="431"/>
                  <a:pt x="980" y="428"/>
                  <a:pt x="979" y="427"/>
                </a:cubicBezTo>
                <a:cubicBezTo>
                  <a:pt x="979" y="425"/>
                  <a:pt x="978" y="424"/>
                  <a:pt x="978" y="422"/>
                </a:cubicBezTo>
                <a:cubicBezTo>
                  <a:pt x="977" y="421"/>
                  <a:pt x="976" y="421"/>
                  <a:pt x="976" y="420"/>
                </a:cubicBezTo>
                <a:cubicBezTo>
                  <a:pt x="976" y="420"/>
                  <a:pt x="976" y="419"/>
                  <a:pt x="976" y="419"/>
                </a:cubicBezTo>
                <a:cubicBezTo>
                  <a:pt x="976" y="418"/>
                  <a:pt x="976" y="417"/>
                  <a:pt x="975" y="417"/>
                </a:cubicBezTo>
                <a:cubicBezTo>
                  <a:pt x="975" y="416"/>
                  <a:pt x="975" y="416"/>
                  <a:pt x="974" y="415"/>
                </a:cubicBezTo>
                <a:cubicBezTo>
                  <a:pt x="973" y="414"/>
                  <a:pt x="972" y="412"/>
                  <a:pt x="972" y="411"/>
                </a:cubicBezTo>
                <a:cubicBezTo>
                  <a:pt x="973" y="411"/>
                  <a:pt x="972" y="410"/>
                  <a:pt x="973" y="410"/>
                </a:cubicBezTo>
                <a:cubicBezTo>
                  <a:pt x="973" y="410"/>
                  <a:pt x="974" y="411"/>
                  <a:pt x="974" y="411"/>
                </a:cubicBezTo>
                <a:cubicBezTo>
                  <a:pt x="974" y="412"/>
                  <a:pt x="974" y="412"/>
                  <a:pt x="975" y="412"/>
                </a:cubicBezTo>
                <a:cubicBezTo>
                  <a:pt x="975" y="412"/>
                  <a:pt x="975" y="414"/>
                  <a:pt x="975" y="414"/>
                </a:cubicBezTo>
                <a:cubicBezTo>
                  <a:pt x="976" y="414"/>
                  <a:pt x="976" y="415"/>
                  <a:pt x="976" y="415"/>
                </a:cubicBezTo>
                <a:cubicBezTo>
                  <a:pt x="976" y="415"/>
                  <a:pt x="977" y="417"/>
                  <a:pt x="978" y="417"/>
                </a:cubicBezTo>
                <a:cubicBezTo>
                  <a:pt x="979" y="418"/>
                  <a:pt x="979" y="418"/>
                  <a:pt x="980" y="418"/>
                </a:cubicBezTo>
                <a:cubicBezTo>
                  <a:pt x="981" y="418"/>
                  <a:pt x="981" y="416"/>
                  <a:pt x="982" y="415"/>
                </a:cubicBezTo>
                <a:cubicBezTo>
                  <a:pt x="982" y="415"/>
                  <a:pt x="982" y="415"/>
                  <a:pt x="982" y="415"/>
                </a:cubicBezTo>
                <a:cubicBezTo>
                  <a:pt x="982" y="414"/>
                  <a:pt x="982" y="414"/>
                  <a:pt x="982" y="414"/>
                </a:cubicBezTo>
                <a:cubicBezTo>
                  <a:pt x="982" y="415"/>
                  <a:pt x="982" y="416"/>
                  <a:pt x="982" y="417"/>
                </a:cubicBezTo>
                <a:cubicBezTo>
                  <a:pt x="983" y="417"/>
                  <a:pt x="984" y="417"/>
                  <a:pt x="985" y="417"/>
                </a:cubicBezTo>
                <a:cubicBezTo>
                  <a:pt x="986" y="417"/>
                  <a:pt x="985" y="418"/>
                  <a:pt x="986" y="418"/>
                </a:cubicBezTo>
                <a:cubicBezTo>
                  <a:pt x="987" y="418"/>
                  <a:pt x="987" y="419"/>
                  <a:pt x="987" y="420"/>
                </a:cubicBezTo>
                <a:cubicBezTo>
                  <a:pt x="987" y="421"/>
                  <a:pt x="987" y="422"/>
                  <a:pt x="988" y="422"/>
                </a:cubicBezTo>
                <a:cubicBezTo>
                  <a:pt x="988" y="422"/>
                  <a:pt x="988" y="423"/>
                  <a:pt x="988" y="423"/>
                </a:cubicBezTo>
                <a:cubicBezTo>
                  <a:pt x="988" y="423"/>
                  <a:pt x="988" y="424"/>
                  <a:pt x="988" y="424"/>
                </a:cubicBezTo>
                <a:cubicBezTo>
                  <a:pt x="989" y="424"/>
                  <a:pt x="989" y="424"/>
                  <a:pt x="989" y="425"/>
                </a:cubicBezTo>
                <a:cubicBezTo>
                  <a:pt x="990" y="426"/>
                  <a:pt x="990" y="426"/>
                  <a:pt x="991" y="427"/>
                </a:cubicBezTo>
                <a:cubicBezTo>
                  <a:pt x="991" y="427"/>
                  <a:pt x="991" y="428"/>
                  <a:pt x="991" y="428"/>
                </a:cubicBezTo>
                <a:cubicBezTo>
                  <a:pt x="991" y="428"/>
                  <a:pt x="992" y="429"/>
                  <a:pt x="992" y="429"/>
                </a:cubicBezTo>
                <a:cubicBezTo>
                  <a:pt x="992" y="429"/>
                  <a:pt x="993" y="429"/>
                  <a:pt x="993" y="430"/>
                </a:cubicBezTo>
                <a:cubicBezTo>
                  <a:pt x="993" y="430"/>
                  <a:pt x="993" y="430"/>
                  <a:pt x="993" y="430"/>
                </a:cubicBezTo>
                <a:cubicBezTo>
                  <a:pt x="994" y="431"/>
                  <a:pt x="994" y="429"/>
                  <a:pt x="994" y="431"/>
                </a:cubicBezTo>
                <a:cubicBezTo>
                  <a:pt x="994" y="431"/>
                  <a:pt x="994" y="432"/>
                  <a:pt x="994" y="432"/>
                </a:cubicBezTo>
                <a:cubicBezTo>
                  <a:pt x="994" y="432"/>
                  <a:pt x="995" y="432"/>
                  <a:pt x="995" y="432"/>
                </a:cubicBezTo>
                <a:cubicBezTo>
                  <a:pt x="995" y="433"/>
                  <a:pt x="995" y="434"/>
                  <a:pt x="995" y="435"/>
                </a:cubicBezTo>
                <a:cubicBezTo>
                  <a:pt x="995" y="435"/>
                  <a:pt x="996" y="437"/>
                  <a:pt x="996" y="437"/>
                </a:cubicBezTo>
                <a:cubicBezTo>
                  <a:pt x="997" y="437"/>
                  <a:pt x="999" y="439"/>
                  <a:pt x="1000" y="440"/>
                </a:cubicBezTo>
                <a:cubicBezTo>
                  <a:pt x="1000" y="440"/>
                  <a:pt x="1000" y="441"/>
                  <a:pt x="1000" y="441"/>
                </a:cubicBezTo>
                <a:cubicBezTo>
                  <a:pt x="1001" y="441"/>
                  <a:pt x="1000" y="441"/>
                  <a:pt x="1001" y="442"/>
                </a:cubicBezTo>
                <a:cubicBezTo>
                  <a:pt x="1001" y="442"/>
                  <a:pt x="1001" y="442"/>
                  <a:pt x="1001" y="443"/>
                </a:cubicBezTo>
                <a:cubicBezTo>
                  <a:pt x="1001" y="443"/>
                  <a:pt x="1001" y="443"/>
                  <a:pt x="1001" y="443"/>
                </a:cubicBezTo>
                <a:cubicBezTo>
                  <a:pt x="1001" y="444"/>
                  <a:pt x="1002" y="444"/>
                  <a:pt x="1002" y="445"/>
                </a:cubicBezTo>
                <a:cubicBezTo>
                  <a:pt x="1002" y="446"/>
                  <a:pt x="1002" y="446"/>
                  <a:pt x="1002" y="447"/>
                </a:cubicBezTo>
                <a:cubicBezTo>
                  <a:pt x="1002" y="448"/>
                  <a:pt x="1002" y="449"/>
                  <a:pt x="1002" y="450"/>
                </a:cubicBezTo>
                <a:cubicBezTo>
                  <a:pt x="1002" y="450"/>
                  <a:pt x="1002" y="451"/>
                  <a:pt x="1001" y="451"/>
                </a:cubicBezTo>
                <a:cubicBezTo>
                  <a:pt x="1001" y="452"/>
                  <a:pt x="1001" y="453"/>
                  <a:pt x="1001" y="453"/>
                </a:cubicBezTo>
                <a:cubicBezTo>
                  <a:pt x="1001" y="453"/>
                  <a:pt x="1002" y="453"/>
                  <a:pt x="1002" y="453"/>
                </a:cubicBezTo>
                <a:cubicBezTo>
                  <a:pt x="1002" y="453"/>
                  <a:pt x="1003" y="454"/>
                  <a:pt x="1003" y="454"/>
                </a:cubicBezTo>
                <a:cubicBezTo>
                  <a:pt x="1003" y="456"/>
                  <a:pt x="1002" y="457"/>
                  <a:pt x="1003" y="458"/>
                </a:cubicBezTo>
                <a:cubicBezTo>
                  <a:pt x="1003" y="458"/>
                  <a:pt x="1003" y="458"/>
                  <a:pt x="1003" y="458"/>
                </a:cubicBezTo>
                <a:cubicBezTo>
                  <a:pt x="1003" y="459"/>
                  <a:pt x="1003" y="459"/>
                  <a:pt x="1003" y="459"/>
                </a:cubicBezTo>
                <a:cubicBezTo>
                  <a:pt x="1003" y="460"/>
                  <a:pt x="1004" y="461"/>
                  <a:pt x="1004" y="462"/>
                </a:cubicBezTo>
                <a:cubicBezTo>
                  <a:pt x="1004" y="463"/>
                  <a:pt x="1005" y="463"/>
                  <a:pt x="1006" y="463"/>
                </a:cubicBezTo>
                <a:cubicBezTo>
                  <a:pt x="1006" y="463"/>
                  <a:pt x="1006" y="464"/>
                  <a:pt x="1006" y="464"/>
                </a:cubicBezTo>
                <a:cubicBezTo>
                  <a:pt x="1006" y="464"/>
                  <a:pt x="1007" y="464"/>
                  <a:pt x="1007" y="465"/>
                </a:cubicBezTo>
                <a:cubicBezTo>
                  <a:pt x="1007" y="465"/>
                  <a:pt x="1007" y="465"/>
                  <a:pt x="1008" y="465"/>
                </a:cubicBezTo>
                <a:cubicBezTo>
                  <a:pt x="1008" y="465"/>
                  <a:pt x="1009" y="465"/>
                  <a:pt x="1009" y="465"/>
                </a:cubicBezTo>
                <a:cubicBezTo>
                  <a:pt x="1009" y="466"/>
                  <a:pt x="1009" y="466"/>
                  <a:pt x="1009" y="466"/>
                </a:cubicBezTo>
                <a:cubicBezTo>
                  <a:pt x="1009" y="466"/>
                  <a:pt x="1010" y="466"/>
                  <a:pt x="1010" y="467"/>
                </a:cubicBezTo>
                <a:cubicBezTo>
                  <a:pt x="1011" y="467"/>
                  <a:pt x="1011" y="467"/>
                  <a:pt x="1011" y="467"/>
                </a:cubicBezTo>
                <a:cubicBezTo>
                  <a:pt x="1011" y="467"/>
                  <a:pt x="1010" y="468"/>
                  <a:pt x="1011" y="468"/>
                </a:cubicBezTo>
                <a:cubicBezTo>
                  <a:pt x="1011" y="468"/>
                  <a:pt x="1012" y="468"/>
                  <a:pt x="1012" y="469"/>
                </a:cubicBezTo>
                <a:cubicBezTo>
                  <a:pt x="1012" y="469"/>
                  <a:pt x="1012" y="469"/>
                  <a:pt x="1012" y="469"/>
                </a:cubicBezTo>
                <a:cubicBezTo>
                  <a:pt x="1012" y="469"/>
                  <a:pt x="1012" y="471"/>
                  <a:pt x="1012" y="471"/>
                </a:cubicBezTo>
                <a:cubicBezTo>
                  <a:pt x="1013" y="471"/>
                  <a:pt x="1012" y="471"/>
                  <a:pt x="1013" y="472"/>
                </a:cubicBezTo>
                <a:cubicBezTo>
                  <a:pt x="1013" y="472"/>
                  <a:pt x="1014" y="472"/>
                  <a:pt x="1014" y="473"/>
                </a:cubicBezTo>
                <a:cubicBezTo>
                  <a:pt x="1014" y="474"/>
                  <a:pt x="1013" y="475"/>
                  <a:pt x="1014" y="476"/>
                </a:cubicBezTo>
                <a:cubicBezTo>
                  <a:pt x="1015" y="476"/>
                  <a:pt x="1016" y="477"/>
                  <a:pt x="1016" y="478"/>
                </a:cubicBezTo>
                <a:cubicBezTo>
                  <a:pt x="1016" y="478"/>
                  <a:pt x="1016" y="478"/>
                  <a:pt x="1017" y="479"/>
                </a:cubicBezTo>
                <a:cubicBezTo>
                  <a:pt x="1018" y="479"/>
                  <a:pt x="1017" y="479"/>
                  <a:pt x="1017" y="480"/>
                </a:cubicBezTo>
                <a:cubicBezTo>
                  <a:pt x="1017" y="480"/>
                  <a:pt x="1018" y="481"/>
                  <a:pt x="1018" y="481"/>
                </a:cubicBezTo>
                <a:cubicBezTo>
                  <a:pt x="1019" y="481"/>
                  <a:pt x="1019" y="482"/>
                  <a:pt x="1020" y="482"/>
                </a:cubicBezTo>
                <a:cubicBezTo>
                  <a:pt x="1020" y="483"/>
                  <a:pt x="1020" y="486"/>
                  <a:pt x="1020" y="487"/>
                </a:cubicBezTo>
                <a:cubicBezTo>
                  <a:pt x="1020" y="487"/>
                  <a:pt x="1020" y="488"/>
                  <a:pt x="1020" y="488"/>
                </a:cubicBezTo>
                <a:cubicBezTo>
                  <a:pt x="1020" y="488"/>
                  <a:pt x="1019" y="488"/>
                  <a:pt x="1020" y="488"/>
                </a:cubicBezTo>
                <a:cubicBezTo>
                  <a:pt x="1020" y="489"/>
                  <a:pt x="1020" y="489"/>
                  <a:pt x="1020" y="489"/>
                </a:cubicBezTo>
                <a:cubicBezTo>
                  <a:pt x="1020" y="490"/>
                  <a:pt x="1020" y="490"/>
                  <a:pt x="1020" y="491"/>
                </a:cubicBezTo>
                <a:cubicBezTo>
                  <a:pt x="1020" y="492"/>
                  <a:pt x="1019" y="492"/>
                  <a:pt x="1020" y="493"/>
                </a:cubicBezTo>
                <a:cubicBezTo>
                  <a:pt x="1020" y="493"/>
                  <a:pt x="1020" y="494"/>
                  <a:pt x="1020" y="495"/>
                </a:cubicBezTo>
                <a:cubicBezTo>
                  <a:pt x="1020" y="495"/>
                  <a:pt x="1021" y="495"/>
                  <a:pt x="1021" y="495"/>
                </a:cubicBezTo>
                <a:cubicBezTo>
                  <a:pt x="1021" y="496"/>
                  <a:pt x="1021" y="496"/>
                  <a:pt x="1021" y="496"/>
                </a:cubicBezTo>
                <a:cubicBezTo>
                  <a:pt x="1021" y="496"/>
                  <a:pt x="1021" y="497"/>
                  <a:pt x="1021" y="498"/>
                </a:cubicBezTo>
                <a:cubicBezTo>
                  <a:pt x="1021" y="498"/>
                  <a:pt x="1021" y="498"/>
                  <a:pt x="1021" y="499"/>
                </a:cubicBezTo>
                <a:cubicBezTo>
                  <a:pt x="1021" y="499"/>
                  <a:pt x="1023" y="499"/>
                  <a:pt x="1022" y="500"/>
                </a:cubicBezTo>
                <a:cubicBezTo>
                  <a:pt x="1022" y="501"/>
                  <a:pt x="1022" y="502"/>
                  <a:pt x="1022" y="503"/>
                </a:cubicBezTo>
                <a:cubicBezTo>
                  <a:pt x="1023" y="503"/>
                  <a:pt x="1023" y="505"/>
                  <a:pt x="1023" y="505"/>
                </a:cubicBezTo>
                <a:cubicBezTo>
                  <a:pt x="1024" y="505"/>
                  <a:pt x="1026" y="506"/>
                  <a:pt x="1028" y="506"/>
                </a:cubicBezTo>
                <a:cubicBezTo>
                  <a:pt x="1029" y="506"/>
                  <a:pt x="1028" y="505"/>
                  <a:pt x="1029" y="505"/>
                </a:cubicBezTo>
                <a:cubicBezTo>
                  <a:pt x="1029" y="505"/>
                  <a:pt x="1031" y="506"/>
                  <a:pt x="1031" y="505"/>
                </a:cubicBezTo>
                <a:cubicBezTo>
                  <a:pt x="1031" y="505"/>
                  <a:pt x="1031" y="505"/>
                  <a:pt x="1032" y="505"/>
                </a:cubicBezTo>
                <a:cubicBezTo>
                  <a:pt x="1032" y="504"/>
                  <a:pt x="1033" y="503"/>
                  <a:pt x="1033" y="503"/>
                </a:cubicBezTo>
                <a:cubicBezTo>
                  <a:pt x="1034" y="503"/>
                  <a:pt x="1035" y="503"/>
                  <a:pt x="1035" y="502"/>
                </a:cubicBezTo>
                <a:cubicBezTo>
                  <a:pt x="1035" y="502"/>
                  <a:pt x="1037" y="502"/>
                  <a:pt x="1038" y="502"/>
                </a:cubicBezTo>
                <a:cubicBezTo>
                  <a:pt x="1038" y="503"/>
                  <a:pt x="1042" y="501"/>
                  <a:pt x="1041" y="501"/>
                </a:cubicBezTo>
                <a:cubicBezTo>
                  <a:pt x="1042" y="501"/>
                  <a:pt x="1042" y="501"/>
                  <a:pt x="1042" y="500"/>
                </a:cubicBezTo>
                <a:cubicBezTo>
                  <a:pt x="1043" y="500"/>
                  <a:pt x="1043" y="500"/>
                  <a:pt x="1043" y="499"/>
                </a:cubicBezTo>
                <a:cubicBezTo>
                  <a:pt x="1043" y="499"/>
                  <a:pt x="1044" y="499"/>
                  <a:pt x="1045" y="499"/>
                </a:cubicBezTo>
                <a:cubicBezTo>
                  <a:pt x="1046" y="499"/>
                  <a:pt x="1045" y="499"/>
                  <a:pt x="1046" y="499"/>
                </a:cubicBezTo>
                <a:cubicBezTo>
                  <a:pt x="1046" y="498"/>
                  <a:pt x="1047" y="499"/>
                  <a:pt x="1048" y="499"/>
                </a:cubicBezTo>
                <a:cubicBezTo>
                  <a:pt x="1048" y="499"/>
                  <a:pt x="1051" y="496"/>
                  <a:pt x="1051" y="496"/>
                </a:cubicBezTo>
                <a:cubicBezTo>
                  <a:pt x="1051" y="496"/>
                  <a:pt x="1051" y="496"/>
                  <a:pt x="1051" y="496"/>
                </a:cubicBezTo>
                <a:cubicBezTo>
                  <a:pt x="1052" y="496"/>
                  <a:pt x="1051" y="496"/>
                  <a:pt x="1052" y="495"/>
                </a:cubicBezTo>
                <a:cubicBezTo>
                  <a:pt x="1052" y="495"/>
                  <a:pt x="1053" y="495"/>
                  <a:pt x="1053" y="495"/>
                </a:cubicBezTo>
                <a:cubicBezTo>
                  <a:pt x="1053" y="495"/>
                  <a:pt x="1053" y="495"/>
                  <a:pt x="1053" y="495"/>
                </a:cubicBezTo>
                <a:cubicBezTo>
                  <a:pt x="1053" y="495"/>
                  <a:pt x="1054" y="495"/>
                  <a:pt x="1055" y="495"/>
                </a:cubicBezTo>
                <a:cubicBezTo>
                  <a:pt x="1056" y="494"/>
                  <a:pt x="1055" y="494"/>
                  <a:pt x="1056" y="494"/>
                </a:cubicBezTo>
                <a:cubicBezTo>
                  <a:pt x="1057" y="494"/>
                  <a:pt x="1056" y="494"/>
                  <a:pt x="1057" y="494"/>
                </a:cubicBezTo>
                <a:cubicBezTo>
                  <a:pt x="1057" y="494"/>
                  <a:pt x="1057" y="494"/>
                  <a:pt x="1057" y="494"/>
                </a:cubicBezTo>
                <a:cubicBezTo>
                  <a:pt x="1057" y="494"/>
                  <a:pt x="1057" y="493"/>
                  <a:pt x="1057" y="493"/>
                </a:cubicBezTo>
                <a:cubicBezTo>
                  <a:pt x="1058" y="493"/>
                  <a:pt x="1058" y="494"/>
                  <a:pt x="1059" y="493"/>
                </a:cubicBezTo>
                <a:cubicBezTo>
                  <a:pt x="1059" y="492"/>
                  <a:pt x="1060" y="492"/>
                  <a:pt x="1060" y="492"/>
                </a:cubicBezTo>
                <a:cubicBezTo>
                  <a:pt x="1061" y="492"/>
                  <a:pt x="1063" y="490"/>
                  <a:pt x="1064" y="489"/>
                </a:cubicBezTo>
                <a:cubicBezTo>
                  <a:pt x="1064" y="488"/>
                  <a:pt x="1065" y="488"/>
                  <a:pt x="1066" y="488"/>
                </a:cubicBezTo>
                <a:cubicBezTo>
                  <a:pt x="1066" y="488"/>
                  <a:pt x="1065" y="487"/>
                  <a:pt x="1065" y="487"/>
                </a:cubicBezTo>
                <a:cubicBezTo>
                  <a:pt x="1065" y="487"/>
                  <a:pt x="1065" y="487"/>
                  <a:pt x="1065" y="487"/>
                </a:cubicBezTo>
                <a:cubicBezTo>
                  <a:pt x="1065" y="486"/>
                  <a:pt x="1065" y="486"/>
                  <a:pt x="1065" y="486"/>
                </a:cubicBezTo>
                <a:cubicBezTo>
                  <a:pt x="1065" y="485"/>
                  <a:pt x="1066" y="485"/>
                  <a:pt x="1067" y="484"/>
                </a:cubicBezTo>
                <a:cubicBezTo>
                  <a:pt x="1067" y="484"/>
                  <a:pt x="1068" y="485"/>
                  <a:pt x="1068" y="484"/>
                </a:cubicBezTo>
                <a:cubicBezTo>
                  <a:pt x="1068" y="484"/>
                  <a:pt x="1068" y="484"/>
                  <a:pt x="1068" y="484"/>
                </a:cubicBezTo>
                <a:cubicBezTo>
                  <a:pt x="1069" y="484"/>
                  <a:pt x="1069" y="484"/>
                  <a:pt x="1069" y="483"/>
                </a:cubicBezTo>
                <a:cubicBezTo>
                  <a:pt x="1070" y="483"/>
                  <a:pt x="1071" y="483"/>
                  <a:pt x="1072" y="483"/>
                </a:cubicBezTo>
                <a:cubicBezTo>
                  <a:pt x="1074" y="482"/>
                  <a:pt x="1072" y="482"/>
                  <a:pt x="1073" y="482"/>
                </a:cubicBezTo>
                <a:cubicBezTo>
                  <a:pt x="1073" y="482"/>
                  <a:pt x="1075" y="482"/>
                  <a:pt x="1075" y="481"/>
                </a:cubicBezTo>
                <a:cubicBezTo>
                  <a:pt x="1075" y="481"/>
                  <a:pt x="1077" y="481"/>
                  <a:pt x="1077" y="481"/>
                </a:cubicBezTo>
                <a:cubicBezTo>
                  <a:pt x="1078" y="480"/>
                  <a:pt x="1077" y="481"/>
                  <a:pt x="1078" y="480"/>
                </a:cubicBezTo>
                <a:cubicBezTo>
                  <a:pt x="1078" y="480"/>
                  <a:pt x="1078" y="480"/>
                  <a:pt x="1079" y="480"/>
                </a:cubicBezTo>
                <a:cubicBezTo>
                  <a:pt x="1079" y="479"/>
                  <a:pt x="1079" y="479"/>
                  <a:pt x="1079" y="479"/>
                </a:cubicBezTo>
                <a:cubicBezTo>
                  <a:pt x="1079" y="478"/>
                  <a:pt x="1080" y="478"/>
                  <a:pt x="1080" y="477"/>
                </a:cubicBezTo>
                <a:cubicBezTo>
                  <a:pt x="1080" y="476"/>
                  <a:pt x="1081" y="477"/>
                  <a:pt x="1082" y="477"/>
                </a:cubicBezTo>
                <a:cubicBezTo>
                  <a:pt x="1083" y="477"/>
                  <a:pt x="1083" y="477"/>
                  <a:pt x="1084" y="476"/>
                </a:cubicBezTo>
                <a:cubicBezTo>
                  <a:pt x="1086" y="476"/>
                  <a:pt x="1085" y="475"/>
                  <a:pt x="1085" y="474"/>
                </a:cubicBezTo>
                <a:cubicBezTo>
                  <a:pt x="1086" y="474"/>
                  <a:pt x="1086" y="474"/>
                  <a:pt x="1086" y="473"/>
                </a:cubicBezTo>
                <a:cubicBezTo>
                  <a:pt x="1086" y="473"/>
                  <a:pt x="1087" y="473"/>
                  <a:pt x="1087" y="472"/>
                </a:cubicBezTo>
                <a:cubicBezTo>
                  <a:pt x="1088" y="471"/>
                  <a:pt x="1091" y="472"/>
                  <a:pt x="1092" y="471"/>
                </a:cubicBezTo>
                <a:cubicBezTo>
                  <a:pt x="1092" y="470"/>
                  <a:pt x="1092" y="470"/>
                  <a:pt x="1092" y="469"/>
                </a:cubicBezTo>
                <a:cubicBezTo>
                  <a:pt x="1092" y="468"/>
                  <a:pt x="1092" y="467"/>
                  <a:pt x="1092" y="466"/>
                </a:cubicBezTo>
                <a:cubicBezTo>
                  <a:pt x="1092" y="466"/>
                  <a:pt x="1092" y="466"/>
                  <a:pt x="1092" y="466"/>
                </a:cubicBezTo>
                <a:cubicBezTo>
                  <a:pt x="1092" y="465"/>
                  <a:pt x="1093" y="465"/>
                  <a:pt x="1093" y="465"/>
                </a:cubicBezTo>
                <a:cubicBezTo>
                  <a:pt x="1093" y="464"/>
                  <a:pt x="1093" y="464"/>
                  <a:pt x="1093" y="463"/>
                </a:cubicBezTo>
                <a:cubicBezTo>
                  <a:pt x="1094" y="463"/>
                  <a:pt x="1094" y="463"/>
                  <a:pt x="1095" y="463"/>
                </a:cubicBezTo>
                <a:cubicBezTo>
                  <a:pt x="1095" y="462"/>
                  <a:pt x="1095" y="462"/>
                  <a:pt x="1095" y="461"/>
                </a:cubicBezTo>
                <a:cubicBezTo>
                  <a:pt x="1096" y="460"/>
                  <a:pt x="1096" y="460"/>
                  <a:pt x="1096" y="458"/>
                </a:cubicBezTo>
                <a:cubicBezTo>
                  <a:pt x="1097" y="458"/>
                  <a:pt x="1097" y="457"/>
                  <a:pt x="1098" y="457"/>
                </a:cubicBezTo>
                <a:cubicBezTo>
                  <a:pt x="1098" y="456"/>
                  <a:pt x="1098" y="456"/>
                  <a:pt x="1098" y="456"/>
                </a:cubicBezTo>
                <a:cubicBezTo>
                  <a:pt x="1098" y="455"/>
                  <a:pt x="1099" y="456"/>
                  <a:pt x="1099" y="455"/>
                </a:cubicBezTo>
                <a:cubicBezTo>
                  <a:pt x="1099" y="455"/>
                  <a:pt x="1098" y="455"/>
                  <a:pt x="1099" y="455"/>
                </a:cubicBezTo>
                <a:cubicBezTo>
                  <a:pt x="1100" y="454"/>
                  <a:pt x="1099" y="454"/>
                  <a:pt x="1099" y="453"/>
                </a:cubicBezTo>
                <a:cubicBezTo>
                  <a:pt x="1099" y="453"/>
                  <a:pt x="1100" y="452"/>
                  <a:pt x="1100" y="452"/>
                </a:cubicBezTo>
                <a:cubicBezTo>
                  <a:pt x="1100" y="451"/>
                  <a:pt x="1101" y="451"/>
                  <a:pt x="1101" y="450"/>
                </a:cubicBezTo>
                <a:cubicBezTo>
                  <a:pt x="1100" y="450"/>
                  <a:pt x="1100" y="449"/>
                  <a:pt x="1099" y="449"/>
                </a:cubicBezTo>
                <a:cubicBezTo>
                  <a:pt x="1098" y="449"/>
                  <a:pt x="1099" y="448"/>
                  <a:pt x="1099" y="447"/>
                </a:cubicBezTo>
                <a:cubicBezTo>
                  <a:pt x="1099" y="446"/>
                  <a:pt x="1097" y="447"/>
                  <a:pt x="1097" y="446"/>
                </a:cubicBezTo>
                <a:cubicBezTo>
                  <a:pt x="1097" y="445"/>
                  <a:pt x="1097" y="445"/>
                  <a:pt x="1096" y="445"/>
                </a:cubicBezTo>
                <a:cubicBezTo>
                  <a:pt x="1096" y="445"/>
                  <a:pt x="1095" y="443"/>
                  <a:pt x="1094" y="443"/>
                </a:cubicBezTo>
                <a:cubicBezTo>
                  <a:pt x="1094" y="443"/>
                  <a:pt x="1094" y="443"/>
                  <a:pt x="1093" y="443"/>
                </a:cubicBezTo>
                <a:cubicBezTo>
                  <a:pt x="1093" y="443"/>
                  <a:pt x="1093" y="442"/>
                  <a:pt x="1093" y="442"/>
                </a:cubicBezTo>
                <a:cubicBezTo>
                  <a:pt x="1093" y="442"/>
                  <a:pt x="1089" y="441"/>
                  <a:pt x="1089" y="441"/>
                </a:cubicBezTo>
                <a:cubicBezTo>
                  <a:pt x="1089" y="441"/>
                  <a:pt x="1088" y="440"/>
                  <a:pt x="1087" y="439"/>
                </a:cubicBezTo>
                <a:cubicBezTo>
                  <a:pt x="1087" y="439"/>
                  <a:pt x="1087" y="439"/>
                  <a:pt x="1087" y="439"/>
                </a:cubicBezTo>
                <a:cubicBezTo>
                  <a:pt x="1087" y="438"/>
                  <a:pt x="1086" y="438"/>
                  <a:pt x="1086" y="438"/>
                </a:cubicBezTo>
                <a:cubicBezTo>
                  <a:pt x="1086" y="437"/>
                  <a:pt x="1086" y="438"/>
                  <a:pt x="1086" y="438"/>
                </a:cubicBezTo>
                <a:cubicBezTo>
                  <a:pt x="1085" y="438"/>
                  <a:pt x="1085" y="437"/>
                  <a:pt x="1085" y="437"/>
                </a:cubicBezTo>
                <a:cubicBezTo>
                  <a:pt x="1084" y="436"/>
                  <a:pt x="1084" y="436"/>
                  <a:pt x="1084" y="435"/>
                </a:cubicBezTo>
                <a:cubicBezTo>
                  <a:pt x="1084" y="434"/>
                  <a:pt x="1084" y="435"/>
                  <a:pt x="1084" y="435"/>
                </a:cubicBezTo>
                <a:cubicBezTo>
                  <a:pt x="1083" y="434"/>
                  <a:pt x="1084" y="433"/>
                  <a:pt x="1084" y="432"/>
                </a:cubicBezTo>
                <a:cubicBezTo>
                  <a:pt x="1084" y="431"/>
                  <a:pt x="1084" y="430"/>
                  <a:pt x="1084" y="429"/>
                </a:cubicBezTo>
                <a:cubicBezTo>
                  <a:pt x="1083" y="429"/>
                  <a:pt x="1082" y="429"/>
                  <a:pt x="1082" y="430"/>
                </a:cubicBezTo>
                <a:cubicBezTo>
                  <a:pt x="1082" y="431"/>
                  <a:pt x="1081" y="432"/>
                  <a:pt x="1080" y="432"/>
                </a:cubicBezTo>
                <a:cubicBezTo>
                  <a:pt x="1080" y="433"/>
                  <a:pt x="1079" y="433"/>
                  <a:pt x="1078" y="434"/>
                </a:cubicBezTo>
                <a:cubicBezTo>
                  <a:pt x="1078" y="434"/>
                  <a:pt x="1079" y="434"/>
                  <a:pt x="1078" y="434"/>
                </a:cubicBezTo>
                <a:cubicBezTo>
                  <a:pt x="1078" y="435"/>
                  <a:pt x="1077" y="435"/>
                  <a:pt x="1077" y="435"/>
                </a:cubicBezTo>
                <a:cubicBezTo>
                  <a:pt x="1077" y="436"/>
                  <a:pt x="1077" y="436"/>
                  <a:pt x="1077" y="436"/>
                </a:cubicBezTo>
                <a:cubicBezTo>
                  <a:pt x="1077" y="436"/>
                  <a:pt x="1077" y="436"/>
                  <a:pt x="1077" y="437"/>
                </a:cubicBezTo>
                <a:cubicBezTo>
                  <a:pt x="1076" y="437"/>
                  <a:pt x="1076" y="436"/>
                  <a:pt x="1076" y="437"/>
                </a:cubicBezTo>
                <a:cubicBezTo>
                  <a:pt x="1075" y="437"/>
                  <a:pt x="1075" y="437"/>
                  <a:pt x="1075" y="438"/>
                </a:cubicBezTo>
                <a:cubicBezTo>
                  <a:pt x="1074" y="438"/>
                  <a:pt x="1073" y="439"/>
                  <a:pt x="1073" y="439"/>
                </a:cubicBezTo>
                <a:cubicBezTo>
                  <a:pt x="1072" y="439"/>
                  <a:pt x="1072" y="439"/>
                  <a:pt x="1072" y="440"/>
                </a:cubicBezTo>
                <a:cubicBezTo>
                  <a:pt x="1071" y="440"/>
                  <a:pt x="1070" y="440"/>
                  <a:pt x="1069" y="440"/>
                </a:cubicBezTo>
                <a:cubicBezTo>
                  <a:pt x="1069" y="439"/>
                  <a:pt x="1068" y="439"/>
                  <a:pt x="1067" y="439"/>
                </a:cubicBezTo>
                <a:cubicBezTo>
                  <a:pt x="1067" y="439"/>
                  <a:pt x="1067" y="438"/>
                  <a:pt x="1066" y="438"/>
                </a:cubicBezTo>
                <a:cubicBezTo>
                  <a:pt x="1065" y="439"/>
                  <a:pt x="1065" y="439"/>
                  <a:pt x="1065" y="440"/>
                </a:cubicBezTo>
                <a:cubicBezTo>
                  <a:pt x="1064" y="439"/>
                  <a:pt x="1063" y="439"/>
                  <a:pt x="1062" y="439"/>
                </a:cubicBezTo>
                <a:cubicBezTo>
                  <a:pt x="1062" y="439"/>
                  <a:pt x="1061" y="438"/>
                  <a:pt x="1061" y="438"/>
                </a:cubicBezTo>
                <a:cubicBezTo>
                  <a:pt x="1060" y="438"/>
                  <a:pt x="1060" y="437"/>
                  <a:pt x="1060" y="436"/>
                </a:cubicBezTo>
                <a:cubicBezTo>
                  <a:pt x="1060" y="436"/>
                  <a:pt x="1060" y="435"/>
                  <a:pt x="1061" y="435"/>
                </a:cubicBezTo>
                <a:cubicBezTo>
                  <a:pt x="1061" y="434"/>
                  <a:pt x="1061" y="432"/>
                  <a:pt x="1060" y="432"/>
                </a:cubicBezTo>
                <a:cubicBezTo>
                  <a:pt x="1060" y="432"/>
                  <a:pt x="1061" y="432"/>
                  <a:pt x="1061" y="431"/>
                </a:cubicBezTo>
                <a:cubicBezTo>
                  <a:pt x="1061" y="431"/>
                  <a:pt x="1060" y="430"/>
                  <a:pt x="1060" y="429"/>
                </a:cubicBezTo>
                <a:cubicBezTo>
                  <a:pt x="1059" y="429"/>
                  <a:pt x="1059" y="430"/>
                  <a:pt x="1059" y="431"/>
                </a:cubicBezTo>
                <a:cubicBezTo>
                  <a:pt x="1059" y="432"/>
                  <a:pt x="1058" y="432"/>
                  <a:pt x="1057" y="432"/>
                </a:cubicBezTo>
                <a:cubicBezTo>
                  <a:pt x="1057" y="432"/>
                  <a:pt x="1057" y="433"/>
                  <a:pt x="1057" y="434"/>
                </a:cubicBezTo>
                <a:cubicBezTo>
                  <a:pt x="1056" y="433"/>
                  <a:pt x="1056" y="432"/>
                  <a:pt x="1055" y="433"/>
                </a:cubicBezTo>
                <a:cubicBezTo>
                  <a:pt x="1055" y="431"/>
                  <a:pt x="1055" y="430"/>
                  <a:pt x="1055" y="429"/>
                </a:cubicBezTo>
                <a:cubicBezTo>
                  <a:pt x="1055" y="428"/>
                  <a:pt x="1055" y="427"/>
                  <a:pt x="1055" y="427"/>
                </a:cubicBezTo>
                <a:cubicBezTo>
                  <a:pt x="1055" y="425"/>
                  <a:pt x="1054" y="426"/>
                  <a:pt x="1054" y="425"/>
                </a:cubicBezTo>
                <a:cubicBezTo>
                  <a:pt x="1053" y="424"/>
                  <a:pt x="1053" y="424"/>
                  <a:pt x="1052" y="423"/>
                </a:cubicBezTo>
                <a:cubicBezTo>
                  <a:pt x="1051" y="423"/>
                  <a:pt x="1051" y="422"/>
                  <a:pt x="1050" y="422"/>
                </a:cubicBezTo>
                <a:cubicBezTo>
                  <a:pt x="1050" y="421"/>
                  <a:pt x="1051" y="421"/>
                  <a:pt x="1051" y="420"/>
                </a:cubicBezTo>
                <a:cubicBezTo>
                  <a:pt x="1049" y="421"/>
                  <a:pt x="1050" y="419"/>
                  <a:pt x="1049" y="419"/>
                </a:cubicBezTo>
                <a:cubicBezTo>
                  <a:pt x="1048" y="418"/>
                  <a:pt x="1048" y="417"/>
                  <a:pt x="1047" y="416"/>
                </a:cubicBezTo>
                <a:cubicBezTo>
                  <a:pt x="1047" y="416"/>
                  <a:pt x="1047" y="415"/>
                  <a:pt x="1047" y="415"/>
                </a:cubicBezTo>
                <a:cubicBezTo>
                  <a:pt x="1046" y="415"/>
                  <a:pt x="1047" y="413"/>
                  <a:pt x="1046" y="413"/>
                </a:cubicBezTo>
                <a:cubicBezTo>
                  <a:pt x="1045" y="412"/>
                  <a:pt x="1046" y="412"/>
                  <a:pt x="1045" y="411"/>
                </a:cubicBezTo>
                <a:cubicBezTo>
                  <a:pt x="1044" y="411"/>
                  <a:pt x="1045" y="409"/>
                  <a:pt x="1044" y="410"/>
                </a:cubicBezTo>
                <a:cubicBezTo>
                  <a:pt x="1044" y="409"/>
                  <a:pt x="1044" y="408"/>
                  <a:pt x="1044" y="407"/>
                </a:cubicBezTo>
                <a:cubicBezTo>
                  <a:pt x="1044" y="405"/>
                  <a:pt x="1046" y="406"/>
                  <a:pt x="1047" y="407"/>
                </a:cubicBezTo>
                <a:cubicBezTo>
                  <a:pt x="1047" y="406"/>
                  <a:pt x="1047" y="406"/>
                  <a:pt x="1047" y="406"/>
                </a:cubicBezTo>
                <a:cubicBezTo>
                  <a:pt x="1046" y="406"/>
                  <a:pt x="1046" y="405"/>
                  <a:pt x="1045" y="405"/>
                </a:cubicBezTo>
                <a:cubicBezTo>
                  <a:pt x="1045" y="405"/>
                  <a:pt x="1045" y="403"/>
                  <a:pt x="1045" y="404"/>
                </a:cubicBezTo>
                <a:cubicBezTo>
                  <a:pt x="1045" y="403"/>
                  <a:pt x="1045" y="403"/>
                  <a:pt x="1045" y="403"/>
                </a:cubicBezTo>
                <a:cubicBezTo>
                  <a:pt x="1046" y="403"/>
                  <a:pt x="1046" y="405"/>
                  <a:pt x="1047" y="405"/>
                </a:cubicBezTo>
                <a:cubicBezTo>
                  <a:pt x="1048" y="405"/>
                  <a:pt x="1049" y="405"/>
                  <a:pt x="1049" y="404"/>
                </a:cubicBezTo>
                <a:cubicBezTo>
                  <a:pt x="1050" y="404"/>
                  <a:pt x="1051" y="405"/>
                  <a:pt x="1051" y="405"/>
                </a:cubicBezTo>
                <a:cubicBezTo>
                  <a:pt x="1053" y="406"/>
                  <a:pt x="1053" y="405"/>
                  <a:pt x="1054" y="405"/>
                </a:cubicBezTo>
                <a:cubicBezTo>
                  <a:pt x="1054" y="405"/>
                  <a:pt x="1055" y="405"/>
                  <a:pt x="1055" y="406"/>
                </a:cubicBezTo>
                <a:cubicBezTo>
                  <a:pt x="1055" y="406"/>
                  <a:pt x="1056" y="406"/>
                  <a:pt x="1056" y="407"/>
                </a:cubicBezTo>
                <a:cubicBezTo>
                  <a:pt x="1056" y="407"/>
                  <a:pt x="1057" y="408"/>
                  <a:pt x="1057" y="408"/>
                </a:cubicBezTo>
                <a:cubicBezTo>
                  <a:pt x="1057" y="409"/>
                  <a:pt x="1057" y="408"/>
                  <a:pt x="1057" y="408"/>
                </a:cubicBezTo>
                <a:cubicBezTo>
                  <a:pt x="1057" y="409"/>
                  <a:pt x="1057" y="410"/>
                  <a:pt x="1057" y="410"/>
                </a:cubicBezTo>
                <a:cubicBezTo>
                  <a:pt x="1057" y="411"/>
                  <a:pt x="1058" y="411"/>
                  <a:pt x="1059" y="412"/>
                </a:cubicBezTo>
                <a:cubicBezTo>
                  <a:pt x="1059" y="412"/>
                  <a:pt x="1059" y="412"/>
                  <a:pt x="1059" y="413"/>
                </a:cubicBezTo>
                <a:cubicBezTo>
                  <a:pt x="1058" y="413"/>
                  <a:pt x="1059" y="413"/>
                  <a:pt x="1059" y="414"/>
                </a:cubicBezTo>
                <a:cubicBezTo>
                  <a:pt x="1060" y="414"/>
                  <a:pt x="1059" y="414"/>
                  <a:pt x="1059" y="414"/>
                </a:cubicBezTo>
                <a:cubicBezTo>
                  <a:pt x="1060" y="414"/>
                  <a:pt x="1060" y="415"/>
                  <a:pt x="1060" y="415"/>
                </a:cubicBezTo>
                <a:cubicBezTo>
                  <a:pt x="1060" y="416"/>
                  <a:pt x="1060" y="416"/>
                  <a:pt x="1061" y="417"/>
                </a:cubicBezTo>
                <a:cubicBezTo>
                  <a:pt x="1062" y="417"/>
                  <a:pt x="1062" y="417"/>
                  <a:pt x="1062" y="418"/>
                </a:cubicBezTo>
                <a:cubicBezTo>
                  <a:pt x="1062" y="418"/>
                  <a:pt x="1062" y="418"/>
                  <a:pt x="1062" y="418"/>
                </a:cubicBezTo>
                <a:cubicBezTo>
                  <a:pt x="1062" y="419"/>
                  <a:pt x="1062" y="419"/>
                  <a:pt x="1062" y="419"/>
                </a:cubicBezTo>
                <a:cubicBezTo>
                  <a:pt x="1063" y="420"/>
                  <a:pt x="1064" y="420"/>
                  <a:pt x="1064" y="421"/>
                </a:cubicBezTo>
                <a:cubicBezTo>
                  <a:pt x="1064" y="421"/>
                  <a:pt x="1065" y="422"/>
                  <a:pt x="1065" y="422"/>
                </a:cubicBezTo>
                <a:cubicBezTo>
                  <a:pt x="1065" y="422"/>
                  <a:pt x="1065" y="423"/>
                  <a:pt x="1066" y="423"/>
                </a:cubicBezTo>
                <a:cubicBezTo>
                  <a:pt x="1066" y="424"/>
                  <a:pt x="1067" y="424"/>
                  <a:pt x="1068" y="424"/>
                </a:cubicBezTo>
                <a:cubicBezTo>
                  <a:pt x="1068" y="425"/>
                  <a:pt x="1068" y="425"/>
                  <a:pt x="1069" y="426"/>
                </a:cubicBezTo>
                <a:cubicBezTo>
                  <a:pt x="1070" y="426"/>
                  <a:pt x="1071" y="426"/>
                  <a:pt x="1071" y="427"/>
                </a:cubicBezTo>
                <a:cubicBezTo>
                  <a:pt x="1072" y="427"/>
                  <a:pt x="1074" y="427"/>
                  <a:pt x="1074" y="428"/>
                </a:cubicBezTo>
                <a:cubicBezTo>
                  <a:pt x="1077" y="428"/>
                  <a:pt x="1078" y="426"/>
                  <a:pt x="1081" y="426"/>
                </a:cubicBezTo>
                <a:cubicBezTo>
                  <a:pt x="1081" y="425"/>
                  <a:pt x="1081" y="425"/>
                  <a:pt x="1082" y="425"/>
                </a:cubicBezTo>
                <a:cubicBezTo>
                  <a:pt x="1082" y="425"/>
                  <a:pt x="1082" y="424"/>
                  <a:pt x="1083" y="424"/>
                </a:cubicBezTo>
                <a:cubicBezTo>
                  <a:pt x="1084" y="424"/>
                  <a:pt x="1084" y="423"/>
                  <a:pt x="1085" y="423"/>
                </a:cubicBezTo>
                <a:cubicBezTo>
                  <a:pt x="1085" y="423"/>
                  <a:pt x="1085" y="424"/>
                  <a:pt x="1085" y="424"/>
                </a:cubicBezTo>
                <a:cubicBezTo>
                  <a:pt x="1086" y="424"/>
                  <a:pt x="1086" y="424"/>
                  <a:pt x="1087" y="425"/>
                </a:cubicBezTo>
                <a:cubicBezTo>
                  <a:pt x="1087" y="426"/>
                  <a:pt x="1088" y="425"/>
                  <a:pt x="1088" y="426"/>
                </a:cubicBezTo>
                <a:cubicBezTo>
                  <a:pt x="1088" y="426"/>
                  <a:pt x="1088" y="427"/>
                  <a:pt x="1088" y="427"/>
                </a:cubicBezTo>
                <a:cubicBezTo>
                  <a:pt x="1088" y="427"/>
                  <a:pt x="1088" y="428"/>
                  <a:pt x="1088" y="428"/>
                </a:cubicBezTo>
                <a:cubicBezTo>
                  <a:pt x="1088" y="428"/>
                  <a:pt x="1089" y="428"/>
                  <a:pt x="1089" y="428"/>
                </a:cubicBezTo>
                <a:cubicBezTo>
                  <a:pt x="1089" y="429"/>
                  <a:pt x="1089" y="430"/>
                  <a:pt x="1089" y="431"/>
                </a:cubicBezTo>
                <a:cubicBezTo>
                  <a:pt x="1089" y="431"/>
                  <a:pt x="1089" y="431"/>
                  <a:pt x="1089" y="431"/>
                </a:cubicBezTo>
                <a:cubicBezTo>
                  <a:pt x="1090" y="431"/>
                  <a:pt x="1090" y="431"/>
                  <a:pt x="1090" y="431"/>
                </a:cubicBezTo>
                <a:cubicBezTo>
                  <a:pt x="1091" y="433"/>
                  <a:pt x="1093" y="433"/>
                  <a:pt x="1095" y="433"/>
                </a:cubicBezTo>
                <a:cubicBezTo>
                  <a:pt x="1096" y="433"/>
                  <a:pt x="1097" y="433"/>
                  <a:pt x="1097" y="433"/>
                </a:cubicBezTo>
                <a:cubicBezTo>
                  <a:pt x="1098" y="433"/>
                  <a:pt x="1098" y="434"/>
                  <a:pt x="1099" y="434"/>
                </a:cubicBezTo>
                <a:cubicBezTo>
                  <a:pt x="1100" y="434"/>
                  <a:pt x="1102" y="434"/>
                  <a:pt x="1103" y="434"/>
                </a:cubicBezTo>
                <a:cubicBezTo>
                  <a:pt x="1103" y="434"/>
                  <a:pt x="1106" y="434"/>
                  <a:pt x="1106" y="435"/>
                </a:cubicBezTo>
                <a:cubicBezTo>
                  <a:pt x="1107" y="435"/>
                  <a:pt x="1107" y="435"/>
                  <a:pt x="1108" y="435"/>
                </a:cubicBezTo>
                <a:cubicBezTo>
                  <a:pt x="1108" y="436"/>
                  <a:pt x="1109" y="435"/>
                  <a:pt x="1109" y="435"/>
                </a:cubicBezTo>
                <a:cubicBezTo>
                  <a:pt x="1110" y="435"/>
                  <a:pt x="1109" y="435"/>
                  <a:pt x="1111" y="435"/>
                </a:cubicBezTo>
                <a:cubicBezTo>
                  <a:pt x="1112" y="435"/>
                  <a:pt x="1112" y="435"/>
                  <a:pt x="1112" y="434"/>
                </a:cubicBezTo>
                <a:cubicBezTo>
                  <a:pt x="1113" y="434"/>
                  <a:pt x="1114" y="434"/>
                  <a:pt x="1114" y="435"/>
                </a:cubicBezTo>
                <a:cubicBezTo>
                  <a:pt x="1114" y="435"/>
                  <a:pt x="1115" y="435"/>
                  <a:pt x="1116" y="435"/>
                </a:cubicBezTo>
                <a:cubicBezTo>
                  <a:pt x="1116" y="435"/>
                  <a:pt x="1117" y="435"/>
                  <a:pt x="1117" y="435"/>
                </a:cubicBezTo>
                <a:cubicBezTo>
                  <a:pt x="1117" y="435"/>
                  <a:pt x="1117" y="434"/>
                  <a:pt x="1118" y="434"/>
                </a:cubicBezTo>
                <a:cubicBezTo>
                  <a:pt x="1119" y="434"/>
                  <a:pt x="1120" y="435"/>
                  <a:pt x="1121" y="434"/>
                </a:cubicBezTo>
                <a:cubicBezTo>
                  <a:pt x="1121" y="434"/>
                  <a:pt x="1121" y="434"/>
                  <a:pt x="1121" y="434"/>
                </a:cubicBezTo>
                <a:cubicBezTo>
                  <a:pt x="1122" y="434"/>
                  <a:pt x="1122" y="434"/>
                  <a:pt x="1123" y="434"/>
                </a:cubicBezTo>
                <a:cubicBezTo>
                  <a:pt x="1124" y="434"/>
                  <a:pt x="1124" y="434"/>
                  <a:pt x="1125" y="433"/>
                </a:cubicBezTo>
                <a:cubicBezTo>
                  <a:pt x="1125" y="433"/>
                  <a:pt x="1125" y="433"/>
                  <a:pt x="1125" y="433"/>
                </a:cubicBezTo>
                <a:cubicBezTo>
                  <a:pt x="1126" y="433"/>
                  <a:pt x="1126" y="433"/>
                  <a:pt x="1126" y="433"/>
                </a:cubicBezTo>
                <a:cubicBezTo>
                  <a:pt x="1127" y="433"/>
                  <a:pt x="1128" y="433"/>
                  <a:pt x="1129" y="433"/>
                </a:cubicBezTo>
                <a:cubicBezTo>
                  <a:pt x="1130" y="433"/>
                  <a:pt x="1131" y="432"/>
                  <a:pt x="1132" y="432"/>
                </a:cubicBezTo>
                <a:cubicBezTo>
                  <a:pt x="1132" y="433"/>
                  <a:pt x="1131" y="434"/>
                  <a:pt x="1132" y="434"/>
                </a:cubicBezTo>
                <a:cubicBezTo>
                  <a:pt x="1133" y="434"/>
                  <a:pt x="1133" y="437"/>
                  <a:pt x="1132" y="437"/>
                </a:cubicBezTo>
                <a:cubicBezTo>
                  <a:pt x="1133" y="438"/>
                  <a:pt x="1133" y="438"/>
                  <a:pt x="1134" y="438"/>
                </a:cubicBezTo>
                <a:cubicBezTo>
                  <a:pt x="1134" y="438"/>
                  <a:pt x="1134" y="437"/>
                  <a:pt x="1134" y="438"/>
                </a:cubicBezTo>
                <a:cubicBezTo>
                  <a:pt x="1134" y="438"/>
                  <a:pt x="1135" y="438"/>
                  <a:pt x="1135" y="438"/>
                </a:cubicBezTo>
                <a:cubicBezTo>
                  <a:pt x="1136" y="438"/>
                  <a:pt x="1134" y="438"/>
                  <a:pt x="1136" y="438"/>
                </a:cubicBezTo>
                <a:cubicBezTo>
                  <a:pt x="1137" y="439"/>
                  <a:pt x="1137" y="440"/>
                  <a:pt x="1137" y="440"/>
                </a:cubicBezTo>
                <a:cubicBezTo>
                  <a:pt x="1137" y="441"/>
                  <a:pt x="1137" y="442"/>
                  <a:pt x="1138" y="442"/>
                </a:cubicBezTo>
                <a:cubicBezTo>
                  <a:pt x="1138" y="442"/>
                  <a:pt x="1138" y="442"/>
                  <a:pt x="1138" y="442"/>
                </a:cubicBezTo>
                <a:cubicBezTo>
                  <a:pt x="1139" y="442"/>
                  <a:pt x="1139" y="442"/>
                  <a:pt x="1140" y="442"/>
                </a:cubicBezTo>
                <a:cubicBezTo>
                  <a:pt x="1140" y="442"/>
                  <a:pt x="1140" y="443"/>
                  <a:pt x="1140" y="443"/>
                </a:cubicBezTo>
                <a:cubicBezTo>
                  <a:pt x="1141" y="443"/>
                  <a:pt x="1141" y="443"/>
                  <a:pt x="1142" y="443"/>
                </a:cubicBezTo>
                <a:cubicBezTo>
                  <a:pt x="1142" y="443"/>
                  <a:pt x="1142" y="442"/>
                  <a:pt x="1143" y="442"/>
                </a:cubicBezTo>
                <a:cubicBezTo>
                  <a:pt x="1143" y="443"/>
                  <a:pt x="1142" y="443"/>
                  <a:pt x="1142" y="443"/>
                </a:cubicBezTo>
                <a:cubicBezTo>
                  <a:pt x="1142" y="444"/>
                  <a:pt x="1142" y="444"/>
                  <a:pt x="1142" y="445"/>
                </a:cubicBezTo>
                <a:cubicBezTo>
                  <a:pt x="1142" y="445"/>
                  <a:pt x="1142" y="446"/>
                  <a:pt x="1142" y="446"/>
                </a:cubicBezTo>
                <a:cubicBezTo>
                  <a:pt x="1142" y="447"/>
                  <a:pt x="1142" y="447"/>
                  <a:pt x="1143" y="447"/>
                </a:cubicBezTo>
                <a:cubicBezTo>
                  <a:pt x="1144" y="448"/>
                  <a:pt x="1145" y="449"/>
                  <a:pt x="1145" y="449"/>
                </a:cubicBezTo>
                <a:cubicBezTo>
                  <a:pt x="1146" y="449"/>
                  <a:pt x="1147" y="449"/>
                  <a:pt x="1147" y="449"/>
                </a:cubicBezTo>
                <a:cubicBezTo>
                  <a:pt x="1148" y="449"/>
                  <a:pt x="1149" y="449"/>
                  <a:pt x="1150" y="449"/>
                </a:cubicBezTo>
                <a:cubicBezTo>
                  <a:pt x="1151" y="449"/>
                  <a:pt x="1150" y="448"/>
                  <a:pt x="1151" y="448"/>
                </a:cubicBezTo>
                <a:cubicBezTo>
                  <a:pt x="1151" y="448"/>
                  <a:pt x="1151" y="448"/>
                  <a:pt x="1151" y="448"/>
                </a:cubicBezTo>
                <a:cubicBezTo>
                  <a:pt x="1151" y="447"/>
                  <a:pt x="1151" y="448"/>
                  <a:pt x="1152" y="447"/>
                </a:cubicBezTo>
                <a:cubicBezTo>
                  <a:pt x="1152" y="446"/>
                  <a:pt x="1152" y="446"/>
                  <a:pt x="1153" y="446"/>
                </a:cubicBezTo>
                <a:cubicBezTo>
                  <a:pt x="1153" y="447"/>
                  <a:pt x="1152" y="449"/>
                  <a:pt x="1151" y="449"/>
                </a:cubicBezTo>
                <a:cubicBezTo>
                  <a:pt x="1151" y="449"/>
                  <a:pt x="1151" y="450"/>
                  <a:pt x="1150" y="450"/>
                </a:cubicBezTo>
                <a:cubicBezTo>
                  <a:pt x="1150" y="450"/>
                  <a:pt x="1150" y="451"/>
                  <a:pt x="1150" y="451"/>
                </a:cubicBezTo>
                <a:cubicBezTo>
                  <a:pt x="1149" y="452"/>
                  <a:pt x="1148" y="451"/>
                  <a:pt x="1148" y="451"/>
                </a:cubicBezTo>
                <a:cubicBezTo>
                  <a:pt x="1148" y="451"/>
                  <a:pt x="1148" y="452"/>
                  <a:pt x="1147" y="452"/>
                </a:cubicBezTo>
                <a:cubicBezTo>
                  <a:pt x="1147" y="452"/>
                  <a:pt x="1147" y="452"/>
                  <a:pt x="1147" y="452"/>
                </a:cubicBezTo>
                <a:cubicBezTo>
                  <a:pt x="1146" y="452"/>
                  <a:pt x="1146" y="452"/>
                  <a:pt x="1145" y="452"/>
                </a:cubicBezTo>
                <a:cubicBezTo>
                  <a:pt x="1145" y="453"/>
                  <a:pt x="1144" y="452"/>
                  <a:pt x="1145" y="454"/>
                </a:cubicBezTo>
                <a:cubicBezTo>
                  <a:pt x="1145" y="455"/>
                  <a:pt x="1146" y="456"/>
                  <a:pt x="1147" y="456"/>
                </a:cubicBezTo>
                <a:cubicBezTo>
                  <a:pt x="1148" y="458"/>
                  <a:pt x="1150" y="459"/>
                  <a:pt x="1151" y="461"/>
                </a:cubicBezTo>
                <a:cubicBezTo>
                  <a:pt x="1152" y="462"/>
                  <a:pt x="1154" y="462"/>
                  <a:pt x="1155" y="461"/>
                </a:cubicBezTo>
                <a:cubicBezTo>
                  <a:pt x="1156" y="460"/>
                  <a:pt x="1156" y="461"/>
                  <a:pt x="1156" y="460"/>
                </a:cubicBezTo>
                <a:cubicBezTo>
                  <a:pt x="1157" y="460"/>
                  <a:pt x="1157" y="460"/>
                  <a:pt x="1157" y="460"/>
                </a:cubicBezTo>
                <a:cubicBezTo>
                  <a:pt x="1158" y="460"/>
                  <a:pt x="1158" y="458"/>
                  <a:pt x="1159" y="458"/>
                </a:cubicBezTo>
                <a:cubicBezTo>
                  <a:pt x="1159" y="456"/>
                  <a:pt x="1159" y="455"/>
                  <a:pt x="1159" y="453"/>
                </a:cubicBezTo>
                <a:cubicBezTo>
                  <a:pt x="1160" y="454"/>
                  <a:pt x="1160" y="452"/>
                  <a:pt x="1160" y="451"/>
                </a:cubicBezTo>
                <a:cubicBezTo>
                  <a:pt x="1160" y="451"/>
                  <a:pt x="1161" y="452"/>
                  <a:pt x="1161" y="452"/>
                </a:cubicBezTo>
                <a:cubicBezTo>
                  <a:pt x="1161" y="453"/>
                  <a:pt x="1161" y="453"/>
                  <a:pt x="1162" y="453"/>
                </a:cubicBezTo>
                <a:cubicBezTo>
                  <a:pt x="1161" y="454"/>
                  <a:pt x="1161" y="453"/>
                  <a:pt x="1161" y="454"/>
                </a:cubicBezTo>
                <a:cubicBezTo>
                  <a:pt x="1161" y="455"/>
                  <a:pt x="1161" y="455"/>
                  <a:pt x="1162" y="455"/>
                </a:cubicBezTo>
                <a:cubicBezTo>
                  <a:pt x="1162" y="455"/>
                  <a:pt x="1162" y="456"/>
                  <a:pt x="1162" y="456"/>
                </a:cubicBezTo>
                <a:cubicBezTo>
                  <a:pt x="1161" y="456"/>
                  <a:pt x="1161" y="458"/>
                  <a:pt x="1162" y="458"/>
                </a:cubicBezTo>
                <a:cubicBezTo>
                  <a:pt x="1162" y="458"/>
                  <a:pt x="1163" y="459"/>
                  <a:pt x="1163" y="459"/>
                </a:cubicBezTo>
                <a:cubicBezTo>
                  <a:pt x="1163" y="460"/>
                  <a:pt x="1163" y="460"/>
                  <a:pt x="1163" y="460"/>
                </a:cubicBezTo>
                <a:cubicBezTo>
                  <a:pt x="1163" y="461"/>
                  <a:pt x="1162" y="461"/>
                  <a:pt x="1162" y="462"/>
                </a:cubicBezTo>
                <a:cubicBezTo>
                  <a:pt x="1162" y="462"/>
                  <a:pt x="1162" y="462"/>
                  <a:pt x="1162" y="463"/>
                </a:cubicBezTo>
                <a:cubicBezTo>
                  <a:pt x="1161" y="463"/>
                  <a:pt x="1161" y="464"/>
                  <a:pt x="1161" y="465"/>
                </a:cubicBezTo>
                <a:cubicBezTo>
                  <a:pt x="1161" y="465"/>
                  <a:pt x="1161" y="466"/>
                  <a:pt x="1160" y="466"/>
                </a:cubicBezTo>
                <a:cubicBezTo>
                  <a:pt x="1160" y="466"/>
                  <a:pt x="1160" y="467"/>
                  <a:pt x="1161" y="467"/>
                </a:cubicBezTo>
                <a:cubicBezTo>
                  <a:pt x="1161" y="467"/>
                  <a:pt x="1161" y="468"/>
                  <a:pt x="1161" y="468"/>
                </a:cubicBezTo>
                <a:cubicBezTo>
                  <a:pt x="1161" y="468"/>
                  <a:pt x="1161" y="469"/>
                  <a:pt x="1162" y="469"/>
                </a:cubicBezTo>
                <a:cubicBezTo>
                  <a:pt x="1162" y="469"/>
                  <a:pt x="1162" y="469"/>
                  <a:pt x="1162" y="470"/>
                </a:cubicBezTo>
                <a:cubicBezTo>
                  <a:pt x="1162" y="470"/>
                  <a:pt x="1162" y="470"/>
                  <a:pt x="1162" y="471"/>
                </a:cubicBezTo>
                <a:cubicBezTo>
                  <a:pt x="1163" y="472"/>
                  <a:pt x="1163" y="472"/>
                  <a:pt x="1162" y="472"/>
                </a:cubicBezTo>
                <a:cubicBezTo>
                  <a:pt x="1162" y="473"/>
                  <a:pt x="1162" y="474"/>
                  <a:pt x="1163" y="474"/>
                </a:cubicBezTo>
                <a:cubicBezTo>
                  <a:pt x="1162" y="475"/>
                  <a:pt x="1162" y="476"/>
                  <a:pt x="1162" y="477"/>
                </a:cubicBezTo>
                <a:cubicBezTo>
                  <a:pt x="1163" y="477"/>
                  <a:pt x="1163" y="477"/>
                  <a:pt x="1163" y="477"/>
                </a:cubicBezTo>
                <a:cubicBezTo>
                  <a:pt x="1163" y="478"/>
                  <a:pt x="1163" y="477"/>
                  <a:pt x="1163" y="478"/>
                </a:cubicBezTo>
                <a:cubicBezTo>
                  <a:pt x="1163" y="478"/>
                  <a:pt x="1163" y="478"/>
                  <a:pt x="1163" y="479"/>
                </a:cubicBezTo>
                <a:cubicBezTo>
                  <a:pt x="1163" y="479"/>
                  <a:pt x="1163" y="479"/>
                  <a:pt x="1163" y="479"/>
                </a:cubicBezTo>
                <a:cubicBezTo>
                  <a:pt x="1163" y="479"/>
                  <a:pt x="1163" y="479"/>
                  <a:pt x="1163" y="480"/>
                </a:cubicBezTo>
                <a:cubicBezTo>
                  <a:pt x="1164" y="480"/>
                  <a:pt x="1163" y="481"/>
                  <a:pt x="1164" y="481"/>
                </a:cubicBezTo>
                <a:cubicBezTo>
                  <a:pt x="1164" y="481"/>
                  <a:pt x="1164" y="483"/>
                  <a:pt x="1164" y="483"/>
                </a:cubicBezTo>
                <a:cubicBezTo>
                  <a:pt x="1164" y="484"/>
                  <a:pt x="1164" y="483"/>
                  <a:pt x="1164" y="484"/>
                </a:cubicBezTo>
                <a:cubicBezTo>
                  <a:pt x="1164" y="485"/>
                  <a:pt x="1164" y="485"/>
                  <a:pt x="1164" y="486"/>
                </a:cubicBezTo>
                <a:cubicBezTo>
                  <a:pt x="1164" y="486"/>
                  <a:pt x="1165" y="486"/>
                  <a:pt x="1165" y="486"/>
                </a:cubicBezTo>
                <a:cubicBezTo>
                  <a:pt x="1165" y="486"/>
                  <a:pt x="1165" y="487"/>
                  <a:pt x="1165" y="487"/>
                </a:cubicBezTo>
                <a:cubicBezTo>
                  <a:pt x="1165" y="488"/>
                  <a:pt x="1165" y="487"/>
                  <a:pt x="1165" y="488"/>
                </a:cubicBezTo>
                <a:cubicBezTo>
                  <a:pt x="1165" y="488"/>
                  <a:pt x="1165" y="488"/>
                  <a:pt x="1165" y="489"/>
                </a:cubicBezTo>
                <a:cubicBezTo>
                  <a:pt x="1165" y="489"/>
                  <a:pt x="1166" y="489"/>
                  <a:pt x="1166" y="489"/>
                </a:cubicBezTo>
                <a:cubicBezTo>
                  <a:pt x="1166" y="489"/>
                  <a:pt x="1165" y="489"/>
                  <a:pt x="1166" y="489"/>
                </a:cubicBezTo>
                <a:cubicBezTo>
                  <a:pt x="1166" y="489"/>
                  <a:pt x="1166" y="491"/>
                  <a:pt x="1166" y="491"/>
                </a:cubicBezTo>
                <a:cubicBezTo>
                  <a:pt x="1167" y="493"/>
                  <a:pt x="1166" y="491"/>
                  <a:pt x="1167" y="492"/>
                </a:cubicBezTo>
                <a:cubicBezTo>
                  <a:pt x="1167" y="492"/>
                  <a:pt x="1167" y="492"/>
                  <a:pt x="1167" y="492"/>
                </a:cubicBezTo>
                <a:cubicBezTo>
                  <a:pt x="1167" y="492"/>
                  <a:pt x="1167" y="492"/>
                  <a:pt x="1167" y="492"/>
                </a:cubicBezTo>
                <a:cubicBezTo>
                  <a:pt x="1167" y="493"/>
                  <a:pt x="1167" y="493"/>
                  <a:pt x="1167" y="493"/>
                </a:cubicBezTo>
                <a:cubicBezTo>
                  <a:pt x="1167" y="493"/>
                  <a:pt x="1168" y="494"/>
                  <a:pt x="1168" y="494"/>
                </a:cubicBezTo>
                <a:cubicBezTo>
                  <a:pt x="1168" y="494"/>
                  <a:pt x="1168" y="494"/>
                  <a:pt x="1168" y="495"/>
                </a:cubicBezTo>
                <a:cubicBezTo>
                  <a:pt x="1168" y="495"/>
                  <a:pt x="1168" y="494"/>
                  <a:pt x="1168" y="495"/>
                </a:cubicBezTo>
                <a:cubicBezTo>
                  <a:pt x="1168" y="495"/>
                  <a:pt x="1168" y="495"/>
                  <a:pt x="1168" y="496"/>
                </a:cubicBezTo>
                <a:cubicBezTo>
                  <a:pt x="1168" y="496"/>
                  <a:pt x="1168" y="495"/>
                  <a:pt x="1168" y="496"/>
                </a:cubicBezTo>
                <a:cubicBezTo>
                  <a:pt x="1168" y="496"/>
                  <a:pt x="1169" y="498"/>
                  <a:pt x="1169" y="498"/>
                </a:cubicBezTo>
                <a:cubicBezTo>
                  <a:pt x="1169" y="498"/>
                  <a:pt x="1170" y="502"/>
                  <a:pt x="1170" y="503"/>
                </a:cubicBezTo>
                <a:cubicBezTo>
                  <a:pt x="1170" y="504"/>
                  <a:pt x="1170" y="505"/>
                  <a:pt x="1170" y="506"/>
                </a:cubicBezTo>
                <a:cubicBezTo>
                  <a:pt x="1170" y="506"/>
                  <a:pt x="1171" y="506"/>
                  <a:pt x="1171" y="506"/>
                </a:cubicBezTo>
                <a:cubicBezTo>
                  <a:pt x="1171" y="506"/>
                  <a:pt x="1171" y="509"/>
                  <a:pt x="1172" y="509"/>
                </a:cubicBezTo>
                <a:cubicBezTo>
                  <a:pt x="1172" y="509"/>
                  <a:pt x="1172" y="509"/>
                  <a:pt x="1172" y="509"/>
                </a:cubicBezTo>
                <a:cubicBezTo>
                  <a:pt x="1172" y="510"/>
                  <a:pt x="1172" y="510"/>
                  <a:pt x="1173" y="510"/>
                </a:cubicBezTo>
                <a:cubicBezTo>
                  <a:pt x="1173" y="510"/>
                  <a:pt x="1173" y="511"/>
                  <a:pt x="1173" y="512"/>
                </a:cubicBezTo>
                <a:cubicBezTo>
                  <a:pt x="1174" y="512"/>
                  <a:pt x="1174" y="512"/>
                  <a:pt x="1174" y="512"/>
                </a:cubicBezTo>
                <a:cubicBezTo>
                  <a:pt x="1174" y="513"/>
                  <a:pt x="1174" y="513"/>
                  <a:pt x="1174" y="513"/>
                </a:cubicBezTo>
                <a:cubicBezTo>
                  <a:pt x="1175" y="513"/>
                  <a:pt x="1175" y="514"/>
                  <a:pt x="1175" y="515"/>
                </a:cubicBezTo>
                <a:cubicBezTo>
                  <a:pt x="1175" y="515"/>
                  <a:pt x="1175" y="514"/>
                  <a:pt x="1176" y="515"/>
                </a:cubicBezTo>
                <a:cubicBezTo>
                  <a:pt x="1176" y="516"/>
                  <a:pt x="1176" y="517"/>
                  <a:pt x="1176" y="517"/>
                </a:cubicBezTo>
                <a:cubicBezTo>
                  <a:pt x="1176" y="518"/>
                  <a:pt x="1176" y="518"/>
                  <a:pt x="1177" y="518"/>
                </a:cubicBezTo>
                <a:cubicBezTo>
                  <a:pt x="1177" y="519"/>
                  <a:pt x="1177" y="519"/>
                  <a:pt x="1178" y="520"/>
                </a:cubicBezTo>
                <a:cubicBezTo>
                  <a:pt x="1178" y="520"/>
                  <a:pt x="1178" y="521"/>
                  <a:pt x="1178" y="521"/>
                </a:cubicBezTo>
                <a:cubicBezTo>
                  <a:pt x="1179" y="522"/>
                  <a:pt x="1179" y="522"/>
                  <a:pt x="1178" y="523"/>
                </a:cubicBezTo>
                <a:cubicBezTo>
                  <a:pt x="1178" y="523"/>
                  <a:pt x="1178" y="522"/>
                  <a:pt x="1178" y="523"/>
                </a:cubicBezTo>
                <a:cubicBezTo>
                  <a:pt x="1178" y="523"/>
                  <a:pt x="1178" y="523"/>
                  <a:pt x="1178" y="524"/>
                </a:cubicBezTo>
                <a:cubicBezTo>
                  <a:pt x="1178" y="525"/>
                  <a:pt x="1179" y="525"/>
                  <a:pt x="1179" y="526"/>
                </a:cubicBezTo>
                <a:cubicBezTo>
                  <a:pt x="1180" y="526"/>
                  <a:pt x="1180" y="526"/>
                  <a:pt x="1180" y="526"/>
                </a:cubicBezTo>
                <a:cubicBezTo>
                  <a:pt x="1180" y="526"/>
                  <a:pt x="1180" y="526"/>
                  <a:pt x="1180" y="527"/>
                </a:cubicBezTo>
                <a:cubicBezTo>
                  <a:pt x="1180" y="527"/>
                  <a:pt x="1181" y="528"/>
                  <a:pt x="1181" y="528"/>
                </a:cubicBezTo>
                <a:cubicBezTo>
                  <a:pt x="1181" y="528"/>
                  <a:pt x="1181" y="528"/>
                  <a:pt x="1181" y="528"/>
                </a:cubicBezTo>
                <a:cubicBezTo>
                  <a:pt x="1181" y="529"/>
                  <a:pt x="1181" y="528"/>
                  <a:pt x="1181" y="529"/>
                </a:cubicBezTo>
                <a:cubicBezTo>
                  <a:pt x="1181" y="529"/>
                  <a:pt x="1181" y="529"/>
                  <a:pt x="1181" y="529"/>
                </a:cubicBezTo>
                <a:cubicBezTo>
                  <a:pt x="1182" y="529"/>
                  <a:pt x="1182" y="529"/>
                  <a:pt x="1182" y="530"/>
                </a:cubicBezTo>
                <a:cubicBezTo>
                  <a:pt x="1182" y="530"/>
                  <a:pt x="1182" y="530"/>
                  <a:pt x="1182" y="530"/>
                </a:cubicBezTo>
                <a:cubicBezTo>
                  <a:pt x="1183" y="530"/>
                  <a:pt x="1182" y="531"/>
                  <a:pt x="1182" y="531"/>
                </a:cubicBezTo>
                <a:cubicBezTo>
                  <a:pt x="1183" y="532"/>
                  <a:pt x="1183" y="532"/>
                  <a:pt x="1184" y="532"/>
                </a:cubicBezTo>
                <a:cubicBezTo>
                  <a:pt x="1185" y="532"/>
                  <a:pt x="1184" y="531"/>
                  <a:pt x="1185" y="531"/>
                </a:cubicBezTo>
                <a:cubicBezTo>
                  <a:pt x="1186" y="531"/>
                  <a:pt x="1186" y="530"/>
                  <a:pt x="1187" y="529"/>
                </a:cubicBezTo>
                <a:cubicBezTo>
                  <a:pt x="1187" y="529"/>
                  <a:pt x="1187" y="529"/>
                  <a:pt x="1187" y="528"/>
                </a:cubicBezTo>
                <a:cubicBezTo>
                  <a:pt x="1187" y="528"/>
                  <a:pt x="1188" y="527"/>
                  <a:pt x="1189" y="527"/>
                </a:cubicBezTo>
                <a:cubicBezTo>
                  <a:pt x="1190" y="527"/>
                  <a:pt x="1189" y="526"/>
                  <a:pt x="1190" y="525"/>
                </a:cubicBezTo>
                <a:cubicBezTo>
                  <a:pt x="1191" y="524"/>
                  <a:pt x="1190" y="524"/>
                  <a:pt x="1191" y="523"/>
                </a:cubicBezTo>
                <a:cubicBezTo>
                  <a:pt x="1191" y="523"/>
                  <a:pt x="1192" y="523"/>
                  <a:pt x="1192" y="522"/>
                </a:cubicBezTo>
                <a:cubicBezTo>
                  <a:pt x="1192" y="522"/>
                  <a:pt x="1192" y="521"/>
                  <a:pt x="1192" y="521"/>
                </a:cubicBezTo>
                <a:cubicBezTo>
                  <a:pt x="1193" y="521"/>
                  <a:pt x="1194" y="522"/>
                  <a:pt x="1194" y="521"/>
                </a:cubicBezTo>
                <a:cubicBezTo>
                  <a:pt x="1194" y="520"/>
                  <a:pt x="1195" y="519"/>
                  <a:pt x="1194" y="519"/>
                </a:cubicBezTo>
                <a:cubicBezTo>
                  <a:pt x="1194" y="519"/>
                  <a:pt x="1194" y="518"/>
                  <a:pt x="1194" y="518"/>
                </a:cubicBezTo>
                <a:cubicBezTo>
                  <a:pt x="1193" y="517"/>
                  <a:pt x="1194" y="516"/>
                  <a:pt x="1194" y="515"/>
                </a:cubicBezTo>
                <a:cubicBezTo>
                  <a:pt x="1194" y="515"/>
                  <a:pt x="1193" y="514"/>
                  <a:pt x="1194" y="514"/>
                </a:cubicBezTo>
                <a:cubicBezTo>
                  <a:pt x="1194" y="514"/>
                  <a:pt x="1194" y="512"/>
                  <a:pt x="1194" y="512"/>
                </a:cubicBezTo>
                <a:cubicBezTo>
                  <a:pt x="1195" y="511"/>
                  <a:pt x="1196" y="511"/>
                  <a:pt x="1196" y="510"/>
                </a:cubicBezTo>
                <a:cubicBezTo>
                  <a:pt x="1196" y="510"/>
                  <a:pt x="1196" y="509"/>
                  <a:pt x="1196" y="508"/>
                </a:cubicBezTo>
                <a:cubicBezTo>
                  <a:pt x="1197" y="508"/>
                  <a:pt x="1197" y="508"/>
                  <a:pt x="1197" y="507"/>
                </a:cubicBezTo>
                <a:cubicBezTo>
                  <a:pt x="1196" y="506"/>
                  <a:pt x="1196" y="506"/>
                  <a:pt x="1196" y="505"/>
                </a:cubicBezTo>
                <a:cubicBezTo>
                  <a:pt x="1196" y="503"/>
                  <a:pt x="1195" y="502"/>
                  <a:pt x="1196" y="500"/>
                </a:cubicBezTo>
                <a:cubicBezTo>
                  <a:pt x="1196" y="499"/>
                  <a:pt x="1196" y="497"/>
                  <a:pt x="1196" y="495"/>
                </a:cubicBezTo>
                <a:cubicBezTo>
                  <a:pt x="1196" y="495"/>
                  <a:pt x="1197" y="494"/>
                  <a:pt x="1196" y="494"/>
                </a:cubicBezTo>
                <a:cubicBezTo>
                  <a:pt x="1197" y="494"/>
                  <a:pt x="1196" y="493"/>
                  <a:pt x="1196" y="493"/>
                </a:cubicBezTo>
                <a:cubicBezTo>
                  <a:pt x="1195" y="493"/>
                  <a:pt x="1196" y="490"/>
                  <a:pt x="1196" y="490"/>
                </a:cubicBezTo>
                <a:cubicBezTo>
                  <a:pt x="1197" y="489"/>
                  <a:pt x="1197" y="488"/>
                  <a:pt x="1198" y="488"/>
                </a:cubicBezTo>
                <a:cubicBezTo>
                  <a:pt x="1199" y="488"/>
                  <a:pt x="1200" y="489"/>
                  <a:pt x="1201" y="487"/>
                </a:cubicBezTo>
                <a:cubicBezTo>
                  <a:pt x="1202" y="486"/>
                  <a:pt x="1203" y="486"/>
                  <a:pt x="1204" y="486"/>
                </a:cubicBezTo>
                <a:cubicBezTo>
                  <a:pt x="1205" y="485"/>
                  <a:pt x="1206" y="485"/>
                  <a:pt x="1206" y="484"/>
                </a:cubicBezTo>
                <a:cubicBezTo>
                  <a:pt x="1206" y="484"/>
                  <a:pt x="1206" y="483"/>
                  <a:pt x="1206" y="483"/>
                </a:cubicBezTo>
                <a:cubicBezTo>
                  <a:pt x="1206" y="483"/>
                  <a:pt x="1206" y="483"/>
                  <a:pt x="1206" y="483"/>
                </a:cubicBezTo>
                <a:cubicBezTo>
                  <a:pt x="1206" y="483"/>
                  <a:pt x="1206" y="482"/>
                  <a:pt x="1206" y="482"/>
                </a:cubicBezTo>
                <a:cubicBezTo>
                  <a:pt x="1206" y="482"/>
                  <a:pt x="1207" y="482"/>
                  <a:pt x="1207" y="482"/>
                </a:cubicBezTo>
                <a:cubicBezTo>
                  <a:pt x="1207" y="481"/>
                  <a:pt x="1207" y="481"/>
                  <a:pt x="1207" y="481"/>
                </a:cubicBezTo>
                <a:cubicBezTo>
                  <a:pt x="1207" y="481"/>
                  <a:pt x="1207" y="481"/>
                  <a:pt x="1207" y="480"/>
                </a:cubicBezTo>
                <a:cubicBezTo>
                  <a:pt x="1207" y="480"/>
                  <a:pt x="1208" y="481"/>
                  <a:pt x="1208" y="480"/>
                </a:cubicBezTo>
                <a:cubicBezTo>
                  <a:pt x="1208" y="480"/>
                  <a:pt x="1209" y="480"/>
                  <a:pt x="1209" y="480"/>
                </a:cubicBezTo>
                <a:cubicBezTo>
                  <a:pt x="1210" y="480"/>
                  <a:pt x="1211" y="480"/>
                  <a:pt x="1211" y="479"/>
                </a:cubicBezTo>
                <a:cubicBezTo>
                  <a:pt x="1212" y="478"/>
                  <a:pt x="1214" y="477"/>
                  <a:pt x="1215" y="477"/>
                </a:cubicBezTo>
                <a:cubicBezTo>
                  <a:pt x="1216" y="475"/>
                  <a:pt x="1218" y="474"/>
                  <a:pt x="1219" y="472"/>
                </a:cubicBezTo>
                <a:cubicBezTo>
                  <a:pt x="1219" y="472"/>
                  <a:pt x="1219" y="472"/>
                  <a:pt x="1219" y="472"/>
                </a:cubicBezTo>
                <a:cubicBezTo>
                  <a:pt x="1219" y="471"/>
                  <a:pt x="1220" y="471"/>
                  <a:pt x="1220" y="471"/>
                </a:cubicBezTo>
                <a:cubicBezTo>
                  <a:pt x="1220" y="470"/>
                  <a:pt x="1221" y="470"/>
                  <a:pt x="1221" y="470"/>
                </a:cubicBezTo>
                <a:cubicBezTo>
                  <a:pt x="1221" y="469"/>
                  <a:pt x="1221" y="468"/>
                  <a:pt x="1222" y="468"/>
                </a:cubicBezTo>
                <a:cubicBezTo>
                  <a:pt x="1223" y="468"/>
                  <a:pt x="1224" y="468"/>
                  <a:pt x="1224" y="468"/>
                </a:cubicBezTo>
                <a:cubicBezTo>
                  <a:pt x="1224" y="468"/>
                  <a:pt x="1226" y="467"/>
                  <a:pt x="1226" y="467"/>
                </a:cubicBezTo>
                <a:cubicBezTo>
                  <a:pt x="1226" y="467"/>
                  <a:pt x="1226" y="466"/>
                  <a:pt x="1227" y="466"/>
                </a:cubicBezTo>
                <a:cubicBezTo>
                  <a:pt x="1228" y="466"/>
                  <a:pt x="1228" y="465"/>
                  <a:pt x="1229" y="465"/>
                </a:cubicBezTo>
                <a:cubicBezTo>
                  <a:pt x="1230" y="464"/>
                  <a:pt x="1230" y="463"/>
                  <a:pt x="1230" y="463"/>
                </a:cubicBezTo>
                <a:cubicBezTo>
                  <a:pt x="1230" y="462"/>
                  <a:pt x="1230" y="461"/>
                  <a:pt x="1230" y="460"/>
                </a:cubicBezTo>
                <a:cubicBezTo>
                  <a:pt x="1230" y="460"/>
                  <a:pt x="1230" y="460"/>
                  <a:pt x="1230" y="460"/>
                </a:cubicBezTo>
                <a:cubicBezTo>
                  <a:pt x="1230" y="459"/>
                  <a:pt x="1231" y="460"/>
                  <a:pt x="1231" y="459"/>
                </a:cubicBezTo>
                <a:cubicBezTo>
                  <a:pt x="1231" y="459"/>
                  <a:pt x="1231" y="459"/>
                  <a:pt x="1231" y="458"/>
                </a:cubicBezTo>
                <a:cubicBezTo>
                  <a:pt x="1232" y="458"/>
                  <a:pt x="1233" y="457"/>
                  <a:pt x="1234" y="457"/>
                </a:cubicBezTo>
                <a:cubicBezTo>
                  <a:pt x="1235" y="457"/>
                  <a:pt x="1234" y="457"/>
                  <a:pt x="1235" y="456"/>
                </a:cubicBezTo>
                <a:cubicBezTo>
                  <a:pt x="1235" y="456"/>
                  <a:pt x="1235" y="455"/>
                  <a:pt x="1235" y="457"/>
                </a:cubicBezTo>
                <a:cubicBezTo>
                  <a:pt x="1236" y="456"/>
                  <a:pt x="1237" y="456"/>
                  <a:pt x="1238" y="456"/>
                </a:cubicBezTo>
                <a:cubicBezTo>
                  <a:pt x="1238" y="456"/>
                  <a:pt x="1237" y="457"/>
                  <a:pt x="1238" y="458"/>
                </a:cubicBezTo>
                <a:cubicBezTo>
                  <a:pt x="1238" y="458"/>
                  <a:pt x="1239" y="458"/>
                  <a:pt x="1240" y="457"/>
                </a:cubicBezTo>
                <a:cubicBezTo>
                  <a:pt x="1241" y="456"/>
                  <a:pt x="1240" y="456"/>
                  <a:pt x="1241" y="456"/>
                </a:cubicBezTo>
                <a:cubicBezTo>
                  <a:pt x="1241" y="456"/>
                  <a:pt x="1242" y="456"/>
                  <a:pt x="1242" y="456"/>
                </a:cubicBezTo>
                <a:cubicBezTo>
                  <a:pt x="1242" y="456"/>
                  <a:pt x="1242" y="455"/>
                  <a:pt x="1242" y="455"/>
                </a:cubicBezTo>
                <a:cubicBezTo>
                  <a:pt x="1242" y="456"/>
                  <a:pt x="1242" y="456"/>
                  <a:pt x="1242" y="456"/>
                </a:cubicBezTo>
                <a:cubicBezTo>
                  <a:pt x="1243" y="456"/>
                  <a:pt x="1244" y="456"/>
                  <a:pt x="1243" y="455"/>
                </a:cubicBezTo>
                <a:cubicBezTo>
                  <a:pt x="1244" y="455"/>
                  <a:pt x="1244" y="455"/>
                  <a:pt x="1244" y="455"/>
                </a:cubicBezTo>
                <a:cubicBezTo>
                  <a:pt x="1245" y="456"/>
                  <a:pt x="1246" y="456"/>
                  <a:pt x="1246" y="455"/>
                </a:cubicBezTo>
                <a:cubicBezTo>
                  <a:pt x="1247" y="455"/>
                  <a:pt x="1247" y="455"/>
                  <a:pt x="1247" y="454"/>
                </a:cubicBezTo>
                <a:cubicBezTo>
                  <a:pt x="1246" y="453"/>
                  <a:pt x="1246" y="452"/>
                  <a:pt x="1246" y="452"/>
                </a:cubicBezTo>
                <a:cubicBezTo>
                  <a:pt x="1246" y="451"/>
                  <a:pt x="1247" y="451"/>
                  <a:pt x="1247" y="450"/>
                </a:cubicBezTo>
                <a:cubicBezTo>
                  <a:pt x="1247" y="450"/>
                  <a:pt x="1247" y="449"/>
                  <a:pt x="1247" y="449"/>
                </a:cubicBezTo>
                <a:cubicBezTo>
                  <a:pt x="1247" y="449"/>
                  <a:pt x="1247" y="449"/>
                  <a:pt x="1246" y="449"/>
                </a:cubicBezTo>
                <a:cubicBezTo>
                  <a:pt x="1246" y="448"/>
                  <a:pt x="1246" y="448"/>
                  <a:pt x="1246" y="448"/>
                </a:cubicBezTo>
                <a:cubicBezTo>
                  <a:pt x="1246" y="448"/>
                  <a:pt x="1246" y="448"/>
                  <a:pt x="1246" y="447"/>
                </a:cubicBezTo>
                <a:cubicBezTo>
                  <a:pt x="1247" y="448"/>
                  <a:pt x="1248" y="448"/>
                  <a:pt x="1249" y="449"/>
                </a:cubicBezTo>
                <a:cubicBezTo>
                  <a:pt x="1249" y="450"/>
                  <a:pt x="1250" y="450"/>
                  <a:pt x="1250" y="450"/>
                </a:cubicBezTo>
                <a:cubicBezTo>
                  <a:pt x="1251" y="450"/>
                  <a:pt x="1251" y="451"/>
                  <a:pt x="1252" y="451"/>
                </a:cubicBezTo>
                <a:cubicBezTo>
                  <a:pt x="1252" y="451"/>
                  <a:pt x="1252" y="452"/>
                  <a:pt x="1253" y="453"/>
                </a:cubicBezTo>
                <a:cubicBezTo>
                  <a:pt x="1254" y="453"/>
                  <a:pt x="1253" y="453"/>
                  <a:pt x="1253" y="454"/>
                </a:cubicBezTo>
                <a:cubicBezTo>
                  <a:pt x="1253" y="455"/>
                  <a:pt x="1254" y="455"/>
                  <a:pt x="1254" y="456"/>
                </a:cubicBezTo>
                <a:cubicBezTo>
                  <a:pt x="1254" y="457"/>
                  <a:pt x="1254" y="458"/>
                  <a:pt x="1254" y="459"/>
                </a:cubicBezTo>
                <a:cubicBezTo>
                  <a:pt x="1254" y="459"/>
                  <a:pt x="1254" y="460"/>
                  <a:pt x="1254" y="460"/>
                </a:cubicBezTo>
                <a:cubicBezTo>
                  <a:pt x="1255" y="461"/>
                  <a:pt x="1255" y="460"/>
                  <a:pt x="1255" y="460"/>
                </a:cubicBezTo>
                <a:cubicBezTo>
                  <a:pt x="1255" y="461"/>
                  <a:pt x="1255" y="461"/>
                  <a:pt x="1255" y="461"/>
                </a:cubicBezTo>
                <a:cubicBezTo>
                  <a:pt x="1256" y="461"/>
                  <a:pt x="1256" y="462"/>
                  <a:pt x="1256" y="463"/>
                </a:cubicBezTo>
                <a:cubicBezTo>
                  <a:pt x="1256" y="464"/>
                  <a:pt x="1256" y="463"/>
                  <a:pt x="1256" y="463"/>
                </a:cubicBezTo>
                <a:cubicBezTo>
                  <a:pt x="1256" y="463"/>
                  <a:pt x="1256" y="464"/>
                  <a:pt x="1256" y="464"/>
                </a:cubicBezTo>
                <a:cubicBezTo>
                  <a:pt x="1257" y="464"/>
                  <a:pt x="1257" y="464"/>
                  <a:pt x="1257" y="464"/>
                </a:cubicBezTo>
                <a:cubicBezTo>
                  <a:pt x="1257" y="465"/>
                  <a:pt x="1257" y="465"/>
                  <a:pt x="1258" y="466"/>
                </a:cubicBezTo>
                <a:cubicBezTo>
                  <a:pt x="1258" y="467"/>
                  <a:pt x="1259" y="465"/>
                  <a:pt x="1259" y="465"/>
                </a:cubicBezTo>
                <a:cubicBezTo>
                  <a:pt x="1259" y="465"/>
                  <a:pt x="1260" y="465"/>
                  <a:pt x="1260" y="465"/>
                </a:cubicBezTo>
                <a:cubicBezTo>
                  <a:pt x="1260" y="465"/>
                  <a:pt x="1260" y="465"/>
                  <a:pt x="1260" y="465"/>
                </a:cubicBezTo>
                <a:cubicBezTo>
                  <a:pt x="1260" y="464"/>
                  <a:pt x="1261" y="465"/>
                  <a:pt x="1261" y="465"/>
                </a:cubicBezTo>
                <a:cubicBezTo>
                  <a:pt x="1261" y="465"/>
                  <a:pt x="1261" y="467"/>
                  <a:pt x="1262" y="467"/>
                </a:cubicBezTo>
                <a:cubicBezTo>
                  <a:pt x="1263" y="468"/>
                  <a:pt x="1262" y="470"/>
                  <a:pt x="1264" y="470"/>
                </a:cubicBezTo>
                <a:cubicBezTo>
                  <a:pt x="1263" y="471"/>
                  <a:pt x="1264" y="474"/>
                  <a:pt x="1264" y="475"/>
                </a:cubicBezTo>
                <a:cubicBezTo>
                  <a:pt x="1264" y="475"/>
                  <a:pt x="1265" y="475"/>
                  <a:pt x="1265" y="475"/>
                </a:cubicBezTo>
                <a:cubicBezTo>
                  <a:pt x="1266" y="476"/>
                  <a:pt x="1265" y="476"/>
                  <a:pt x="1265" y="477"/>
                </a:cubicBezTo>
                <a:cubicBezTo>
                  <a:pt x="1266" y="477"/>
                  <a:pt x="1265" y="478"/>
                  <a:pt x="1266" y="478"/>
                </a:cubicBezTo>
                <a:cubicBezTo>
                  <a:pt x="1266" y="478"/>
                  <a:pt x="1266" y="479"/>
                  <a:pt x="1266" y="480"/>
                </a:cubicBezTo>
                <a:cubicBezTo>
                  <a:pt x="1266" y="480"/>
                  <a:pt x="1265" y="481"/>
                  <a:pt x="1265" y="481"/>
                </a:cubicBezTo>
                <a:cubicBezTo>
                  <a:pt x="1265" y="481"/>
                  <a:pt x="1265" y="481"/>
                  <a:pt x="1265" y="481"/>
                </a:cubicBezTo>
                <a:cubicBezTo>
                  <a:pt x="1265" y="482"/>
                  <a:pt x="1265" y="482"/>
                  <a:pt x="1265" y="483"/>
                </a:cubicBezTo>
                <a:cubicBezTo>
                  <a:pt x="1265" y="483"/>
                  <a:pt x="1264" y="483"/>
                  <a:pt x="1264" y="483"/>
                </a:cubicBezTo>
                <a:cubicBezTo>
                  <a:pt x="1264" y="483"/>
                  <a:pt x="1264" y="483"/>
                  <a:pt x="1264" y="484"/>
                </a:cubicBezTo>
                <a:cubicBezTo>
                  <a:pt x="1264" y="484"/>
                  <a:pt x="1264" y="483"/>
                  <a:pt x="1264" y="484"/>
                </a:cubicBezTo>
                <a:cubicBezTo>
                  <a:pt x="1264" y="484"/>
                  <a:pt x="1264" y="484"/>
                  <a:pt x="1264" y="485"/>
                </a:cubicBezTo>
                <a:cubicBezTo>
                  <a:pt x="1264" y="485"/>
                  <a:pt x="1264" y="486"/>
                  <a:pt x="1264" y="486"/>
                </a:cubicBezTo>
                <a:cubicBezTo>
                  <a:pt x="1264" y="487"/>
                  <a:pt x="1264" y="488"/>
                  <a:pt x="1265" y="488"/>
                </a:cubicBezTo>
                <a:cubicBezTo>
                  <a:pt x="1265" y="488"/>
                  <a:pt x="1266" y="488"/>
                  <a:pt x="1266" y="488"/>
                </a:cubicBezTo>
                <a:cubicBezTo>
                  <a:pt x="1267" y="488"/>
                  <a:pt x="1266" y="489"/>
                  <a:pt x="1267" y="488"/>
                </a:cubicBezTo>
                <a:cubicBezTo>
                  <a:pt x="1268" y="488"/>
                  <a:pt x="1268" y="488"/>
                  <a:pt x="1269" y="488"/>
                </a:cubicBezTo>
                <a:cubicBezTo>
                  <a:pt x="1271" y="489"/>
                  <a:pt x="1270" y="487"/>
                  <a:pt x="1271" y="487"/>
                </a:cubicBezTo>
                <a:cubicBezTo>
                  <a:pt x="1271" y="487"/>
                  <a:pt x="1272" y="487"/>
                  <a:pt x="1272" y="487"/>
                </a:cubicBezTo>
                <a:cubicBezTo>
                  <a:pt x="1272" y="486"/>
                  <a:pt x="1273" y="486"/>
                  <a:pt x="1273" y="486"/>
                </a:cubicBezTo>
                <a:cubicBezTo>
                  <a:pt x="1274" y="484"/>
                  <a:pt x="1274" y="483"/>
                  <a:pt x="1275" y="482"/>
                </a:cubicBezTo>
                <a:cubicBezTo>
                  <a:pt x="1276" y="481"/>
                  <a:pt x="1276" y="483"/>
                  <a:pt x="1276" y="483"/>
                </a:cubicBezTo>
                <a:cubicBezTo>
                  <a:pt x="1277" y="483"/>
                  <a:pt x="1277" y="483"/>
                  <a:pt x="1277" y="484"/>
                </a:cubicBezTo>
                <a:cubicBezTo>
                  <a:pt x="1278" y="484"/>
                  <a:pt x="1278" y="484"/>
                  <a:pt x="1278" y="484"/>
                </a:cubicBezTo>
                <a:cubicBezTo>
                  <a:pt x="1278" y="485"/>
                  <a:pt x="1278" y="485"/>
                  <a:pt x="1278" y="485"/>
                </a:cubicBezTo>
                <a:cubicBezTo>
                  <a:pt x="1279" y="485"/>
                  <a:pt x="1280" y="485"/>
                  <a:pt x="1280" y="486"/>
                </a:cubicBezTo>
                <a:cubicBezTo>
                  <a:pt x="1280" y="487"/>
                  <a:pt x="1280" y="486"/>
                  <a:pt x="1280" y="487"/>
                </a:cubicBezTo>
                <a:cubicBezTo>
                  <a:pt x="1280" y="487"/>
                  <a:pt x="1280" y="487"/>
                  <a:pt x="1280" y="488"/>
                </a:cubicBezTo>
                <a:cubicBezTo>
                  <a:pt x="1279" y="488"/>
                  <a:pt x="1279" y="488"/>
                  <a:pt x="1280" y="489"/>
                </a:cubicBezTo>
                <a:cubicBezTo>
                  <a:pt x="1280" y="490"/>
                  <a:pt x="1280" y="490"/>
                  <a:pt x="1281" y="490"/>
                </a:cubicBezTo>
                <a:cubicBezTo>
                  <a:pt x="1281" y="491"/>
                  <a:pt x="1281" y="490"/>
                  <a:pt x="1281" y="491"/>
                </a:cubicBezTo>
                <a:cubicBezTo>
                  <a:pt x="1281" y="492"/>
                  <a:pt x="1282" y="491"/>
                  <a:pt x="1282" y="492"/>
                </a:cubicBezTo>
                <a:cubicBezTo>
                  <a:pt x="1282" y="492"/>
                  <a:pt x="1282" y="492"/>
                  <a:pt x="1282" y="492"/>
                </a:cubicBezTo>
                <a:cubicBezTo>
                  <a:pt x="1282" y="493"/>
                  <a:pt x="1282" y="494"/>
                  <a:pt x="1282" y="494"/>
                </a:cubicBezTo>
                <a:cubicBezTo>
                  <a:pt x="1282" y="495"/>
                  <a:pt x="1282" y="495"/>
                  <a:pt x="1282" y="496"/>
                </a:cubicBezTo>
                <a:cubicBezTo>
                  <a:pt x="1282" y="497"/>
                  <a:pt x="1283" y="497"/>
                  <a:pt x="1283" y="498"/>
                </a:cubicBezTo>
                <a:cubicBezTo>
                  <a:pt x="1283" y="499"/>
                  <a:pt x="1283" y="498"/>
                  <a:pt x="1283" y="499"/>
                </a:cubicBezTo>
                <a:cubicBezTo>
                  <a:pt x="1283" y="499"/>
                  <a:pt x="1283" y="500"/>
                  <a:pt x="1283" y="500"/>
                </a:cubicBezTo>
                <a:cubicBezTo>
                  <a:pt x="1283" y="500"/>
                  <a:pt x="1284" y="501"/>
                  <a:pt x="1284" y="501"/>
                </a:cubicBezTo>
                <a:cubicBezTo>
                  <a:pt x="1285" y="502"/>
                  <a:pt x="1285" y="502"/>
                  <a:pt x="1285" y="503"/>
                </a:cubicBezTo>
                <a:cubicBezTo>
                  <a:pt x="1285" y="503"/>
                  <a:pt x="1285" y="504"/>
                  <a:pt x="1285" y="504"/>
                </a:cubicBezTo>
                <a:cubicBezTo>
                  <a:pt x="1285" y="504"/>
                  <a:pt x="1285" y="504"/>
                  <a:pt x="1285" y="504"/>
                </a:cubicBezTo>
                <a:cubicBezTo>
                  <a:pt x="1285" y="505"/>
                  <a:pt x="1285" y="505"/>
                  <a:pt x="1285" y="506"/>
                </a:cubicBezTo>
                <a:cubicBezTo>
                  <a:pt x="1285" y="506"/>
                  <a:pt x="1286" y="506"/>
                  <a:pt x="1286" y="507"/>
                </a:cubicBezTo>
                <a:cubicBezTo>
                  <a:pt x="1285" y="507"/>
                  <a:pt x="1286" y="507"/>
                  <a:pt x="1286" y="507"/>
                </a:cubicBezTo>
                <a:cubicBezTo>
                  <a:pt x="1286" y="507"/>
                  <a:pt x="1286" y="508"/>
                  <a:pt x="1286" y="508"/>
                </a:cubicBezTo>
                <a:cubicBezTo>
                  <a:pt x="1286" y="509"/>
                  <a:pt x="1286" y="510"/>
                  <a:pt x="1285" y="511"/>
                </a:cubicBezTo>
                <a:cubicBezTo>
                  <a:pt x="1285" y="511"/>
                  <a:pt x="1286" y="511"/>
                  <a:pt x="1286" y="511"/>
                </a:cubicBezTo>
                <a:cubicBezTo>
                  <a:pt x="1286" y="512"/>
                  <a:pt x="1286" y="512"/>
                  <a:pt x="1286" y="512"/>
                </a:cubicBezTo>
                <a:cubicBezTo>
                  <a:pt x="1287" y="512"/>
                  <a:pt x="1287" y="513"/>
                  <a:pt x="1287" y="514"/>
                </a:cubicBezTo>
                <a:cubicBezTo>
                  <a:pt x="1287" y="514"/>
                  <a:pt x="1287" y="514"/>
                  <a:pt x="1287" y="515"/>
                </a:cubicBezTo>
                <a:cubicBezTo>
                  <a:pt x="1287" y="515"/>
                  <a:pt x="1287" y="514"/>
                  <a:pt x="1287" y="515"/>
                </a:cubicBezTo>
                <a:cubicBezTo>
                  <a:pt x="1288" y="516"/>
                  <a:pt x="1287" y="517"/>
                  <a:pt x="1287" y="518"/>
                </a:cubicBezTo>
                <a:cubicBezTo>
                  <a:pt x="1287" y="519"/>
                  <a:pt x="1286" y="519"/>
                  <a:pt x="1286" y="519"/>
                </a:cubicBezTo>
                <a:cubicBezTo>
                  <a:pt x="1286" y="520"/>
                  <a:pt x="1286" y="521"/>
                  <a:pt x="1286" y="522"/>
                </a:cubicBezTo>
                <a:cubicBezTo>
                  <a:pt x="1286" y="522"/>
                  <a:pt x="1287" y="521"/>
                  <a:pt x="1287" y="522"/>
                </a:cubicBezTo>
                <a:cubicBezTo>
                  <a:pt x="1287" y="522"/>
                  <a:pt x="1287" y="523"/>
                  <a:pt x="1287" y="523"/>
                </a:cubicBezTo>
                <a:cubicBezTo>
                  <a:pt x="1287" y="523"/>
                  <a:pt x="1286" y="523"/>
                  <a:pt x="1286" y="524"/>
                </a:cubicBezTo>
                <a:cubicBezTo>
                  <a:pt x="1286" y="524"/>
                  <a:pt x="1286" y="525"/>
                  <a:pt x="1285" y="525"/>
                </a:cubicBezTo>
                <a:cubicBezTo>
                  <a:pt x="1285" y="526"/>
                  <a:pt x="1285" y="527"/>
                  <a:pt x="1285" y="528"/>
                </a:cubicBezTo>
                <a:cubicBezTo>
                  <a:pt x="1285" y="528"/>
                  <a:pt x="1285" y="528"/>
                  <a:pt x="1285" y="528"/>
                </a:cubicBezTo>
                <a:cubicBezTo>
                  <a:pt x="1285" y="529"/>
                  <a:pt x="1285" y="529"/>
                  <a:pt x="1285" y="530"/>
                </a:cubicBezTo>
                <a:cubicBezTo>
                  <a:pt x="1285" y="530"/>
                  <a:pt x="1285" y="530"/>
                  <a:pt x="1286" y="530"/>
                </a:cubicBezTo>
                <a:cubicBezTo>
                  <a:pt x="1286" y="531"/>
                  <a:pt x="1286" y="531"/>
                  <a:pt x="1286" y="531"/>
                </a:cubicBezTo>
                <a:cubicBezTo>
                  <a:pt x="1286" y="532"/>
                  <a:pt x="1289" y="534"/>
                  <a:pt x="1290" y="535"/>
                </a:cubicBezTo>
                <a:cubicBezTo>
                  <a:pt x="1290" y="535"/>
                  <a:pt x="1289" y="535"/>
                  <a:pt x="1290" y="536"/>
                </a:cubicBezTo>
                <a:cubicBezTo>
                  <a:pt x="1291" y="537"/>
                  <a:pt x="1291" y="537"/>
                  <a:pt x="1291" y="538"/>
                </a:cubicBezTo>
                <a:cubicBezTo>
                  <a:pt x="1291" y="539"/>
                  <a:pt x="1292" y="539"/>
                  <a:pt x="1293" y="540"/>
                </a:cubicBezTo>
                <a:cubicBezTo>
                  <a:pt x="1293" y="541"/>
                  <a:pt x="1293" y="542"/>
                  <a:pt x="1293" y="543"/>
                </a:cubicBezTo>
                <a:cubicBezTo>
                  <a:pt x="1293" y="544"/>
                  <a:pt x="1293" y="544"/>
                  <a:pt x="1293" y="546"/>
                </a:cubicBezTo>
                <a:cubicBezTo>
                  <a:pt x="1293" y="546"/>
                  <a:pt x="1294" y="545"/>
                  <a:pt x="1294" y="546"/>
                </a:cubicBezTo>
                <a:cubicBezTo>
                  <a:pt x="1294" y="547"/>
                  <a:pt x="1294" y="546"/>
                  <a:pt x="1294" y="547"/>
                </a:cubicBezTo>
                <a:cubicBezTo>
                  <a:pt x="1294" y="547"/>
                  <a:pt x="1294" y="548"/>
                  <a:pt x="1294" y="548"/>
                </a:cubicBezTo>
                <a:cubicBezTo>
                  <a:pt x="1294" y="548"/>
                  <a:pt x="1294" y="549"/>
                  <a:pt x="1294" y="550"/>
                </a:cubicBezTo>
                <a:cubicBezTo>
                  <a:pt x="1294" y="550"/>
                  <a:pt x="1294" y="550"/>
                  <a:pt x="1294" y="551"/>
                </a:cubicBezTo>
                <a:cubicBezTo>
                  <a:pt x="1294" y="551"/>
                  <a:pt x="1295" y="551"/>
                  <a:pt x="1295" y="552"/>
                </a:cubicBezTo>
                <a:cubicBezTo>
                  <a:pt x="1295" y="552"/>
                  <a:pt x="1295" y="552"/>
                  <a:pt x="1295" y="552"/>
                </a:cubicBezTo>
                <a:cubicBezTo>
                  <a:pt x="1295" y="552"/>
                  <a:pt x="1295" y="553"/>
                  <a:pt x="1295" y="554"/>
                </a:cubicBezTo>
                <a:cubicBezTo>
                  <a:pt x="1295" y="555"/>
                  <a:pt x="1296" y="556"/>
                  <a:pt x="1296" y="557"/>
                </a:cubicBezTo>
                <a:cubicBezTo>
                  <a:pt x="1297" y="558"/>
                  <a:pt x="1297" y="558"/>
                  <a:pt x="1298" y="559"/>
                </a:cubicBezTo>
                <a:cubicBezTo>
                  <a:pt x="1298" y="560"/>
                  <a:pt x="1298" y="559"/>
                  <a:pt x="1298" y="560"/>
                </a:cubicBezTo>
                <a:cubicBezTo>
                  <a:pt x="1298" y="560"/>
                  <a:pt x="1298" y="561"/>
                  <a:pt x="1298" y="561"/>
                </a:cubicBezTo>
                <a:cubicBezTo>
                  <a:pt x="1298" y="562"/>
                  <a:pt x="1299" y="563"/>
                  <a:pt x="1300" y="564"/>
                </a:cubicBezTo>
                <a:cubicBezTo>
                  <a:pt x="1300" y="564"/>
                  <a:pt x="1303" y="565"/>
                  <a:pt x="1303" y="566"/>
                </a:cubicBezTo>
                <a:cubicBezTo>
                  <a:pt x="1303" y="567"/>
                  <a:pt x="1304" y="567"/>
                  <a:pt x="1304" y="567"/>
                </a:cubicBezTo>
                <a:cubicBezTo>
                  <a:pt x="1305" y="568"/>
                  <a:pt x="1304" y="568"/>
                  <a:pt x="1305" y="568"/>
                </a:cubicBezTo>
                <a:cubicBezTo>
                  <a:pt x="1306" y="568"/>
                  <a:pt x="1305" y="568"/>
                  <a:pt x="1305" y="568"/>
                </a:cubicBezTo>
                <a:cubicBezTo>
                  <a:pt x="1305" y="568"/>
                  <a:pt x="1306" y="568"/>
                  <a:pt x="1306" y="568"/>
                </a:cubicBezTo>
                <a:cubicBezTo>
                  <a:pt x="1306" y="568"/>
                  <a:pt x="1306" y="568"/>
                  <a:pt x="1306" y="568"/>
                </a:cubicBezTo>
                <a:cubicBezTo>
                  <a:pt x="1306" y="569"/>
                  <a:pt x="1307" y="569"/>
                  <a:pt x="1307" y="569"/>
                </a:cubicBezTo>
                <a:cubicBezTo>
                  <a:pt x="1308" y="570"/>
                  <a:pt x="1308" y="569"/>
                  <a:pt x="1308" y="568"/>
                </a:cubicBezTo>
                <a:cubicBezTo>
                  <a:pt x="1309" y="567"/>
                  <a:pt x="1310" y="568"/>
                  <a:pt x="1312" y="568"/>
                </a:cubicBezTo>
                <a:cubicBezTo>
                  <a:pt x="1311" y="567"/>
                  <a:pt x="1311" y="566"/>
                  <a:pt x="1311" y="565"/>
                </a:cubicBezTo>
                <a:cubicBezTo>
                  <a:pt x="1310" y="564"/>
                  <a:pt x="1311" y="566"/>
                  <a:pt x="1310" y="564"/>
                </a:cubicBezTo>
                <a:cubicBezTo>
                  <a:pt x="1310" y="563"/>
                  <a:pt x="1310" y="564"/>
                  <a:pt x="1310" y="563"/>
                </a:cubicBezTo>
                <a:cubicBezTo>
                  <a:pt x="1310" y="563"/>
                  <a:pt x="1310" y="562"/>
                  <a:pt x="1310" y="562"/>
                </a:cubicBezTo>
                <a:cubicBezTo>
                  <a:pt x="1309" y="562"/>
                  <a:pt x="1308" y="562"/>
                  <a:pt x="1308" y="561"/>
                </a:cubicBezTo>
                <a:cubicBezTo>
                  <a:pt x="1308" y="561"/>
                  <a:pt x="1309" y="560"/>
                  <a:pt x="1308" y="560"/>
                </a:cubicBezTo>
                <a:cubicBezTo>
                  <a:pt x="1308" y="559"/>
                  <a:pt x="1309" y="554"/>
                  <a:pt x="1308" y="553"/>
                </a:cubicBezTo>
                <a:cubicBezTo>
                  <a:pt x="1308" y="553"/>
                  <a:pt x="1309" y="551"/>
                  <a:pt x="1308" y="551"/>
                </a:cubicBezTo>
                <a:cubicBezTo>
                  <a:pt x="1308" y="551"/>
                  <a:pt x="1308" y="551"/>
                  <a:pt x="1308" y="551"/>
                </a:cubicBezTo>
                <a:cubicBezTo>
                  <a:pt x="1307" y="551"/>
                  <a:pt x="1307" y="550"/>
                  <a:pt x="1307" y="550"/>
                </a:cubicBezTo>
                <a:cubicBezTo>
                  <a:pt x="1307" y="550"/>
                  <a:pt x="1308" y="550"/>
                  <a:pt x="1307" y="549"/>
                </a:cubicBezTo>
                <a:cubicBezTo>
                  <a:pt x="1305" y="548"/>
                  <a:pt x="1306" y="545"/>
                  <a:pt x="1304" y="545"/>
                </a:cubicBezTo>
                <a:cubicBezTo>
                  <a:pt x="1304" y="545"/>
                  <a:pt x="1302" y="543"/>
                  <a:pt x="1302" y="543"/>
                </a:cubicBezTo>
                <a:cubicBezTo>
                  <a:pt x="1301" y="542"/>
                  <a:pt x="1301" y="542"/>
                  <a:pt x="1301" y="541"/>
                </a:cubicBezTo>
                <a:cubicBezTo>
                  <a:pt x="1301" y="541"/>
                  <a:pt x="1298" y="538"/>
                  <a:pt x="1298" y="538"/>
                </a:cubicBezTo>
                <a:cubicBezTo>
                  <a:pt x="1297" y="538"/>
                  <a:pt x="1296" y="538"/>
                  <a:pt x="1295" y="537"/>
                </a:cubicBezTo>
                <a:cubicBezTo>
                  <a:pt x="1294" y="535"/>
                  <a:pt x="1293" y="533"/>
                  <a:pt x="1293" y="531"/>
                </a:cubicBezTo>
                <a:cubicBezTo>
                  <a:pt x="1293" y="531"/>
                  <a:pt x="1292" y="531"/>
                  <a:pt x="1292" y="531"/>
                </a:cubicBezTo>
                <a:cubicBezTo>
                  <a:pt x="1292" y="530"/>
                  <a:pt x="1291" y="530"/>
                  <a:pt x="1291" y="529"/>
                </a:cubicBezTo>
                <a:cubicBezTo>
                  <a:pt x="1291" y="528"/>
                  <a:pt x="1291" y="528"/>
                  <a:pt x="1291" y="527"/>
                </a:cubicBezTo>
                <a:cubicBezTo>
                  <a:pt x="1291" y="527"/>
                  <a:pt x="1290" y="527"/>
                  <a:pt x="1290" y="527"/>
                </a:cubicBezTo>
                <a:cubicBezTo>
                  <a:pt x="1289" y="527"/>
                  <a:pt x="1289" y="526"/>
                  <a:pt x="1289" y="526"/>
                </a:cubicBezTo>
                <a:cubicBezTo>
                  <a:pt x="1289" y="525"/>
                  <a:pt x="1289" y="524"/>
                  <a:pt x="1289" y="523"/>
                </a:cubicBezTo>
                <a:cubicBezTo>
                  <a:pt x="1289" y="522"/>
                  <a:pt x="1290" y="523"/>
                  <a:pt x="1290" y="522"/>
                </a:cubicBezTo>
                <a:cubicBezTo>
                  <a:pt x="1290" y="521"/>
                  <a:pt x="1290" y="522"/>
                  <a:pt x="1290" y="522"/>
                </a:cubicBezTo>
                <a:cubicBezTo>
                  <a:pt x="1290" y="521"/>
                  <a:pt x="1290" y="519"/>
                  <a:pt x="1290" y="519"/>
                </a:cubicBezTo>
                <a:cubicBezTo>
                  <a:pt x="1290" y="519"/>
                  <a:pt x="1291" y="518"/>
                  <a:pt x="1291" y="518"/>
                </a:cubicBezTo>
                <a:cubicBezTo>
                  <a:pt x="1291" y="517"/>
                  <a:pt x="1291" y="516"/>
                  <a:pt x="1291" y="515"/>
                </a:cubicBezTo>
                <a:cubicBezTo>
                  <a:pt x="1291" y="515"/>
                  <a:pt x="1291" y="515"/>
                  <a:pt x="1291" y="515"/>
                </a:cubicBezTo>
                <a:cubicBezTo>
                  <a:pt x="1291" y="514"/>
                  <a:pt x="1291" y="514"/>
                  <a:pt x="1291" y="513"/>
                </a:cubicBezTo>
                <a:cubicBezTo>
                  <a:pt x="1291" y="513"/>
                  <a:pt x="1292" y="511"/>
                  <a:pt x="1292" y="511"/>
                </a:cubicBezTo>
                <a:cubicBezTo>
                  <a:pt x="1292" y="510"/>
                  <a:pt x="1292" y="509"/>
                  <a:pt x="1292" y="508"/>
                </a:cubicBezTo>
                <a:cubicBezTo>
                  <a:pt x="1292" y="507"/>
                  <a:pt x="1293" y="506"/>
                  <a:pt x="1293" y="505"/>
                </a:cubicBezTo>
                <a:cubicBezTo>
                  <a:pt x="1292" y="505"/>
                  <a:pt x="1292" y="504"/>
                  <a:pt x="1292" y="504"/>
                </a:cubicBezTo>
                <a:cubicBezTo>
                  <a:pt x="1293" y="504"/>
                  <a:pt x="1293" y="504"/>
                  <a:pt x="1293" y="503"/>
                </a:cubicBezTo>
                <a:cubicBezTo>
                  <a:pt x="1293" y="503"/>
                  <a:pt x="1294" y="503"/>
                  <a:pt x="1294" y="503"/>
                </a:cubicBezTo>
                <a:cubicBezTo>
                  <a:pt x="1295" y="503"/>
                  <a:pt x="1295" y="503"/>
                  <a:pt x="1295" y="503"/>
                </a:cubicBezTo>
                <a:cubicBezTo>
                  <a:pt x="1295" y="503"/>
                  <a:pt x="1296" y="503"/>
                  <a:pt x="1296" y="503"/>
                </a:cubicBezTo>
                <a:cubicBezTo>
                  <a:pt x="1297" y="503"/>
                  <a:pt x="1297" y="506"/>
                  <a:pt x="1298" y="507"/>
                </a:cubicBezTo>
                <a:cubicBezTo>
                  <a:pt x="1298" y="507"/>
                  <a:pt x="1300" y="507"/>
                  <a:pt x="1300" y="507"/>
                </a:cubicBezTo>
                <a:cubicBezTo>
                  <a:pt x="1301" y="508"/>
                  <a:pt x="1301" y="510"/>
                  <a:pt x="1303" y="511"/>
                </a:cubicBezTo>
                <a:cubicBezTo>
                  <a:pt x="1303" y="511"/>
                  <a:pt x="1303" y="511"/>
                  <a:pt x="1303" y="511"/>
                </a:cubicBezTo>
                <a:cubicBezTo>
                  <a:pt x="1303" y="511"/>
                  <a:pt x="1303" y="511"/>
                  <a:pt x="1304" y="511"/>
                </a:cubicBezTo>
                <a:cubicBezTo>
                  <a:pt x="1304" y="511"/>
                  <a:pt x="1304" y="513"/>
                  <a:pt x="1305" y="513"/>
                </a:cubicBezTo>
                <a:cubicBezTo>
                  <a:pt x="1305" y="514"/>
                  <a:pt x="1306" y="514"/>
                  <a:pt x="1306" y="515"/>
                </a:cubicBezTo>
                <a:cubicBezTo>
                  <a:pt x="1306" y="516"/>
                  <a:pt x="1307" y="516"/>
                  <a:pt x="1307" y="516"/>
                </a:cubicBezTo>
                <a:cubicBezTo>
                  <a:pt x="1307" y="517"/>
                  <a:pt x="1307" y="518"/>
                  <a:pt x="1307" y="519"/>
                </a:cubicBezTo>
                <a:cubicBezTo>
                  <a:pt x="1308" y="518"/>
                  <a:pt x="1309" y="518"/>
                  <a:pt x="1309" y="518"/>
                </a:cubicBezTo>
                <a:cubicBezTo>
                  <a:pt x="1309" y="518"/>
                  <a:pt x="1309" y="519"/>
                  <a:pt x="1310" y="520"/>
                </a:cubicBezTo>
                <a:cubicBezTo>
                  <a:pt x="1310" y="520"/>
                  <a:pt x="1312" y="520"/>
                  <a:pt x="1312" y="520"/>
                </a:cubicBezTo>
                <a:cubicBezTo>
                  <a:pt x="1312" y="520"/>
                  <a:pt x="1313" y="520"/>
                  <a:pt x="1313" y="521"/>
                </a:cubicBezTo>
                <a:cubicBezTo>
                  <a:pt x="1313" y="521"/>
                  <a:pt x="1314" y="522"/>
                  <a:pt x="1314" y="523"/>
                </a:cubicBezTo>
                <a:cubicBezTo>
                  <a:pt x="1314" y="523"/>
                  <a:pt x="1314" y="525"/>
                  <a:pt x="1313" y="525"/>
                </a:cubicBezTo>
                <a:cubicBezTo>
                  <a:pt x="1313" y="525"/>
                  <a:pt x="1313" y="526"/>
                  <a:pt x="1314" y="527"/>
                </a:cubicBezTo>
                <a:cubicBezTo>
                  <a:pt x="1314" y="528"/>
                  <a:pt x="1314" y="528"/>
                  <a:pt x="1315" y="529"/>
                </a:cubicBezTo>
                <a:cubicBezTo>
                  <a:pt x="1315" y="530"/>
                  <a:pt x="1314" y="530"/>
                  <a:pt x="1314" y="531"/>
                </a:cubicBezTo>
                <a:cubicBezTo>
                  <a:pt x="1316" y="530"/>
                  <a:pt x="1317" y="530"/>
                  <a:pt x="1317" y="528"/>
                </a:cubicBezTo>
                <a:cubicBezTo>
                  <a:pt x="1318" y="528"/>
                  <a:pt x="1318" y="528"/>
                  <a:pt x="1319" y="528"/>
                </a:cubicBezTo>
                <a:cubicBezTo>
                  <a:pt x="1319" y="528"/>
                  <a:pt x="1319" y="527"/>
                  <a:pt x="1319" y="528"/>
                </a:cubicBezTo>
                <a:cubicBezTo>
                  <a:pt x="1319" y="527"/>
                  <a:pt x="1319" y="527"/>
                  <a:pt x="1319" y="527"/>
                </a:cubicBezTo>
                <a:cubicBezTo>
                  <a:pt x="1319" y="526"/>
                  <a:pt x="1318" y="524"/>
                  <a:pt x="1318" y="523"/>
                </a:cubicBezTo>
                <a:cubicBezTo>
                  <a:pt x="1318" y="523"/>
                  <a:pt x="1318" y="523"/>
                  <a:pt x="1318" y="523"/>
                </a:cubicBezTo>
                <a:cubicBezTo>
                  <a:pt x="1318" y="523"/>
                  <a:pt x="1318" y="522"/>
                  <a:pt x="1318" y="522"/>
                </a:cubicBezTo>
                <a:cubicBezTo>
                  <a:pt x="1318" y="522"/>
                  <a:pt x="1317" y="522"/>
                  <a:pt x="1317" y="522"/>
                </a:cubicBezTo>
                <a:cubicBezTo>
                  <a:pt x="1319" y="523"/>
                  <a:pt x="1319" y="525"/>
                  <a:pt x="1321" y="525"/>
                </a:cubicBezTo>
                <a:cubicBezTo>
                  <a:pt x="1322" y="525"/>
                  <a:pt x="1322" y="524"/>
                  <a:pt x="1322" y="524"/>
                </a:cubicBezTo>
                <a:cubicBezTo>
                  <a:pt x="1321" y="523"/>
                  <a:pt x="1320" y="523"/>
                  <a:pt x="1320" y="522"/>
                </a:cubicBezTo>
                <a:cubicBezTo>
                  <a:pt x="1319" y="522"/>
                  <a:pt x="1318" y="521"/>
                  <a:pt x="1318" y="520"/>
                </a:cubicBezTo>
                <a:cubicBezTo>
                  <a:pt x="1318" y="520"/>
                  <a:pt x="1319" y="520"/>
                  <a:pt x="1319" y="520"/>
                </a:cubicBezTo>
                <a:cubicBezTo>
                  <a:pt x="1320" y="520"/>
                  <a:pt x="1320" y="521"/>
                  <a:pt x="1320" y="521"/>
                </a:cubicBezTo>
                <a:cubicBezTo>
                  <a:pt x="1321" y="521"/>
                  <a:pt x="1322" y="522"/>
                  <a:pt x="1322" y="521"/>
                </a:cubicBezTo>
                <a:cubicBezTo>
                  <a:pt x="1322" y="521"/>
                  <a:pt x="1323" y="522"/>
                  <a:pt x="1324" y="521"/>
                </a:cubicBezTo>
                <a:cubicBezTo>
                  <a:pt x="1324" y="521"/>
                  <a:pt x="1324" y="521"/>
                  <a:pt x="1324" y="521"/>
                </a:cubicBezTo>
                <a:cubicBezTo>
                  <a:pt x="1324" y="521"/>
                  <a:pt x="1325" y="521"/>
                  <a:pt x="1325" y="521"/>
                </a:cubicBezTo>
                <a:cubicBezTo>
                  <a:pt x="1325" y="521"/>
                  <a:pt x="1325" y="520"/>
                  <a:pt x="1325" y="520"/>
                </a:cubicBezTo>
                <a:cubicBezTo>
                  <a:pt x="1325" y="520"/>
                  <a:pt x="1326" y="521"/>
                  <a:pt x="1327" y="521"/>
                </a:cubicBezTo>
                <a:cubicBezTo>
                  <a:pt x="1327" y="520"/>
                  <a:pt x="1327" y="520"/>
                  <a:pt x="1328" y="519"/>
                </a:cubicBezTo>
                <a:cubicBezTo>
                  <a:pt x="1328" y="519"/>
                  <a:pt x="1328" y="519"/>
                  <a:pt x="1328" y="519"/>
                </a:cubicBezTo>
                <a:cubicBezTo>
                  <a:pt x="1329" y="518"/>
                  <a:pt x="1330" y="519"/>
                  <a:pt x="1330" y="518"/>
                </a:cubicBezTo>
                <a:cubicBezTo>
                  <a:pt x="1330" y="517"/>
                  <a:pt x="1331" y="517"/>
                  <a:pt x="1331" y="517"/>
                </a:cubicBezTo>
                <a:cubicBezTo>
                  <a:pt x="1332" y="517"/>
                  <a:pt x="1331" y="517"/>
                  <a:pt x="1332" y="517"/>
                </a:cubicBezTo>
                <a:cubicBezTo>
                  <a:pt x="1332" y="517"/>
                  <a:pt x="1332" y="517"/>
                  <a:pt x="1333" y="516"/>
                </a:cubicBezTo>
                <a:cubicBezTo>
                  <a:pt x="1333" y="516"/>
                  <a:pt x="1333" y="515"/>
                  <a:pt x="1334" y="515"/>
                </a:cubicBezTo>
                <a:cubicBezTo>
                  <a:pt x="1334" y="515"/>
                  <a:pt x="1335" y="514"/>
                  <a:pt x="1335" y="514"/>
                </a:cubicBezTo>
                <a:cubicBezTo>
                  <a:pt x="1335" y="513"/>
                  <a:pt x="1335" y="512"/>
                  <a:pt x="1336" y="512"/>
                </a:cubicBezTo>
                <a:cubicBezTo>
                  <a:pt x="1336" y="510"/>
                  <a:pt x="1335" y="508"/>
                  <a:pt x="1336" y="508"/>
                </a:cubicBezTo>
                <a:cubicBezTo>
                  <a:pt x="1337" y="507"/>
                  <a:pt x="1337" y="506"/>
                  <a:pt x="1336" y="506"/>
                </a:cubicBezTo>
                <a:cubicBezTo>
                  <a:pt x="1336" y="506"/>
                  <a:pt x="1336" y="505"/>
                  <a:pt x="1336" y="505"/>
                </a:cubicBezTo>
                <a:cubicBezTo>
                  <a:pt x="1336" y="504"/>
                  <a:pt x="1335" y="504"/>
                  <a:pt x="1335" y="504"/>
                </a:cubicBezTo>
                <a:cubicBezTo>
                  <a:pt x="1335" y="503"/>
                  <a:pt x="1335" y="503"/>
                  <a:pt x="1335" y="501"/>
                </a:cubicBezTo>
                <a:cubicBezTo>
                  <a:pt x="1335" y="501"/>
                  <a:pt x="1335" y="500"/>
                  <a:pt x="1335" y="500"/>
                </a:cubicBezTo>
                <a:cubicBezTo>
                  <a:pt x="1335" y="499"/>
                  <a:pt x="1334" y="499"/>
                  <a:pt x="1334" y="499"/>
                </a:cubicBezTo>
                <a:cubicBezTo>
                  <a:pt x="1334" y="498"/>
                  <a:pt x="1334" y="497"/>
                  <a:pt x="1334" y="497"/>
                </a:cubicBezTo>
                <a:cubicBezTo>
                  <a:pt x="1333" y="496"/>
                  <a:pt x="1333" y="495"/>
                  <a:pt x="1333" y="494"/>
                </a:cubicBezTo>
                <a:cubicBezTo>
                  <a:pt x="1333" y="493"/>
                  <a:pt x="1332" y="494"/>
                  <a:pt x="1332" y="493"/>
                </a:cubicBezTo>
                <a:cubicBezTo>
                  <a:pt x="1332" y="493"/>
                  <a:pt x="1331" y="491"/>
                  <a:pt x="1331" y="491"/>
                </a:cubicBezTo>
                <a:cubicBezTo>
                  <a:pt x="1330" y="491"/>
                  <a:pt x="1330" y="489"/>
                  <a:pt x="1330" y="488"/>
                </a:cubicBezTo>
                <a:cubicBezTo>
                  <a:pt x="1329" y="488"/>
                  <a:pt x="1329" y="488"/>
                  <a:pt x="1329" y="487"/>
                </a:cubicBezTo>
                <a:cubicBezTo>
                  <a:pt x="1328" y="486"/>
                  <a:pt x="1328" y="487"/>
                  <a:pt x="1327" y="486"/>
                </a:cubicBezTo>
                <a:cubicBezTo>
                  <a:pt x="1327" y="486"/>
                  <a:pt x="1327" y="486"/>
                  <a:pt x="1327" y="486"/>
                </a:cubicBezTo>
                <a:cubicBezTo>
                  <a:pt x="1327" y="485"/>
                  <a:pt x="1327" y="486"/>
                  <a:pt x="1327" y="485"/>
                </a:cubicBezTo>
                <a:cubicBezTo>
                  <a:pt x="1326" y="485"/>
                  <a:pt x="1327" y="485"/>
                  <a:pt x="1327" y="485"/>
                </a:cubicBezTo>
                <a:cubicBezTo>
                  <a:pt x="1326" y="484"/>
                  <a:pt x="1326" y="484"/>
                  <a:pt x="1326" y="484"/>
                </a:cubicBezTo>
                <a:cubicBezTo>
                  <a:pt x="1326" y="483"/>
                  <a:pt x="1325" y="484"/>
                  <a:pt x="1325" y="484"/>
                </a:cubicBezTo>
                <a:cubicBezTo>
                  <a:pt x="1325" y="483"/>
                  <a:pt x="1325" y="483"/>
                  <a:pt x="1325" y="483"/>
                </a:cubicBezTo>
                <a:cubicBezTo>
                  <a:pt x="1325" y="482"/>
                  <a:pt x="1325" y="482"/>
                  <a:pt x="1324" y="482"/>
                </a:cubicBezTo>
                <a:cubicBezTo>
                  <a:pt x="1324" y="482"/>
                  <a:pt x="1323" y="481"/>
                  <a:pt x="1323" y="481"/>
                </a:cubicBezTo>
                <a:cubicBezTo>
                  <a:pt x="1323" y="480"/>
                  <a:pt x="1323" y="481"/>
                  <a:pt x="1322" y="480"/>
                </a:cubicBezTo>
                <a:cubicBezTo>
                  <a:pt x="1322" y="480"/>
                  <a:pt x="1323" y="480"/>
                  <a:pt x="1322" y="480"/>
                </a:cubicBezTo>
                <a:cubicBezTo>
                  <a:pt x="1321" y="479"/>
                  <a:pt x="1321" y="480"/>
                  <a:pt x="1321" y="479"/>
                </a:cubicBezTo>
                <a:cubicBezTo>
                  <a:pt x="1321" y="478"/>
                  <a:pt x="1321" y="479"/>
                  <a:pt x="1321" y="479"/>
                </a:cubicBezTo>
                <a:cubicBezTo>
                  <a:pt x="1321" y="478"/>
                  <a:pt x="1321" y="478"/>
                  <a:pt x="1321" y="478"/>
                </a:cubicBezTo>
                <a:cubicBezTo>
                  <a:pt x="1321" y="477"/>
                  <a:pt x="1319" y="477"/>
                  <a:pt x="1319" y="476"/>
                </a:cubicBezTo>
                <a:cubicBezTo>
                  <a:pt x="1319" y="476"/>
                  <a:pt x="1319" y="476"/>
                  <a:pt x="1319" y="476"/>
                </a:cubicBezTo>
                <a:cubicBezTo>
                  <a:pt x="1318" y="475"/>
                  <a:pt x="1319" y="476"/>
                  <a:pt x="1318" y="475"/>
                </a:cubicBezTo>
                <a:cubicBezTo>
                  <a:pt x="1318" y="475"/>
                  <a:pt x="1318" y="474"/>
                  <a:pt x="1318" y="474"/>
                </a:cubicBezTo>
                <a:cubicBezTo>
                  <a:pt x="1318" y="474"/>
                  <a:pt x="1318" y="474"/>
                  <a:pt x="1318" y="474"/>
                </a:cubicBezTo>
                <a:cubicBezTo>
                  <a:pt x="1318" y="474"/>
                  <a:pt x="1318" y="473"/>
                  <a:pt x="1318" y="473"/>
                </a:cubicBezTo>
                <a:cubicBezTo>
                  <a:pt x="1317" y="473"/>
                  <a:pt x="1317" y="474"/>
                  <a:pt x="1317" y="473"/>
                </a:cubicBezTo>
                <a:cubicBezTo>
                  <a:pt x="1317" y="472"/>
                  <a:pt x="1318" y="471"/>
                  <a:pt x="1318" y="470"/>
                </a:cubicBezTo>
                <a:cubicBezTo>
                  <a:pt x="1318" y="470"/>
                  <a:pt x="1318" y="469"/>
                  <a:pt x="1318" y="468"/>
                </a:cubicBezTo>
                <a:cubicBezTo>
                  <a:pt x="1318" y="467"/>
                  <a:pt x="1318" y="468"/>
                  <a:pt x="1318" y="467"/>
                </a:cubicBezTo>
                <a:cubicBezTo>
                  <a:pt x="1319" y="467"/>
                  <a:pt x="1319" y="466"/>
                  <a:pt x="1319" y="466"/>
                </a:cubicBezTo>
                <a:cubicBezTo>
                  <a:pt x="1320" y="466"/>
                  <a:pt x="1320" y="466"/>
                  <a:pt x="1320" y="466"/>
                </a:cubicBezTo>
                <a:cubicBezTo>
                  <a:pt x="1320" y="466"/>
                  <a:pt x="1320" y="466"/>
                  <a:pt x="1320" y="466"/>
                </a:cubicBezTo>
                <a:cubicBezTo>
                  <a:pt x="1321" y="466"/>
                  <a:pt x="1321" y="465"/>
                  <a:pt x="1321" y="465"/>
                </a:cubicBezTo>
                <a:cubicBezTo>
                  <a:pt x="1321" y="465"/>
                  <a:pt x="1321" y="465"/>
                  <a:pt x="1322" y="465"/>
                </a:cubicBezTo>
                <a:cubicBezTo>
                  <a:pt x="1322" y="465"/>
                  <a:pt x="1322" y="464"/>
                  <a:pt x="1322" y="463"/>
                </a:cubicBezTo>
                <a:cubicBezTo>
                  <a:pt x="1323" y="463"/>
                  <a:pt x="1323" y="463"/>
                  <a:pt x="1323" y="463"/>
                </a:cubicBezTo>
                <a:cubicBezTo>
                  <a:pt x="1323" y="462"/>
                  <a:pt x="1324" y="462"/>
                  <a:pt x="1324" y="461"/>
                </a:cubicBezTo>
                <a:cubicBezTo>
                  <a:pt x="1324" y="460"/>
                  <a:pt x="1324" y="460"/>
                  <a:pt x="1325" y="460"/>
                </a:cubicBezTo>
                <a:cubicBezTo>
                  <a:pt x="1326" y="460"/>
                  <a:pt x="1327" y="460"/>
                  <a:pt x="1327" y="459"/>
                </a:cubicBezTo>
                <a:cubicBezTo>
                  <a:pt x="1328" y="458"/>
                  <a:pt x="1329" y="458"/>
                  <a:pt x="1330" y="458"/>
                </a:cubicBezTo>
                <a:cubicBezTo>
                  <a:pt x="1330" y="457"/>
                  <a:pt x="1330" y="457"/>
                  <a:pt x="1330" y="456"/>
                </a:cubicBezTo>
                <a:cubicBezTo>
                  <a:pt x="1331" y="455"/>
                  <a:pt x="1332" y="456"/>
                  <a:pt x="1333" y="456"/>
                </a:cubicBezTo>
                <a:cubicBezTo>
                  <a:pt x="1333" y="456"/>
                  <a:pt x="1333" y="456"/>
                  <a:pt x="1333" y="456"/>
                </a:cubicBezTo>
                <a:cubicBezTo>
                  <a:pt x="1333" y="456"/>
                  <a:pt x="1335" y="455"/>
                  <a:pt x="1335" y="457"/>
                </a:cubicBezTo>
                <a:cubicBezTo>
                  <a:pt x="1335" y="456"/>
                  <a:pt x="1336" y="456"/>
                  <a:pt x="1336" y="456"/>
                </a:cubicBezTo>
                <a:cubicBezTo>
                  <a:pt x="1337" y="457"/>
                  <a:pt x="1336" y="456"/>
                  <a:pt x="1337" y="457"/>
                </a:cubicBezTo>
                <a:cubicBezTo>
                  <a:pt x="1337" y="458"/>
                  <a:pt x="1336" y="459"/>
                  <a:pt x="1336" y="461"/>
                </a:cubicBezTo>
                <a:cubicBezTo>
                  <a:pt x="1337" y="461"/>
                  <a:pt x="1338" y="463"/>
                  <a:pt x="1338" y="464"/>
                </a:cubicBezTo>
                <a:cubicBezTo>
                  <a:pt x="1339" y="464"/>
                  <a:pt x="1340" y="464"/>
                  <a:pt x="1341" y="463"/>
                </a:cubicBezTo>
                <a:cubicBezTo>
                  <a:pt x="1341" y="463"/>
                  <a:pt x="1341" y="462"/>
                  <a:pt x="1340" y="462"/>
                </a:cubicBezTo>
                <a:cubicBezTo>
                  <a:pt x="1340" y="462"/>
                  <a:pt x="1339" y="461"/>
                  <a:pt x="1339" y="461"/>
                </a:cubicBezTo>
                <a:cubicBezTo>
                  <a:pt x="1339" y="460"/>
                  <a:pt x="1340" y="461"/>
                  <a:pt x="1340" y="461"/>
                </a:cubicBezTo>
                <a:cubicBezTo>
                  <a:pt x="1340" y="461"/>
                  <a:pt x="1340" y="460"/>
                  <a:pt x="1340" y="460"/>
                </a:cubicBezTo>
                <a:cubicBezTo>
                  <a:pt x="1340" y="459"/>
                  <a:pt x="1342" y="459"/>
                  <a:pt x="1343" y="459"/>
                </a:cubicBezTo>
                <a:cubicBezTo>
                  <a:pt x="1344" y="458"/>
                  <a:pt x="1345" y="457"/>
                  <a:pt x="1345" y="456"/>
                </a:cubicBezTo>
                <a:cubicBezTo>
                  <a:pt x="1345" y="456"/>
                  <a:pt x="1346" y="457"/>
                  <a:pt x="1346" y="456"/>
                </a:cubicBezTo>
                <a:cubicBezTo>
                  <a:pt x="1347" y="456"/>
                  <a:pt x="1347" y="456"/>
                  <a:pt x="1347" y="455"/>
                </a:cubicBezTo>
                <a:cubicBezTo>
                  <a:pt x="1347" y="455"/>
                  <a:pt x="1348" y="455"/>
                  <a:pt x="1348" y="454"/>
                </a:cubicBezTo>
                <a:cubicBezTo>
                  <a:pt x="1348" y="455"/>
                  <a:pt x="1348" y="455"/>
                  <a:pt x="1349" y="455"/>
                </a:cubicBezTo>
                <a:cubicBezTo>
                  <a:pt x="1349" y="454"/>
                  <a:pt x="1350" y="454"/>
                  <a:pt x="1351" y="454"/>
                </a:cubicBezTo>
                <a:cubicBezTo>
                  <a:pt x="1351" y="454"/>
                  <a:pt x="1352" y="454"/>
                  <a:pt x="1352" y="454"/>
                </a:cubicBezTo>
                <a:cubicBezTo>
                  <a:pt x="1352" y="454"/>
                  <a:pt x="1353" y="454"/>
                  <a:pt x="1353" y="454"/>
                </a:cubicBezTo>
                <a:cubicBezTo>
                  <a:pt x="1354" y="454"/>
                  <a:pt x="1355" y="454"/>
                  <a:pt x="1355" y="453"/>
                </a:cubicBezTo>
                <a:cubicBezTo>
                  <a:pt x="1355" y="452"/>
                  <a:pt x="1356" y="452"/>
                  <a:pt x="1357" y="450"/>
                </a:cubicBezTo>
                <a:cubicBezTo>
                  <a:pt x="1357" y="449"/>
                  <a:pt x="1358" y="450"/>
                  <a:pt x="1358" y="449"/>
                </a:cubicBezTo>
                <a:cubicBezTo>
                  <a:pt x="1358" y="449"/>
                  <a:pt x="1356" y="449"/>
                  <a:pt x="1357" y="448"/>
                </a:cubicBezTo>
                <a:cubicBezTo>
                  <a:pt x="1357" y="448"/>
                  <a:pt x="1358" y="448"/>
                  <a:pt x="1358" y="448"/>
                </a:cubicBezTo>
                <a:cubicBezTo>
                  <a:pt x="1358" y="449"/>
                  <a:pt x="1358" y="449"/>
                  <a:pt x="1359" y="450"/>
                </a:cubicBezTo>
                <a:cubicBezTo>
                  <a:pt x="1359" y="450"/>
                  <a:pt x="1360" y="451"/>
                  <a:pt x="1360" y="451"/>
                </a:cubicBezTo>
                <a:cubicBezTo>
                  <a:pt x="1360" y="451"/>
                  <a:pt x="1360" y="451"/>
                  <a:pt x="1361" y="451"/>
                </a:cubicBezTo>
                <a:cubicBezTo>
                  <a:pt x="1361" y="451"/>
                  <a:pt x="1360" y="451"/>
                  <a:pt x="1361" y="451"/>
                </a:cubicBezTo>
                <a:cubicBezTo>
                  <a:pt x="1361" y="451"/>
                  <a:pt x="1362" y="451"/>
                  <a:pt x="1362" y="450"/>
                </a:cubicBezTo>
                <a:cubicBezTo>
                  <a:pt x="1362" y="450"/>
                  <a:pt x="1365" y="449"/>
                  <a:pt x="1366" y="449"/>
                </a:cubicBezTo>
                <a:cubicBezTo>
                  <a:pt x="1367" y="449"/>
                  <a:pt x="1367" y="450"/>
                  <a:pt x="1368" y="450"/>
                </a:cubicBezTo>
                <a:cubicBezTo>
                  <a:pt x="1368" y="449"/>
                  <a:pt x="1368" y="449"/>
                  <a:pt x="1369" y="449"/>
                </a:cubicBezTo>
                <a:cubicBezTo>
                  <a:pt x="1370" y="448"/>
                  <a:pt x="1370" y="447"/>
                  <a:pt x="1369" y="446"/>
                </a:cubicBezTo>
                <a:cubicBezTo>
                  <a:pt x="1369" y="445"/>
                  <a:pt x="1370" y="445"/>
                  <a:pt x="1371" y="445"/>
                </a:cubicBezTo>
                <a:cubicBezTo>
                  <a:pt x="1372" y="444"/>
                  <a:pt x="1371" y="443"/>
                  <a:pt x="1372" y="444"/>
                </a:cubicBezTo>
                <a:cubicBezTo>
                  <a:pt x="1373" y="444"/>
                  <a:pt x="1374" y="443"/>
                  <a:pt x="1374" y="442"/>
                </a:cubicBezTo>
                <a:cubicBezTo>
                  <a:pt x="1374" y="441"/>
                  <a:pt x="1375" y="442"/>
                  <a:pt x="1375" y="442"/>
                </a:cubicBezTo>
                <a:cubicBezTo>
                  <a:pt x="1375" y="442"/>
                  <a:pt x="1376" y="441"/>
                  <a:pt x="1376" y="441"/>
                </a:cubicBezTo>
                <a:cubicBezTo>
                  <a:pt x="1377" y="441"/>
                  <a:pt x="1377" y="440"/>
                  <a:pt x="1377" y="440"/>
                </a:cubicBezTo>
                <a:cubicBezTo>
                  <a:pt x="1377" y="440"/>
                  <a:pt x="1377" y="439"/>
                  <a:pt x="1376" y="439"/>
                </a:cubicBezTo>
                <a:cubicBezTo>
                  <a:pt x="1377" y="438"/>
                  <a:pt x="1379" y="438"/>
                  <a:pt x="1380" y="438"/>
                </a:cubicBezTo>
                <a:cubicBezTo>
                  <a:pt x="1380" y="437"/>
                  <a:pt x="1381" y="438"/>
                  <a:pt x="1382" y="438"/>
                </a:cubicBezTo>
                <a:cubicBezTo>
                  <a:pt x="1382" y="437"/>
                  <a:pt x="1382" y="436"/>
                  <a:pt x="1381" y="435"/>
                </a:cubicBezTo>
                <a:cubicBezTo>
                  <a:pt x="1382" y="435"/>
                  <a:pt x="1382" y="435"/>
                  <a:pt x="1383" y="435"/>
                </a:cubicBezTo>
                <a:cubicBezTo>
                  <a:pt x="1382" y="435"/>
                  <a:pt x="1382" y="434"/>
                  <a:pt x="1382" y="434"/>
                </a:cubicBezTo>
                <a:cubicBezTo>
                  <a:pt x="1383" y="433"/>
                  <a:pt x="1384" y="433"/>
                  <a:pt x="1385" y="433"/>
                </a:cubicBezTo>
                <a:cubicBezTo>
                  <a:pt x="1385" y="433"/>
                  <a:pt x="1385" y="433"/>
                  <a:pt x="1385" y="433"/>
                </a:cubicBezTo>
                <a:cubicBezTo>
                  <a:pt x="1385" y="432"/>
                  <a:pt x="1385" y="431"/>
                  <a:pt x="1385" y="431"/>
                </a:cubicBezTo>
                <a:cubicBezTo>
                  <a:pt x="1385" y="430"/>
                  <a:pt x="1385" y="430"/>
                  <a:pt x="1385" y="430"/>
                </a:cubicBezTo>
                <a:cubicBezTo>
                  <a:pt x="1384" y="429"/>
                  <a:pt x="1383" y="429"/>
                  <a:pt x="1383" y="429"/>
                </a:cubicBezTo>
                <a:cubicBezTo>
                  <a:pt x="1383" y="428"/>
                  <a:pt x="1383" y="428"/>
                  <a:pt x="1384" y="428"/>
                </a:cubicBezTo>
                <a:cubicBezTo>
                  <a:pt x="1384" y="428"/>
                  <a:pt x="1384" y="425"/>
                  <a:pt x="1385" y="425"/>
                </a:cubicBezTo>
                <a:cubicBezTo>
                  <a:pt x="1386" y="425"/>
                  <a:pt x="1386" y="425"/>
                  <a:pt x="1387" y="425"/>
                </a:cubicBezTo>
                <a:cubicBezTo>
                  <a:pt x="1387" y="424"/>
                  <a:pt x="1388" y="425"/>
                  <a:pt x="1388" y="424"/>
                </a:cubicBezTo>
                <a:cubicBezTo>
                  <a:pt x="1388" y="423"/>
                  <a:pt x="1387" y="423"/>
                  <a:pt x="1388" y="423"/>
                </a:cubicBezTo>
                <a:cubicBezTo>
                  <a:pt x="1388" y="423"/>
                  <a:pt x="1389" y="422"/>
                  <a:pt x="1389" y="422"/>
                </a:cubicBezTo>
                <a:cubicBezTo>
                  <a:pt x="1389" y="421"/>
                  <a:pt x="1389" y="421"/>
                  <a:pt x="1389" y="420"/>
                </a:cubicBezTo>
                <a:cubicBezTo>
                  <a:pt x="1389" y="420"/>
                  <a:pt x="1391" y="420"/>
                  <a:pt x="1391" y="419"/>
                </a:cubicBezTo>
                <a:cubicBezTo>
                  <a:pt x="1390" y="419"/>
                  <a:pt x="1390" y="419"/>
                  <a:pt x="1390" y="419"/>
                </a:cubicBezTo>
                <a:cubicBezTo>
                  <a:pt x="1390" y="418"/>
                  <a:pt x="1391" y="418"/>
                  <a:pt x="1392" y="418"/>
                </a:cubicBezTo>
                <a:cubicBezTo>
                  <a:pt x="1392" y="418"/>
                  <a:pt x="1392" y="417"/>
                  <a:pt x="1392" y="417"/>
                </a:cubicBezTo>
                <a:cubicBezTo>
                  <a:pt x="1393" y="417"/>
                  <a:pt x="1394" y="417"/>
                  <a:pt x="1394" y="416"/>
                </a:cubicBezTo>
                <a:cubicBezTo>
                  <a:pt x="1394" y="416"/>
                  <a:pt x="1393" y="415"/>
                  <a:pt x="1393" y="415"/>
                </a:cubicBezTo>
                <a:cubicBezTo>
                  <a:pt x="1393" y="414"/>
                  <a:pt x="1392" y="415"/>
                  <a:pt x="1393" y="414"/>
                </a:cubicBezTo>
                <a:cubicBezTo>
                  <a:pt x="1393" y="414"/>
                  <a:pt x="1393" y="414"/>
                  <a:pt x="1393" y="414"/>
                </a:cubicBezTo>
                <a:cubicBezTo>
                  <a:pt x="1394" y="414"/>
                  <a:pt x="1393" y="412"/>
                  <a:pt x="1393" y="411"/>
                </a:cubicBezTo>
                <a:cubicBezTo>
                  <a:pt x="1394" y="411"/>
                  <a:pt x="1395" y="411"/>
                  <a:pt x="1396" y="412"/>
                </a:cubicBezTo>
                <a:cubicBezTo>
                  <a:pt x="1396" y="411"/>
                  <a:pt x="1396" y="411"/>
                  <a:pt x="1396" y="411"/>
                </a:cubicBezTo>
                <a:cubicBezTo>
                  <a:pt x="1396" y="411"/>
                  <a:pt x="1395" y="411"/>
                  <a:pt x="1395" y="410"/>
                </a:cubicBezTo>
                <a:cubicBezTo>
                  <a:pt x="1395" y="409"/>
                  <a:pt x="1396" y="409"/>
                  <a:pt x="1396" y="409"/>
                </a:cubicBezTo>
                <a:cubicBezTo>
                  <a:pt x="1394" y="408"/>
                  <a:pt x="1396" y="407"/>
                  <a:pt x="1397" y="407"/>
                </a:cubicBezTo>
                <a:cubicBezTo>
                  <a:pt x="1397" y="407"/>
                  <a:pt x="1397" y="406"/>
                  <a:pt x="1397" y="406"/>
                </a:cubicBezTo>
                <a:cubicBezTo>
                  <a:pt x="1396" y="406"/>
                  <a:pt x="1396" y="406"/>
                  <a:pt x="1395" y="406"/>
                </a:cubicBezTo>
                <a:cubicBezTo>
                  <a:pt x="1395" y="405"/>
                  <a:pt x="1394" y="405"/>
                  <a:pt x="1394" y="405"/>
                </a:cubicBezTo>
                <a:cubicBezTo>
                  <a:pt x="1393" y="405"/>
                  <a:pt x="1392" y="406"/>
                  <a:pt x="1391" y="405"/>
                </a:cubicBezTo>
                <a:cubicBezTo>
                  <a:pt x="1390" y="405"/>
                  <a:pt x="1390" y="404"/>
                  <a:pt x="1391" y="404"/>
                </a:cubicBezTo>
                <a:cubicBezTo>
                  <a:pt x="1392" y="404"/>
                  <a:pt x="1392" y="403"/>
                  <a:pt x="1393" y="402"/>
                </a:cubicBezTo>
                <a:cubicBezTo>
                  <a:pt x="1393" y="402"/>
                  <a:pt x="1394" y="402"/>
                  <a:pt x="1394" y="402"/>
                </a:cubicBezTo>
                <a:cubicBezTo>
                  <a:pt x="1395" y="401"/>
                  <a:pt x="1395" y="401"/>
                  <a:pt x="1394" y="400"/>
                </a:cubicBezTo>
                <a:cubicBezTo>
                  <a:pt x="1394" y="399"/>
                  <a:pt x="1393" y="398"/>
                  <a:pt x="1393" y="398"/>
                </a:cubicBezTo>
                <a:cubicBezTo>
                  <a:pt x="1392" y="398"/>
                  <a:pt x="1392" y="398"/>
                  <a:pt x="1392" y="397"/>
                </a:cubicBezTo>
                <a:cubicBezTo>
                  <a:pt x="1392" y="397"/>
                  <a:pt x="1390" y="396"/>
                  <a:pt x="1390" y="396"/>
                </a:cubicBezTo>
                <a:cubicBezTo>
                  <a:pt x="1390" y="397"/>
                  <a:pt x="1388" y="397"/>
                  <a:pt x="1388" y="397"/>
                </a:cubicBezTo>
                <a:cubicBezTo>
                  <a:pt x="1388" y="397"/>
                  <a:pt x="1388" y="396"/>
                  <a:pt x="1387" y="396"/>
                </a:cubicBezTo>
                <a:cubicBezTo>
                  <a:pt x="1388" y="395"/>
                  <a:pt x="1389" y="395"/>
                  <a:pt x="1390" y="395"/>
                </a:cubicBezTo>
                <a:cubicBezTo>
                  <a:pt x="1390" y="395"/>
                  <a:pt x="1391" y="396"/>
                  <a:pt x="1391" y="396"/>
                </a:cubicBezTo>
                <a:cubicBezTo>
                  <a:pt x="1391" y="396"/>
                  <a:pt x="1392" y="396"/>
                  <a:pt x="1392" y="396"/>
                </a:cubicBezTo>
                <a:cubicBezTo>
                  <a:pt x="1392" y="396"/>
                  <a:pt x="1392" y="394"/>
                  <a:pt x="1392" y="394"/>
                </a:cubicBezTo>
                <a:cubicBezTo>
                  <a:pt x="1391" y="393"/>
                  <a:pt x="1391" y="392"/>
                  <a:pt x="1390" y="391"/>
                </a:cubicBezTo>
                <a:cubicBezTo>
                  <a:pt x="1388" y="390"/>
                  <a:pt x="1388" y="389"/>
                  <a:pt x="1387" y="387"/>
                </a:cubicBezTo>
                <a:cubicBezTo>
                  <a:pt x="1387" y="386"/>
                  <a:pt x="1387" y="385"/>
                  <a:pt x="1386" y="385"/>
                </a:cubicBezTo>
                <a:cubicBezTo>
                  <a:pt x="1385" y="385"/>
                  <a:pt x="1386" y="386"/>
                  <a:pt x="1385" y="386"/>
                </a:cubicBezTo>
                <a:cubicBezTo>
                  <a:pt x="1385" y="386"/>
                  <a:pt x="1385" y="386"/>
                  <a:pt x="1384" y="386"/>
                </a:cubicBezTo>
                <a:cubicBezTo>
                  <a:pt x="1385" y="385"/>
                  <a:pt x="1385" y="385"/>
                  <a:pt x="1385" y="384"/>
                </a:cubicBezTo>
                <a:cubicBezTo>
                  <a:pt x="1385" y="384"/>
                  <a:pt x="1385" y="383"/>
                  <a:pt x="1384" y="383"/>
                </a:cubicBezTo>
                <a:cubicBezTo>
                  <a:pt x="1384" y="381"/>
                  <a:pt x="1383" y="380"/>
                  <a:pt x="1383" y="378"/>
                </a:cubicBezTo>
                <a:cubicBezTo>
                  <a:pt x="1383" y="377"/>
                  <a:pt x="1383" y="376"/>
                  <a:pt x="1384" y="375"/>
                </a:cubicBezTo>
                <a:cubicBezTo>
                  <a:pt x="1384" y="374"/>
                  <a:pt x="1385" y="373"/>
                  <a:pt x="1386" y="373"/>
                </a:cubicBezTo>
                <a:cubicBezTo>
                  <a:pt x="1386" y="372"/>
                  <a:pt x="1385" y="371"/>
                  <a:pt x="1386" y="371"/>
                </a:cubicBezTo>
                <a:cubicBezTo>
                  <a:pt x="1387" y="371"/>
                  <a:pt x="1387" y="371"/>
                  <a:pt x="1388" y="370"/>
                </a:cubicBezTo>
                <a:cubicBezTo>
                  <a:pt x="1388" y="370"/>
                  <a:pt x="1388" y="370"/>
                  <a:pt x="1388" y="369"/>
                </a:cubicBezTo>
                <a:cubicBezTo>
                  <a:pt x="1389" y="369"/>
                  <a:pt x="1389" y="369"/>
                  <a:pt x="1389" y="368"/>
                </a:cubicBezTo>
                <a:cubicBezTo>
                  <a:pt x="1391" y="367"/>
                  <a:pt x="1391" y="367"/>
                  <a:pt x="1392" y="366"/>
                </a:cubicBezTo>
                <a:cubicBezTo>
                  <a:pt x="1393" y="366"/>
                  <a:pt x="1394" y="366"/>
                  <a:pt x="1394" y="366"/>
                </a:cubicBezTo>
                <a:cubicBezTo>
                  <a:pt x="1395" y="365"/>
                  <a:pt x="1397" y="363"/>
                  <a:pt x="1396" y="365"/>
                </a:cubicBezTo>
                <a:cubicBezTo>
                  <a:pt x="1398" y="365"/>
                  <a:pt x="1398" y="365"/>
                  <a:pt x="1398" y="364"/>
                </a:cubicBezTo>
                <a:cubicBezTo>
                  <a:pt x="1399" y="363"/>
                  <a:pt x="1399" y="362"/>
                  <a:pt x="1399" y="361"/>
                </a:cubicBezTo>
                <a:cubicBezTo>
                  <a:pt x="1398" y="361"/>
                  <a:pt x="1397" y="360"/>
                  <a:pt x="1395" y="361"/>
                </a:cubicBezTo>
                <a:cubicBezTo>
                  <a:pt x="1395" y="361"/>
                  <a:pt x="1394" y="361"/>
                  <a:pt x="1393" y="361"/>
                </a:cubicBezTo>
                <a:cubicBezTo>
                  <a:pt x="1392" y="361"/>
                  <a:pt x="1392" y="360"/>
                  <a:pt x="1391" y="360"/>
                </a:cubicBezTo>
                <a:cubicBezTo>
                  <a:pt x="1390" y="360"/>
                  <a:pt x="1389" y="360"/>
                  <a:pt x="1388" y="360"/>
                </a:cubicBezTo>
                <a:cubicBezTo>
                  <a:pt x="1388" y="360"/>
                  <a:pt x="1387" y="359"/>
                  <a:pt x="1387" y="360"/>
                </a:cubicBezTo>
                <a:cubicBezTo>
                  <a:pt x="1386" y="361"/>
                  <a:pt x="1385" y="361"/>
                  <a:pt x="1384" y="361"/>
                </a:cubicBezTo>
                <a:cubicBezTo>
                  <a:pt x="1384" y="362"/>
                  <a:pt x="1384" y="362"/>
                  <a:pt x="1384" y="363"/>
                </a:cubicBezTo>
                <a:cubicBezTo>
                  <a:pt x="1383" y="363"/>
                  <a:pt x="1384" y="363"/>
                  <a:pt x="1383" y="363"/>
                </a:cubicBezTo>
                <a:cubicBezTo>
                  <a:pt x="1383" y="363"/>
                  <a:pt x="1382" y="363"/>
                  <a:pt x="1382" y="363"/>
                </a:cubicBezTo>
                <a:cubicBezTo>
                  <a:pt x="1382" y="363"/>
                  <a:pt x="1382" y="363"/>
                  <a:pt x="1382" y="363"/>
                </a:cubicBezTo>
                <a:cubicBezTo>
                  <a:pt x="1381" y="363"/>
                  <a:pt x="1381" y="363"/>
                  <a:pt x="1381" y="364"/>
                </a:cubicBezTo>
                <a:cubicBezTo>
                  <a:pt x="1381" y="364"/>
                  <a:pt x="1380" y="363"/>
                  <a:pt x="1380" y="363"/>
                </a:cubicBezTo>
                <a:cubicBezTo>
                  <a:pt x="1379" y="362"/>
                  <a:pt x="1379" y="361"/>
                  <a:pt x="1379" y="361"/>
                </a:cubicBezTo>
                <a:cubicBezTo>
                  <a:pt x="1378" y="359"/>
                  <a:pt x="1376" y="358"/>
                  <a:pt x="1376" y="357"/>
                </a:cubicBezTo>
                <a:cubicBezTo>
                  <a:pt x="1376" y="356"/>
                  <a:pt x="1376" y="357"/>
                  <a:pt x="1376" y="356"/>
                </a:cubicBezTo>
                <a:cubicBezTo>
                  <a:pt x="1376" y="355"/>
                  <a:pt x="1375" y="355"/>
                  <a:pt x="1375" y="355"/>
                </a:cubicBezTo>
                <a:cubicBezTo>
                  <a:pt x="1375" y="355"/>
                  <a:pt x="1374" y="354"/>
                  <a:pt x="1374" y="354"/>
                </a:cubicBezTo>
                <a:cubicBezTo>
                  <a:pt x="1374" y="354"/>
                  <a:pt x="1375" y="353"/>
                  <a:pt x="1375" y="353"/>
                </a:cubicBezTo>
                <a:cubicBezTo>
                  <a:pt x="1375" y="352"/>
                  <a:pt x="1375" y="351"/>
                  <a:pt x="1376" y="351"/>
                </a:cubicBezTo>
                <a:cubicBezTo>
                  <a:pt x="1377" y="351"/>
                  <a:pt x="1379" y="351"/>
                  <a:pt x="1380" y="351"/>
                </a:cubicBezTo>
                <a:cubicBezTo>
                  <a:pt x="1381" y="351"/>
                  <a:pt x="1382" y="349"/>
                  <a:pt x="1382" y="349"/>
                </a:cubicBezTo>
                <a:cubicBezTo>
                  <a:pt x="1383" y="348"/>
                  <a:pt x="1383" y="348"/>
                  <a:pt x="1384" y="347"/>
                </a:cubicBezTo>
                <a:cubicBezTo>
                  <a:pt x="1385" y="346"/>
                  <a:pt x="1386" y="346"/>
                  <a:pt x="1386" y="346"/>
                </a:cubicBezTo>
                <a:cubicBezTo>
                  <a:pt x="1387" y="346"/>
                  <a:pt x="1387" y="345"/>
                  <a:pt x="1388" y="344"/>
                </a:cubicBezTo>
                <a:cubicBezTo>
                  <a:pt x="1388" y="344"/>
                  <a:pt x="1388" y="345"/>
                  <a:pt x="1388" y="344"/>
                </a:cubicBezTo>
                <a:cubicBezTo>
                  <a:pt x="1389" y="344"/>
                  <a:pt x="1389" y="343"/>
                  <a:pt x="1389" y="342"/>
                </a:cubicBezTo>
                <a:cubicBezTo>
                  <a:pt x="1390" y="341"/>
                  <a:pt x="1390" y="341"/>
                  <a:pt x="1391" y="340"/>
                </a:cubicBezTo>
                <a:cubicBezTo>
                  <a:pt x="1391" y="340"/>
                  <a:pt x="1392" y="339"/>
                  <a:pt x="1393" y="339"/>
                </a:cubicBezTo>
                <a:cubicBezTo>
                  <a:pt x="1394" y="340"/>
                  <a:pt x="1396" y="340"/>
                  <a:pt x="1398" y="341"/>
                </a:cubicBezTo>
                <a:cubicBezTo>
                  <a:pt x="1398" y="341"/>
                  <a:pt x="1397" y="342"/>
                  <a:pt x="1397" y="342"/>
                </a:cubicBezTo>
                <a:cubicBezTo>
                  <a:pt x="1397" y="342"/>
                  <a:pt x="1396" y="343"/>
                  <a:pt x="1396" y="342"/>
                </a:cubicBezTo>
                <a:cubicBezTo>
                  <a:pt x="1396" y="343"/>
                  <a:pt x="1396" y="344"/>
                  <a:pt x="1396" y="344"/>
                </a:cubicBezTo>
                <a:cubicBezTo>
                  <a:pt x="1396" y="344"/>
                  <a:pt x="1395" y="344"/>
                  <a:pt x="1395" y="345"/>
                </a:cubicBezTo>
                <a:cubicBezTo>
                  <a:pt x="1395" y="346"/>
                  <a:pt x="1395" y="346"/>
                  <a:pt x="1394" y="347"/>
                </a:cubicBezTo>
                <a:cubicBezTo>
                  <a:pt x="1393" y="347"/>
                  <a:pt x="1393" y="348"/>
                  <a:pt x="1393" y="348"/>
                </a:cubicBezTo>
                <a:cubicBezTo>
                  <a:pt x="1393" y="349"/>
                  <a:pt x="1393" y="349"/>
                  <a:pt x="1393" y="350"/>
                </a:cubicBezTo>
                <a:cubicBezTo>
                  <a:pt x="1394" y="350"/>
                  <a:pt x="1394" y="349"/>
                  <a:pt x="1395" y="349"/>
                </a:cubicBezTo>
                <a:cubicBezTo>
                  <a:pt x="1394" y="350"/>
                  <a:pt x="1394" y="351"/>
                  <a:pt x="1393" y="351"/>
                </a:cubicBezTo>
                <a:cubicBezTo>
                  <a:pt x="1393" y="352"/>
                  <a:pt x="1393" y="352"/>
                  <a:pt x="1393" y="353"/>
                </a:cubicBezTo>
                <a:cubicBezTo>
                  <a:pt x="1394" y="353"/>
                  <a:pt x="1395" y="353"/>
                  <a:pt x="1395" y="352"/>
                </a:cubicBezTo>
                <a:cubicBezTo>
                  <a:pt x="1395" y="352"/>
                  <a:pt x="1395" y="352"/>
                  <a:pt x="1395" y="351"/>
                </a:cubicBezTo>
                <a:cubicBezTo>
                  <a:pt x="1395" y="351"/>
                  <a:pt x="1396" y="351"/>
                  <a:pt x="1396" y="351"/>
                </a:cubicBezTo>
                <a:cubicBezTo>
                  <a:pt x="1396" y="351"/>
                  <a:pt x="1396" y="351"/>
                  <a:pt x="1396" y="351"/>
                </a:cubicBezTo>
                <a:cubicBezTo>
                  <a:pt x="1397" y="350"/>
                  <a:pt x="1396" y="351"/>
                  <a:pt x="1397" y="350"/>
                </a:cubicBezTo>
                <a:cubicBezTo>
                  <a:pt x="1398" y="350"/>
                  <a:pt x="1398" y="349"/>
                  <a:pt x="1399" y="349"/>
                </a:cubicBezTo>
                <a:cubicBezTo>
                  <a:pt x="1400" y="349"/>
                  <a:pt x="1399" y="348"/>
                  <a:pt x="1400" y="348"/>
                </a:cubicBezTo>
                <a:cubicBezTo>
                  <a:pt x="1400" y="348"/>
                  <a:pt x="1400" y="348"/>
                  <a:pt x="1401" y="348"/>
                </a:cubicBezTo>
                <a:cubicBezTo>
                  <a:pt x="1401" y="347"/>
                  <a:pt x="1401" y="347"/>
                  <a:pt x="1402" y="347"/>
                </a:cubicBezTo>
                <a:cubicBezTo>
                  <a:pt x="1402" y="347"/>
                  <a:pt x="1402" y="347"/>
                  <a:pt x="1402" y="347"/>
                </a:cubicBezTo>
                <a:cubicBezTo>
                  <a:pt x="1403" y="347"/>
                  <a:pt x="1403" y="347"/>
                  <a:pt x="1403" y="347"/>
                </a:cubicBezTo>
                <a:cubicBezTo>
                  <a:pt x="1404" y="347"/>
                  <a:pt x="1403" y="346"/>
                  <a:pt x="1404" y="346"/>
                </a:cubicBezTo>
                <a:cubicBezTo>
                  <a:pt x="1405" y="346"/>
                  <a:pt x="1405" y="346"/>
                  <a:pt x="1406" y="346"/>
                </a:cubicBezTo>
                <a:cubicBezTo>
                  <a:pt x="1407" y="346"/>
                  <a:pt x="1407" y="347"/>
                  <a:pt x="1407" y="347"/>
                </a:cubicBezTo>
                <a:cubicBezTo>
                  <a:pt x="1408" y="347"/>
                  <a:pt x="1408" y="347"/>
                  <a:pt x="1408" y="347"/>
                </a:cubicBezTo>
                <a:cubicBezTo>
                  <a:pt x="1409" y="346"/>
                  <a:pt x="1409" y="347"/>
                  <a:pt x="1409" y="347"/>
                </a:cubicBezTo>
                <a:cubicBezTo>
                  <a:pt x="1409" y="348"/>
                  <a:pt x="1410" y="348"/>
                  <a:pt x="1411" y="348"/>
                </a:cubicBezTo>
                <a:cubicBezTo>
                  <a:pt x="1412" y="349"/>
                  <a:pt x="1411" y="350"/>
                  <a:pt x="1411" y="350"/>
                </a:cubicBezTo>
                <a:cubicBezTo>
                  <a:pt x="1411" y="352"/>
                  <a:pt x="1411" y="352"/>
                  <a:pt x="1412" y="353"/>
                </a:cubicBezTo>
                <a:cubicBezTo>
                  <a:pt x="1412" y="354"/>
                  <a:pt x="1411" y="353"/>
                  <a:pt x="1410" y="353"/>
                </a:cubicBezTo>
                <a:cubicBezTo>
                  <a:pt x="1410" y="353"/>
                  <a:pt x="1409" y="355"/>
                  <a:pt x="1409" y="354"/>
                </a:cubicBezTo>
                <a:cubicBezTo>
                  <a:pt x="1409" y="355"/>
                  <a:pt x="1409" y="355"/>
                  <a:pt x="1408" y="356"/>
                </a:cubicBezTo>
                <a:cubicBezTo>
                  <a:pt x="1409" y="356"/>
                  <a:pt x="1409" y="357"/>
                  <a:pt x="1409" y="358"/>
                </a:cubicBezTo>
                <a:cubicBezTo>
                  <a:pt x="1410" y="358"/>
                  <a:pt x="1410" y="357"/>
                  <a:pt x="1410" y="357"/>
                </a:cubicBezTo>
                <a:cubicBezTo>
                  <a:pt x="1411" y="357"/>
                  <a:pt x="1411" y="358"/>
                  <a:pt x="1411" y="358"/>
                </a:cubicBezTo>
                <a:cubicBezTo>
                  <a:pt x="1411" y="358"/>
                  <a:pt x="1411" y="359"/>
                  <a:pt x="1410" y="359"/>
                </a:cubicBezTo>
                <a:cubicBezTo>
                  <a:pt x="1411" y="359"/>
                  <a:pt x="1411" y="360"/>
                  <a:pt x="1411" y="360"/>
                </a:cubicBezTo>
                <a:cubicBezTo>
                  <a:pt x="1412" y="360"/>
                  <a:pt x="1412" y="360"/>
                  <a:pt x="1413" y="361"/>
                </a:cubicBezTo>
                <a:cubicBezTo>
                  <a:pt x="1412" y="361"/>
                  <a:pt x="1414" y="360"/>
                  <a:pt x="1414" y="360"/>
                </a:cubicBezTo>
                <a:cubicBezTo>
                  <a:pt x="1415" y="360"/>
                  <a:pt x="1416" y="360"/>
                  <a:pt x="1417" y="360"/>
                </a:cubicBezTo>
                <a:cubicBezTo>
                  <a:pt x="1417" y="360"/>
                  <a:pt x="1417" y="360"/>
                  <a:pt x="1417" y="360"/>
                </a:cubicBezTo>
                <a:cubicBezTo>
                  <a:pt x="1417" y="360"/>
                  <a:pt x="1417" y="360"/>
                  <a:pt x="1418" y="360"/>
                </a:cubicBezTo>
                <a:cubicBezTo>
                  <a:pt x="1419" y="360"/>
                  <a:pt x="1418" y="361"/>
                  <a:pt x="1419" y="362"/>
                </a:cubicBezTo>
                <a:cubicBezTo>
                  <a:pt x="1419" y="362"/>
                  <a:pt x="1419" y="363"/>
                  <a:pt x="1419" y="363"/>
                </a:cubicBezTo>
                <a:cubicBezTo>
                  <a:pt x="1419" y="363"/>
                  <a:pt x="1419" y="363"/>
                  <a:pt x="1419" y="363"/>
                </a:cubicBezTo>
                <a:cubicBezTo>
                  <a:pt x="1419" y="365"/>
                  <a:pt x="1419" y="365"/>
                  <a:pt x="1418" y="365"/>
                </a:cubicBezTo>
                <a:cubicBezTo>
                  <a:pt x="1418" y="365"/>
                  <a:pt x="1418" y="366"/>
                  <a:pt x="1418" y="367"/>
                </a:cubicBezTo>
                <a:cubicBezTo>
                  <a:pt x="1419" y="367"/>
                  <a:pt x="1420" y="367"/>
                  <a:pt x="1419" y="368"/>
                </a:cubicBezTo>
                <a:cubicBezTo>
                  <a:pt x="1418" y="368"/>
                  <a:pt x="1418" y="369"/>
                  <a:pt x="1418" y="370"/>
                </a:cubicBezTo>
                <a:cubicBezTo>
                  <a:pt x="1419" y="370"/>
                  <a:pt x="1419" y="371"/>
                  <a:pt x="1419" y="371"/>
                </a:cubicBezTo>
                <a:cubicBezTo>
                  <a:pt x="1419" y="371"/>
                  <a:pt x="1419" y="371"/>
                  <a:pt x="1419" y="371"/>
                </a:cubicBezTo>
                <a:cubicBezTo>
                  <a:pt x="1418" y="372"/>
                  <a:pt x="1420" y="372"/>
                  <a:pt x="1418" y="373"/>
                </a:cubicBezTo>
                <a:cubicBezTo>
                  <a:pt x="1418" y="373"/>
                  <a:pt x="1417" y="373"/>
                  <a:pt x="1417" y="374"/>
                </a:cubicBezTo>
                <a:cubicBezTo>
                  <a:pt x="1417" y="375"/>
                  <a:pt x="1418" y="376"/>
                  <a:pt x="1418" y="376"/>
                </a:cubicBezTo>
                <a:cubicBezTo>
                  <a:pt x="1417" y="376"/>
                  <a:pt x="1417" y="378"/>
                  <a:pt x="1417" y="378"/>
                </a:cubicBezTo>
                <a:cubicBezTo>
                  <a:pt x="1417" y="378"/>
                  <a:pt x="1417" y="378"/>
                  <a:pt x="1417" y="378"/>
                </a:cubicBezTo>
                <a:cubicBezTo>
                  <a:pt x="1416" y="378"/>
                  <a:pt x="1417" y="379"/>
                  <a:pt x="1417" y="379"/>
                </a:cubicBezTo>
                <a:cubicBezTo>
                  <a:pt x="1417" y="380"/>
                  <a:pt x="1416" y="380"/>
                  <a:pt x="1416" y="381"/>
                </a:cubicBezTo>
                <a:cubicBezTo>
                  <a:pt x="1417" y="381"/>
                  <a:pt x="1417" y="382"/>
                  <a:pt x="1418" y="381"/>
                </a:cubicBezTo>
                <a:cubicBezTo>
                  <a:pt x="1419" y="381"/>
                  <a:pt x="1419" y="381"/>
                  <a:pt x="1420" y="380"/>
                </a:cubicBezTo>
                <a:cubicBezTo>
                  <a:pt x="1421" y="380"/>
                  <a:pt x="1421" y="380"/>
                  <a:pt x="1421" y="379"/>
                </a:cubicBezTo>
                <a:cubicBezTo>
                  <a:pt x="1421" y="378"/>
                  <a:pt x="1421" y="379"/>
                  <a:pt x="1422" y="378"/>
                </a:cubicBezTo>
                <a:cubicBezTo>
                  <a:pt x="1422" y="378"/>
                  <a:pt x="1422" y="378"/>
                  <a:pt x="1422" y="378"/>
                </a:cubicBezTo>
                <a:cubicBezTo>
                  <a:pt x="1423" y="378"/>
                  <a:pt x="1424" y="378"/>
                  <a:pt x="1425" y="378"/>
                </a:cubicBezTo>
                <a:cubicBezTo>
                  <a:pt x="1425" y="378"/>
                  <a:pt x="1426" y="378"/>
                  <a:pt x="1426" y="378"/>
                </a:cubicBezTo>
                <a:cubicBezTo>
                  <a:pt x="1427" y="377"/>
                  <a:pt x="1427" y="376"/>
                  <a:pt x="1427" y="376"/>
                </a:cubicBezTo>
                <a:cubicBezTo>
                  <a:pt x="1428" y="376"/>
                  <a:pt x="1428" y="376"/>
                  <a:pt x="1429" y="375"/>
                </a:cubicBezTo>
                <a:cubicBezTo>
                  <a:pt x="1430" y="375"/>
                  <a:pt x="1430" y="375"/>
                  <a:pt x="1430" y="374"/>
                </a:cubicBezTo>
                <a:cubicBezTo>
                  <a:pt x="1430" y="372"/>
                  <a:pt x="1431" y="371"/>
                  <a:pt x="1431" y="370"/>
                </a:cubicBezTo>
                <a:cubicBezTo>
                  <a:pt x="1429" y="371"/>
                  <a:pt x="1430" y="368"/>
                  <a:pt x="1430" y="367"/>
                </a:cubicBezTo>
                <a:cubicBezTo>
                  <a:pt x="1430" y="367"/>
                  <a:pt x="1430" y="366"/>
                  <a:pt x="1430" y="365"/>
                </a:cubicBezTo>
                <a:cubicBezTo>
                  <a:pt x="1430" y="365"/>
                  <a:pt x="1430" y="365"/>
                  <a:pt x="1430" y="365"/>
                </a:cubicBezTo>
                <a:cubicBezTo>
                  <a:pt x="1431" y="364"/>
                  <a:pt x="1430" y="365"/>
                  <a:pt x="1430" y="365"/>
                </a:cubicBezTo>
                <a:cubicBezTo>
                  <a:pt x="1430" y="364"/>
                  <a:pt x="1430" y="364"/>
                  <a:pt x="1430" y="363"/>
                </a:cubicBezTo>
                <a:cubicBezTo>
                  <a:pt x="1429" y="363"/>
                  <a:pt x="1429" y="363"/>
                  <a:pt x="1428" y="362"/>
                </a:cubicBezTo>
                <a:cubicBezTo>
                  <a:pt x="1428" y="361"/>
                  <a:pt x="1428" y="361"/>
                  <a:pt x="1428" y="360"/>
                </a:cubicBezTo>
                <a:cubicBezTo>
                  <a:pt x="1428" y="360"/>
                  <a:pt x="1428" y="361"/>
                  <a:pt x="1428" y="360"/>
                </a:cubicBezTo>
                <a:cubicBezTo>
                  <a:pt x="1428" y="360"/>
                  <a:pt x="1427" y="360"/>
                  <a:pt x="1427" y="360"/>
                </a:cubicBezTo>
                <a:cubicBezTo>
                  <a:pt x="1427" y="360"/>
                  <a:pt x="1427" y="359"/>
                  <a:pt x="1426" y="359"/>
                </a:cubicBezTo>
                <a:cubicBezTo>
                  <a:pt x="1426" y="359"/>
                  <a:pt x="1427" y="358"/>
                  <a:pt x="1427" y="358"/>
                </a:cubicBezTo>
                <a:cubicBezTo>
                  <a:pt x="1427" y="357"/>
                  <a:pt x="1426" y="357"/>
                  <a:pt x="1426" y="357"/>
                </a:cubicBezTo>
                <a:cubicBezTo>
                  <a:pt x="1426" y="357"/>
                  <a:pt x="1426" y="356"/>
                  <a:pt x="1426" y="356"/>
                </a:cubicBezTo>
                <a:cubicBezTo>
                  <a:pt x="1426" y="356"/>
                  <a:pt x="1425" y="356"/>
                  <a:pt x="1425" y="356"/>
                </a:cubicBezTo>
                <a:cubicBezTo>
                  <a:pt x="1425" y="356"/>
                  <a:pt x="1425" y="356"/>
                  <a:pt x="1425" y="356"/>
                </a:cubicBezTo>
                <a:cubicBezTo>
                  <a:pt x="1425" y="356"/>
                  <a:pt x="1425" y="356"/>
                  <a:pt x="1425" y="356"/>
                </a:cubicBezTo>
                <a:cubicBezTo>
                  <a:pt x="1425" y="355"/>
                  <a:pt x="1425" y="355"/>
                  <a:pt x="1425" y="355"/>
                </a:cubicBezTo>
                <a:cubicBezTo>
                  <a:pt x="1425" y="354"/>
                  <a:pt x="1425" y="355"/>
                  <a:pt x="1425" y="354"/>
                </a:cubicBezTo>
                <a:cubicBezTo>
                  <a:pt x="1425" y="354"/>
                  <a:pt x="1426" y="353"/>
                  <a:pt x="1425" y="353"/>
                </a:cubicBezTo>
                <a:cubicBezTo>
                  <a:pt x="1423" y="353"/>
                  <a:pt x="1423" y="351"/>
                  <a:pt x="1422" y="351"/>
                </a:cubicBezTo>
                <a:cubicBezTo>
                  <a:pt x="1421" y="351"/>
                  <a:pt x="1420" y="351"/>
                  <a:pt x="1420" y="350"/>
                </a:cubicBezTo>
                <a:cubicBezTo>
                  <a:pt x="1421" y="350"/>
                  <a:pt x="1421" y="350"/>
                  <a:pt x="1421" y="350"/>
                </a:cubicBezTo>
                <a:cubicBezTo>
                  <a:pt x="1421" y="350"/>
                  <a:pt x="1422" y="348"/>
                  <a:pt x="1422" y="347"/>
                </a:cubicBezTo>
                <a:cubicBezTo>
                  <a:pt x="1422" y="346"/>
                  <a:pt x="1422" y="346"/>
                  <a:pt x="1423" y="346"/>
                </a:cubicBezTo>
                <a:cubicBezTo>
                  <a:pt x="1424" y="346"/>
                  <a:pt x="1424" y="346"/>
                  <a:pt x="1424" y="345"/>
                </a:cubicBezTo>
                <a:cubicBezTo>
                  <a:pt x="1424" y="345"/>
                  <a:pt x="1425" y="345"/>
                  <a:pt x="1425" y="345"/>
                </a:cubicBezTo>
                <a:cubicBezTo>
                  <a:pt x="1425" y="345"/>
                  <a:pt x="1425" y="345"/>
                  <a:pt x="1425" y="345"/>
                </a:cubicBezTo>
                <a:cubicBezTo>
                  <a:pt x="1425" y="344"/>
                  <a:pt x="1426" y="344"/>
                  <a:pt x="1427" y="343"/>
                </a:cubicBezTo>
                <a:cubicBezTo>
                  <a:pt x="1427" y="343"/>
                  <a:pt x="1427" y="342"/>
                  <a:pt x="1427" y="342"/>
                </a:cubicBezTo>
                <a:cubicBezTo>
                  <a:pt x="1427" y="342"/>
                  <a:pt x="1428" y="342"/>
                  <a:pt x="1427" y="342"/>
                </a:cubicBezTo>
                <a:cubicBezTo>
                  <a:pt x="1427" y="341"/>
                  <a:pt x="1429" y="341"/>
                  <a:pt x="1429" y="341"/>
                </a:cubicBezTo>
                <a:cubicBezTo>
                  <a:pt x="1430" y="341"/>
                  <a:pt x="1430" y="341"/>
                  <a:pt x="1430" y="341"/>
                </a:cubicBezTo>
                <a:cubicBezTo>
                  <a:pt x="1430" y="340"/>
                  <a:pt x="1430" y="340"/>
                  <a:pt x="1430" y="340"/>
                </a:cubicBezTo>
                <a:cubicBezTo>
                  <a:pt x="1430" y="340"/>
                  <a:pt x="1431" y="340"/>
                  <a:pt x="1431" y="339"/>
                </a:cubicBezTo>
                <a:cubicBezTo>
                  <a:pt x="1432" y="339"/>
                  <a:pt x="1432" y="338"/>
                  <a:pt x="1432" y="337"/>
                </a:cubicBezTo>
                <a:cubicBezTo>
                  <a:pt x="1431" y="336"/>
                  <a:pt x="1431" y="335"/>
                  <a:pt x="1431" y="334"/>
                </a:cubicBezTo>
                <a:cubicBezTo>
                  <a:pt x="1431" y="333"/>
                  <a:pt x="1432" y="333"/>
                  <a:pt x="1432" y="333"/>
                </a:cubicBezTo>
                <a:cubicBezTo>
                  <a:pt x="1433" y="333"/>
                  <a:pt x="1432" y="332"/>
                  <a:pt x="1433" y="332"/>
                </a:cubicBezTo>
                <a:cubicBezTo>
                  <a:pt x="1433" y="331"/>
                  <a:pt x="1434" y="332"/>
                  <a:pt x="1434" y="331"/>
                </a:cubicBezTo>
                <a:cubicBezTo>
                  <a:pt x="1434" y="331"/>
                  <a:pt x="1436" y="330"/>
                  <a:pt x="1436" y="329"/>
                </a:cubicBezTo>
                <a:cubicBezTo>
                  <a:pt x="1436" y="329"/>
                  <a:pt x="1437" y="329"/>
                  <a:pt x="1437" y="328"/>
                </a:cubicBezTo>
                <a:cubicBezTo>
                  <a:pt x="1437" y="328"/>
                  <a:pt x="1437" y="328"/>
                  <a:pt x="1438" y="328"/>
                </a:cubicBezTo>
                <a:cubicBezTo>
                  <a:pt x="1438" y="328"/>
                  <a:pt x="1439" y="328"/>
                  <a:pt x="1439" y="327"/>
                </a:cubicBezTo>
                <a:cubicBezTo>
                  <a:pt x="1439" y="327"/>
                  <a:pt x="1439" y="327"/>
                  <a:pt x="1439" y="326"/>
                </a:cubicBezTo>
                <a:cubicBezTo>
                  <a:pt x="1439" y="326"/>
                  <a:pt x="1440" y="326"/>
                  <a:pt x="1440" y="326"/>
                </a:cubicBezTo>
                <a:cubicBezTo>
                  <a:pt x="1441" y="326"/>
                  <a:pt x="1440" y="326"/>
                  <a:pt x="1441" y="325"/>
                </a:cubicBezTo>
                <a:cubicBezTo>
                  <a:pt x="1441" y="325"/>
                  <a:pt x="1441" y="326"/>
                  <a:pt x="1442" y="325"/>
                </a:cubicBezTo>
                <a:cubicBezTo>
                  <a:pt x="1442" y="324"/>
                  <a:pt x="1442" y="323"/>
                  <a:pt x="1443" y="323"/>
                </a:cubicBezTo>
                <a:cubicBezTo>
                  <a:pt x="1443" y="323"/>
                  <a:pt x="1444" y="323"/>
                  <a:pt x="1444" y="323"/>
                </a:cubicBezTo>
                <a:cubicBezTo>
                  <a:pt x="1444" y="324"/>
                  <a:pt x="1444" y="324"/>
                  <a:pt x="1444" y="324"/>
                </a:cubicBezTo>
                <a:cubicBezTo>
                  <a:pt x="1445" y="324"/>
                  <a:pt x="1445" y="324"/>
                  <a:pt x="1446" y="323"/>
                </a:cubicBezTo>
                <a:cubicBezTo>
                  <a:pt x="1446" y="324"/>
                  <a:pt x="1445" y="325"/>
                  <a:pt x="1446" y="326"/>
                </a:cubicBezTo>
                <a:cubicBezTo>
                  <a:pt x="1446" y="326"/>
                  <a:pt x="1446" y="326"/>
                  <a:pt x="1447" y="327"/>
                </a:cubicBezTo>
                <a:cubicBezTo>
                  <a:pt x="1448" y="327"/>
                  <a:pt x="1447" y="328"/>
                  <a:pt x="1448" y="328"/>
                </a:cubicBezTo>
                <a:cubicBezTo>
                  <a:pt x="1449" y="328"/>
                  <a:pt x="1449" y="328"/>
                  <a:pt x="1450" y="329"/>
                </a:cubicBezTo>
                <a:cubicBezTo>
                  <a:pt x="1450" y="329"/>
                  <a:pt x="1451" y="330"/>
                  <a:pt x="1451" y="329"/>
                </a:cubicBezTo>
                <a:cubicBezTo>
                  <a:pt x="1451" y="329"/>
                  <a:pt x="1452" y="329"/>
                  <a:pt x="1452" y="329"/>
                </a:cubicBezTo>
                <a:cubicBezTo>
                  <a:pt x="1453" y="329"/>
                  <a:pt x="1454" y="327"/>
                  <a:pt x="1454" y="327"/>
                </a:cubicBezTo>
                <a:cubicBezTo>
                  <a:pt x="1454" y="326"/>
                  <a:pt x="1454" y="326"/>
                  <a:pt x="1455" y="326"/>
                </a:cubicBezTo>
                <a:cubicBezTo>
                  <a:pt x="1456" y="326"/>
                  <a:pt x="1456" y="325"/>
                  <a:pt x="1456" y="325"/>
                </a:cubicBezTo>
                <a:cubicBezTo>
                  <a:pt x="1456" y="325"/>
                  <a:pt x="1456" y="324"/>
                  <a:pt x="1457" y="324"/>
                </a:cubicBezTo>
                <a:cubicBezTo>
                  <a:pt x="1457" y="323"/>
                  <a:pt x="1458" y="323"/>
                  <a:pt x="1458" y="322"/>
                </a:cubicBezTo>
                <a:cubicBezTo>
                  <a:pt x="1458" y="322"/>
                  <a:pt x="1458" y="322"/>
                  <a:pt x="1459" y="322"/>
                </a:cubicBezTo>
                <a:cubicBezTo>
                  <a:pt x="1459" y="322"/>
                  <a:pt x="1459" y="322"/>
                  <a:pt x="1459" y="322"/>
                </a:cubicBezTo>
                <a:cubicBezTo>
                  <a:pt x="1459" y="322"/>
                  <a:pt x="1459" y="321"/>
                  <a:pt x="1460" y="320"/>
                </a:cubicBezTo>
                <a:cubicBezTo>
                  <a:pt x="1460" y="319"/>
                  <a:pt x="1461" y="318"/>
                  <a:pt x="1461" y="317"/>
                </a:cubicBezTo>
                <a:cubicBezTo>
                  <a:pt x="1462" y="316"/>
                  <a:pt x="1462" y="317"/>
                  <a:pt x="1462" y="316"/>
                </a:cubicBezTo>
                <a:cubicBezTo>
                  <a:pt x="1463" y="316"/>
                  <a:pt x="1463" y="316"/>
                  <a:pt x="1463" y="315"/>
                </a:cubicBezTo>
                <a:cubicBezTo>
                  <a:pt x="1464" y="315"/>
                  <a:pt x="1464" y="316"/>
                  <a:pt x="1464" y="315"/>
                </a:cubicBezTo>
                <a:cubicBezTo>
                  <a:pt x="1464" y="314"/>
                  <a:pt x="1464" y="314"/>
                  <a:pt x="1464" y="314"/>
                </a:cubicBezTo>
                <a:cubicBezTo>
                  <a:pt x="1465" y="313"/>
                  <a:pt x="1466" y="313"/>
                  <a:pt x="1466" y="312"/>
                </a:cubicBezTo>
                <a:cubicBezTo>
                  <a:pt x="1466" y="312"/>
                  <a:pt x="1467" y="311"/>
                  <a:pt x="1467" y="311"/>
                </a:cubicBezTo>
                <a:cubicBezTo>
                  <a:pt x="1467" y="311"/>
                  <a:pt x="1468" y="310"/>
                  <a:pt x="1469" y="310"/>
                </a:cubicBezTo>
                <a:cubicBezTo>
                  <a:pt x="1469" y="309"/>
                  <a:pt x="1469" y="308"/>
                  <a:pt x="1470" y="308"/>
                </a:cubicBezTo>
                <a:cubicBezTo>
                  <a:pt x="1470" y="308"/>
                  <a:pt x="1471" y="307"/>
                  <a:pt x="1471" y="307"/>
                </a:cubicBezTo>
                <a:cubicBezTo>
                  <a:pt x="1471" y="307"/>
                  <a:pt x="1471" y="306"/>
                  <a:pt x="1471" y="306"/>
                </a:cubicBezTo>
                <a:cubicBezTo>
                  <a:pt x="1471" y="306"/>
                  <a:pt x="1472" y="306"/>
                  <a:pt x="1472" y="306"/>
                </a:cubicBezTo>
                <a:cubicBezTo>
                  <a:pt x="1472" y="305"/>
                  <a:pt x="1472" y="305"/>
                  <a:pt x="1472" y="305"/>
                </a:cubicBezTo>
                <a:cubicBezTo>
                  <a:pt x="1472" y="305"/>
                  <a:pt x="1472" y="305"/>
                  <a:pt x="1472" y="305"/>
                </a:cubicBezTo>
                <a:cubicBezTo>
                  <a:pt x="1472" y="304"/>
                  <a:pt x="1472" y="304"/>
                  <a:pt x="1473" y="304"/>
                </a:cubicBezTo>
                <a:cubicBezTo>
                  <a:pt x="1473" y="304"/>
                  <a:pt x="1473" y="303"/>
                  <a:pt x="1473" y="303"/>
                </a:cubicBezTo>
                <a:cubicBezTo>
                  <a:pt x="1473" y="303"/>
                  <a:pt x="1473" y="301"/>
                  <a:pt x="1473" y="301"/>
                </a:cubicBezTo>
                <a:cubicBezTo>
                  <a:pt x="1474" y="301"/>
                  <a:pt x="1474" y="300"/>
                  <a:pt x="1474" y="300"/>
                </a:cubicBezTo>
                <a:cubicBezTo>
                  <a:pt x="1474" y="299"/>
                  <a:pt x="1474" y="300"/>
                  <a:pt x="1474" y="299"/>
                </a:cubicBezTo>
                <a:cubicBezTo>
                  <a:pt x="1474" y="298"/>
                  <a:pt x="1475" y="299"/>
                  <a:pt x="1475" y="298"/>
                </a:cubicBezTo>
                <a:cubicBezTo>
                  <a:pt x="1475" y="298"/>
                  <a:pt x="1476" y="297"/>
                  <a:pt x="1476" y="298"/>
                </a:cubicBezTo>
                <a:cubicBezTo>
                  <a:pt x="1477" y="298"/>
                  <a:pt x="1477" y="297"/>
                  <a:pt x="1477" y="297"/>
                </a:cubicBezTo>
                <a:cubicBezTo>
                  <a:pt x="1477" y="296"/>
                  <a:pt x="1477" y="296"/>
                  <a:pt x="1477" y="295"/>
                </a:cubicBezTo>
                <a:cubicBezTo>
                  <a:pt x="1477" y="295"/>
                  <a:pt x="1477" y="295"/>
                  <a:pt x="1477" y="295"/>
                </a:cubicBezTo>
                <a:cubicBezTo>
                  <a:pt x="1478" y="295"/>
                  <a:pt x="1477" y="295"/>
                  <a:pt x="1478" y="294"/>
                </a:cubicBezTo>
                <a:cubicBezTo>
                  <a:pt x="1479" y="294"/>
                  <a:pt x="1478" y="293"/>
                  <a:pt x="1479" y="293"/>
                </a:cubicBezTo>
                <a:cubicBezTo>
                  <a:pt x="1480" y="292"/>
                  <a:pt x="1480" y="292"/>
                  <a:pt x="1481" y="291"/>
                </a:cubicBezTo>
                <a:cubicBezTo>
                  <a:pt x="1481" y="290"/>
                  <a:pt x="1481" y="288"/>
                  <a:pt x="1482" y="288"/>
                </a:cubicBezTo>
                <a:cubicBezTo>
                  <a:pt x="1482" y="288"/>
                  <a:pt x="1482" y="288"/>
                  <a:pt x="1483" y="288"/>
                </a:cubicBezTo>
                <a:cubicBezTo>
                  <a:pt x="1483" y="287"/>
                  <a:pt x="1482" y="287"/>
                  <a:pt x="1482" y="287"/>
                </a:cubicBezTo>
                <a:cubicBezTo>
                  <a:pt x="1482" y="287"/>
                  <a:pt x="1483" y="284"/>
                  <a:pt x="1483" y="284"/>
                </a:cubicBezTo>
                <a:cubicBezTo>
                  <a:pt x="1483" y="284"/>
                  <a:pt x="1484" y="283"/>
                  <a:pt x="1484" y="283"/>
                </a:cubicBezTo>
                <a:cubicBezTo>
                  <a:pt x="1484" y="282"/>
                  <a:pt x="1484" y="281"/>
                  <a:pt x="1483" y="281"/>
                </a:cubicBezTo>
                <a:cubicBezTo>
                  <a:pt x="1483" y="280"/>
                  <a:pt x="1483" y="279"/>
                  <a:pt x="1483" y="279"/>
                </a:cubicBezTo>
                <a:cubicBezTo>
                  <a:pt x="1482" y="278"/>
                  <a:pt x="1482" y="278"/>
                  <a:pt x="1483" y="277"/>
                </a:cubicBezTo>
                <a:cubicBezTo>
                  <a:pt x="1483" y="276"/>
                  <a:pt x="1484" y="276"/>
                  <a:pt x="1484" y="275"/>
                </a:cubicBezTo>
                <a:cubicBezTo>
                  <a:pt x="1484" y="275"/>
                  <a:pt x="1482" y="273"/>
                  <a:pt x="1483" y="273"/>
                </a:cubicBezTo>
                <a:cubicBezTo>
                  <a:pt x="1484" y="273"/>
                  <a:pt x="1484" y="273"/>
                  <a:pt x="1484" y="272"/>
                </a:cubicBezTo>
                <a:cubicBezTo>
                  <a:pt x="1484" y="272"/>
                  <a:pt x="1485" y="271"/>
                  <a:pt x="1485" y="271"/>
                </a:cubicBezTo>
                <a:cubicBezTo>
                  <a:pt x="1485" y="271"/>
                  <a:pt x="1485" y="270"/>
                  <a:pt x="1485" y="270"/>
                </a:cubicBezTo>
                <a:cubicBezTo>
                  <a:pt x="1485" y="270"/>
                  <a:pt x="1486" y="269"/>
                  <a:pt x="1486" y="269"/>
                </a:cubicBezTo>
                <a:cubicBezTo>
                  <a:pt x="1486" y="269"/>
                  <a:pt x="1486" y="269"/>
                  <a:pt x="1486" y="268"/>
                </a:cubicBezTo>
                <a:cubicBezTo>
                  <a:pt x="1486" y="268"/>
                  <a:pt x="1486" y="268"/>
                  <a:pt x="1485" y="268"/>
                </a:cubicBezTo>
                <a:cubicBezTo>
                  <a:pt x="1485" y="267"/>
                  <a:pt x="1485" y="266"/>
                  <a:pt x="1486" y="267"/>
                </a:cubicBezTo>
                <a:cubicBezTo>
                  <a:pt x="1486" y="266"/>
                  <a:pt x="1486" y="265"/>
                  <a:pt x="1485" y="266"/>
                </a:cubicBezTo>
                <a:cubicBezTo>
                  <a:pt x="1485" y="264"/>
                  <a:pt x="1485" y="263"/>
                  <a:pt x="1486" y="263"/>
                </a:cubicBezTo>
                <a:cubicBezTo>
                  <a:pt x="1487" y="263"/>
                  <a:pt x="1488" y="263"/>
                  <a:pt x="1489" y="264"/>
                </a:cubicBezTo>
                <a:cubicBezTo>
                  <a:pt x="1489" y="264"/>
                  <a:pt x="1490" y="262"/>
                  <a:pt x="1489" y="262"/>
                </a:cubicBezTo>
                <a:cubicBezTo>
                  <a:pt x="1489" y="261"/>
                  <a:pt x="1489" y="263"/>
                  <a:pt x="1488" y="262"/>
                </a:cubicBezTo>
                <a:cubicBezTo>
                  <a:pt x="1488" y="262"/>
                  <a:pt x="1487" y="262"/>
                  <a:pt x="1487" y="262"/>
                </a:cubicBezTo>
                <a:cubicBezTo>
                  <a:pt x="1487" y="262"/>
                  <a:pt x="1487" y="262"/>
                  <a:pt x="1487" y="262"/>
                </a:cubicBezTo>
                <a:cubicBezTo>
                  <a:pt x="1486" y="262"/>
                  <a:pt x="1486" y="261"/>
                  <a:pt x="1486" y="261"/>
                </a:cubicBezTo>
                <a:cubicBezTo>
                  <a:pt x="1486" y="261"/>
                  <a:pt x="1486" y="261"/>
                  <a:pt x="1486" y="260"/>
                </a:cubicBezTo>
                <a:cubicBezTo>
                  <a:pt x="1485" y="260"/>
                  <a:pt x="1485" y="261"/>
                  <a:pt x="1485" y="261"/>
                </a:cubicBezTo>
                <a:cubicBezTo>
                  <a:pt x="1485" y="260"/>
                  <a:pt x="1483" y="259"/>
                  <a:pt x="1482" y="259"/>
                </a:cubicBezTo>
                <a:cubicBezTo>
                  <a:pt x="1482" y="259"/>
                  <a:pt x="1482" y="257"/>
                  <a:pt x="1482" y="257"/>
                </a:cubicBezTo>
                <a:cubicBezTo>
                  <a:pt x="1482" y="256"/>
                  <a:pt x="1479" y="256"/>
                  <a:pt x="1479" y="255"/>
                </a:cubicBezTo>
                <a:cubicBezTo>
                  <a:pt x="1479" y="254"/>
                  <a:pt x="1478" y="255"/>
                  <a:pt x="1477" y="255"/>
                </a:cubicBezTo>
                <a:cubicBezTo>
                  <a:pt x="1476" y="255"/>
                  <a:pt x="1475" y="255"/>
                  <a:pt x="1474" y="254"/>
                </a:cubicBezTo>
                <a:cubicBezTo>
                  <a:pt x="1474" y="255"/>
                  <a:pt x="1474" y="256"/>
                  <a:pt x="1474" y="257"/>
                </a:cubicBezTo>
                <a:cubicBezTo>
                  <a:pt x="1474" y="258"/>
                  <a:pt x="1473" y="258"/>
                  <a:pt x="1473" y="257"/>
                </a:cubicBezTo>
                <a:cubicBezTo>
                  <a:pt x="1473" y="257"/>
                  <a:pt x="1473" y="257"/>
                  <a:pt x="1472" y="257"/>
                </a:cubicBezTo>
                <a:cubicBezTo>
                  <a:pt x="1472" y="257"/>
                  <a:pt x="1472" y="257"/>
                  <a:pt x="1472" y="258"/>
                </a:cubicBezTo>
                <a:cubicBezTo>
                  <a:pt x="1472" y="259"/>
                  <a:pt x="1472" y="258"/>
                  <a:pt x="1471" y="259"/>
                </a:cubicBezTo>
                <a:cubicBezTo>
                  <a:pt x="1471" y="259"/>
                  <a:pt x="1470" y="260"/>
                  <a:pt x="1470" y="260"/>
                </a:cubicBezTo>
                <a:cubicBezTo>
                  <a:pt x="1469" y="260"/>
                  <a:pt x="1469" y="260"/>
                  <a:pt x="1468" y="260"/>
                </a:cubicBezTo>
                <a:cubicBezTo>
                  <a:pt x="1469" y="259"/>
                  <a:pt x="1470" y="258"/>
                  <a:pt x="1470" y="257"/>
                </a:cubicBezTo>
                <a:cubicBezTo>
                  <a:pt x="1470" y="255"/>
                  <a:pt x="1469" y="256"/>
                  <a:pt x="1468" y="255"/>
                </a:cubicBezTo>
                <a:cubicBezTo>
                  <a:pt x="1467" y="255"/>
                  <a:pt x="1467" y="257"/>
                  <a:pt x="1467" y="258"/>
                </a:cubicBezTo>
                <a:cubicBezTo>
                  <a:pt x="1467" y="258"/>
                  <a:pt x="1466" y="258"/>
                  <a:pt x="1466" y="257"/>
                </a:cubicBezTo>
                <a:cubicBezTo>
                  <a:pt x="1466" y="257"/>
                  <a:pt x="1465" y="254"/>
                  <a:pt x="1466" y="254"/>
                </a:cubicBezTo>
                <a:cubicBezTo>
                  <a:pt x="1466" y="253"/>
                  <a:pt x="1466" y="252"/>
                  <a:pt x="1466" y="251"/>
                </a:cubicBezTo>
                <a:cubicBezTo>
                  <a:pt x="1465" y="251"/>
                  <a:pt x="1463" y="251"/>
                  <a:pt x="1462" y="251"/>
                </a:cubicBezTo>
                <a:cubicBezTo>
                  <a:pt x="1462" y="251"/>
                  <a:pt x="1461" y="251"/>
                  <a:pt x="1461" y="251"/>
                </a:cubicBezTo>
                <a:cubicBezTo>
                  <a:pt x="1461" y="251"/>
                  <a:pt x="1461" y="251"/>
                  <a:pt x="1460" y="251"/>
                </a:cubicBezTo>
                <a:cubicBezTo>
                  <a:pt x="1460" y="251"/>
                  <a:pt x="1459" y="251"/>
                  <a:pt x="1458" y="251"/>
                </a:cubicBezTo>
                <a:cubicBezTo>
                  <a:pt x="1458" y="250"/>
                  <a:pt x="1458" y="250"/>
                  <a:pt x="1459" y="250"/>
                </a:cubicBezTo>
                <a:cubicBezTo>
                  <a:pt x="1459" y="249"/>
                  <a:pt x="1459" y="249"/>
                  <a:pt x="1459" y="249"/>
                </a:cubicBezTo>
                <a:cubicBezTo>
                  <a:pt x="1459" y="248"/>
                  <a:pt x="1460" y="248"/>
                  <a:pt x="1460" y="247"/>
                </a:cubicBezTo>
                <a:cubicBezTo>
                  <a:pt x="1461" y="247"/>
                  <a:pt x="1461" y="247"/>
                  <a:pt x="1461" y="246"/>
                </a:cubicBezTo>
                <a:cubicBezTo>
                  <a:pt x="1463" y="246"/>
                  <a:pt x="1461" y="246"/>
                  <a:pt x="1462" y="245"/>
                </a:cubicBezTo>
                <a:cubicBezTo>
                  <a:pt x="1463" y="245"/>
                  <a:pt x="1463" y="245"/>
                  <a:pt x="1464" y="244"/>
                </a:cubicBezTo>
                <a:cubicBezTo>
                  <a:pt x="1464" y="243"/>
                  <a:pt x="1465" y="243"/>
                  <a:pt x="1466" y="243"/>
                </a:cubicBezTo>
                <a:cubicBezTo>
                  <a:pt x="1467" y="242"/>
                  <a:pt x="1467" y="241"/>
                  <a:pt x="1468" y="240"/>
                </a:cubicBezTo>
                <a:cubicBezTo>
                  <a:pt x="1469" y="240"/>
                  <a:pt x="1470" y="240"/>
                  <a:pt x="1470" y="240"/>
                </a:cubicBezTo>
                <a:cubicBezTo>
                  <a:pt x="1471" y="239"/>
                  <a:pt x="1469" y="238"/>
                  <a:pt x="1471" y="237"/>
                </a:cubicBezTo>
                <a:cubicBezTo>
                  <a:pt x="1472" y="237"/>
                  <a:pt x="1473" y="237"/>
                  <a:pt x="1473" y="235"/>
                </a:cubicBezTo>
                <a:cubicBezTo>
                  <a:pt x="1473" y="234"/>
                  <a:pt x="1473" y="235"/>
                  <a:pt x="1473" y="235"/>
                </a:cubicBezTo>
                <a:cubicBezTo>
                  <a:pt x="1473" y="234"/>
                  <a:pt x="1473" y="233"/>
                  <a:pt x="1474" y="233"/>
                </a:cubicBezTo>
                <a:cubicBezTo>
                  <a:pt x="1473" y="232"/>
                  <a:pt x="1473" y="232"/>
                  <a:pt x="1474" y="232"/>
                </a:cubicBezTo>
                <a:cubicBezTo>
                  <a:pt x="1474" y="232"/>
                  <a:pt x="1474" y="232"/>
                  <a:pt x="1475" y="232"/>
                </a:cubicBezTo>
                <a:cubicBezTo>
                  <a:pt x="1475" y="232"/>
                  <a:pt x="1476" y="231"/>
                  <a:pt x="1476" y="230"/>
                </a:cubicBezTo>
                <a:cubicBezTo>
                  <a:pt x="1477" y="230"/>
                  <a:pt x="1477" y="231"/>
                  <a:pt x="1477" y="230"/>
                </a:cubicBezTo>
                <a:cubicBezTo>
                  <a:pt x="1477" y="229"/>
                  <a:pt x="1477" y="229"/>
                  <a:pt x="1477" y="229"/>
                </a:cubicBezTo>
                <a:cubicBezTo>
                  <a:pt x="1478" y="229"/>
                  <a:pt x="1478" y="229"/>
                  <a:pt x="1478" y="229"/>
                </a:cubicBezTo>
                <a:cubicBezTo>
                  <a:pt x="1479" y="228"/>
                  <a:pt x="1478" y="229"/>
                  <a:pt x="1479" y="228"/>
                </a:cubicBezTo>
                <a:cubicBezTo>
                  <a:pt x="1480" y="228"/>
                  <a:pt x="1480" y="227"/>
                  <a:pt x="1481" y="227"/>
                </a:cubicBezTo>
                <a:cubicBezTo>
                  <a:pt x="1482" y="227"/>
                  <a:pt x="1481" y="227"/>
                  <a:pt x="1482" y="226"/>
                </a:cubicBezTo>
                <a:cubicBezTo>
                  <a:pt x="1482" y="225"/>
                  <a:pt x="1483" y="225"/>
                  <a:pt x="1483" y="225"/>
                </a:cubicBezTo>
                <a:cubicBezTo>
                  <a:pt x="1484" y="225"/>
                  <a:pt x="1484" y="225"/>
                  <a:pt x="1484" y="224"/>
                </a:cubicBezTo>
                <a:cubicBezTo>
                  <a:pt x="1485" y="223"/>
                  <a:pt x="1485" y="222"/>
                  <a:pt x="1486" y="221"/>
                </a:cubicBezTo>
                <a:cubicBezTo>
                  <a:pt x="1486" y="221"/>
                  <a:pt x="1486" y="220"/>
                  <a:pt x="1487" y="220"/>
                </a:cubicBezTo>
                <a:cubicBezTo>
                  <a:pt x="1488" y="219"/>
                  <a:pt x="1487" y="219"/>
                  <a:pt x="1487" y="218"/>
                </a:cubicBezTo>
                <a:cubicBezTo>
                  <a:pt x="1488" y="218"/>
                  <a:pt x="1488" y="218"/>
                  <a:pt x="1488" y="218"/>
                </a:cubicBezTo>
                <a:cubicBezTo>
                  <a:pt x="1488" y="218"/>
                  <a:pt x="1488" y="217"/>
                  <a:pt x="1488" y="217"/>
                </a:cubicBezTo>
                <a:cubicBezTo>
                  <a:pt x="1489" y="217"/>
                  <a:pt x="1489" y="217"/>
                  <a:pt x="1489" y="216"/>
                </a:cubicBezTo>
                <a:cubicBezTo>
                  <a:pt x="1490" y="216"/>
                  <a:pt x="1490" y="216"/>
                  <a:pt x="1490" y="216"/>
                </a:cubicBezTo>
                <a:cubicBezTo>
                  <a:pt x="1490" y="215"/>
                  <a:pt x="1490" y="215"/>
                  <a:pt x="1490" y="214"/>
                </a:cubicBezTo>
                <a:cubicBezTo>
                  <a:pt x="1491" y="214"/>
                  <a:pt x="1492" y="214"/>
                  <a:pt x="1492" y="213"/>
                </a:cubicBezTo>
                <a:cubicBezTo>
                  <a:pt x="1493" y="212"/>
                  <a:pt x="1495" y="212"/>
                  <a:pt x="1496" y="212"/>
                </a:cubicBezTo>
                <a:cubicBezTo>
                  <a:pt x="1496" y="211"/>
                  <a:pt x="1496" y="210"/>
                  <a:pt x="1496" y="210"/>
                </a:cubicBezTo>
                <a:cubicBezTo>
                  <a:pt x="1497" y="210"/>
                  <a:pt x="1497" y="211"/>
                  <a:pt x="1498" y="210"/>
                </a:cubicBezTo>
                <a:cubicBezTo>
                  <a:pt x="1498" y="210"/>
                  <a:pt x="1498" y="210"/>
                  <a:pt x="1499" y="210"/>
                </a:cubicBezTo>
                <a:cubicBezTo>
                  <a:pt x="1499" y="210"/>
                  <a:pt x="1499" y="211"/>
                  <a:pt x="1498" y="212"/>
                </a:cubicBezTo>
                <a:cubicBezTo>
                  <a:pt x="1499" y="211"/>
                  <a:pt x="1499" y="211"/>
                  <a:pt x="1500" y="211"/>
                </a:cubicBezTo>
                <a:cubicBezTo>
                  <a:pt x="1500" y="211"/>
                  <a:pt x="1501" y="211"/>
                  <a:pt x="1501" y="211"/>
                </a:cubicBezTo>
                <a:cubicBezTo>
                  <a:pt x="1501" y="211"/>
                  <a:pt x="1501" y="211"/>
                  <a:pt x="1501" y="211"/>
                </a:cubicBezTo>
                <a:cubicBezTo>
                  <a:pt x="1502" y="211"/>
                  <a:pt x="1504" y="211"/>
                  <a:pt x="1505" y="211"/>
                </a:cubicBezTo>
                <a:cubicBezTo>
                  <a:pt x="1506" y="211"/>
                  <a:pt x="1506" y="211"/>
                  <a:pt x="1506" y="211"/>
                </a:cubicBezTo>
                <a:cubicBezTo>
                  <a:pt x="1507" y="211"/>
                  <a:pt x="1507" y="211"/>
                  <a:pt x="1507" y="211"/>
                </a:cubicBezTo>
                <a:cubicBezTo>
                  <a:pt x="1507" y="210"/>
                  <a:pt x="1507" y="211"/>
                  <a:pt x="1508" y="211"/>
                </a:cubicBezTo>
                <a:cubicBezTo>
                  <a:pt x="1509" y="211"/>
                  <a:pt x="1509" y="211"/>
                  <a:pt x="1510" y="211"/>
                </a:cubicBezTo>
                <a:cubicBezTo>
                  <a:pt x="1511" y="212"/>
                  <a:pt x="1512" y="213"/>
                  <a:pt x="1511" y="213"/>
                </a:cubicBezTo>
                <a:cubicBezTo>
                  <a:pt x="1511" y="213"/>
                  <a:pt x="1511" y="214"/>
                  <a:pt x="1511" y="214"/>
                </a:cubicBezTo>
                <a:cubicBezTo>
                  <a:pt x="1512" y="214"/>
                  <a:pt x="1513" y="214"/>
                  <a:pt x="1513" y="213"/>
                </a:cubicBezTo>
                <a:cubicBezTo>
                  <a:pt x="1513" y="213"/>
                  <a:pt x="1513" y="213"/>
                  <a:pt x="1513" y="213"/>
                </a:cubicBezTo>
                <a:cubicBezTo>
                  <a:pt x="1514" y="212"/>
                  <a:pt x="1514" y="212"/>
                  <a:pt x="1514" y="212"/>
                </a:cubicBezTo>
                <a:cubicBezTo>
                  <a:pt x="1515" y="211"/>
                  <a:pt x="1515" y="212"/>
                  <a:pt x="1515" y="212"/>
                </a:cubicBezTo>
                <a:cubicBezTo>
                  <a:pt x="1516" y="212"/>
                  <a:pt x="1516" y="213"/>
                  <a:pt x="1516" y="213"/>
                </a:cubicBezTo>
                <a:cubicBezTo>
                  <a:pt x="1516" y="213"/>
                  <a:pt x="1517" y="213"/>
                  <a:pt x="1517" y="213"/>
                </a:cubicBezTo>
                <a:cubicBezTo>
                  <a:pt x="1517" y="214"/>
                  <a:pt x="1518" y="213"/>
                  <a:pt x="1518" y="214"/>
                </a:cubicBezTo>
                <a:cubicBezTo>
                  <a:pt x="1519" y="214"/>
                  <a:pt x="1521" y="214"/>
                  <a:pt x="1523" y="213"/>
                </a:cubicBezTo>
                <a:cubicBezTo>
                  <a:pt x="1524" y="213"/>
                  <a:pt x="1523" y="213"/>
                  <a:pt x="1524" y="214"/>
                </a:cubicBezTo>
                <a:cubicBezTo>
                  <a:pt x="1524" y="214"/>
                  <a:pt x="1524" y="214"/>
                  <a:pt x="1524" y="215"/>
                </a:cubicBezTo>
                <a:cubicBezTo>
                  <a:pt x="1525" y="215"/>
                  <a:pt x="1525" y="214"/>
                  <a:pt x="1526" y="214"/>
                </a:cubicBezTo>
                <a:cubicBezTo>
                  <a:pt x="1526" y="214"/>
                  <a:pt x="1525" y="213"/>
                  <a:pt x="1525" y="213"/>
                </a:cubicBezTo>
                <a:cubicBezTo>
                  <a:pt x="1525" y="212"/>
                  <a:pt x="1526" y="212"/>
                  <a:pt x="1526" y="212"/>
                </a:cubicBezTo>
                <a:cubicBezTo>
                  <a:pt x="1525" y="211"/>
                  <a:pt x="1526" y="211"/>
                  <a:pt x="1526" y="210"/>
                </a:cubicBezTo>
                <a:cubicBezTo>
                  <a:pt x="1527" y="209"/>
                  <a:pt x="1530" y="210"/>
                  <a:pt x="1530" y="211"/>
                </a:cubicBezTo>
                <a:cubicBezTo>
                  <a:pt x="1532" y="211"/>
                  <a:pt x="1533" y="211"/>
                  <a:pt x="1534" y="210"/>
                </a:cubicBezTo>
                <a:cubicBezTo>
                  <a:pt x="1534" y="211"/>
                  <a:pt x="1535" y="212"/>
                  <a:pt x="1535" y="211"/>
                </a:cubicBezTo>
                <a:cubicBezTo>
                  <a:pt x="1536" y="211"/>
                  <a:pt x="1536" y="211"/>
                  <a:pt x="1536" y="210"/>
                </a:cubicBezTo>
                <a:cubicBezTo>
                  <a:pt x="1536" y="210"/>
                  <a:pt x="1536" y="210"/>
                  <a:pt x="1537" y="210"/>
                </a:cubicBezTo>
                <a:cubicBezTo>
                  <a:pt x="1538" y="210"/>
                  <a:pt x="1538" y="209"/>
                  <a:pt x="1539" y="210"/>
                </a:cubicBezTo>
                <a:cubicBezTo>
                  <a:pt x="1539" y="211"/>
                  <a:pt x="1539" y="211"/>
                  <a:pt x="1540" y="212"/>
                </a:cubicBezTo>
                <a:cubicBezTo>
                  <a:pt x="1540" y="212"/>
                  <a:pt x="1540" y="213"/>
                  <a:pt x="1540" y="213"/>
                </a:cubicBezTo>
                <a:cubicBezTo>
                  <a:pt x="1541" y="213"/>
                  <a:pt x="1541" y="213"/>
                  <a:pt x="1541" y="214"/>
                </a:cubicBezTo>
                <a:cubicBezTo>
                  <a:pt x="1541" y="215"/>
                  <a:pt x="1537" y="214"/>
                  <a:pt x="1536" y="214"/>
                </a:cubicBezTo>
                <a:cubicBezTo>
                  <a:pt x="1536" y="215"/>
                  <a:pt x="1537" y="218"/>
                  <a:pt x="1538" y="218"/>
                </a:cubicBezTo>
                <a:cubicBezTo>
                  <a:pt x="1538" y="218"/>
                  <a:pt x="1538" y="218"/>
                  <a:pt x="1538" y="218"/>
                </a:cubicBezTo>
                <a:cubicBezTo>
                  <a:pt x="1539" y="218"/>
                  <a:pt x="1541" y="218"/>
                  <a:pt x="1542" y="217"/>
                </a:cubicBezTo>
                <a:cubicBezTo>
                  <a:pt x="1542" y="217"/>
                  <a:pt x="1542" y="216"/>
                  <a:pt x="1542" y="216"/>
                </a:cubicBezTo>
                <a:cubicBezTo>
                  <a:pt x="1543" y="216"/>
                  <a:pt x="1544" y="217"/>
                  <a:pt x="1545" y="217"/>
                </a:cubicBezTo>
                <a:cubicBezTo>
                  <a:pt x="1546" y="216"/>
                  <a:pt x="1545" y="216"/>
                  <a:pt x="1546" y="216"/>
                </a:cubicBezTo>
                <a:cubicBezTo>
                  <a:pt x="1547" y="215"/>
                  <a:pt x="1547" y="215"/>
                  <a:pt x="1548" y="215"/>
                </a:cubicBezTo>
                <a:cubicBezTo>
                  <a:pt x="1548" y="214"/>
                  <a:pt x="1549" y="214"/>
                  <a:pt x="1549" y="214"/>
                </a:cubicBezTo>
                <a:cubicBezTo>
                  <a:pt x="1549" y="215"/>
                  <a:pt x="1549" y="214"/>
                  <a:pt x="1549" y="215"/>
                </a:cubicBezTo>
                <a:cubicBezTo>
                  <a:pt x="1549" y="215"/>
                  <a:pt x="1549" y="215"/>
                  <a:pt x="1549" y="216"/>
                </a:cubicBezTo>
                <a:cubicBezTo>
                  <a:pt x="1550" y="216"/>
                  <a:pt x="1551" y="215"/>
                  <a:pt x="1551" y="215"/>
                </a:cubicBezTo>
                <a:cubicBezTo>
                  <a:pt x="1552" y="214"/>
                  <a:pt x="1552" y="215"/>
                  <a:pt x="1553" y="215"/>
                </a:cubicBezTo>
                <a:cubicBezTo>
                  <a:pt x="1553" y="214"/>
                  <a:pt x="1554" y="214"/>
                  <a:pt x="1554" y="214"/>
                </a:cubicBezTo>
                <a:cubicBezTo>
                  <a:pt x="1554" y="213"/>
                  <a:pt x="1554" y="212"/>
                  <a:pt x="1554" y="212"/>
                </a:cubicBezTo>
                <a:cubicBezTo>
                  <a:pt x="1553" y="212"/>
                  <a:pt x="1552" y="212"/>
                  <a:pt x="1551" y="212"/>
                </a:cubicBezTo>
                <a:cubicBezTo>
                  <a:pt x="1550" y="213"/>
                  <a:pt x="1550" y="213"/>
                  <a:pt x="1549" y="212"/>
                </a:cubicBezTo>
                <a:cubicBezTo>
                  <a:pt x="1549" y="212"/>
                  <a:pt x="1549" y="211"/>
                  <a:pt x="1550" y="210"/>
                </a:cubicBezTo>
                <a:cubicBezTo>
                  <a:pt x="1550" y="210"/>
                  <a:pt x="1549" y="209"/>
                  <a:pt x="1549" y="208"/>
                </a:cubicBezTo>
                <a:cubicBezTo>
                  <a:pt x="1550" y="209"/>
                  <a:pt x="1550" y="209"/>
                  <a:pt x="1551" y="209"/>
                </a:cubicBezTo>
                <a:cubicBezTo>
                  <a:pt x="1551" y="208"/>
                  <a:pt x="1551" y="209"/>
                  <a:pt x="1551" y="208"/>
                </a:cubicBezTo>
                <a:cubicBezTo>
                  <a:pt x="1551" y="208"/>
                  <a:pt x="1551" y="208"/>
                  <a:pt x="1551" y="207"/>
                </a:cubicBezTo>
                <a:cubicBezTo>
                  <a:pt x="1551" y="207"/>
                  <a:pt x="1551" y="206"/>
                  <a:pt x="1552" y="206"/>
                </a:cubicBezTo>
                <a:cubicBezTo>
                  <a:pt x="1552" y="206"/>
                  <a:pt x="1552" y="206"/>
                  <a:pt x="1552" y="205"/>
                </a:cubicBezTo>
                <a:cubicBezTo>
                  <a:pt x="1552" y="205"/>
                  <a:pt x="1553" y="205"/>
                  <a:pt x="1553" y="205"/>
                </a:cubicBezTo>
                <a:cubicBezTo>
                  <a:pt x="1554" y="205"/>
                  <a:pt x="1555" y="204"/>
                  <a:pt x="1556" y="203"/>
                </a:cubicBezTo>
                <a:cubicBezTo>
                  <a:pt x="1556" y="204"/>
                  <a:pt x="1557" y="203"/>
                  <a:pt x="1558" y="203"/>
                </a:cubicBezTo>
                <a:cubicBezTo>
                  <a:pt x="1558" y="202"/>
                  <a:pt x="1558" y="202"/>
                  <a:pt x="1559" y="201"/>
                </a:cubicBezTo>
                <a:cubicBezTo>
                  <a:pt x="1559" y="201"/>
                  <a:pt x="1559" y="201"/>
                  <a:pt x="1559" y="200"/>
                </a:cubicBezTo>
                <a:cubicBezTo>
                  <a:pt x="1559" y="199"/>
                  <a:pt x="1559" y="199"/>
                  <a:pt x="1560" y="199"/>
                </a:cubicBezTo>
                <a:cubicBezTo>
                  <a:pt x="1561" y="198"/>
                  <a:pt x="1562" y="198"/>
                  <a:pt x="1562" y="197"/>
                </a:cubicBezTo>
                <a:cubicBezTo>
                  <a:pt x="1562" y="197"/>
                  <a:pt x="1563" y="197"/>
                  <a:pt x="1563" y="197"/>
                </a:cubicBezTo>
                <a:cubicBezTo>
                  <a:pt x="1563" y="197"/>
                  <a:pt x="1563" y="197"/>
                  <a:pt x="1563" y="197"/>
                </a:cubicBezTo>
                <a:cubicBezTo>
                  <a:pt x="1564" y="197"/>
                  <a:pt x="1564" y="196"/>
                  <a:pt x="1565" y="196"/>
                </a:cubicBezTo>
                <a:cubicBezTo>
                  <a:pt x="1566" y="196"/>
                  <a:pt x="1566" y="195"/>
                  <a:pt x="1567" y="195"/>
                </a:cubicBezTo>
                <a:cubicBezTo>
                  <a:pt x="1567" y="195"/>
                  <a:pt x="1568" y="195"/>
                  <a:pt x="1569" y="195"/>
                </a:cubicBezTo>
                <a:cubicBezTo>
                  <a:pt x="1569" y="195"/>
                  <a:pt x="1570" y="195"/>
                  <a:pt x="1570" y="195"/>
                </a:cubicBezTo>
                <a:cubicBezTo>
                  <a:pt x="1571" y="194"/>
                  <a:pt x="1571" y="195"/>
                  <a:pt x="1572" y="195"/>
                </a:cubicBezTo>
                <a:cubicBezTo>
                  <a:pt x="1572" y="194"/>
                  <a:pt x="1574" y="194"/>
                  <a:pt x="1574" y="195"/>
                </a:cubicBezTo>
                <a:cubicBezTo>
                  <a:pt x="1574" y="196"/>
                  <a:pt x="1574" y="196"/>
                  <a:pt x="1575" y="196"/>
                </a:cubicBezTo>
                <a:cubicBezTo>
                  <a:pt x="1575" y="196"/>
                  <a:pt x="1575" y="197"/>
                  <a:pt x="1576" y="197"/>
                </a:cubicBezTo>
                <a:cubicBezTo>
                  <a:pt x="1576" y="196"/>
                  <a:pt x="1577" y="196"/>
                  <a:pt x="1577" y="196"/>
                </a:cubicBezTo>
                <a:cubicBezTo>
                  <a:pt x="1577" y="196"/>
                  <a:pt x="1578" y="195"/>
                  <a:pt x="1578" y="195"/>
                </a:cubicBezTo>
                <a:cubicBezTo>
                  <a:pt x="1579" y="195"/>
                  <a:pt x="1578" y="195"/>
                  <a:pt x="1579" y="195"/>
                </a:cubicBezTo>
                <a:cubicBezTo>
                  <a:pt x="1579" y="195"/>
                  <a:pt x="1579" y="196"/>
                  <a:pt x="1579" y="196"/>
                </a:cubicBezTo>
                <a:cubicBezTo>
                  <a:pt x="1579" y="197"/>
                  <a:pt x="1579" y="198"/>
                  <a:pt x="1578" y="198"/>
                </a:cubicBezTo>
                <a:cubicBezTo>
                  <a:pt x="1578" y="199"/>
                  <a:pt x="1577" y="200"/>
                  <a:pt x="1577" y="202"/>
                </a:cubicBezTo>
                <a:cubicBezTo>
                  <a:pt x="1577" y="202"/>
                  <a:pt x="1578" y="202"/>
                  <a:pt x="1579" y="201"/>
                </a:cubicBezTo>
                <a:cubicBezTo>
                  <a:pt x="1579" y="201"/>
                  <a:pt x="1579" y="200"/>
                  <a:pt x="1580" y="200"/>
                </a:cubicBezTo>
                <a:cubicBezTo>
                  <a:pt x="1580" y="201"/>
                  <a:pt x="1580" y="202"/>
                  <a:pt x="1579" y="202"/>
                </a:cubicBezTo>
                <a:cubicBezTo>
                  <a:pt x="1578" y="203"/>
                  <a:pt x="1578" y="203"/>
                  <a:pt x="1579" y="204"/>
                </a:cubicBezTo>
                <a:cubicBezTo>
                  <a:pt x="1579" y="204"/>
                  <a:pt x="1580" y="203"/>
                  <a:pt x="1581" y="203"/>
                </a:cubicBezTo>
                <a:cubicBezTo>
                  <a:pt x="1581" y="202"/>
                  <a:pt x="1581" y="202"/>
                  <a:pt x="1582" y="202"/>
                </a:cubicBezTo>
                <a:cubicBezTo>
                  <a:pt x="1583" y="202"/>
                  <a:pt x="1582" y="201"/>
                  <a:pt x="1583" y="201"/>
                </a:cubicBezTo>
                <a:cubicBezTo>
                  <a:pt x="1584" y="201"/>
                  <a:pt x="1583" y="200"/>
                  <a:pt x="1584" y="200"/>
                </a:cubicBezTo>
                <a:cubicBezTo>
                  <a:pt x="1584" y="199"/>
                  <a:pt x="1585" y="199"/>
                  <a:pt x="1585" y="199"/>
                </a:cubicBezTo>
                <a:cubicBezTo>
                  <a:pt x="1585" y="199"/>
                  <a:pt x="1585" y="198"/>
                  <a:pt x="1585" y="198"/>
                </a:cubicBezTo>
                <a:cubicBezTo>
                  <a:pt x="1585" y="198"/>
                  <a:pt x="1586" y="198"/>
                  <a:pt x="1586" y="197"/>
                </a:cubicBezTo>
                <a:cubicBezTo>
                  <a:pt x="1586" y="197"/>
                  <a:pt x="1586" y="197"/>
                  <a:pt x="1586" y="197"/>
                </a:cubicBezTo>
                <a:cubicBezTo>
                  <a:pt x="1586" y="196"/>
                  <a:pt x="1587" y="197"/>
                  <a:pt x="1587" y="196"/>
                </a:cubicBezTo>
                <a:cubicBezTo>
                  <a:pt x="1588" y="196"/>
                  <a:pt x="1589" y="196"/>
                  <a:pt x="1588" y="195"/>
                </a:cubicBezTo>
                <a:cubicBezTo>
                  <a:pt x="1589" y="195"/>
                  <a:pt x="1590" y="195"/>
                  <a:pt x="1591" y="196"/>
                </a:cubicBezTo>
                <a:cubicBezTo>
                  <a:pt x="1591" y="195"/>
                  <a:pt x="1591" y="195"/>
                  <a:pt x="1591" y="196"/>
                </a:cubicBezTo>
                <a:cubicBezTo>
                  <a:pt x="1591" y="197"/>
                  <a:pt x="1591" y="197"/>
                  <a:pt x="1593" y="197"/>
                </a:cubicBezTo>
                <a:cubicBezTo>
                  <a:pt x="1592" y="196"/>
                  <a:pt x="1593" y="196"/>
                  <a:pt x="1594" y="196"/>
                </a:cubicBezTo>
                <a:cubicBezTo>
                  <a:pt x="1594" y="196"/>
                  <a:pt x="1594" y="195"/>
                  <a:pt x="1594" y="195"/>
                </a:cubicBezTo>
                <a:cubicBezTo>
                  <a:pt x="1593" y="195"/>
                  <a:pt x="1593" y="192"/>
                  <a:pt x="1593" y="191"/>
                </a:cubicBezTo>
                <a:cubicBezTo>
                  <a:pt x="1593" y="191"/>
                  <a:pt x="1594" y="192"/>
                  <a:pt x="1594" y="191"/>
                </a:cubicBezTo>
                <a:cubicBezTo>
                  <a:pt x="1594" y="190"/>
                  <a:pt x="1594" y="190"/>
                  <a:pt x="1594" y="189"/>
                </a:cubicBezTo>
                <a:cubicBezTo>
                  <a:pt x="1594" y="189"/>
                  <a:pt x="1594" y="189"/>
                  <a:pt x="1594" y="189"/>
                </a:cubicBezTo>
                <a:cubicBezTo>
                  <a:pt x="1594" y="189"/>
                  <a:pt x="1595" y="189"/>
                  <a:pt x="1595" y="189"/>
                </a:cubicBezTo>
                <a:cubicBezTo>
                  <a:pt x="1596" y="189"/>
                  <a:pt x="1596" y="189"/>
                  <a:pt x="1596" y="189"/>
                </a:cubicBezTo>
                <a:cubicBezTo>
                  <a:pt x="1597" y="189"/>
                  <a:pt x="1596" y="188"/>
                  <a:pt x="1597" y="188"/>
                </a:cubicBezTo>
                <a:cubicBezTo>
                  <a:pt x="1597" y="188"/>
                  <a:pt x="1598" y="188"/>
                  <a:pt x="1598" y="188"/>
                </a:cubicBezTo>
                <a:cubicBezTo>
                  <a:pt x="1598" y="188"/>
                  <a:pt x="1598" y="188"/>
                  <a:pt x="1598" y="188"/>
                </a:cubicBezTo>
                <a:cubicBezTo>
                  <a:pt x="1599" y="188"/>
                  <a:pt x="1599" y="189"/>
                  <a:pt x="1600" y="189"/>
                </a:cubicBezTo>
                <a:cubicBezTo>
                  <a:pt x="1601" y="190"/>
                  <a:pt x="1603" y="190"/>
                  <a:pt x="1603" y="191"/>
                </a:cubicBezTo>
                <a:cubicBezTo>
                  <a:pt x="1601" y="191"/>
                  <a:pt x="1600" y="190"/>
                  <a:pt x="1598" y="191"/>
                </a:cubicBezTo>
                <a:cubicBezTo>
                  <a:pt x="1598" y="191"/>
                  <a:pt x="1597" y="192"/>
                  <a:pt x="1597" y="192"/>
                </a:cubicBezTo>
                <a:cubicBezTo>
                  <a:pt x="1597" y="193"/>
                  <a:pt x="1597" y="195"/>
                  <a:pt x="1597" y="196"/>
                </a:cubicBezTo>
                <a:cubicBezTo>
                  <a:pt x="1597" y="196"/>
                  <a:pt x="1597" y="197"/>
                  <a:pt x="1597" y="197"/>
                </a:cubicBezTo>
                <a:cubicBezTo>
                  <a:pt x="1596" y="197"/>
                  <a:pt x="1596" y="199"/>
                  <a:pt x="1595" y="200"/>
                </a:cubicBezTo>
                <a:cubicBezTo>
                  <a:pt x="1596" y="200"/>
                  <a:pt x="1596" y="200"/>
                  <a:pt x="1596" y="201"/>
                </a:cubicBezTo>
                <a:cubicBezTo>
                  <a:pt x="1596" y="201"/>
                  <a:pt x="1595" y="201"/>
                  <a:pt x="1595" y="201"/>
                </a:cubicBezTo>
                <a:cubicBezTo>
                  <a:pt x="1595" y="201"/>
                  <a:pt x="1595" y="202"/>
                  <a:pt x="1595" y="202"/>
                </a:cubicBezTo>
                <a:cubicBezTo>
                  <a:pt x="1595" y="203"/>
                  <a:pt x="1594" y="203"/>
                  <a:pt x="1593" y="203"/>
                </a:cubicBezTo>
                <a:cubicBezTo>
                  <a:pt x="1592" y="203"/>
                  <a:pt x="1591" y="203"/>
                  <a:pt x="1591" y="203"/>
                </a:cubicBezTo>
                <a:cubicBezTo>
                  <a:pt x="1591" y="203"/>
                  <a:pt x="1590" y="202"/>
                  <a:pt x="1590" y="203"/>
                </a:cubicBezTo>
                <a:cubicBezTo>
                  <a:pt x="1590" y="203"/>
                  <a:pt x="1590" y="203"/>
                  <a:pt x="1590" y="203"/>
                </a:cubicBezTo>
                <a:cubicBezTo>
                  <a:pt x="1589" y="203"/>
                  <a:pt x="1589" y="203"/>
                  <a:pt x="1589" y="204"/>
                </a:cubicBezTo>
                <a:cubicBezTo>
                  <a:pt x="1588" y="204"/>
                  <a:pt x="1588" y="204"/>
                  <a:pt x="1587" y="204"/>
                </a:cubicBezTo>
                <a:cubicBezTo>
                  <a:pt x="1586" y="204"/>
                  <a:pt x="1586" y="204"/>
                  <a:pt x="1586" y="204"/>
                </a:cubicBezTo>
                <a:cubicBezTo>
                  <a:pt x="1585" y="204"/>
                  <a:pt x="1586" y="205"/>
                  <a:pt x="1585" y="205"/>
                </a:cubicBezTo>
                <a:cubicBezTo>
                  <a:pt x="1585" y="206"/>
                  <a:pt x="1586" y="205"/>
                  <a:pt x="1586" y="206"/>
                </a:cubicBezTo>
                <a:cubicBezTo>
                  <a:pt x="1586" y="208"/>
                  <a:pt x="1585" y="207"/>
                  <a:pt x="1584" y="208"/>
                </a:cubicBezTo>
                <a:cubicBezTo>
                  <a:pt x="1584" y="208"/>
                  <a:pt x="1584" y="209"/>
                  <a:pt x="1584" y="209"/>
                </a:cubicBezTo>
                <a:cubicBezTo>
                  <a:pt x="1584" y="210"/>
                  <a:pt x="1584" y="209"/>
                  <a:pt x="1583" y="209"/>
                </a:cubicBezTo>
                <a:cubicBezTo>
                  <a:pt x="1583" y="210"/>
                  <a:pt x="1583" y="210"/>
                  <a:pt x="1583" y="211"/>
                </a:cubicBezTo>
                <a:cubicBezTo>
                  <a:pt x="1582" y="211"/>
                  <a:pt x="1583" y="211"/>
                  <a:pt x="1582" y="212"/>
                </a:cubicBezTo>
                <a:cubicBezTo>
                  <a:pt x="1581" y="212"/>
                  <a:pt x="1579" y="213"/>
                  <a:pt x="1579" y="213"/>
                </a:cubicBezTo>
                <a:cubicBezTo>
                  <a:pt x="1579" y="214"/>
                  <a:pt x="1580" y="214"/>
                  <a:pt x="1579" y="214"/>
                </a:cubicBezTo>
                <a:cubicBezTo>
                  <a:pt x="1578" y="215"/>
                  <a:pt x="1577" y="215"/>
                  <a:pt x="1577" y="216"/>
                </a:cubicBezTo>
                <a:cubicBezTo>
                  <a:pt x="1577" y="216"/>
                  <a:pt x="1576" y="217"/>
                  <a:pt x="1576" y="217"/>
                </a:cubicBezTo>
                <a:cubicBezTo>
                  <a:pt x="1576" y="218"/>
                  <a:pt x="1576" y="218"/>
                  <a:pt x="1575" y="219"/>
                </a:cubicBezTo>
                <a:cubicBezTo>
                  <a:pt x="1574" y="220"/>
                  <a:pt x="1573" y="221"/>
                  <a:pt x="1572" y="222"/>
                </a:cubicBezTo>
                <a:cubicBezTo>
                  <a:pt x="1572" y="222"/>
                  <a:pt x="1571" y="221"/>
                  <a:pt x="1571" y="222"/>
                </a:cubicBezTo>
                <a:cubicBezTo>
                  <a:pt x="1571" y="222"/>
                  <a:pt x="1571" y="223"/>
                  <a:pt x="1570" y="223"/>
                </a:cubicBezTo>
                <a:cubicBezTo>
                  <a:pt x="1570" y="224"/>
                  <a:pt x="1569" y="224"/>
                  <a:pt x="1568" y="224"/>
                </a:cubicBezTo>
                <a:cubicBezTo>
                  <a:pt x="1567" y="224"/>
                  <a:pt x="1567" y="224"/>
                  <a:pt x="1566" y="225"/>
                </a:cubicBezTo>
                <a:cubicBezTo>
                  <a:pt x="1566" y="225"/>
                  <a:pt x="1566" y="225"/>
                  <a:pt x="1565" y="225"/>
                </a:cubicBezTo>
                <a:cubicBezTo>
                  <a:pt x="1565" y="225"/>
                  <a:pt x="1564" y="226"/>
                  <a:pt x="1564" y="225"/>
                </a:cubicBezTo>
                <a:cubicBezTo>
                  <a:pt x="1563" y="225"/>
                  <a:pt x="1562" y="225"/>
                  <a:pt x="1562" y="225"/>
                </a:cubicBezTo>
                <a:cubicBezTo>
                  <a:pt x="1562" y="226"/>
                  <a:pt x="1562" y="226"/>
                  <a:pt x="1563" y="227"/>
                </a:cubicBezTo>
                <a:cubicBezTo>
                  <a:pt x="1563" y="227"/>
                  <a:pt x="1563" y="229"/>
                  <a:pt x="1563" y="229"/>
                </a:cubicBezTo>
                <a:cubicBezTo>
                  <a:pt x="1562" y="229"/>
                  <a:pt x="1562" y="232"/>
                  <a:pt x="1562" y="233"/>
                </a:cubicBezTo>
                <a:cubicBezTo>
                  <a:pt x="1561" y="233"/>
                  <a:pt x="1561" y="233"/>
                  <a:pt x="1560" y="233"/>
                </a:cubicBezTo>
                <a:cubicBezTo>
                  <a:pt x="1560" y="233"/>
                  <a:pt x="1560" y="233"/>
                  <a:pt x="1559" y="233"/>
                </a:cubicBezTo>
                <a:cubicBezTo>
                  <a:pt x="1558" y="234"/>
                  <a:pt x="1558" y="235"/>
                  <a:pt x="1558" y="237"/>
                </a:cubicBezTo>
                <a:cubicBezTo>
                  <a:pt x="1558" y="238"/>
                  <a:pt x="1557" y="238"/>
                  <a:pt x="1557" y="239"/>
                </a:cubicBezTo>
                <a:cubicBezTo>
                  <a:pt x="1557" y="240"/>
                  <a:pt x="1557" y="239"/>
                  <a:pt x="1557" y="240"/>
                </a:cubicBezTo>
                <a:cubicBezTo>
                  <a:pt x="1557" y="240"/>
                  <a:pt x="1557" y="241"/>
                  <a:pt x="1556" y="241"/>
                </a:cubicBezTo>
                <a:cubicBezTo>
                  <a:pt x="1556" y="243"/>
                  <a:pt x="1556" y="245"/>
                  <a:pt x="1556" y="247"/>
                </a:cubicBezTo>
                <a:cubicBezTo>
                  <a:pt x="1556" y="248"/>
                  <a:pt x="1557" y="248"/>
                  <a:pt x="1557" y="249"/>
                </a:cubicBezTo>
                <a:cubicBezTo>
                  <a:pt x="1557" y="250"/>
                  <a:pt x="1557" y="250"/>
                  <a:pt x="1557" y="250"/>
                </a:cubicBezTo>
                <a:cubicBezTo>
                  <a:pt x="1557" y="251"/>
                  <a:pt x="1557" y="251"/>
                  <a:pt x="1558" y="251"/>
                </a:cubicBezTo>
                <a:cubicBezTo>
                  <a:pt x="1558" y="252"/>
                  <a:pt x="1557" y="253"/>
                  <a:pt x="1558" y="253"/>
                </a:cubicBezTo>
                <a:cubicBezTo>
                  <a:pt x="1558" y="254"/>
                  <a:pt x="1558" y="255"/>
                  <a:pt x="1558" y="255"/>
                </a:cubicBezTo>
                <a:cubicBezTo>
                  <a:pt x="1559" y="255"/>
                  <a:pt x="1557" y="258"/>
                  <a:pt x="1558" y="258"/>
                </a:cubicBezTo>
                <a:cubicBezTo>
                  <a:pt x="1558" y="259"/>
                  <a:pt x="1558" y="260"/>
                  <a:pt x="1558" y="261"/>
                </a:cubicBezTo>
                <a:cubicBezTo>
                  <a:pt x="1559" y="261"/>
                  <a:pt x="1559" y="265"/>
                  <a:pt x="1559" y="266"/>
                </a:cubicBezTo>
                <a:cubicBezTo>
                  <a:pt x="1560" y="266"/>
                  <a:pt x="1560" y="266"/>
                  <a:pt x="1560" y="267"/>
                </a:cubicBezTo>
                <a:cubicBezTo>
                  <a:pt x="1560" y="267"/>
                  <a:pt x="1560" y="267"/>
                  <a:pt x="1560" y="267"/>
                </a:cubicBezTo>
                <a:cubicBezTo>
                  <a:pt x="1560" y="267"/>
                  <a:pt x="1561" y="267"/>
                  <a:pt x="1560" y="268"/>
                </a:cubicBezTo>
                <a:cubicBezTo>
                  <a:pt x="1560" y="269"/>
                  <a:pt x="1560" y="269"/>
                  <a:pt x="1561" y="270"/>
                </a:cubicBezTo>
                <a:cubicBezTo>
                  <a:pt x="1561" y="270"/>
                  <a:pt x="1561" y="271"/>
                  <a:pt x="1561" y="271"/>
                </a:cubicBezTo>
                <a:cubicBezTo>
                  <a:pt x="1560" y="272"/>
                  <a:pt x="1560" y="272"/>
                  <a:pt x="1560" y="272"/>
                </a:cubicBezTo>
                <a:cubicBezTo>
                  <a:pt x="1561" y="273"/>
                  <a:pt x="1561" y="274"/>
                  <a:pt x="1561" y="275"/>
                </a:cubicBezTo>
                <a:cubicBezTo>
                  <a:pt x="1563" y="275"/>
                  <a:pt x="1563" y="274"/>
                  <a:pt x="1565" y="273"/>
                </a:cubicBezTo>
                <a:cubicBezTo>
                  <a:pt x="1565" y="273"/>
                  <a:pt x="1566" y="272"/>
                  <a:pt x="1566" y="272"/>
                </a:cubicBezTo>
                <a:cubicBezTo>
                  <a:pt x="1566" y="271"/>
                  <a:pt x="1568" y="271"/>
                  <a:pt x="1568" y="270"/>
                </a:cubicBezTo>
                <a:cubicBezTo>
                  <a:pt x="1570" y="269"/>
                  <a:pt x="1568" y="264"/>
                  <a:pt x="1570" y="263"/>
                </a:cubicBezTo>
                <a:cubicBezTo>
                  <a:pt x="1570" y="263"/>
                  <a:pt x="1571" y="263"/>
                  <a:pt x="1571" y="263"/>
                </a:cubicBezTo>
                <a:cubicBezTo>
                  <a:pt x="1571" y="262"/>
                  <a:pt x="1575" y="262"/>
                  <a:pt x="1575" y="262"/>
                </a:cubicBezTo>
                <a:cubicBezTo>
                  <a:pt x="1575" y="261"/>
                  <a:pt x="1575" y="260"/>
                  <a:pt x="1575" y="259"/>
                </a:cubicBezTo>
                <a:cubicBezTo>
                  <a:pt x="1575" y="257"/>
                  <a:pt x="1575" y="256"/>
                  <a:pt x="1576" y="255"/>
                </a:cubicBezTo>
                <a:cubicBezTo>
                  <a:pt x="1577" y="255"/>
                  <a:pt x="1576" y="254"/>
                  <a:pt x="1577" y="254"/>
                </a:cubicBezTo>
                <a:cubicBezTo>
                  <a:pt x="1578" y="253"/>
                  <a:pt x="1578" y="254"/>
                  <a:pt x="1578" y="253"/>
                </a:cubicBezTo>
                <a:cubicBezTo>
                  <a:pt x="1578" y="253"/>
                  <a:pt x="1578" y="252"/>
                  <a:pt x="1578" y="253"/>
                </a:cubicBezTo>
                <a:cubicBezTo>
                  <a:pt x="1579" y="253"/>
                  <a:pt x="1579" y="252"/>
                  <a:pt x="1579" y="252"/>
                </a:cubicBezTo>
                <a:cubicBezTo>
                  <a:pt x="1580" y="251"/>
                  <a:pt x="1581" y="251"/>
                  <a:pt x="1581" y="251"/>
                </a:cubicBezTo>
                <a:cubicBezTo>
                  <a:pt x="1582" y="251"/>
                  <a:pt x="1583" y="252"/>
                  <a:pt x="1584" y="252"/>
                </a:cubicBezTo>
                <a:cubicBezTo>
                  <a:pt x="1584" y="252"/>
                  <a:pt x="1585" y="252"/>
                  <a:pt x="1585" y="251"/>
                </a:cubicBezTo>
                <a:cubicBezTo>
                  <a:pt x="1585" y="251"/>
                  <a:pt x="1585" y="251"/>
                  <a:pt x="1585" y="251"/>
                </a:cubicBezTo>
                <a:cubicBezTo>
                  <a:pt x="1585" y="250"/>
                  <a:pt x="1585" y="251"/>
                  <a:pt x="1586" y="250"/>
                </a:cubicBezTo>
                <a:cubicBezTo>
                  <a:pt x="1586" y="250"/>
                  <a:pt x="1586" y="249"/>
                  <a:pt x="1587" y="250"/>
                </a:cubicBezTo>
                <a:cubicBezTo>
                  <a:pt x="1587" y="248"/>
                  <a:pt x="1586" y="247"/>
                  <a:pt x="1585" y="246"/>
                </a:cubicBezTo>
                <a:cubicBezTo>
                  <a:pt x="1584" y="246"/>
                  <a:pt x="1584" y="246"/>
                  <a:pt x="1584" y="245"/>
                </a:cubicBezTo>
                <a:cubicBezTo>
                  <a:pt x="1584" y="245"/>
                  <a:pt x="1584" y="244"/>
                  <a:pt x="1584" y="244"/>
                </a:cubicBezTo>
                <a:cubicBezTo>
                  <a:pt x="1584" y="244"/>
                  <a:pt x="1584" y="244"/>
                  <a:pt x="1584" y="244"/>
                </a:cubicBezTo>
                <a:cubicBezTo>
                  <a:pt x="1585" y="243"/>
                  <a:pt x="1584" y="241"/>
                  <a:pt x="1584" y="240"/>
                </a:cubicBezTo>
                <a:cubicBezTo>
                  <a:pt x="1585" y="240"/>
                  <a:pt x="1588" y="239"/>
                  <a:pt x="1588" y="238"/>
                </a:cubicBezTo>
                <a:cubicBezTo>
                  <a:pt x="1588" y="238"/>
                  <a:pt x="1590" y="239"/>
                  <a:pt x="1590" y="239"/>
                </a:cubicBezTo>
                <a:cubicBezTo>
                  <a:pt x="1592" y="239"/>
                  <a:pt x="1592" y="238"/>
                  <a:pt x="1592" y="236"/>
                </a:cubicBezTo>
                <a:cubicBezTo>
                  <a:pt x="1591" y="236"/>
                  <a:pt x="1590" y="236"/>
                  <a:pt x="1589" y="236"/>
                </a:cubicBezTo>
                <a:cubicBezTo>
                  <a:pt x="1589" y="235"/>
                  <a:pt x="1589" y="235"/>
                  <a:pt x="1589" y="234"/>
                </a:cubicBezTo>
                <a:cubicBezTo>
                  <a:pt x="1588" y="234"/>
                  <a:pt x="1588" y="233"/>
                  <a:pt x="1588" y="233"/>
                </a:cubicBezTo>
                <a:cubicBezTo>
                  <a:pt x="1587" y="232"/>
                  <a:pt x="1588" y="232"/>
                  <a:pt x="1588" y="231"/>
                </a:cubicBezTo>
                <a:cubicBezTo>
                  <a:pt x="1589" y="230"/>
                  <a:pt x="1588" y="229"/>
                  <a:pt x="1589" y="228"/>
                </a:cubicBezTo>
                <a:cubicBezTo>
                  <a:pt x="1591" y="228"/>
                  <a:pt x="1591" y="228"/>
                  <a:pt x="1591" y="226"/>
                </a:cubicBezTo>
                <a:cubicBezTo>
                  <a:pt x="1591" y="225"/>
                  <a:pt x="1592" y="225"/>
                  <a:pt x="1590" y="224"/>
                </a:cubicBezTo>
                <a:cubicBezTo>
                  <a:pt x="1590" y="224"/>
                  <a:pt x="1589" y="224"/>
                  <a:pt x="1588" y="224"/>
                </a:cubicBezTo>
                <a:cubicBezTo>
                  <a:pt x="1588" y="224"/>
                  <a:pt x="1588" y="224"/>
                  <a:pt x="1588" y="224"/>
                </a:cubicBezTo>
                <a:cubicBezTo>
                  <a:pt x="1587" y="224"/>
                  <a:pt x="1587" y="224"/>
                  <a:pt x="1587" y="223"/>
                </a:cubicBezTo>
                <a:cubicBezTo>
                  <a:pt x="1587" y="223"/>
                  <a:pt x="1586" y="223"/>
                  <a:pt x="1586" y="223"/>
                </a:cubicBezTo>
                <a:cubicBezTo>
                  <a:pt x="1586" y="222"/>
                  <a:pt x="1586" y="222"/>
                  <a:pt x="1586" y="222"/>
                </a:cubicBezTo>
                <a:cubicBezTo>
                  <a:pt x="1586" y="220"/>
                  <a:pt x="1587" y="219"/>
                  <a:pt x="1588" y="218"/>
                </a:cubicBezTo>
                <a:cubicBezTo>
                  <a:pt x="1588" y="217"/>
                  <a:pt x="1589" y="216"/>
                  <a:pt x="1590" y="216"/>
                </a:cubicBezTo>
                <a:cubicBezTo>
                  <a:pt x="1591" y="216"/>
                  <a:pt x="1590" y="215"/>
                  <a:pt x="1591" y="214"/>
                </a:cubicBezTo>
                <a:cubicBezTo>
                  <a:pt x="1592" y="215"/>
                  <a:pt x="1592" y="214"/>
                  <a:pt x="1592" y="213"/>
                </a:cubicBezTo>
                <a:cubicBezTo>
                  <a:pt x="1592" y="213"/>
                  <a:pt x="1593" y="213"/>
                  <a:pt x="1593" y="213"/>
                </a:cubicBezTo>
                <a:cubicBezTo>
                  <a:pt x="1593" y="212"/>
                  <a:pt x="1592" y="211"/>
                  <a:pt x="1593" y="211"/>
                </a:cubicBezTo>
                <a:cubicBezTo>
                  <a:pt x="1594" y="210"/>
                  <a:pt x="1594" y="210"/>
                  <a:pt x="1594" y="209"/>
                </a:cubicBezTo>
                <a:cubicBezTo>
                  <a:pt x="1595" y="208"/>
                  <a:pt x="1594" y="208"/>
                  <a:pt x="1595" y="208"/>
                </a:cubicBezTo>
                <a:cubicBezTo>
                  <a:pt x="1596" y="208"/>
                  <a:pt x="1597" y="208"/>
                  <a:pt x="1597" y="209"/>
                </a:cubicBezTo>
                <a:cubicBezTo>
                  <a:pt x="1597" y="209"/>
                  <a:pt x="1598" y="209"/>
                  <a:pt x="1599" y="209"/>
                </a:cubicBezTo>
                <a:cubicBezTo>
                  <a:pt x="1600" y="209"/>
                  <a:pt x="1599" y="209"/>
                  <a:pt x="1600" y="209"/>
                </a:cubicBezTo>
                <a:cubicBezTo>
                  <a:pt x="1601" y="209"/>
                  <a:pt x="1601" y="209"/>
                  <a:pt x="1601" y="208"/>
                </a:cubicBezTo>
                <a:cubicBezTo>
                  <a:pt x="1601" y="207"/>
                  <a:pt x="1603" y="207"/>
                  <a:pt x="1604" y="206"/>
                </a:cubicBezTo>
                <a:cubicBezTo>
                  <a:pt x="1605" y="206"/>
                  <a:pt x="1605" y="205"/>
                  <a:pt x="1606" y="205"/>
                </a:cubicBezTo>
                <a:cubicBezTo>
                  <a:pt x="1606" y="204"/>
                  <a:pt x="1606" y="204"/>
                  <a:pt x="1607" y="204"/>
                </a:cubicBezTo>
                <a:cubicBezTo>
                  <a:pt x="1607" y="204"/>
                  <a:pt x="1606" y="204"/>
                  <a:pt x="1606" y="205"/>
                </a:cubicBezTo>
                <a:cubicBezTo>
                  <a:pt x="1606" y="205"/>
                  <a:pt x="1606" y="206"/>
                  <a:pt x="1606" y="206"/>
                </a:cubicBezTo>
                <a:cubicBezTo>
                  <a:pt x="1606" y="208"/>
                  <a:pt x="1606" y="209"/>
                  <a:pt x="1606" y="210"/>
                </a:cubicBezTo>
                <a:cubicBezTo>
                  <a:pt x="1607" y="210"/>
                  <a:pt x="1607" y="209"/>
                  <a:pt x="1608" y="209"/>
                </a:cubicBezTo>
                <a:cubicBezTo>
                  <a:pt x="1608" y="209"/>
                  <a:pt x="1609" y="208"/>
                  <a:pt x="1609" y="208"/>
                </a:cubicBezTo>
                <a:cubicBezTo>
                  <a:pt x="1609" y="208"/>
                  <a:pt x="1610" y="208"/>
                  <a:pt x="1610" y="208"/>
                </a:cubicBezTo>
                <a:cubicBezTo>
                  <a:pt x="1610" y="207"/>
                  <a:pt x="1610" y="207"/>
                  <a:pt x="1610" y="207"/>
                </a:cubicBezTo>
                <a:cubicBezTo>
                  <a:pt x="1611" y="207"/>
                  <a:pt x="1611" y="205"/>
                  <a:pt x="1611" y="204"/>
                </a:cubicBezTo>
                <a:cubicBezTo>
                  <a:pt x="1612" y="204"/>
                  <a:pt x="1612" y="204"/>
                  <a:pt x="1612" y="205"/>
                </a:cubicBezTo>
                <a:cubicBezTo>
                  <a:pt x="1612" y="204"/>
                  <a:pt x="1614" y="204"/>
                  <a:pt x="1614" y="203"/>
                </a:cubicBezTo>
                <a:cubicBezTo>
                  <a:pt x="1614" y="203"/>
                  <a:pt x="1616" y="203"/>
                  <a:pt x="1617" y="203"/>
                </a:cubicBezTo>
                <a:cubicBezTo>
                  <a:pt x="1617" y="203"/>
                  <a:pt x="1618" y="203"/>
                  <a:pt x="1618" y="203"/>
                </a:cubicBezTo>
                <a:cubicBezTo>
                  <a:pt x="1618" y="204"/>
                  <a:pt x="1618" y="203"/>
                  <a:pt x="1618" y="204"/>
                </a:cubicBezTo>
                <a:cubicBezTo>
                  <a:pt x="1619" y="204"/>
                  <a:pt x="1618" y="204"/>
                  <a:pt x="1619" y="204"/>
                </a:cubicBezTo>
                <a:cubicBezTo>
                  <a:pt x="1619" y="204"/>
                  <a:pt x="1619" y="204"/>
                  <a:pt x="1620" y="205"/>
                </a:cubicBezTo>
                <a:cubicBezTo>
                  <a:pt x="1621" y="205"/>
                  <a:pt x="1622" y="204"/>
                  <a:pt x="1622" y="206"/>
                </a:cubicBezTo>
                <a:cubicBezTo>
                  <a:pt x="1622" y="207"/>
                  <a:pt x="1622" y="207"/>
                  <a:pt x="1623" y="208"/>
                </a:cubicBezTo>
                <a:cubicBezTo>
                  <a:pt x="1623" y="208"/>
                  <a:pt x="1624" y="208"/>
                  <a:pt x="1624" y="209"/>
                </a:cubicBezTo>
                <a:cubicBezTo>
                  <a:pt x="1624" y="209"/>
                  <a:pt x="1626" y="209"/>
                  <a:pt x="1626" y="209"/>
                </a:cubicBezTo>
                <a:cubicBezTo>
                  <a:pt x="1627" y="208"/>
                  <a:pt x="1627" y="207"/>
                  <a:pt x="1627" y="206"/>
                </a:cubicBezTo>
                <a:cubicBezTo>
                  <a:pt x="1627" y="206"/>
                  <a:pt x="1628" y="206"/>
                  <a:pt x="1628" y="206"/>
                </a:cubicBezTo>
                <a:cubicBezTo>
                  <a:pt x="1628" y="205"/>
                  <a:pt x="1628" y="205"/>
                  <a:pt x="1629" y="205"/>
                </a:cubicBezTo>
                <a:cubicBezTo>
                  <a:pt x="1629" y="204"/>
                  <a:pt x="1629" y="204"/>
                  <a:pt x="1629" y="204"/>
                </a:cubicBezTo>
                <a:cubicBezTo>
                  <a:pt x="1630" y="204"/>
                  <a:pt x="1630" y="203"/>
                  <a:pt x="1631" y="203"/>
                </a:cubicBezTo>
                <a:cubicBezTo>
                  <a:pt x="1631" y="203"/>
                  <a:pt x="1632" y="202"/>
                  <a:pt x="1632" y="202"/>
                </a:cubicBezTo>
                <a:cubicBezTo>
                  <a:pt x="1632" y="202"/>
                  <a:pt x="1632" y="201"/>
                  <a:pt x="1632" y="201"/>
                </a:cubicBezTo>
                <a:cubicBezTo>
                  <a:pt x="1632" y="201"/>
                  <a:pt x="1633" y="201"/>
                  <a:pt x="1633" y="200"/>
                </a:cubicBezTo>
                <a:cubicBezTo>
                  <a:pt x="1634" y="200"/>
                  <a:pt x="1634" y="201"/>
                  <a:pt x="1635" y="200"/>
                </a:cubicBezTo>
                <a:cubicBezTo>
                  <a:pt x="1636" y="200"/>
                  <a:pt x="1636" y="199"/>
                  <a:pt x="1637" y="199"/>
                </a:cubicBezTo>
                <a:cubicBezTo>
                  <a:pt x="1637" y="198"/>
                  <a:pt x="1635" y="198"/>
                  <a:pt x="1636" y="197"/>
                </a:cubicBezTo>
                <a:cubicBezTo>
                  <a:pt x="1636" y="197"/>
                  <a:pt x="1637" y="198"/>
                  <a:pt x="1638" y="198"/>
                </a:cubicBezTo>
                <a:cubicBezTo>
                  <a:pt x="1639" y="198"/>
                  <a:pt x="1639" y="198"/>
                  <a:pt x="1640" y="198"/>
                </a:cubicBezTo>
                <a:cubicBezTo>
                  <a:pt x="1641" y="197"/>
                  <a:pt x="1639" y="196"/>
                  <a:pt x="1639" y="195"/>
                </a:cubicBezTo>
                <a:cubicBezTo>
                  <a:pt x="1640" y="196"/>
                  <a:pt x="1641" y="197"/>
                  <a:pt x="1642" y="196"/>
                </a:cubicBezTo>
                <a:cubicBezTo>
                  <a:pt x="1643" y="196"/>
                  <a:pt x="1643" y="195"/>
                  <a:pt x="1643" y="195"/>
                </a:cubicBezTo>
                <a:cubicBezTo>
                  <a:pt x="1644" y="195"/>
                  <a:pt x="1643" y="195"/>
                  <a:pt x="1644" y="195"/>
                </a:cubicBezTo>
                <a:cubicBezTo>
                  <a:pt x="1644" y="195"/>
                  <a:pt x="1645" y="195"/>
                  <a:pt x="1645" y="194"/>
                </a:cubicBezTo>
                <a:cubicBezTo>
                  <a:pt x="1645" y="194"/>
                  <a:pt x="1645" y="194"/>
                  <a:pt x="1646" y="194"/>
                </a:cubicBezTo>
                <a:cubicBezTo>
                  <a:pt x="1646" y="194"/>
                  <a:pt x="1646" y="194"/>
                  <a:pt x="1646" y="194"/>
                </a:cubicBezTo>
                <a:cubicBezTo>
                  <a:pt x="1646" y="194"/>
                  <a:pt x="1647" y="194"/>
                  <a:pt x="1647" y="194"/>
                </a:cubicBezTo>
                <a:cubicBezTo>
                  <a:pt x="1648" y="193"/>
                  <a:pt x="1647" y="193"/>
                  <a:pt x="1648" y="193"/>
                </a:cubicBezTo>
                <a:cubicBezTo>
                  <a:pt x="1649" y="193"/>
                  <a:pt x="1649" y="192"/>
                  <a:pt x="1649" y="192"/>
                </a:cubicBezTo>
                <a:cubicBezTo>
                  <a:pt x="1650" y="192"/>
                  <a:pt x="1650" y="192"/>
                  <a:pt x="1650" y="192"/>
                </a:cubicBezTo>
                <a:cubicBezTo>
                  <a:pt x="1650" y="192"/>
                  <a:pt x="1651" y="192"/>
                  <a:pt x="1651" y="192"/>
                </a:cubicBezTo>
                <a:cubicBezTo>
                  <a:pt x="1651" y="192"/>
                  <a:pt x="1651" y="192"/>
                  <a:pt x="1652" y="192"/>
                </a:cubicBezTo>
                <a:cubicBezTo>
                  <a:pt x="1652" y="192"/>
                  <a:pt x="1652" y="191"/>
                  <a:pt x="1653" y="191"/>
                </a:cubicBezTo>
                <a:cubicBezTo>
                  <a:pt x="1653" y="191"/>
                  <a:pt x="1653" y="191"/>
                  <a:pt x="1653" y="191"/>
                </a:cubicBezTo>
                <a:cubicBezTo>
                  <a:pt x="1653" y="191"/>
                  <a:pt x="1654" y="191"/>
                  <a:pt x="1654" y="191"/>
                </a:cubicBezTo>
                <a:cubicBezTo>
                  <a:pt x="1655" y="191"/>
                  <a:pt x="1656" y="190"/>
                  <a:pt x="1656" y="190"/>
                </a:cubicBezTo>
                <a:cubicBezTo>
                  <a:pt x="1657" y="190"/>
                  <a:pt x="1656" y="191"/>
                  <a:pt x="1658" y="190"/>
                </a:cubicBezTo>
                <a:cubicBezTo>
                  <a:pt x="1659" y="190"/>
                  <a:pt x="1660" y="190"/>
                  <a:pt x="1661" y="190"/>
                </a:cubicBezTo>
                <a:cubicBezTo>
                  <a:pt x="1661" y="190"/>
                  <a:pt x="1661" y="190"/>
                  <a:pt x="1662" y="190"/>
                </a:cubicBezTo>
                <a:cubicBezTo>
                  <a:pt x="1662" y="191"/>
                  <a:pt x="1662" y="191"/>
                  <a:pt x="1663" y="191"/>
                </a:cubicBezTo>
                <a:cubicBezTo>
                  <a:pt x="1663" y="191"/>
                  <a:pt x="1663" y="191"/>
                  <a:pt x="1663" y="191"/>
                </a:cubicBezTo>
                <a:cubicBezTo>
                  <a:pt x="1664" y="191"/>
                  <a:pt x="1665" y="191"/>
                  <a:pt x="1666" y="191"/>
                </a:cubicBezTo>
                <a:cubicBezTo>
                  <a:pt x="1666" y="191"/>
                  <a:pt x="1667" y="190"/>
                  <a:pt x="1668" y="189"/>
                </a:cubicBezTo>
                <a:cubicBezTo>
                  <a:pt x="1668" y="189"/>
                  <a:pt x="1668" y="190"/>
                  <a:pt x="1668" y="189"/>
                </a:cubicBezTo>
                <a:cubicBezTo>
                  <a:pt x="1668" y="188"/>
                  <a:pt x="1667" y="189"/>
                  <a:pt x="1668" y="188"/>
                </a:cubicBezTo>
                <a:cubicBezTo>
                  <a:pt x="1668" y="187"/>
                  <a:pt x="1668" y="187"/>
                  <a:pt x="1667" y="186"/>
                </a:cubicBezTo>
                <a:cubicBezTo>
                  <a:pt x="1667" y="186"/>
                  <a:pt x="1666" y="186"/>
                  <a:pt x="1666" y="186"/>
                </a:cubicBezTo>
                <a:cubicBezTo>
                  <a:pt x="1666" y="186"/>
                  <a:pt x="1665" y="186"/>
                  <a:pt x="1665" y="186"/>
                </a:cubicBezTo>
                <a:cubicBezTo>
                  <a:pt x="1665" y="185"/>
                  <a:pt x="1666" y="185"/>
                  <a:pt x="1666" y="185"/>
                </a:cubicBezTo>
                <a:cubicBezTo>
                  <a:pt x="1665" y="185"/>
                  <a:pt x="1666" y="184"/>
                  <a:pt x="1665" y="184"/>
                </a:cubicBezTo>
                <a:cubicBezTo>
                  <a:pt x="1665" y="184"/>
                  <a:pt x="1665" y="183"/>
                  <a:pt x="1665" y="182"/>
                </a:cubicBezTo>
                <a:cubicBezTo>
                  <a:pt x="1665" y="182"/>
                  <a:pt x="1664" y="182"/>
                  <a:pt x="1664" y="181"/>
                </a:cubicBezTo>
                <a:cubicBezTo>
                  <a:pt x="1664" y="181"/>
                  <a:pt x="1664" y="181"/>
                  <a:pt x="1664" y="180"/>
                </a:cubicBezTo>
                <a:cubicBezTo>
                  <a:pt x="1663" y="180"/>
                  <a:pt x="1663" y="180"/>
                  <a:pt x="1662" y="178"/>
                </a:cubicBezTo>
                <a:cubicBezTo>
                  <a:pt x="1662" y="178"/>
                  <a:pt x="1662" y="177"/>
                  <a:pt x="1661" y="177"/>
                </a:cubicBezTo>
                <a:cubicBezTo>
                  <a:pt x="1661" y="178"/>
                  <a:pt x="1661" y="178"/>
                  <a:pt x="1660" y="178"/>
                </a:cubicBezTo>
                <a:cubicBezTo>
                  <a:pt x="1659" y="179"/>
                  <a:pt x="1658" y="178"/>
                  <a:pt x="1659" y="177"/>
                </a:cubicBezTo>
                <a:cubicBezTo>
                  <a:pt x="1659" y="177"/>
                  <a:pt x="1659" y="177"/>
                  <a:pt x="1659" y="176"/>
                </a:cubicBezTo>
                <a:cubicBezTo>
                  <a:pt x="1659" y="176"/>
                  <a:pt x="1660" y="176"/>
                  <a:pt x="1660" y="176"/>
                </a:cubicBezTo>
                <a:cubicBezTo>
                  <a:pt x="1660" y="175"/>
                  <a:pt x="1660" y="175"/>
                  <a:pt x="1660" y="175"/>
                </a:cubicBezTo>
                <a:cubicBezTo>
                  <a:pt x="1660" y="175"/>
                  <a:pt x="1659" y="175"/>
                  <a:pt x="1659" y="175"/>
                </a:cubicBezTo>
                <a:cubicBezTo>
                  <a:pt x="1659" y="176"/>
                  <a:pt x="1659" y="176"/>
                  <a:pt x="1658" y="176"/>
                </a:cubicBezTo>
                <a:cubicBezTo>
                  <a:pt x="1657" y="176"/>
                  <a:pt x="1657" y="175"/>
                  <a:pt x="1656" y="175"/>
                </a:cubicBezTo>
                <a:cubicBezTo>
                  <a:pt x="1655" y="174"/>
                  <a:pt x="1655" y="175"/>
                  <a:pt x="1653" y="175"/>
                </a:cubicBezTo>
                <a:cubicBezTo>
                  <a:pt x="1652" y="175"/>
                  <a:pt x="1654" y="174"/>
                  <a:pt x="1654" y="173"/>
                </a:cubicBezTo>
                <a:cubicBezTo>
                  <a:pt x="1655" y="174"/>
                  <a:pt x="1657" y="174"/>
                  <a:pt x="1658" y="174"/>
                </a:cubicBezTo>
                <a:cubicBezTo>
                  <a:pt x="1658" y="173"/>
                  <a:pt x="1658" y="173"/>
                  <a:pt x="1659" y="173"/>
                </a:cubicBezTo>
                <a:cubicBezTo>
                  <a:pt x="1659" y="174"/>
                  <a:pt x="1661" y="173"/>
                  <a:pt x="1661" y="174"/>
                </a:cubicBezTo>
                <a:cubicBezTo>
                  <a:pt x="1661" y="174"/>
                  <a:pt x="1661" y="174"/>
                  <a:pt x="1661" y="174"/>
                </a:cubicBezTo>
                <a:cubicBezTo>
                  <a:pt x="1662" y="174"/>
                  <a:pt x="1661" y="174"/>
                  <a:pt x="1661" y="175"/>
                </a:cubicBezTo>
                <a:cubicBezTo>
                  <a:pt x="1663" y="175"/>
                  <a:pt x="1665" y="175"/>
                  <a:pt x="1666" y="175"/>
                </a:cubicBezTo>
                <a:cubicBezTo>
                  <a:pt x="1666" y="175"/>
                  <a:pt x="1667" y="175"/>
                  <a:pt x="1667" y="175"/>
                </a:cubicBezTo>
                <a:cubicBezTo>
                  <a:pt x="1668" y="175"/>
                  <a:pt x="1666" y="174"/>
                  <a:pt x="1668" y="174"/>
                </a:cubicBezTo>
                <a:cubicBezTo>
                  <a:pt x="1668" y="175"/>
                  <a:pt x="1669" y="175"/>
                  <a:pt x="1669" y="175"/>
                </a:cubicBezTo>
                <a:cubicBezTo>
                  <a:pt x="1669" y="174"/>
                  <a:pt x="1669" y="175"/>
                  <a:pt x="1670" y="175"/>
                </a:cubicBezTo>
                <a:cubicBezTo>
                  <a:pt x="1670" y="174"/>
                  <a:pt x="1670" y="174"/>
                  <a:pt x="1671" y="174"/>
                </a:cubicBezTo>
                <a:cubicBezTo>
                  <a:pt x="1671" y="174"/>
                  <a:pt x="1671" y="174"/>
                  <a:pt x="1671" y="173"/>
                </a:cubicBezTo>
                <a:cubicBezTo>
                  <a:pt x="1671" y="173"/>
                  <a:pt x="1671" y="174"/>
                  <a:pt x="1672" y="173"/>
                </a:cubicBezTo>
                <a:cubicBezTo>
                  <a:pt x="1672" y="173"/>
                  <a:pt x="1671" y="173"/>
                  <a:pt x="1672" y="173"/>
                </a:cubicBezTo>
                <a:cubicBezTo>
                  <a:pt x="1673" y="173"/>
                  <a:pt x="1673" y="171"/>
                  <a:pt x="1673" y="170"/>
                </a:cubicBezTo>
                <a:cubicBezTo>
                  <a:pt x="1674" y="169"/>
                  <a:pt x="1675" y="169"/>
                  <a:pt x="1674" y="168"/>
                </a:cubicBezTo>
                <a:cubicBezTo>
                  <a:pt x="1674" y="167"/>
                  <a:pt x="1673" y="168"/>
                  <a:pt x="1673" y="167"/>
                </a:cubicBezTo>
                <a:cubicBezTo>
                  <a:pt x="1672" y="167"/>
                  <a:pt x="1671" y="165"/>
                  <a:pt x="1673" y="165"/>
                </a:cubicBezTo>
                <a:cubicBezTo>
                  <a:pt x="1673" y="164"/>
                  <a:pt x="1673" y="164"/>
                  <a:pt x="1673" y="163"/>
                </a:cubicBezTo>
                <a:cubicBezTo>
                  <a:pt x="1673" y="162"/>
                  <a:pt x="1674" y="162"/>
                  <a:pt x="1674" y="162"/>
                </a:cubicBezTo>
                <a:cubicBezTo>
                  <a:pt x="1675" y="162"/>
                  <a:pt x="1675" y="162"/>
                  <a:pt x="1676" y="162"/>
                </a:cubicBezTo>
                <a:cubicBezTo>
                  <a:pt x="1676" y="162"/>
                  <a:pt x="1676" y="161"/>
                  <a:pt x="1676" y="161"/>
                </a:cubicBezTo>
                <a:cubicBezTo>
                  <a:pt x="1676" y="162"/>
                  <a:pt x="1675" y="163"/>
                  <a:pt x="1675" y="164"/>
                </a:cubicBezTo>
                <a:cubicBezTo>
                  <a:pt x="1676" y="164"/>
                  <a:pt x="1676" y="164"/>
                  <a:pt x="1676" y="164"/>
                </a:cubicBezTo>
                <a:cubicBezTo>
                  <a:pt x="1676" y="165"/>
                  <a:pt x="1676" y="166"/>
                  <a:pt x="1676" y="166"/>
                </a:cubicBezTo>
                <a:cubicBezTo>
                  <a:pt x="1675" y="167"/>
                  <a:pt x="1675" y="167"/>
                  <a:pt x="1675" y="167"/>
                </a:cubicBezTo>
                <a:cubicBezTo>
                  <a:pt x="1675" y="169"/>
                  <a:pt x="1676" y="168"/>
                  <a:pt x="1677" y="169"/>
                </a:cubicBezTo>
                <a:cubicBezTo>
                  <a:pt x="1678" y="169"/>
                  <a:pt x="1678" y="169"/>
                  <a:pt x="1678" y="170"/>
                </a:cubicBezTo>
                <a:cubicBezTo>
                  <a:pt x="1679" y="170"/>
                  <a:pt x="1680" y="170"/>
                  <a:pt x="1681" y="169"/>
                </a:cubicBezTo>
                <a:cubicBezTo>
                  <a:pt x="1681" y="169"/>
                  <a:pt x="1682" y="169"/>
                  <a:pt x="1682" y="169"/>
                </a:cubicBezTo>
                <a:cubicBezTo>
                  <a:pt x="1683" y="169"/>
                  <a:pt x="1683" y="168"/>
                  <a:pt x="1684" y="167"/>
                </a:cubicBezTo>
                <a:cubicBezTo>
                  <a:pt x="1685" y="167"/>
                  <a:pt x="1684" y="168"/>
                  <a:pt x="1685" y="168"/>
                </a:cubicBezTo>
                <a:cubicBezTo>
                  <a:pt x="1686" y="168"/>
                  <a:pt x="1687" y="168"/>
                  <a:pt x="1688" y="168"/>
                </a:cubicBezTo>
                <a:cubicBezTo>
                  <a:pt x="1688" y="168"/>
                  <a:pt x="1690" y="170"/>
                  <a:pt x="1690" y="171"/>
                </a:cubicBezTo>
                <a:cubicBezTo>
                  <a:pt x="1690" y="171"/>
                  <a:pt x="1691" y="171"/>
                  <a:pt x="1691" y="172"/>
                </a:cubicBezTo>
                <a:cubicBezTo>
                  <a:pt x="1691" y="172"/>
                  <a:pt x="1690" y="173"/>
                  <a:pt x="1690" y="173"/>
                </a:cubicBezTo>
                <a:cubicBezTo>
                  <a:pt x="1691" y="174"/>
                  <a:pt x="1693" y="176"/>
                  <a:pt x="1694" y="175"/>
                </a:cubicBezTo>
                <a:cubicBezTo>
                  <a:pt x="1696" y="174"/>
                  <a:pt x="1696" y="176"/>
                  <a:pt x="1697" y="176"/>
                </a:cubicBezTo>
                <a:cubicBezTo>
                  <a:pt x="1698" y="176"/>
                  <a:pt x="1699" y="177"/>
                  <a:pt x="1700" y="178"/>
                </a:cubicBezTo>
                <a:cubicBezTo>
                  <a:pt x="1700" y="179"/>
                  <a:pt x="1701" y="179"/>
                  <a:pt x="1702" y="178"/>
                </a:cubicBezTo>
                <a:cubicBezTo>
                  <a:pt x="1702" y="178"/>
                  <a:pt x="1703" y="177"/>
                  <a:pt x="1704" y="177"/>
                </a:cubicBezTo>
                <a:cubicBezTo>
                  <a:pt x="1704" y="178"/>
                  <a:pt x="1704" y="179"/>
                  <a:pt x="1706" y="179"/>
                </a:cubicBezTo>
                <a:cubicBezTo>
                  <a:pt x="1706" y="179"/>
                  <a:pt x="1706" y="179"/>
                  <a:pt x="1706" y="179"/>
                </a:cubicBezTo>
                <a:close/>
                <a:moveTo>
                  <a:pt x="933" y="65"/>
                </a:moveTo>
                <a:cubicBezTo>
                  <a:pt x="933" y="65"/>
                  <a:pt x="933" y="65"/>
                  <a:pt x="933" y="65"/>
                </a:cubicBezTo>
                <a:cubicBezTo>
                  <a:pt x="933" y="64"/>
                  <a:pt x="933" y="65"/>
                  <a:pt x="933" y="64"/>
                </a:cubicBezTo>
                <a:cubicBezTo>
                  <a:pt x="932" y="64"/>
                  <a:pt x="931" y="65"/>
                  <a:pt x="930" y="65"/>
                </a:cubicBezTo>
                <a:cubicBezTo>
                  <a:pt x="930" y="65"/>
                  <a:pt x="930" y="64"/>
                  <a:pt x="929" y="64"/>
                </a:cubicBezTo>
                <a:cubicBezTo>
                  <a:pt x="929" y="64"/>
                  <a:pt x="929" y="64"/>
                  <a:pt x="929" y="64"/>
                </a:cubicBezTo>
                <a:cubicBezTo>
                  <a:pt x="928" y="64"/>
                  <a:pt x="928" y="63"/>
                  <a:pt x="928" y="63"/>
                </a:cubicBezTo>
                <a:cubicBezTo>
                  <a:pt x="927" y="63"/>
                  <a:pt x="927" y="63"/>
                  <a:pt x="926" y="63"/>
                </a:cubicBezTo>
                <a:cubicBezTo>
                  <a:pt x="925" y="63"/>
                  <a:pt x="926" y="61"/>
                  <a:pt x="925" y="61"/>
                </a:cubicBezTo>
                <a:cubicBezTo>
                  <a:pt x="924" y="61"/>
                  <a:pt x="923" y="61"/>
                  <a:pt x="923" y="62"/>
                </a:cubicBezTo>
                <a:cubicBezTo>
                  <a:pt x="921" y="62"/>
                  <a:pt x="919" y="61"/>
                  <a:pt x="918" y="61"/>
                </a:cubicBezTo>
                <a:cubicBezTo>
                  <a:pt x="917" y="62"/>
                  <a:pt x="916" y="62"/>
                  <a:pt x="916" y="63"/>
                </a:cubicBezTo>
                <a:cubicBezTo>
                  <a:pt x="916" y="64"/>
                  <a:pt x="916" y="64"/>
                  <a:pt x="917" y="65"/>
                </a:cubicBezTo>
                <a:cubicBezTo>
                  <a:pt x="917" y="66"/>
                  <a:pt x="916" y="67"/>
                  <a:pt x="916" y="68"/>
                </a:cubicBezTo>
                <a:cubicBezTo>
                  <a:pt x="918" y="68"/>
                  <a:pt x="920" y="67"/>
                  <a:pt x="922" y="67"/>
                </a:cubicBezTo>
                <a:cubicBezTo>
                  <a:pt x="922" y="67"/>
                  <a:pt x="922" y="68"/>
                  <a:pt x="922" y="69"/>
                </a:cubicBezTo>
                <a:cubicBezTo>
                  <a:pt x="922" y="68"/>
                  <a:pt x="922" y="68"/>
                  <a:pt x="923" y="68"/>
                </a:cubicBezTo>
                <a:cubicBezTo>
                  <a:pt x="924" y="68"/>
                  <a:pt x="923" y="69"/>
                  <a:pt x="923" y="69"/>
                </a:cubicBezTo>
                <a:cubicBezTo>
                  <a:pt x="924" y="69"/>
                  <a:pt x="924" y="68"/>
                  <a:pt x="924" y="68"/>
                </a:cubicBezTo>
                <a:cubicBezTo>
                  <a:pt x="925" y="68"/>
                  <a:pt x="925" y="68"/>
                  <a:pt x="925" y="68"/>
                </a:cubicBezTo>
                <a:cubicBezTo>
                  <a:pt x="925" y="68"/>
                  <a:pt x="927" y="68"/>
                  <a:pt x="927" y="68"/>
                </a:cubicBezTo>
                <a:cubicBezTo>
                  <a:pt x="927" y="68"/>
                  <a:pt x="929" y="67"/>
                  <a:pt x="928" y="67"/>
                </a:cubicBezTo>
                <a:cubicBezTo>
                  <a:pt x="929" y="67"/>
                  <a:pt x="930" y="67"/>
                  <a:pt x="931" y="67"/>
                </a:cubicBezTo>
                <a:cubicBezTo>
                  <a:pt x="932" y="67"/>
                  <a:pt x="933" y="67"/>
                  <a:pt x="933" y="65"/>
                </a:cubicBezTo>
                <a:close/>
                <a:moveTo>
                  <a:pt x="473" y="61"/>
                </a:moveTo>
                <a:cubicBezTo>
                  <a:pt x="473" y="62"/>
                  <a:pt x="473" y="62"/>
                  <a:pt x="474" y="62"/>
                </a:cubicBezTo>
                <a:cubicBezTo>
                  <a:pt x="475" y="62"/>
                  <a:pt x="476" y="62"/>
                  <a:pt x="476" y="61"/>
                </a:cubicBezTo>
                <a:cubicBezTo>
                  <a:pt x="476" y="61"/>
                  <a:pt x="473" y="61"/>
                  <a:pt x="473" y="61"/>
                </a:cubicBezTo>
                <a:cubicBezTo>
                  <a:pt x="473" y="62"/>
                  <a:pt x="473" y="61"/>
                  <a:pt x="473" y="61"/>
                </a:cubicBezTo>
                <a:close/>
                <a:moveTo>
                  <a:pt x="370" y="58"/>
                </a:moveTo>
                <a:cubicBezTo>
                  <a:pt x="370" y="59"/>
                  <a:pt x="369" y="59"/>
                  <a:pt x="368" y="59"/>
                </a:cubicBezTo>
                <a:cubicBezTo>
                  <a:pt x="368" y="59"/>
                  <a:pt x="368" y="59"/>
                  <a:pt x="368" y="59"/>
                </a:cubicBezTo>
                <a:cubicBezTo>
                  <a:pt x="368" y="59"/>
                  <a:pt x="367" y="60"/>
                  <a:pt x="366" y="60"/>
                </a:cubicBezTo>
                <a:cubicBezTo>
                  <a:pt x="366" y="60"/>
                  <a:pt x="367" y="60"/>
                  <a:pt x="366" y="60"/>
                </a:cubicBezTo>
                <a:cubicBezTo>
                  <a:pt x="366" y="60"/>
                  <a:pt x="365" y="60"/>
                  <a:pt x="364" y="60"/>
                </a:cubicBezTo>
                <a:cubicBezTo>
                  <a:pt x="364" y="60"/>
                  <a:pt x="363" y="60"/>
                  <a:pt x="362" y="60"/>
                </a:cubicBezTo>
                <a:cubicBezTo>
                  <a:pt x="362" y="60"/>
                  <a:pt x="361" y="61"/>
                  <a:pt x="360" y="61"/>
                </a:cubicBezTo>
                <a:cubicBezTo>
                  <a:pt x="361" y="62"/>
                  <a:pt x="362" y="61"/>
                  <a:pt x="364" y="61"/>
                </a:cubicBezTo>
                <a:cubicBezTo>
                  <a:pt x="364" y="62"/>
                  <a:pt x="366" y="62"/>
                  <a:pt x="366" y="62"/>
                </a:cubicBezTo>
                <a:cubicBezTo>
                  <a:pt x="367" y="62"/>
                  <a:pt x="366" y="62"/>
                  <a:pt x="367" y="62"/>
                </a:cubicBezTo>
                <a:cubicBezTo>
                  <a:pt x="367" y="62"/>
                  <a:pt x="368" y="62"/>
                  <a:pt x="368" y="62"/>
                </a:cubicBezTo>
                <a:cubicBezTo>
                  <a:pt x="369" y="62"/>
                  <a:pt x="369" y="63"/>
                  <a:pt x="370" y="63"/>
                </a:cubicBezTo>
                <a:cubicBezTo>
                  <a:pt x="370" y="62"/>
                  <a:pt x="371" y="63"/>
                  <a:pt x="371" y="62"/>
                </a:cubicBezTo>
                <a:cubicBezTo>
                  <a:pt x="372" y="62"/>
                  <a:pt x="372" y="63"/>
                  <a:pt x="373" y="63"/>
                </a:cubicBezTo>
                <a:cubicBezTo>
                  <a:pt x="373" y="63"/>
                  <a:pt x="374" y="63"/>
                  <a:pt x="374" y="63"/>
                </a:cubicBezTo>
                <a:cubicBezTo>
                  <a:pt x="374" y="62"/>
                  <a:pt x="375" y="62"/>
                  <a:pt x="375" y="62"/>
                </a:cubicBezTo>
                <a:cubicBezTo>
                  <a:pt x="375" y="61"/>
                  <a:pt x="376" y="61"/>
                  <a:pt x="377" y="61"/>
                </a:cubicBezTo>
                <a:cubicBezTo>
                  <a:pt x="377" y="61"/>
                  <a:pt x="377" y="60"/>
                  <a:pt x="377" y="59"/>
                </a:cubicBezTo>
                <a:cubicBezTo>
                  <a:pt x="377" y="59"/>
                  <a:pt x="375" y="59"/>
                  <a:pt x="375" y="58"/>
                </a:cubicBezTo>
                <a:cubicBezTo>
                  <a:pt x="374" y="58"/>
                  <a:pt x="374" y="59"/>
                  <a:pt x="373" y="59"/>
                </a:cubicBezTo>
                <a:cubicBezTo>
                  <a:pt x="372" y="59"/>
                  <a:pt x="371" y="58"/>
                  <a:pt x="370" y="58"/>
                </a:cubicBezTo>
                <a:cubicBezTo>
                  <a:pt x="370" y="58"/>
                  <a:pt x="370" y="58"/>
                  <a:pt x="370" y="58"/>
                </a:cubicBezTo>
                <a:close/>
                <a:moveTo>
                  <a:pt x="333" y="58"/>
                </a:moveTo>
                <a:cubicBezTo>
                  <a:pt x="333" y="58"/>
                  <a:pt x="333" y="58"/>
                  <a:pt x="333" y="59"/>
                </a:cubicBezTo>
                <a:cubicBezTo>
                  <a:pt x="334" y="58"/>
                  <a:pt x="334" y="60"/>
                  <a:pt x="334" y="60"/>
                </a:cubicBezTo>
                <a:cubicBezTo>
                  <a:pt x="335" y="60"/>
                  <a:pt x="336" y="60"/>
                  <a:pt x="337" y="60"/>
                </a:cubicBezTo>
                <a:cubicBezTo>
                  <a:pt x="337" y="59"/>
                  <a:pt x="337" y="58"/>
                  <a:pt x="336" y="58"/>
                </a:cubicBezTo>
                <a:cubicBezTo>
                  <a:pt x="335" y="58"/>
                  <a:pt x="336" y="58"/>
                  <a:pt x="335" y="58"/>
                </a:cubicBezTo>
                <a:cubicBezTo>
                  <a:pt x="335" y="57"/>
                  <a:pt x="334" y="57"/>
                  <a:pt x="333" y="58"/>
                </a:cubicBezTo>
                <a:cubicBezTo>
                  <a:pt x="333" y="58"/>
                  <a:pt x="333" y="58"/>
                  <a:pt x="333" y="58"/>
                </a:cubicBezTo>
                <a:close/>
                <a:moveTo>
                  <a:pt x="317" y="58"/>
                </a:moveTo>
                <a:cubicBezTo>
                  <a:pt x="317" y="58"/>
                  <a:pt x="317" y="60"/>
                  <a:pt x="318" y="60"/>
                </a:cubicBezTo>
                <a:cubicBezTo>
                  <a:pt x="319" y="61"/>
                  <a:pt x="318" y="61"/>
                  <a:pt x="319" y="62"/>
                </a:cubicBezTo>
                <a:cubicBezTo>
                  <a:pt x="319" y="62"/>
                  <a:pt x="319" y="62"/>
                  <a:pt x="319" y="63"/>
                </a:cubicBezTo>
                <a:cubicBezTo>
                  <a:pt x="319" y="63"/>
                  <a:pt x="320" y="62"/>
                  <a:pt x="320" y="62"/>
                </a:cubicBezTo>
                <a:cubicBezTo>
                  <a:pt x="320" y="62"/>
                  <a:pt x="320" y="61"/>
                  <a:pt x="320" y="60"/>
                </a:cubicBezTo>
                <a:cubicBezTo>
                  <a:pt x="320" y="59"/>
                  <a:pt x="319" y="58"/>
                  <a:pt x="319" y="57"/>
                </a:cubicBezTo>
                <a:cubicBezTo>
                  <a:pt x="318" y="57"/>
                  <a:pt x="318" y="57"/>
                  <a:pt x="317" y="58"/>
                </a:cubicBezTo>
                <a:cubicBezTo>
                  <a:pt x="317" y="59"/>
                  <a:pt x="317" y="58"/>
                  <a:pt x="317" y="58"/>
                </a:cubicBezTo>
                <a:close/>
                <a:moveTo>
                  <a:pt x="387" y="57"/>
                </a:moveTo>
                <a:cubicBezTo>
                  <a:pt x="387" y="58"/>
                  <a:pt x="386" y="59"/>
                  <a:pt x="385" y="60"/>
                </a:cubicBezTo>
                <a:cubicBezTo>
                  <a:pt x="386" y="60"/>
                  <a:pt x="386" y="62"/>
                  <a:pt x="386" y="63"/>
                </a:cubicBezTo>
                <a:cubicBezTo>
                  <a:pt x="386" y="63"/>
                  <a:pt x="387" y="63"/>
                  <a:pt x="387" y="63"/>
                </a:cubicBezTo>
                <a:cubicBezTo>
                  <a:pt x="387" y="62"/>
                  <a:pt x="387" y="62"/>
                  <a:pt x="388" y="62"/>
                </a:cubicBezTo>
                <a:cubicBezTo>
                  <a:pt x="389" y="62"/>
                  <a:pt x="389" y="62"/>
                  <a:pt x="389" y="61"/>
                </a:cubicBezTo>
                <a:cubicBezTo>
                  <a:pt x="389" y="61"/>
                  <a:pt x="389" y="59"/>
                  <a:pt x="390" y="60"/>
                </a:cubicBezTo>
                <a:cubicBezTo>
                  <a:pt x="390" y="59"/>
                  <a:pt x="390" y="59"/>
                  <a:pt x="390" y="58"/>
                </a:cubicBezTo>
                <a:cubicBezTo>
                  <a:pt x="390" y="58"/>
                  <a:pt x="389" y="57"/>
                  <a:pt x="389" y="58"/>
                </a:cubicBezTo>
                <a:cubicBezTo>
                  <a:pt x="389" y="57"/>
                  <a:pt x="388" y="58"/>
                  <a:pt x="388" y="58"/>
                </a:cubicBezTo>
                <a:cubicBezTo>
                  <a:pt x="388" y="57"/>
                  <a:pt x="388" y="57"/>
                  <a:pt x="388" y="57"/>
                </a:cubicBezTo>
                <a:cubicBezTo>
                  <a:pt x="388" y="57"/>
                  <a:pt x="387" y="57"/>
                  <a:pt x="387" y="57"/>
                </a:cubicBezTo>
                <a:cubicBezTo>
                  <a:pt x="387" y="58"/>
                  <a:pt x="387" y="57"/>
                  <a:pt x="387" y="57"/>
                </a:cubicBezTo>
                <a:close/>
                <a:moveTo>
                  <a:pt x="918" y="61"/>
                </a:moveTo>
                <a:cubicBezTo>
                  <a:pt x="920" y="61"/>
                  <a:pt x="920" y="61"/>
                  <a:pt x="920" y="60"/>
                </a:cubicBezTo>
                <a:cubicBezTo>
                  <a:pt x="920" y="58"/>
                  <a:pt x="922" y="59"/>
                  <a:pt x="921" y="58"/>
                </a:cubicBezTo>
                <a:cubicBezTo>
                  <a:pt x="920" y="57"/>
                  <a:pt x="920" y="56"/>
                  <a:pt x="919" y="56"/>
                </a:cubicBezTo>
                <a:cubicBezTo>
                  <a:pt x="918" y="56"/>
                  <a:pt x="917" y="56"/>
                  <a:pt x="916" y="56"/>
                </a:cubicBezTo>
                <a:cubicBezTo>
                  <a:pt x="915" y="56"/>
                  <a:pt x="915" y="56"/>
                  <a:pt x="914" y="56"/>
                </a:cubicBezTo>
                <a:cubicBezTo>
                  <a:pt x="914" y="56"/>
                  <a:pt x="914" y="57"/>
                  <a:pt x="913" y="57"/>
                </a:cubicBezTo>
                <a:cubicBezTo>
                  <a:pt x="913" y="57"/>
                  <a:pt x="913" y="57"/>
                  <a:pt x="912" y="57"/>
                </a:cubicBezTo>
                <a:cubicBezTo>
                  <a:pt x="911" y="57"/>
                  <a:pt x="911" y="57"/>
                  <a:pt x="911" y="58"/>
                </a:cubicBezTo>
                <a:cubicBezTo>
                  <a:pt x="912" y="58"/>
                  <a:pt x="913" y="59"/>
                  <a:pt x="914" y="59"/>
                </a:cubicBezTo>
                <a:cubicBezTo>
                  <a:pt x="914" y="59"/>
                  <a:pt x="914" y="60"/>
                  <a:pt x="914" y="60"/>
                </a:cubicBezTo>
                <a:cubicBezTo>
                  <a:pt x="914" y="61"/>
                  <a:pt x="914" y="60"/>
                  <a:pt x="915" y="61"/>
                </a:cubicBezTo>
                <a:cubicBezTo>
                  <a:pt x="915" y="61"/>
                  <a:pt x="915" y="61"/>
                  <a:pt x="915" y="61"/>
                </a:cubicBezTo>
                <a:cubicBezTo>
                  <a:pt x="915" y="61"/>
                  <a:pt x="915" y="61"/>
                  <a:pt x="916" y="61"/>
                </a:cubicBezTo>
                <a:cubicBezTo>
                  <a:pt x="916" y="61"/>
                  <a:pt x="918" y="60"/>
                  <a:pt x="918" y="61"/>
                </a:cubicBezTo>
                <a:close/>
                <a:moveTo>
                  <a:pt x="247" y="69"/>
                </a:moveTo>
                <a:cubicBezTo>
                  <a:pt x="248" y="69"/>
                  <a:pt x="246" y="71"/>
                  <a:pt x="247" y="69"/>
                </a:cubicBezTo>
                <a:close/>
                <a:moveTo>
                  <a:pt x="228" y="72"/>
                </a:moveTo>
                <a:cubicBezTo>
                  <a:pt x="228" y="72"/>
                  <a:pt x="229" y="72"/>
                  <a:pt x="230" y="72"/>
                </a:cubicBezTo>
                <a:cubicBezTo>
                  <a:pt x="230" y="72"/>
                  <a:pt x="231" y="74"/>
                  <a:pt x="231" y="74"/>
                </a:cubicBezTo>
                <a:cubicBezTo>
                  <a:pt x="231" y="75"/>
                  <a:pt x="231" y="74"/>
                  <a:pt x="231" y="74"/>
                </a:cubicBezTo>
                <a:cubicBezTo>
                  <a:pt x="232" y="75"/>
                  <a:pt x="232" y="75"/>
                  <a:pt x="232" y="76"/>
                </a:cubicBezTo>
                <a:cubicBezTo>
                  <a:pt x="233" y="77"/>
                  <a:pt x="234" y="76"/>
                  <a:pt x="235" y="75"/>
                </a:cubicBezTo>
                <a:cubicBezTo>
                  <a:pt x="235" y="75"/>
                  <a:pt x="234" y="75"/>
                  <a:pt x="235" y="75"/>
                </a:cubicBezTo>
                <a:cubicBezTo>
                  <a:pt x="236" y="75"/>
                  <a:pt x="236" y="75"/>
                  <a:pt x="237" y="75"/>
                </a:cubicBezTo>
                <a:cubicBezTo>
                  <a:pt x="237" y="75"/>
                  <a:pt x="237" y="75"/>
                  <a:pt x="237" y="76"/>
                </a:cubicBezTo>
                <a:cubicBezTo>
                  <a:pt x="238" y="76"/>
                  <a:pt x="240" y="76"/>
                  <a:pt x="240" y="75"/>
                </a:cubicBezTo>
                <a:cubicBezTo>
                  <a:pt x="240" y="75"/>
                  <a:pt x="240" y="74"/>
                  <a:pt x="240" y="74"/>
                </a:cubicBezTo>
                <a:cubicBezTo>
                  <a:pt x="241" y="74"/>
                  <a:pt x="241" y="75"/>
                  <a:pt x="241" y="75"/>
                </a:cubicBezTo>
                <a:cubicBezTo>
                  <a:pt x="242" y="74"/>
                  <a:pt x="241" y="73"/>
                  <a:pt x="241" y="72"/>
                </a:cubicBezTo>
                <a:cubicBezTo>
                  <a:pt x="242" y="72"/>
                  <a:pt x="242" y="74"/>
                  <a:pt x="243" y="75"/>
                </a:cubicBezTo>
                <a:cubicBezTo>
                  <a:pt x="243" y="75"/>
                  <a:pt x="243" y="76"/>
                  <a:pt x="244" y="76"/>
                </a:cubicBezTo>
                <a:cubicBezTo>
                  <a:pt x="244" y="76"/>
                  <a:pt x="245" y="76"/>
                  <a:pt x="246" y="75"/>
                </a:cubicBezTo>
                <a:cubicBezTo>
                  <a:pt x="247" y="75"/>
                  <a:pt x="247" y="74"/>
                  <a:pt x="247" y="73"/>
                </a:cubicBezTo>
                <a:cubicBezTo>
                  <a:pt x="247" y="73"/>
                  <a:pt x="247" y="75"/>
                  <a:pt x="247" y="73"/>
                </a:cubicBezTo>
                <a:cubicBezTo>
                  <a:pt x="247" y="72"/>
                  <a:pt x="247" y="72"/>
                  <a:pt x="247" y="71"/>
                </a:cubicBezTo>
                <a:cubicBezTo>
                  <a:pt x="247" y="71"/>
                  <a:pt x="247" y="71"/>
                  <a:pt x="248" y="70"/>
                </a:cubicBezTo>
                <a:cubicBezTo>
                  <a:pt x="248" y="71"/>
                  <a:pt x="248" y="72"/>
                  <a:pt x="249" y="72"/>
                </a:cubicBezTo>
                <a:cubicBezTo>
                  <a:pt x="249" y="72"/>
                  <a:pt x="249" y="72"/>
                  <a:pt x="249" y="72"/>
                </a:cubicBezTo>
                <a:cubicBezTo>
                  <a:pt x="249" y="71"/>
                  <a:pt x="250" y="71"/>
                  <a:pt x="250" y="71"/>
                </a:cubicBezTo>
                <a:cubicBezTo>
                  <a:pt x="251" y="70"/>
                  <a:pt x="251" y="71"/>
                  <a:pt x="251" y="70"/>
                </a:cubicBezTo>
                <a:cubicBezTo>
                  <a:pt x="251" y="69"/>
                  <a:pt x="251" y="69"/>
                  <a:pt x="251" y="68"/>
                </a:cubicBezTo>
                <a:cubicBezTo>
                  <a:pt x="250" y="68"/>
                  <a:pt x="251" y="67"/>
                  <a:pt x="252" y="67"/>
                </a:cubicBezTo>
                <a:cubicBezTo>
                  <a:pt x="252" y="67"/>
                  <a:pt x="252" y="67"/>
                  <a:pt x="252" y="68"/>
                </a:cubicBezTo>
                <a:cubicBezTo>
                  <a:pt x="253" y="67"/>
                  <a:pt x="253" y="67"/>
                  <a:pt x="253" y="66"/>
                </a:cubicBezTo>
                <a:cubicBezTo>
                  <a:pt x="254" y="65"/>
                  <a:pt x="254" y="65"/>
                  <a:pt x="256" y="65"/>
                </a:cubicBezTo>
                <a:cubicBezTo>
                  <a:pt x="256" y="66"/>
                  <a:pt x="255" y="67"/>
                  <a:pt x="255" y="68"/>
                </a:cubicBezTo>
                <a:cubicBezTo>
                  <a:pt x="254" y="68"/>
                  <a:pt x="253" y="69"/>
                  <a:pt x="254" y="70"/>
                </a:cubicBezTo>
                <a:cubicBezTo>
                  <a:pt x="254" y="70"/>
                  <a:pt x="255" y="70"/>
                  <a:pt x="255" y="70"/>
                </a:cubicBezTo>
                <a:cubicBezTo>
                  <a:pt x="255" y="70"/>
                  <a:pt x="255" y="70"/>
                  <a:pt x="256" y="71"/>
                </a:cubicBezTo>
                <a:cubicBezTo>
                  <a:pt x="256" y="71"/>
                  <a:pt x="257" y="70"/>
                  <a:pt x="257" y="70"/>
                </a:cubicBezTo>
                <a:cubicBezTo>
                  <a:pt x="258" y="69"/>
                  <a:pt x="257" y="69"/>
                  <a:pt x="259" y="69"/>
                </a:cubicBezTo>
                <a:cubicBezTo>
                  <a:pt x="259" y="68"/>
                  <a:pt x="260" y="68"/>
                  <a:pt x="261" y="68"/>
                </a:cubicBezTo>
                <a:cubicBezTo>
                  <a:pt x="261" y="68"/>
                  <a:pt x="261" y="67"/>
                  <a:pt x="261" y="67"/>
                </a:cubicBezTo>
                <a:cubicBezTo>
                  <a:pt x="262" y="67"/>
                  <a:pt x="261" y="67"/>
                  <a:pt x="261" y="67"/>
                </a:cubicBezTo>
                <a:cubicBezTo>
                  <a:pt x="261" y="66"/>
                  <a:pt x="261" y="66"/>
                  <a:pt x="261" y="66"/>
                </a:cubicBezTo>
                <a:cubicBezTo>
                  <a:pt x="262" y="65"/>
                  <a:pt x="261" y="64"/>
                  <a:pt x="261" y="63"/>
                </a:cubicBezTo>
                <a:cubicBezTo>
                  <a:pt x="263" y="64"/>
                  <a:pt x="264" y="64"/>
                  <a:pt x="266" y="65"/>
                </a:cubicBezTo>
                <a:cubicBezTo>
                  <a:pt x="265" y="64"/>
                  <a:pt x="265" y="64"/>
                  <a:pt x="265" y="63"/>
                </a:cubicBezTo>
                <a:cubicBezTo>
                  <a:pt x="265" y="63"/>
                  <a:pt x="265" y="63"/>
                  <a:pt x="265" y="62"/>
                </a:cubicBezTo>
                <a:cubicBezTo>
                  <a:pt x="266" y="62"/>
                  <a:pt x="266" y="61"/>
                  <a:pt x="267" y="60"/>
                </a:cubicBezTo>
                <a:cubicBezTo>
                  <a:pt x="267" y="59"/>
                  <a:pt x="265" y="58"/>
                  <a:pt x="264" y="57"/>
                </a:cubicBezTo>
                <a:cubicBezTo>
                  <a:pt x="263" y="56"/>
                  <a:pt x="263" y="56"/>
                  <a:pt x="261" y="56"/>
                </a:cubicBezTo>
                <a:cubicBezTo>
                  <a:pt x="261" y="56"/>
                  <a:pt x="260" y="57"/>
                  <a:pt x="259" y="57"/>
                </a:cubicBezTo>
                <a:cubicBezTo>
                  <a:pt x="258" y="57"/>
                  <a:pt x="258" y="58"/>
                  <a:pt x="259" y="58"/>
                </a:cubicBezTo>
                <a:cubicBezTo>
                  <a:pt x="260" y="58"/>
                  <a:pt x="259" y="59"/>
                  <a:pt x="259" y="59"/>
                </a:cubicBezTo>
                <a:cubicBezTo>
                  <a:pt x="258" y="59"/>
                  <a:pt x="258" y="60"/>
                  <a:pt x="258" y="60"/>
                </a:cubicBezTo>
                <a:cubicBezTo>
                  <a:pt x="257" y="60"/>
                  <a:pt x="256" y="60"/>
                  <a:pt x="256" y="59"/>
                </a:cubicBezTo>
                <a:cubicBezTo>
                  <a:pt x="255" y="58"/>
                  <a:pt x="252" y="59"/>
                  <a:pt x="251" y="59"/>
                </a:cubicBezTo>
                <a:cubicBezTo>
                  <a:pt x="250" y="59"/>
                  <a:pt x="250" y="59"/>
                  <a:pt x="249" y="59"/>
                </a:cubicBezTo>
                <a:cubicBezTo>
                  <a:pt x="248" y="59"/>
                  <a:pt x="248" y="60"/>
                  <a:pt x="247" y="60"/>
                </a:cubicBezTo>
                <a:cubicBezTo>
                  <a:pt x="246" y="60"/>
                  <a:pt x="245" y="62"/>
                  <a:pt x="244" y="62"/>
                </a:cubicBezTo>
                <a:cubicBezTo>
                  <a:pt x="244" y="62"/>
                  <a:pt x="244" y="62"/>
                  <a:pt x="244" y="62"/>
                </a:cubicBezTo>
                <a:cubicBezTo>
                  <a:pt x="244" y="63"/>
                  <a:pt x="243" y="62"/>
                  <a:pt x="243" y="62"/>
                </a:cubicBezTo>
                <a:cubicBezTo>
                  <a:pt x="242" y="63"/>
                  <a:pt x="242" y="63"/>
                  <a:pt x="241" y="64"/>
                </a:cubicBezTo>
                <a:cubicBezTo>
                  <a:pt x="241" y="64"/>
                  <a:pt x="240" y="64"/>
                  <a:pt x="240" y="64"/>
                </a:cubicBezTo>
                <a:cubicBezTo>
                  <a:pt x="240" y="64"/>
                  <a:pt x="239" y="64"/>
                  <a:pt x="240" y="65"/>
                </a:cubicBezTo>
                <a:cubicBezTo>
                  <a:pt x="239" y="65"/>
                  <a:pt x="238" y="65"/>
                  <a:pt x="238" y="64"/>
                </a:cubicBezTo>
                <a:cubicBezTo>
                  <a:pt x="238" y="66"/>
                  <a:pt x="238" y="65"/>
                  <a:pt x="237" y="66"/>
                </a:cubicBezTo>
                <a:cubicBezTo>
                  <a:pt x="236" y="67"/>
                  <a:pt x="236" y="66"/>
                  <a:pt x="235" y="67"/>
                </a:cubicBezTo>
                <a:cubicBezTo>
                  <a:pt x="235" y="67"/>
                  <a:pt x="235" y="66"/>
                  <a:pt x="234" y="67"/>
                </a:cubicBezTo>
                <a:cubicBezTo>
                  <a:pt x="234" y="68"/>
                  <a:pt x="235" y="68"/>
                  <a:pt x="235" y="69"/>
                </a:cubicBezTo>
                <a:cubicBezTo>
                  <a:pt x="234" y="69"/>
                  <a:pt x="233" y="69"/>
                  <a:pt x="233" y="69"/>
                </a:cubicBezTo>
                <a:cubicBezTo>
                  <a:pt x="232" y="69"/>
                  <a:pt x="232" y="69"/>
                  <a:pt x="231" y="69"/>
                </a:cubicBezTo>
                <a:cubicBezTo>
                  <a:pt x="231" y="69"/>
                  <a:pt x="231" y="70"/>
                  <a:pt x="231" y="70"/>
                </a:cubicBezTo>
                <a:cubicBezTo>
                  <a:pt x="230" y="70"/>
                  <a:pt x="230" y="70"/>
                  <a:pt x="230" y="70"/>
                </a:cubicBezTo>
                <a:cubicBezTo>
                  <a:pt x="229" y="70"/>
                  <a:pt x="227" y="71"/>
                  <a:pt x="228" y="72"/>
                </a:cubicBezTo>
                <a:close/>
                <a:moveTo>
                  <a:pt x="287" y="56"/>
                </a:moveTo>
                <a:cubicBezTo>
                  <a:pt x="287" y="56"/>
                  <a:pt x="286" y="56"/>
                  <a:pt x="286" y="56"/>
                </a:cubicBezTo>
                <a:cubicBezTo>
                  <a:pt x="285" y="56"/>
                  <a:pt x="285" y="57"/>
                  <a:pt x="284" y="57"/>
                </a:cubicBezTo>
                <a:cubicBezTo>
                  <a:pt x="284" y="57"/>
                  <a:pt x="284" y="58"/>
                  <a:pt x="283" y="58"/>
                </a:cubicBezTo>
                <a:cubicBezTo>
                  <a:pt x="282" y="58"/>
                  <a:pt x="281" y="58"/>
                  <a:pt x="281" y="58"/>
                </a:cubicBezTo>
                <a:cubicBezTo>
                  <a:pt x="280" y="59"/>
                  <a:pt x="279" y="59"/>
                  <a:pt x="279" y="59"/>
                </a:cubicBezTo>
                <a:cubicBezTo>
                  <a:pt x="279" y="59"/>
                  <a:pt x="278" y="60"/>
                  <a:pt x="278" y="61"/>
                </a:cubicBezTo>
                <a:cubicBezTo>
                  <a:pt x="279" y="62"/>
                  <a:pt x="279" y="63"/>
                  <a:pt x="279" y="64"/>
                </a:cubicBezTo>
                <a:cubicBezTo>
                  <a:pt x="280" y="64"/>
                  <a:pt x="280" y="64"/>
                  <a:pt x="281" y="65"/>
                </a:cubicBezTo>
                <a:cubicBezTo>
                  <a:pt x="282" y="65"/>
                  <a:pt x="279" y="65"/>
                  <a:pt x="282" y="65"/>
                </a:cubicBezTo>
                <a:cubicBezTo>
                  <a:pt x="282" y="65"/>
                  <a:pt x="283" y="65"/>
                  <a:pt x="283" y="66"/>
                </a:cubicBezTo>
                <a:cubicBezTo>
                  <a:pt x="283" y="66"/>
                  <a:pt x="284" y="65"/>
                  <a:pt x="284" y="66"/>
                </a:cubicBezTo>
                <a:cubicBezTo>
                  <a:pt x="285" y="66"/>
                  <a:pt x="285" y="66"/>
                  <a:pt x="286" y="66"/>
                </a:cubicBezTo>
                <a:cubicBezTo>
                  <a:pt x="286" y="65"/>
                  <a:pt x="287" y="65"/>
                  <a:pt x="287" y="65"/>
                </a:cubicBezTo>
                <a:cubicBezTo>
                  <a:pt x="288" y="65"/>
                  <a:pt x="288" y="64"/>
                  <a:pt x="288" y="64"/>
                </a:cubicBezTo>
                <a:cubicBezTo>
                  <a:pt x="289" y="64"/>
                  <a:pt x="290" y="64"/>
                  <a:pt x="291" y="64"/>
                </a:cubicBezTo>
                <a:cubicBezTo>
                  <a:pt x="291" y="64"/>
                  <a:pt x="291" y="64"/>
                  <a:pt x="292" y="63"/>
                </a:cubicBezTo>
                <a:cubicBezTo>
                  <a:pt x="294" y="61"/>
                  <a:pt x="292" y="61"/>
                  <a:pt x="291" y="59"/>
                </a:cubicBezTo>
                <a:cubicBezTo>
                  <a:pt x="292" y="59"/>
                  <a:pt x="294" y="59"/>
                  <a:pt x="295" y="58"/>
                </a:cubicBezTo>
                <a:cubicBezTo>
                  <a:pt x="295" y="57"/>
                  <a:pt x="296" y="57"/>
                  <a:pt x="296" y="55"/>
                </a:cubicBezTo>
                <a:cubicBezTo>
                  <a:pt x="295" y="55"/>
                  <a:pt x="295" y="55"/>
                  <a:pt x="294" y="55"/>
                </a:cubicBezTo>
                <a:cubicBezTo>
                  <a:pt x="293" y="55"/>
                  <a:pt x="293" y="55"/>
                  <a:pt x="293" y="55"/>
                </a:cubicBezTo>
                <a:cubicBezTo>
                  <a:pt x="292" y="54"/>
                  <a:pt x="292" y="55"/>
                  <a:pt x="291" y="55"/>
                </a:cubicBezTo>
                <a:cubicBezTo>
                  <a:pt x="291" y="55"/>
                  <a:pt x="291" y="55"/>
                  <a:pt x="290" y="56"/>
                </a:cubicBezTo>
                <a:cubicBezTo>
                  <a:pt x="290" y="56"/>
                  <a:pt x="289" y="56"/>
                  <a:pt x="288" y="55"/>
                </a:cubicBezTo>
                <a:cubicBezTo>
                  <a:pt x="288" y="56"/>
                  <a:pt x="287" y="55"/>
                  <a:pt x="287" y="56"/>
                </a:cubicBezTo>
                <a:cubicBezTo>
                  <a:pt x="286" y="56"/>
                  <a:pt x="287" y="56"/>
                  <a:pt x="287" y="56"/>
                </a:cubicBezTo>
                <a:close/>
                <a:moveTo>
                  <a:pt x="271" y="59"/>
                </a:moveTo>
                <a:cubicBezTo>
                  <a:pt x="271" y="59"/>
                  <a:pt x="273" y="59"/>
                  <a:pt x="273" y="59"/>
                </a:cubicBezTo>
                <a:cubicBezTo>
                  <a:pt x="273" y="58"/>
                  <a:pt x="273" y="58"/>
                  <a:pt x="273" y="58"/>
                </a:cubicBezTo>
                <a:cubicBezTo>
                  <a:pt x="273" y="58"/>
                  <a:pt x="274" y="58"/>
                  <a:pt x="274" y="57"/>
                </a:cubicBezTo>
                <a:cubicBezTo>
                  <a:pt x="275" y="56"/>
                  <a:pt x="273" y="56"/>
                  <a:pt x="273" y="55"/>
                </a:cubicBezTo>
                <a:cubicBezTo>
                  <a:pt x="272" y="54"/>
                  <a:pt x="272" y="54"/>
                  <a:pt x="271" y="54"/>
                </a:cubicBezTo>
                <a:cubicBezTo>
                  <a:pt x="271" y="54"/>
                  <a:pt x="271" y="54"/>
                  <a:pt x="270" y="54"/>
                </a:cubicBezTo>
                <a:cubicBezTo>
                  <a:pt x="269" y="54"/>
                  <a:pt x="268" y="55"/>
                  <a:pt x="268" y="56"/>
                </a:cubicBezTo>
                <a:cubicBezTo>
                  <a:pt x="268" y="57"/>
                  <a:pt x="269" y="57"/>
                  <a:pt x="269" y="58"/>
                </a:cubicBezTo>
                <a:cubicBezTo>
                  <a:pt x="270" y="59"/>
                  <a:pt x="270" y="59"/>
                  <a:pt x="271" y="59"/>
                </a:cubicBezTo>
                <a:close/>
                <a:moveTo>
                  <a:pt x="946" y="53"/>
                </a:moveTo>
                <a:cubicBezTo>
                  <a:pt x="946" y="55"/>
                  <a:pt x="948" y="55"/>
                  <a:pt x="949" y="55"/>
                </a:cubicBezTo>
                <a:cubicBezTo>
                  <a:pt x="948" y="54"/>
                  <a:pt x="948" y="54"/>
                  <a:pt x="948" y="53"/>
                </a:cubicBezTo>
                <a:cubicBezTo>
                  <a:pt x="947" y="53"/>
                  <a:pt x="947" y="53"/>
                  <a:pt x="946" y="53"/>
                </a:cubicBezTo>
                <a:close/>
                <a:moveTo>
                  <a:pt x="958" y="52"/>
                </a:moveTo>
                <a:cubicBezTo>
                  <a:pt x="958" y="52"/>
                  <a:pt x="958" y="52"/>
                  <a:pt x="958" y="52"/>
                </a:cubicBezTo>
                <a:cubicBezTo>
                  <a:pt x="959" y="52"/>
                  <a:pt x="961" y="52"/>
                  <a:pt x="961" y="52"/>
                </a:cubicBezTo>
                <a:cubicBezTo>
                  <a:pt x="961" y="51"/>
                  <a:pt x="961" y="51"/>
                  <a:pt x="960" y="51"/>
                </a:cubicBezTo>
                <a:cubicBezTo>
                  <a:pt x="960" y="51"/>
                  <a:pt x="959" y="51"/>
                  <a:pt x="959" y="51"/>
                </a:cubicBezTo>
                <a:cubicBezTo>
                  <a:pt x="959" y="51"/>
                  <a:pt x="958" y="50"/>
                  <a:pt x="958" y="50"/>
                </a:cubicBezTo>
                <a:cubicBezTo>
                  <a:pt x="956" y="50"/>
                  <a:pt x="956" y="50"/>
                  <a:pt x="954" y="51"/>
                </a:cubicBezTo>
                <a:cubicBezTo>
                  <a:pt x="954" y="51"/>
                  <a:pt x="954" y="51"/>
                  <a:pt x="954" y="52"/>
                </a:cubicBezTo>
                <a:cubicBezTo>
                  <a:pt x="955" y="52"/>
                  <a:pt x="956" y="51"/>
                  <a:pt x="958" y="52"/>
                </a:cubicBezTo>
                <a:close/>
                <a:moveTo>
                  <a:pt x="277" y="54"/>
                </a:moveTo>
                <a:cubicBezTo>
                  <a:pt x="278" y="54"/>
                  <a:pt x="279" y="54"/>
                  <a:pt x="279" y="53"/>
                </a:cubicBezTo>
                <a:cubicBezTo>
                  <a:pt x="280" y="53"/>
                  <a:pt x="280" y="54"/>
                  <a:pt x="281" y="53"/>
                </a:cubicBezTo>
                <a:cubicBezTo>
                  <a:pt x="281" y="53"/>
                  <a:pt x="280" y="53"/>
                  <a:pt x="281" y="53"/>
                </a:cubicBezTo>
                <a:cubicBezTo>
                  <a:pt x="281" y="53"/>
                  <a:pt x="281" y="53"/>
                  <a:pt x="281" y="53"/>
                </a:cubicBezTo>
                <a:cubicBezTo>
                  <a:pt x="282" y="53"/>
                  <a:pt x="282" y="53"/>
                  <a:pt x="283" y="53"/>
                </a:cubicBezTo>
                <a:cubicBezTo>
                  <a:pt x="283" y="53"/>
                  <a:pt x="283" y="54"/>
                  <a:pt x="283" y="54"/>
                </a:cubicBezTo>
                <a:cubicBezTo>
                  <a:pt x="284" y="54"/>
                  <a:pt x="285" y="55"/>
                  <a:pt x="286" y="55"/>
                </a:cubicBezTo>
                <a:cubicBezTo>
                  <a:pt x="286" y="54"/>
                  <a:pt x="287" y="53"/>
                  <a:pt x="287" y="53"/>
                </a:cubicBezTo>
                <a:cubicBezTo>
                  <a:pt x="287" y="52"/>
                  <a:pt x="287" y="52"/>
                  <a:pt x="287" y="51"/>
                </a:cubicBezTo>
                <a:cubicBezTo>
                  <a:pt x="287" y="51"/>
                  <a:pt x="286" y="51"/>
                  <a:pt x="285" y="51"/>
                </a:cubicBezTo>
                <a:cubicBezTo>
                  <a:pt x="284" y="51"/>
                  <a:pt x="283" y="50"/>
                  <a:pt x="282" y="50"/>
                </a:cubicBezTo>
                <a:cubicBezTo>
                  <a:pt x="281" y="51"/>
                  <a:pt x="281" y="51"/>
                  <a:pt x="280" y="51"/>
                </a:cubicBezTo>
                <a:cubicBezTo>
                  <a:pt x="279" y="51"/>
                  <a:pt x="279" y="51"/>
                  <a:pt x="278" y="51"/>
                </a:cubicBezTo>
                <a:cubicBezTo>
                  <a:pt x="278" y="51"/>
                  <a:pt x="277" y="52"/>
                  <a:pt x="277" y="52"/>
                </a:cubicBezTo>
                <a:cubicBezTo>
                  <a:pt x="276" y="53"/>
                  <a:pt x="277" y="53"/>
                  <a:pt x="277" y="54"/>
                </a:cubicBezTo>
                <a:cubicBezTo>
                  <a:pt x="278" y="54"/>
                  <a:pt x="277" y="54"/>
                  <a:pt x="277" y="54"/>
                </a:cubicBezTo>
                <a:close/>
                <a:moveTo>
                  <a:pt x="873" y="52"/>
                </a:moveTo>
                <a:cubicBezTo>
                  <a:pt x="873" y="52"/>
                  <a:pt x="873" y="53"/>
                  <a:pt x="873" y="53"/>
                </a:cubicBezTo>
                <a:cubicBezTo>
                  <a:pt x="874" y="53"/>
                  <a:pt x="874" y="54"/>
                  <a:pt x="874" y="54"/>
                </a:cubicBezTo>
                <a:cubicBezTo>
                  <a:pt x="874" y="54"/>
                  <a:pt x="875" y="54"/>
                  <a:pt x="875" y="54"/>
                </a:cubicBezTo>
                <a:cubicBezTo>
                  <a:pt x="875" y="54"/>
                  <a:pt x="875" y="55"/>
                  <a:pt x="876" y="54"/>
                </a:cubicBezTo>
                <a:cubicBezTo>
                  <a:pt x="876" y="54"/>
                  <a:pt x="874" y="51"/>
                  <a:pt x="874" y="51"/>
                </a:cubicBezTo>
                <a:cubicBezTo>
                  <a:pt x="872" y="51"/>
                  <a:pt x="874" y="48"/>
                  <a:pt x="872" y="48"/>
                </a:cubicBezTo>
                <a:cubicBezTo>
                  <a:pt x="872" y="50"/>
                  <a:pt x="872" y="51"/>
                  <a:pt x="873" y="52"/>
                </a:cubicBezTo>
                <a:close/>
                <a:moveTo>
                  <a:pt x="289" y="53"/>
                </a:moveTo>
                <a:cubicBezTo>
                  <a:pt x="289" y="53"/>
                  <a:pt x="291" y="54"/>
                  <a:pt x="291" y="54"/>
                </a:cubicBezTo>
                <a:cubicBezTo>
                  <a:pt x="291" y="54"/>
                  <a:pt x="292" y="54"/>
                  <a:pt x="293" y="54"/>
                </a:cubicBezTo>
                <a:cubicBezTo>
                  <a:pt x="293" y="54"/>
                  <a:pt x="293" y="54"/>
                  <a:pt x="294" y="54"/>
                </a:cubicBezTo>
                <a:cubicBezTo>
                  <a:pt x="295" y="54"/>
                  <a:pt x="294" y="54"/>
                  <a:pt x="294" y="54"/>
                </a:cubicBezTo>
                <a:cubicBezTo>
                  <a:pt x="295" y="54"/>
                  <a:pt x="295" y="54"/>
                  <a:pt x="295" y="54"/>
                </a:cubicBezTo>
                <a:cubicBezTo>
                  <a:pt x="295" y="54"/>
                  <a:pt x="295" y="53"/>
                  <a:pt x="295" y="53"/>
                </a:cubicBezTo>
                <a:cubicBezTo>
                  <a:pt x="295" y="53"/>
                  <a:pt x="296" y="53"/>
                  <a:pt x="296" y="53"/>
                </a:cubicBezTo>
                <a:cubicBezTo>
                  <a:pt x="297" y="53"/>
                  <a:pt x="298" y="54"/>
                  <a:pt x="298" y="53"/>
                </a:cubicBezTo>
                <a:cubicBezTo>
                  <a:pt x="298" y="52"/>
                  <a:pt x="299" y="52"/>
                  <a:pt x="298" y="51"/>
                </a:cubicBezTo>
                <a:cubicBezTo>
                  <a:pt x="298" y="50"/>
                  <a:pt x="298" y="49"/>
                  <a:pt x="297" y="49"/>
                </a:cubicBezTo>
                <a:cubicBezTo>
                  <a:pt x="297" y="49"/>
                  <a:pt x="297" y="49"/>
                  <a:pt x="296" y="49"/>
                </a:cubicBezTo>
                <a:cubicBezTo>
                  <a:pt x="296" y="49"/>
                  <a:pt x="296" y="49"/>
                  <a:pt x="295" y="48"/>
                </a:cubicBezTo>
                <a:cubicBezTo>
                  <a:pt x="294" y="48"/>
                  <a:pt x="294" y="48"/>
                  <a:pt x="294" y="49"/>
                </a:cubicBezTo>
                <a:cubicBezTo>
                  <a:pt x="293" y="49"/>
                  <a:pt x="293" y="49"/>
                  <a:pt x="293" y="49"/>
                </a:cubicBezTo>
                <a:cubicBezTo>
                  <a:pt x="291" y="49"/>
                  <a:pt x="291" y="49"/>
                  <a:pt x="290" y="50"/>
                </a:cubicBezTo>
                <a:cubicBezTo>
                  <a:pt x="290" y="51"/>
                  <a:pt x="289" y="50"/>
                  <a:pt x="288" y="51"/>
                </a:cubicBezTo>
                <a:cubicBezTo>
                  <a:pt x="288" y="51"/>
                  <a:pt x="288" y="52"/>
                  <a:pt x="288" y="52"/>
                </a:cubicBezTo>
                <a:cubicBezTo>
                  <a:pt x="288" y="52"/>
                  <a:pt x="288" y="52"/>
                  <a:pt x="288" y="53"/>
                </a:cubicBezTo>
                <a:cubicBezTo>
                  <a:pt x="288" y="53"/>
                  <a:pt x="289" y="52"/>
                  <a:pt x="289" y="53"/>
                </a:cubicBezTo>
                <a:close/>
                <a:moveTo>
                  <a:pt x="409" y="48"/>
                </a:moveTo>
                <a:cubicBezTo>
                  <a:pt x="408" y="48"/>
                  <a:pt x="407" y="48"/>
                  <a:pt x="407" y="49"/>
                </a:cubicBezTo>
                <a:cubicBezTo>
                  <a:pt x="407" y="49"/>
                  <a:pt x="408" y="49"/>
                  <a:pt x="409" y="48"/>
                </a:cubicBezTo>
                <a:cubicBezTo>
                  <a:pt x="408" y="48"/>
                  <a:pt x="409" y="48"/>
                  <a:pt x="409" y="48"/>
                </a:cubicBezTo>
                <a:close/>
                <a:moveTo>
                  <a:pt x="351" y="54"/>
                </a:moveTo>
                <a:cubicBezTo>
                  <a:pt x="351" y="54"/>
                  <a:pt x="352" y="54"/>
                  <a:pt x="352" y="54"/>
                </a:cubicBezTo>
                <a:cubicBezTo>
                  <a:pt x="352" y="55"/>
                  <a:pt x="353" y="54"/>
                  <a:pt x="354" y="54"/>
                </a:cubicBezTo>
                <a:cubicBezTo>
                  <a:pt x="354" y="54"/>
                  <a:pt x="355" y="54"/>
                  <a:pt x="355" y="55"/>
                </a:cubicBezTo>
                <a:cubicBezTo>
                  <a:pt x="355" y="55"/>
                  <a:pt x="356" y="55"/>
                  <a:pt x="356" y="55"/>
                </a:cubicBezTo>
                <a:cubicBezTo>
                  <a:pt x="355" y="55"/>
                  <a:pt x="355" y="55"/>
                  <a:pt x="354" y="55"/>
                </a:cubicBezTo>
                <a:cubicBezTo>
                  <a:pt x="354" y="55"/>
                  <a:pt x="354" y="56"/>
                  <a:pt x="354" y="56"/>
                </a:cubicBezTo>
                <a:cubicBezTo>
                  <a:pt x="353" y="56"/>
                  <a:pt x="355" y="58"/>
                  <a:pt x="355" y="58"/>
                </a:cubicBezTo>
                <a:cubicBezTo>
                  <a:pt x="356" y="59"/>
                  <a:pt x="356" y="59"/>
                  <a:pt x="357" y="59"/>
                </a:cubicBezTo>
                <a:cubicBezTo>
                  <a:pt x="358" y="60"/>
                  <a:pt x="357" y="60"/>
                  <a:pt x="357" y="60"/>
                </a:cubicBezTo>
                <a:cubicBezTo>
                  <a:pt x="358" y="60"/>
                  <a:pt x="358" y="60"/>
                  <a:pt x="359" y="60"/>
                </a:cubicBezTo>
                <a:cubicBezTo>
                  <a:pt x="360" y="60"/>
                  <a:pt x="359" y="59"/>
                  <a:pt x="360" y="59"/>
                </a:cubicBezTo>
                <a:cubicBezTo>
                  <a:pt x="361" y="59"/>
                  <a:pt x="361" y="59"/>
                  <a:pt x="362" y="59"/>
                </a:cubicBezTo>
                <a:cubicBezTo>
                  <a:pt x="362" y="59"/>
                  <a:pt x="362" y="59"/>
                  <a:pt x="362" y="59"/>
                </a:cubicBezTo>
                <a:cubicBezTo>
                  <a:pt x="363" y="59"/>
                  <a:pt x="362" y="58"/>
                  <a:pt x="363" y="58"/>
                </a:cubicBezTo>
                <a:cubicBezTo>
                  <a:pt x="364" y="58"/>
                  <a:pt x="365" y="58"/>
                  <a:pt x="366" y="59"/>
                </a:cubicBezTo>
                <a:cubicBezTo>
                  <a:pt x="366" y="58"/>
                  <a:pt x="367" y="57"/>
                  <a:pt x="366" y="57"/>
                </a:cubicBezTo>
                <a:cubicBezTo>
                  <a:pt x="366" y="57"/>
                  <a:pt x="364" y="55"/>
                  <a:pt x="365" y="55"/>
                </a:cubicBezTo>
                <a:cubicBezTo>
                  <a:pt x="365" y="53"/>
                  <a:pt x="363" y="54"/>
                  <a:pt x="362" y="52"/>
                </a:cubicBezTo>
                <a:cubicBezTo>
                  <a:pt x="362" y="52"/>
                  <a:pt x="361" y="53"/>
                  <a:pt x="361" y="53"/>
                </a:cubicBezTo>
                <a:cubicBezTo>
                  <a:pt x="360" y="52"/>
                  <a:pt x="360" y="52"/>
                  <a:pt x="360" y="51"/>
                </a:cubicBezTo>
                <a:cubicBezTo>
                  <a:pt x="359" y="51"/>
                  <a:pt x="358" y="51"/>
                  <a:pt x="357" y="51"/>
                </a:cubicBezTo>
                <a:cubicBezTo>
                  <a:pt x="355" y="51"/>
                  <a:pt x="353" y="49"/>
                  <a:pt x="352" y="48"/>
                </a:cubicBezTo>
                <a:cubicBezTo>
                  <a:pt x="351" y="48"/>
                  <a:pt x="350" y="49"/>
                  <a:pt x="350" y="50"/>
                </a:cubicBezTo>
                <a:cubicBezTo>
                  <a:pt x="350" y="51"/>
                  <a:pt x="350" y="51"/>
                  <a:pt x="350" y="52"/>
                </a:cubicBezTo>
                <a:cubicBezTo>
                  <a:pt x="350" y="52"/>
                  <a:pt x="350" y="52"/>
                  <a:pt x="350" y="52"/>
                </a:cubicBezTo>
                <a:cubicBezTo>
                  <a:pt x="350" y="52"/>
                  <a:pt x="350" y="53"/>
                  <a:pt x="350" y="53"/>
                </a:cubicBezTo>
                <a:cubicBezTo>
                  <a:pt x="350" y="54"/>
                  <a:pt x="351" y="53"/>
                  <a:pt x="351" y="54"/>
                </a:cubicBezTo>
                <a:close/>
                <a:moveTo>
                  <a:pt x="313" y="49"/>
                </a:moveTo>
                <a:cubicBezTo>
                  <a:pt x="313" y="49"/>
                  <a:pt x="315" y="49"/>
                  <a:pt x="315" y="48"/>
                </a:cubicBezTo>
                <a:cubicBezTo>
                  <a:pt x="316" y="48"/>
                  <a:pt x="315" y="49"/>
                  <a:pt x="315" y="50"/>
                </a:cubicBezTo>
                <a:cubicBezTo>
                  <a:pt x="315" y="51"/>
                  <a:pt x="316" y="49"/>
                  <a:pt x="317" y="49"/>
                </a:cubicBezTo>
                <a:cubicBezTo>
                  <a:pt x="317" y="50"/>
                  <a:pt x="317" y="49"/>
                  <a:pt x="317" y="50"/>
                </a:cubicBezTo>
                <a:cubicBezTo>
                  <a:pt x="317" y="50"/>
                  <a:pt x="317" y="51"/>
                  <a:pt x="317" y="52"/>
                </a:cubicBezTo>
                <a:cubicBezTo>
                  <a:pt x="318" y="52"/>
                  <a:pt x="319" y="52"/>
                  <a:pt x="319" y="51"/>
                </a:cubicBezTo>
                <a:cubicBezTo>
                  <a:pt x="319" y="50"/>
                  <a:pt x="320" y="51"/>
                  <a:pt x="320" y="51"/>
                </a:cubicBezTo>
                <a:cubicBezTo>
                  <a:pt x="321" y="51"/>
                  <a:pt x="318" y="52"/>
                  <a:pt x="319" y="53"/>
                </a:cubicBezTo>
                <a:cubicBezTo>
                  <a:pt x="319" y="53"/>
                  <a:pt x="320" y="53"/>
                  <a:pt x="320" y="53"/>
                </a:cubicBezTo>
                <a:cubicBezTo>
                  <a:pt x="320" y="54"/>
                  <a:pt x="319" y="54"/>
                  <a:pt x="317" y="53"/>
                </a:cubicBezTo>
                <a:cubicBezTo>
                  <a:pt x="318" y="54"/>
                  <a:pt x="318" y="55"/>
                  <a:pt x="318" y="55"/>
                </a:cubicBezTo>
                <a:cubicBezTo>
                  <a:pt x="319" y="55"/>
                  <a:pt x="320" y="55"/>
                  <a:pt x="321" y="54"/>
                </a:cubicBezTo>
                <a:cubicBezTo>
                  <a:pt x="321" y="54"/>
                  <a:pt x="326" y="52"/>
                  <a:pt x="326" y="53"/>
                </a:cubicBezTo>
                <a:cubicBezTo>
                  <a:pt x="326" y="54"/>
                  <a:pt x="326" y="54"/>
                  <a:pt x="327" y="54"/>
                </a:cubicBezTo>
                <a:cubicBezTo>
                  <a:pt x="328" y="54"/>
                  <a:pt x="328" y="51"/>
                  <a:pt x="329" y="53"/>
                </a:cubicBezTo>
                <a:cubicBezTo>
                  <a:pt x="329" y="53"/>
                  <a:pt x="330" y="53"/>
                  <a:pt x="331" y="53"/>
                </a:cubicBezTo>
                <a:cubicBezTo>
                  <a:pt x="332" y="53"/>
                  <a:pt x="332" y="53"/>
                  <a:pt x="332" y="53"/>
                </a:cubicBezTo>
                <a:cubicBezTo>
                  <a:pt x="333" y="53"/>
                  <a:pt x="333" y="54"/>
                  <a:pt x="333" y="54"/>
                </a:cubicBezTo>
                <a:cubicBezTo>
                  <a:pt x="334" y="54"/>
                  <a:pt x="334" y="54"/>
                  <a:pt x="334" y="55"/>
                </a:cubicBezTo>
                <a:cubicBezTo>
                  <a:pt x="334" y="55"/>
                  <a:pt x="335" y="55"/>
                  <a:pt x="336" y="55"/>
                </a:cubicBezTo>
                <a:cubicBezTo>
                  <a:pt x="336" y="55"/>
                  <a:pt x="336" y="56"/>
                  <a:pt x="337" y="56"/>
                </a:cubicBezTo>
                <a:cubicBezTo>
                  <a:pt x="337" y="56"/>
                  <a:pt x="337" y="56"/>
                  <a:pt x="337" y="56"/>
                </a:cubicBezTo>
                <a:cubicBezTo>
                  <a:pt x="338" y="57"/>
                  <a:pt x="338" y="57"/>
                  <a:pt x="339" y="58"/>
                </a:cubicBezTo>
                <a:cubicBezTo>
                  <a:pt x="340" y="58"/>
                  <a:pt x="340" y="58"/>
                  <a:pt x="341" y="58"/>
                </a:cubicBezTo>
                <a:cubicBezTo>
                  <a:pt x="341" y="59"/>
                  <a:pt x="342" y="59"/>
                  <a:pt x="342" y="60"/>
                </a:cubicBezTo>
                <a:cubicBezTo>
                  <a:pt x="343" y="61"/>
                  <a:pt x="343" y="60"/>
                  <a:pt x="344" y="61"/>
                </a:cubicBezTo>
                <a:cubicBezTo>
                  <a:pt x="345" y="61"/>
                  <a:pt x="345" y="60"/>
                  <a:pt x="346" y="60"/>
                </a:cubicBezTo>
                <a:cubicBezTo>
                  <a:pt x="346" y="60"/>
                  <a:pt x="347" y="57"/>
                  <a:pt x="347" y="57"/>
                </a:cubicBezTo>
                <a:cubicBezTo>
                  <a:pt x="346" y="56"/>
                  <a:pt x="346" y="56"/>
                  <a:pt x="346" y="56"/>
                </a:cubicBezTo>
                <a:cubicBezTo>
                  <a:pt x="346" y="55"/>
                  <a:pt x="346" y="55"/>
                  <a:pt x="345" y="55"/>
                </a:cubicBezTo>
                <a:cubicBezTo>
                  <a:pt x="345" y="54"/>
                  <a:pt x="346" y="54"/>
                  <a:pt x="344" y="54"/>
                </a:cubicBezTo>
                <a:cubicBezTo>
                  <a:pt x="344" y="52"/>
                  <a:pt x="344" y="52"/>
                  <a:pt x="342" y="52"/>
                </a:cubicBezTo>
                <a:cubicBezTo>
                  <a:pt x="341" y="52"/>
                  <a:pt x="340" y="52"/>
                  <a:pt x="339" y="52"/>
                </a:cubicBezTo>
                <a:cubicBezTo>
                  <a:pt x="339" y="52"/>
                  <a:pt x="338" y="52"/>
                  <a:pt x="338" y="52"/>
                </a:cubicBezTo>
                <a:cubicBezTo>
                  <a:pt x="338" y="51"/>
                  <a:pt x="337" y="50"/>
                  <a:pt x="336" y="50"/>
                </a:cubicBezTo>
                <a:cubicBezTo>
                  <a:pt x="336" y="50"/>
                  <a:pt x="335" y="49"/>
                  <a:pt x="335" y="49"/>
                </a:cubicBezTo>
                <a:cubicBezTo>
                  <a:pt x="334" y="49"/>
                  <a:pt x="333" y="50"/>
                  <a:pt x="333" y="49"/>
                </a:cubicBezTo>
                <a:cubicBezTo>
                  <a:pt x="333" y="48"/>
                  <a:pt x="330" y="47"/>
                  <a:pt x="330" y="48"/>
                </a:cubicBezTo>
                <a:cubicBezTo>
                  <a:pt x="330" y="49"/>
                  <a:pt x="328" y="49"/>
                  <a:pt x="328" y="49"/>
                </a:cubicBezTo>
                <a:cubicBezTo>
                  <a:pt x="328" y="49"/>
                  <a:pt x="327" y="48"/>
                  <a:pt x="327" y="47"/>
                </a:cubicBezTo>
                <a:cubicBezTo>
                  <a:pt x="327" y="47"/>
                  <a:pt x="324" y="45"/>
                  <a:pt x="323" y="46"/>
                </a:cubicBezTo>
                <a:cubicBezTo>
                  <a:pt x="323" y="47"/>
                  <a:pt x="323" y="48"/>
                  <a:pt x="323" y="49"/>
                </a:cubicBezTo>
                <a:cubicBezTo>
                  <a:pt x="322" y="49"/>
                  <a:pt x="321" y="49"/>
                  <a:pt x="321" y="48"/>
                </a:cubicBezTo>
                <a:cubicBezTo>
                  <a:pt x="321" y="48"/>
                  <a:pt x="321" y="48"/>
                  <a:pt x="321" y="47"/>
                </a:cubicBezTo>
                <a:cubicBezTo>
                  <a:pt x="321" y="47"/>
                  <a:pt x="320" y="47"/>
                  <a:pt x="320" y="46"/>
                </a:cubicBezTo>
                <a:cubicBezTo>
                  <a:pt x="319" y="45"/>
                  <a:pt x="319" y="46"/>
                  <a:pt x="317" y="46"/>
                </a:cubicBezTo>
                <a:cubicBezTo>
                  <a:pt x="317" y="46"/>
                  <a:pt x="317" y="45"/>
                  <a:pt x="317" y="45"/>
                </a:cubicBezTo>
                <a:cubicBezTo>
                  <a:pt x="317" y="45"/>
                  <a:pt x="316" y="45"/>
                  <a:pt x="316" y="45"/>
                </a:cubicBezTo>
                <a:cubicBezTo>
                  <a:pt x="315" y="45"/>
                  <a:pt x="315" y="44"/>
                  <a:pt x="315" y="45"/>
                </a:cubicBezTo>
                <a:cubicBezTo>
                  <a:pt x="314" y="45"/>
                  <a:pt x="314" y="46"/>
                  <a:pt x="314" y="46"/>
                </a:cubicBezTo>
                <a:cubicBezTo>
                  <a:pt x="313" y="46"/>
                  <a:pt x="313" y="46"/>
                  <a:pt x="313" y="46"/>
                </a:cubicBezTo>
                <a:cubicBezTo>
                  <a:pt x="313" y="47"/>
                  <a:pt x="313" y="48"/>
                  <a:pt x="313" y="49"/>
                </a:cubicBezTo>
                <a:close/>
                <a:moveTo>
                  <a:pt x="466" y="48"/>
                </a:moveTo>
                <a:cubicBezTo>
                  <a:pt x="467" y="47"/>
                  <a:pt x="466" y="46"/>
                  <a:pt x="466" y="45"/>
                </a:cubicBezTo>
                <a:cubicBezTo>
                  <a:pt x="467" y="45"/>
                  <a:pt x="467" y="45"/>
                  <a:pt x="467" y="44"/>
                </a:cubicBezTo>
                <a:cubicBezTo>
                  <a:pt x="466" y="45"/>
                  <a:pt x="465" y="45"/>
                  <a:pt x="464" y="44"/>
                </a:cubicBezTo>
                <a:cubicBezTo>
                  <a:pt x="464" y="44"/>
                  <a:pt x="463" y="44"/>
                  <a:pt x="462" y="44"/>
                </a:cubicBezTo>
                <a:cubicBezTo>
                  <a:pt x="462" y="44"/>
                  <a:pt x="462" y="44"/>
                  <a:pt x="461" y="44"/>
                </a:cubicBezTo>
                <a:cubicBezTo>
                  <a:pt x="461" y="44"/>
                  <a:pt x="462" y="45"/>
                  <a:pt x="461" y="45"/>
                </a:cubicBezTo>
                <a:cubicBezTo>
                  <a:pt x="461" y="46"/>
                  <a:pt x="461" y="46"/>
                  <a:pt x="461" y="46"/>
                </a:cubicBezTo>
                <a:cubicBezTo>
                  <a:pt x="462" y="46"/>
                  <a:pt x="462" y="46"/>
                  <a:pt x="463" y="46"/>
                </a:cubicBezTo>
                <a:cubicBezTo>
                  <a:pt x="463" y="46"/>
                  <a:pt x="462" y="47"/>
                  <a:pt x="463" y="47"/>
                </a:cubicBezTo>
                <a:cubicBezTo>
                  <a:pt x="464" y="47"/>
                  <a:pt x="463" y="47"/>
                  <a:pt x="464" y="47"/>
                </a:cubicBezTo>
                <a:cubicBezTo>
                  <a:pt x="465" y="47"/>
                  <a:pt x="465" y="47"/>
                  <a:pt x="466" y="48"/>
                </a:cubicBezTo>
                <a:cubicBezTo>
                  <a:pt x="467" y="47"/>
                  <a:pt x="466" y="48"/>
                  <a:pt x="466" y="48"/>
                </a:cubicBezTo>
                <a:close/>
                <a:moveTo>
                  <a:pt x="1291" y="58"/>
                </a:moveTo>
                <a:cubicBezTo>
                  <a:pt x="1290" y="58"/>
                  <a:pt x="1291" y="58"/>
                  <a:pt x="1292" y="58"/>
                </a:cubicBezTo>
                <a:cubicBezTo>
                  <a:pt x="1292" y="58"/>
                  <a:pt x="1293" y="58"/>
                  <a:pt x="1293" y="58"/>
                </a:cubicBezTo>
                <a:cubicBezTo>
                  <a:pt x="1293" y="58"/>
                  <a:pt x="1293" y="59"/>
                  <a:pt x="1293" y="59"/>
                </a:cubicBezTo>
                <a:cubicBezTo>
                  <a:pt x="1293" y="59"/>
                  <a:pt x="1294" y="59"/>
                  <a:pt x="1294" y="58"/>
                </a:cubicBezTo>
                <a:cubicBezTo>
                  <a:pt x="1294" y="58"/>
                  <a:pt x="1294" y="58"/>
                  <a:pt x="1294" y="58"/>
                </a:cubicBezTo>
                <a:cubicBezTo>
                  <a:pt x="1294" y="58"/>
                  <a:pt x="1294" y="58"/>
                  <a:pt x="1294" y="58"/>
                </a:cubicBezTo>
                <a:cubicBezTo>
                  <a:pt x="1295" y="58"/>
                  <a:pt x="1295" y="58"/>
                  <a:pt x="1296" y="57"/>
                </a:cubicBezTo>
                <a:cubicBezTo>
                  <a:pt x="1297" y="57"/>
                  <a:pt x="1296" y="57"/>
                  <a:pt x="1297" y="56"/>
                </a:cubicBezTo>
                <a:cubicBezTo>
                  <a:pt x="1298" y="56"/>
                  <a:pt x="1299" y="55"/>
                  <a:pt x="1299" y="55"/>
                </a:cubicBezTo>
                <a:cubicBezTo>
                  <a:pt x="1299" y="55"/>
                  <a:pt x="1300" y="55"/>
                  <a:pt x="1300" y="55"/>
                </a:cubicBezTo>
                <a:cubicBezTo>
                  <a:pt x="1300" y="55"/>
                  <a:pt x="1300" y="55"/>
                  <a:pt x="1300" y="55"/>
                </a:cubicBezTo>
                <a:cubicBezTo>
                  <a:pt x="1301" y="56"/>
                  <a:pt x="1302" y="55"/>
                  <a:pt x="1302" y="55"/>
                </a:cubicBezTo>
                <a:cubicBezTo>
                  <a:pt x="1302" y="55"/>
                  <a:pt x="1303" y="56"/>
                  <a:pt x="1303" y="56"/>
                </a:cubicBezTo>
                <a:cubicBezTo>
                  <a:pt x="1304" y="56"/>
                  <a:pt x="1303" y="56"/>
                  <a:pt x="1304" y="56"/>
                </a:cubicBezTo>
                <a:cubicBezTo>
                  <a:pt x="1304" y="56"/>
                  <a:pt x="1305" y="56"/>
                  <a:pt x="1305" y="56"/>
                </a:cubicBezTo>
                <a:cubicBezTo>
                  <a:pt x="1305" y="56"/>
                  <a:pt x="1305" y="56"/>
                  <a:pt x="1305" y="56"/>
                </a:cubicBezTo>
                <a:cubicBezTo>
                  <a:pt x="1306" y="56"/>
                  <a:pt x="1306" y="56"/>
                  <a:pt x="1307" y="55"/>
                </a:cubicBezTo>
                <a:cubicBezTo>
                  <a:pt x="1308" y="55"/>
                  <a:pt x="1308" y="55"/>
                  <a:pt x="1309" y="55"/>
                </a:cubicBezTo>
                <a:cubicBezTo>
                  <a:pt x="1310" y="55"/>
                  <a:pt x="1310" y="54"/>
                  <a:pt x="1311" y="54"/>
                </a:cubicBezTo>
                <a:cubicBezTo>
                  <a:pt x="1311" y="54"/>
                  <a:pt x="1311" y="54"/>
                  <a:pt x="1311" y="54"/>
                </a:cubicBezTo>
                <a:cubicBezTo>
                  <a:pt x="1311" y="54"/>
                  <a:pt x="1312" y="54"/>
                  <a:pt x="1312" y="54"/>
                </a:cubicBezTo>
                <a:cubicBezTo>
                  <a:pt x="1313" y="54"/>
                  <a:pt x="1313" y="53"/>
                  <a:pt x="1314" y="53"/>
                </a:cubicBezTo>
                <a:cubicBezTo>
                  <a:pt x="1314" y="52"/>
                  <a:pt x="1314" y="53"/>
                  <a:pt x="1314" y="52"/>
                </a:cubicBezTo>
                <a:cubicBezTo>
                  <a:pt x="1314" y="52"/>
                  <a:pt x="1314" y="52"/>
                  <a:pt x="1314" y="51"/>
                </a:cubicBezTo>
                <a:cubicBezTo>
                  <a:pt x="1314" y="50"/>
                  <a:pt x="1313" y="50"/>
                  <a:pt x="1312" y="50"/>
                </a:cubicBezTo>
                <a:cubicBezTo>
                  <a:pt x="1312" y="49"/>
                  <a:pt x="1311" y="49"/>
                  <a:pt x="1311" y="49"/>
                </a:cubicBezTo>
                <a:cubicBezTo>
                  <a:pt x="1310" y="49"/>
                  <a:pt x="1310" y="49"/>
                  <a:pt x="1310" y="49"/>
                </a:cubicBezTo>
                <a:cubicBezTo>
                  <a:pt x="1310" y="48"/>
                  <a:pt x="1308" y="48"/>
                  <a:pt x="1308" y="48"/>
                </a:cubicBezTo>
                <a:cubicBezTo>
                  <a:pt x="1307" y="48"/>
                  <a:pt x="1306" y="47"/>
                  <a:pt x="1306" y="46"/>
                </a:cubicBezTo>
                <a:cubicBezTo>
                  <a:pt x="1306" y="46"/>
                  <a:pt x="1305" y="47"/>
                  <a:pt x="1305" y="46"/>
                </a:cubicBezTo>
                <a:cubicBezTo>
                  <a:pt x="1305" y="46"/>
                  <a:pt x="1305" y="46"/>
                  <a:pt x="1304" y="46"/>
                </a:cubicBezTo>
                <a:cubicBezTo>
                  <a:pt x="1304" y="46"/>
                  <a:pt x="1303" y="47"/>
                  <a:pt x="1302" y="47"/>
                </a:cubicBezTo>
                <a:cubicBezTo>
                  <a:pt x="1302" y="46"/>
                  <a:pt x="1303" y="45"/>
                  <a:pt x="1302" y="45"/>
                </a:cubicBezTo>
                <a:cubicBezTo>
                  <a:pt x="1302" y="44"/>
                  <a:pt x="1301" y="43"/>
                  <a:pt x="1301" y="43"/>
                </a:cubicBezTo>
                <a:cubicBezTo>
                  <a:pt x="1301" y="43"/>
                  <a:pt x="1301" y="44"/>
                  <a:pt x="1301" y="44"/>
                </a:cubicBezTo>
                <a:cubicBezTo>
                  <a:pt x="1301" y="44"/>
                  <a:pt x="1300" y="44"/>
                  <a:pt x="1300" y="45"/>
                </a:cubicBezTo>
                <a:cubicBezTo>
                  <a:pt x="1301" y="44"/>
                  <a:pt x="1299" y="44"/>
                  <a:pt x="1299" y="44"/>
                </a:cubicBezTo>
                <a:cubicBezTo>
                  <a:pt x="1299" y="44"/>
                  <a:pt x="1299" y="46"/>
                  <a:pt x="1299" y="46"/>
                </a:cubicBezTo>
                <a:cubicBezTo>
                  <a:pt x="1299" y="46"/>
                  <a:pt x="1298" y="47"/>
                  <a:pt x="1298" y="47"/>
                </a:cubicBezTo>
                <a:cubicBezTo>
                  <a:pt x="1298" y="48"/>
                  <a:pt x="1298" y="48"/>
                  <a:pt x="1297" y="49"/>
                </a:cubicBezTo>
                <a:cubicBezTo>
                  <a:pt x="1297" y="49"/>
                  <a:pt x="1297" y="50"/>
                  <a:pt x="1297" y="50"/>
                </a:cubicBezTo>
                <a:cubicBezTo>
                  <a:pt x="1297" y="50"/>
                  <a:pt x="1297" y="51"/>
                  <a:pt x="1297" y="52"/>
                </a:cubicBezTo>
                <a:cubicBezTo>
                  <a:pt x="1296" y="51"/>
                  <a:pt x="1296" y="51"/>
                  <a:pt x="1295" y="53"/>
                </a:cubicBezTo>
                <a:cubicBezTo>
                  <a:pt x="1295" y="53"/>
                  <a:pt x="1295" y="54"/>
                  <a:pt x="1294" y="55"/>
                </a:cubicBezTo>
                <a:cubicBezTo>
                  <a:pt x="1293" y="55"/>
                  <a:pt x="1292" y="57"/>
                  <a:pt x="1291" y="58"/>
                </a:cubicBezTo>
                <a:close/>
                <a:moveTo>
                  <a:pt x="1254" y="41"/>
                </a:moveTo>
                <a:cubicBezTo>
                  <a:pt x="1255" y="41"/>
                  <a:pt x="1255" y="41"/>
                  <a:pt x="1255" y="41"/>
                </a:cubicBezTo>
                <a:cubicBezTo>
                  <a:pt x="1255" y="42"/>
                  <a:pt x="1254" y="42"/>
                  <a:pt x="1253" y="43"/>
                </a:cubicBezTo>
                <a:cubicBezTo>
                  <a:pt x="1254" y="44"/>
                  <a:pt x="1253" y="45"/>
                  <a:pt x="1254" y="45"/>
                </a:cubicBezTo>
                <a:cubicBezTo>
                  <a:pt x="1255" y="46"/>
                  <a:pt x="1254" y="45"/>
                  <a:pt x="1254" y="46"/>
                </a:cubicBezTo>
                <a:cubicBezTo>
                  <a:pt x="1254" y="46"/>
                  <a:pt x="1255" y="46"/>
                  <a:pt x="1256" y="46"/>
                </a:cubicBezTo>
                <a:cubicBezTo>
                  <a:pt x="1257" y="46"/>
                  <a:pt x="1257" y="46"/>
                  <a:pt x="1258" y="46"/>
                </a:cubicBezTo>
                <a:cubicBezTo>
                  <a:pt x="1259" y="46"/>
                  <a:pt x="1261" y="46"/>
                  <a:pt x="1262" y="46"/>
                </a:cubicBezTo>
                <a:cubicBezTo>
                  <a:pt x="1262" y="46"/>
                  <a:pt x="1262" y="45"/>
                  <a:pt x="1262" y="45"/>
                </a:cubicBezTo>
                <a:cubicBezTo>
                  <a:pt x="1263" y="45"/>
                  <a:pt x="1264" y="45"/>
                  <a:pt x="1264" y="44"/>
                </a:cubicBezTo>
                <a:cubicBezTo>
                  <a:pt x="1263" y="42"/>
                  <a:pt x="1261" y="42"/>
                  <a:pt x="1260" y="41"/>
                </a:cubicBezTo>
                <a:cubicBezTo>
                  <a:pt x="1260" y="41"/>
                  <a:pt x="1259" y="41"/>
                  <a:pt x="1259" y="41"/>
                </a:cubicBezTo>
                <a:cubicBezTo>
                  <a:pt x="1259" y="41"/>
                  <a:pt x="1259" y="41"/>
                  <a:pt x="1259" y="41"/>
                </a:cubicBezTo>
                <a:cubicBezTo>
                  <a:pt x="1259" y="40"/>
                  <a:pt x="1258" y="40"/>
                  <a:pt x="1257" y="40"/>
                </a:cubicBezTo>
                <a:cubicBezTo>
                  <a:pt x="1256" y="40"/>
                  <a:pt x="1256" y="40"/>
                  <a:pt x="1255" y="40"/>
                </a:cubicBezTo>
                <a:cubicBezTo>
                  <a:pt x="1254" y="40"/>
                  <a:pt x="1254" y="41"/>
                  <a:pt x="1254" y="41"/>
                </a:cubicBezTo>
                <a:close/>
                <a:moveTo>
                  <a:pt x="1061" y="40"/>
                </a:moveTo>
                <a:cubicBezTo>
                  <a:pt x="1060" y="41"/>
                  <a:pt x="1059" y="41"/>
                  <a:pt x="1059" y="42"/>
                </a:cubicBezTo>
                <a:cubicBezTo>
                  <a:pt x="1059" y="42"/>
                  <a:pt x="1058" y="43"/>
                  <a:pt x="1059" y="43"/>
                </a:cubicBezTo>
                <a:cubicBezTo>
                  <a:pt x="1060" y="43"/>
                  <a:pt x="1062" y="43"/>
                  <a:pt x="1063" y="43"/>
                </a:cubicBezTo>
                <a:cubicBezTo>
                  <a:pt x="1063" y="42"/>
                  <a:pt x="1063" y="41"/>
                  <a:pt x="1062" y="40"/>
                </a:cubicBezTo>
                <a:cubicBezTo>
                  <a:pt x="1062" y="40"/>
                  <a:pt x="1061" y="40"/>
                  <a:pt x="1061" y="40"/>
                </a:cubicBezTo>
                <a:cubicBezTo>
                  <a:pt x="1061" y="41"/>
                  <a:pt x="1061" y="40"/>
                  <a:pt x="1061" y="40"/>
                </a:cubicBezTo>
                <a:close/>
                <a:moveTo>
                  <a:pt x="1097" y="41"/>
                </a:moveTo>
                <a:cubicBezTo>
                  <a:pt x="1098" y="42"/>
                  <a:pt x="1098" y="42"/>
                  <a:pt x="1099" y="43"/>
                </a:cubicBezTo>
                <a:cubicBezTo>
                  <a:pt x="1100" y="43"/>
                  <a:pt x="1100" y="43"/>
                  <a:pt x="1101" y="43"/>
                </a:cubicBezTo>
                <a:cubicBezTo>
                  <a:pt x="1101" y="42"/>
                  <a:pt x="1101" y="42"/>
                  <a:pt x="1102" y="42"/>
                </a:cubicBezTo>
                <a:cubicBezTo>
                  <a:pt x="1101" y="41"/>
                  <a:pt x="1101" y="39"/>
                  <a:pt x="1100" y="39"/>
                </a:cubicBezTo>
                <a:cubicBezTo>
                  <a:pt x="1099" y="39"/>
                  <a:pt x="1099" y="40"/>
                  <a:pt x="1098" y="40"/>
                </a:cubicBezTo>
                <a:cubicBezTo>
                  <a:pt x="1097" y="40"/>
                  <a:pt x="1097" y="40"/>
                  <a:pt x="1097" y="41"/>
                </a:cubicBezTo>
                <a:cubicBezTo>
                  <a:pt x="1099" y="42"/>
                  <a:pt x="1097" y="41"/>
                  <a:pt x="1097" y="41"/>
                </a:cubicBezTo>
                <a:close/>
                <a:moveTo>
                  <a:pt x="1058" y="41"/>
                </a:moveTo>
                <a:cubicBezTo>
                  <a:pt x="1058" y="40"/>
                  <a:pt x="1057" y="40"/>
                  <a:pt x="1058" y="40"/>
                </a:cubicBezTo>
                <a:cubicBezTo>
                  <a:pt x="1058" y="40"/>
                  <a:pt x="1058" y="39"/>
                  <a:pt x="1058" y="38"/>
                </a:cubicBezTo>
                <a:cubicBezTo>
                  <a:pt x="1057" y="39"/>
                  <a:pt x="1055" y="39"/>
                  <a:pt x="1054" y="39"/>
                </a:cubicBezTo>
                <a:cubicBezTo>
                  <a:pt x="1055" y="40"/>
                  <a:pt x="1055" y="40"/>
                  <a:pt x="1056" y="40"/>
                </a:cubicBezTo>
                <a:cubicBezTo>
                  <a:pt x="1056" y="40"/>
                  <a:pt x="1056" y="41"/>
                  <a:pt x="1056" y="41"/>
                </a:cubicBezTo>
                <a:cubicBezTo>
                  <a:pt x="1057" y="41"/>
                  <a:pt x="1057" y="41"/>
                  <a:pt x="1058" y="41"/>
                </a:cubicBezTo>
                <a:close/>
                <a:moveTo>
                  <a:pt x="896" y="61"/>
                </a:moveTo>
                <a:cubicBezTo>
                  <a:pt x="896" y="61"/>
                  <a:pt x="896" y="61"/>
                  <a:pt x="897" y="61"/>
                </a:cubicBezTo>
                <a:cubicBezTo>
                  <a:pt x="896" y="61"/>
                  <a:pt x="896" y="61"/>
                  <a:pt x="896" y="61"/>
                </a:cubicBezTo>
                <a:cubicBezTo>
                  <a:pt x="897" y="61"/>
                  <a:pt x="896" y="61"/>
                  <a:pt x="896" y="61"/>
                </a:cubicBezTo>
                <a:close/>
                <a:moveTo>
                  <a:pt x="875" y="44"/>
                </a:moveTo>
                <a:cubicBezTo>
                  <a:pt x="875" y="44"/>
                  <a:pt x="876" y="44"/>
                  <a:pt x="876" y="44"/>
                </a:cubicBezTo>
                <a:cubicBezTo>
                  <a:pt x="876" y="45"/>
                  <a:pt x="876" y="46"/>
                  <a:pt x="877" y="47"/>
                </a:cubicBezTo>
                <a:cubicBezTo>
                  <a:pt x="877" y="47"/>
                  <a:pt x="876" y="47"/>
                  <a:pt x="876" y="47"/>
                </a:cubicBezTo>
                <a:cubicBezTo>
                  <a:pt x="875" y="47"/>
                  <a:pt x="875" y="48"/>
                  <a:pt x="875" y="49"/>
                </a:cubicBezTo>
                <a:cubicBezTo>
                  <a:pt x="875" y="50"/>
                  <a:pt x="877" y="50"/>
                  <a:pt x="878" y="51"/>
                </a:cubicBezTo>
                <a:cubicBezTo>
                  <a:pt x="877" y="51"/>
                  <a:pt x="877" y="52"/>
                  <a:pt x="877" y="52"/>
                </a:cubicBezTo>
                <a:cubicBezTo>
                  <a:pt x="878" y="52"/>
                  <a:pt x="877" y="53"/>
                  <a:pt x="878" y="53"/>
                </a:cubicBezTo>
                <a:cubicBezTo>
                  <a:pt x="878" y="53"/>
                  <a:pt x="878" y="54"/>
                  <a:pt x="878" y="54"/>
                </a:cubicBezTo>
                <a:cubicBezTo>
                  <a:pt x="878" y="55"/>
                  <a:pt x="878" y="55"/>
                  <a:pt x="878" y="55"/>
                </a:cubicBezTo>
                <a:cubicBezTo>
                  <a:pt x="879" y="56"/>
                  <a:pt x="880" y="56"/>
                  <a:pt x="881" y="56"/>
                </a:cubicBezTo>
                <a:cubicBezTo>
                  <a:pt x="881" y="56"/>
                  <a:pt x="881" y="55"/>
                  <a:pt x="881" y="55"/>
                </a:cubicBezTo>
                <a:cubicBezTo>
                  <a:pt x="882" y="55"/>
                  <a:pt x="882" y="55"/>
                  <a:pt x="882" y="54"/>
                </a:cubicBezTo>
                <a:cubicBezTo>
                  <a:pt x="883" y="54"/>
                  <a:pt x="884" y="54"/>
                  <a:pt x="885" y="54"/>
                </a:cubicBezTo>
                <a:cubicBezTo>
                  <a:pt x="885" y="54"/>
                  <a:pt x="886" y="54"/>
                  <a:pt x="886" y="54"/>
                </a:cubicBezTo>
                <a:cubicBezTo>
                  <a:pt x="886" y="52"/>
                  <a:pt x="885" y="52"/>
                  <a:pt x="887" y="52"/>
                </a:cubicBezTo>
                <a:cubicBezTo>
                  <a:pt x="887" y="52"/>
                  <a:pt x="887" y="52"/>
                  <a:pt x="887" y="52"/>
                </a:cubicBezTo>
                <a:cubicBezTo>
                  <a:pt x="888" y="52"/>
                  <a:pt x="888" y="51"/>
                  <a:pt x="889" y="51"/>
                </a:cubicBezTo>
                <a:cubicBezTo>
                  <a:pt x="889" y="52"/>
                  <a:pt x="889" y="54"/>
                  <a:pt x="890" y="54"/>
                </a:cubicBezTo>
                <a:cubicBezTo>
                  <a:pt x="890" y="54"/>
                  <a:pt x="892" y="55"/>
                  <a:pt x="892" y="54"/>
                </a:cubicBezTo>
                <a:cubicBezTo>
                  <a:pt x="892" y="54"/>
                  <a:pt x="893" y="54"/>
                  <a:pt x="893" y="54"/>
                </a:cubicBezTo>
                <a:cubicBezTo>
                  <a:pt x="893" y="55"/>
                  <a:pt x="893" y="55"/>
                  <a:pt x="893" y="55"/>
                </a:cubicBezTo>
                <a:cubicBezTo>
                  <a:pt x="893" y="55"/>
                  <a:pt x="894" y="56"/>
                  <a:pt x="894" y="56"/>
                </a:cubicBezTo>
                <a:cubicBezTo>
                  <a:pt x="895" y="56"/>
                  <a:pt x="895" y="56"/>
                  <a:pt x="896" y="56"/>
                </a:cubicBezTo>
                <a:cubicBezTo>
                  <a:pt x="896" y="56"/>
                  <a:pt x="898" y="56"/>
                  <a:pt x="898" y="56"/>
                </a:cubicBezTo>
                <a:cubicBezTo>
                  <a:pt x="899" y="56"/>
                  <a:pt x="898" y="57"/>
                  <a:pt x="897" y="57"/>
                </a:cubicBezTo>
                <a:cubicBezTo>
                  <a:pt x="896" y="57"/>
                  <a:pt x="894" y="57"/>
                  <a:pt x="893" y="57"/>
                </a:cubicBezTo>
                <a:cubicBezTo>
                  <a:pt x="891" y="58"/>
                  <a:pt x="890" y="57"/>
                  <a:pt x="889" y="57"/>
                </a:cubicBezTo>
                <a:cubicBezTo>
                  <a:pt x="888" y="58"/>
                  <a:pt x="888" y="57"/>
                  <a:pt x="887" y="58"/>
                </a:cubicBezTo>
                <a:cubicBezTo>
                  <a:pt x="887" y="58"/>
                  <a:pt x="887" y="58"/>
                  <a:pt x="887" y="59"/>
                </a:cubicBezTo>
                <a:cubicBezTo>
                  <a:pt x="886" y="58"/>
                  <a:pt x="886" y="58"/>
                  <a:pt x="885" y="58"/>
                </a:cubicBezTo>
                <a:cubicBezTo>
                  <a:pt x="885" y="58"/>
                  <a:pt x="885" y="58"/>
                  <a:pt x="885" y="58"/>
                </a:cubicBezTo>
                <a:cubicBezTo>
                  <a:pt x="884" y="57"/>
                  <a:pt x="884" y="57"/>
                  <a:pt x="883" y="57"/>
                </a:cubicBezTo>
                <a:cubicBezTo>
                  <a:pt x="883" y="58"/>
                  <a:pt x="883" y="58"/>
                  <a:pt x="883" y="58"/>
                </a:cubicBezTo>
                <a:cubicBezTo>
                  <a:pt x="882" y="58"/>
                  <a:pt x="882" y="58"/>
                  <a:pt x="881" y="58"/>
                </a:cubicBezTo>
                <a:cubicBezTo>
                  <a:pt x="881" y="59"/>
                  <a:pt x="881" y="60"/>
                  <a:pt x="882" y="61"/>
                </a:cubicBezTo>
                <a:cubicBezTo>
                  <a:pt x="882" y="62"/>
                  <a:pt x="882" y="62"/>
                  <a:pt x="883" y="62"/>
                </a:cubicBezTo>
                <a:cubicBezTo>
                  <a:pt x="883" y="61"/>
                  <a:pt x="883" y="61"/>
                  <a:pt x="884" y="61"/>
                </a:cubicBezTo>
                <a:cubicBezTo>
                  <a:pt x="884" y="62"/>
                  <a:pt x="886" y="61"/>
                  <a:pt x="887" y="61"/>
                </a:cubicBezTo>
                <a:cubicBezTo>
                  <a:pt x="888" y="61"/>
                  <a:pt x="890" y="61"/>
                  <a:pt x="891" y="61"/>
                </a:cubicBezTo>
                <a:cubicBezTo>
                  <a:pt x="892" y="61"/>
                  <a:pt x="891" y="61"/>
                  <a:pt x="891" y="61"/>
                </a:cubicBezTo>
                <a:cubicBezTo>
                  <a:pt x="890" y="61"/>
                  <a:pt x="890" y="61"/>
                  <a:pt x="889" y="61"/>
                </a:cubicBezTo>
                <a:cubicBezTo>
                  <a:pt x="889" y="61"/>
                  <a:pt x="889" y="62"/>
                  <a:pt x="889" y="62"/>
                </a:cubicBezTo>
                <a:cubicBezTo>
                  <a:pt x="888" y="62"/>
                  <a:pt x="888" y="62"/>
                  <a:pt x="888" y="62"/>
                </a:cubicBezTo>
                <a:cubicBezTo>
                  <a:pt x="887" y="63"/>
                  <a:pt x="888" y="65"/>
                  <a:pt x="889" y="65"/>
                </a:cubicBezTo>
                <a:cubicBezTo>
                  <a:pt x="889" y="65"/>
                  <a:pt x="886" y="65"/>
                  <a:pt x="886" y="64"/>
                </a:cubicBezTo>
                <a:cubicBezTo>
                  <a:pt x="886" y="64"/>
                  <a:pt x="885" y="65"/>
                  <a:pt x="885" y="65"/>
                </a:cubicBezTo>
                <a:cubicBezTo>
                  <a:pt x="885" y="64"/>
                  <a:pt x="883" y="64"/>
                  <a:pt x="883" y="64"/>
                </a:cubicBezTo>
                <a:cubicBezTo>
                  <a:pt x="882" y="64"/>
                  <a:pt x="882" y="65"/>
                  <a:pt x="883" y="66"/>
                </a:cubicBezTo>
                <a:cubicBezTo>
                  <a:pt x="883" y="66"/>
                  <a:pt x="883" y="68"/>
                  <a:pt x="883" y="68"/>
                </a:cubicBezTo>
                <a:cubicBezTo>
                  <a:pt x="884" y="68"/>
                  <a:pt x="883" y="68"/>
                  <a:pt x="883" y="68"/>
                </a:cubicBezTo>
                <a:cubicBezTo>
                  <a:pt x="884" y="68"/>
                  <a:pt x="885" y="68"/>
                  <a:pt x="886" y="68"/>
                </a:cubicBezTo>
                <a:cubicBezTo>
                  <a:pt x="887" y="68"/>
                  <a:pt x="887" y="69"/>
                  <a:pt x="888" y="69"/>
                </a:cubicBezTo>
                <a:cubicBezTo>
                  <a:pt x="888" y="69"/>
                  <a:pt x="888" y="70"/>
                  <a:pt x="889" y="70"/>
                </a:cubicBezTo>
                <a:cubicBezTo>
                  <a:pt x="890" y="70"/>
                  <a:pt x="890" y="71"/>
                  <a:pt x="891" y="71"/>
                </a:cubicBezTo>
                <a:cubicBezTo>
                  <a:pt x="891" y="71"/>
                  <a:pt x="892" y="71"/>
                  <a:pt x="892" y="70"/>
                </a:cubicBezTo>
                <a:cubicBezTo>
                  <a:pt x="893" y="70"/>
                  <a:pt x="893" y="71"/>
                  <a:pt x="893" y="72"/>
                </a:cubicBezTo>
                <a:cubicBezTo>
                  <a:pt x="893" y="72"/>
                  <a:pt x="894" y="74"/>
                  <a:pt x="894" y="74"/>
                </a:cubicBezTo>
                <a:cubicBezTo>
                  <a:pt x="894" y="75"/>
                  <a:pt x="895" y="75"/>
                  <a:pt x="895" y="74"/>
                </a:cubicBezTo>
                <a:cubicBezTo>
                  <a:pt x="895" y="73"/>
                  <a:pt x="895" y="73"/>
                  <a:pt x="896" y="74"/>
                </a:cubicBezTo>
                <a:cubicBezTo>
                  <a:pt x="896" y="73"/>
                  <a:pt x="898" y="74"/>
                  <a:pt x="897" y="72"/>
                </a:cubicBezTo>
                <a:cubicBezTo>
                  <a:pt x="897" y="72"/>
                  <a:pt x="897" y="71"/>
                  <a:pt x="897" y="71"/>
                </a:cubicBezTo>
                <a:cubicBezTo>
                  <a:pt x="896" y="70"/>
                  <a:pt x="897" y="70"/>
                  <a:pt x="898" y="70"/>
                </a:cubicBezTo>
                <a:cubicBezTo>
                  <a:pt x="898" y="70"/>
                  <a:pt x="900" y="70"/>
                  <a:pt x="901" y="70"/>
                </a:cubicBezTo>
                <a:cubicBezTo>
                  <a:pt x="901" y="70"/>
                  <a:pt x="902" y="68"/>
                  <a:pt x="902" y="68"/>
                </a:cubicBezTo>
                <a:cubicBezTo>
                  <a:pt x="903" y="68"/>
                  <a:pt x="903" y="67"/>
                  <a:pt x="903" y="67"/>
                </a:cubicBezTo>
                <a:cubicBezTo>
                  <a:pt x="903" y="66"/>
                  <a:pt x="903" y="66"/>
                  <a:pt x="904" y="66"/>
                </a:cubicBezTo>
                <a:cubicBezTo>
                  <a:pt x="906" y="66"/>
                  <a:pt x="906" y="65"/>
                  <a:pt x="906" y="63"/>
                </a:cubicBezTo>
                <a:cubicBezTo>
                  <a:pt x="906" y="62"/>
                  <a:pt x="907" y="62"/>
                  <a:pt x="908" y="62"/>
                </a:cubicBezTo>
                <a:cubicBezTo>
                  <a:pt x="908" y="62"/>
                  <a:pt x="908" y="62"/>
                  <a:pt x="908" y="62"/>
                </a:cubicBezTo>
                <a:cubicBezTo>
                  <a:pt x="908" y="62"/>
                  <a:pt x="908" y="61"/>
                  <a:pt x="908" y="61"/>
                </a:cubicBezTo>
                <a:cubicBezTo>
                  <a:pt x="908" y="61"/>
                  <a:pt x="908" y="61"/>
                  <a:pt x="908" y="60"/>
                </a:cubicBezTo>
                <a:cubicBezTo>
                  <a:pt x="908" y="60"/>
                  <a:pt x="908" y="59"/>
                  <a:pt x="907" y="59"/>
                </a:cubicBezTo>
                <a:cubicBezTo>
                  <a:pt x="907" y="58"/>
                  <a:pt x="907" y="57"/>
                  <a:pt x="908" y="57"/>
                </a:cubicBezTo>
                <a:cubicBezTo>
                  <a:pt x="909" y="56"/>
                  <a:pt x="909" y="56"/>
                  <a:pt x="910" y="56"/>
                </a:cubicBezTo>
                <a:cubicBezTo>
                  <a:pt x="911" y="55"/>
                  <a:pt x="913" y="55"/>
                  <a:pt x="915" y="55"/>
                </a:cubicBezTo>
                <a:cubicBezTo>
                  <a:pt x="915" y="53"/>
                  <a:pt x="914" y="53"/>
                  <a:pt x="912" y="53"/>
                </a:cubicBezTo>
                <a:cubicBezTo>
                  <a:pt x="911" y="53"/>
                  <a:pt x="911" y="52"/>
                  <a:pt x="910" y="52"/>
                </a:cubicBezTo>
                <a:cubicBezTo>
                  <a:pt x="909" y="52"/>
                  <a:pt x="907" y="51"/>
                  <a:pt x="907" y="50"/>
                </a:cubicBezTo>
                <a:cubicBezTo>
                  <a:pt x="907" y="49"/>
                  <a:pt x="906" y="48"/>
                  <a:pt x="906" y="46"/>
                </a:cubicBezTo>
                <a:cubicBezTo>
                  <a:pt x="905" y="46"/>
                  <a:pt x="905" y="46"/>
                  <a:pt x="905" y="47"/>
                </a:cubicBezTo>
                <a:cubicBezTo>
                  <a:pt x="905" y="47"/>
                  <a:pt x="904" y="47"/>
                  <a:pt x="904" y="47"/>
                </a:cubicBezTo>
                <a:cubicBezTo>
                  <a:pt x="904" y="48"/>
                  <a:pt x="904" y="47"/>
                  <a:pt x="904" y="47"/>
                </a:cubicBezTo>
                <a:cubicBezTo>
                  <a:pt x="903" y="46"/>
                  <a:pt x="903" y="46"/>
                  <a:pt x="904" y="45"/>
                </a:cubicBezTo>
                <a:cubicBezTo>
                  <a:pt x="904" y="45"/>
                  <a:pt x="904" y="46"/>
                  <a:pt x="904" y="45"/>
                </a:cubicBezTo>
                <a:cubicBezTo>
                  <a:pt x="904" y="44"/>
                  <a:pt x="904" y="43"/>
                  <a:pt x="903" y="43"/>
                </a:cubicBezTo>
                <a:cubicBezTo>
                  <a:pt x="902" y="43"/>
                  <a:pt x="902" y="42"/>
                  <a:pt x="901" y="42"/>
                </a:cubicBezTo>
                <a:cubicBezTo>
                  <a:pt x="900" y="42"/>
                  <a:pt x="901" y="41"/>
                  <a:pt x="900" y="40"/>
                </a:cubicBezTo>
                <a:cubicBezTo>
                  <a:pt x="900" y="40"/>
                  <a:pt x="900" y="40"/>
                  <a:pt x="900" y="40"/>
                </a:cubicBezTo>
                <a:cubicBezTo>
                  <a:pt x="899" y="40"/>
                  <a:pt x="899" y="40"/>
                  <a:pt x="899" y="40"/>
                </a:cubicBezTo>
                <a:cubicBezTo>
                  <a:pt x="898" y="41"/>
                  <a:pt x="898" y="41"/>
                  <a:pt x="897" y="41"/>
                </a:cubicBezTo>
                <a:cubicBezTo>
                  <a:pt x="897" y="41"/>
                  <a:pt x="896" y="39"/>
                  <a:pt x="896" y="38"/>
                </a:cubicBezTo>
                <a:cubicBezTo>
                  <a:pt x="895" y="38"/>
                  <a:pt x="895" y="39"/>
                  <a:pt x="895" y="39"/>
                </a:cubicBezTo>
                <a:cubicBezTo>
                  <a:pt x="894" y="40"/>
                  <a:pt x="894" y="40"/>
                  <a:pt x="893" y="40"/>
                </a:cubicBezTo>
                <a:cubicBezTo>
                  <a:pt x="893" y="41"/>
                  <a:pt x="892" y="42"/>
                  <a:pt x="891" y="42"/>
                </a:cubicBezTo>
                <a:cubicBezTo>
                  <a:pt x="890" y="42"/>
                  <a:pt x="891" y="44"/>
                  <a:pt x="891" y="45"/>
                </a:cubicBezTo>
                <a:cubicBezTo>
                  <a:pt x="891" y="46"/>
                  <a:pt x="891" y="47"/>
                  <a:pt x="891" y="47"/>
                </a:cubicBezTo>
                <a:cubicBezTo>
                  <a:pt x="892" y="47"/>
                  <a:pt x="892" y="47"/>
                  <a:pt x="892" y="47"/>
                </a:cubicBezTo>
                <a:cubicBezTo>
                  <a:pt x="892" y="48"/>
                  <a:pt x="892" y="48"/>
                  <a:pt x="892" y="48"/>
                </a:cubicBezTo>
                <a:cubicBezTo>
                  <a:pt x="892" y="48"/>
                  <a:pt x="892" y="49"/>
                  <a:pt x="893" y="50"/>
                </a:cubicBezTo>
                <a:cubicBezTo>
                  <a:pt x="893" y="50"/>
                  <a:pt x="893" y="50"/>
                  <a:pt x="893" y="51"/>
                </a:cubicBezTo>
                <a:cubicBezTo>
                  <a:pt x="893" y="51"/>
                  <a:pt x="892" y="50"/>
                  <a:pt x="892" y="50"/>
                </a:cubicBezTo>
                <a:cubicBezTo>
                  <a:pt x="892" y="50"/>
                  <a:pt x="892" y="49"/>
                  <a:pt x="892" y="49"/>
                </a:cubicBezTo>
                <a:cubicBezTo>
                  <a:pt x="891" y="48"/>
                  <a:pt x="891" y="48"/>
                  <a:pt x="891" y="48"/>
                </a:cubicBezTo>
                <a:cubicBezTo>
                  <a:pt x="891" y="48"/>
                  <a:pt x="891" y="48"/>
                  <a:pt x="891" y="48"/>
                </a:cubicBezTo>
                <a:cubicBezTo>
                  <a:pt x="891" y="48"/>
                  <a:pt x="891" y="47"/>
                  <a:pt x="891" y="47"/>
                </a:cubicBezTo>
                <a:cubicBezTo>
                  <a:pt x="890" y="47"/>
                  <a:pt x="890" y="46"/>
                  <a:pt x="889" y="46"/>
                </a:cubicBezTo>
                <a:cubicBezTo>
                  <a:pt x="888" y="45"/>
                  <a:pt x="889" y="45"/>
                  <a:pt x="889" y="44"/>
                </a:cubicBezTo>
                <a:cubicBezTo>
                  <a:pt x="888" y="44"/>
                  <a:pt x="887" y="43"/>
                  <a:pt x="887" y="42"/>
                </a:cubicBezTo>
                <a:cubicBezTo>
                  <a:pt x="887" y="41"/>
                  <a:pt x="886" y="42"/>
                  <a:pt x="885" y="42"/>
                </a:cubicBezTo>
                <a:cubicBezTo>
                  <a:pt x="884" y="43"/>
                  <a:pt x="883" y="45"/>
                  <a:pt x="884" y="46"/>
                </a:cubicBezTo>
                <a:cubicBezTo>
                  <a:pt x="883" y="46"/>
                  <a:pt x="883" y="46"/>
                  <a:pt x="883" y="45"/>
                </a:cubicBezTo>
                <a:cubicBezTo>
                  <a:pt x="882" y="45"/>
                  <a:pt x="883" y="45"/>
                  <a:pt x="882" y="45"/>
                </a:cubicBezTo>
                <a:cubicBezTo>
                  <a:pt x="881" y="45"/>
                  <a:pt x="882" y="44"/>
                  <a:pt x="881" y="44"/>
                </a:cubicBezTo>
                <a:cubicBezTo>
                  <a:pt x="880" y="43"/>
                  <a:pt x="879" y="43"/>
                  <a:pt x="881" y="43"/>
                </a:cubicBezTo>
                <a:cubicBezTo>
                  <a:pt x="881" y="42"/>
                  <a:pt x="883" y="43"/>
                  <a:pt x="883" y="42"/>
                </a:cubicBezTo>
                <a:cubicBezTo>
                  <a:pt x="883" y="41"/>
                  <a:pt x="883" y="41"/>
                  <a:pt x="883" y="41"/>
                </a:cubicBezTo>
                <a:cubicBezTo>
                  <a:pt x="882" y="41"/>
                  <a:pt x="881" y="41"/>
                  <a:pt x="881" y="41"/>
                </a:cubicBezTo>
                <a:cubicBezTo>
                  <a:pt x="881" y="40"/>
                  <a:pt x="880" y="41"/>
                  <a:pt x="880" y="41"/>
                </a:cubicBezTo>
                <a:cubicBezTo>
                  <a:pt x="880" y="41"/>
                  <a:pt x="878" y="41"/>
                  <a:pt x="878" y="41"/>
                </a:cubicBezTo>
                <a:cubicBezTo>
                  <a:pt x="878" y="41"/>
                  <a:pt x="878" y="41"/>
                  <a:pt x="877" y="41"/>
                </a:cubicBezTo>
                <a:cubicBezTo>
                  <a:pt x="877" y="41"/>
                  <a:pt x="876" y="43"/>
                  <a:pt x="876" y="42"/>
                </a:cubicBezTo>
                <a:cubicBezTo>
                  <a:pt x="875" y="41"/>
                  <a:pt x="875" y="41"/>
                  <a:pt x="874" y="42"/>
                </a:cubicBezTo>
                <a:cubicBezTo>
                  <a:pt x="874" y="43"/>
                  <a:pt x="874" y="44"/>
                  <a:pt x="874" y="45"/>
                </a:cubicBezTo>
                <a:cubicBezTo>
                  <a:pt x="875" y="45"/>
                  <a:pt x="875" y="45"/>
                  <a:pt x="875" y="44"/>
                </a:cubicBezTo>
                <a:close/>
                <a:moveTo>
                  <a:pt x="1074" y="38"/>
                </a:moveTo>
                <a:cubicBezTo>
                  <a:pt x="1074" y="38"/>
                  <a:pt x="1074" y="38"/>
                  <a:pt x="1074" y="38"/>
                </a:cubicBezTo>
                <a:cubicBezTo>
                  <a:pt x="1074" y="37"/>
                  <a:pt x="1074" y="37"/>
                  <a:pt x="1074" y="37"/>
                </a:cubicBezTo>
                <a:cubicBezTo>
                  <a:pt x="1074" y="37"/>
                  <a:pt x="1074" y="38"/>
                  <a:pt x="1074" y="38"/>
                </a:cubicBezTo>
                <a:close/>
                <a:moveTo>
                  <a:pt x="1078" y="37"/>
                </a:moveTo>
                <a:cubicBezTo>
                  <a:pt x="1080" y="38"/>
                  <a:pt x="1080" y="38"/>
                  <a:pt x="1080" y="36"/>
                </a:cubicBezTo>
                <a:cubicBezTo>
                  <a:pt x="1079" y="36"/>
                  <a:pt x="1078" y="36"/>
                  <a:pt x="1078" y="37"/>
                </a:cubicBezTo>
                <a:cubicBezTo>
                  <a:pt x="1079" y="38"/>
                  <a:pt x="1078" y="37"/>
                  <a:pt x="1078" y="37"/>
                </a:cubicBezTo>
                <a:close/>
                <a:moveTo>
                  <a:pt x="345" y="41"/>
                </a:moveTo>
                <a:cubicBezTo>
                  <a:pt x="345" y="41"/>
                  <a:pt x="346" y="40"/>
                  <a:pt x="346" y="41"/>
                </a:cubicBezTo>
                <a:cubicBezTo>
                  <a:pt x="346" y="42"/>
                  <a:pt x="347" y="42"/>
                  <a:pt x="348" y="42"/>
                </a:cubicBezTo>
                <a:cubicBezTo>
                  <a:pt x="348" y="41"/>
                  <a:pt x="347" y="40"/>
                  <a:pt x="347" y="39"/>
                </a:cubicBezTo>
                <a:cubicBezTo>
                  <a:pt x="346" y="39"/>
                  <a:pt x="345" y="36"/>
                  <a:pt x="346" y="36"/>
                </a:cubicBezTo>
                <a:cubicBezTo>
                  <a:pt x="345" y="36"/>
                  <a:pt x="344" y="36"/>
                  <a:pt x="344" y="37"/>
                </a:cubicBezTo>
                <a:cubicBezTo>
                  <a:pt x="344" y="37"/>
                  <a:pt x="343" y="38"/>
                  <a:pt x="344" y="38"/>
                </a:cubicBezTo>
                <a:cubicBezTo>
                  <a:pt x="344" y="39"/>
                  <a:pt x="344" y="40"/>
                  <a:pt x="345" y="41"/>
                </a:cubicBezTo>
                <a:cubicBezTo>
                  <a:pt x="345" y="41"/>
                  <a:pt x="345" y="41"/>
                  <a:pt x="345" y="41"/>
                </a:cubicBezTo>
                <a:close/>
                <a:moveTo>
                  <a:pt x="724" y="36"/>
                </a:moveTo>
                <a:cubicBezTo>
                  <a:pt x="724" y="37"/>
                  <a:pt x="724" y="37"/>
                  <a:pt x="724" y="37"/>
                </a:cubicBezTo>
                <a:cubicBezTo>
                  <a:pt x="724" y="37"/>
                  <a:pt x="725" y="37"/>
                  <a:pt x="725" y="37"/>
                </a:cubicBezTo>
                <a:cubicBezTo>
                  <a:pt x="726" y="37"/>
                  <a:pt x="725" y="37"/>
                  <a:pt x="726" y="37"/>
                </a:cubicBezTo>
                <a:cubicBezTo>
                  <a:pt x="726" y="37"/>
                  <a:pt x="725" y="36"/>
                  <a:pt x="724" y="36"/>
                </a:cubicBezTo>
                <a:cubicBezTo>
                  <a:pt x="724" y="37"/>
                  <a:pt x="724" y="36"/>
                  <a:pt x="724" y="36"/>
                </a:cubicBezTo>
                <a:close/>
                <a:moveTo>
                  <a:pt x="1090" y="36"/>
                </a:moveTo>
                <a:cubicBezTo>
                  <a:pt x="1090" y="36"/>
                  <a:pt x="1087" y="36"/>
                  <a:pt x="1087" y="36"/>
                </a:cubicBezTo>
                <a:cubicBezTo>
                  <a:pt x="1087" y="37"/>
                  <a:pt x="1085" y="36"/>
                  <a:pt x="1085" y="37"/>
                </a:cubicBezTo>
                <a:cubicBezTo>
                  <a:pt x="1085" y="37"/>
                  <a:pt x="1085" y="37"/>
                  <a:pt x="1085" y="37"/>
                </a:cubicBezTo>
                <a:cubicBezTo>
                  <a:pt x="1085" y="38"/>
                  <a:pt x="1085" y="38"/>
                  <a:pt x="1085" y="39"/>
                </a:cubicBezTo>
                <a:cubicBezTo>
                  <a:pt x="1086" y="39"/>
                  <a:pt x="1087" y="39"/>
                  <a:pt x="1088" y="39"/>
                </a:cubicBezTo>
                <a:cubicBezTo>
                  <a:pt x="1088" y="39"/>
                  <a:pt x="1088" y="40"/>
                  <a:pt x="1088" y="40"/>
                </a:cubicBezTo>
                <a:cubicBezTo>
                  <a:pt x="1089" y="40"/>
                  <a:pt x="1089" y="40"/>
                  <a:pt x="1089" y="40"/>
                </a:cubicBezTo>
                <a:cubicBezTo>
                  <a:pt x="1090" y="40"/>
                  <a:pt x="1090" y="39"/>
                  <a:pt x="1090" y="39"/>
                </a:cubicBezTo>
                <a:cubicBezTo>
                  <a:pt x="1090" y="39"/>
                  <a:pt x="1089" y="38"/>
                  <a:pt x="1089" y="38"/>
                </a:cubicBezTo>
                <a:cubicBezTo>
                  <a:pt x="1090" y="38"/>
                  <a:pt x="1090" y="37"/>
                  <a:pt x="1091" y="37"/>
                </a:cubicBezTo>
                <a:cubicBezTo>
                  <a:pt x="1091" y="37"/>
                  <a:pt x="1090" y="36"/>
                  <a:pt x="1090" y="36"/>
                </a:cubicBezTo>
                <a:close/>
                <a:moveTo>
                  <a:pt x="1070" y="38"/>
                </a:moveTo>
                <a:cubicBezTo>
                  <a:pt x="1071" y="38"/>
                  <a:pt x="1072" y="38"/>
                  <a:pt x="1072" y="38"/>
                </a:cubicBezTo>
                <a:cubicBezTo>
                  <a:pt x="1072" y="38"/>
                  <a:pt x="1072" y="37"/>
                  <a:pt x="1072" y="37"/>
                </a:cubicBezTo>
                <a:cubicBezTo>
                  <a:pt x="1073" y="36"/>
                  <a:pt x="1072" y="36"/>
                  <a:pt x="1072" y="36"/>
                </a:cubicBezTo>
                <a:cubicBezTo>
                  <a:pt x="1071" y="36"/>
                  <a:pt x="1071" y="35"/>
                  <a:pt x="1070" y="35"/>
                </a:cubicBezTo>
                <a:cubicBezTo>
                  <a:pt x="1069" y="35"/>
                  <a:pt x="1069" y="35"/>
                  <a:pt x="1068" y="36"/>
                </a:cubicBezTo>
                <a:cubicBezTo>
                  <a:pt x="1068" y="36"/>
                  <a:pt x="1069" y="36"/>
                  <a:pt x="1068" y="36"/>
                </a:cubicBezTo>
                <a:cubicBezTo>
                  <a:pt x="1068" y="36"/>
                  <a:pt x="1067" y="36"/>
                  <a:pt x="1066" y="36"/>
                </a:cubicBezTo>
                <a:cubicBezTo>
                  <a:pt x="1065" y="37"/>
                  <a:pt x="1069" y="38"/>
                  <a:pt x="1070" y="38"/>
                </a:cubicBezTo>
                <a:cubicBezTo>
                  <a:pt x="1071" y="38"/>
                  <a:pt x="1070" y="38"/>
                  <a:pt x="1070" y="38"/>
                </a:cubicBezTo>
                <a:close/>
                <a:moveTo>
                  <a:pt x="926" y="36"/>
                </a:moveTo>
                <a:cubicBezTo>
                  <a:pt x="926" y="35"/>
                  <a:pt x="926" y="35"/>
                  <a:pt x="925" y="35"/>
                </a:cubicBezTo>
                <a:cubicBezTo>
                  <a:pt x="925" y="36"/>
                  <a:pt x="925" y="36"/>
                  <a:pt x="926" y="36"/>
                </a:cubicBezTo>
                <a:cubicBezTo>
                  <a:pt x="926" y="35"/>
                  <a:pt x="926" y="36"/>
                  <a:pt x="926" y="36"/>
                </a:cubicBezTo>
                <a:close/>
                <a:moveTo>
                  <a:pt x="1094" y="39"/>
                </a:moveTo>
                <a:cubicBezTo>
                  <a:pt x="1095" y="38"/>
                  <a:pt x="1095" y="37"/>
                  <a:pt x="1097" y="36"/>
                </a:cubicBezTo>
                <a:cubicBezTo>
                  <a:pt x="1097" y="36"/>
                  <a:pt x="1098" y="36"/>
                  <a:pt x="1098" y="36"/>
                </a:cubicBezTo>
                <a:cubicBezTo>
                  <a:pt x="1098" y="35"/>
                  <a:pt x="1096" y="35"/>
                  <a:pt x="1095" y="35"/>
                </a:cubicBezTo>
                <a:cubicBezTo>
                  <a:pt x="1094" y="35"/>
                  <a:pt x="1093" y="35"/>
                  <a:pt x="1093" y="34"/>
                </a:cubicBezTo>
                <a:cubicBezTo>
                  <a:pt x="1092" y="34"/>
                  <a:pt x="1092" y="34"/>
                  <a:pt x="1091" y="34"/>
                </a:cubicBezTo>
                <a:cubicBezTo>
                  <a:pt x="1091" y="35"/>
                  <a:pt x="1091" y="35"/>
                  <a:pt x="1092" y="36"/>
                </a:cubicBezTo>
                <a:cubicBezTo>
                  <a:pt x="1092" y="37"/>
                  <a:pt x="1091" y="38"/>
                  <a:pt x="1092" y="38"/>
                </a:cubicBezTo>
                <a:cubicBezTo>
                  <a:pt x="1093" y="38"/>
                  <a:pt x="1093" y="38"/>
                  <a:pt x="1094" y="39"/>
                </a:cubicBezTo>
                <a:cubicBezTo>
                  <a:pt x="1095" y="38"/>
                  <a:pt x="1094" y="39"/>
                  <a:pt x="1094" y="39"/>
                </a:cubicBezTo>
                <a:close/>
                <a:moveTo>
                  <a:pt x="1074" y="35"/>
                </a:moveTo>
                <a:cubicBezTo>
                  <a:pt x="1075" y="34"/>
                  <a:pt x="1075" y="34"/>
                  <a:pt x="1075" y="34"/>
                </a:cubicBezTo>
                <a:cubicBezTo>
                  <a:pt x="1074" y="34"/>
                  <a:pt x="1073" y="33"/>
                  <a:pt x="1073" y="34"/>
                </a:cubicBezTo>
                <a:cubicBezTo>
                  <a:pt x="1073" y="35"/>
                  <a:pt x="1073" y="35"/>
                  <a:pt x="1074" y="35"/>
                </a:cubicBezTo>
                <a:cubicBezTo>
                  <a:pt x="1075" y="34"/>
                  <a:pt x="1074" y="35"/>
                  <a:pt x="1074" y="35"/>
                </a:cubicBezTo>
                <a:close/>
                <a:moveTo>
                  <a:pt x="905" y="39"/>
                </a:moveTo>
                <a:cubicBezTo>
                  <a:pt x="906" y="39"/>
                  <a:pt x="906" y="38"/>
                  <a:pt x="906" y="38"/>
                </a:cubicBezTo>
                <a:cubicBezTo>
                  <a:pt x="906" y="39"/>
                  <a:pt x="906" y="39"/>
                  <a:pt x="906" y="39"/>
                </a:cubicBezTo>
                <a:cubicBezTo>
                  <a:pt x="907" y="39"/>
                  <a:pt x="907" y="39"/>
                  <a:pt x="907" y="39"/>
                </a:cubicBezTo>
                <a:cubicBezTo>
                  <a:pt x="908" y="39"/>
                  <a:pt x="907" y="39"/>
                  <a:pt x="908" y="39"/>
                </a:cubicBezTo>
                <a:cubicBezTo>
                  <a:pt x="908" y="39"/>
                  <a:pt x="909" y="39"/>
                  <a:pt x="909" y="39"/>
                </a:cubicBezTo>
                <a:cubicBezTo>
                  <a:pt x="909" y="40"/>
                  <a:pt x="909" y="40"/>
                  <a:pt x="909" y="41"/>
                </a:cubicBezTo>
                <a:cubicBezTo>
                  <a:pt x="908" y="41"/>
                  <a:pt x="907" y="41"/>
                  <a:pt x="906" y="41"/>
                </a:cubicBezTo>
                <a:cubicBezTo>
                  <a:pt x="907" y="42"/>
                  <a:pt x="907" y="42"/>
                  <a:pt x="907" y="43"/>
                </a:cubicBezTo>
                <a:cubicBezTo>
                  <a:pt x="907" y="43"/>
                  <a:pt x="908" y="43"/>
                  <a:pt x="908" y="43"/>
                </a:cubicBezTo>
                <a:cubicBezTo>
                  <a:pt x="909" y="43"/>
                  <a:pt x="908" y="44"/>
                  <a:pt x="909" y="44"/>
                </a:cubicBezTo>
                <a:cubicBezTo>
                  <a:pt x="909" y="44"/>
                  <a:pt x="909" y="44"/>
                  <a:pt x="909" y="44"/>
                </a:cubicBezTo>
                <a:cubicBezTo>
                  <a:pt x="911" y="44"/>
                  <a:pt x="912" y="44"/>
                  <a:pt x="913" y="43"/>
                </a:cubicBezTo>
                <a:cubicBezTo>
                  <a:pt x="914" y="43"/>
                  <a:pt x="916" y="43"/>
                  <a:pt x="917" y="43"/>
                </a:cubicBezTo>
                <a:cubicBezTo>
                  <a:pt x="918" y="43"/>
                  <a:pt x="920" y="43"/>
                  <a:pt x="919" y="44"/>
                </a:cubicBezTo>
                <a:cubicBezTo>
                  <a:pt x="919" y="44"/>
                  <a:pt x="920" y="44"/>
                  <a:pt x="919" y="44"/>
                </a:cubicBezTo>
                <a:cubicBezTo>
                  <a:pt x="918" y="44"/>
                  <a:pt x="918" y="44"/>
                  <a:pt x="918" y="44"/>
                </a:cubicBezTo>
                <a:cubicBezTo>
                  <a:pt x="917" y="44"/>
                  <a:pt x="918" y="45"/>
                  <a:pt x="917" y="45"/>
                </a:cubicBezTo>
                <a:cubicBezTo>
                  <a:pt x="917" y="45"/>
                  <a:pt x="917" y="45"/>
                  <a:pt x="916" y="45"/>
                </a:cubicBezTo>
                <a:cubicBezTo>
                  <a:pt x="916" y="45"/>
                  <a:pt x="915" y="45"/>
                  <a:pt x="914" y="45"/>
                </a:cubicBezTo>
                <a:cubicBezTo>
                  <a:pt x="914" y="45"/>
                  <a:pt x="914" y="45"/>
                  <a:pt x="915" y="46"/>
                </a:cubicBezTo>
                <a:cubicBezTo>
                  <a:pt x="913" y="46"/>
                  <a:pt x="912" y="45"/>
                  <a:pt x="911" y="45"/>
                </a:cubicBezTo>
                <a:cubicBezTo>
                  <a:pt x="911" y="45"/>
                  <a:pt x="910" y="45"/>
                  <a:pt x="911" y="46"/>
                </a:cubicBezTo>
                <a:cubicBezTo>
                  <a:pt x="911" y="47"/>
                  <a:pt x="911" y="47"/>
                  <a:pt x="911" y="47"/>
                </a:cubicBezTo>
                <a:cubicBezTo>
                  <a:pt x="912" y="47"/>
                  <a:pt x="913" y="48"/>
                  <a:pt x="913" y="48"/>
                </a:cubicBezTo>
                <a:cubicBezTo>
                  <a:pt x="913" y="48"/>
                  <a:pt x="915" y="47"/>
                  <a:pt x="915" y="48"/>
                </a:cubicBezTo>
                <a:cubicBezTo>
                  <a:pt x="916" y="48"/>
                  <a:pt x="917" y="48"/>
                  <a:pt x="918" y="47"/>
                </a:cubicBezTo>
                <a:cubicBezTo>
                  <a:pt x="918" y="48"/>
                  <a:pt x="918" y="48"/>
                  <a:pt x="918" y="48"/>
                </a:cubicBezTo>
                <a:cubicBezTo>
                  <a:pt x="919" y="48"/>
                  <a:pt x="918" y="48"/>
                  <a:pt x="919" y="48"/>
                </a:cubicBezTo>
                <a:cubicBezTo>
                  <a:pt x="920" y="48"/>
                  <a:pt x="921" y="48"/>
                  <a:pt x="922" y="48"/>
                </a:cubicBezTo>
                <a:cubicBezTo>
                  <a:pt x="922" y="48"/>
                  <a:pt x="922" y="49"/>
                  <a:pt x="923" y="49"/>
                </a:cubicBezTo>
                <a:cubicBezTo>
                  <a:pt x="923" y="49"/>
                  <a:pt x="923" y="49"/>
                  <a:pt x="923" y="49"/>
                </a:cubicBezTo>
                <a:cubicBezTo>
                  <a:pt x="924" y="49"/>
                  <a:pt x="925" y="49"/>
                  <a:pt x="926" y="49"/>
                </a:cubicBezTo>
                <a:cubicBezTo>
                  <a:pt x="926" y="49"/>
                  <a:pt x="926" y="50"/>
                  <a:pt x="926" y="50"/>
                </a:cubicBezTo>
                <a:cubicBezTo>
                  <a:pt x="927" y="50"/>
                  <a:pt x="927" y="49"/>
                  <a:pt x="927" y="50"/>
                </a:cubicBezTo>
                <a:cubicBezTo>
                  <a:pt x="927" y="50"/>
                  <a:pt x="931" y="50"/>
                  <a:pt x="931" y="50"/>
                </a:cubicBezTo>
                <a:cubicBezTo>
                  <a:pt x="932" y="50"/>
                  <a:pt x="933" y="50"/>
                  <a:pt x="935" y="50"/>
                </a:cubicBezTo>
                <a:cubicBezTo>
                  <a:pt x="935" y="50"/>
                  <a:pt x="936" y="50"/>
                  <a:pt x="937" y="50"/>
                </a:cubicBezTo>
                <a:cubicBezTo>
                  <a:pt x="938" y="50"/>
                  <a:pt x="938" y="49"/>
                  <a:pt x="938" y="49"/>
                </a:cubicBezTo>
                <a:cubicBezTo>
                  <a:pt x="938" y="49"/>
                  <a:pt x="938" y="48"/>
                  <a:pt x="938" y="47"/>
                </a:cubicBezTo>
                <a:cubicBezTo>
                  <a:pt x="940" y="47"/>
                  <a:pt x="943" y="47"/>
                  <a:pt x="944" y="45"/>
                </a:cubicBezTo>
                <a:cubicBezTo>
                  <a:pt x="943" y="46"/>
                  <a:pt x="943" y="45"/>
                  <a:pt x="943" y="44"/>
                </a:cubicBezTo>
                <a:cubicBezTo>
                  <a:pt x="943" y="44"/>
                  <a:pt x="945" y="44"/>
                  <a:pt x="945" y="44"/>
                </a:cubicBezTo>
                <a:cubicBezTo>
                  <a:pt x="946" y="44"/>
                  <a:pt x="946" y="44"/>
                  <a:pt x="946" y="44"/>
                </a:cubicBezTo>
                <a:cubicBezTo>
                  <a:pt x="946" y="43"/>
                  <a:pt x="947" y="42"/>
                  <a:pt x="948" y="42"/>
                </a:cubicBezTo>
                <a:cubicBezTo>
                  <a:pt x="948" y="41"/>
                  <a:pt x="948" y="41"/>
                  <a:pt x="948" y="41"/>
                </a:cubicBezTo>
                <a:cubicBezTo>
                  <a:pt x="948" y="41"/>
                  <a:pt x="948" y="41"/>
                  <a:pt x="948" y="41"/>
                </a:cubicBezTo>
                <a:cubicBezTo>
                  <a:pt x="949" y="40"/>
                  <a:pt x="949" y="40"/>
                  <a:pt x="949" y="39"/>
                </a:cubicBezTo>
                <a:cubicBezTo>
                  <a:pt x="948" y="39"/>
                  <a:pt x="948" y="39"/>
                  <a:pt x="947" y="39"/>
                </a:cubicBezTo>
                <a:cubicBezTo>
                  <a:pt x="947" y="39"/>
                  <a:pt x="947" y="40"/>
                  <a:pt x="946" y="40"/>
                </a:cubicBezTo>
                <a:cubicBezTo>
                  <a:pt x="947" y="39"/>
                  <a:pt x="943" y="39"/>
                  <a:pt x="942" y="38"/>
                </a:cubicBezTo>
                <a:cubicBezTo>
                  <a:pt x="942" y="38"/>
                  <a:pt x="942" y="37"/>
                  <a:pt x="942" y="37"/>
                </a:cubicBezTo>
                <a:cubicBezTo>
                  <a:pt x="942" y="37"/>
                  <a:pt x="941" y="37"/>
                  <a:pt x="941" y="38"/>
                </a:cubicBezTo>
                <a:cubicBezTo>
                  <a:pt x="940" y="39"/>
                  <a:pt x="939" y="39"/>
                  <a:pt x="938" y="39"/>
                </a:cubicBezTo>
                <a:cubicBezTo>
                  <a:pt x="939" y="38"/>
                  <a:pt x="939" y="37"/>
                  <a:pt x="939" y="36"/>
                </a:cubicBezTo>
                <a:cubicBezTo>
                  <a:pt x="939" y="37"/>
                  <a:pt x="937" y="37"/>
                  <a:pt x="937" y="38"/>
                </a:cubicBezTo>
                <a:cubicBezTo>
                  <a:pt x="936" y="39"/>
                  <a:pt x="935" y="39"/>
                  <a:pt x="934" y="40"/>
                </a:cubicBezTo>
                <a:cubicBezTo>
                  <a:pt x="933" y="39"/>
                  <a:pt x="934" y="39"/>
                  <a:pt x="934" y="38"/>
                </a:cubicBezTo>
                <a:cubicBezTo>
                  <a:pt x="935" y="38"/>
                  <a:pt x="934" y="37"/>
                  <a:pt x="934" y="36"/>
                </a:cubicBezTo>
                <a:cubicBezTo>
                  <a:pt x="933" y="35"/>
                  <a:pt x="933" y="34"/>
                  <a:pt x="933" y="36"/>
                </a:cubicBezTo>
                <a:cubicBezTo>
                  <a:pt x="933" y="36"/>
                  <a:pt x="932" y="38"/>
                  <a:pt x="932" y="38"/>
                </a:cubicBezTo>
                <a:cubicBezTo>
                  <a:pt x="932" y="38"/>
                  <a:pt x="931" y="38"/>
                  <a:pt x="931" y="38"/>
                </a:cubicBezTo>
                <a:cubicBezTo>
                  <a:pt x="931" y="38"/>
                  <a:pt x="931" y="37"/>
                  <a:pt x="931" y="37"/>
                </a:cubicBezTo>
                <a:cubicBezTo>
                  <a:pt x="931" y="37"/>
                  <a:pt x="931" y="37"/>
                  <a:pt x="931" y="37"/>
                </a:cubicBezTo>
                <a:cubicBezTo>
                  <a:pt x="931" y="36"/>
                  <a:pt x="931" y="37"/>
                  <a:pt x="931" y="38"/>
                </a:cubicBezTo>
                <a:cubicBezTo>
                  <a:pt x="931" y="39"/>
                  <a:pt x="929" y="39"/>
                  <a:pt x="929" y="40"/>
                </a:cubicBezTo>
                <a:cubicBezTo>
                  <a:pt x="928" y="40"/>
                  <a:pt x="928" y="39"/>
                  <a:pt x="927" y="39"/>
                </a:cubicBezTo>
                <a:cubicBezTo>
                  <a:pt x="927" y="39"/>
                  <a:pt x="927" y="39"/>
                  <a:pt x="927" y="39"/>
                </a:cubicBezTo>
                <a:cubicBezTo>
                  <a:pt x="927" y="39"/>
                  <a:pt x="926" y="39"/>
                  <a:pt x="926" y="39"/>
                </a:cubicBezTo>
                <a:cubicBezTo>
                  <a:pt x="926" y="39"/>
                  <a:pt x="926" y="38"/>
                  <a:pt x="926" y="38"/>
                </a:cubicBezTo>
                <a:cubicBezTo>
                  <a:pt x="926" y="38"/>
                  <a:pt x="926" y="38"/>
                  <a:pt x="925" y="38"/>
                </a:cubicBezTo>
                <a:cubicBezTo>
                  <a:pt x="924" y="38"/>
                  <a:pt x="924" y="37"/>
                  <a:pt x="923" y="37"/>
                </a:cubicBezTo>
                <a:cubicBezTo>
                  <a:pt x="922" y="37"/>
                  <a:pt x="921" y="38"/>
                  <a:pt x="920" y="36"/>
                </a:cubicBezTo>
                <a:cubicBezTo>
                  <a:pt x="920" y="36"/>
                  <a:pt x="919" y="36"/>
                  <a:pt x="919" y="36"/>
                </a:cubicBezTo>
                <a:cubicBezTo>
                  <a:pt x="919" y="36"/>
                  <a:pt x="918" y="35"/>
                  <a:pt x="918" y="35"/>
                </a:cubicBezTo>
                <a:cubicBezTo>
                  <a:pt x="917" y="35"/>
                  <a:pt x="918" y="34"/>
                  <a:pt x="917" y="34"/>
                </a:cubicBezTo>
                <a:cubicBezTo>
                  <a:pt x="917" y="34"/>
                  <a:pt x="916" y="34"/>
                  <a:pt x="916" y="35"/>
                </a:cubicBezTo>
                <a:cubicBezTo>
                  <a:pt x="915" y="34"/>
                  <a:pt x="915" y="34"/>
                  <a:pt x="914" y="33"/>
                </a:cubicBezTo>
                <a:cubicBezTo>
                  <a:pt x="914" y="33"/>
                  <a:pt x="913" y="33"/>
                  <a:pt x="913" y="33"/>
                </a:cubicBezTo>
                <a:cubicBezTo>
                  <a:pt x="913" y="35"/>
                  <a:pt x="913" y="35"/>
                  <a:pt x="914" y="35"/>
                </a:cubicBezTo>
                <a:cubicBezTo>
                  <a:pt x="913" y="37"/>
                  <a:pt x="911" y="36"/>
                  <a:pt x="911" y="37"/>
                </a:cubicBezTo>
                <a:cubicBezTo>
                  <a:pt x="911" y="38"/>
                  <a:pt x="912" y="39"/>
                  <a:pt x="911" y="39"/>
                </a:cubicBezTo>
                <a:cubicBezTo>
                  <a:pt x="910" y="39"/>
                  <a:pt x="909" y="39"/>
                  <a:pt x="909" y="38"/>
                </a:cubicBezTo>
                <a:cubicBezTo>
                  <a:pt x="909" y="38"/>
                  <a:pt x="905" y="37"/>
                  <a:pt x="904" y="37"/>
                </a:cubicBezTo>
                <a:cubicBezTo>
                  <a:pt x="904" y="38"/>
                  <a:pt x="904" y="38"/>
                  <a:pt x="905" y="39"/>
                </a:cubicBezTo>
                <a:close/>
                <a:moveTo>
                  <a:pt x="1072" y="33"/>
                </a:moveTo>
                <a:cubicBezTo>
                  <a:pt x="1072" y="33"/>
                  <a:pt x="1073" y="32"/>
                  <a:pt x="1072" y="33"/>
                </a:cubicBezTo>
                <a:cubicBezTo>
                  <a:pt x="1072" y="33"/>
                  <a:pt x="1072" y="33"/>
                  <a:pt x="1072" y="33"/>
                </a:cubicBezTo>
                <a:close/>
                <a:moveTo>
                  <a:pt x="1092" y="32"/>
                </a:moveTo>
                <a:cubicBezTo>
                  <a:pt x="1092" y="32"/>
                  <a:pt x="1092" y="32"/>
                  <a:pt x="1091" y="32"/>
                </a:cubicBezTo>
                <a:cubicBezTo>
                  <a:pt x="1092" y="32"/>
                  <a:pt x="1092" y="32"/>
                  <a:pt x="1092" y="32"/>
                </a:cubicBezTo>
                <a:close/>
                <a:moveTo>
                  <a:pt x="1055" y="33"/>
                </a:moveTo>
                <a:cubicBezTo>
                  <a:pt x="1056" y="34"/>
                  <a:pt x="1054" y="34"/>
                  <a:pt x="1053" y="34"/>
                </a:cubicBezTo>
                <a:cubicBezTo>
                  <a:pt x="1052" y="35"/>
                  <a:pt x="1051" y="36"/>
                  <a:pt x="1049" y="36"/>
                </a:cubicBezTo>
                <a:cubicBezTo>
                  <a:pt x="1048" y="36"/>
                  <a:pt x="1047" y="35"/>
                  <a:pt x="1046" y="35"/>
                </a:cubicBezTo>
                <a:cubicBezTo>
                  <a:pt x="1045" y="35"/>
                  <a:pt x="1044" y="35"/>
                  <a:pt x="1044" y="35"/>
                </a:cubicBezTo>
                <a:cubicBezTo>
                  <a:pt x="1043" y="35"/>
                  <a:pt x="1040" y="35"/>
                  <a:pt x="1040" y="36"/>
                </a:cubicBezTo>
                <a:cubicBezTo>
                  <a:pt x="1040" y="35"/>
                  <a:pt x="1042" y="36"/>
                  <a:pt x="1043" y="36"/>
                </a:cubicBezTo>
                <a:cubicBezTo>
                  <a:pt x="1042" y="37"/>
                  <a:pt x="1041" y="37"/>
                  <a:pt x="1041" y="38"/>
                </a:cubicBezTo>
                <a:cubicBezTo>
                  <a:pt x="1041" y="38"/>
                  <a:pt x="1042" y="39"/>
                  <a:pt x="1042" y="39"/>
                </a:cubicBezTo>
                <a:cubicBezTo>
                  <a:pt x="1043" y="39"/>
                  <a:pt x="1043" y="39"/>
                  <a:pt x="1044" y="39"/>
                </a:cubicBezTo>
                <a:cubicBezTo>
                  <a:pt x="1045" y="39"/>
                  <a:pt x="1044" y="39"/>
                  <a:pt x="1045" y="39"/>
                </a:cubicBezTo>
                <a:cubicBezTo>
                  <a:pt x="1045" y="40"/>
                  <a:pt x="1045" y="40"/>
                  <a:pt x="1045" y="40"/>
                </a:cubicBezTo>
                <a:cubicBezTo>
                  <a:pt x="1045" y="40"/>
                  <a:pt x="1046" y="40"/>
                  <a:pt x="1046" y="40"/>
                </a:cubicBezTo>
                <a:cubicBezTo>
                  <a:pt x="1046" y="39"/>
                  <a:pt x="1046" y="39"/>
                  <a:pt x="1047" y="39"/>
                </a:cubicBezTo>
                <a:cubicBezTo>
                  <a:pt x="1047" y="39"/>
                  <a:pt x="1048" y="40"/>
                  <a:pt x="1048" y="39"/>
                </a:cubicBezTo>
                <a:cubicBezTo>
                  <a:pt x="1048" y="39"/>
                  <a:pt x="1050" y="39"/>
                  <a:pt x="1050" y="39"/>
                </a:cubicBezTo>
                <a:cubicBezTo>
                  <a:pt x="1050" y="38"/>
                  <a:pt x="1050" y="38"/>
                  <a:pt x="1050" y="37"/>
                </a:cubicBezTo>
                <a:cubicBezTo>
                  <a:pt x="1052" y="37"/>
                  <a:pt x="1054" y="38"/>
                  <a:pt x="1056" y="38"/>
                </a:cubicBezTo>
                <a:cubicBezTo>
                  <a:pt x="1056" y="37"/>
                  <a:pt x="1055" y="36"/>
                  <a:pt x="1056" y="36"/>
                </a:cubicBezTo>
                <a:cubicBezTo>
                  <a:pt x="1057" y="36"/>
                  <a:pt x="1059" y="36"/>
                  <a:pt x="1060" y="36"/>
                </a:cubicBezTo>
                <a:cubicBezTo>
                  <a:pt x="1060" y="36"/>
                  <a:pt x="1061" y="36"/>
                  <a:pt x="1061" y="36"/>
                </a:cubicBezTo>
                <a:cubicBezTo>
                  <a:pt x="1061" y="35"/>
                  <a:pt x="1062" y="35"/>
                  <a:pt x="1062" y="34"/>
                </a:cubicBezTo>
                <a:cubicBezTo>
                  <a:pt x="1061" y="32"/>
                  <a:pt x="1060" y="34"/>
                  <a:pt x="1058" y="34"/>
                </a:cubicBezTo>
                <a:cubicBezTo>
                  <a:pt x="1059" y="33"/>
                  <a:pt x="1059" y="33"/>
                  <a:pt x="1059" y="32"/>
                </a:cubicBezTo>
                <a:cubicBezTo>
                  <a:pt x="1058" y="32"/>
                  <a:pt x="1057" y="32"/>
                  <a:pt x="1057" y="33"/>
                </a:cubicBezTo>
                <a:cubicBezTo>
                  <a:pt x="1057" y="31"/>
                  <a:pt x="1055" y="32"/>
                  <a:pt x="1054" y="32"/>
                </a:cubicBezTo>
                <a:cubicBezTo>
                  <a:pt x="1055" y="33"/>
                  <a:pt x="1055" y="33"/>
                  <a:pt x="1055" y="33"/>
                </a:cubicBezTo>
                <a:close/>
                <a:moveTo>
                  <a:pt x="1023" y="36"/>
                </a:moveTo>
                <a:cubicBezTo>
                  <a:pt x="1024" y="36"/>
                  <a:pt x="1026" y="37"/>
                  <a:pt x="1026" y="37"/>
                </a:cubicBezTo>
                <a:cubicBezTo>
                  <a:pt x="1026" y="37"/>
                  <a:pt x="1027" y="37"/>
                  <a:pt x="1028" y="36"/>
                </a:cubicBezTo>
                <a:cubicBezTo>
                  <a:pt x="1028" y="36"/>
                  <a:pt x="1030" y="36"/>
                  <a:pt x="1030" y="35"/>
                </a:cubicBezTo>
                <a:cubicBezTo>
                  <a:pt x="1031" y="35"/>
                  <a:pt x="1032" y="36"/>
                  <a:pt x="1033" y="37"/>
                </a:cubicBezTo>
                <a:cubicBezTo>
                  <a:pt x="1033" y="37"/>
                  <a:pt x="1034" y="37"/>
                  <a:pt x="1034" y="37"/>
                </a:cubicBezTo>
                <a:cubicBezTo>
                  <a:pt x="1034" y="37"/>
                  <a:pt x="1034" y="36"/>
                  <a:pt x="1034" y="36"/>
                </a:cubicBezTo>
                <a:cubicBezTo>
                  <a:pt x="1035" y="36"/>
                  <a:pt x="1036" y="36"/>
                  <a:pt x="1037" y="35"/>
                </a:cubicBezTo>
                <a:cubicBezTo>
                  <a:pt x="1037" y="34"/>
                  <a:pt x="1037" y="34"/>
                  <a:pt x="1038" y="34"/>
                </a:cubicBezTo>
                <a:cubicBezTo>
                  <a:pt x="1039" y="34"/>
                  <a:pt x="1040" y="34"/>
                  <a:pt x="1041" y="34"/>
                </a:cubicBezTo>
                <a:cubicBezTo>
                  <a:pt x="1041" y="33"/>
                  <a:pt x="1043" y="33"/>
                  <a:pt x="1044" y="33"/>
                </a:cubicBezTo>
                <a:cubicBezTo>
                  <a:pt x="1044" y="33"/>
                  <a:pt x="1044" y="33"/>
                  <a:pt x="1044" y="33"/>
                </a:cubicBezTo>
                <a:cubicBezTo>
                  <a:pt x="1044" y="34"/>
                  <a:pt x="1044" y="34"/>
                  <a:pt x="1044" y="34"/>
                </a:cubicBezTo>
                <a:cubicBezTo>
                  <a:pt x="1046" y="34"/>
                  <a:pt x="1047" y="34"/>
                  <a:pt x="1048" y="34"/>
                </a:cubicBezTo>
                <a:cubicBezTo>
                  <a:pt x="1048" y="34"/>
                  <a:pt x="1048" y="34"/>
                  <a:pt x="1048" y="34"/>
                </a:cubicBezTo>
                <a:cubicBezTo>
                  <a:pt x="1048" y="34"/>
                  <a:pt x="1048" y="34"/>
                  <a:pt x="1048" y="34"/>
                </a:cubicBezTo>
                <a:cubicBezTo>
                  <a:pt x="1049" y="34"/>
                  <a:pt x="1050" y="34"/>
                  <a:pt x="1051" y="34"/>
                </a:cubicBezTo>
                <a:cubicBezTo>
                  <a:pt x="1051" y="34"/>
                  <a:pt x="1051" y="34"/>
                  <a:pt x="1051" y="34"/>
                </a:cubicBezTo>
                <a:cubicBezTo>
                  <a:pt x="1050" y="33"/>
                  <a:pt x="1049" y="33"/>
                  <a:pt x="1049" y="33"/>
                </a:cubicBezTo>
                <a:cubicBezTo>
                  <a:pt x="1048" y="32"/>
                  <a:pt x="1048" y="32"/>
                  <a:pt x="1047" y="32"/>
                </a:cubicBezTo>
                <a:cubicBezTo>
                  <a:pt x="1047" y="32"/>
                  <a:pt x="1047" y="32"/>
                  <a:pt x="1046" y="32"/>
                </a:cubicBezTo>
                <a:cubicBezTo>
                  <a:pt x="1046" y="32"/>
                  <a:pt x="1045" y="32"/>
                  <a:pt x="1044" y="32"/>
                </a:cubicBezTo>
                <a:cubicBezTo>
                  <a:pt x="1044" y="32"/>
                  <a:pt x="1044" y="31"/>
                  <a:pt x="1044" y="31"/>
                </a:cubicBezTo>
                <a:cubicBezTo>
                  <a:pt x="1043" y="31"/>
                  <a:pt x="1043" y="31"/>
                  <a:pt x="1043" y="31"/>
                </a:cubicBezTo>
                <a:cubicBezTo>
                  <a:pt x="1042" y="31"/>
                  <a:pt x="1040" y="31"/>
                  <a:pt x="1038" y="31"/>
                </a:cubicBezTo>
                <a:cubicBezTo>
                  <a:pt x="1038" y="31"/>
                  <a:pt x="1038" y="31"/>
                  <a:pt x="1038" y="31"/>
                </a:cubicBezTo>
                <a:cubicBezTo>
                  <a:pt x="1036" y="31"/>
                  <a:pt x="1034" y="31"/>
                  <a:pt x="1032" y="31"/>
                </a:cubicBezTo>
                <a:cubicBezTo>
                  <a:pt x="1032" y="31"/>
                  <a:pt x="1032" y="31"/>
                  <a:pt x="1031" y="31"/>
                </a:cubicBezTo>
                <a:cubicBezTo>
                  <a:pt x="1031" y="31"/>
                  <a:pt x="1031" y="31"/>
                  <a:pt x="1031" y="31"/>
                </a:cubicBezTo>
                <a:cubicBezTo>
                  <a:pt x="1030" y="32"/>
                  <a:pt x="1030" y="32"/>
                  <a:pt x="1029" y="32"/>
                </a:cubicBezTo>
                <a:cubicBezTo>
                  <a:pt x="1028" y="32"/>
                  <a:pt x="1025" y="32"/>
                  <a:pt x="1025" y="33"/>
                </a:cubicBezTo>
                <a:cubicBezTo>
                  <a:pt x="1024" y="33"/>
                  <a:pt x="1024" y="33"/>
                  <a:pt x="1023" y="33"/>
                </a:cubicBezTo>
                <a:cubicBezTo>
                  <a:pt x="1023" y="33"/>
                  <a:pt x="1023" y="33"/>
                  <a:pt x="1022" y="33"/>
                </a:cubicBezTo>
                <a:cubicBezTo>
                  <a:pt x="1021" y="33"/>
                  <a:pt x="1021" y="34"/>
                  <a:pt x="1021" y="34"/>
                </a:cubicBezTo>
                <a:cubicBezTo>
                  <a:pt x="1020" y="34"/>
                  <a:pt x="1020" y="35"/>
                  <a:pt x="1020" y="36"/>
                </a:cubicBezTo>
                <a:cubicBezTo>
                  <a:pt x="1021" y="36"/>
                  <a:pt x="1022" y="36"/>
                  <a:pt x="1023" y="36"/>
                </a:cubicBezTo>
                <a:cubicBezTo>
                  <a:pt x="1023" y="36"/>
                  <a:pt x="1023" y="36"/>
                  <a:pt x="1023" y="36"/>
                </a:cubicBezTo>
                <a:close/>
                <a:moveTo>
                  <a:pt x="1102" y="37"/>
                </a:moveTo>
                <a:cubicBezTo>
                  <a:pt x="1103" y="37"/>
                  <a:pt x="1104" y="37"/>
                  <a:pt x="1106" y="37"/>
                </a:cubicBezTo>
                <a:cubicBezTo>
                  <a:pt x="1106" y="38"/>
                  <a:pt x="1107" y="38"/>
                  <a:pt x="1108" y="38"/>
                </a:cubicBezTo>
                <a:cubicBezTo>
                  <a:pt x="1109" y="37"/>
                  <a:pt x="1108" y="35"/>
                  <a:pt x="1108" y="34"/>
                </a:cubicBezTo>
                <a:cubicBezTo>
                  <a:pt x="1108" y="34"/>
                  <a:pt x="1111" y="35"/>
                  <a:pt x="1111" y="34"/>
                </a:cubicBezTo>
                <a:cubicBezTo>
                  <a:pt x="1111" y="33"/>
                  <a:pt x="1111" y="34"/>
                  <a:pt x="1111" y="33"/>
                </a:cubicBezTo>
                <a:cubicBezTo>
                  <a:pt x="1112" y="33"/>
                  <a:pt x="1113" y="34"/>
                  <a:pt x="1113" y="34"/>
                </a:cubicBezTo>
                <a:cubicBezTo>
                  <a:pt x="1113" y="33"/>
                  <a:pt x="1113" y="32"/>
                  <a:pt x="1113" y="32"/>
                </a:cubicBezTo>
                <a:cubicBezTo>
                  <a:pt x="1113" y="32"/>
                  <a:pt x="1111" y="30"/>
                  <a:pt x="1111" y="30"/>
                </a:cubicBezTo>
                <a:cubicBezTo>
                  <a:pt x="1111" y="30"/>
                  <a:pt x="1110" y="30"/>
                  <a:pt x="1110" y="31"/>
                </a:cubicBezTo>
                <a:cubicBezTo>
                  <a:pt x="1110" y="30"/>
                  <a:pt x="1110" y="29"/>
                  <a:pt x="1110" y="29"/>
                </a:cubicBezTo>
                <a:cubicBezTo>
                  <a:pt x="1109" y="29"/>
                  <a:pt x="1109" y="29"/>
                  <a:pt x="1108" y="29"/>
                </a:cubicBezTo>
                <a:cubicBezTo>
                  <a:pt x="1108" y="29"/>
                  <a:pt x="1106" y="30"/>
                  <a:pt x="1106" y="29"/>
                </a:cubicBezTo>
                <a:cubicBezTo>
                  <a:pt x="1106" y="29"/>
                  <a:pt x="1106" y="29"/>
                  <a:pt x="1106" y="29"/>
                </a:cubicBezTo>
                <a:cubicBezTo>
                  <a:pt x="1104" y="29"/>
                  <a:pt x="1104" y="30"/>
                  <a:pt x="1104" y="31"/>
                </a:cubicBezTo>
                <a:cubicBezTo>
                  <a:pt x="1104" y="31"/>
                  <a:pt x="1103" y="32"/>
                  <a:pt x="1103" y="32"/>
                </a:cubicBezTo>
                <a:cubicBezTo>
                  <a:pt x="1102" y="33"/>
                  <a:pt x="1102" y="33"/>
                  <a:pt x="1101" y="34"/>
                </a:cubicBezTo>
                <a:cubicBezTo>
                  <a:pt x="1101" y="34"/>
                  <a:pt x="1101" y="34"/>
                  <a:pt x="1101" y="34"/>
                </a:cubicBezTo>
                <a:cubicBezTo>
                  <a:pt x="1101" y="35"/>
                  <a:pt x="1101" y="35"/>
                  <a:pt x="1101" y="36"/>
                </a:cubicBezTo>
                <a:cubicBezTo>
                  <a:pt x="1101" y="36"/>
                  <a:pt x="1102" y="37"/>
                  <a:pt x="1102" y="37"/>
                </a:cubicBezTo>
                <a:cubicBezTo>
                  <a:pt x="1103" y="37"/>
                  <a:pt x="1102" y="37"/>
                  <a:pt x="1102" y="37"/>
                </a:cubicBezTo>
                <a:close/>
                <a:moveTo>
                  <a:pt x="1264" y="40"/>
                </a:moveTo>
                <a:cubicBezTo>
                  <a:pt x="1265" y="40"/>
                  <a:pt x="1267" y="41"/>
                  <a:pt x="1269" y="41"/>
                </a:cubicBezTo>
                <a:cubicBezTo>
                  <a:pt x="1270" y="41"/>
                  <a:pt x="1270" y="40"/>
                  <a:pt x="1271" y="40"/>
                </a:cubicBezTo>
                <a:cubicBezTo>
                  <a:pt x="1271" y="40"/>
                  <a:pt x="1271" y="40"/>
                  <a:pt x="1272" y="40"/>
                </a:cubicBezTo>
                <a:cubicBezTo>
                  <a:pt x="1273" y="40"/>
                  <a:pt x="1273" y="40"/>
                  <a:pt x="1273" y="39"/>
                </a:cubicBezTo>
                <a:cubicBezTo>
                  <a:pt x="1274" y="39"/>
                  <a:pt x="1276" y="40"/>
                  <a:pt x="1277" y="40"/>
                </a:cubicBezTo>
                <a:cubicBezTo>
                  <a:pt x="1277" y="40"/>
                  <a:pt x="1278" y="40"/>
                  <a:pt x="1277" y="40"/>
                </a:cubicBezTo>
                <a:cubicBezTo>
                  <a:pt x="1276" y="40"/>
                  <a:pt x="1274" y="40"/>
                  <a:pt x="1274" y="41"/>
                </a:cubicBezTo>
                <a:cubicBezTo>
                  <a:pt x="1274" y="41"/>
                  <a:pt x="1273" y="41"/>
                  <a:pt x="1272" y="41"/>
                </a:cubicBezTo>
                <a:cubicBezTo>
                  <a:pt x="1272" y="41"/>
                  <a:pt x="1270" y="43"/>
                  <a:pt x="1269" y="43"/>
                </a:cubicBezTo>
                <a:cubicBezTo>
                  <a:pt x="1269" y="43"/>
                  <a:pt x="1269" y="44"/>
                  <a:pt x="1269" y="45"/>
                </a:cubicBezTo>
                <a:cubicBezTo>
                  <a:pt x="1268" y="44"/>
                  <a:pt x="1268" y="44"/>
                  <a:pt x="1267" y="45"/>
                </a:cubicBezTo>
                <a:cubicBezTo>
                  <a:pt x="1266" y="45"/>
                  <a:pt x="1266" y="46"/>
                  <a:pt x="1266" y="46"/>
                </a:cubicBezTo>
                <a:cubicBezTo>
                  <a:pt x="1266" y="46"/>
                  <a:pt x="1265" y="46"/>
                  <a:pt x="1265" y="46"/>
                </a:cubicBezTo>
                <a:cubicBezTo>
                  <a:pt x="1265" y="46"/>
                  <a:pt x="1265" y="46"/>
                  <a:pt x="1265" y="46"/>
                </a:cubicBezTo>
                <a:cubicBezTo>
                  <a:pt x="1265" y="46"/>
                  <a:pt x="1265" y="46"/>
                  <a:pt x="1265" y="46"/>
                </a:cubicBezTo>
                <a:cubicBezTo>
                  <a:pt x="1265" y="47"/>
                  <a:pt x="1265" y="47"/>
                  <a:pt x="1265" y="47"/>
                </a:cubicBezTo>
                <a:cubicBezTo>
                  <a:pt x="1265" y="47"/>
                  <a:pt x="1266" y="47"/>
                  <a:pt x="1266" y="47"/>
                </a:cubicBezTo>
                <a:cubicBezTo>
                  <a:pt x="1267" y="47"/>
                  <a:pt x="1267" y="47"/>
                  <a:pt x="1267" y="47"/>
                </a:cubicBezTo>
                <a:cubicBezTo>
                  <a:pt x="1267" y="47"/>
                  <a:pt x="1269" y="47"/>
                  <a:pt x="1269" y="46"/>
                </a:cubicBezTo>
                <a:cubicBezTo>
                  <a:pt x="1269" y="47"/>
                  <a:pt x="1269" y="47"/>
                  <a:pt x="1269" y="48"/>
                </a:cubicBezTo>
                <a:cubicBezTo>
                  <a:pt x="1269" y="48"/>
                  <a:pt x="1269" y="48"/>
                  <a:pt x="1270" y="49"/>
                </a:cubicBezTo>
                <a:cubicBezTo>
                  <a:pt x="1270" y="48"/>
                  <a:pt x="1271" y="48"/>
                  <a:pt x="1271" y="48"/>
                </a:cubicBezTo>
                <a:cubicBezTo>
                  <a:pt x="1273" y="48"/>
                  <a:pt x="1273" y="48"/>
                  <a:pt x="1274" y="49"/>
                </a:cubicBezTo>
                <a:cubicBezTo>
                  <a:pt x="1274" y="49"/>
                  <a:pt x="1275" y="49"/>
                  <a:pt x="1275" y="49"/>
                </a:cubicBezTo>
                <a:cubicBezTo>
                  <a:pt x="1276" y="49"/>
                  <a:pt x="1278" y="49"/>
                  <a:pt x="1278" y="49"/>
                </a:cubicBezTo>
                <a:cubicBezTo>
                  <a:pt x="1278" y="49"/>
                  <a:pt x="1280" y="50"/>
                  <a:pt x="1281" y="50"/>
                </a:cubicBezTo>
                <a:cubicBezTo>
                  <a:pt x="1281" y="50"/>
                  <a:pt x="1283" y="51"/>
                  <a:pt x="1283" y="50"/>
                </a:cubicBezTo>
                <a:cubicBezTo>
                  <a:pt x="1283" y="50"/>
                  <a:pt x="1283" y="49"/>
                  <a:pt x="1283" y="49"/>
                </a:cubicBezTo>
                <a:cubicBezTo>
                  <a:pt x="1284" y="49"/>
                  <a:pt x="1285" y="50"/>
                  <a:pt x="1285" y="50"/>
                </a:cubicBezTo>
                <a:cubicBezTo>
                  <a:pt x="1286" y="51"/>
                  <a:pt x="1286" y="50"/>
                  <a:pt x="1287" y="50"/>
                </a:cubicBezTo>
                <a:cubicBezTo>
                  <a:pt x="1288" y="49"/>
                  <a:pt x="1289" y="49"/>
                  <a:pt x="1289" y="49"/>
                </a:cubicBezTo>
                <a:cubicBezTo>
                  <a:pt x="1290" y="49"/>
                  <a:pt x="1291" y="48"/>
                  <a:pt x="1291" y="48"/>
                </a:cubicBezTo>
                <a:cubicBezTo>
                  <a:pt x="1291" y="47"/>
                  <a:pt x="1290" y="47"/>
                  <a:pt x="1292" y="47"/>
                </a:cubicBezTo>
                <a:cubicBezTo>
                  <a:pt x="1294" y="47"/>
                  <a:pt x="1294" y="44"/>
                  <a:pt x="1293" y="43"/>
                </a:cubicBezTo>
                <a:cubicBezTo>
                  <a:pt x="1292" y="43"/>
                  <a:pt x="1292" y="43"/>
                  <a:pt x="1292" y="42"/>
                </a:cubicBezTo>
                <a:cubicBezTo>
                  <a:pt x="1292" y="42"/>
                  <a:pt x="1292" y="41"/>
                  <a:pt x="1291" y="41"/>
                </a:cubicBezTo>
                <a:cubicBezTo>
                  <a:pt x="1290" y="41"/>
                  <a:pt x="1290" y="42"/>
                  <a:pt x="1290" y="43"/>
                </a:cubicBezTo>
                <a:cubicBezTo>
                  <a:pt x="1289" y="44"/>
                  <a:pt x="1289" y="44"/>
                  <a:pt x="1288" y="44"/>
                </a:cubicBezTo>
                <a:cubicBezTo>
                  <a:pt x="1287" y="44"/>
                  <a:pt x="1286" y="44"/>
                  <a:pt x="1288" y="44"/>
                </a:cubicBezTo>
                <a:cubicBezTo>
                  <a:pt x="1288" y="43"/>
                  <a:pt x="1288" y="42"/>
                  <a:pt x="1288" y="41"/>
                </a:cubicBezTo>
                <a:cubicBezTo>
                  <a:pt x="1288" y="40"/>
                  <a:pt x="1286" y="39"/>
                  <a:pt x="1285" y="40"/>
                </a:cubicBezTo>
                <a:cubicBezTo>
                  <a:pt x="1284" y="40"/>
                  <a:pt x="1284" y="41"/>
                  <a:pt x="1283" y="41"/>
                </a:cubicBezTo>
                <a:cubicBezTo>
                  <a:pt x="1282" y="41"/>
                  <a:pt x="1281" y="41"/>
                  <a:pt x="1280" y="41"/>
                </a:cubicBezTo>
                <a:cubicBezTo>
                  <a:pt x="1281" y="40"/>
                  <a:pt x="1282" y="40"/>
                  <a:pt x="1283" y="40"/>
                </a:cubicBezTo>
                <a:cubicBezTo>
                  <a:pt x="1284" y="39"/>
                  <a:pt x="1284" y="39"/>
                  <a:pt x="1284" y="38"/>
                </a:cubicBezTo>
                <a:cubicBezTo>
                  <a:pt x="1284" y="37"/>
                  <a:pt x="1284" y="36"/>
                  <a:pt x="1284" y="36"/>
                </a:cubicBezTo>
                <a:cubicBezTo>
                  <a:pt x="1284" y="35"/>
                  <a:pt x="1283" y="35"/>
                  <a:pt x="1282" y="35"/>
                </a:cubicBezTo>
                <a:cubicBezTo>
                  <a:pt x="1282" y="34"/>
                  <a:pt x="1281" y="34"/>
                  <a:pt x="1280" y="33"/>
                </a:cubicBezTo>
                <a:cubicBezTo>
                  <a:pt x="1280" y="33"/>
                  <a:pt x="1280" y="33"/>
                  <a:pt x="1280" y="33"/>
                </a:cubicBezTo>
                <a:cubicBezTo>
                  <a:pt x="1280" y="32"/>
                  <a:pt x="1280" y="32"/>
                  <a:pt x="1279" y="32"/>
                </a:cubicBezTo>
                <a:cubicBezTo>
                  <a:pt x="1279" y="32"/>
                  <a:pt x="1278" y="31"/>
                  <a:pt x="1278" y="31"/>
                </a:cubicBezTo>
                <a:cubicBezTo>
                  <a:pt x="1277" y="31"/>
                  <a:pt x="1278" y="31"/>
                  <a:pt x="1277" y="31"/>
                </a:cubicBezTo>
                <a:cubicBezTo>
                  <a:pt x="1277" y="31"/>
                  <a:pt x="1276" y="30"/>
                  <a:pt x="1276" y="30"/>
                </a:cubicBezTo>
                <a:cubicBezTo>
                  <a:pt x="1276" y="29"/>
                  <a:pt x="1276" y="29"/>
                  <a:pt x="1275" y="29"/>
                </a:cubicBezTo>
                <a:cubicBezTo>
                  <a:pt x="1275" y="29"/>
                  <a:pt x="1276" y="29"/>
                  <a:pt x="1275" y="29"/>
                </a:cubicBezTo>
                <a:cubicBezTo>
                  <a:pt x="1275" y="29"/>
                  <a:pt x="1275" y="29"/>
                  <a:pt x="1275" y="28"/>
                </a:cubicBezTo>
                <a:cubicBezTo>
                  <a:pt x="1274" y="29"/>
                  <a:pt x="1273" y="28"/>
                  <a:pt x="1273" y="29"/>
                </a:cubicBezTo>
                <a:cubicBezTo>
                  <a:pt x="1273" y="30"/>
                  <a:pt x="1272" y="30"/>
                  <a:pt x="1271" y="31"/>
                </a:cubicBezTo>
                <a:cubicBezTo>
                  <a:pt x="1270" y="31"/>
                  <a:pt x="1269" y="32"/>
                  <a:pt x="1268" y="32"/>
                </a:cubicBezTo>
                <a:cubicBezTo>
                  <a:pt x="1268" y="32"/>
                  <a:pt x="1268" y="32"/>
                  <a:pt x="1268" y="33"/>
                </a:cubicBezTo>
                <a:cubicBezTo>
                  <a:pt x="1267" y="33"/>
                  <a:pt x="1267" y="33"/>
                  <a:pt x="1266" y="33"/>
                </a:cubicBezTo>
                <a:cubicBezTo>
                  <a:pt x="1266" y="34"/>
                  <a:pt x="1266" y="34"/>
                  <a:pt x="1266" y="35"/>
                </a:cubicBezTo>
                <a:cubicBezTo>
                  <a:pt x="1266" y="35"/>
                  <a:pt x="1266" y="35"/>
                  <a:pt x="1266" y="35"/>
                </a:cubicBezTo>
                <a:cubicBezTo>
                  <a:pt x="1266" y="36"/>
                  <a:pt x="1266" y="36"/>
                  <a:pt x="1266" y="36"/>
                </a:cubicBezTo>
                <a:cubicBezTo>
                  <a:pt x="1265" y="36"/>
                  <a:pt x="1263" y="36"/>
                  <a:pt x="1263" y="37"/>
                </a:cubicBezTo>
                <a:cubicBezTo>
                  <a:pt x="1263" y="37"/>
                  <a:pt x="1263" y="37"/>
                  <a:pt x="1263" y="37"/>
                </a:cubicBezTo>
                <a:cubicBezTo>
                  <a:pt x="1262" y="37"/>
                  <a:pt x="1262" y="37"/>
                  <a:pt x="1261" y="37"/>
                </a:cubicBezTo>
                <a:cubicBezTo>
                  <a:pt x="1261" y="38"/>
                  <a:pt x="1260" y="38"/>
                  <a:pt x="1260" y="38"/>
                </a:cubicBezTo>
                <a:cubicBezTo>
                  <a:pt x="1260" y="39"/>
                  <a:pt x="1261" y="38"/>
                  <a:pt x="1261" y="38"/>
                </a:cubicBezTo>
                <a:cubicBezTo>
                  <a:pt x="1263" y="38"/>
                  <a:pt x="1263" y="38"/>
                  <a:pt x="1264" y="40"/>
                </a:cubicBezTo>
                <a:cubicBezTo>
                  <a:pt x="1265" y="40"/>
                  <a:pt x="1264" y="40"/>
                  <a:pt x="1264" y="40"/>
                </a:cubicBezTo>
                <a:close/>
                <a:moveTo>
                  <a:pt x="1251" y="30"/>
                </a:moveTo>
                <a:cubicBezTo>
                  <a:pt x="1252" y="30"/>
                  <a:pt x="1253" y="30"/>
                  <a:pt x="1254" y="29"/>
                </a:cubicBezTo>
                <a:cubicBezTo>
                  <a:pt x="1254" y="29"/>
                  <a:pt x="1255" y="29"/>
                  <a:pt x="1254" y="28"/>
                </a:cubicBezTo>
                <a:cubicBezTo>
                  <a:pt x="1254" y="28"/>
                  <a:pt x="1253" y="28"/>
                  <a:pt x="1253" y="28"/>
                </a:cubicBezTo>
                <a:cubicBezTo>
                  <a:pt x="1253" y="28"/>
                  <a:pt x="1252" y="28"/>
                  <a:pt x="1252" y="28"/>
                </a:cubicBezTo>
                <a:cubicBezTo>
                  <a:pt x="1252" y="28"/>
                  <a:pt x="1251" y="27"/>
                  <a:pt x="1250" y="27"/>
                </a:cubicBezTo>
                <a:cubicBezTo>
                  <a:pt x="1250" y="28"/>
                  <a:pt x="1250" y="28"/>
                  <a:pt x="1249" y="28"/>
                </a:cubicBezTo>
                <a:cubicBezTo>
                  <a:pt x="1249" y="28"/>
                  <a:pt x="1248" y="29"/>
                  <a:pt x="1249" y="30"/>
                </a:cubicBezTo>
                <a:cubicBezTo>
                  <a:pt x="1250" y="30"/>
                  <a:pt x="1251" y="30"/>
                  <a:pt x="1251" y="30"/>
                </a:cubicBezTo>
                <a:close/>
                <a:moveTo>
                  <a:pt x="1087" y="29"/>
                </a:moveTo>
                <a:cubicBezTo>
                  <a:pt x="1087" y="30"/>
                  <a:pt x="1088" y="30"/>
                  <a:pt x="1089" y="29"/>
                </a:cubicBezTo>
                <a:cubicBezTo>
                  <a:pt x="1088" y="28"/>
                  <a:pt x="1089" y="28"/>
                  <a:pt x="1087" y="28"/>
                </a:cubicBezTo>
                <a:cubicBezTo>
                  <a:pt x="1087" y="28"/>
                  <a:pt x="1086" y="27"/>
                  <a:pt x="1085" y="27"/>
                </a:cubicBezTo>
                <a:cubicBezTo>
                  <a:pt x="1086" y="28"/>
                  <a:pt x="1084" y="28"/>
                  <a:pt x="1083" y="28"/>
                </a:cubicBezTo>
                <a:cubicBezTo>
                  <a:pt x="1083" y="28"/>
                  <a:pt x="1083" y="29"/>
                  <a:pt x="1083" y="29"/>
                </a:cubicBezTo>
                <a:cubicBezTo>
                  <a:pt x="1084" y="29"/>
                  <a:pt x="1086" y="28"/>
                  <a:pt x="1087" y="29"/>
                </a:cubicBezTo>
                <a:cubicBezTo>
                  <a:pt x="1088" y="30"/>
                  <a:pt x="1087" y="29"/>
                  <a:pt x="1087" y="29"/>
                </a:cubicBezTo>
                <a:close/>
                <a:moveTo>
                  <a:pt x="1119" y="33"/>
                </a:moveTo>
                <a:cubicBezTo>
                  <a:pt x="1120" y="33"/>
                  <a:pt x="1121" y="34"/>
                  <a:pt x="1121" y="33"/>
                </a:cubicBezTo>
                <a:cubicBezTo>
                  <a:pt x="1121" y="35"/>
                  <a:pt x="1123" y="33"/>
                  <a:pt x="1123" y="33"/>
                </a:cubicBezTo>
                <a:cubicBezTo>
                  <a:pt x="1123" y="33"/>
                  <a:pt x="1123" y="32"/>
                  <a:pt x="1124" y="32"/>
                </a:cubicBezTo>
                <a:cubicBezTo>
                  <a:pt x="1124" y="32"/>
                  <a:pt x="1124" y="31"/>
                  <a:pt x="1125" y="31"/>
                </a:cubicBezTo>
                <a:cubicBezTo>
                  <a:pt x="1125" y="31"/>
                  <a:pt x="1126" y="31"/>
                  <a:pt x="1127" y="31"/>
                </a:cubicBezTo>
                <a:cubicBezTo>
                  <a:pt x="1127" y="31"/>
                  <a:pt x="1128" y="29"/>
                  <a:pt x="1128" y="29"/>
                </a:cubicBezTo>
                <a:cubicBezTo>
                  <a:pt x="1128" y="29"/>
                  <a:pt x="1130" y="29"/>
                  <a:pt x="1130" y="29"/>
                </a:cubicBezTo>
                <a:cubicBezTo>
                  <a:pt x="1130" y="28"/>
                  <a:pt x="1130" y="28"/>
                  <a:pt x="1130" y="28"/>
                </a:cubicBezTo>
                <a:cubicBezTo>
                  <a:pt x="1130" y="27"/>
                  <a:pt x="1128" y="28"/>
                  <a:pt x="1128" y="27"/>
                </a:cubicBezTo>
                <a:cubicBezTo>
                  <a:pt x="1128" y="26"/>
                  <a:pt x="1127" y="27"/>
                  <a:pt x="1127" y="26"/>
                </a:cubicBezTo>
                <a:cubicBezTo>
                  <a:pt x="1125" y="27"/>
                  <a:pt x="1124" y="26"/>
                  <a:pt x="1123" y="28"/>
                </a:cubicBezTo>
                <a:cubicBezTo>
                  <a:pt x="1123" y="28"/>
                  <a:pt x="1123" y="28"/>
                  <a:pt x="1123" y="28"/>
                </a:cubicBezTo>
                <a:cubicBezTo>
                  <a:pt x="1122" y="29"/>
                  <a:pt x="1122" y="28"/>
                  <a:pt x="1122" y="28"/>
                </a:cubicBezTo>
                <a:cubicBezTo>
                  <a:pt x="1122" y="29"/>
                  <a:pt x="1122" y="29"/>
                  <a:pt x="1122" y="29"/>
                </a:cubicBezTo>
                <a:cubicBezTo>
                  <a:pt x="1121" y="29"/>
                  <a:pt x="1121" y="29"/>
                  <a:pt x="1121" y="29"/>
                </a:cubicBezTo>
                <a:cubicBezTo>
                  <a:pt x="1120" y="29"/>
                  <a:pt x="1119" y="29"/>
                  <a:pt x="1119" y="29"/>
                </a:cubicBezTo>
                <a:cubicBezTo>
                  <a:pt x="1119" y="30"/>
                  <a:pt x="1120" y="30"/>
                  <a:pt x="1118" y="30"/>
                </a:cubicBezTo>
                <a:cubicBezTo>
                  <a:pt x="1118" y="30"/>
                  <a:pt x="1118" y="31"/>
                  <a:pt x="1118" y="31"/>
                </a:cubicBezTo>
                <a:cubicBezTo>
                  <a:pt x="1119" y="32"/>
                  <a:pt x="1120" y="32"/>
                  <a:pt x="1119" y="33"/>
                </a:cubicBezTo>
                <a:close/>
                <a:moveTo>
                  <a:pt x="1078" y="27"/>
                </a:moveTo>
                <a:cubicBezTo>
                  <a:pt x="1078" y="27"/>
                  <a:pt x="1079" y="27"/>
                  <a:pt x="1079" y="27"/>
                </a:cubicBezTo>
                <a:cubicBezTo>
                  <a:pt x="1079" y="27"/>
                  <a:pt x="1079" y="28"/>
                  <a:pt x="1080" y="28"/>
                </a:cubicBezTo>
                <a:cubicBezTo>
                  <a:pt x="1080" y="28"/>
                  <a:pt x="1080" y="28"/>
                  <a:pt x="1081" y="28"/>
                </a:cubicBezTo>
                <a:cubicBezTo>
                  <a:pt x="1081" y="28"/>
                  <a:pt x="1083" y="28"/>
                  <a:pt x="1083" y="28"/>
                </a:cubicBezTo>
                <a:cubicBezTo>
                  <a:pt x="1083" y="28"/>
                  <a:pt x="1082" y="27"/>
                  <a:pt x="1082" y="27"/>
                </a:cubicBezTo>
                <a:cubicBezTo>
                  <a:pt x="1081" y="27"/>
                  <a:pt x="1081" y="27"/>
                  <a:pt x="1080" y="27"/>
                </a:cubicBezTo>
                <a:cubicBezTo>
                  <a:pt x="1080" y="27"/>
                  <a:pt x="1080" y="26"/>
                  <a:pt x="1079" y="26"/>
                </a:cubicBezTo>
                <a:cubicBezTo>
                  <a:pt x="1079" y="26"/>
                  <a:pt x="1078" y="26"/>
                  <a:pt x="1078" y="27"/>
                </a:cubicBezTo>
                <a:cubicBezTo>
                  <a:pt x="1078" y="27"/>
                  <a:pt x="1078" y="27"/>
                  <a:pt x="1077" y="27"/>
                </a:cubicBezTo>
                <a:cubicBezTo>
                  <a:pt x="1077" y="27"/>
                  <a:pt x="1077" y="28"/>
                  <a:pt x="1078" y="27"/>
                </a:cubicBezTo>
                <a:close/>
                <a:moveTo>
                  <a:pt x="1093" y="27"/>
                </a:moveTo>
                <a:cubicBezTo>
                  <a:pt x="1094" y="28"/>
                  <a:pt x="1095" y="25"/>
                  <a:pt x="1095" y="25"/>
                </a:cubicBezTo>
                <a:cubicBezTo>
                  <a:pt x="1094" y="25"/>
                  <a:pt x="1093" y="26"/>
                  <a:pt x="1092" y="26"/>
                </a:cubicBezTo>
                <a:cubicBezTo>
                  <a:pt x="1092" y="27"/>
                  <a:pt x="1093" y="27"/>
                  <a:pt x="1093" y="27"/>
                </a:cubicBezTo>
                <a:cubicBezTo>
                  <a:pt x="1094" y="27"/>
                  <a:pt x="1093" y="27"/>
                  <a:pt x="1093" y="27"/>
                </a:cubicBezTo>
                <a:close/>
                <a:moveTo>
                  <a:pt x="1091" y="27"/>
                </a:moveTo>
                <a:cubicBezTo>
                  <a:pt x="1091" y="27"/>
                  <a:pt x="1089" y="26"/>
                  <a:pt x="1089" y="26"/>
                </a:cubicBezTo>
                <a:cubicBezTo>
                  <a:pt x="1089" y="26"/>
                  <a:pt x="1087" y="26"/>
                  <a:pt x="1087" y="26"/>
                </a:cubicBezTo>
                <a:cubicBezTo>
                  <a:pt x="1087" y="25"/>
                  <a:pt x="1086" y="24"/>
                  <a:pt x="1086" y="24"/>
                </a:cubicBezTo>
                <a:cubicBezTo>
                  <a:pt x="1085" y="24"/>
                  <a:pt x="1085" y="24"/>
                  <a:pt x="1084" y="23"/>
                </a:cubicBezTo>
                <a:cubicBezTo>
                  <a:pt x="1084" y="23"/>
                  <a:pt x="1083" y="23"/>
                  <a:pt x="1083" y="24"/>
                </a:cubicBezTo>
                <a:cubicBezTo>
                  <a:pt x="1081" y="24"/>
                  <a:pt x="1083" y="25"/>
                  <a:pt x="1083" y="26"/>
                </a:cubicBezTo>
                <a:cubicBezTo>
                  <a:pt x="1084" y="25"/>
                  <a:pt x="1084" y="26"/>
                  <a:pt x="1085" y="27"/>
                </a:cubicBezTo>
                <a:cubicBezTo>
                  <a:pt x="1085" y="27"/>
                  <a:pt x="1086" y="26"/>
                  <a:pt x="1086" y="26"/>
                </a:cubicBezTo>
                <a:cubicBezTo>
                  <a:pt x="1086" y="27"/>
                  <a:pt x="1087" y="27"/>
                  <a:pt x="1088" y="27"/>
                </a:cubicBezTo>
                <a:cubicBezTo>
                  <a:pt x="1088" y="27"/>
                  <a:pt x="1088" y="28"/>
                  <a:pt x="1089" y="28"/>
                </a:cubicBezTo>
                <a:cubicBezTo>
                  <a:pt x="1090" y="28"/>
                  <a:pt x="1091" y="28"/>
                  <a:pt x="1091" y="27"/>
                </a:cubicBezTo>
                <a:cubicBezTo>
                  <a:pt x="1091" y="27"/>
                  <a:pt x="1091" y="27"/>
                  <a:pt x="1091" y="27"/>
                </a:cubicBezTo>
                <a:close/>
                <a:moveTo>
                  <a:pt x="1092" y="24"/>
                </a:moveTo>
                <a:cubicBezTo>
                  <a:pt x="1090" y="24"/>
                  <a:pt x="1088" y="23"/>
                  <a:pt x="1086" y="23"/>
                </a:cubicBezTo>
                <a:cubicBezTo>
                  <a:pt x="1086" y="23"/>
                  <a:pt x="1087" y="24"/>
                  <a:pt x="1087" y="24"/>
                </a:cubicBezTo>
                <a:cubicBezTo>
                  <a:pt x="1087" y="25"/>
                  <a:pt x="1087" y="24"/>
                  <a:pt x="1088" y="24"/>
                </a:cubicBezTo>
                <a:cubicBezTo>
                  <a:pt x="1088" y="25"/>
                  <a:pt x="1089" y="25"/>
                  <a:pt x="1090" y="26"/>
                </a:cubicBezTo>
                <a:cubicBezTo>
                  <a:pt x="1091" y="26"/>
                  <a:pt x="1092" y="25"/>
                  <a:pt x="1092" y="24"/>
                </a:cubicBezTo>
                <a:cubicBezTo>
                  <a:pt x="1090" y="24"/>
                  <a:pt x="1092" y="24"/>
                  <a:pt x="1092" y="24"/>
                </a:cubicBezTo>
                <a:close/>
                <a:moveTo>
                  <a:pt x="1081" y="25"/>
                </a:moveTo>
                <a:cubicBezTo>
                  <a:pt x="1082" y="24"/>
                  <a:pt x="1082" y="24"/>
                  <a:pt x="1082" y="24"/>
                </a:cubicBezTo>
                <a:cubicBezTo>
                  <a:pt x="1081" y="23"/>
                  <a:pt x="1080" y="23"/>
                  <a:pt x="1078" y="23"/>
                </a:cubicBezTo>
                <a:cubicBezTo>
                  <a:pt x="1078" y="25"/>
                  <a:pt x="1080" y="25"/>
                  <a:pt x="1081" y="25"/>
                </a:cubicBezTo>
                <a:close/>
                <a:moveTo>
                  <a:pt x="1093" y="24"/>
                </a:moveTo>
                <a:cubicBezTo>
                  <a:pt x="1093" y="24"/>
                  <a:pt x="1093" y="24"/>
                  <a:pt x="1093" y="24"/>
                </a:cubicBezTo>
                <a:cubicBezTo>
                  <a:pt x="1093" y="22"/>
                  <a:pt x="1094" y="23"/>
                  <a:pt x="1092" y="23"/>
                </a:cubicBezTo>
                <a:cubicBezTo>
                  <a:pt x="1092" y="23"/>
                  <a:pt x="1093" y="23"/>
                  <a:pt x="1093" y="24"/>
                </a:cubicBezTo>
                <a:close/>
                <a:moveTo>
                  <a:pt x="1089" y="22"/>
                </a:moveTo>
                <a:cubicBezTo>
                  <a:pt x="1090" y="20"/>
                  <a:pt x="1090" y="20"/>
                  <a:pt x="1089" y="20"/>
                </a:cubicBezTo>
                <a:cubicBezTo>
                  <a:pt x="1089" y="20"/>
                  <a:pt x="1088" y="21"/>
                  <a:pt x="1088" y="21"/>
                </a:cubicBezTo>
                <a:cubicBezTo>
                  <a:pt x="1088" y="21"/>
                  <a:pt x="1089" y="21"/>
                  <a:pt x="1089" y="22"/>
                </a:cubicBezTo>
                <a:cubicBezTo>
                  <a:pt x="1089" y="21"/>
                  <a:pt x="1089" y="22"/>
                  <a:pt x="1089" y="22"/>
                </a:cubicBezTo>
                <a:close/>
                <a:moveTo>
                  <a:pt x="728" y="19"/>
                </a:moveTo>
                <a:cubicBezTo>
                  <a:pt x="728" y="18"/>
                  <a:pt x="727" y="21"/>
                  <a:pt x="728" y="20"/>
                </a:cubicBezTo>
                <a:cubicBezTo>
                  <a:pt x="728" y="20"/>
                  <a:pt x="728" y="20"/>
                  <a:pt x="728" y="19"/>
                </a:cubicBezTo>
                <a:close/>
                <a:moveTo>
                  <a:pt x="1094" y="19"/>
                </a:moveTo>
                <a:cubicBezTo>
                  <a:pt x="1094" y="19"/>
                  <a:pt x="1095" y="19"/>
                  <a:pt x="1095" y="19"/>
                </a:cubicBezTo>
                <a:cubicBezTo>
                  <a:pt x="1095" y="19"/>
                  <a:pt x="1095" y="19"/>
                  <a:pt x="1095" y="19"/>
                </a:cubicBezTo>
                <a:cubicBezTo>
                  <a:pt x="1094" y="19"/>
                  <a:pt x="1094" y="19"/>
                  <a:pt x="1093" y="20"/>
                </a:cubicBezTo>
                <a:cubicBezTo>
                  <a:pt x="1094" y="20"/>
                  <a:pt x="1094" y="20"/>
                  <a:pt x="1094" y="19"/>
                </a:cubicBezTo>
                <a:close/>
                <a:moveTo>
                  <a:pt x="724" y="21"/>
                </a:moveTo>
                <a:cubicBezTo>
                  <a:pt x="724" y="21"/>
                  <a:pt x="724" y="20"/>
                  <a:pt x="724" y="20"/>
                </a:cubicBezTo>
                <a:cubicBezTo>
                  <a:pt x="724" y="19"/>
                  <a:pt x="724" y="19"/>
                  <a:pt x="724" y="19"/>
                </a:cubicBezTo>
                <a:cubicBezTo>
                  <a:pt x="724" y="18"/>
                  <a:pt x="723" y="19"/>
                  <a:pt x="723" y="20"/>
                </a:cubicBezTo>
                <a:cubicBezTo>
                  <a:pt x="723" y="21"/>
                  <a:pt x="723" y="21"/>
                  <a:pt x="724" y="21"/>
                </a:cubicBezTo>
                <a:close/>
                <a:moveTo>
                  <a:pt x="1082" y="20"/>
                </a:moveTo>
                <a:cubicBezTo>
                  <a:pt x="1082" y="21"/>
                  <a:pt x="1082" y="21"/>
                  <a:pt x="1082" y="21"/>
                </a:cubicBezTo>
                <a:cubicBezTo>
                  <a:pt x="1083" y="21"/>
                  <a:pt x="1084" y="21"/>
                  <a:pt x="1085" y="21"/>
                </a:cubicBezTo>
                <a:cubicBezTo>
                  <a:pt x="1086" y="21"/>
                  <a:pt x="1086" y="20"/>
                  <a:pt x="1086" y="20"/>
                </a:cubicBezTo>
                <a:cubicBezTo>
                  <a:pt x="1087" y="20"/>
                  <a:pt x="1088" y="19"/>
                  <a:pt x="1088" y="19"/>
                </a:cubicBezTo>
                <a:cubicBezTo>
                  <a:pt x="1089" y="18"/>
                  <a:pt x="1088" y="18"/>
                  <a:pt x="1087" y="18"/>
                </a:cubicBezTo>
                <a:cubicBezTo>
                  <a:pt x="1086" y="18"/>
                  <a:pt x="1086" y="18"/>
                  <a:pt x="1085" y="18"/>
                </a:cubicBezTo>
                <a:cubicBezTo>
                  <a:pt x="1085" y="18"/>
                  <a:pt x="1085" y="19"/>
                  <a:pt x="1084" y="19"/>
                </a:cubicBezTo>
                <a:cubicBezTo>
                  <a:pt x="1083" y="19"/>
                  <a:pt x="1082" y="19"/>
                  <a:pt x="1081" y="20"/>
                </a:cubicBezTo>
                <a:cubicBezTo>
                  <a:pt x="1081" y="20"/>
                  <a:pt x="1082" y="20"/>
                  <a:pt x="1082" y="20"/>
                </a:cubicBezTo>
                <a:close/>
                <a:moveTo>
                  <a:pt x="1093" y="18"/>
                </a:moveTo>
                <a:cubicBezTo>
                  <a:pt x="1093" y="17"/>
                  <a:pt x="1093" y="17"/>
                  <a:pt x="1093" y="17"/>
                </a:cubicBezTo>
                <a:cubicBezTo>
                  <a:pt x="1092" y="16"/>
                  <a:pt x="1091" y="16"/>
                  <a:pt x="1090" y="16"/>
                </a:cubicBezTo>
                <a:cubicBezTo>
                  <a:pt x="1090" y="16"/>
                  <a:pt x="1090" y="16"/>
                  <a:pt x="1090" y="16"/>
                </a:cubicBezTo>
                <a:cubicBezTo>
                  <a:pt x="1090" y="17"/>
                  <a:pt x="1090" y="17"/>
                  <a:pt x="1090" y="17"/>
                </a:cubicBezTo>
                <a:cubicBezTo>
                  <a:pt x="1091" y="18"/>
                  <a:pt x="1092" y="18"/>
                  <a:pt x="1093" y="18"/>
                </a:cubicBezTo>
                <a:close/>
                <a:moveTo>
                  <a:pt x="565" y="18"/>
                </a:moveTo>
                <a:cubicBezTo>
                  <a:pt x="567" y="21"/>
                  <a:pt x="573" y="22"/>
                  <a:pt x="576" y="22"/>
                </a:cubicBezTo>
                <a:cubicBezTo>
                  <a:pt x="576" y="21"/>
                  <a:pt x="576" y="20"/>
                  <a:pt x="575" y="20"/>
                </a:cubicBezTo>
                <a:cubicBezTo>
                  <a:pt x="575" y="20"/>
                  <a:pt x="573" y="20"/>
                  <a:pt x="573" y="19"/>
                </a:cubicBezTo>
                <a:cubicBezTo>
                  <a:pt x="573" y="19"/>
                  <a:pt x="572" y="19"/>
                  <a:pt x="572" y="19"/>
                </a:cubicBezTo>
                <a:cubicBezTo>
                  <a:pt x="572" y="19"/>
                  <a:pt x="571" y="19"/>
                  <a:pt x="571" y="19"/>
                </a:cubicBezTo>
                <a:cubicBezTo>
                  <a:pt x="570" y="19"/>
                  <a:pt x="570" y="17"/>
                  <a:pt x="569" y="17"/>
                </a:cubicBezTo>
                <a:cubicBezTo>
                  <a:pt x="568" y="17"/>
                  <a:pt x="567" y="17"/>
                  <a:pt x="566" y="17"/>
                </a:cubicBezTo>
                <a:cubicBezTo>
                  <a:pt x="566" y="16"/>
                  <a:pt x="565" y="15"/>
                  <a:pt x="564" y="15"/>
                </a:cubicBezTo>
                <a:cubicBezTo>
                  <a:pt x="565" y="16"/>
                  <a:pt x="564" y="18"/>
                  <a:pt x="565" y="18"/>
                </a:cubicBezTo>
                <a:cubicBezTo>
                  <a:pt x="567" y="20"/>
                  <a:pt x="565" y="18"/>
                  <a:pt x="565" y="18"/>
                </a:cubicBezTo>
                <a:close/>
                <a:moveTo>
                  <a:pt x="1097" y="14"/>
                </a:moveTo>
                <a:cubicBezTo>
                  <a:pt x="1097" y="14"/>
                  <a:pt x="1098" y="14"/>
                  <a:pt x="1098" y="14"/>
                </a:cubicBezTo>
                <a:cubicBezTo>
                  <a:pt x="1099" y="14"/>
                  <a:pt x="1097" y="13"/>
                  <a:pt x="1097" y="13"/>
                </a:cubicBezTo>
                <a:cubicBezTo>
                  <a:pt x="1096" y="12"/>
                  <a:pt x="1097" y="13"/>
                  <a:pt x="1097" y="13"/>
                </a:cubicBezTo>
                <a:cubicBezTo>
                  <a:pt x="1096" y="13"/>
                  <a:pt x="1096" y="13"/>
                  <a:pt x="1096" y="13"/>
                </a:cubicBezTo>
                <a:cubicBezTo>
                  <a:pt x="1095" y="13"/>
                  <a:pt x="1095" y="13"/>
                  <a:pt x="1094" y="14"/>
                </a:cubicBezTo>
                <a:cubicBezTo>
                  <a:pt x="1095" y="14"/>
                  <a:pt x="1097" y="14"/>
                  <a:pt x="1097" y="14"/>
                </a:cubicBezTo>
                <a:close/>
                <a:moveTo>
                  <a:pt x="376" y="36"/>
                </a:moveTo>
                <a:cubicBezTo>
                  <a:pt x="378" y="36"/>
                  <a:pt x="376" y="37"/>
                  <a:pt x="375" y="37"/>
                </a:cubicBezTo>
                <a:cubicBezTo>
                  <a:pt x="375" y="37"/>
                  <a:pt x="376" y="36"/>
                  <a:pt x="376" y="36"/>
                </a:cubicBezTo>
                <a:cubicBezTo>
                  <a:pt x="377" y="36"/>
                  <a:pt x="376" y="36"/>
                  <a:pt x="376" y="36"/>
                </a:cubicBezTo>
                <a:close/>
                <a:moveTo>
                  <a:pt x="377" y="40"/>
                </a:moveTo>
                <a:cubicBezTo>
                  <a:pt x="377" y="40"/>
                  <a:pt x="377" y="40"/>
                  <a:pt x="377" y="40"/>
                </a:cubicBezTo>
                <a:cubicBezTo>
                  <a:pt x="377" y="40"/>
                  <a:pt x="377" y="40"/>
                  <a:pt x="377" y="40"/>
                </a:cubicBezTo>
                <a:cubicBezTo>
                  <a:pt x="377" y="40"/>
                  <a:pt x="377" y="40"/>
                  <a:pt x="377" y="40"/>
                </a:cubicBezTo>
                <a:close/>
                <a:moveTo>
                  <a:pt x="389" y="53"/>
                </a:moveTo>
                <a:cubicBezTo>
                  <a:pt x="390" y="53"/>
                  <a:pt x="389" y="55"/>
                  <a:pt x="389" y="53"/>
                </a:cubicBezTo>
                <a:close/>
                <a:moveTo>
                  <a:pt x="429" y="60"/>
                </a:moveTo>
                <a:cubicBezTo>
                  <a:pt x="430" y="60"/>
                  <a:pt x="431" y="61"/>
                  <a:pt x="431" y="60"/>
                </a:cubicBezTo>
                <a:cubicBezTo>
                  <a:pt x="432" y="60"/>
                  <a:pt x="433" y="61"/>
                  <a:pt x="433" y="61"/>
                </a:cubicBezTo>
                <a:cubicBezTo>
                  <a:pt x="432" y="61"/>
                  <a:pt x="430" y="61"/>
                  <a:pt x="429" y="61"/>
                </a:cubicBezTo>
                <a:cubicBezTo>
                  <a:pt x="429" y="61"/>
                  <a:pt x="429" y="61"/>
                  <a:pt x="429" y="60"/>
                </a:cubicBezTo>
                <a:close/>
                <a:moveTo>
                  <a:pt x="454" y="31"/>
                </a:moveTo>
                <a:cubicBezTo>
                  <a:pt x="454" y="31"/>
                  <a:pt x="454" y="31"/>
                  <a:pt x="454" y="31"/>
                </a:cubicBezTo>
                <a:cubicBezTo>
                  <a:pt x="454" y="31"/>
                  <a:pt x="454" y="31"/>
                  <a:pt x="454" y="31"/>
                </a:cubicBezTo>
                <a:cubicBezTo>
                  <a:pt x="454" y="31"/>
                  <a:pt x="454" y="31"/>
                  <a:pt x="454" y="31"/>
                </a:cubicBezTo>
                <a:close/>
                <a:moveTo>
                  <a:pt x="457" y="28"/>
                </a:moveTo>
                <a:cubicBezTo>
                  <a:pt x="457" y="28"/>
                  <a:pt x="457" y="28"/>
                  <a:pt x="457" y="28"/>
                </a:cubicBezTo>
                <a:cubicBezTo>
                  <a:pt x="457" y="28"/>
                  <a:pt x="457" y="28"/>
                  <a:pt x="457" y="28"/>
                </a:cubicBezTo>
                <a:cubicBezTo>
                  <a:pt x="457" y="28"/>
                  <a:pt x="457" y="28"/>
                  <a:pt x="457" y="28"/>
                </a:cubicBezTo>
                <a:close/>
                <a:moveTo>
                  <a:pt x="418" y="22"/>
                </a:moveTo>
                <a:cubicBezTo>
                  <a:pt x="418" y="22"/>
                  <a:pt x="418" y="21"/>
                  <a:pt x="418" y="21"/>
                </a:cubicBezTo>
                <a:cubicBezTo>
                  <a:pt x="418" y="21"/>
                  <a:pt x="418" y="21"/>
                  <a:pt x="418" y="22"/>
                </a:cubicBezTo>
                <a:close/>
                <a:moveTo>
                  <a:pt x="460" y="28"/>
                </a:moveTo>
                <a:cubicBezTo>
                  <a:pt x="460" y="28"/>
                  <a:pt x="463" y="27"/>
                  <a:pt x="463" y="28"/>
                </a:cubicBezTo>
                <a:cubicBezTo>
                  <a:pt x="463" y="28"/>
                  <a:pt x="460" y="29"/>
                  <a:pt x="460" y="28"/>
                </a:cubicBezTo>
                <a:close/>
                <a:moveTo>
                  <a:pt x="504" y="22"/>
                </a:moveTo>
                <a:cubicBezTo>
                  <a:pt x="504" y="22"/>
                  <a:pt x="504" y="22"/>
                  <a:pt x="504" y="22"/>
                </a:cubicBezTo>
                <a:cubicBezTo>
                  <a:pt x="505" y="22"/>
                  <a:pt x="506" y="22"/>
                  <a:pt x="506" y="23"/>
                </a:cubicBezTo>
                <a:cubicBezTo>
                  <a:pt x="505" y="23"/>
                  <a:pt x="504" y="23"/>
                  <a:pt x="504" y="22"/>
                </a:cubicBezTo>
                <a:cubicBezTo>
                  <a:pt x="504" y="22"/>
                  <a:pt x="504" y="22"/>
                  <a:pt x="504" y="22"/>
                </a:cubicBezTo>
                <a:close/>
                <a:moveTo>
                  <a:pt x="424" y="56"/>
                </a:moveTo>
                <a:cubicBezTo>
                  <a:pt x="424" y="57"/>
                  <a:pt x="424" y="57"/>
                  <a:pt x="424" y="56"/>
                </a:cubicBezTo>
                <a:cubicBezTo>
                  <a:pt x="424" y="56"/>
                  <a:pt x="424" y="55"/>
                  <a:pt x="425" y="55"/>
                </a:cubicBezTo>
                <a:cubicBezTo>
                  <a:pt x="425" y="56"/>
                  <a:pt x="425" y="56"/>
                  <a:pt x="424" y="56"/>
                </a:cubicBezTo>
                <a:close/>
                <a:moveTo>
                  <a:pt x="423" y="69"/>
                </a:moveTo>
                <a:cubicBezTo>
                  <a:pt x="422" y="69"/>
                  <a:pt x="421" y="67"/>
                  <a:pt x="421" y="67"/>
                </a:cubicBezTo>
                <a:cubicBezTo>
                  <a:pt x="421" y="66"/>
                  <a:pt x="421" y="66"/>
                  <a:pt x="422" y="66"/>
                </a:cubicBezTo>
                <a:cubicBezTo>
                  <a:pt x="421" y="67"/>
                  <a:pt x="423" y="67"/>
                  <a:pt x="423" y="67"/>
                </a:cubicBezTo>
                <a:cubicBezTo>
                  <a:pt x="423" y="68"/>
                  <a:pt x="423" y="68"/>
                  <a:pt x="423" y="69"/>
                </a:cubicBezTo>
                <a:cubicBezTo>
                  <a:pt x="422" y="69"/>
                  <a:pt x="423" y="69"/>
                  <a:pt x="423" y="69"/>
                </a:cubicBezTo>
                <a:close/>
                <a:moveTo>
                  <a:pt x="363" y="27"/>
                </a:moveTo>
                <a:cubicBezTo>
                  <a:pt x="363" y="27"/>
                  <a:pt x="362" y="28"/>
                  <a:pt x="362" y="28"/>
                </a:cubicBezTo>
                <a:cubicBezTo>
                  <a:pt x="362" y="28"/>
                  <a:pt x="362" y="30"/>
                  <a:pt x="362" y="30"/>
                </a:cubicBezTo>
                <a:cubicBezTo>
                  <a:pt x="364" y="30"/>
                  <a:pt x="364" y="29"/>
                  <a:pt x="364" y="31"/>
                </a:cubicBezTo>
                <a:cubicBezTo>
                  <a:pt x="365" y="31"/>
                  <a:pt x="367" y="31"/>
                  <a:pt x="367" y="29"/>
                </a:cubicBezTo>
                <a:cubicBezTo>
                  <a:pt x="367" y="29"/>
                  <a:pt x="368" y="31"/>
                  <a:pt x="368" y="31"/>
                </a:cubicBezTo>
                <a:cubicBezTo>
                  <a:pt x="369" y="31"/>
                  <a:pt x="370" y="31"/>
                  <a:pt x="370" y="31"/>
                </a:cubicBezTo>
                <a:cubicBezTo>
                  <a:pt x="371" y="31"/>
                  <a:pt x="372" y="31"/>
                  <a:pt x="372" y="31"/>
                </a:cubicBezTo>
                <a:cubicBezTo>
                  <a:pt x="372" y="30"/>
                  <a:pt x="372" y="30"/>
                  <a:pt x="373" y="29"/>
                </a:cubicBezTo>
                <a:cubicBezTo>
                  <a:pt x="373" y="30"/>
                  <a:pt x="373" y="30"/>
                  <a:pt x="373" y="31"/>
                </a:cubicBezTo>
                <a:cubicBezTo>
                  <a:pt x="373" y="31"/>
                  <a:pt x="374" y="32"/>
                  <a:pt x="374" y="33"/>
                </a:cubicBezTo>
                <a:cubicBezTo>
                  <a:pt x="372" y="33"/>
                  <a:pt x="369" y="33"/>
                  <a:pt x="367" y="34"/>
                </a:cubicBezTo>
                <a:cubicBezTo>
                  <a:pt x="366" y="34"/>
                  <a:pt x="366" y="34"/>
                  <a:pt x="367" y="35"/>
                </a:cubicBezTo>
                <a:cubicBezTo>
                  <a:pt x="367" y="36"/>
                  <a:pt x="367" y="36"/>
                  <a:pt x="367" y="36"/>
                </a:cubicBezTo>
                <a:cubicBezTo>
                  <a:pt x="366" y="36"/>
                  <a:pt x="365" y="36"/>
                  <a:pt x="364" y="36"/>
                </a:cubicBezTo>
                <a:cubicBezTo>
                  <a:pt x="364" y="37"/>
                  <a:pt x="365" y="37"/>
                  <a:pt x="365" y="37"/>
                </a:cubicBezTo>
                <a:cubicBezTo>
                  <a:pt x="366" y="37"/>
                  <a:pt x="367" y="38"/>
                  <a:pt x="369" y="37"/>
                </a:cubicBezTo>
                <a:cubicBezTo>
                  <a:pt x="369" y="38"/>
                  <a:pt x="369" y="38"/>
                  <a:pt x="369" y="38"/>
                </a:cubicBezTo>
                <a:cubicBezTo>
                  <a:pt x="370" y="38"/>
                  <a:pt x="370" y="38"/>
                  <a:pt x="371" y="37"/>
                </a:cubicBezTo>
                <a:cubicBezTo>
                  <a:pt x="371" y="37"/>
                  <a:pt x="372" y="36"/>
                  <a:pt x="372" y="37"/>
                </a:cubicBezTo>
                <a:cubicBezTo>
                  <a:pt x="372" y="38"/>
                  <a:pt x="372" y="38"/>
                  <a:pt x="373" y="38"/>
                </a:cubicBezTo>
                <a:cubicBezTo>
                  <a:pt x="374" y="38"/>
                  <a:pt x="374" y="37"/>
                  <a:pt x="375" y="38"/>
                </a:cubicBezTo>
                <a:cubicBezTo>
                  <a:pt x="375" y="39"/>
                  <a:pt x="376" y="39"/>
                  <a:pt x="376" y="40"/>
                </a:cubicBezTo>
                <a:cubicBezTo>
                  <a:pt x="375" y="39"/>
                  <a:pt x="374" y="39"/>
                  <a:pt x="373" y="39"/>
                </a:cubicBezTo>
                <a:cubicBezTo>
                  <a:pt x="372" y="39"/>
                  <a:pt x="372" y="39"/>
                  <a:pt x="371" y="39"/>
                </a:cubicBezTo>
                <a:cubicBezTo>
                  <a:pt x="371" y="39"/>
                  <a:pt x="371" y="39"/>
                  <a:pt x="371" y="39"/>
                </a:cubicBezTo>
                <a:cubicBezTo>
                  <a:pt x="371" y="39"/>
                  <a:pt x="371" y="39"/>
                  <a:pt x="371" y="39"/>
                </a:cubicBezTo>
                <a:cubicBezTo>
                  <a:pt x="370" y="39"/>
                  <a:pt x="369" y="38"/>
                  <a:pt x="368" y="38"/>
                </a:cubicBezTo>
                <a:cubicBezTo>
                  <a:pt x="366" y="38"/>
                  <a:pt x="366" y="38"/>
                  <a:pt x="366" y="40"/>
                </a:cubicBezTo>
                <a:cubicBezTo>
                  <a:pt x="367" y="40"/>
                  <a:pt x="367" y="41"/>
                  <a:pt x="366" y="41"/>
                </a:cubicBezTo>
                <a:cubicBezTo>
                  <a:pt x="367" y="42"/>
                  <a:pt x="367" y="42"/>
                  <a:pt x="368" y="42"/>
                </a:cubicBezTo>
                <a:cubicBezTo>
                  <a:pt x="368" y="42"/>
                  <a:pt x="368" y="43"/>
                  <a:pt x="369" y="43"/>
                </a:cubicBezTo>
                <a:cubicBezTo>
                  <a:pt x="369" y="44"/>
                  <a:pt x="369" y="43"/>
                  <a:pt x="369" y="44"/>
                </a:cubicBezTo>
                <a:cubicBezTo>
                  <a:pt x="369" y="45"/>
                  <a:pt x="376" y="44"/>
                  <a:pt x="377" y="44"/>
                </a:cubicBezTo>
                <a:cubicBezTo>
                  <a:pt x="377" y="46"/>
                  <a:pt x="376" y="45"/>
                  <a:pt x="376" y="45"/>
                </a:cubicBezTo>
                <a:cubicBezTo>
                  <a:pt x="374" y="45"/>
                  <a:pt x="373" y="45"/>
                  <a:pt x="371" y="46"/>
                </a:cubicBezTo>
                <a:cubicBezTo>
                  <a:pt x="370" y="46"/>
                  <a:pt x="371" y="48"/>
                  <a:pt x="372" y="47"/>
                </a:cubicBezTo>
                <a:cubicBezTo>
                  <a:pt x="373" y="47"/>
                  <a:pt x="374" y="47"/>
                  <a:pt x="376" y="48"/>
                </a:cubicBezTo>
                <a:cubicBezTo>
                  <a:pt x="376" y="48"/>
                  <a:pt x="377" y="48"/>
                  <a:pt x="377" y="47"/>
                </a:cubicBezTo>
                <a:cubicBezTo>
                  <a:pt x="377" y="47"/>
                  <a:pt x="378" y="47"/>
                  <a:pt x="378" y="47"/>
                </a:cubicBezTo>
                <a:cubicBezTo>
                  <a:pt x="378" y="47"/>
                  <a:pt x="379" y="46"/>
                  <a:pt x="379" y="46"/>
                </a:cubicBezTo>
                <a:cubicBezTo>
                  <a:pt x="380" y="46"/>
                  <a:pt x="381" y="46"/>
                  <a:pt x="382" y="46"/>
                </a:cubicBezTo>
                <a:cubicBezTo>
                  <a:pt x="383" y="46"/>
                  <a:pt x="384" y="46"/>
                  <a:pt x="384" y="47"/>
                </a:cubicBezTo>
                <a:cubicBezTo>
                  <a:pt x="384" y="47"/>
                  <a:pt x="384" y="47"/>
                  <a:pt x="383" y="47"/>
                </a:cubicBezTo>
                <a:cubicBezTo>
                  <a:pt x="383" y="47"/>
                  <a:pt x="380" y="47"/>
                  <a:pt x="380" y="48"/>
                </a:cubicBezTo>
                <a:cubicBezTo>
                  <a:pt x="380" y="48"/>
                  <a:pt x="379" y="48"/>
                  <a:pt x="379" y="48"/>
                </a:cubicBezTo>
                <a:cubicBezTo>
                  <a:pt x="379" y="48"/>
                  <a:pt x="378" y="49"/>
                  <a:pt x="378" y="49"/>
                </a:cubicBezTo>
                <a:cubicBezTo>
                  <a:pt x="377" y="49"/>
                  <a:pt x="377" y="48"/>
                  <a:pt x="377" y="49"/>
                </a:cubicBezTo>
                <a:cubicBezTo>
                  <a:pt x="376" y="49"/>
                  <a:pt x="377" y="50"/>
                  <a:pt x="377" y="50"/>
                </a:cubicBezTo>
                <a:cubicBezTo>
                  <a:pt x="377" y="51"/>
                  <a:pt x="377" y="51"/>
                  <a:pt x="378" y="51"/>
                </a:cubicBezTo>
                <a:cubicBezTo>
                  <a:pt x="379" y="51"/>
                  <a:pt x="378" y="52"/>
                  <a:pt x="379" y="53"/>
                </a:cubicBezTo>
                <a:cubicBezTo>
                  <a:pt x="379" y="54"/>
                  <a:pt x="379" y="54"/>
                  <a:pt x="380" y="54"/>
                </a:cubicBezTo>
                <a:cubicBezTo>
                  <a:pt x="380" y="54"/>
                  <a:pt x="380" y="54"/>
                  <a:pt x="380" y="54"/>
                </a:cubicBezTo>
                <a:cubicBezTo>
                  <a:pt x="380" y="55"/>
                  <a:pt x="378" y="54"/>
                  <a:pt x="379" y="55"/>
                </a:cubicBezTo>
                <a:cubicBezTo>
                  <a:pt x="379" y="57"/>
                  <a:pt x="380" y="56"/>
                  <a:pt x="381" y="56"/>
                </a:cubicBezTo>
                <a:cubicBezTo>
                  <a:pt x="382" y="56"/>
                  <a:pt x="383" y="56"/>
                  <a:pt x="384" y="56"/>
                </a:cubicBezTo>
                <a:cubicBezTo>
                  <a:pt x="384" y="56"/>
                  <a:pt x="384" y="56"/>
                  <a:pt x="385" y="56"/>
                </a:cubicBezTo>
                <a:cubicBezTo>
                  <a:pt x="385" y="56"/>
                  <a:pt x="385" y="56"/>
                  <a:pt x="385" y="56"/>
                </a:cubicBezTo>
                <a:cubicBezTo>
                  <a:pt x="386" y="55"/>
                  <a:pt x="386" y="55"/>
                  <a:pt x="386" y="54"/>
                </a:cubicBezTo>
                <a:cubicBezTo>
                  <a:pt x="387" y="54"/>
                  <a:pt x="388" y="54"/>
                  <a:pt x="388" y="55"/>
                </a:cubicBezTo>
                <a:cubicBezTo>
                  <a:pt x="389" y="56"/>
                  <a:pt x="390" y="56"/>
                  <a:pt x="391" y="56"/>
                </a:cubicBezTo>
                <a:cubicBezTo>
                  <a:pt x="391" y="56"/>
                  <a:pt x="391" y="55"/>
                  <a:pt x="391" y="55"/>
                </a:cubicBezTo>
                <a:cubicBezTo>
                  <a:pt x="390" y="55"/>
                  <a:pt x="390" y="55"/>
                  <a:pt x="390" y="54"/>
                </a:cubicBezTo>
                <a:cubicBezTo>
                  <a:pt x="391" y="55"/>
                  <a:pt x="392" y="56"/>
                  <a:pt x="392" y="55"/>
                </a:cubicBezTo>
                <a:cubicBezTo>
                  <a:pt x="392" y="54"/>
                  <a:pt x="393" y="54"/>
                  <a:pt x="394" y="52"/>
                </a:cubicBezTo>
                <a:cubicBezTo>
                  <a:pt x="395" y="53"/>
                  <a:pt x="396" y="52"/>
                  <a:pt x="398" y="52"/>
                </a:cubicBezTo>
                <a:cubicBezTo>
                  <a:pt x="399" y="51"/>
                  <a:pt x="397" y="51"/>
                  <a:pt x="398" y="50"/>
                </a:cubicBezTo>
                <a:cubicBezTo>
                  <a:pt x="399" y="50"/>
                  <a:pt x="398" y="48"/>
                  <a:pt x="399" y="48"/>
                </a:cubicBezTo>
                <a:cubicBezTo>
                  <a:pt x="399" y="49"/>
                  <a:pt x="399" y="49"/>
                  <a:pt x="399" y="50"/>
                </a:cubicBezTo>
                <a:cubicBezTo>
                  <a:pt x="400" y="50"/>
                  <a:pt x="401" y="50"/>
                  <a:pt x="401" y="50"/>
                </a:cubicBezTo>
                <a:cubicBezTo>
                  <a:pt x="402" y="49"/>
                  <a:pt x="402" y="49"/>
                  <a:pt x="402" y="49"/>
                </a:cubicBezTo>
                <a:cubicBezTo>
                  <a:pt x="402" y="49"/>
                  <a:pt x="402" y="49"/>
                  <a:pt x="402" y="49"/>
                </a:cubicBezTo>
                <a:cubicBezTo>
                  <a:pt x="403" y="48"/>
                  <a:pt x="403" y="49"/>
                  <a:pt x="403" y="49"/>
                </a:cubicBezTo>
                <a:cubicBezTo>
                  <a:pt x="403" y="48"/>
                  <a:pt x="404" y="48"/>
                  <a:pt x="404" y="47"/>
                </a:cubicBezTo>
                <a:cubicBezTo>
                  <a:pt x="404" y="48"/>
                  <a:pt x="405" y="48"/>
                  <a:pt x="405" y="49"/>
                </a:cubicBezTo>
                <a:cubicBezTo>
                  <a:pt x="405" y="48"/>
                  <a:pt x="408" y="48"/>
                  <a:pt x="409" y="47"/>
                </a:cubicBezTo>
                <a:cubicBezTo>
                  <a:pt x="409" y="48"/>
                  <a:pt x="410" y="49"/>
                  <a:pt x="410" y="48"/>
                </a:cubicBezTo>
                <a:cubicBezTo>
                  <a:pt x="410" y="47"/>
                  <a:pt x="410" y="47"/>
                  <a:pt x="410" y="47"/>
                </a:cubicBezTo>
                <a:cubicBezTo>
                  <a:pt x="411" y="47"/>
                  <a:pt x="411" y="47"/>
                  <a:pt x="411" y="47"/>
                </a:cubicBezTo>
                <a:cubicBezTo>
                  <a:pt x="411" y="47"/>
                  <a:pt x="412" y="47"/>
                  <a:pt x="412" y="47"/>
                </a:cubicBezTo>
                <a:cubicBezTo>
                  <a:pt x="413" y="47"/>
                  <a:pt x="413" y="47"/>
                  <a:pt x="413" y="46"/>
                </a:cubicBezTo>
                <a:cubicBezTo>
                  <a:pt x="414" y="46"/>
                  <a:pt x="415" y="46"/>
                  <a:pt x="415" y="46"/>
                </a:cubicBezTo>
                <a:cubicBezTo>
                  <a:pt x="415" y="45"/>
                  <a:pt x="414" y="45"/>
                  <a:pt x="415" y="45"/>
                </a:cubicBezTo>
                <a:cubicBezTo>
                  <a:pt x="415" y="44"/>
                  <a:pt x="415" y="44"/>
                  <a:pt x="415" y="43"/>
                </a:cubicBezTo>
                <a:cubicBezTo>
                  <a:pt x="414" y="43"/>
                  <a:pt x="414" y="43"/>
                  <a:pt x="414" y="42"/>
                </a:cubicBezTo>
                <a:cubicBezTo>
                  <a:pt x="414" y="41"/>
                  <a:pt x="413" y="41"/>
                  <a:pt x="413" y="41"/>
                </a:cubicBezTo>
                <a:cubicBezTo>
                  <a:pt x="414" y="41"/>
                  <a:pt x="415" y="41"/>
                  <a:pt x="415" y="42"/>
                </a:cubicBezTo>
                <a:cubicBezTo>
                  <a:pt x="415" y="42"/>
                  <a:pt x="415" y="42"/>
                  <a:pt x="415" y="43"/>
                </a:cubicBezTo>
                <a:cubicBezTo>
                  <a:pt x="415" y="44"/>
                  <a:pt x="415" y="43"/>
                  <a:pt x="416" y="43"/>
                </a:cubicBezTo>
                <a:cubicBezTo>
                  <a:pt x="416" y="43"/>
                  <a:pt x="415" y="44"/>
                  <a:pt x="416" y="44"/>
                </a:cubicBezTo>
                <a:cubicBezTo>
                  <a:pt x="416" y="44"/>
                  <a:pt x="416" y="43"/>
                  <a:pt x="416" y="44"/>
                </a:cubicBezTo>
                <a:cubicBezTo>
                  <a:pt x="416" y="45"/>
                  <a:pt x="417" y="45"/>
                  <a:pt x="417" y="45"/>
                </a:cubicBezTo>
                <a:cubicBezTo>
                  <a:pt x="418" y="44"/>
                  <a:pt x="418" y="44"/>
                  <a:pt x="419" y="44"/>
                </a:cubicBezTo>
                <a:cubicBezTo>
                  <a:pt x="419" y="44"/>
                  <a:pt x="420" y="46"/>
                  <a:pt x="420" y="46"/>
                </a:cubicBezTo>
                <a:cubicBezTo>
                  <a:pt x="420" y="46"/>
                  <a:pt x="419" y="46"/>
                  <a:pt x="419" y="46"/>
                </a:cubicBezTo>
                <a:cubicBezTo>
                  <a:pt x="418" y="46"/>
                  <a:pt x="417" y="46"/>
                  <a:pt x="416" y="46"/>
                </a:cubicBezTo>
                <a:cubicBezTo>
                  <a:pt x="416" y="46"/>
                  <a:pt x="416" y="47"/>
                  <a:pt x="416" y="47"/>
                </a:cubicBezTo>
                <a:cubicBezTo>
                  <a:pt x="418" y="48"/>
                  <a:pt x="420" y="48"/>
                  <a:pt x="422" y="48"/>
                </a:cubicBezTo>
                <a:cubicBezTo>
                  <a:pt x="423" y="48"/>
                  <a:pt x="425" y="48"/>
                  <a:pt x="426" y="48"/>
                </a:cubicBezTo>
                <a:cubicBezTo>
                  <a:pt x="425" y="50"/>
                  <a:pt x="426" y="49"/>
                  <a:pt x="426" y="50"/>
                </a:cubicBezTo>
                <a:cubicBezTo>
                  <a:pt x="425" y="49"/>
                  <a:pt x="425" y="49"/>
                  <a:pt x="423" y="49"/>
                </a:cubicBezTo>
                <a:cubicBezTo>
                  <a:pt x="423" y="49"/>
                  <a:pt x="420" y="49"/>
                  <a:pt x="420" y="49"/>
                </a:cubicBezTo>
                <a:cubicBezTo>
                  <a:pt x="420" y="49"/>
                  <a:pt x="417" y="49"/>
                  <a:pt x="416" y="49"/>
                </a:cubicBezTo>
                <a:cubicBezTo>
                  <a:pt x="415" y="49"/>
                  <a:pt x="414" y="49"/>
                  <a:pt x="413" y="49"/>
                </a:cubicBezTo>
                <a:cubicBezTo>
                  <a:pt x="413" y="49"/>
                  <a:pt x="412" y="49"/>
                  <a:pt x="411" y="48"/>
                </a:cubicBezTo>
                <a:cubicBezTo>
                  <a:pt x="411" y="49"/>
                  <a:pt x="411" y="49"/>
                  <a:pt x="410" y="49"/>
                </a:cubicBezTo>
                <a:cubicBezTo>
                  <a:pt x="409" y="49"/>
                  <a:pt x="410" y="49"/>
                  <a:pt x="409" y="49"/>
                </a:cubicBezTo>
                <a:cubicBezTo>
                  <a:pt x="409" y="49"/>
                  <a:pt x="409" y="49"/>
                  <a:pt x="409" y="49"/>
                </a:cubicBezTo>
                <a:cubicBezTo>
                  <a:pt x="409" y="49"/>
                  <a:pt x="408" y="49"/>
                  <a:pt x="408" y="49"/>
                </a:cubicBezTo>
                <a:cubicBezTo>
                  <a:pt x="408" y="49"/>
                  <a:pt x="406" y="50"/>
                  <a:pt x="406" y="50"/>
                </a:cubicBezTo>
                <a:cubicBezTo>
                  <a:pt x="406" y="51"/>
                  <a:pt x="405" y="50"/>
                  <a:pt x="405" y="50"/>
                </a:cubicBezTo>
                <a:cubicBezTo>
                  <a:pt x="405" y="51"/>
                  <a:pt x="405" y="51"/>
                  <a:pt x="405" y="51"/>
                </a:cubicBezTo>
                <a:cubicBezTo>
                  <a:pt x="404" y="51"/>
                  <a:pt x="405" y="51"/>
                  <a:pt x="403" y="51"/>
                </a:cubicBezTo>
                <a:cubicBezTo>
                  <a:pt x="403" y="51"/>
                  <a:pt x="402" y="51"/>
                  <a:pt x="401" y="51"/>
                </a:cubicBezTo>
                <a:cubicBezTo>
                  <a:pt x="401" y="52"/>
                  <a:pt x="401" y="52"/>
                  <a:pt x="401" y="53"/>
                </a:cubicBezTo>
                <a:cubicBezTo>
                  <a:pt x="401" y="53"/>
                  <a:pt x="401" y="53"/>
                  <a:pt x="401" y="53"/>
                </a:cubicBezTo>
                <a:cubicBezTo>
                  <a:pt x="401" y="54"/>
                  <a:pt x="401" y="54"/>
                  <a:pt x="400" y="54"/>
                </a:cubicBezTo>
                <a:cubicBezTo>
                  <a:pt x="400" y="55"/>
                  <a:pt x="400" y="55"/>
                  <a:pt x="401" y="56"/>
                </a:cubicBezTo>
                <a:cubicBezTo>
                  <a:pt x="401" y="56"/>
                  <a:pt x="401" y="56"/>
                  <a:pt x="401" y="56"/>
                </a:cubicBezTo>
                <a:cubicBezTo>
                  <a:pt x="402" y="56"/>
                  <a:pt x="403" y="56"/>
                  <a:pt x="404" y="55"/>
                </a:cubicBezTo>
                <a:cubicBezTo>
                  <a:pt x="405" y="55"/>
                  <a:pt x="405" y="56"/>
                  <a:pt x="405" y="55"/>
                </a:cubicBezTo>
                <a:cubicBezTo>
                  <a:pt x="406" y="55"/>
                  <a:pt x="406" y="55"/>
                  <a:pt x="406" y="55"/>
                </a:cubicBezTo>
                <a:cubicBezTo>
                  <a:pt x="407" y="55"/>
                  <a:pt x="408" y="54"/>
                  <a:pt x="408" y="55"/>
                </a:cubicBezTo>
                <a:cubicBezTo>
                  <a:pt x="408" y="55"/>
                  <a:pt x="408" y="55"/>
                  <a:pt x="407" y="55"/>
                </a:cubicBezTo>
                <a:cubicBezTo>
                  <a:pt x="408" y="56"/>
                  <a:pt x="409" y="55"/>
                  <a:pt x="410" y="55"/>
                </a:cubicBezTo>
                <a:cubicBezTo>
                  <a:pt x="411" y="55"/>
                  <a:pt x="412" y="55"/>
                  <a:pt x="413" y="55"/>
                </a:cubicBezTo>
                <a:cubicBezTo>
                  <a:pt x="413" y="55"/>
                  <a:pt x="413" y="55"/>
                  <a:pt x="414" y="54"/>
                </a:cubicBezTo>
                <a:cubicBezTo>
                  <a:pt x="414" y="54"/>
                  <a:pt x="414" y="52"/>
                  <a:pt x="415" y="52"/>
                </a:cubicBezTo>
                <a:cubicBezTo>
                  <a:pt x="416" y="52"/>
                  <a:pt x="416" y="52"/>
                  <a:pt x="416" y="53"/>
                </a:cubicBezTo>
                <a:cubicBezTo>
                  <a:pt x="416" y="53"/>
                  <a:pt x="416" y="53"/>
                  <a:pt x="416" y="54"/>
                </a:cubicBezTo>
                <a:cubicBezTo>
                  <a:pt x="416" y="54"/>
                  <a:pt x="415" y="54"/>
                  <a:pt x="416" y="54"/>
                </a:cubicBezTo>
                <a:cubicBezTo>
                  <a:pt x="416" y="54"/>
                  <a:pt x="416" y="54"/>
                  <a:pt x="416" y="55"/>
                </a:cubicBezTo>
                <a:cubicBezTo>
                  <a:pt x="416" y="55"/>
                  <a:pt x="415" y="54"/>
                  <a:pt x="415" y="55"/>
                </a:cubicBezTo>
                <a:cubicBezTo>
                  <a:pt x="415" y="56"/>
                  <a:pt x="415" y="56"/>
                  <a:pt x="415" y="56"/>
                </a:cubicBezTo>
                <a:cubicBezTo>
                  <a:pt x="413" y="56"/>
                  <a:pt x="414" y="56"/>
                  <a:pt x="414" y="56"/>
                </a:cubicBezTo>
                <a:cubicBezTo>
                  <a:pt x="415" y="57"/>
                  <a:pt x="414" y="57"/>
                  <a:pt x="415" y="57"/>
                </a:cubicBezTo>
                <a:cubicBezTo>
                  <a:pt x="416" y="57"/>
                  <a:pt x="416" y="58"/>
                  <a:pt x="416" y="58"/>
                </a:cubicBezTo>
                <a:cubicBezTo>
                  <a:pt x="416" y="60"/>
                  <a:pt x="418" y="60"/>
                  <a:pt x="418" y="58"/>
                </a:cubicBezTo>
                <a:cubicBezTo>
                  <a:pt x="418" y="58"/>
                  <a:pt x="419" y="59"/>
                  <a:pt x="419" y="59"/>
                </a:cubicBezTo>
                <a:cubicBezTo>
                  <a:pt x="419" y="59"/>
                  <a:pt x="419" y="59"/>
                  <a:pt x="419" y="59"/>
                </a:cubicBezTo>
                <a:cubicBezTo>
                  <a:pt x="419" y="60"/>
                  <a:pt x="420" y="60"/>
                  <a:pt x="420" y="60"/>
                </a:cubicBezTo>
                <a:cubicBezTo>
                  <a:pt x="421" y="60"/>
                  <a:pt x="422" y="60"/>
                  <a:pt x="422" y="60"/>
                </a:cubicBezTo>
                <a:cubicBezTo>
                  <a:pt x="423" y="59"/>
                  <a:pt x="423" y="59"/>
                  <a:pt x="424" y="59"/>
                </a:cubicBezTo>
                <a:cubicBezTo>
                  <a:pt x="423" y="60"/>
                  <a:pt x="422" y="60"/>
                  <a:pt x="422" y="61"/>
                </a:cubicBezTo>
                <a:cubicBezTo>
                  <a:pt x="423" y="61"/>
                  <a:pt x="422" y="61"/>
                  <a:pt x="422" y="62"/>
                </a:cubicBezTo>
                <a:cubicBezTo>
                  <a:pt x="422" y="62"/>
                  <a:pt x="422" y="62"/>
                  <a:pt x="421" y="62"/>
                </a:cubicBezTo>
                <a:cubicBezTo>
                  <a:pt x="421" y="62"/>
                  <a:pt x="421" y="62"/>
                  <a:pt x="421" y="63"/>
                </a:cubicBezTo>
                <a:cubicBezTo>
                  <a:pt x="419" y="63"/>
                  <a:pt x="419" y="62"/>
                  <a:pt x="418" y="62"/>
                </a:cubicBezTo>
                <a:cubicBezTo>
                  <a:pt x="417" y="62"/>
                  <a:pt x="417" y="62"/>
                  <a:pt x="416" y="62"/>
                </a:cubicBezTo>
                <a:cubicBezTo>
                  <a:pt x="416" y="62"/>
                  <a:pt x="415" y="62"/>
                  <a:pt x="414" y="62"/>
                </a:cubicBezTo>
                <a:cubicBezTo>
                  <a:pt x="414" y="61"/>
                  <a:pt x="413" y="61"/>
                  <a:pt x="413" y="60"/>
                </a:cubicBezTo>
                <a:cubicBezTo>
                  <a:pt x="412" y="59"/>
                  <a:pt x="411" y="60"/>
                  <a:pt x="411" y="60"/>
                </a:cubicBezTo>
                <a:cubicBezTo>
                  <a:pt x="410" y="60"/>
                  <a:pt x="410" y="58"/>
                  <a:pt x="409" y="58"/>
                </a:cubicBezTo>
                <a:cubicBezTo>
                  <a:pt x="408" y="58"/>
                  <a:pt x="406" y="58"/>
                  <a:pt x="406" y="57"/>
                </a:cubicBezTo>
                <a:cubicBezTo>
                  <a:pt x="406" y="57"/>
                  <a:pt x="405" y="57"/>
                  <a:pt x="404" y="58"/>
                </a:cubicBezTo>
                <a:cubicBezTo>
                  <a:pt x="404" y="58"/>
                  <a:pt x="404" y="58"/>
                  <a:pt x="404" y="58"/>
                </a:cubicBezTo>
                <a:cubicBezTo>
                  <a:pt x="404" y="58"/>
                  <a:pt x="404" y="58"/>
                  <a:pt x="403" y="58"/>
                </a:cubicBezTo>
                <a:cubicBezTo>
                  <a:pt x="402" y="58"/>
                  <a:pt x="401" y="58"/>
                  <a:pt x="399" y="58"/>
                </a:cubicBezTo>
                <a:cubicBezTo>
                  <a:pt x="399" y="59"/>
                  <a:pt x="400" y="61"/>
                  <a:pt x="401" y="61"/>
                </a:cubicBezTo>
                <a:cubicBezTo>
                  <a:pt x="402" y="61"/>
                  <a:pt x="403" y="61"/>
                  <a:pt x="403" y="62"/>
                </a:cubicBezTo>
                <a:cubicBezTo>
                  <a:pt x="403" y="63"/>
                  <a:pt x="403" y="63"/>
                  <a:pt x="403" y="64"/>
                </a:cubicBezTo>
                <a:cubicBezTo>
                  <a:pt x="401" y="64"/>
                  <a:pt x="401" y="64"/>
                  <a:pt x="399" y="64"/>
                </a:cubicBezTo>
                <a:cubicBezTo>
                  <a:pt x="398" y="64"/>
                  <a:pt x="398" y="64"/>
                  <a:pt x="397" y="64"/>
                </a:cubicBezTo>
                <a:cubicBezTo>
                  <a:pt x="397" y="64"/>
                  <a:pt x="397" y="65"/>
                  <a:pt x="396" y="65"/>
                </a:cubicBezTo>
                <a:cubicBezTo>
                  <a:pt x="396" y="65"/>
                  <a:pt x="396" y="65"/>
                  <a:pt x="395" y="65"/>
                </a:cubicBezTo>
                <a:cubicBezTo>
                  <a:pt x="394" y="65"/>
                  <a:pt x="395" y="65"/>
                  <a:pt x="394" y="66"/>
                </a:cubicBezTo>
                <a:cubicBezTo>
                  <a:pt x="394" y="66"/>
                  <a:pt x="394" y="66"/>
                  <a:pt x="394" y="66"/>
                </a:cubicBezTo>
                <a:cubicBezTo>
                  <a:pt x="393" y="66"/>
                  <a:pt x="393" y="67"/>
                  <a:pt x="392" y="67"/>
                </a:cubicBezTo>
                <a:cubicBezTo>
                  <a:pt x="392" y="67"/>
                  <a:pt x="392" y="67"/>
                  <a:pt x="392" y="67"/>
                </a:cubicBezTo>
                <a:cubicBezTo>
                  <a:pt x="391" y="67"/>
                  <a:pt x="393" y="67"/>
                  <a:pt x="391" y="68"/>
                </a:cubicBezTo>
                <a:cubicBezTo>
                  <a:pt x="390" y="68"/>
                  <a:pt x="391" y="68"/>
                  <a:pt x="391" y="69"/>
                </a:cubicBezTo>
                <a:cubicBezTo>
                  <a:pt x="391" y="70"/>
                  <a:pt x="391" y="70"/>
                  <a:pt x="392" y="70"/>
                </a:cubicBezTo>
                <a:cubicBezTo>
                  <a:pt x="392" y="71"/>
                  <a:pt x="392" y="71"/>
                  <a:pt x="392" y="72"/>
                </a:cubicBezTo>
                <a:cubicBezTo>
                  <a:pt x="393" y="72"/>
                  <a:pt x="394" y="72"/>
                  <a:pt x="394" y="72"/>
                </a:cubicBezTo>
                <a:cubicBezTo>
                  <a:pt x="394" y="71"/>
                  <a:pt x="394" y="71"/>
                  <a:pt x="394" y="71"/>
                </a:cubicBezTo>
                <a:cubicBezTo>
                  <a:pt x="394" y="70"/>
                  <a:pt x="395" y="71"/>
                  <a:pt x="395" y="71"/>
                </a:cubicBezTo>
                <a:cubicBezTo>
                  <a:pt x="395" y="71"/>
                  <a:pt x="396" y="70"/>
                  <a:pt x="396" y="71"/>
                </a:cubicBezTo>
                <a:cubicBezTo>
                  <a:pt x="396" y="72"/>
                  <a:pt x="395" y="72"/>
                  <a:pt x="396" y="72"/>
                </a:cubicBezTo>
                <a:cubicBezTo>
                  <a:pt x="398" y="72"/>
                  <a:pt x="400" y="73"/>
                  <a:pt x="401" y="71"/>
                </a:cubicBezTo>
                <a:cubicBezTo>
                  <a:pt x="400" y="71"/>
                  <a:pt x="400" y="71"/>
                  <a:pt x="400" y="71"/>
                </a:cubicBezTo>
                <a:cubicBezTo>
                  <a:pt x="400" y="70"/>
                  <a:pt x="400" y="70"/>
                  <a:pt x="401" y="70"/>
                </a:cubicBezTo>
                <a:cubicBezTo>
                  <a:pt x="401" y="70"/>
                  <a:pt x="401" y="69"/>
                  <a:pt x="401" y="69"/>
                </a:cubicBezTo>
                <a:cubicBezTo>
                  <a:pt x="401" y="69"/>
                  <a:pt x="402" y="70"/>
                  <a:pt x="402" y="70"/>
                </a:cubicBezTo>
                <a:cubicBezTo>
                  <a:pt x="402" y="70"/>
                  <a:pt x="402" y="70"/>
                  <a:pt x="402" y="70"/>
                </a:cubicBezTo>
                <a:cubicBezTo>
                  <a:pt x="402" y="71"/>
                  <a:pt x="402" y="71"/>
                  <a:pt x="402" y="71"/>
                </a:cubicBezTo>
                <a:cubicBezTo>
                  <a:pt x="402" y="72"/>
                  <a:pt x="404" y="72"/>
                  <a:pt x="404" y="72"/>
                </a:cubicBezTo>
                <a:cubicBezTo>
                  <a:pt x="404" y="72"/>
                  <a:pt x="404" y="70"/>
                  <a:pt x="404" y="70"/>
                </a:cubicBezTo>
                <a:cubicBezTo>
                  <a:pt x="404" y="70"/>
                  <a:pt x="405" y="69"/>
                  <a:pt x="405" y="70"/>
                </a:cubicBezTo>
                <a:cubicBezTo>
                  <a:pt x="405" y="70"/>
                  <a:pt x="405" y="71"/>
                  <a:pt x="405" y="71"/>
                </a:cubicBezTo>
                <a:cubicBezTo>
                  <a:pt x="406" y="71"/>
                  <a:pt x="406" y="72"/>
                  <a:pt x="407" y="72"/>
                </a:cubicBezTo>
                <a:cubicBezTo>
                  <a:pt x="408" y="72"/>
                  <a:pt x="408" y="72"/>
                  <a:pt x="409" y="72"/>
                </a:cubicBezTo>
                <a:cubicBezTo>
                  <a:pt x="409" y="72"/>
                  <a:pt x="411" y="72"/>
                  <a:pt x="412" y="73"/>
                </a:cubicBezTo>
                <a:cubicBezTo>
                  <a:pt x="411" y="72"/>
                  <a:pt x="413" y="73"/>
                  <a:pt x="412" y="73"/>
                </a:cubicBezTo>
                <a:cubicBezTo>
                  <a:pt x="413" y="73"/>
                  <a:pt x="413" y="74"/>
                  <a:pt x="413" y="73"/>
                </a:cubicBezTo>
                <a:cubicBezTo>
                  <a:pt x="413" y="73"/>
                  <a:pt x="412" y="72"/>
                  <a:pt x="413" y="72"/>
                </a:cubicBezTo>
                <a:cubicBezTo>
                  <a:pt x="413" y="72"/>
                  <a:pt x="414" y="71"/>
                  <a:pt x="414" y="71"/>
                </a:cubicBezTo>
                <a:cubicBezTo>
                  <a:pt x="414" y="71"/>
                  <a:pt x="415" y="71"/>
                  <a:pt x="415" y="71"/>
                </a:cubicBezTo>
                <a:cubicBezTo>
                  <a:pt x="416" y="70"/>
                  <a:pt x="414" y="69"/>
                  <a:pt x="414" y="69"/>
                </a:cubicBezTo>
                <a:cubicBezTo>
                  <a:pt x="415" y="69"/>
                  <a:pt x="416" y="70"/>
                  <a:pt x="417" y="69"/>
                </a:cubicBezTo>
                <a:cubicBezTo>
                  <a:pt x="417" y="68"/>
                  <a:pt x="418" y="68"/>
                  <a:pt x="418" y="68"/>
                </a:cubicBezTo>
                <a:cubicBezTo>
                  <a:pt x="418" y="67"/>
                  <a:pt x="418" y="67"/>
                  <a:pt x="418" y="67"/>
                </a:cubicBezTo>
                <a:cubicBezTo>
                  <a:pt x="419" y="67"/>
                  <a:pt x="418" y="67"/>
                  <a:pt x="419" y="67"/>
                </a:cubicBezTo>
                <a:cubicBezTo>
                  <a:pt x="419" y="68"/>
                  <a:pt x="419" y="69"/>
                  <a:pt x="418" y="69"/>
                </a:cubicBezTo>
                <a:cubicBezTo>
                  <a:pt x="418" y="69"/>
                  <a:pt x="418" y="69"/>
                  <a:pt x="418" y="70"/>
                </a:cubicBezTo>
                <a:cubicBezTo>
                  <a:pt x="419" y="71"/>
                  <a:pt x="419" y="70"/>
                  <a:pt x="420" y="70"/>
                </a:cubicBezTo>
                <a:cubicBezTo>
                  <a:pt x="421" y="70"/>
                  <a:pt x="421" y="70"/>
                  <a:pt x="422" y="70"/>
                </a:cubicBezTo>
                <a:cubicBezTo>
                  <a:pt x="423" y="70"/>
                  <a:pt x="423" y="70"/>
                  <a:pt x="423" y="70"/>
                </a:cubicBezTo>
                <a:cubicBezTo>
                  <a:pt x="423" y="70"/>
                  <a:pt x="423" y="70"/>
                  <a:pt x="424" y="70"/>
                </a:cubicBezTo>
                <a:cubicBezTo>
                  <a:pt x="424" y="70"/>
                  <a:pt x="425" y="70"/>
                  <a:pt x="425" y="70"/>
                </a:cubicBezTo>
                <a:cubicBezTo>
                  <a:pt x="426" y="70"/>
                  <a:pt x="429" y="70"/>
                  <a:pt x="428" y="67"/>
                </a:cubicBezTo>
                <a:cubicBezTo>
                  <a:pt x="428" y="67"/>
                  <a:pt x="427" y="66"/>
                  <a:pt x="427" y="66"/>
                </a:cubicBezTo>
                <a:cubicBezTo>
                  <a:pt x="428" y="66"/>
                  <a:pt x="428" y="68"/>
                  <a:pt x="429" y="67"/>
                </a:cubicBezTo>
                <a:cubicBezTo>
                  <a:pt x="429" y="67"/>
                  <a:pt x="428" y="68"/>
                  <a:pt x="429" y="69"/>
                </a:cubicBezTo>
                <a:cubicBezTo>
                  <a:pt x="430" y="70"/>
                  <a:pt x="431" y="70"/>
                  <a:pt x="431" y="69"/>
                </a:cubicBezTo>
                <a:cubicBezTo>
                  <a:pt x="432" y="67"/>
                  <a:pt x="434" y="71"/>
                  <a:pt x="433" y="71"/>
                </a:cubicBezTo>
                <a:cubicBezTo>
                  <a:pt x="433" y="72"/>
                  <a:pt x="433" y="73"/>
                  <a:pt x="433" y="74"/>
                </a:cubicBezTo>
                <a:cubicBezTo>
                  <a:pt x="434" y="74"/>
                  <a:pt x="435" y="73"/>
                  <a:pt x="435" y="74"/>
                </a:cubicBezTo>
                <a:cubicBezTo>
                  <a:pt x="437" y="74"/>
                  <a:pt x="437" y="72"/>
                  <a:pt x="438" y="72"/>
                </a:cubicBezTo>
                <a:cubicBezTo>
                  <a:pt x="439" y="72"/>
                  <a:pt x="439" y="71"/>
                  <a:pt x="439" y="71"/>
                </a:cubicBezTo>
                <a:cubicBezTo>
                  <a:pt x="440" y="71"/>
                  <a:pt x="440" y="70"/>
                  <a:pt x="441" y="69"/>
                </a:cubicBezTo>
                <a:cubicBezTo>
                  <a:pt x="441" y="70"/>
                  <a:pt x="442" y="71"/>
                  <a:pt x="443" y="70"/>
                </a:cubicBezTo>
                <a:cubicBezTo>
                  <a:pt x="443" y="70"/>
                  <a:pt x="444" y="70"/>
                  <a:pt x="444" y="70"/>
                </a:cubicBezTo>
                <a:cubicBezTo>
                  <a:pt x="444" y="69"/>
                  <a:pt x="444" y="70"/>
                  <a:pt x="444" y="70"/>
                </a:cubicBezTo>
                <a:cubicBezTo>
                  <a:pt x="445" y="68"/>
                  <a:pt x="447" y="68"/>
                  <a:pt x="448" y="67"/>
                </a:cubicBezTo>
                <a:cubicBezTo>
                  <a:pt x="447" y="66"/>
                  <a:pt x="447" y="66"/>
                  <a:pt x="446" y="66"/>
                </a:cubicBezTo>
                <a:cubicBezTo>
                  <a:pt x="445" y="66"/>
                  <a:pt x="446" y="66"/>
                  <a:pt x="445" y="66"/>
                </a:cubicBezTo>
                <a:cubicBezTo>
                  <a:pt x="444" y="66"/>
                  <a:pt x="444" y="66"/>
                  <a:pt x="444" y="66"/>
                </a:cubicBezTo>
                <a:cubicBezTo>
                  <a:pt x="444" y="65"/>
                  <a:pt x="443" y="65"/>
                  <a:pt x="443" y="64"/>
                </a:cubicBezTo>
                <a:cubicBezTo>
                  <a:pt x="442" y="64"/>
                  <a:pt x="442" y="63"/>
                  <a:pt x="441" y="63"/>
                </a:cubicBezTo>
                <a:cubicBezTo>
                  <a:pt x="440" y="63"/>
                  <a:pt x="438" y="63"/>
                  <a:pt x="437" y="63"/>
                </a:cubicBezTo>
                <a:cubicBezTo>
                  <a:pt x="437" y="62"/>
                  <a:pt x="441" y="62"/>
                  <a:pt x="441" y="62"/>
                </a:cubicBezTo>
                <a:cubicBezTo>
                  <a:pt x="441" y="62"/>
                  <a:pt x="442" y="62"/>
                  <a:pt x="443" y="62"/>
                </a:cubicBezTo>
                <a:cubicBezTo>
                  <a:pt x="443" y="61"/>
                  <a:pt x="446" y="61"/>
                  <a:pt x="447" y="61"/>
                </a:cubicBezTo>
                <a:cubicBezTo>
                  <a:pt x="447" y="61"/>
                  <a:pt x="447" y="61"/>
                  <a:pt x="447" y="60"/>
                </a:cubicBezTo>
                <a:cubicBezTo>
                  <a:pt x="447" y="60"/>
                  <a:pt x="448" y="59"/>
                  <a:pt x="447" y="59"/>
                </a:cubicBezTo>
                <a:cubicBezTo>
                  <a:pt x="446" y="59"/>
                  <a:pt x="447" y="58"/>
                  <a:pt x="447" y="58"/>
                </a:cubicBezTo>
                <a:cubicBezTo>
                  <a:pt x="448" y="57"/>
                  <a:pt x="451" y="58"/>
                  <a:pt x="453" y="58"/>
                </a:cubicBezTo>
                <a:cubicBezTo>
                  <a:pt x="454" y="58"/>
                  <a:pt x="455" y="57"/>
                  <a:pt x="456" y="57"/>
                </a:cubicBezTo>
                <a:cubicBezTo>
                  <a:pt x="457" y="57"/>
                  <a:pt x="458" y="57"/>
                  <a:pt x="458" y="55"/>
                </a:cubicBezTo>
                <a:cubicBezTo>
                  <a:pt x="457" y="55"/>
                  <a:pt x="457" y="56"/>
                  <a:pt x="456" y="55"/>
                </a:cubicBezTo>
                <a:cubicBezTo>
                  <a:pt x="456" y="55"/>
                  <a:pt x="456" y="55"/>
                  <a:pt x="456" y="55"/>
                </a:cubicBezTo>
                <a:cubicBezTo>
                  <a:pt x="455" y="55"/>
                  <a:pt x="456" y="55"/>
                  <a:pt x="456" y="55"/>
                </a:cubicBezTo>
                <a:cubicBezTo>
                  <a:pt x="457" y="55"/>
                  <a:pt x="458" y="54"/>
                  <a:pt x="458" y="54"/>
                </a:cubicBezTo>
                <a:cubicBezTo>
                  <a:pt x="459" y="54"/>
                  <a:pt x="459" y="55"/>
                  <a:pt x="459" y="55"/>
                </a:cubicBezTo>
                <a:cubicBezTo>
                  <a:pt x="459" y="55"/>
                  <a:pt x="459" y="54"/>
                  <a:pt x="460" y="54"/>
                </a:cubicBezTo>
                <a:cubicBezTo>
                  <a:pt x="460" y="54"/>
                  <a:pt x="461" y="54"/>
                  <a:pt x="461" y="54"/>
                </a:cubicBezTo>
                <a:cubicBezTo>
                  <a:pt x="461" y="54"/>
                  <a:pt x="461" y="53"/>
                  <a:pt x="460" y="53"/>
                </a:cubicBezTo>
                <a:cubicBezTo>
                  <a:pt x="460" y="53"/>
                  <a:pt x="459" y="52"/>
                  <a:pt x="459" y="52"/>
                </a:cubicBezTo>
                <a:cubicBezTo>
                  <a:pt x="461" y="52"/>
                  <a:pt x="462" y="52"/>
                  <a:pt x="463" y="52"/>
                </a:cubicBezTo>
                <a:cubicBezTo>
                  <a:pt x="464" y="52"/>
                  <a:pt x="464" y="51"/>
                  <a:pt x="465" y="51"/>
                </a:cubicBezTo>
                <a:cubicBezTo>
                  <a:pt x="465" y="50"/>
                  <a:pt x="465" y="50"/>
                  <a:pt x="465" y="49"/>
                </a:cubicBezTo>
                <a:cubicBezTo>
                  <a:pt x="463" y="49"/>
                  <a:pt x="462" y="49"/>
                  <a:pt x="461" y="49"/>
                </a:cubicBezTo>
                <a:cubicBezTo>
                  <a:pt x="461" y="48"/>
                  <a:pt x="461" y="48"/>
                  <a:pt x="460" y="48"/>
                </a:cubicBezTo>
                <a:cubicBezTo>
                  <a:pt x="459" y="48"/>
                  <a:pt x="458" y="48"/>
                  <a:pt x="457" y="47"/>
                </a:cubicBezTo>
                <a:cubicBezTo>
                  <a:pt x="457" y="48"/>
                  <a:pt x="456" y="48"/>
                  <a:pt x="455" y="48"/>
                </a:cubicBezTo>
                <a:cubicBezTo>
                  <a:pt x="455" y="48"/>
                  <a:pt x="454" y="48"/>
                  <a:pt x="454" y="48"/>
                </a:cubicBezTo>
                <a:cubicBezTo>
                  <a:pt x="454" y="48"/>
                  <a:pt x="453" y="49"/>
                  <a:pt x="453" y="49"/>
                </a:cubicBezTo>
                <a:cubicBezTo>
                  <a:pt x="453" y="49"/>
                  <a:pt x="452" y="49"/>
                  <a:pt x="452" y="49"/>
                </a:cubicBezTo>
                <a:cubicBezTo>
                  <a:pt x="451" y="49"/>
                  <a:pt x="452" y="49"/>
                  <a:pt x="451" y="49"/>
                </a:cubicBezTo>
                <a:cubicBezTo>
                  <a:pt x="451" y="49"/>
                  <a:pt x="451" y="49"/>
                  <a:pt x="451" y="49"/>
                </a:cubicBezTo>
                <a:cubicBezTo>
                  <a:pt x="451" y="50"/>
                  <a:pt x="449" y="50"/>
                  <a:pt x="449" y="50"/>
                </a:cubicBezTo>
                <a:cubicBezTo>
                  <a:pt x="448" y="50"/>
                  <a:pt x="448" y="50"/>
                  <a:pt x="448" y="50"/>
                </a:cubicBezTo>
                <a:cubicBezTo>
                  <a:pt x="448" y="50"/>
                  <a:pt x="448" y="50"/>
                  <a:pt x="448" y="49"/>
                </a:cubicBezTo>
                <a:cubicBezTo>
                  <a:pt x="448" y="49"/>
                  <a:pt x="448" y="49"/>
                  <a:pt x="449" y="49"/>
                </a:cubicBezTo>
                <a:cubicBezTo>
                  <a:pt x="450" y="48"/>
                  <a:pt x="450" y="48"/>
                  <a:pt x="451" y="47"/>
                </a:cubicBezTo>
                <a:cubicBezTo>
                  <a:pt x="449" y="47"/>
                  <a:pt x="447" y="46"/>
                  <a:pt x="445" y="46"/>
                </a:cubicBezTo>
                <a:cubicBezTo>
                  <a:pt x="445" y="46"/>
                  <a:pt x="446" y="46"/>
                  <a:pt x="446" y="46"/>
                </a:cubicBezTo>
                <a:cubicBezTo>
                  <a:pt x="447" y="46"/>
                  <a:pt x="447" y="46"/>
                  <a:pt x="447" y="46"/>
                </a:cubicBezTo>
                <a:cubicBezTo>
                  <a:pt x="449" y="46"/>
                  <a:pt x="448" y="46"/>
                  <a:pt x="448" y="46"/>
                </a:cubicBezTo>
                <a:cubicBezTo>
                  <a:pt x="448" y="46"/>
                  <a:pt x="449" y="46"/>
                  <a:pt x="449" y="46"/>
                </a:cubicBezTo>
                <a:cubicBezTo>
                  <a:pt x="450" y="46"/>
                  <a:pt x="449" y="46"/>
                  <a:pt x="450" y="46"/>
                </a:cubicBezTo>
                <a:cubicBezTo>
                  <a:pt x="450" y="46"/>
                  <a:pt x="451" y="46"/>
                  <a:pt x="451" y="46"/>
                </a:cubicBezTo>
                <a:cubicBezTo>
                  <a:pt x="452" y="47"/>
                  <a:pt x="452" y="47"/>
                  <a:pt x="452" y="47"/>
                </a:cubicBezTo>
                <a:cubicBezTo>
                  <a:pt x="453" y="48"/>
                  <a:pt x="454" y="46"/>
                  <a:pt x="455" y="46"/>
                </a:cubicBezTo>
                <a:cubicBezTo>
                  <a:pt x="455" y="46"/>
                  <a:pt x="455" y="47"/>
                  <a:pt x="455" y="47"/>
                </a:cubicBezTo>
                <a:cubicBezTo>
                  <a:pt x="456" y="47"/>
                  <a:pt x="457" y="47"/>
                  <a:pt x="458" y="46"/>
                </a:cubicBezTo>
                <a:cubicBezTo>
                  <a:pt x="457" y="45"/>
                  <a:pt x="457" y="45"/>
                  <a:pt x="455" y="45"/>
                </a:cubicBezTo>
                <a:cubicBezTo>
                  <a:pt x="455" y="45"/>
                  <a:pt x="452" y="44"/>
                  <a:pt x="452" y="44"/>
                </a:cubicBezTo>
                <a:cubicBezTo>
                  <a:pt x="453" y="44"/>
                  <a:pt x="455" y="44"/>
                  <a:pt x="456" y="44"/>
                </a:cubicBezTo>
                <a:cubicBezTo>
                  <a:pt x="456" y="44"/>
                  <a:pt x="456" y="44"/>
                  <a:pt x="456" y="44"/>
                </a:cubicBezTo>
                <a:cubicBezTo>
                  <a:pt x="457" y="44"/>
                  <a:pt x="457" y="44"/>
                  <a:pt x="457" y="44"/>
                </a:cubicBezTo>
                <a:cubicBezTo>
                  <a:pt x="458" y="44"/>
                  <a:pt x="459" y="45"/>
                  <a:pt x="459" y="45"/>
                </a:cubicBezTo>
                <a:cubicBezTo>
                  <a:pt x="460" y="45"/>
                  <a:pt x="461" y="45"/>
                  <a:pt x="461" y="44"/>
                </a:cubicBezTo>
                <a:cubicBezTo>
                  <a:pt x="458" y="43"/>
                  <a:pt x="455" y="43"/>
                  <a:pt x="452" y="43"/>
                </a:cubicBezTo>
                <a:cubicBezTo>
                  <a:pt x="452" y="42"/>
                  <a:pt x="452" y="42"/>
                  <a:pt x="452" y="41"/>
                </a:cubicBezTo>
                <a:cubicBezTo>
                  <a:pt x="453" y="41"/>
                  <a:pt x="455" y="42"/>
                  <a:pt x="456" y="42"/>
                </a:cubicBezTo>
                <a:cubicBezTo>
                  <a:pt x="456" y="41"/>
                  <a:pt x="456" y="41"/>
                  <a:pt x="456" y="41"/>
                </a:cubicBezTo>
                <a:cubicBezTo>
                  <a:pt x="457" y="41"/>
                  <a:pt x="457" y="41"/>
                  <a:pt x="457" y="41"/>
                </a:cubicBezTo>
                <a:cubicBezTo>
                  <a:pt x="458" y="42"/>
                  <a:pt x="458" y="42"/>
                  <a:pt x="459" y="43"/>
                </a:cubicBezTo>
                <a:cubicBezTo>
                  <a:pt x="460" y="43"/>
                  <a:pt x="461" y="42"/>
                  <a:pt x="461" y="43"/>
                </a:cubicBezTo>
                <a:cubicBezTo>
                  <a:pt x="461" y="43"/>
                  <a:pt x="461" y="43"/>
                  <a:pt x="462" y="43"/>
                </a:cubicBezTo>
                <a:cubicBezTo>
                  <a:pt x="461" y="42"/>
                  <a:pt x="461" y="42"/>
                  <a:pt x="461" y="42"/>
                </a:cubicBezTo>
                <a:cubicBezTo>
                  <a:pt x="462" y="42"/>
                  <a:pt x="463" y="42"/>
                  <a:pt x="464" y="43"/>
                </a:cubicBezTo>
                <a:cubicBezTo>
                  <a:pt x="465" y="43"/>
                  <a:pt x="466" y="42"/>
                  <a:pt x="466" y="41"/>
                </a:cubicBezTo>
                <a:cubicBezTo>
                  <a:pt x="467" y="42"/>
                  <a:pt x="467" y="42"/>
                  <a:pt x="468" y="42"/>
                </a:cubicBezTo>
                <a:cubicBezTo>
                  <a:pt x="469" y="42"/>
                  <a:pt x="470" y="42"/>
                  <a:pt x="470" y="43"/>
                </a:cubicBezTo>
                <a:cubicBezTo>
                  <a:pt x="471" y="42"/>
                  <a:pt x="471" y="41"/>
                  <a:pt x="472" y="42"/>
                </a:cubicBezTo>
                <a:cubicBezTo>
                  <a:pt x="473" y="43"/>
                  <a:pt x="474" y="42"/>
                  <a:pt x="474" y="42"/>
                </a:cubicBezTo>
                <a:cubicBezTo>
                  <a:pt x="474" y="40"/>
                  <a:pt x="472" y="39"/>
                  <a:pt x="474" y="40"/>
                </a:cubicBezTo>
                <a:cubicBezTo>
                  <a:pt x="476" y="40"/>
                  <a:pt x="476" y="40"/>
                  <a:pt x="477" y="39"/>
                </a:cubicBezTo>
                <a:cubicBezTo>
                  <a:pt x="477" y="38"/>
                  <a:pt x="480" y="38"/>
                  <a:pt x="481" y="38"/>
                </a:cubicBezTo>
                <a:cubicBezTo>
                  <a:pt x="480" y="37"/>
                  <a:pt x="480" y="37"/>
                  <a:pt x="479" y="37"/>
                </a:cubicBezTo>
                <a:cubicBezTo>
                  <a:pt x="477" y="37"/>
                  <a:pt x="478" y="37"/>
                  <a:pt x="479" y="35"/>
                </a:cubicBezTo>
                <a:cubicBezTo>
                  <a:pt x="479" y="35"/>
                  <a:pt x="481" y="36"/>
                  <a:pt x="481" y="36"/>
                </a:cubicBezTo>
                <a:cubicBezTo>
                  <a:pt x="481" y="37"/>
                  <a:pt x="482" y="36"/>
                  <a:pt x="482" y="37"/>
                </a:cubicBezTo>
                <a:cubicBezTo>
                  <a:pt x="483" y="37"/>
                  <a:pt x="484" y="37"/>
                  <a:pt x="484" y="36"/>
                </a:cubicBezTo>
                <a:cubicBezTo>
                  <a:pt x="485" y="35"/>
                  <a:pt x="484" y="35"/>
                  <a:pt x="485" y="35"/>
                </a:cubicBezTo>
                <a:cubicBezTo>
                  <a:pt x="486" y="35"/>
                  <a:pt x="486" y="35"/>
                  <a:pt x="486" y="35"/>
                </a:cubicBezTo>
                <a:cubicBezTo>
                  <a:pt x="487" y="35"/>
                  <a:pt x="486" y="34"/>
                  <a:pt x="486" y="33"/>
                </a:cubicBezTo>
                <a:cubicBezTo>
                  <a:pt x="486" y="33"/>
                  <a:pt x="487" y="32"/>
                  <a:pt x="487" y="32"/>
                </a:cubicBezTo>
                <a:cubicBezTo>
                  <a:pt x="488" y="32"/>
                  <a:pt x="487" y="33"/>
                  <a:pt x="488" y="34"/>
                </a:cubicBezTo>
                <a:cubicBezTo>
                  <a:pt x="488" y="34"/>
                  <a:pt x="488" y="34"/>
                  <a:pt x="489" y="34"/>
                </a:cubicBezTo>
                <a:cubicBezTo>
                  <a:pt x="489" y="34"/>
                  <a:pt x="489" y="33"/>
                  <a:pt x="490" y="34"/>
                </a:cubicBezTo>
                <a:cubicBezTo>
                  <a:pt x="490" y="34"/>
                  <a:pt x="491" y="32"/>
                  <a:pt x="492" y="32"/>
                </a:cubicBezTo>
                <a:cubicBezTo>
                  <a:pt x="492" y="32"/>
                  <a:pt x="492" y="32"/>
                  <a:pt x="493" y="32"/>
                </a:cubicBezTo>
                <a:cubicBezTo>
                  <a:pt x="493" y="32"/>
                  <a:pt x="493" y="31"/>
                  <a:pt x="493" y="31"/>
                </a:cubicBezTo>
                <a:cubicBezTo>
                  <a:pt x="494" y="31"/>
                  <a:pt x="494" y="31"/>
                  <a:pt x="494" y="31"/>
                </a:cubicBezTo>
                <a:cubicBezTo>
                  <a:pt x="495" y="31"/>
                  <a:pt x="495" y="30"/>
                  <a:pt x="495" y="30"/>
                </a:cubicBezTo>
                <a:cubicBezTo>
                  <a:pt x="496" y="30"/>
                  <a:pt x="497" y="29"/>
                  <a:pt x="497" y="29"/>
                </a:cubicBezTo>
                <a:cubicBezTo>
                  <a:pt x="498" y="29"/>
                  <a:pt x="497" y="29"/>
                  <a:pt x="498" y="29"/>
                </a:cubicBezTo>
                <a:cubicBezTo>
                  <a:pt x="499" y="28"/>
                  <a:pt x="502" y="28"/>
                  <a:pt x="503" y="28"/>
                </a:cubicBezTo>
                <a:cubicBezTo>
                  <a:pt x="504" y="28"/>
                  <a:pt x="504" y="28"/>
                  <a:pt x="505" y="28"/>
                </a:cubicBezTo>
                <a:cubicBezTo>
                  <a:pt x="505" y="28"/>
                  <a:pt x="505" y="27"/>
                  <a:pt x="505" y="27"/>
                </a:cubicBezTo>
                <a:cubicBezTo>
                  <a:pt x="505" y="27"/>
                  <a:pt x="506" y="27"/>
                  <a:pt x="506" y="27"/>
                </a:cubicBezTo>
                <a:cubicBezTo>
                  <a:pt x="506" y="27"/>
                  <a:pt x="507" y="27"/>
                  <a:pt x="507" y="27"/>
                </a:cubicBezTo>
                <a:cubicBezTo>
                  <a:pt x="507" y="27"/>
                  <a:pt x="507" y="27"/>
                  <a:pt x="507" y="27"/>
                </a:cubicBezTo>
                <a:cubicBezTo>
                  <a:pt x="509" y="27"/>
                  <a:pt x="510" y="27"/>
                  <a:pt x="511" y="26"/>
                </a:cubicBezTo>
                <a:cubicBezTo>
                  <a:pt x="512" y="25"/>
                  <a:pt x="514" y="24"/>
                  <a:pt x="515" y="24"/>
                </a:cubicBezTo>
                <a:cubicBezTo>
                  <a:pt x="515" y="23"/>
                  <a:pt x="515" y="23"/>
                  <a:pt x="515" y="23"/>
                </a:cubicBezTo>
                <a:cubicBezTo>
                  <a:pt x="513" y="23"/>
                  <a:pt x="512" y="23"/>
                  <a:pt x="510" y="24"/>
                </a:cubicBezTo>
                <a:cubicBezTo>
                  <a:pt x="510" y="24"/>
                  <a:pt x="509" y="24"/>
                  <a:pt x="508" y="24"/>
                </a:cubicBezTo>
                <a:cubicBezTo>
                  <a:pt x="508" y="24"/>
                  <a:pt x="509" y="25"/>
                  <a:pt x="507" y="25"/>
                </a:cubicBezTo>
                <a:cubicBezTo>
                  <a:pt x="507" y="25"/>
                  <a:pt x="503" y="25"/>
                  <a:pt x="503" y="25"/>
                </a:cubicBezTo>
                <a:cubicBezTo>
                  <a:pt x="503" y="25"/>
                  <a:pt x="504" y="24"/>
                  <a:pt x="504" y="24"/>
                </a:cubicBezTo>
                <a:cubicBezTo>
                  <a:pt x="505" y="24"/>
                  <a:pt x="505" y="24"/>
                  <a:pt x="506" y="24"/>
                </a:cubicBezTo>
                <a:cubicBezTo>
                  <a:pt x="507" y="24"/>
                  <a:pt x="506" y="24"/>
                  <a:pt x="507" y="23"/>
                </a:cubicBezTo>
                <a:cubicBezTo>
                  <a:pt x="508" y="23"/>
                  <a:pt x="509" y="23"/>
                  <a:pt x="510" y="23"/>
                </a:cubicBezTo>
                <a:cubicBezTo>
                  <a:pt x="510" y="22"/>
                  <a:pt x="509" y="22"/>
                  <a:pt x="509" y="22"/>
                </a:cubicBezTo>
                <a:cubicBezTo>
                  <a:pt x="510" y="22"/>
                  <a:pt x="510" y="22"/>
                  <a:pt x="510" y="22"/>
                </a:cubicBezTo>
                <a:cubicBezTo>
                  <a:pt x="510" y="22"/>
                  <a:pt x="511" y="23"/>
                  <a:pt x="511" y="23"/>
                </a:cubicBezTo>
                <a:cubicBezTo>
                  <a:pt x="512" y="23"/>
                  <a:pt x="512" y="22"/>
                  <a:pt x="512" y="22"/>
                </a:cubicBezTo>
                <a:cubicBezTo>
                  <a:pt x="514" y="22"/>
                  <a:pt x="514" y="22"/>
                  <a:pt x="515" y="22"/>
                </a:cubicBezTo>
                <a:cubicBezTo>
                  <a:pt x="515" y="22"/>
                  <a:pt x="517" y="20"/>
                  <a:pt x="517" y="20"/>
                </a:cubicBezTo>
                <a:cubicBezTo>
                  <a:pt x="517" y="20"/>
                  <a:pt x="518" y="20"/>
                  <a:pt x="519" y="20"/>
                </a:cubicBezTo>
                <a:cubicBezTo>
                  <a:pt x="519" y="20"/>
                  <a:pt x="520" y="20"/>
                  <a:pt x="520" y="20"/>
                </a:cubicBezTo>
                <a:cubicBezTo>
                  <a:pt x="520" y="18"/>
                  <a:pt x="522" y="19"/>
                  <a:pt x="522" y="18"/>
                </a:cubicBezTo>
                <a:cubicBezTo>
                  <a:pt x="523" y="18"/>
                  <a:pt x="523" y="17"/>
                  <a:pt x="524" y="17"/>
                </a:cubicBezTo>
                <a:cubicBezTo>
                  <a:pt x="524" y="17"/>
                  <a:pt x="525" y="18"/>
                  <a:pt x="525" y="17"/>
                </a:cubicBezTo>
                <a:cubicBezTo>
                  <a:pt x="525" y="17"/>
                  <a:pt x="525" y="17"/>
                  <a:pt x="525" y="17"/>
                </a:cubicBezTo>
                <a:cubicBezTo>
                  <a:pt x="526" y="17"/>
                  <a:pt x="526" y="17"/>
                  <a:pt x="527" y="17"/>
                </a:cubicBezTo>
                <a:cubicBezTo>
                  <a:pt x="527" y="17"/>
                  <a:pt x="527" y="16"/>
                  <a:pt x="528" y="15"/>
                </a:cubicBezTo>
                <a:cubicBezTo>
                  <a:pt x="529" y="14"/>
                  <a:pt x="526" y="14"/>
                  <a:pt x="525" y="14"/>
                </a:cubicBezTo>
                <a:cubicBezTo>
                  <a:pt x="524" y="14"/>
                  <a:pt x="524" y="13"/>
                  <a:pt x="523" y="13"/>
                </a:cubicBezTo>
                <a:cubicBezTo>
                  <a:pt x="522" y="13"/>
                  <a:pt x="522" y="13"/>
                  <a:pt x="522" y="13"/>
                </a:cubicBezTo>
                <a:cubicBezTo>
                  <a:pt x="521" y="13"/>
                  <a:pt x="520" y="13"/>
                  <a:pt x="519" y="13"/>
                </a:cubicBezTo>
                <a:cubicBezTo>
                  <a:pt x="519" y="12"/>
                  <a:pt x="519" y="12"/>
                  <a:pt x="518" y="11"/>
                </a:cubicBezTo>
                <a:cubicBezTo>
                  <a:pt x="518" y="11"/>
                  <a:pt x="517" y="11"/>
                  <a:pt x="517" y="11"/>
                </a:cubicBezTo>
                <a:cubicBezTo>
                  <a:pt x="517" y="10"/>
                  <a:pt x="516" y="10"/>
                  <a:pt x="516" y="10"/>
                </a:cubicBezTo>
                <a:cubicBezTo>
                  <a:pt x="515" y="10"/>
                  <a:pt x="514" y="10"/>
                  <a:pt x="514" y="10"/>
                </a:cubicBezTo>
                <a:cubicBezTo>
                  <a:pt x="513" y="10"/>
                  <a:pt x="513" y="10"/>
                  <a:pt x="512" y="10"/>
                </a:cubicBezTo>
                <a:cubicBezTo>
                  <a:pt x="512" y="10"/>
                  <a:pt x="512" y="9"/>
                  <a:pt x="512" y="9"/>
                </a:cubicBezTo>
                <a:cubicBezTo>
                  <a:pt x="511" y="9"/>
                  <a:pt x="511" y="9"/>
                  <a:pt x="510" y="9"/>
                </a:cubicBezTo>
                <a:cubicBezTo>
                  <a:pt x="509" y="9"/>
                  <a:pt x="508" y="9"/>
                  <a:pt x="507" y="9"/>
                </a:cubicBezTo>
                <a:cubicBezTo>
                  <a:pt x="507" y="9"/>
                  <a:pt x="506" y="8"/>
                  <a:pt x="506" y="8"/>
                </a:cubicBezTo>
                <a:cubicBezTo>
                  <a:pt x="506" y="8"/>
                  <a:pt x="505" y="9"/>
                  <a:pt x="506" y="9"/>
                </a:cubicBezTo>
                <a:cubicBezTo>
                  <a:pt x="505" y="9"/>
                  <a:pt x="504" y="8"/>
                  <a:pt x="503" y="8"/>
                </a:cubicBezTo>
                <a:cubicBezTo>
                  <a:pt x="503" y="9"/>
                  <a:pt x="502" y="10"/>
                  <a:pt x="501" y="10"/>
                </a:cubicBezTo>
                <a:cubicBezTo>
                  <a:pt x="501" y="11"/>
                  <a:pt x="501" y="11"/>
                  <a:pt x="500" y="12"/>
                </a:cubicBezTo>
                <a:cubicBezTo>
                  <a:pt x="499" y="12"/>
                  <a:pt x="499" y="12"/>
                  <a:pt x="499" y="12"/>
                </a:cubicBezTo>
                <a:cubicBezTo>
                  <a:pt x="499" y="12"/>
                  <a:pt x="499" y="12"/>
                  <a:pt x="499" y="12"/>
                </a:cubicBezTo>
                <a:cubicBezTo>
                  <a:pt x="498" y="12"/>
                  <a:pt x="498" y="12"/>
                  <a:pt x="498" y="12"/>
                </a:cubicBezTo>
                <a:cubicBezTo>
                  <a:pt x="497" y="12"/>
                  <a:pt x="498" y="12"/>
                  <a:pt x="497" y="13"/>
                </a:cubicBezTo>
                <a:cubicBezTo>
                  <a:pt x="497" y="13"/>
                  <a:pt x="496" y="13"/>
                  <a:pt x="496" y="14"/>
                </a:cubicBezTo>
                <a:cubicBezTo>
                  <a:pt x="495" y="14"/>
                  <a:pt x="495" y="13"/>
                  <a:pt x="495" y="13"/>
                </a:cubicBezTo>
                <a:cubicBezTo>
                  <a:pt x="495" y="14"/>
                  <a:pt x="492" y="14"/>
                  <a:pt x="491" y="14"/>
                </a:cubicBezTo>
                <a:cubicBezTo>
                  <a:pt x="491" y="14"/>
                  <a:pt x="490" y="15"/>
                  <a:pt x="490" y="15"/>
                </a:cubicBezTo>
                <a:cubicBezTo>
                  <a:pt x="490" y="16"/>
                  <a:pt x="489" y="15"/>
                  <a:pt x="489" y="15"/>
                </a:cubicBezTo>
                <a:cubicBezTo>
                  <a:pt x="489" y="15"/>
                  <a:pt x="490" y="14"/>
                  <a:pt x="490" y="14"/>
                </a:cubicBezTo>
                <a:cubicBezTo>
                  <a:pt x="491" y="13"/>
                  <a:pt x="492" y="13"/>
                  <a:pt x="492" y="13"/>
                </a:cubicBezTo>
                <a:cubicBezTo>
                  <a:pt x="493" y="13"/>
                  <a:pt x="493" y="13"/>
                  <a:pt x="494" y="13"/>
                </a:cubicBezTo>
                <a:cubicBezTo>
                  <a:pt x="494" y="13"/>
                  <a:pt x="495" y="13"/>
                  <a:pt x="495" y="13"/>
                </a:cubicBezTo>
                <a:cubicBezTo>
                  <a:pt x="495" y="13"/>
                  <a:pt x="495" y="12"/>
                  <a:pt x="495" y="12"/>
                </a:cubicBezTo>
                <a:cubicBezTo>
                  <a:pt x="495" y="12"/>
                  <a:pt x="495" y="12"/>
                  <a:pt x="496" y="12"/>
                </a:cubicBezTo>
                <a:cubicBezTo>
                  <a:pt x="496" y="12"/>
                  <a:pt x="495" y="12"/>
                  <a:pt x="496" y="12"/>
                </a:cubicBezTo>
                <a:cubicBezTo>
                  <a:pt x="496" y="12"/>
                  <a:pt x="497" y="12"/>
                  <a:pt x="497" y="12"/>
                </a:cubicBezTo>
                <a:cubicBezTo>
                  <a:pt x="498" y="12"/>
                  <a:pt x="498" y="11"/>
                  <a:pt x="499" y="10"/>
                </a:cubicBezTo>
                <a:cubicBezTo>
                  <a:pt x="500" y="10"/>
                  <a:pt x="500" y="9"/>
                  <a:pt x="500" y="8"/>
                </a:cubicBezTo>
                <a:cubicBezTo>
                  <a:pt x="499" y="8"/>
                  <a:pt x="498" y="8"/>
                  <a:pt x="497" y="7"/>
                </a:cubicBezTo>
                <a:cubicBezTo>
                  <a:pt x="496" y="7"/>
                  <a:pt x="496" y="7"/>
                  <a:pt x="495" y="7"/>
                </a:cubicBezTo>
                <a:cubicBezTo>
                  <a:pt x="493" y="7"/>
                  <a:pt x="495" y="8"/>
                  <a:pt x="495" y="8"/>
                </a:cubicBezTo>
                <a:cubicBezTo>
                  <a:pt x="493" y="8"/>
                  <a:pt x="491" y="8"/>
                  <a:pt x="489" y="8"/>
                </a:cubicBezTo>
                <a:cubicBezTo>
                  <a:pt x="489" y="8"/>
                  <a:pt x="489" y="8"/>
                  <a:pt x="489" y="8"/>
                </a:cubicBezTo>
                <a:cubicBezTo>
                  <a:pt x="489" y="8"/>
                  <a:pt x="488" y="8"/>
                  <a:pt x="487" y="8"/>
                </a:cubicBezTo>
                <a:cubicBezTo>
                  <a:pt x="486" y="8"/>
                  <a:pt x="486" y="8"/>
                  <a:pt x="486" y="7"/>
                </a:cubicBezTo>
                <a:cubicBezTo>
                  <a:pt x="485" y="7"/>
                  <a:pt x="485" y="7"/>
                  <a:pt x="485" y="7"/>
                </a:cubicBezTo>
                <a:cubicBezTo>
                  <a:pt x="483" y="8"/>
                  <a:pt x="482" y="7"/>
                  <a:pt x="481" y="7"/>
                </a:cubicBezTo>
                <a:cubicBezTo>
                  <a:pt x="480" y="7"/>
                  <a:pt x="477" y="8"/>
                  <a:pt x="477" y="9"/>
                </a:cubicBezTo>
                <a:cubicBezTo>
                  <a:pt x="477" y="9"/>
                  <a:pt x="478" y="10"/>
                  <a:pt x="477" y="10"/>
                </a:cubicBezTo>
                <a:cubicBezTo>
                  <a:pt x="477" y="10"/>
                  <a:pt x="476" y="10"/>
                  <a:pt x="477" y="9"/>
                </a:cubicBezTo>
                <a:cubicBezTo>
                  <a:pt x="475" y="9"/>
                  <a:pt x="473" y="10"/>
                  <a:pt x="471" y="11"/>
                </a:cubicBezTo>
                <a:cubicBezTo>
                  <a:pt x="470" y="11"/>
                  <a:pt x="470" y="11"/>
                  <a:pt x="470" y="12"/>
                </a:cubicBezTo>
                <a:cubicBezTo>
                  <a:pt x="470" y="12"/>
                  <a:pt x="471" y="12"/>
                  <a:pt x="471" y="13"/>
                </a:cubicBezTo>
                <a:cubicBezTo>
                  <a:pt x="470" y="13"/>
                  <a:pt x="469" y="12"/>
                  <a:pt x="468" y="12"/>
                </a:cubicBezTo>
                <a:cubicBezTo>
                  <a:pt x="467" y="12"/>
                  <a:pt x="467" y="10"/>
                  <a:pt x="467" y="10"/>
                </a:cubicBezTo>
                <a:cubicBezTo>
                  <a:pt x="466" y="10"/>
                  <a:pt x="466" y="11"/>
                  <a:pt x="466" y="10"/>
                </a:cubicBezTo>
                <a:cubicBezTo>
                  <a:pt x="462" y="11"/>
                  <a:pt x="458" y="10"/>
                  <a:pt x="453" y="10"/>
                </a:cubicBezTo>
                <a:cubicBezTo>
                  <a:pt x="452" y="10"/>
                  <a:pt x="451" y="11"/>
                  <a:pt x="450" y="11"/>
                </a:cubicBezTo>
                <a:cubicBezTo>
                  <a:pt x="449" y="12"/>
                  <a:pt x="451" y="13"/>
                  <a:pt x="451" y="13"/>
                </a:cubicBezTo>
                <a:cubicBezTo>
                  <a:pt x="451" y="14"/>
                  <a:pt x="453" y="13"/>
                  <a:pt x="453" y="14"/>
                </a:cubicBezTo>
                <a:cubicBezTo>
                  <a:pt x="453" y="14"/>
                  <a:pt x="454" y="15"/>
                  <a:pt x="455" y="15"/>
                </a:cubicBezTo>
                <a:cubicBezTo>
                  <a:pt x="455" y="16"/>
                  <a:pt x="456" y="15"/>
                  <a:pt x="456" y="16"/>
                </a:cubicBezTo>
                <a:cubicBezTo>
                  <a:pt x="455" y="17"/>
                  <a:pt x="455" y="16"/>
                  <a:pt x="455" y="17"/>
                </a:cubicBezTo>
                <a:cubicBezTo>
                  <a:pt x="455" y="18"/>
                  <a:pt x="454" y="16"/>
                  <a:pt x="454" y="16"/>
                </a:cubicBezTo>
                <a:cubicBezTo>
                  <a:pt x="454" y="15"/>
                  <a:pt x="454" y="15"/>
                  <a:pt x="453" y="15"/>
                </a:cubicBezTo>
                <a:cubicBezTo>
                  <a:pt x="452" y="15"/>
                  <a:pt x="450" y="15"/>
                  <a:pt x="450" y="14"/>
                </a:cubicBezTo>
                <a:cubicBezTo>
                  <a:pt x="450" y="13"/>
                  <a:pt x="449" y="12"/>
                  <a:pt x="448" y="13"/>
                </a:cubicBezTo>
                <a:cubicBezTo>
                  <a:pt x="448" y="13"/>
                  <a:pt x="447" y="14"/>
                  <a:pt x="447" y="14"/>
                </a:cubicBezTo>
                <a:cubicBezTo>
                  <a:pt x="446" y="14"/>
                  <a:pt x="446" y="14"/>
                  <a:pt x="445" y="14"/>
                </a:cubicBezTo>
                <a:cubicBezTo>
                  <a:pt x="445" y="14"/>
                  <a:pt x="444" y="14"/>
                  <a:pt x="444" y="14"/>
                </a:cubicBezTo>
                <a:cubicBezTo>
                  <a:pt x="444" y="14"/>
                  <a:pt x="443" y="12"/>
                  <a:pt x="443" y="12"/>
                </a:cubicBezTo>
                <a:cubicBezTo>
                  <a:pt x="443" y="12"/>
                  <a:pt x="443" y="12"/>
                  <a:pt x="443" y="13"/>
                </a:cubicBezTo>
                <a:cubicBezTo>
                  <a:pt x="443" y="13"/>
                  <a:pt x="443" y="13"/>
                  <a:pt x="443" y="13"/>
                </a:cubicBezTo>
                <a:cubicBezTo>
                  <a:pt x="443" y="14"/>
                  <a:pt x="442" y="13"/>
                  <a:pt x="442" y="14"/>
                </a:cubicBezTo>
                <a:cubicBezTo>
                  <a:pt x="442" y="14"/>
                  <a:pt x="440" y="17"/>
                  <a:pt x="439" y="16"/>
                </a:cubicBezTo>
                <a:cubicBezTo>
                  <a:pt x="438" y="15"/>
                  <a:pt x="438" y="15"/>
                  <a:pt x="438" y="14"/>
                </a:cubicBezTo>
                <a:cubicBezTo>
                  <a:pt x="438" y="14"/>
                  <a:pt x="437" y="14"/>
                  <a:pt x="436" y="14"/>
                </a:cubicBezTo>
                <a:cubicBezTo>
                  <a:pt x="436" y="15"/>
                  <a:pt x="436" y="16"/>
                  <a:pt x="437" y="16"/>
                </a:cubicBezTo>
                <a:cubicBezTo>
                  <a:pt x="437" y="16"/>
                  <a:pt x="437" y="17"/>
                  <a:pt x="437" y="17"/>
                </a:cubicBezTo>
                <a:cubicBezTo>
                  <a:pt x="438" y="17"/>
                  <a:pt x="438" y="16"/>
                  <a:pt x="439" y="17"/>
                </a:cubicBezTo>
                <a:cubicBezTo>
                  <a:pt x="439" y="18"/>
                  <a:pt x="440" y="17"/>
                  <a:pt x="440" y="17"/>
                </a:cubicBezTo>
                <a:cubicBezTo>
                  <a:pt x="441" y="17"/>
                  <a:pt x="441" y="17"/>
                  <a:pt x="441" y="18"/>
                </a:cubicBezTo>
                <a:cubicBezTo>
                  <a:pt x="441" y="18"/>
                  <a:pt x="442" y="18"/>
                  <a:pt x="442" y="18"/>
                </a:cubicBezTo>
                <a:cubicBezTo>
                  <a:pt x="443" y="18"/>
                  <a:pt x="443" y="18"/>
                  <a:pt x="442" y="18"/>
                </a:cubicBezTo>
                <a:cubicBezTo>
                  <a:pt x="441" y="18"/>
                  <a:pt x="441" y="19"/>
                  <a:pt x="440" y="19"/>
                </a:cubicBezTo>
                <a:cubicBezTo>
                  <a:pt x="440" y="19"/>
                  <a:pt x="441" y="18"/>
                  <a:pt x="440" y="18"/>
                </a:cubicBezTo>
                <a:cubicBezTo>
                  <a:pt x="439" y="18"/>
                  <a:pt x="438" y="17"/>
                  <a:pt x="437" y="17"/>
                </a:cubicBezTo>
                <a:cubicBezTo>
                  <a:pt x="436" y="17"/>
                  <a:pt x="436" y="16"/>
                  <a:pt x="435" y="16"/>
                </a:cubicBezTo>
                <a:cubicBezTo>
                  <a:pt x="435" y="16"/>
                  <a:pt x="434" y="16"/>
                  <a:pt x="434" y="16"/>
                </a:cubicBezTo>
                <a:cubicBezTo>
                  <a:pt x="433" y="16"/>
                  <a:pt x="433" y="15"/>
                  <a:pt x="432" y="15"/>
                </a:cubicBezTo>
                <a:cubicBezTo>
                  <a:pt x="432" y="15"/>
                  <a:pt x="432" y="15"/>
                  <a:pt x="432" y="15"/>
                </a:cubicBezTo>
                <a:cubicBezTo>
                  <a:pt x="431" y="14"/>
                  <a:pt x="432" y="16"/>
                  <a:pt x="431" y="14"/>
                </a:cubicBezTo>
                <a:cubicBezTo>
                  <a:pt x="430" y="14"/>
                  <a:pt x="429" y="14"/>
                  <a:pt x="428" y="14"/>
                </a:cubicBezTo>
                <a:cubicBezTo>
                  <a:pt x="428" y="14"/>
                  <a:pt x="429" y="15"/>
                  <a:pt x="429" y="16"/>
                </a:cubicBezTo>
                <a:cubicBezTo>
                  <a:pt x="428" y="16"/>
                  <a:pt x="428" y="16"/>
                  <a:pt x="428" y="16"/>
                </a:cubicBezTo>
                <a:cubicBezTo>
                  <a:pt x="428" y="17"/>
                  <a:pt x="428" y="18"/>
                  <a:pt x="429" y="19"/>
                </a:cubicBezTo>
                <a:cubicBezTo>
                  <a:pt x="430" y="20"/>
                  <a:pt x="431" y="19"/>
                  <a:pt x="431" y="20"/>
                </a:cubicBezTo>
                <a:cubicBezTo>
                  <a:pt x="430" y="20"/>
                  <a:pt x="427" y="17"/>
                  <a:pt x="427" y="18"/>
                </a:cubicBezTo>
                <a:cubicBezTo>
                  <a:pt x="427" y="18"/>
                  <a:pt x="427" y="20"/>
                  <a:pt x="427" y="20"/>
                </a:cubicBezTo>
                <a:cubicBezTo>
                  <a:pt x="426" y="19"/>
                  <a:pt x="425" y="18"/>
                  <a:pt x="424" y="18"/>
                </a:cubicBezTo>
                <a:cubicBezTo>
                  <a:pt x="424" y="17"/>
                  <a:pt x="424" y="17"/>
                  <a:pt x="424" y="17"/>
                </a:cubicBezTo>
                <a:cubicBezTo>
                  <a:pt x="424" y="16"/>
                  <a:pt x="423" y="17"/>
                  <a:pt x="423" y="17"/>
                </a:cubicBezTo>
                <a:cubicBezTo>
                  <a:pt x="423" y="16"/>
                  <a:pt x="422" y="16"/>
                  <a:pt x="421" y="16"/>
                </a:cubicBezTo>
                <a:cubicBezTo>
                  <a:pt x="421" y="16"/>
                  <a:pt x="421" y="16"/>
                  <a:pt x="421" y="16"/>
                </a:cubicBezTo>
                <a:cubicBezTo>
                  <a:pt x="420" y="16"/>
                  <a:pt x="421" y="15"/>
                  <a:pt x="420" y="15"/>
                </a:cubicBezTo>
                <a:cubicBezTo>
                  <a:pt x="419" y="15"/>
                  <a:pt x="418" y="15"/>
                  <a:pt x="418" y="15"/>
                </a:cubicBezTo>
                <a:cubicBezTo>
                  <a:pt x="417" y="15"/>
                  <a:pt x="417" y="15"/>
                  <a:pt x="416" y="15"/>
                </a:cubicBezTo>
                <a:cubicBezTo>
                  <a:pt x="416" y="15"/>
                  <a:pt x="416" y="15"/>
                  <a:pt x="416" y="15"/>
                </a:cubicBezTo>
                <a:cubicBezTo>
                  <a:pt x="416" y="14"/>
                  <a:pt x="415" y="14"/>
                  <a:pt x="414" y="14"/>
                </a:cubicBezTo>
                <a:cubicBezTo>
                  <a:pt x="414" y="14"/>
                  <a:pt x="414" y="13"/>
                  <a:pt x="413" y="13"/>
                </a:cubicBezTo>
                <a:cubicBezTo>
                  <a:pt x="412" y="12"/>
                  <a:pt x="410" y="13"/>
                  <a:pt x="409" y="13"/>
                </a:cubicBezTo>
                <a:cubicBezTo>
                  <a:pt x="409" y="13"/>
                  <a:pt x="409" y="14"/>
                  <a:pt x="410" y="14"/>
                </a:cubicBezTo>
                <a:cubicBezTo>
                  <a:pt x="410" y="14"/>
                  <a:pt x="410" y="15"/>
                  <a:pt x="410" y="15"/>
                </a:cubicBezTo>
                <a:cubicBezTo>
                  <a:pt x="411" y="15"/>
                  <a:pt x="410" y="15"/>
                  <a:pt x="411" y="16"/>
                </a:cubicBezTo>
                <a:cubicBezTo>
                  <a:pt x="411" y="16"/>
                  <a:pt x="411" y="16"/>
                  <a:pt x="411" y="16"/>
                </a:cubicBezTo>
                <a:cubicBezTo>
                  <a:pt x="410" y="16"/>
                  <a:pt x="409" y="16"/>
                  <a:pt x="409" y="16"/>
                </a:cubicBezTo>
                <a:cubicBezTo>
                  <a:pt x="409" y="16"/>
                  <a:pt x="409" y="16"/>
                  <a:pt x="409" y="16"/>
                </a:cubicBezTo>
                <a:cubicBezTo>
                  <a:pt x="408" y="16"/>
                  <a:pt x="408" y="16"/>
                  <a:pt x="407" y="16"/>
                </a:cubicBezTo>
                <a:cubicBezTo>
                  <a:pt x="407" y="16"/>
                  <a:pt x="406" y="16"/>
                  <a:pt x="406" y="16"/>
                </a:cubicBezTo>
                <a:cubicBezTo>
                  <a:pt x="405" y="16"/>
                  <a:pt x="404" y="16"/>
                  <a:pt x="403" y="16"/>
                </a:cubicBezTo>
                <a:cubicBezTo>
                  <a:pt x="403" y="17"/>
                  <a:pt x="403" y="18"/>
                  <a:pt x="403" y="19"/>
                </a:cubicBezTo>
                <a:cubicBezTo>
                  <a:pt x="404" y="19"/>
                  <a:pt x="405" y="19"/>
                  <a:pt x="406" y="18"/>
                </a:cubicBezTo>
                <a:cubicBezTo>
                  <a:pt x="406" y="19"/>
                  <a:pt x="407" y="19"/>
                  <a:pt x="408" y="19"/>
                </a:cubicBezTo>
                <a:cubicBezTo>
                  <a:pt x="409" y="20"/>
                  <a:pt x="409" y="19"/>
                  <a:pt x="410" y="19"/>
                </a:cubicBezTo>
                <a:cubicBezTo>
                  <a:pt x="410" y="19"/>
                  <a:pt x="409" y="19"/>
                  <a:pt x="411" y="19"/>
                </a:cubicBezTo>
                <a:cubicBezTo>
                  <a:pt x="411" y="19"/>
                  <a:pt x="412" y="19"/>
                  <a:pt x="412" y="19"/>
                </a:cubicBezTo>
                <a:cubicBezTo>
                  <a:pt x="413" y="19"/>
                  <a:pt x="413" y="18"/>
                  <a:pt x="414" y="18"/>
                </a:cubicBezTo>
                <a:cubicBezTo>
                  <a:pt x="415" y="18"/>
                  <a:pt x="415" y="19"/>
                  <a:pt x="416" y="19"/>
                </a:cubicBezTo>
                <a:cubicBezTo>
                  <a:pt x="417" y="20"/>
                  <a:pt x="415" y="20"/>
                  <a:pt x="414" y="20"/>
                </a:cubicBezTo>
                <a:cubicBezTo>
                  <a:pt x="414" y="20"/>
                  <a:pt x="414" y="22"/>
                  <a:pt x="414" y="22"/>
                </a:cubicBezTo>
                <a:cubicBezTo>
                  <a:pt x="415" y="22"/>
                  <a:pt x="414" y="23"/>
                  <a:pt x="414" y="23"/>
                </a:cubicBezTo>
                <a:cubicBezTo>
                  <a:pt x="414" y="23"/>
                  <a:pt x="413" y="21"/>
                  <a:pt x="413" y="21"/>
                </a:cubicBezTo>
                <a:cubicBezTo>
                  <a:pt x="413" y="20"/>
                  <a:pt x="412" y="20"/>
                  <a:pt x="411" y="20"/>
                </a:cubicBezTo>
                <a:cubicBezTo>
                  <a:pt x="410" y="20"/>
                  <a:pt x="410" y="21"/>
                  <a:pt x="410" y="21"/>
                </a:cubicBezTo>
                <a:cubicBezTo>
                  <a:pt x="410" y="22"/>
                  <a:pt x="411" y="22"/>
                  <a:pt x="411" y="24"/>
                </a:cubicBezTo>
                <a:cubicBezTo>
                  <a:pt x="411" y="24"/>
                  <a:pt x="411" y="24"/>
                  <a:pt x="411" y="24"/>
                </a:cubicBezTo>
                <a:cubicBezTo>
                  <a:pt x="411" y="23"/>
                  <a:pt x="410" y="22"/>
                  <a:pt x="410" y="22"/>
                </a:cubicBezTo>
                <a:cubicBezTo>
                  <a:pt x="409" y="21"/>
                  <a:pt x="406" y="19"/>
                  <a:pt x="405" y="20"/>
                </a:cubicBezTo>
                <a:cubicBezTo>
                  <a:pt x="403" y="21"/>
                  <a:pt x="405" y="21"/>
                  <a:pt x="405" y="22"/>
                </a:cubicBezTo>
                <a:cubicBezTo>
                  <a:pt x="404" y="22"/>
                  <a:pt x="404" y="22"/>
                  <a:pt x="403" y="21"/>
                </a:cubicBezTo>
                <a:cubicBezTo>
                  <a:pt x="403" y="21"/>
                  <a:pt x="403" y="21"/>
                  <a:pt x="403" y="21"/>
                </a:cubicBezTo>
                <a:cubicBezTo>
                  <a:pt x="403" y="21"/>
                  <a:pt x="402" y="21"/>
                  <a:pt x="402" y="20"/>
                </a:cubicBezTo>
                <a:cubicBezTo>
                  <a:pt x="402" y="20"/>
                  <a:pt x="402" y="20"/>
                  <a:pt x="401" y="19"/>
                </a:cubicBezTo>
                <a:cubicBezTo>
                  <a:pt x="401" y="19"/>
                  <a:pt x="400" y="19"/>
                  <a:pt x="400" y="18"/>
                </a:cubicBezTo>
                <a:cubicBezTo>
                  <a:pt x="399" y="18"/>
                  <a:pt x="399" y="19"/>
                  <a:pt x="397" y="19"/>
                </a:cubicBezTo>
                <a:cubicBezTo>
                  <a:pt x="397" y="19"/>
                  <a:pt x="396" y="19"/>
                  <a:pt x="396" y="20"/>
                </a:cubicBezTo>
                <a:cubicBezTo>
                  <a:pt x="395" y="20"/>
                  <a:pt x="395" y="21"/>
                  <a:pt x="394" y="21"/>
                </a:cubicBezTo>
                <a:cubicBezTo>
                  <a:pt x="394" y="22"/>
                  <a:pt x="393" y="22"/>
                  <a:pt x="392" y="23"/>
                </a:cubicBezTo>
                <a:cubicBezTo>
                  <a:pt x="392" y="23"/>
                  <a:pt x="391" y="22"/>
                  <a:pt x="390" y="22"/>
                </a:cubicBezTo>
                <a:cubicBezTo>
                  <a:pt x="390" y="22"/>
                  <a:pt x="390" y="21"/>
                  <a:pt x="389" y="21"/>
                </a:cubicBezTo>
                <a:cubicBezTo>
                  <a:pt x="388" y="21"/>
                  <a:pt x="386" y="21"/>
                  <a:pt x="386" y="21"/>
                </a:cubicBezTo>
                <a:cubicBezTo>
                  <a:pt x="385" y="21"/>
                  <a:pt x="386" y="22"/>
                  <a:pt x="385" y="22"/>
                </a:cubicBezTo>
                <a:cubicBezTo>
                  <a:pt x="385" y="22"/>
                  <a:pt x="385" y="22"/>
                  <a:pt x="385" y="22"/>
                </a:cubicBezTo>
                <a:cubicBezTo>
                  <a:pt x="384" y="22"/>
                  <a:pt x="384" y="22"/>
                  <a:pt x="383" y="22"/>
                </a:cubicBezTo>
                <a:cubicBezTo>
                  <a:pt x="382" y="22"/>
                  <a:pt x="382" y="22"/>
                  <a:pt x="382" y="24"/>
                </a:cubicBezTo>
                <a:cubicBezTo>
                  <a:pt x="384" y="23"/>
                  <a:pt x="387" y="22"/>
                  <a:pt x="389" y="24"/>
                </a:cubicBezTo>
                <a:cubicBezTo>
                  <a:pt x="387" y="23"/>
                  <a:pt x="385" y="23"/>
                  <a:pt x="384" y="25"/>
                </a:cubicBezTo>
                <a:cubicBezTo>
                  <a:pt x="386" y="25"/>
                  <a:pt x="388" y="25"/>
                  <a:pt x="390" y="25"/>
                </a:cubicBezTo>
                <a:cubicBezTo>
                  <a:pt x="391" y="25"/>
                  <a:pt x="391" y="24"/>
                  <a:pt x="392" y="24"/>
                </a:cubicBezTo>
                <a:cubicBezTo>
                  <a:pt x="393" y="25"/>
                  <a:pt x="394" y="24"/>
                  <a:pt x="395" y="25"/>
                </a:cubicBezTo>
                <a:cubicBezTo>
                  <a:pt x="394" y="26"/>
                  <a:pt x="392" y="25"/>
                  <a:pt x="390" y="26"/>
                </a:cubicBezTo>
                <a:cubicBezTo>
                  <a:pt x="389" y="26"/>
                  <a:pt x="386" y="26"/>
                  <a:pt x="385" y="27"/>
                </a:cubicBezTo>
                <a:cubicBezTo>
                  <a:pt x="385" y="28"/>
                  <a:pt x="385" y="28"/>
                  <a:pt x="386" y="29"/>
                </a:cubicBezTo>
                <a:cubicBezTo>
                  <a:pt x="387" y="28"/>
                  <a:pt x="388" y="27"/>
                  <a:pt x="389" y="27"/>
                </a:cubicBezTo>
                <a:cubicBezTo>
                  <a:pt x="390" y="27"/>
                  <a:pt x="390" y="27"/>
                  <a:pt x="390" y="27"/>
                </a:cubicBezTo>
                <a:cubicBezTo>
                  <a:pt x="390" y="27"/>
                  <a:pt x="390" y="27"/>
                  <a:pt x="390" y="27"/>
                </a:cubicBezTo>
                <a:cubicBezTo>
                  <a:pt x="391" y="27"/>
                  <a:pt x="391" y="27"/>
                  <a:pt x="391" y="27"/>
                </a:cubicBezTo>
                <a:cubicBezTo>
                  <a:pt x="392" y="27"/>
                  <a:pt x="391" y="27"/>
                  <a:pt x="391" y="27"/>
                </a:cubicBezTo>
                <a:cubicBezTo>
                  <a:pt x="392" y="27"/>
                  <a:pt x="392" y="27"/>
                  <a:pt x="392" y="27"/>
                </a:cubicBezTo>
                <a:cubicBezTo>
                  <a:pt x="392" y="27"/>
                  <a:pt x="392" y="26"/>
                  <a:pt x="392" y="26"/>
                </a:cubicBezTo>
                <a:cubicBezTo>
                  <a:pt x="393" y="26"/>
                  <a:pt x="393" y="26"/>
                  <a:pt x="394" y="26"/>
                </a:cubicBezTo>
                <a:cubicBezTo>
                  <a:pt x="395" y="26"/>
                  <a:pt x="397" y="26"/>
                  <a:pt x="399" y="25"/>
                </a:cubicBezTo>
                <a:cubicBezTo>
                  <a:pt x="399" y="26"/>
                  <a:pt x="396" y="27"/>
                  <a:pt x="396" y="27"/>
                </a:cubicBezTo>
                <a:cubicBezTo>
                  <a:pt x="395" y="27"/>
                  <a:pt x="395" y="27"/>
                  <a:pt x="394" y="27"/>
                </a:cubicBezTo>
                <a:cubicBezTo>
                  <a:pt x="393" y="27"/>
                  <a:pt x="393" y="27"/>
                  <a:pt x="392" y="27"/>
                </a:cubicBezTo>
                <a:cubicBezTo>
                  <a:pt x="392" y="28"/>
                  <a:pt x="392" y="28"/>
                  <a:pt x="392" y="28"/>
                </a:cubicBezTo>
                <a:cubicBezTo>
                  <a:pt x="391" y="28"/>
                  <a:pt x="392" y="28"/>
                  <a:pt x="391" y="28"/>
                </a:cubicBezTo>
                <a:cubicBezTo>
                  <a:pt x="391" y="28"/>
                  <a:pt x="390" y="28"/>
                  <a:pt x="390" y="28"/>
                </a:cubicBezTo>
                <a:cubicBezTo>
                  <a:pt x="389" y="28"/>
                  <a:pt x="389" y="29"/>
                  <a:pt x="388" y="29"/>
                </a:cubicBezTo>
                <a:cubicBezTo>
                  <a:pt x="388" y="29"/>
                  <a:pt x="388" y="30"/>
                  <a:pt x="387" y="30"/>
                </a:cubicBezTo>
                <a:cubicBezTo>
                  <a:pt x="387" y="30"/>
                  <a:pt x="388" y="31"/>
                  <a:pt x="389" y="31"/>
                </a:cubicBezTo>
                <a:cubicBezTo>
                  <a:pt x="390" y="31"/>
                  <a:pt x="389" y="31"/>
                  <a:pt x="390" y="31"/>
                </a:cubicBezTo>
                <a:cubicBezTo>
                  <a:pt x="390" y="31"/>
                  <a:pt x="390" y="31"/>
                  <a:pt x="391" y="31"/>
                </a:cubicBezTo>
                <a:cubicBezTo>
                  <a:pt x="391" y="31"/>
                  <a:pt x="391" y="30"/>
                  <a:pt x="392" y="30"/>
                </a:cubicBezTo>
                <a:cubicBezTo>
                  <a:pt x="393" y="31"/>
                  <a:pt x="397" y="30"/>
                  <a:pt x="396" y="31"/>
                </a:cubicBezTo>
                <a:cubicBezTo>
                  <a:pt x="397" y="31"/>
                  <a:pt x="399" y="31"/>
                  <a:pt x="399" y="30"/>
                </a:cubicBezTo>
                <a:cubicBezTo>
                  <a:pt x="399" y="30"/>
                  <a:pt x="399" y="31"/>
                  <a:pt x="399" y="31"/>
                </a:cubicBezTo>
                <a:cubicBezTo>
                  <a:pt x="400" y="31"/>
                  <a:pt x="400" y="31"/>
                  <a:pt x="400" y="31"/>
                </a:cubicBezTo>
                <a:cubicBezTo>
                  <a:pt x="400" y="31"/>
                  <a:pt x="401" y="29"/>
                  <a:pt x="402" y="30"/>
                </a:cubicBezTo>
                <a:cubicBezTo>
                  <a:pt x="402" y="31"/>
                  <a:pt x="402" y="31"/>
                  <a:pt x="403" y="31"/>
                </a:cubicBezTo>
                <a:cubicBezTo>
                  <a:pt x="404" y="31"/>
                  <a:pt x="405" y="31"/>
                  <a:pt x="405" y="31"/>
                </a:cubicBezTo>
                <a:cubicBezTo>
                  <a:pt x="406" y="29"/>
                  <a:pt x="406" y="31"/>
                  <a:pt x="406" y="30"/>
                </a:cubicBezTo>
                <a:cubicBezTo>
                  <a:pt x="407" y="30"/>
                  <a:pt x="407" y="29"/>
                  <a:pt x="408" y="29"/>
                </a:cubicBezTo>
                <a:cubicBezTo>
                  <a:pt x="407" y="30"/>
                  <a:pt x="407" y="31"/>
                  <a:pt x="408" y="32"/>
                </a:cubicBezTo>
                <a:cubicBezTo>
                  <a:pt x="409" y="32"/>
                  <a:pt x="410" y="31"/>
                  <a:pt x="410" y="32"/>
                </a:cubicBezTo>
                <a:cubicBezTo>
                  <a:pt x="411" y="32"/>
                  <a:pt x="410" y="32"/>
                  <a:pt x="411" y="32"/>
                </a:cubicBezTo>
                <a:cubicBezTo>
                  <a:pt x="411" y="32"/>
                  <a:pt x="412" y="32"/>
                  <a:pt x="413" y="32"/>
                </a:cubicBezTo>
                <a:cubicBezTo>
                  <a:pt x="413" y="32"/>
                  <a:pt x="414" y="32"/>
                  <a:pt x="414" y="32"/>
                </a:cubicBezTo>
                <a:cubicBezTo>
                  <a:pt x="415" y="33"/>
                  <a:pt x="415" y="32"/>
                  <a:pt x="415" y="31"/>
                </a:cubicBezTo>
                <a:cubicBezTo>
                  <a:pt x="416" y="30"/>
                  <a:pt x="418" y="31"/>
                  <a:pt x="417" y="28"/>
                </a:cubicBezTo>
                <a:cubicBezTo>
                  <a:pt x="418" y="28"/>
                  <a:pt x="418" y="28"/>
                  <a:pt x="419" y="28"/>
                </a:cubicBezTo>
                <a:cubicBezTo>
                  <a:pt x="419" y="29"/>
                  <a:pt x="419" y="29"/>
                  <a:pt x="418" y="30"/>
                </a:cubicBezTo>
                <a:cubicBezTo>
                  <a:pt x="418" y="31"/>
                  <a:pt x="419" y="31"/>
                  <a:pt x="420" y="31"/>
                </a:cubicBezTo>
                <a:cubicBezTo>
                  <a:pt x="421" y="31"/>
                  <a:pt x="421" y="30"/>
                  <a:pt x="421" y="30"/>
                </a:cubicBezTo>
                <a:cubicBezTo>
                  <a:pt x="422" y="30"/>
                  <a:pt x="423" y="30"/>
                  <a:pt x="423" y="30"/>
                </a:cubicBezTo>
                <a:cubicBezTo>
                  <a:pt x="423" y="30"/>
                  <a:pt x="424" y="30"/>
                  <a:pt x="424" y="30"/>
                </a:cubicBezTo>
                <a:cubicBezTo>
                  <a:pt x="424" y="30"/>
                  <a:pt x="424" y="30"/>
                  <a:pt x="425" y="30"/>
                </a:cubicBezTo>
                <a:cubicBezTo>
                  <a:pt x="425" y="30"/>
                  <a:pt x="426" y="30"/>
                  <a:pt x="426" y="30"/>
                </a:cubicBezTo>
                <a:cubicBezTo>
                  <a:pt x="426" y="30"/>
                  <a:pt x="426" y="29"/>
                  <a:pt x="427" y="29"/>
                </a:cubicBezTo>
                <a:cubicBezTo>
                  <a:pt x="428" y="29"/>
                  <a:pt x="436" y="28"/>
                  <a:pt x="436" y="29"/>
                </a:cubicBezTo>
                <a:cubicBezTo>
                  <a:pt x="438" y="29"/>
                  <a:pt x="440" y="29"/>
                  <a:pt x="442" y="28"/>
                </a:cubicBezTo>
                <a:cubicBezTo>
                  <a:pt x="442" y="28"/>
                  <a:pt x="445" y="28"/>
                  <a:pt x="445" y="28"/>
                </a:cubicBezTo>
                <a:cubicBezTo>
                  <a:pt x="445" y="28"/>
                  <a:pt x="447" y="27"/>
                  <a:pt x="448" y="27"/>
                </a:cubicBezTo>
                <a:cubicBezTo>
                  <a:pt x="448" y="27"/>
                  <a:pt x="449" y="26"/>
                  <a:pt x="449" y="26"/>
                </a:cubicBezTo>
                <a:cubicBezTo>
                  <a:pt x="449" y="26"/>
                  <a:pt x="449" y="26"/>
                  <a:pt x="450" y="26"/>
                </a:cubicBezTo>
                <a:cubicBezTo>
                  <a:pt x="450" y="26"/>
                  <a:pt x="450" y="26"/>
                  <a:pt x="450" y="26"/>
                </a:cubicBezTo>
                <a:cubicBezTo>
                  <a:pt x="451" y="26"/>
                  <a:pt x="451" y="26"/>
                  <a:pt x="452" y="26"/>
                </a:cubicBezTo>
                <a:cubicBezTo>
                  <a:pt x="452" y="26"/>
                  <a:pt x="452" y="26"/>
                  <a:pt x="452" y="26"/>
                </a:cubicBezTo>
                <a:cubicBezTo>
                  <a:pt x="453" y="26"/>
                  <a:pt x="453" y="26"/>
                  <a:pt x="454" y="26"/>
                </a:cubicBezTo>
                <a:cubicBezTo>
                  <a:pt x="454" y="26"/>
                  <a:pt x="454" y="26"/>
                  <a:pt x="454" y="26"/>
                </a:cubicBezTo>
                <a:cubicBezTo>
                  <a:pt x="454" y="25"/>
                  <a:pt x="456" y="25"/>
                  <a:pt x="457" y="25"/>
                </a:cubicBezTo>
                <a:cubicBezTo>
                  <a:pt x="456" y="26"/>
                  <a:pt x="454" y="26"/>
                  <a:pt x="453" y="26"/>
                </a:cubicBezTo>
                <a:cubicBezTo>
                  <a:pt x="453" y="26"/>
                  <a:pt x="452" y="27"/>
                  <a:pt x="451" y="27"/>
                </a:cubicBezTo>
                <a:cubicBezTo>
                  <a:pt x="450" y="27"/>
                  <a:pt x="450" y="27"/>
                  <a:pt x="450" y="28"/>
                </a:cubicBezTo>
                <a:cubicBezTo>
                  <a:pt x="451" y="28"/>
                  <a:pt x="453" y="28"/>
                  <a:pt x="455" y="28"/>
                </a:cubicBezTo>
                <a:cubicBezTo>
                  <a:pt x="455" y="30"/>
                  <a:pt x="451" y="28"/>
                  <a:pt x="451" y="29"/>
                </a:cubicBezTo>
                <a:cubicBezTo>
                  <a:pt x="451" y="29"/>
                  <a:pt x="450" y="29"/>
                  <a:pt x="450" y="29"/>
                </a:cubicBezTo>
                <a:cubicBezTo>
                  <a:pt x="449" y="28"/>
                  <a:pt x="450" y="29"/>
                  <a:pt x="450" y="29"/>
                </a:cubicBezTo>
                <a:cubicBezTo>
                  <a:pt x="449" y="29"/>
                  <a:pt x="448" y="30"/>
                  <a:pt x="447" y="30"/>
                </a:cubicBezTo>
                <a:cubicBezTo>
                  <a:pt x="446" y="30"/>
                  <a:pt x="444" y="30"/>
                  <a:pt x="443" y="31"/>
                </a:cubicBezTo>
                <a:cubicBezTo>
                  <a:pt x="443" y="32"/>
                  <a:pt x="445" y="31"/>
                  <a:pt x="446" y="31"/>
                </a:cubicBezTo>
                <a:cubicBezTo>
                  <a:pt x="448" y="31"/>
                  <a:pt x="450" y="31"/>
                  <a:pt x="451" y="31"/>
                </a:cubicBezTo>
                <a:cubicBezTo>
                  <a:pt x="452" y="32"/>
                  <a:pt x="450" y="32"/>
                  <a:pt x="449" y="32"/>
                </a:cubicBezTo>
                <a:cubicBezTo>
                  <a:pt x="448" y="32"/>
                  <a:pt x="448" y="33"/>
                  <a:pt x="447" y="33"/>
                </a:cubicBezTo>
                <a:cubicBezTo>
                  <a:pt x="447" y="33"/>
                  <a:pt x="447" y="33"/>
                  <a:pt x="447" y="33"/>
                </a:cubicBezTo>
                <a:cubicBezTo>
                  <a:pt x="446" y="33"/>
                  <a:pt x="445" y="33"/>
                  <a:pt x="445" y="33"/>
                </a:cubicBezTo>
                <a:cubicBezTo>
                  <a:pt x="444" y="33"/>
                  <a:pt x="444" y="33"/>
                  <a:pt x="443" y="33"/>
                </a:cubicBezTo>
                <a:cubicBezTo>
                  <a:pt x="443" y="33"/>
                  <a:pt x="443" y="34"/>
                  <a:pt x="443" y="33"/>
                </a:cubicBezTo>
                <a:cubicBezTo>
                  <a:pt x="443" y="33"/>
                  <a:pt x="441" y="32"/>
                  <a:pt x="441" y="33"/>
                </a:cubicBezTo>
                <a:cubicBezTo>
                  <a:pt x="440" y="34"/>
                  <a:pt x="438" y="33"/>
                  <a:pt x="437" y="33"/>
                </a:cubicBezTo>
                <a:cubicBezTo>
                  <a:pt x="437" y="34"/>
                  <a:pt x="436" y="34"/>
                  <a:pt x="436" y="34"/>
                </a:cubicBezTo>
                <a:cubicBezTo>
                  <a:pt x="435" y="34"/>
                  <a:pt x="435" y="33"/>
                  <a:pt x="434" y="33"/>
                </a:cubicBezTo>
                <a:cubicBezTo>
                  <a:pt x="433" y="34"/>
                  <a:pt x="432" y="34"/>
                  <a:pt x="431" y="34"/>
                </a:cubicBezTo>
                <a:cubicBezTo>
                  <a:pt x="430" y="34"/>
                  <a:pt x="427" y="34"/>
                  <a:pt x="428" y="35"/>
                </a:cubicBezTo>
                <a:cubicBezTo>
                  <a:pt x="428" y="35"/>
                  <a:pt x="429" y="36"/>
                  <a:pt x="429" y="36"/>
                </a:cubicBezTo>
                <a:cubicBezTo>
                  <a:pt x="429" y="36"/>
                  <a:pt x="429" y="37"/>
                  <a:pt x="429" y="37"/>
                </a:cubicBezTo>
                <a:cubicBezTo>
                  <a:pt x="429" y="39"/>
                  <a:pt x="430" y="40"/>
                  <a:pt x="432" y="40"/>
                </a:cubicBezTo>
                <a:cubicBezTo>
                  <a:pt x="432" y="40"/>
                  <a:pt x="432" y="40"/>
                  <a:pt x="432" y="40"/>
                </a:cubicBezTo>
                <a:cubicBezTo>
                  <a:pt x="432" y="40"/>
                  <a:pt x="433" y="40"/>
                  <a:pt x="433" y="40"/>
                </a:cubicBezTo>
                <a:cubicBezTo>
                  <a:pt x="433" y="40"/>
                  <a:pt x="435" y="40"/>
                  <a:pt x="435" y="40"/>
                </a:cubicBezTo>
                <a:cubicBezTo>
                  <a:pt x="435" y="40"/>
                  <a:pt x="437" y="39"/>
                  <a:pt x="437" y="41"/>
                </a:cubicBezTo>
                <a:cubicBezTo>
                  <a:pt x="436" y="41"/>
                  <a:pt x="436" y="40"/>
                  <a:pt x="435" y="40"/>
                </a:cubicBezTo>
                <a:cubicBezTo>
                  <a:pt x="435" y="41"/>
                  <a:pt x="435" y="41"/>
                  <a:pt x="435" y="41"/>
                </a:cubicBezTo>
                <a:cubicBezTo>
                  <a:pt x="434" y="41"/>
                  <a:pt x="435" y="41"/>
                  <a:pt x="435" y="42"/>
                </a:cubicBezTo>
                <a:cubicBezTo>
                  <a:pt x="434" y="42"/>
                  <a:pt x="431" y="40"/>
                  <a:pt x="431" y="41"/>
                </a:cubicBezTo>
                <a:cubicBezTo>
                  <a:pt x="431" y="41"/>
                  <a:pt x="430" y="41"/>
                  <a:pt x="429" y="41"/>
                </a:cubicBezTo>
                <a:cubicBezTo>
                  <a:pt x="429" y="41"/>
                  <a:pt x="429" y="40"/>
                  <a:pt x="428" y="40"/>
                </a:cubicBezTo>
                <a:cubicBezTo>
                  <a:pt x="427" y="39"/>
                  <a:pt x="427" y="38"/>
                  <a:pt x="427" y="37"/>
                </a:cubicBezTo>
                <a:cubicBezTo>
                  <a:pt x="427" y="37"/>
                  <a:pt x="427" y="37"/>
                  <a:pt x="427" y="36"/>
                </a:cubicBezTo>
                <a:cubicBezTo>
                  <a:pt x="426" y="36"/>
                  <a:pt x="426" y="36"/>
                  <a:pt x="425" y="35"/>
                </a:cubicBezTo>
                <a:cubicBezTo>
                  <a:pt x="425" y="34"/>
                  <a:pt x="425" y="34"/>
                  <a:pt x="424" y="34"/>
                </a:cubicBezTo>
                <a:cubicBezTo>
                  <a:pt x="423" y="34"/>
                  <a:pt x="424" y="34"/>
                  <a:pt x="423" y="34"/>
                </a:cubicBezTo>
                <a:cubicBezTo>
                  <a:pt x="423" y="34"/>
                  <a:pt x="423" y="34"/>
                  <a:pt x="423" y="33"/>
                </a:cubicBezTo>
                <a:cubicBezTo>
                  <a:pt x="421" y="33"/>
                  <a:pt x="420" y="34"/>
                  <a:pt x="418" y="34"/>
                </a:cubicBezTo>
                <a:cubicBezTo>
                  <a:pt x="417" y="33"/>
                  <a:pt x="416" y="33"/>
                  <a:pt x="415" y="33"/>
                </a:cubicBezTo>
                <a:cubicBezTo>
                  <a:pt x="414" y="33"/>
                  <a:pt x="412" y="34"/>
                  <a:pt x="411" y="34"/>
                </a:cubicBezTo>
                <a:cubicBezTo>
                  <a:pt x="411" y="34"/>
                  <a:pt x="410" y="34"/>
                  <a:pt x="410" y="34"/>
                </a:cubicBezTo>
                <a:cubicBezTo>
                  <a:pt x="410" y="34"/>
                  <a:pt x="410" y="34"/>
                  <a:pt x="409" y="35"/>
                </a:cubicBezTo>
                <a:cubicBezTo>
                  <a:pt x="409" y="35"/>
                  <a:pt x="409" y="36"/>
                  <a:pt x="410" y="36"/>
                </a:cubicBezTo>
                <a:cubicBezTo>
                  <a:pt x="410" y="37"/>
                  <a:pt x="410" y="37"/>
                  <a:pt x="410" y="37"/>
                </a:cubicBezTo>
                <a:cubicBezTo>
                  <a:pt x="409" y="37"/>
                  <a:pt x="409" y="37"/>
                  <a:pt x="409" y="38"/>
                </a:cubicBezTo>
                <a:cubicBezTo>
                  <a:pt x="409" y="38"/>
                  <a:pt x="408" y="39"/>
                  <a:pt x="407" y="39"/>
                </a:cubicBezTo>
                <a:cubicBezTo>
                  <a:pt x="407" y="38"/>
                  <a:pt x="407" y="39"/>
                  <a:pt x="407" y="39"/>
                </a:cubicBezTo>
                <a:cubicBezTo>
                  <a:pt x="406" y="40"/>
                  <a:pt x="406" y="40"/>
                  <a:pt x="405" y="40"/>
                </a:cubicBezTo>
                <a:cubicBezTo>
                  <a:pt x="406" y="38"/>
                  <a:pt x="407" y="37"/>
                  <a:pt x="405" y="36"/>
                </a:cubicBezTo>
                <a:cubicBezTo>
                  <a:pt x="405" y="36"/>
                  <a:pt x="405" y="36"/>
                  <a:pt x="405" y="35"/>
                </a:cubicBezTo>
                <a:cubicBezTo>
                  <a:pt x="405" y="35"/>
                  <a:pt x="405" y="35"/>
                  <a:pt x="404" y="35"/>
                </a:cubicBezTo>
                <a:cubicBezTo>
                  <a:pt x="404" y="35"/>
                  <a:pt x="404" y="35"/>
                  <a:pt x="405" y="35"/>
                </a:cubicBezTo>
                <a:cubicBezTo>
                  <a:pt x="405" y="34"/>
                  <a:pt x="404" y="33"/>
                  <a:pt x="403" y="33"/>
                </a:cubicBezTo>
                <a:cubicBezTo>
                  <a:pt x="403" y="35"/>
                  <a:pt x="403" y="35"/>
                  <a:pt x="402" y="35"/>
                </a:cubicBezTo>
                <a:cubicBezTo>
                  <a:pt x="401" y="35"/>
                  <a:pt x="401" y="35"/>
                  <a:pt x="401" y="34"/>
                </a:cubicBezTo>
                <a:cubicBezTo>
                  <a:pt x="401" y="33"/>
                  <a:pt x="401" y="33"/>
                  <a:pt x="401" y="33"/>
                </a:cubicBezTo>
                <a:cubicBezTo>
                  <a:pt x="400" y="33"/>
                  <a:pt x="400" y="33"/>
                  <a:pt x="399" y="33"/>
                </a:cubicBezTo>
                <a:cubicBezTo>
                  <a:pt x="399" y="34"/>
                  <a:pt x="399" y="34"/>
                  <a:pt x="398" y="34"/>
                </a:cubicBezTo>
                <a:cubicBezTo>
                  <a:pt x="397" y="34"/>
                  <a:pt x="396" y="34"/>
                  <a:pt x="395" y="34"/>
                </a:cubicBezTo>
                <a:cubicBezTo>
                  <a:pt x="393" y="34"/>
                  <a:pt x="392" y="34"/>
                  <a:pt x="391" y="34"/>
                </a:cubicBezTo>
                <a:cubicBezTo>
                  <a:pt x="390" y="34"/>
                  <a:pt x="389" y="35"/>
                  <a:pt x="388" y="34"/>
                </a:cubicBezTo>
                <a:cubicBezTo>
                  <a:pt x="387" y="34"/>
                  <a:pt x="388" y="34"/>
                  <a:pt x="387" y="34"/>
                </a:cubicBezTo>
                <a:cubicBezTo>
                  <a:pt x="387" y="34"/>
                  <a:pt x="387" y="34"/>
                  <a:pt x="387" y="34"/>
                </a:cubicBezTo>
                <a:cubicBezTo>
                  <a:pt x="386" y="34"/>
                  <a:pt x="386" y="33"/>
                  <a:pt x="385" y="33"/>
                </a:cubicBezTo>
                <a:cubicBezTo>
                  <a:pt x="385" y="33"/>
                  <a:pt x="385" y="33"/>
                  <a:pt x="384" y="33"/>
                </a:cubicBezTo>
                <a:cubicBezTo>
                  <a:pt x="384" y="33"/>
                  <a:pt x="384" y="33"/>
                  <a:pt x="384" y="32"/>
                </a:cubicBezTo>
                <a:cubicBezTo>
                  <a:pt x="384" y="32"/>
                  <a:pt x="383" y="31"/>
                  <a:pt x="384" y="31"/>
                </a:cubicBezTo>
                <a:cubicBezTo>
                  <a:pt x="384" y="29"/>
                  <a:pt x="382" y="28"/>
                  <a:pt x="381" y="27"/>
                </a:cubicBezTo>
                <a:cubicBezTo>
                  <a:pt x="381" y="26"/>
                  <a:pt x="379" y="26"/>
                  <a:pt x="379" y="26"/>
                </a:cubicBezTo>
                <a:cubicBezTo>
                  <a:pt x="379" y="26"/>
                  <a:pt x="379" y="26"/>
                  <a:pt x="378" y="26"/>
                </a:cubicBezTo>
                <a:cubicBezTo>
                  <a:pt x="376" y="26"/>
                  <a:pt x="375" y="25"/>
                  <a:pt x="373" y="25"/>
                </a:cubicBezTo>
                <a:cubicBezTo>
                  <a:pt x="373" y="25"/>
                  <a:pt x="373" y="25"/>
                  <a:pt x="373" y="25"/>
                </a:cubicBezTo>
                <a:cubicBezTo>
                  <a:pt x="372" y="25"/>
                  <a:pt x="372" y="25"/>
                  <a:pt x="372" y="24"/>
                </a:cubicBezTo>
                <a:cubicBezTo>
                  <a:pt x="371" y="24"/>
                  <a:pt x="371" y="24"/>
                  <a:pt x="370" y="24"/>
                </a:cubicBezTo>
                <a:cubicBezTo>
                  <a:pt x="369" y="24"/>
                  <a:pt x="370" y="24"/>
                  <a:pt x="369" y="24"/>
                </a:cubicBezTo>
                <a:cubicBezTo>
                  <a:pt x="369" y="24"/>
                  <a:pt x="365" y="24"/>
                  <a:pt x="365" y="24"/>
                </a:cubicBezTo>
                <a:cubicBezTo>
                  <a:pt x="364" y="24"/>
                  <a:pt x="362" y="24"/>
                  <a:pt x="362" y="24"/>
                </a:cubicBezTo>
                <a:cubicBezTo>
                  <a:pt x="362" y="25"/>
                  <a:pt x="362" y="25"/>
                  <a:pt x="363" y="25"/>
                </a:cubicBezTo>
                <a:cubicBezTo>
                  <a:pt x="364" y="25"/>
                  <a:pt x="365" y="25"/>
                  <a:pt x="366" y="25"/>
                </a:cubicBezTo>
                <a:cubicBezTo>
                  <a:pt x="366" y="25"/>
                  <a:pt x="367" y="26"/>
                  <a:pt x="367" y="25"/>
                </a:cubicBezTo>
                <a:cubicBezTo>
                  <a:pt x="369" y="25"/>
                  <a:pt x="369" y="26"/>
                  <a:pt x="370" y="26"/>
                </a:cubicBezTo>
                <a:cubicBezTo>
                  <a:pt x="369" y="28"/>
                  <a:pt x="370" y="27"/>
                  <a:pt x="370" y="29"/>
                </a:cubicBezTo>
                <a:cubicBezTo>
                  <a:pt x="370" y="29"/>
                  <a:pt x="369" y="29"/>
                  <a:pt x="369" y="29"/>
                </a:cubicBezTo>
                <a:cubicBezTo>
                  <a:pt x="368" y="29"/>
                  <a:pt x="368" y="28"/>
                  <a:pt x="368" y="28"/>
                </a:cubicBezTo>
                <a:cubicBezTo>
                  <a:pt x="367" y="28"/>
                  <a:pt x="367" y="28"/>
                  <a:pt x="366" y="28"/>
                </a:cubicBezTo>
                <a:cubicBezTo>
                  <a:pt x="365" y="28"/>
                  <a:pt x="364" y="28"/>
                  <a:pt x="363" y="27"/>
                </a:cubicBezTo>
                <a:cubicBezTo>
                  <a:pt x="362" y="27"/>
                  <a:pt x="363" y="27"/>
                  <a:pt x="363" y="27"/>
                </a:cubicBezTo>
                <a:close/>
                <a:moveTo>
                  <a:pt x="691" y="126"/>
                </a:moveTo>
                <a:cubicBezTo>
                  <a:pt x="691" y="126"/>
                  <a:pt x="691" y="126"/>
                  <a:pt x="691" y="126"/>
                </a:cubicBezTo>
                <a:cubicBezTo>
                  <a:pt x="689" y="126"/>
                  <a:pt x="689" y="126"/>
                  <a:pt x="688" y="126"/>
                </a:cubicBezTo>
                <a:cubicBezTo>
                  <a:pt x="689" y="125"/>
                  <a:pt x="690" y="125"/>
                  <a:pt x="691" y="125"/>
                </a:cubicBezTo>
                <a:cubicBezTo>
                  <a:pt x="691" y="125"/>
                  <a:pt x="691" y="126"/>
                  <a:pt x="691" y="126"/>
                </a:cubicBezTo>
                <a:close/>
                <a:moveTo>
                  <a:pt x="658" y="10"/>
                </a:moveTo>
                <a:cubicBezTo>
                  <a:pt x="658" y="10"/>
                  <a:pt x="657" y="9"/>
                  <a:pt x="657" y="9"/>
                </a:cubicBezTo>
                <a:cubicBezTo>
                  <a:pt x="656" y="9"/>
                  <a:pt x="657" y="9"/>
                  <a:pt x="657" y="9"/>
                </a:cubicBezTo>
                <a:cubicBezTo>
                  <a:pt x="657" y="8"/>
                  <a:pt x="657" y="7"/>
                  <a:pt x="657" y="6"/>
                </a:cubicBezTo>
                <a:cubicBezTo>
                  <a:pt x="659" y="6"/>
                  <a:pt x="657" y="6"/>
                  <a:pt x="658" y="8"/>
                </a:cubicBezTo>
                <a:cubicBezTo>
                  <a:pt x="659" y="8"/>
                  <a:pt x="659" y="9"/>
                  <a:pt x="660" y="9"/>
                </a:cubicBezTo>
                <a:cubicBezTo>
                  <a:pt x="661" y="9"/>
                  <a:pt x="662" y="8"/>
                  <a:pt x="663" y="8"/>
                </a:cubicBezTo>
                <a:cubicBezTo>
                  <a:pt x="664" y="8"/>
                  <a:pt x="665" y="8"/>
                  <a:pt x="665" y="9"/>
                </a:cubicBezTo>
                <a:cubicBezTo>
                  <a:pt x="665" y="9"/>
                  <a:pt x="667" y="9"/>
                  <a:pt x="666" y="9"/>
                </a:cubicBezTo>
                <a:cubicBezTo>
                  <a:pt x="666" y="9"/>
                  <a:pt x="664" y="10"/>
                  <a:pt x="664" y="9"/>
                </a:cubicBezTo>
                <a:cubicBezTo>
                  <a:pt x="663" y="9"/>
                  <a:pt x="663" y="9"/>
                  <a:pt x="662" y="9"/>
                </a:cubicBezTo>
                <a:cubicBezTo>
                  <a:pt x="662" y="9"/>
                  <a:pt x="661" y="9"/>
                  <a:pt x="660" y="9"/>
                </a:cubicBezTo>
                <a:cubicBezTo>
                  <a:pt x="659" y="9"/>
                  <a:pt x="660" y="10"/>
                  <a:pt x="660" y="10"/>
                </a:cubicBezTo>
                <a:cubicBezTo>
                  <a:pt x="660" y="10"/>
                  <a:pt x="659" y="11"/>
                  <a:pt x="659" y="11"/>
                </a:cubicBezTo>
                <a:cubicBezTo>
                  <a:pt x="659" y="11"/>
                  <a:pt x="658" y="10"/>
                  <a:pt x="658" y="10"/>
                </a:cubicBezTo>
                <a:cubicBezTo>
                  <a:pt x="657" y="9"/>
                  <a:pt x="658" y="10"/>
                  <a:pt x="658" y="10"/>
                </a:cubicBezTo>
                <a:close/>
                <a:moveTo>
                  <a:pt x="654" y="10"/>
                </a:moveTo>
                <a:cubicBezTo>
                  <a:pt x="652" y="10"/>
                  <a:pt x="652" y="10"/>
                  <a:pt x="651" y="11"/>
                </a:cubicBezTo>
                <a:cubicBezTo>
                  <a:pt x="650" y="11"/>
                  <a:pt x="649" y="10"/>
                  <a:pt x="649" y="11"/>
                </a:cubicBezTo>
                <a:cubicBezTo>
                  <a:pt x="649" y="12"/>
                  <a:pt x="648" y="12"/>
                  <a:pt x="648" y="11"/>
                </a:cubicBezTo>
                <a:cubicBezTo>
                  <a:pt x="648" y="10"/>
                  <a:pt x="649" y="10"/>
                  <a:pt x="650" y="10"/>
                </a:cubicBezTo>
                <a:cubicBezTo>
                  <a:pt x="651" y="9"/>
                  <a:pt x="652" y="9"/>
                  <a:pt x="654" y="9"/>
                </a:cubicBezTo>
                <a:cubicBezTo>
                  <a:pt x="654" y="9"/>
                  <a:pt x="654" y="10"/>
                  <a:pt x="654" y="10"/>
                </a:cubicBezTo>
                <a:cubicBezTo>
                  <a:pt x="653" y="10"/>
                  <a:pt x="654" y="10"/>
                  <a:pt x="654" y="10"/>
                </a:cubicBezTo>
                <a:close/>
                <a:moveTo>
                  <a:pt x="642" y="160"/>
                </a:moveTo>
                <a:cubicBezTo>
                  <a:pt x="641" y="160"/>
                  <a:pt x="641" y="161"/>
                  <a:pt x="640" y="161"/>
                </a:cubicBezTo>
                <a:cubicBezTo>
                  <a:pt x="640" y="160"/>
                  <a:pt x="640" y="160"/>
                  <a:pt x="640" y="159"/>
                </a:cubicBezTo>
                <a:cubicBezTo>
                  <a:pt x="640" y="159"/>
                  <a:pt x="640" y="159"/>
                  <a:pt x="641" y="158"/>
                </a:cubicBezTo>
                <a:cubicBezTo>
                  <a:pt x="641" y="158"/>
                  <a:pt x="642" y="158"/>
                  <a:pt x="643" y="159"/>
                </a:cubicBezTo>
                <a:cubicBezTo>
                  <a:pt x="643" y="159"/>
                  <a:pt x="642" y="160"/>
                  <a:pt x="642" y="160"/>
                </a:cubicBezTo>
                <a:cubicBezTo>
                  <a:pt x="641" y="160"/>
                  <a:pt x="642" y="160"/>
                  <a:pt x="642" y="160"/>
                </a:cubicBezTo>
                <a:close/>
                <a:moveTo>
                  <a:pt x="602" y="200"/>
                </a:moveTo>
                <a:cubicBezTo>
                  <a:pt x="602" y="200"/>
                  <a:pt x="603" y="201"/>
                  <a:pt x="602" y="200"/>
                </a:cubicBezTo>
                <a:cubicBezTo>
                  <a:pt x="602" y="199"/>
                  <a:pt x="603" y="199"/>
                  <a:pt x="602" y="200"/>
                </a:cubicBezTo>
                <a:close/>
                <a:moveTo>
                  <a:pt x="582" y="156"/>
                </a:moveTo>
                <a:cubicBezTo>
                  <a:pt x="582" y="156"/>
                  <a:pt x="580" y="156"/>
                  <a:pt x="580" y="157"/>
                </a:cubicBezTo>
                <a:cubicBezTo>
                  <a:pt x="580" y="157"/>
                  <a:pt x="579" y="157"/>
                  <a:pt x="578" y="157"/>
                </a:cubicBezTo>
                <a:cubicBezTo>
                  <a:pt x="578" y="157"/>
                  <a:pt x="578" y="158"/>
                  <a:pt x="578" y="158"/>
                </a:cubicBezTo>
                <a:cubicBezTo>
                  <a:pt x="579" y="156"/>
                  <a:pt x="581" y="155"/>
                  <a:pt x="582" y="154"/>
                </a:cubicBezTo>
                <a:cubicBezTo>
                  <a:pt x="582" y="155"/>
                  <a:pt x="582" y="156"/>
                  <a:pt x="582" y="156"/>
                </a:cubicBezTo>
                <a:close/>
                <a:moveTo>
                  <a:pt x="580" y="149"/>
                </a:moveTo>
                <a:cubicBezTo>
                  <a:pt x="580" y="149"/>
                  <a:pt x="581" y="149"/>
                  <a:pt x="581" y="150"/>
                </a:cubicBezTo>
                <a:cubicBezTo>
                  <a:pt x="580" y="150"/>
                  <a:pt x="580" y="149"/>
                  <a:pt x="580" y="149"/>
                </a:cubicBezTo>
                <a:close/>
                <a:moveTo>
                  <a:pt x="581" y="148"/>
                </a:moveTo>
                <a:cubicBezTo>
                  <a:pt x="581" y="148"/>
                  <a:pt x="581" y="149"/>
                  <a:pt x="580" y="148"/>
                </a:cubicBezTo>
                <a:cubicBezTo>
                  <a:pt x="581" y="148"/>
                  <a:pt x="581" y="148"/>
                  <a:pt x="581" y="148"/>
                </a:cubicBezTo>
                <a:close/>
                <a:moveTo>
                  <a:pt x="570" y="157"/>
                </a:moveTo>
                <a:cubicBezTo>
                  <a:pt x="569" y="157"/>
                  <a:pt x="568" y="157"/>
                  <a:pt x="568" y="156"/>
                </a:cubicBezTo>
                <a:cubicBezTo>
                  <a:pt x="569" y="156"/>
                  <a:pt x="570" y="156"/>
                  <a:pt x="570" y="157"/>
                </a:cubicBezTo>
                <a:cubicBezTo>
                  <a:pt x="569" y="157"/>
                  <a:pt x="570" y="157"/>
                  <a:pt x="570" y="157"/>
                </a:cubicBezTo>
                <a:close/>
                <a:moveTo>
                  <a:pt x="667" y="9"/>
                </a:moveTo>
                <a:cubicBezTo>
                  <a:pt x="668" y="9"/>
                  <a:pt x="670" y="8"/>
                  <a:pt x="671" y="8"/>
                </a:cubicBezTo>
                <a:cubicBezTo>
                  <a:pt x="672" y="8"/>
                  <a:pt x="673" y="8"/>
                  <a:pt x="673" y="8"/>
                </a:cubicBezTo>
                <a:cubicBezTo>
                  <a:pt x="674" y="7"/>
                  <a:pt x="675" y="7"/>
                  <a:pt x="676" y="7"/>
                </a:cubicBezTo>
                <a:cubicBezTo>
                  <a:pt x="679" y="7"/>
                  <a:pt x="682" y="8"/>
                  <a:pt x="684" y="8"/>
                </a:cubicBezTo>
                <a:cubicBezTo>
                  <a:pt x="686" y="8"/>
                  <a:pt x="687" y="8"/>
                  <a:pt x="688" y="8"/>
                </a:cubicBezTo>
                <a:cubicBezTo>
                  <a:pt x="689" y="8"/>
                  <a:pt x="687" y="8"/>
                  <a:pt x="686" y="8"/>
                </a:cubicBezTo>
                <a:cubicBezTo>
                  <a:pt x="682" y="9"/>
                  <a:pt x="677" y="8"/>
                  <a:pt x="672" y="9"/>
                </a:cubicBezTo>
                <a:cubicBezTo>
                  <a:pt x="672" y="9"/>
                  <a:pt x="672" y="9"/>
                  <a:pt x="672" y="9"/>
                </a:cubicBezTo>
                <a:cubicBezTo>
                  <a:pt x="672" y="10"/>
                  <a:pt x="671" y="10"/>
                  <a:pt x="671" y="10"/>
                </a:cubicBezTo>
                <a:cubicBezTo>
                  <a:pt x="670" y="10"/>
                  <a:pt x="669" y="10"/>
                  <a:pt x="669" y="10"/>
                </a:cubicBezTo>
                <a:cubicBezTo>
                  <a:pt x="669" y="10"/>
                  <a:pt x="669" y="10"/>
                  <a:pt x="669" y="9"/>
                </a:cubicBezTo>
                <a:cubicBezTo>
                  <a:pt x="668" y="9"/>
                  <a:pt x="668" y="9"/>
                  <a:pt x="668" y="9"/>
                </a:cubicBezTo>
                <a:cubicBezTo>
                  <a:pt x="668" y="9"/>
                  <a:pt x="667" y="10"/>
                  <a:pt x="667" y="9"/>
                </a:cubicBezTo>
                <a:cubicBezTo>
                  <a:pt x="669" y="9"/>
                  <a:pt x="667" y="9"/>
                  <a:pt x="667" y="9"/>
                </a:cubicBezTo>
                <a:close/>
                <a:moveTo>
                  <a:pt x="669" y="17"/>
                </a:moveTo>
                <a:cubicBezTo>
                  <a:pt x="670" y="18"/>
                  <a:pt x="670" y="17"/>
                  <a:pt x="670" y="18"/>
                </a:cubicBezTo>
                <a:cubicBezTo>
                  <a:pt x="670" y="18"/>
                  <a:pt x="670" y="18"/>
                  <a:pt x="669" y="17"/>
                </a:cubicBezTo>
                <a:cubicBezTo>
                  <a:pt x="670" y="18"/>
                  <a:pt x="669" y="17"/>
                  <a:pt x="669" y="17"/>
                </a:cubicBezTo>
                <a:close/>
                <a:moveTo>
                  <a:pt x="687" y="33"/>
                </a:moveTo>
                <a:cubicBezTo>
                  <a:pt x="687" y="32"/>
                  <a:pt x="689" y="33"/>
                  <a:pt x="689" y="32"/>
                </a:cubicBezTo>
                <a:cubicBezTo>
                  <a:pt x="689" y="33"/>
                  <a:pt x="690" y="32"/>
                  <a:pt x="690" y="32"/>
                </a:cubicBezTo>
                <a:cubicBezTo>
                  <a:pt x="691" y="32"/>
                  <a:pt x="691" y="32"/>
                  <a:pt x="692" y="32"/>
                </a:cubicBezTo>
                <a:cubicBezTo>
                  <a:pt x="693" y="31"/>
                  <a:pt x="694" y="31"/>
                  <a:pt x="695" y="31"/>
                </a:cubicBezTo>
                <a:cubicBezTo>
                  <a:pt x="695" y="32"/>
                  <a:pt x="694" y="31"/>
                  <a:pt x="693" y="31"/>
                </a:cubicBezTo>
                <a:cubicBezTo>
                  <a:pt x="692" y="32"/>
                  <a:pt x="693" y="32"/>
                  <a:pt x="692" y="32"/>
                </a:cubicBezTo>
                <a:cubicBezTo>
                  <a:pt x="691" y="32"/>
                  <a:pt x="692" y="32"/>
                  <a:pt x="691" y="32"/>
                </a:cubicBezTo>
                <a:cubicBezTo>
                  <a:pt x="691" y="32"/>
                  <a:pt x="691" y="32"/>
                  <a:pt x="691" y="32"/>
                </a:cubicBezTo>
                <a:cubicBezTo>
                  <a:pt x="690" y="32"/>
                  <a:pt x="691" y="33"/>
                  <a:pt x="691" y="33"/>
                </a:cubicBezTo>
                <a:cubicBezTo>
                  <a:pt x="690" y="33"/>
                  <a:pt x="690" y="33"/>
                  <a:pt x="690" y="33"/>
                </a:cubicBezTo>
                <a:cubicBezTo>
                  <a:pt x="689" y="33"/>
                  <a:pt x="689" y="33"/>
                  <a:pt x="689" y="33"/>
                </a:cubicBezTo>
                <a:cubicBezTo>
                  <a:pt x="688" y="33"/>
                  <a:pt x="687" y="34"/>
                  <a:pt x="687" y="34"/>
                </a:cubicBezTo>
                <a:cubicBezTo>
                  <a:pt x="687" y="35"/>
                  <a:pt x="687" y="35"/>
                  <a:pt x="686" y="35"/>
                </a:cubicBezTo>
                <a:cubicBezTo>
                  <a:pt x="686" y="34"/>
                  <a:pt x="686" y="34"/>
                  <a:pt x="687" y="33"/>
                </a:cubicBezTo>
                <a:close/>
                <a:moveTo>
                  <a:pt x="696" y="30"/>
                </a:moveTo>
                <a:cubicBezTo>
                  <a:pt x="696" y="30"/>
                  <a:pt x="697" y="30"/>
                  <a:pt x="697" y="30"/>
                </a:cubicBezTo>
                <a:cubicBezTo>
                  <a:pt x="697" y="30"/>
                  <a:pt x="696" y="30"/>
                  <a:pt x="696" y="31"/>
                </a:cubicBezTo>
                <a:cubicBezTo>
                  <a:pt x="696" y="30"/>
                  <a:pt x="696" y="30"/>
                  <a:pt x="696" y="30"/>
                </a:cubicBezTo>
                <a:close/>
                <a:moveTo>
                  <a:pt x="699" y="29"/>
                </a:moveTo>
                <a:cubicBezTo>
                  <a:pt x="699" y="29"/>
                  <a:pt x="699" y="29"/>
                  <a:pt x="699" y="29"/>
                </a:cubicBezTo>
                <a:cubicBezTo>
                  <a:pt x="699" y="29"/>
                  <a:pt x="699" y="29"/>
                  <a:pt x="699" y="29"/>
                </a:cubicBezTo>
                <a:cubicBezTo>
                  <a:pt x="699" y="29"/>
                  <a:pt x="699" y="29"/>
                  <a:pt x="699" y="29"/>
                </a:cubicBezTo>
                <a:close/>
                <a:moveTo>
                  <a:pt x="713" y="82"/>
                </a:moveTo>
                <a:cubicBezTo>
                  <a:pt x="713" y="82"/>
                  <a:pt x="714" y="82"/>
                  <a:pt x="714" y="82"/>
                </a:cubicBezTo>
                <a:cubicBezTo>
                  <a:pt x="714" y="83"/>
                  <a:pt x="714" y="84"/>
                  <a:pt x="714" y="85"/>
                </a:cubicBezTo>
                <a:cubicBezTo>
                  <a:pt x="712" y="85"/>
                  <a:pt x="713" y="84"/>
                  <a:pt x="713" y="82"/>
                </a:cubicBezTo>
                <a:close/>
                <a:moveTo>
                  <a:pt x="706" y="133"/>
                </a:moveTo>
                <a:cubicBezTo>
                  <a:pt x="706" y="132"/>
                  <a:pt x="707" y="133"/>
                  <a:pt x="708" y="133"/>
                </a:cubicBezTo>
                <a:cubicBezTo>
                  <a:pt x="708" y="133"/>
                  <a:pt x="708" y="132"/>
                  <a:pt x="709" y="132"/>
                </a:cubicBezTo>
                <a:cubicBezTo>
                  <a:pt x="709" y="132"/>
                  <a:pt x="709" y="132"/>
                  <a:pt x="709" y="131"/>
                </a:cubicBezTo>
                <a:cubicBezTo>
                  <a:pt x="709" y="131"/>
                  <a:pt x="708" y="131"/>
                  <a:pt x="708" y="131"/>
                </a:cubicBezTo>
                <a:cubicBezTo>
                  <a:pt x="709" y="130"/>
                  <a:pt x="709" y="130"/>
                  <a:pt x="710" y="131"/>
                </a:cubicBezTo>
                <a:cubicBezTo>
                  <a:pt x="711" y="130"/>
                  <a:pt x="711" y="130"/>
                  <a:pt x="710" y="129"/>
                </a:cubicBezTo>
                <a:cubicBezTo>
                  <a:pt x="711" y="128"/>
                  <a:pt x="712" y="127"/>
                  <a:pt x="714" y="127"/>
                </a:cubicBezTo>
                <a:cubicBezTo>
                  <a:pt x="715" y="126"/>
                  <a:pt x="715" y="126"/>
                  <a:pt x="714" y="125"/>
                </a:cubicBezTo>
                <a:cubicBezTo>
                  <a:pt x="713" y="125"/>
                  <a:pt x="712" y="126"/>
                  <a:pt x="710" y="126"/>
                </a:cubicBezTo>
                <a:cubicBezTo>
                  <a:pt x="710" y="125"/>
                  <a:pt x="709" y="125"/>
                  <a:pt x="709" y="125"/>
                </a:cubicBezTo>
                <a:cubicBezTo>
                  <a:pt x="708" y="125"/>
                  <a:pt x="708" y="125"/>
                  <a:pt x="708" y="125"/>
                </a:cubicBezTo>
                <a:cubicBezTo>
                  <a:pt x="707" y="125"/>
                  <a:pt x="707" y="125"/>
                  <a:pt x="707" y="125"/>
                </a:cubicBezTo>
                <a:cubicBezTo>
                  <a:pt x="706" y="124"/>
                  <a:pt x="707" y="125"/>
                  <a:pt x="706" y="124"/>
                </a:cubicBezTo>
                <a:cubicBezTo>
                  <a:pt x="705" y="124"/>
                  <a:pt x="706" y="124"/>
                  <a:pt x="705" y="124"/>
                </a:cubicBezTo>
                <a:cubicBezTo>
                  <a:pt x="705" y="124"/>
                  <a:pt x="705" y="124"/>
                  <a:pt x="705" y="124"/>
                </a:cubicBezTo>
                <a:cubicBezTo>
                  <a:pt x="704" y="124"/>
                  <a:pt x="703" y="124"/>
                  <a:pt x="703" y="124"/>
                </a:cubicBezTo>
                <a:cubicBezTo>
                  <a:pt x="703" y="123"/>
                  <a:pt x="703" y="123"/>
                  <a:pt x="702" y="123"/>
                </a:cubicBezTo>
                <a:cubicBezTo>
                  <a:pt x="702" y="124"/>
                  <a:pt x="702" y="124"/>
                  <a:pt x="702" y="124"/>
                </a:cubicBezTo>
                <a:cubicBezTo>
                  <a:pt x="701" y="124"/>
                  <a:pt x="701" y="124"/>
                  <a:pt x="700" y="124"/>
                </a:cubicBezTo>
                <a:cubicBezTo>
                  <a:pt x="699" y="124"/>
                  <a:pt x="699" y="125"/>
                  <a:pt x="698" y="125"/>
                </a:cubicBezTo>
                <a:cubicBezTo>
                  <a:pt x="698" y="125"/>
                  <a:pt x="699" y="125"/>
                  <a:pt x="698" y="125"/>
                </a:cubicBezTo>
                <a:cubicBezTo>
                  <a:pt x="697" y="125"/>
                  <a:pt x="696" y="125"/>
                  <a:pt x="695" y="125"/>
                </a:cubicBezTo>
                <a:cubicBezTo>
                  <a:pt x="695" y="125"/>
                  <a:pt x="692" y="125"/>
                  <a:pt x="692" y="125"/>
                </a:cubicBezTo>
                <a:cubicBezTo>
                  <a:pt x="692" y="125"/>
                  <a:pt x="694" y="124"/>
                  <a:pt x="694" y="124"/>
                </a:cubicBezTo>
                <a:cubicBezTo>
                  <a:pt x="694" y="124"/>
                  <a:pt x="694" y="122"/>
                  <a:pt x="694" y="122"/>
                </a:cubicBezTo>
                <a:cubicBezTo>
                  <a:pt x="692" y="122"/>
                  <a:pt x="692" y="123"/>
                  <a:pt x="691" y="123"/>
                </a:cubicBezTo>
                <a:cubicBezTo>
                  <a:pt x="690" y="123"/>
                  <a:pt x="689" y="123"/>
                  <a:pt x="688" y="123"/>
                </a:cubicBezTo>
                <a:cubicBezTo>
                  <a:pt x="687" y="123"/>
                  <a:pt x="687" y="123"/>
                  <a:pt x="686" y="123"/>
                </a:cubicBezTo>
                <a:cubicBezTo>
                  <a:pt x="685" y="123"/>
                  <a:pt x="684" y="123"/>
                  <a:pt x="684" y="123"/>
                </a:cubicBezTo>
                <a:cubicBezTo>
                  <a:pt x="684" y="122"/>
                  <a:pt x="684" y="122"/>
                  <a:pt x="683" y="122"/>
                </a:cubicBezTo>
                <a:cubicBezTo>
                  <a:pt x="684" y="121"/>
                  <a:pt x="683" y="120"/>
                  <a:pt x="684" y="120"/>
                </a:cubicBezTo>
                <a:cubicBezTo>
                  <a:pt x="685" y="120"/>
                  <a:pt x="685" y="119"/>
                  <a:pt x="685" y="119"/>
                </a:cubicBezTo>
                <a:cubicBezTo>
                  <a:pt x="686" y="119"/>
                  <a:pt x="687" y="119"/>
                  <a:pt x="687" y="118"/>
                </a:cubicBezTo>
                <a:cubicBezTo>
                  <a:pt x="688" y="118"/>
                  <a:pt x="688" y="118"/>
                  <a:pt x="689" y="118"/>
                </a:cubicBezTo>
                <a:cubicBezTo>
                  <a:pt x="691" y="118"/>
                  <a:pt x="692" y="118"/>
                  <a:pt x="693" y="118"/>
                </a:cubicBezTo>
                <a:cubicBezTo>
                  <a:pt x="693" y="118"/>
                  <a:pt x="694" y="119"/>
                  <a:pt x="694" y="119"/>
                </a:cubicBezTo>
                <a:cubicBezTo>
                  <a:pt x="694" y="119"/>
                  <a:pt x="694" y="118"/>
                  <a:pt x="695" y="118"/>
                </a:cubicBezTo>
                <a:cubicBezTo>
                  <a:pt x="696" y="118"/>
                  <a:pt x="695" y="118"/>
                  <a:pt x="696" y="118"/>
                </a:cubicBezTo>
                <a:cubicBezTo>
                  <a:pt x="697" y="117"/>
                  <a:pt x="698" y="118"/>
                  <a:pt x="699" y="118"/>
                </a:cubicBezTo>
                <a:cubicBezTo>
                  <a:pt x="699" y="117"/>
                  <a:pt x="699" y="116"/>
                  <a:pt x="698" y="116"/>
                </a:cubicBezTo>
                <a:cubicBezTo>
                  <a:pt x="697" y="116"/>
                  <a:pt x="697" y="115"/>
                  <a:pt x="696" y="115"/>
                </a:cubicBezTo>
                <a:cubicBezTo>
                  <a:pt x="695" y="115"/>
                  <a:pt x="695" y="115"/>
                  <a:pt x="695" y="114"/>
                </a:cubicBezTo>
                <a:cubicBezTo>
                  <a:pt x="695" y="114"/>
                  <a:pt x="694" y="114"/>
                  <a:pt x="694" y="114"/>
                </a:cubicBezTo>
                <a:cubicBezTo>
                  <a:pt x="693" y="114"/>
                  <a:pt x="694" y="114"/>
                  <a:pt x="694" y="114"/>
                </a:cubicBezTo>
                <a:cubicBezTo>
                  <a:pt x="692" y="115"/>
                  <a:pt x="691" y="114"/>
                  <a:pt x="690" y="114"/>
                </a:cubicBezTo>
                <a:cubicBezTo>
                  <a:pt x="689" y="114"/>
                  <a:pt x="688" y="114"/>
                  <a:pt x="687" y="114"/>
                </a:cubicBezTo>
                <a:cubicBezTo>
                  <a:pt x="687" y="114"/>
                  <a:pt x="687" y="115"/>
                  <a:pt x="687" y="115"/>
                </a:cubicBezTo>
                <a:cubicBezTo>
                  <a:pt x="686" y="115"/>
                  <a:pt x="687" y="115"/>
                  <a:pt x="686" y="115"/>
                </a:cubicBezTo>
                <a:cubicBezTo>
                  <a:pt x="686" y="115"/>
                  <a:pt x="685" y="115"/>
                  <a:pt x="685" y="115"/>
                </a:cubicBezTo>
                <a:cubicBezTo>
                  <a:pt x="684" y="115"/>
                  <a:pt x="685" y="115"/>
                  <a:pt x="684" y="115"/>
                </a:cubicBezTo>
                <a:cubicBezTo>
                  <a:pt x="684" y="114"/>
                  <a:pt x="684" y="115"/>
                  <a:pt x="684" y="114"/>
                </a:cubicBezTo>
                <a:cubicBezTo>
                  <a:pt x="684" y="114"/>
                  <a:pt x="684" y="114"/>
                  <a:pt x="685" y="114"/>
                </a:cubicBezTo>
                <a:cubicBezTo>
                  <a:pt x="685" y="114"/>
                  <a:pt x="686" y="114"/>
                  <a:pt x="686" y="114"/>
                </a:cubicBezTo>
                <a:cubicBezTo>
                  <a:pt x="686" y="114"/>
                  <a:pt x="687" y="113"/>
                  <a:pt x="686" y="113"/>
                </a:cubicBezTo>
                <a:cubicBezTo>
                  <a:pt x="687" y="113"/>
                  <a:pt x="685" y="112"/>
                  <a:pt x="685" y="112"/>
                </a:cubicBezTo>
                <a:cubicBezTo>
                  <a:pt x="685" y="111"/>
                  <a:pt x="685" y="111"/>
                  <a:pt x="686" y="111"/>
                </a:cubicBezTo>
                <a:cubicBezTo>
                  <a:pt x="687" y="111"/>
                  <a:pt x="688" y="112"/>
                  <a:pt x="688" y="113"/>
                </a:cubicBezTo>
                <a:cubicBezTo>
                  <a:pt x="689" y="113"/>
                  <a:pt x="690" y="113"/>
                  <a:pt x="690" y="112"/>
                </a:cubicBezTo>
                <a:cubicBezTo>
                  <a:pt x="691" y="112"/>
                  <a:pt x="694" y="112"/>
                  <a:pt x="694" y="113"/>
                </a:cubicBezTo>
                <a:cubicBezTo>
                  <a:pt x="694" y="113"/>
                  <a:pt x="695" y="113"/>
                  <a:pt x="695" y="113"/>
                </a:cubicBezTo>
                <a:cubicBezTo>
                  <a:pt x="696" y="113"/>
                  <a:pt x="696" y="113"/>
                  <a:pt x="697" y="113"/>
                </a:cubicBezTo>
                <a:cubicBezTo>
                  <a:pt x="697" y="113"/>
                  <a:pt x="697" y="113"/>
                  <a:pt x="698" y="114"/>
                </a:cubicBezTo>
                <a:cubicBezTo>
                  <a:pt x="698" y="115"/>
                  <a:pt x="699" y="115"/>
                  <a:pt x="700" y="115"/>
                </a:cubicBezTo>
                <a:cubicBezTo>
                  <a:pt x="701" y="115"/>
                  <a:pt x="702" y="115"/>
                  <a:pt x="702" y="115"/>
                </a:cubicBezTo>
                <a:cubicBezTo>
                  <a:pt x="703" y="116"/>
                  <a:pt x="703" y="117"/>
                  <a:pt x="703" y="117"/>
                </a:cubicBezTo>
                <a:cubicBezTo>
                  <a:pt x="704" y="118"/>
                  <a:pt x="704" y="118"/>
                  <a:pt x="705" y="118"/>
                </a:cubicBezTo>
                <a:cubicBezTo>
                  <a:pt x="705" y="120"/>
                  <a:pt x="705" y="120"/>
                  <a:pt x="706" y="121"/>
                </a:cubicBezTo>
                <a:cubicBezTo>
                  <a:pt x="707" y="121"/>
                  <a:pt x="707" y="121"/>
                  <a:pt x="707" y="122"/>
                </a:cubicBezTo>
                <a:cubicBezTo>
                  <a:pt x="708" y="123"/>
                  <a:pt x="708" y="123"/>
                  <a:pt x="709" y="123"/>
                </a:cubicBezTo>
                <a:cubicBezTo>
                  <a:pt x="710" y="123"/>
                  <a:pt x="710" y="124"/>
                  <a:pt x="712" y="124"/>
                </a:cubicBezTo>
                <a:cubicBezTo>
                  <a:pt x="712" y="124"/>
                  <a:pt x="712" y="124"/>
                  <a:pt x="712" y="123"/>
                </a:cubicBezTo>
                <a:cubicBezTo>
                  <a:pt x="713" y="124"/>
                  <a:pt x="715" y="123"/>
                  <a:pt x="715" y="124"/>
                </a:cubicBezTo>
                <a:cubicBezTo>
                  <a:pt x="715" y="125"/>
                  <a:pt x="716" y="124"/>
                  <a:pt x="716" y="124"/>
                </a:cubicBezTo>
                <a:cubicBezTo>
                  <a:pt x="717" y="125"/>
                  <a:pt x="716" y="125"/>
                  <a:pt x="717" y="124"/>
                </a:cubicBezTo>
                <a:cubicBezTo>
                  <a:pt x="717" y="124"/>
                  <a:pt x="718" y="123"/>
                  <a:pt x="717" y="123"/>
                </a:cubicBezTo>
                <a:cubicBezTo>
                  <a:pt x="717" y="122"/>
                  <a:pt x="716" y="123"/>
                  <a:pt x="716" y="123"/>
                </a:cubicBezTo>
                <a:cubicBezTo>
                  <a:pt x="716" y="123"/>
                  <a:pt x="716" y="122"/>
                  <a:pt x="716" y="122"/>
                </a:cubicBezTo>
                <a:cubicBezTo>
                  <a:pt x="717" y="122"/>
                  <a:pt x="717" y="122"/>
                  <a:pt x="717" y="121"/>
                </a:cubicBezTo>
                <a:cubicBezTo>
                  <a:pt x="717" y="121"/>
                  <a:pt x="717" y="119"/>
                  <a:pt x="717" y="118"/>
                </a:cubicBezTo>
                <a:cubicBezTo>
                  <a:pt x="716" y="119"/>
                  <a:pt x="717" y="118"/>
                  <a:pt x="716" y="117"/>
                </a:cubicBezTo>
                <a:cubicBezTo>
                  <a:pt x="716" y="117"/>
                  <a:pt x="716" y="117"/>
                  <a:pt x="716" y="117"/>
                </a:cubicBezTo>
                <a:cubicBezTo>
                  <a:pt x="715" y="117"/>
                  <a:pt x="715" y="116"/>
                  <a:pt x="715" y="115"/>
                </a:cubicBezTo>
                <a:cubicBezTo>
                  <a:pt x="715" y="114"/>
                  <a:pt x="715" y="115"/>
                  <a:pt x="714" y="115"/>
                </a:cubicBezTo>
                <a:cubicBezTo>
                  <a:pt x="714" y="115"/>
                  <a:pt x="714" y="114"/>
                  <a:pt x="714" y="115"/>
                </a:cubicBezTo>
                <a:cubicBezTo>
                  <a:pt x="714" y="115"/>
                  <a:pt x="713" y="116"/>
                  <a:pt x="713" y="116"/>
                </a:cubicBezTo>
                <a:cubicBezTo>
                  <a:pt x="713" y="115"/>
                  <a:pt x="713" y="114"/>
                  <a:pt x="713" y="113"/>
                </a:cubicBezTo>
                <a:cubicBezTo>
                  <a:pt x="713" y="113"/>
                  <a:pt x="712" y="113"/>
                  <a:pt x="712" y="114"/>
                </a:cubicBezTo>
                <a:cubicBezTo>
                  <a:pt x="712" y="113"/>
                  <a:pt x="712" y="112"/>
                  <a:pt x="711" y="112"/>
                </a:cubicBezTo>
                <a:cubicBezTo>
                  <a:pt x="711" y="111"/>
                  <a:pt x="711" y="112"/>
                  <a:pt x="710" y="112"/>
                </a:cubicBezTo>
                <a:cubicBezTo>
                  <a:pt x="710" y="110"/>
                  <a:pt x="709" y="110"/>
                  <a:pt x="708" y="110"/>
                </a:cubicBezTo>
                <a:cubicBezTo>
                  <a:pt x="707" y="110"/>
                  <a:pt x="707" y="109"/>
                  <a:pt x="705" y="108"/>
                </a:cubicBezTo>
                <a:cubicBezTo>
                  <a:pt x="705" y="108"/>
                  <a:pt x="703" y="108"/>
                  <a:pt x="703" y="108"/>
                </a:cubicBezTo>
                <a:cubicBezTo>
                  <a:pt x="702" y="108"/>
                  <a:pt x="702" y="108"/>
                  <a:pt x="701" y="108"/>
                </a:cubicBezTo>
                <a:cubicBezTo>
                  <a:pt x="701" y="109"/>
                  <a:pt x="701" y="108"/>
                  <a:pt x="700" y="108"/>
                </a:cubicBezTo>
                <a:cubicBezTo>
                  <a:pt x="699" y="108"/>
                  <a:pt x="700" y="108"/>
                  <a:pt x="701" y="108"/>
                </a:cubicBezTo>
                <a:cubicBezTo>
                  <a:pt x="702" y="107"/>
                  <a:pt x="703" y="107"/>
                  <a:pt x="702" y="106"/>
                </a:cubicBezTo>
                <a:cubicBezTo>
                  <a:pt x="702" y="105"/>
                  <a:pt x="702" y="105"/>
                  <a:pt x="701" y="105"/>
                </a:cubicBezTo>
                <a:cubicBezTo>
                  <a:pt x="701" y="105"/>
                  <a:pt x="700" y="105"/>
                  <a:pt x="700" y="105"/>
                </a:cubicBezTo>
                <a:cubicBezTo>
                  <a:pt x="699" y="105"/>
                  <a:pt x="699" y="106"/>
                  <a:pt x="698" y="106"/>
                </a:cubicBezTo>
                <a:cubicBezTo>
                  <a:pt x="697" y="106"/>
                  <a:pt x="697" y="106"/>
                  <a:pt x="697" y="106"/>
                </a:cubicBezTo>
                <a:cubicBezTo>
                  <a:pt x="696" y="106"/>
                  <a:pt x="696" y="107"/>
                  <a:pt x="695" y="107"/>
                </a:cubicBezTo>
                <a:cubicBezTo>
                  <a:pt x="695" y="106"/>
                  <a:pt x="694" y="107"/>
                  <a:pt x="694" y="106"/>
                </a:cubicBezTo>
                <a:cubicBezTo>
                  <a:pt x="694" y="106"/>
                  <a:pt x="695" y="106"/>
                  <a:pt x="693" y="105"/>
                </a:cubicBezTo>
                <a:cubicBezTo>
                  <a:pt x="693" y="105"/>
                  <a:pt x="692" y="105"/>
                  <a:pt x="692" y="105"/>
                </a:cubicBezTo>
                <a:cubicBezTo>
                  <a:pt x="692" y="104"/>
                  <a:pt x="692" y="104"/>
                  <a:pt x="691" y="104"/>
                </a:cubicBezTo>
                <a:cubicBezTo>
                  <a:pt x="691" y="103"/>
                  <a:pt x="691" y="103"/>
                  <a:pt x="691" y="103"/>
                </a:cubicBezTo>
                <a:cubicBezTo>
                  <a:pt x="691" y="102"/>
                  <a:pt x="690" y="103"/>
                  <a:pt x="690" y="102"/>
                </a:cubicBezTo>
                <a:cubicBezTo>
                  <a:pt x="690" y="102"/>
                  <a:pt x="693" y="102"/>
                  <a:pt x="693" y="102"/>
                </a:cubicBezTo>
                <a:cubicBezTo>
                  <a:pt x="693" y="101"/>
                  <a:pt x="693" y="101"/>
                  <a:pt x="692" y="101"/>
                </a:cubicBezTo>
                <a:cubicBezTo>
                  <a:pt x="692" y="100"/>
                  <a:pt x="693" y="100"/>
                  <a:pt x="694" y="100"/>
                </a:cubicBezTo>
                <a:cubicBezTo>
                  <a:pt x="694" y="100"/>
                  <a:pt x="697" y="101"/>
                  <a:pt x="697" y="100"/>
                </a:cubicBezTo>
                <a:cubicBezTo>
                  <a:pt x="696" y="100"/>
                  <a:pt x="697" y="100"/>
                  <a:pt x="697" y="100"/>
                </a:cubicBezTo>
                <a:cubicBezTo>
                  <a:pt x="698" y="100"/>
                  <a:pt x="698" y="100"/>
                  <a:pt x="698" y="99"/>
                </a:cubicBezTo>
                <a:cubicBezTo>
                  <a:pt x="699" y="99"/>
                  <a:pt x="700" y="99"/>
                  <a:pt x="700" y="99"/>
                </a:cubicBezTo>
                <a:cubicBezTo>
                  <a:pt x="700" y="99"/>
                  <a:pt x="700" y="98"/>
                  <a:pt x="700" y="98"/>
                </a:cubicBezTo>
                <a:cubicBezTo>
                  <a:pt x="700" y="98"/>
                  <a:pt x="700" y="98"/>
                  <a:pt x="700" y="98"/>
                </a:cubicBezTo>
                <a:cubicBezTo>
                  <a:pt x="701" y="97"/>
                  <a:pt x="701" y="98"/>
                  <a:pt x="702" y="98"/>
                </a:cubicBezTo>
                <a:cubicBezTo>
                  <a:pt x="703" y="98"/>
                  <a:pt x="703" y="98"/>
                  <a:pt x="703" y="97"/>
                </a:cubicBezTo>
                <a:cubicBezTo>
                  <a:pt x="703" y="95"/>
                  <a:pt x="703" y="95"/>
                  <a:pt x="705" y="95"/>
                </a:cubicBezTo>
                <a:cubicBezTo>
                  <a:pt x="704" y="96"/>
                  <a:pt x="705" y="97"/>
                  <a:pt x="704" y="97"/>
                </a:cubicBezTo>
                <a:cubicBezTo>
                  <a:pt x="704" y="98"/>
                  <a:pt x="704" y="98"/>
                  <a:pt x="705" y="98"/>
                </a:cubicBezTo>
                <a:cubicBezTo>
                  <a:pt x="706" y="98"/>
                  <a:pt x="705" y="98"/>
                  <a:pt x="706" y="98"/>
                </a:cubicBezTo>
                <a:cubicBezTo>
                  <a:pt x="707" y="98"/>
                  <a:pt x="707" y="98"/>
                  <a:pt x="708" y="98"/>
                </a:cubicBezTo>
                <a:cubicBezTo>
                  <a:pt x="708" y="98"/>
                  <a:pt x="708" y="99"/>
                  <a:pt x="709" y="99"/>
                </a:cubicBezTo>
                <a:cubicBezTo>
                  <a:pt x="709" y="99"/>
                  <a:pt x="709" y="99"/>
                  <a:pt x="709" y="99"/>
                </a:cubicBezTo>
                <a:cubicBezTo>
                  <a:pt x="710" y="99"/>
                  <a:pt x="711" y="99"/>
                  <a:pt x="711" y="99"/>
                </a:cubicBezTo>
                <a:cubicBezTo>
                  <a:pt x="712" y="99"/>
                  <a:pt x="711" y="99"/>
                  <a:pt x="712" y="99"/>
                </a:cubicBezTo>
                <a:cubicBezTo>
                  <a:pt x="712" y="99"/>
                  <a:pt x="712" y="100"/>
                  <a:pt x="713" y="100"/>
                </a:cubicBezTo>
                <a:cubicBezTo>
                  <a:pt x="713" y="99"/>
                  <a:pt x="714" y="100"/>
                  <a:pt x="715" y="100"/>
                </a:cubicBezTo>
                <a:cubicBezTo>
                  <a:pt x="716" y="99"/>
                  <a:pt x="715" y="99"/>
                  <a:pt x="716" y="99"/>
                </a:cubicBezTo>
                <a:cubicBezTo>
                  <a:pt x="717" y="99"/>
                  <a:pt x="717" y="99"/>
                  <a:pt x="717" y="98"/>
                </a:cubicBezTo>
                <a:cubicBezTo>
                  <a:pt x="718" y="98"/>
                  <a:pt x="718" y="99"/>
                  <a:pt x="718" y="98"/>
                </a:cubicBezTo>
                <a:cubicBezTo>
                  <a:pt x="718" y="97"/>
                  <a:pt x="721" y="97"/>
                  <a:pt x="721" y="97"/>
                </a:cubicBezTo>
                <a:cubicBezTo>
                  <a:pt x="722" y="97"/>
                  <a:pt x="722" y="97"/>
                  <a:pt x="722" y="97"/>
                </a:cubicBezTo>
                <a:cubicBezTo>
                  <a:pt x="722" y="96"/>
                  <a:pt x="722" y="96"/>
                  <a:pt x="721" y="96"/>
                </a:cubicBezTo>
                <a:cubicBezTo>
                  <a:pt x="721" y="95"/>
                  <a:pt x="721" y="94"/>
                  <a:pt x="722" y="94"/>
                </a:cubicBezTo>
                <a:cubicBezTo>
                  <a:pt x="721" y="94"/>
                  <a:pt x="720" y="94"/>
                  <a:pt x="720" y="94"/>
                </a:cubicBezTo>
                <a:cubicBezTo>
                  <a:pt x="719" y="94"/>
                  <a:pt x="719" y="93"/>
                  <a:pt x="718" y="93"/>
                </a:cubicBezTo>
                <a:cubicBezTo>
                  <a:pt x="716" y="92"/>
                  <a:pt x="716" y="95"/>
                  <a:pt x="716" y="95"/>
                </a:cubicBezTo>
                <a:cubicBezTo>
                  <a:pt x="715" y="95"/>
                  <a:pt x="715" y="93"/>
                  <a:pt x="715" y="93"/>
                </a:cubicBezTo>
                <a:cubicBezTo>
                  <a:pt x="714" y="93"/>
                  <a:pt x="714" y="93"/>
                  <a:pt x="713" y="93"/>
                </a:cubicBezTo>
                <a:cubicBezTo>
                  <a:pt x="713" y="92"/>
                  <a:pt x="714" y="89"/>
                  <a:pt x="714" y="88"/>
                </a:cubicBezTo>
                <a:cubicBezTo>
                  <a:pt x="715" y="88"/>
                  <a:pt x="716" y="89"/>
                  <a:pt x="717" y="89"/>
                </a:cubicBezTo>
                <a:cubicBezTo>
                  <a:pt x="717" y="89"/>
                  <a:pt x="717" y="89"/>
                  <a:pt x="717" y="89"/>
                </a:cubicBezTo>
                <a:cubicBezTo>
                  <a:pt x="717" y="89"/>
                  <a:pt x="718" y="90"/>
                  <a:pt x="719" y="90"/>
                </a:cubicBezTo>
                <a:cubicBezTo>
                  <a:pt x="720" y="90"/>
                  <a:pt x="721" y="90"/>
                  <a:pt x="722" y="90"/>
                </a:cubicBezTo>
                <a:cubicBezTo>
                  <a:pt x="724" y="90"/>
                  <a:pt x="723" y="90"/>
                  <a:pt x="724" y="90"/>
                </a:cubicBezTo>
                <a:cubicBezTo>
                  <a:pt x="724" y="90"/>
                  <a:pt x="725" y="92"/>
                  <a:pt x="726" y="92"/>
                </a:cubicBezTo>
                <a:cubicBezTo>
                  <a:pt x="727" y="92"/>
                  <a:pt x="727" y="91"/>
                  <a:pt x="728" y="91"/>
                </a:cubicBezTo>
                <a:cubicBezTo>
                  <a:pt x="729" y="90"/>
                  <a:pt x="729" y="90"/>
                  <a:pt x="728" y="89"/>
                </a:cubicBezTo>
                <a:cubicBezTo>
                  <a:pt x="728" y="88"/>
                  <a:pt x="727" y="88"/>
                  <a:pt x="726" y="88"/>
                </a:cubicBezTo>
                <a:cubicBezTo>
                  <a:pt x="726" y="89"/>
                  <a:pt x="725" y="89"/>
                  <a:pt x="725" y="89"/>
                </a:cubicBezTo>
                <a:cubicBezTo>
                  <a:pt x="725" y="89"/>
                  <a:pt x="725" y="89"/>
                  <a:pt x="724" y="89"/>
                </a:cubicBezTo>
                <a:cubicBezTo>
                  <a:pt x="723" y="89"/>
                  <a:pt x="722" y="89"/>
                  <a:pt x="720" y="89"/>
                </a:cubicBezTo>
                <a:cubicBezTo>
                  <a:pt x="721" y="88"/>
                  <a:pt x="721" y="88"/>
                  <a:pt x="721" y="87"/>
                </a:cubicBezTo>
                <a:cubicBezTo>
                  <a:pt x="721" y="86"/>
                  <a:pt x="720" y="85"/>
                  <a:pt x="719" y="86"/>
                </a:cubicBezTo>
                <a:cubicBezTo>
                  <a:pt x="719" y="86"/>
                  <a:pt x="719" y="87"/>
                  <a:pt x="719" y="87"/>
                </a:cubicBezTo>
                <a:cubicBezTo>
                  <a:pt x="719" y="87"/>
                  <a:pt x="718" y="87"/>
                  <a:pt x="717" y="87"/>
                </a:cubicBezTo>
                <a:cubicBezTo>
                  <a:pt x="717" y="87"/>
                  <a:pt x="716" y="87"/>
                  <a:pt x="716" y="86"/>
                </a:cubicBezTo>
                <a:cubicBezTo>
                  <a:pt x="717" y="86"/>
                  <a:pt x="717" y="87"/>
                  <a:pt x="718" y="87"/>
                </a:cubicBezTo>
                <a:cubicBezTo>
                  <a:pt x="718" y="87"/>
                  <a:pt x="719" y="86"/>
                  <a:pt x="719" y="86"/>
                </a:cubicBezTo>
                <a:cubicBezTo>
                  <a:pt x="720" y="85"/>
                  <a:pt x="721" y="85"/>
                  <a:pt x="720" y="84"/>
                </a:cubicBezTo>
                <a:cubicBezTo>
                  <a:pt x="719" y="83"/>
                  <a:pt x="719" y="82"/>
                  <a:pt x="718" y="82"/>
                </a:cubicBezTo>
                <a:cubicBezTo>
                  <a:pt x="717" y="82"/>
                  <a:pt x="716" y="82"/>
                  <a:pt x="715" y="82"/>
                </a:cubicBezTo>
                <a:cubicBezTo>
                  <a:pt x="715" y="81"/>
                  <a:pt x="715" y="81"/>
                  <a:pt x="716" y="81"/>
                </a:cubicBezTo>
                <a:cubicBezTo>
                  <a:pt x="716" y="81"/>
                  <a:pt x="717" y="81"/>
                  <a:pt x="717" y="81"/>
                </a:cubicBezTo>
                <a:cubicBezTo>
                  <a:pt x="717" y="81"/>
                  <a:pt x="717" y="81"/>
                  <a:pt x="717" y="81"/>
                </a:cubicBezTo>
                <a:cubicBezTo>
                  <a:pt x="718" y="82"/>
                  <a:pt x="718" y="81"/>
                  <a:pt x="718" y="81"/>
                </a:cubicBezTo>
                <a:cubicBezTo>
                  <a:pt x="718" y="82"/>
                  <a:pt x="718" y="82"/>
                  <a:pt x="718" y="82"/>
                </a:cubicBezTo>
                <a:cubicBezTo>
                  <a:pt x="719" y="82"/>
                  <a:pt x="719" y="82"/>
                  <a:pt x="720" y="82"/>
                </a:cubicBezTo>
                <a:cubicBezTo>
                  <a:pt x="721" y="82"/>
                  <a:pt x="722" y="81"/>
                  <a:pt x="722" y="81"/>
                </a:cubicBezTo>
                <a:cubicBezTo>
                  <a:pt x="723" y="82"/>
                  <a:pt x="723" y="83"/>
                  <a:pt x="724" y="83"/>
                </a:cubicBezTo>
                <a:cubicBezTo>
                  <a:pt x="724" y="83"/>
                  <a:pt x="725" y="83"/>
                  <a:pt x="725" y="82"/>
                </a:cubicBezTo>
                <a:cubicBezTo>
                  <a:pt x="725" y="81"/>
                  <a:pt x="725" y="80"/>
                  <a:pt x="725" y="79"/>
                </a:cubicBezTo>
                <a:cubicBezTo>
                  <a:pt x="725" y="78"/>
                  <a:pt x="725" y="77"/>
                  <a:pt x="724" y="76"/>
                </a:cubicBezTo>
                <a:cubicBezTo>
                  <a:pt x="724" y="75"/>
                  <a:pt x="724" y="75"/>
                  <a:pt x="723" y="75"/>
                </a:cubicBezTo>
                <a:cubicBezTo>
                  <a:pt x="723" y="74"/>
                  <a:pt x="724" y="74"/>
                  <a:pt x="723" y="73"/>
                </a:cubicBezTo>
                <a:cubicBezTo>
                  <a:pt x="723" y="72"/>
                  <a:pt x="722" y="73"/>
                  <a:pt x="722" y="73"/>
                </a:cubicBezTo>
                <a:cubicBezTo>
                  <a:pt x="721" y="72"/>
                  <a:pt x="721" y="72"/>
                  <a:pt x="720" y="72"/>
                </a:cubicBezTo>
                <a:cubicBezTo>
                  <a:pt x="720" y="73"/>
                  <a:pt x="719" y="74"/>
                  <a:pt x="718" y="74"/>
                </a:cubicBezTo>
                <a:cubicBezTo>
                  <a:pt x="718" y="74"/>
                  <a:pt x="718" y="73"/>
                  <a:pt x="718" y="73"/>
                </a:cubicBezTo>
                <a:cubicBezTo>
                  <a:pt x="717" y="73"/>
                  <a:pt x="717" y="73"/>
                  <a:pt x="716" y="73"/>
                </a:cubicBezTo>
                <a:cubicBezTo>
                  <a:pt x="716" y="72"/>
                  <a:pt x="716" y="72"/>
                  <a:pt x="717" y="72"/>
                </a:cubicBezTo>
                <a:cubicBezTo>
                  <a:pt x="717" y="72"/>
                  <a:pt x="717" y="72"/>
                  <a:pt x="718" y="72"/>
                </a:cubicBezTo>
                <a:cubicBezTo>
                  <a:pt x="718" y="72"/>
                  <a:pt x="718" y="71"/>
                  <a:pt x="719" y="71"/>
                </a:cubicBezTo>
                <a:cubicBezTo>
                  <a:pt x="720" y="70"/>
                  <a:pt x="720" y="70"/>
                  <a:pt x="719" y="69"/>
                </a:cubicBezTo>
                <a:cubicBezTo>
                  <a:pt x="718" y="69"/>
                  <a:pt x="721" y="68"/>
                  <a:pt x="718" y="68"/>
                </a:cubicBezTo>
                <a:cubicBezTo>
                  <a:pt x="719" y="67"/>
                  <a:pt x="719" y="67"/>
                  <a:pt x="720" y="67"/>
                </a:cubicBezTo>
                <a:cubicBezTo>
                  <a:pt x="721" y="67"/>
                  <a:pt x="722" y="67"/>
                  <a:pt x="722" y="68"/>
                </a:cubicBezTo>
                <a:cubicBezTo>
                  <a:pt x="724" y="68"/>
                  <a:pt x="726" y="68"/>
                  <a:pt x="727" y="68"/>
                </a:cubicBezTo>
                <a:cubicBezTo>
                  <a:pt x="728" y="69"/>
                  <a:pt x="728" y="69"/>
                  <a:pt x="730" y="69"/>
                </a:cubicBezTo>
                <a:cubicBezTo>
                  <a:pt x="731" y="69"/>
                  <a:pt x="731" y="69"/>
                  <a:pt x="732" y="69"/>
                </a:cubicBezTo>
                <a:cubicBezTo>
                  <a:pt x="732" y="68"/>
                  <a:pt x="731" y="68"/>
                  <a:pt x="731" y="67"/>
                </a:cubicBezTo>
                <a:cubicBezTo>
                  <a:pt x="731" y="67"/>
                  <a:pt x="732" y="67"/>
                  <a:pt x="732" y="67"/>
                </a:cubicBezTo>
                <a:cubicBezTo>
                  <a:pt x="732" y="67"/>
                  <a:pt x="731" y="66"/>
                  <a:pt x="731" y="66"/>
                </a:cubicBezTo>
                <a:cubicBezTo>
                  <a:pt x="731" y="66"/>
                  <a:pt x="730" y="65"/>
                  <a:pt x="730" y="65"/>
                </a:cubicBezTo>
                <a:cubicBezTo>
                  <a:pt x="730" y="65"/>
                  <a:pt x="730" y="64"/>
                  <a:pt x="730" y="64"/>
                </a:cubicBezTo>
                <a:cubicBezTo>
                  <a:pt x="730" y="64"/>
                  <a:pt x="730" y="63"/>
                  <a:pt x="729" y="63"/>
                </a:cubicBezTo>
                <a:cubicBezTo>
                  <a:pt x="729" y="63"/>
                  <a:pt x="728" y="63"/>
                  <a:pt x="727" y="62"/>
                </a:cubicBezTo>
                <a:cubicBezTo>
                  <a:pt x="727" y="63"/>
                  <a:pt x="727" y="64"/>
                  <a:pt x="727" y="64"/>
                </a:cubicBezTo>
                <a:cubicBezTo>
                  <a:pt x="726" y="64"/>
                  <a:pt x="724" y="63"/>
                  <a:pt x="724" y="64"/>
                </a:cubicBezTo>
                <a:cubicBezTo>
                  <a:pt x="723" y="64"/>
                  <a:pt x="722" y="64"/>
                  <a:pt x="722" y="63"/>
                </a:cubicBezTo>
                <a:cubicBezTo>
                  <a:pt x="722" y="63"/>
                  <a:pt x="722" y="62"/>
                  <a:pt x="722" y="62"/>
                </a:cubicBezTo>
                <a:cubicBezTo>
                  <a:pt x="722" y="62"/>
                  <a:pt x="723" y="62"/>
                  <a:pt x="722" y="61"/>
                </a:cubicBezTo>
                <a:cubicBezTo>
                  <a:pt x="722" y="61"/>
                  <a:pt x="722" y="61"/>
                  <a:pt x="722" y="60"/>
                </a:cubicBezTo>
                <a:cubicBezTo>
                  <a:pt x="722" y="60"/>
                  <a:pt x="722" y="60"/>
                  <a:pt x="722" y="60"/>
                </a:cubicBezTo>
                <a:cubicBezTo>
                  <a:pt x="723" y="60"/>
                  <a:pt x="723" y="60"/>
                  <a:pt x="724" y="60"/>
                </a:cubicBezTo>
                <a:cubicBezTo>
                  <a:pt x="725" y="61"/>
                  <a:pt x="724" y="61"/>
                  <a:pt x="725" y="61"/>
                </a:cubicBezTo>
                <a:cubicBezTo>
                  <a:pt x="726" y="61"/>
                  <a:pt x="727" y="60"/>
                  <a:pt x="727" y="60"/>
                </a:cubicBezTo>
                <a:cubicBezTo>
                  <a:pt x="726" y="60"/>
                  <a:pt x="725" y="59"/>
                  <a:pt x="724" y="59"/>
                </a:cubicBezTo>
                <a:cubicBezTo>
                  <a:pt x="723" y="58"/>
                  <a:pt x="723" y="57"/>
                  <a:pt x="723" y="58"/>
                </a:cubicBezTo>
                <a:cubicBezTo>
                  <a:pt x="722" y="58"/>
                  <a:pt x="721" y="58"/>
                  <a:pt x="720" y="58"/>
                </a:cubicBezTo>
                <a:cubicBezTo>
                  <a:pt x="720" y="58"/>
                  <a:pt x="718" y="57"/>
                  <a:pt x="718" y="57"/>
                </a:cubicBezTo>
                <a:cubicBezTo>
                  <a:pt x="717" y="57"/>
                  <a:pt x="717" y="57"/>
                  <a:pt x="716" y="58"/>
                </a:cubicBezTo>
                <a:cubicBezTo>
                  <a:pt x="716" y="58"/>
                  <a:pt x="716" y="58"/>
                  <a:pt x="716" y="58"/>
                </a:cubicBezTo>
                <a:cubicBezTo>
                  <a:pt x="715" y="58"/>
                  <a:pt x="715" y="57"/>
                  <a:pt x="715" y="57"/>
                </a:cubicBezTo>
                <a:cubicBezTo>
                  <a:pt x="716" y="56"/>
                  <a:pt x="715" y="54"/>
                  <a:pt x="717" y="54"/>
                </a:cubicBezTo>
                <a:cubicBezTo>
                  <a:pt x="717" y="55"/>
                  <a:pt x="719" y="55"/>
                  <a:pt x="719" y="55"/>
                </a:cubicBezTo>
                <a:cubicBezTo>
                  <a:pt x="719" y="55"/>
                  <a:pt x="720" y="55"/>
                  <a:pt x="720" y="55"/>
                </a:cubicBezTo>
                <a:cubicBezTo>
                  <a:pt x="720" y="56"/>
                  <a:pt x="721" y="55"/>
                  <a:pt x="721" y="55"/>
                </a:cubicBezTo>
                <a:cubicBezTo>
                  <a:pt x="721" y="55"/>
                  <a:pt x="722" y="56"/>
                  <a:pt x="722" y="56"/>
                </a:cubicBezTo>
                <a:cubicBezTo>
                  <a:pt x="722" y="56"/>
                  <a:pt x="722" y="56"/>
                  <a:pt x="723" y="56"/>
                </a:cubicBezTo>
                <a:cubicBezTo>
                  <a:pt x="723" y="56"/>
                  <a:pt x="723" y="55"/>
                  <a:pt x="723" y="54"/>
                </a:cubicBezTo>
                <a:cubicBezTo>
                  <a:pt x="724" y="53"/>
                  <a:pt x="724" y="54"/>
                  <a:pt x="724" y="53"/>
                </a:cubicBezTo>
                <a:cubicBezTo>
                  <a:pt x="725" y="52"/>
                  <a:pt x="726" y="51"/>
                  <a:pt x="727" y="51"/>
                </a:cubicBezTo>
                <a:cubicBezTo>
                  <a:pt x="727" y="51"/>
                  <a:pt x="727" y="51"/>
                  <a:pt x="727" y="50"/>
                </a:cubicBezTo>
                <a:cubicBezTo>
                  <a:pt x="727" y="50"/>
                  <a:pt x="727" y="49"/>
                  <a:pt x="727" y="49"/>
                </a:cubicBezTo>
                <a:cubicBezTo>
                  <a:pt x="726" y="48"/>
                  <a:pt x="727" y="48"/>
                  <a:pt x="728" y="47"/>
                </a:cubicBezTo>
                <a:cubicBezTo>
                  <a:pt x="729" y="46"/>
                  <a:pt x="728" y="45"/>
                  <a:pt x="728" y="45"/>
                </a:cubicBezTo>
                <a:cubicBezTo>
                  <a:pt x="726" y="45"/>
                  <a:pt x="727" y="45"/>
                  <a:pt x="728" y="44"/>
                </a:cubicBezTo>
                <a:cubicBezTo>
                  <a:pt x="730" y="44"/>
                  <a:pt x="732" y="44"/>
                  <a:pt x="733" y="44"/>
                </a:cubicBezTo>
                <a:cubicBezTo>
                  <a:pt x="733" y="42"/>
                  <a:pt x="733" y="42"/>
                  <a:pt x="735" y="42"/>
                </a:cubicBezTo>
                <a:cubicBezTo>
                  <a:pt x="736" y="41"/>
                  <a:pt x="737" y="39"/>
                  <a:pt x="736" y="39"/>
                </a:cubicBezTo>
                <a:cubicBezTo>
                  <a:pt x="734" y="38"/>
                  <a:pt x="732" y="38"/>
                  <a:pt x="730" y="38"/>
                </a:cubicBezTo>
                <a:cubicBezTo>
                  <a:pt x="730" y="38"/>
                  <a:pt x="729" y="38"/>
                  <a:pt x="729" y="38"/>
                </a:cubicBezTo>
                <a:cubicBezTo>
                  <a:pt x="728" y="38"/>
                  <a:pt x="729" y="38"/>
                  <a:pt x="728" y="38"/>
                </a:cubicBezTo>
                <a:cubicBezTo>
                  <a:pt x="728" y="38"/>
                  <a:pt x="728" y="38"/>
                  <a:pt x="728" y="38"/>
                </a:cubicBezTo>
                <a:cubicBezTo>
                  <a:pt x="727" y="39"/>
                  <a:pt x="727" y="39"/>
                  <a:pt x="727" y="39"/>
                </a:cubicBezTo>
                <a:cubicBezTo>
                  <a:pt x="726" y="39"/>
                  <a:pt x="727" y="39"/>
                  <a:pt x="727" y="39"/>
                </a:cubicBezTo>
                <a:cubicBezTo>
                  <a:pt x="726" y="39"/>
                  <a:pt x="726" y="39"/>
                  <a:pt x="725" y="40"/>
                </a:cubicBezTo>
                <a:cubicBezTo>
                  <a:pt x="725" y="40"/>
                  <a:pt x="723" y="41"/>
                  <a:pt x="723" y="41"/>
                </a:cubicBezTo>
                <a:cubicBezTo>
                  <a:pt x="723" y="40"/>
                  <a:pt x="723" y="39"/>
                  <a:pt x="723" y="38"/>
                </a:cubicBezTo>
                <a:cubicBezTo>
                  <a:pt x="723" y="38"/>
                  <a:pt x="722" y="38"/>
                  <a:pt x="722" y="37"/>
                </a:cubicBezTo>
                <a:cubicBezTo>
                  <a:pt x="722" y="37"/>
                  <a:pt x="722" y="36"/>
                  <a:pt x="723" y="36"/>
                </a:cubicBezTo>
                <a:cubicBezTo>
                  <a:pt x="723" y="36"/>
                  <a:pt x="723" y="36"/>
                  <a:pt x="724" y="35"/>
                </a:cubicBezTo>
                <a:cubicBezTo>
                  <a:pt x="724" y="35"/>
                  <a:pt x="725" y="35"/>
                  <a:pt x="726" y="35"/>
                </a:cubicBezTo>
                <a:cubicBezTo>
                  <a:pt x="727" y="35"/>
                  <a:pt x="728" y="36"/>
                  <a:pt x="730" y="36"/>
                </a:cubicBezTo>
                <a:cubicBezTo>
                  <a:pt x="732" y="36"/>
                  <a:pt x="734" y="37"/>
                  <a:pt x="736" y="37"/>
                </a:cubicBezTo>
                <a:cubicBezTo>
                  <a:pt x="738" y="37"/>
                  <a:pt x="739" y="38"/>
                  <a:pt x="740" y="36"/>
                </a:cubicBezTo>
                <a:cubicBezTo>
                  <a:pt x="740" y="36"/>
                  <a:pt x="742" y="35"/>
                  <a:pt x="742" y="35"/>
                </a:cubicBezTo>
                <a:cubicBezTo>
                  <a:pt x="743" y="35"/>
                  <a:pt x="743" y="34"/>
                  <a:pt x="744" y="33"/>
                </a:cubicBezTo>
                <a:cubicBezTo>
                  <a:pt x="745" y="31"/>
                  <a:pt x="743" y="31"/>
                  <a:pt x="742" y="31"/>
                </a:cubicBezTo>
                <a:cubicBezTo>
                  <a:pt x="741" y="31"/>
                  <a:pt x="740" y="31"/>
                  <a:pt x="740" y="31"/>
                </a:cubicBezTo>
                <a:cubicBezTo>
                  <a:pt x="740" y="32"/>
                  <a:pt x="739" y="32"/>
                  <a:pt x="739" y="33"/>
                </a:cubicBezTo>
                <a:cubicBezTo>
                  <a:pt x="738" y="33"/>
                  <a:pt x="737" y="32"/>
                  <a:pt x="737" y="32"/>
                </a:cubicBezTo>
                <a:cubicBezTo>
                  <a:pt x="735" y="32"/>
                  <a:pt x="732" y="34"/>
                  <a:pt x="730" y="33"/>
                </a:cubicBezTo>
                <a:cubicBezTo>
                  <a:pt x="730" y="33"/>
                  <a:pt x="728" y="32"/>
                  <a:pt x="728" y="32"/>
                </a:cubicBezTo>
                <a:cubicBezTo>
                  <a:pt x="728" y="31"/>
                  <a:pt x="731" y="31"/>
                  <a:pt x="731" y="31"/>
                </a:cubicBezTo>
                <a:cubicBezTo>
                  <a:pt x="732" y="31"/>
                  <a:pt x="733" y="31"/>
                  <a:pt x="733" y="31"/>
                </a:cubicBezTo>
                <a:cubicBezTo>
                  <a:pt x="734" y="30"/>
                  <a:pt x="734" y="30"/>
                  <a:pt x="735" y="30"/>
                </a:cubicBezTo>
                <a:cubicBezTo>
                  <a:pt x="736" y="30"/>
                  <a:pt x="739" y="30"/>
                  <a:pt x="739" y="31"/>
                </a:cubicBezTo>
                <a:cubicBezTo>
                  <a:pt x="739" y="31"/>
                  <a:pt x="741" y="31"/>
                  <a:pt x="741" y="30"/>
                </a:cubicBezTo>
                <a:cubicBezTo>
                  <a:pt x="742" y="30"/>
                  <a:pt x="743" y="30"/>
                  <a:pt x="743" y="31"/>
                </a:cubicBezTo>
                <a:cubicBezTo>
                  <a:pt x="744" y="31"/>
                  <a:pt x="745" y="31"/>
                  <a:pt x="746" y="30"/>
                </a:cubicBezTo>
                <a:cubicBezTo>
                  <a:pt x="746" y="29"/>
                  <a:pt x="748" y="29"/>
                  <a:pt x="749" y="29"/>
                </a:cubicBezTo>
                <a:cubicBezTo>
                  <a:pt x="750" y="29"/>
                  <a:pt x="751" y="29"/>
                  <a:pt x="751" y="28"/>
                </a:cubicBezTo>
                <a:cubicBezTo>
                  <a:pt x="751" y="27"/>
                  <a:pt x="751" y="27"/>
                  <a:pt x="751" y="27"/>
                </a:cubicBezTo>
                <a:cubicBezTo>
                  <a:pt x="752" y="27"/>
                  <a:pt x="753" y="27"/>
                  <a:pt x="753" y="27"/>
                </a:cubicBezTo>
                <a:cubicBezTo>
                  <a:pt x="753" y="26"/>
                  <a:pt x="754" y="27"/>
                  <a:pt x="754" y="27"/>
                </a:cubicBezTo>
                <a:cubicBezTo>
                  <a:pt x="754" y="26"/>
                  <a:pt x="754" y="26"/>
                  <a:pt x="755" y="26"/>
                </a:cubicBezTo>
                <a:cubicBezTo>
                  <a:pt x="756" y="26"/>
                  <a:pt x="755" y="25"/>
                  <a:pt x="756" y="25"/>
                </a:cubicBezTo>
                <a:cubicBezTo>
                  <a:pt x="756" y="25"/>
                  <a:pt x="757" y="25"/>
                  <a:pt x="757" y="26"/>
                </a:cubicBezTo>
                <a:cubicBezTo>
                  <a:pt x="758" y="26"/>
                  <a:pt x="759" y="24"/>
                  <a:pt x="759" y="25"/>
                </a:cubicBezTo>
                <a:cubicBezTo>
                  <a:pt x="759" y="24"/>
                  <a:pt x="758" y="23"/>
                  <a:pt x="757" y="23"/>
                </a:cubicBezTo>
                <a:cubicBezTo>
                  <a:pt x="755" y="22"/>
                  <a:pt x="753" y="22"/>
                  <a:pt x="751" y="23"/>
                </a:cubicBezTo>
                <a:cubicBezTo>
                  <a:pt x="751" y="22"/>
                  <a:pt x="748" y="22"/>
                  <a:pt x="748" y="22"/>
                </a:cubicBezTo>
                <a:cubicBezTo>
                  <a:pt x="747" y="22"/>
                  <a:pt x="746" y="22"/>
                  <a:pt x="745" y="22"/>
                </a:cubicBezTo>
                <a:cubicBezTo>
                  <a:pt x="743" y="21"/>
                  <a:pt x="741" y="21"/>
                  <a:pt x="740" y="21"/>
                </a:cubicBezTo>
                <a:cubicBezTo>
                  <a:pt x="739" y="21"/>
                  <a:pt x="739" y="22"/>
                  <a:pt x="738" y="22"/>
                </a:cubicBezTo>
                <a:cubicBezTo>
                  <a:pt x="738" y="21"/>
                  <a:pt x="738" y="21"/>
                  <a:pt x="737" y="21"/>
                </a:cubicBezTo>
                <a:cubicBezTo>
                  <a:pt x="736" y="21"/>
                  <a:pt x="735" y="21"/>
                  <a:pt x="734" y="21"/>
                </a:cubicBezTo>
                <a:cubicBezTo>
                  <a:pt x="734" y="21"/>
                  <a:pt x="734" y="22"/>
                  <a:pt x="734" y="22"/>
                </a:cubicBezTo>
                <a:cubicBezTo>
                  <a:pt x="734" y="23"/>
                  <a:pt x="732" y="23"/>
                  <a:pt x="731" y="23"/>
                </a:cubicBezTo>
                <a:cubicBezTo>
                  <a:pt x="731" y="23"/>
                  <a:pt x="729" y="23"/>
                  <a:pt x="729" y="24"/>
                </a:cubicBezTo>
                <a:cubicBezTo>
                  <a:pt x="729" y="24"/>
                  <a:pt x="729" y="25"/>
                  <a:pt x="729" y="25"/>
                </a:cubicBezTo>
                <a:cubicBezTo>
                  <a:pt x="727" y="25"/>
                  <a:pt x="726" y="24"/>
                  <a:pt x="725" y="23"/>
                </a:cubicBezTo>
                <a:cubicBezTo>
                  <a:pt x="724" y="24"/>
                  <a:pt x="724" y="26"/>
                  <a:pt x="724" y="24"/>
                </a:cubicBezTo>
                <a:cubicBezTo>
                  <a:pt x="724" y="24"/>
                  <a:pt x="723" y="24"/>
                  <a:pt x="723" y="23"/>
                </a:cubicBezTo>
                <a:cubicBezTo>
                  <a:pt x="723" y="22"/>
                  <a:pt x="723" y="23"/>
                  <a:pt x="722" y="22"/>
                </a:cubicBezTo>
                <a:cubicBezTo>
                  <a:pt x="722" y="23"/>
                  <a:pt x="721" y="23"/>
                  <a:pt x="721" y="24"/>
                </a:cubicBezTo>
                <a:cubicBezTo>
                  <a:pt x="720" y="24"/>
                  <a:pt x="720" y="24"/>
                  <a:pt x="719" y="25"/>
                </a:cubicBezTo>
                <a:cubicBezTo>
                  <a:pt x="719" y="25"/>
                  <a:pt x="719" y="25"/>
                  <a:pt x="718" y="25"/>
                </a:cubicBezTo>
                <a:cubicBezTo>
                  <a:pt x="718" y="26"/>
                  <a:pt x="718" y="25"/>
                  <a:pt x="717" y="25"/>
                </a:cubicBezTo>
                <a:cubicBezTo>
                  <a:pt x="717" y="25"/>
                  <a:pt x="718" y="26"/>
                  <a:pt x="717" y="26"/>
                </a:cubicBezTo>
                <a:cubicBezTo>
                  <a:pt x="717" y="26"/>
                  <a:pt x="716" y="26"/>
                  <a:pt x="716" y="26"/>
                </a:cubicBezTo>
                <a:cubicBezTo>
                  <a:pt x="715" y="26"/>
                  <a:pt x="715" y="27"/>
                  <a:pt x="714" y="28"/>
                </a:cubicBezTo>
                <a:cubicBezTo>
                  <a:pt x="712" y="28"/>
                  <a:pt x="710" y="29"/>
                  <a:pt x="708" y="29"/>
                </a:cubicBezTo>
                <a:cubicBezTo>
                  <a:pt x="707" y="29"/>
                  <a:pt x="704" y="28"/>
                  <a:pt x="704" y="29"/>
                </a:cubicBezTo>
                <a:cubicBezTo>
                  <a:pt x="704" y="29"/>
                  <a:pt x="702" y="29"/>
                  <a:pt x="702" y="29"/>
                </a:cubicBezTo>
                <a:cubicBezTo>
                  <a:pt x="702" y="29"/>
                  <a:pt x="701" y="28"/>
                  <a:pt x="702" y="28"/>
                </a:cubicBezTo>
                <a:cubicBezTo>
                  <a:pt x="702" y="28"/>
                  <a:pt x="704" y="27"/>
                  <a:pt x="704" y="26"/>
                </a:cubicBezTo>
                <a:cubicBezTo>
                  <a:pt x="706" y="26"/>
                  <a:pt x="705" y="27"/>
                  <a:pt x="706" y="27"/>
                </a:cubicBezTo>
                <a:cubicBezTo>
                  <a:pt x="707" y="27"/>
                  <a:pt x="708" y="27"/>
                  <a:pt x="708" y="26"/>
                </a:cubicBezTo>
                <a:cubicBezTo>
                  <a:pt x="709" y="25"/>
                  <a:pt x="709" y="25"/>
                  <a:pt x="710" y="25"/>
                </a:cubicBezTo>
                <a:cubicBezTo>
                  <a:pt x="711" y="25"/>
                  <a:pt x="711" y="25"/>
                  <a:pt x="711" y="24"/>
                </a:cubicBezTo>
                <a:cubicBezTo>
                  <a:pt x="712" y="24"/>
                  <a:pt x="713" y="23"/>
                  <a:pt x="713" y="23"/>
                </a:cubicBezTo>
                <a:cubicBezTo>
                  <a:pt x="713" y="23"/>
                  <a:pt x="712" y="22"/>
                  <a:pt x="713" y="22"/>
                </a:cubicBezTo>
                <a:cubicBezTo>
                  <a:pt x="713" y="22"/>
                  <a:pt x="713" y="22"/>
                  <a:pt x="713" y="21"/>
                </a:cubicBezTo>
                <a:cubicBezTo>
                  <a:pt x="713" y="21"/>
                  <a:pt x="713" y="21"/>
                  <a:pt x="714" y="21"/>
                </a:cubicBezTo>
                <a:cubicBezTo>
                  <a:pt x="713" y="20"/>
                  <a:pt x="714" y="19"/>
                  <a:pt x="712" y="19"/>
                </a:cubicBezTo>
                <a:cubicBezTo>
                  <a:pt x="712" y="19"/>
                  <a:pt x="711" y="19"/>
                  <a:pt x="710" y="19"/>
                </a:cubicBezTo>
                <a:cubicBezTo>
                  <a:pt x="708" y="19"/>
                  <a:pt x="707" y="19"/>
                  <a:pt x="705" y="19"/>
                </a:cubicBezTo>
                <a:cubicBezTo>
                  <a:pt x="704" y="20"/>
                  <a:pt x="704" y="20"/>
                  <a:pt x="704" y="22"/>
                </a:cubicBezTo>
                <a:cubicBezTo>
                  <a:pt x="704" y="22"/>
                  <a:pt x="704" y="23"/>
                  <a:pt x="704" y="23"/>
                </a:cubicBezTo>
                <a:cubicBezTo>
                  <a:pt x="704" y="23"/>
                  <a:pt x="703" y="23"/>
                  <a:pt x="703" y="22"/>
                </a:cubicBezTo>
                <a:cubicBezTo>
                  <a:pt x="701" y="22"/>
                  <a:pt x="699" y="22"/>
                  <a:pt x="697" y="23"/>
                </a:cubicBezTo>
                <a:cubicBezTo>
                  <a:pt x="696" y="23"/>
                  <a:pt x="697" y="23"/>
                  <a:pt x="696" y="23"/>
                </a:cubicBezTo>
                <a:cubicBezTo>
                  <a:pt x="696" y="23"/>
                  <a:pt x="696" y="23"/>
                  <a:pt x="695" y="23"/>
                </a:cubicBezTo>
                <a:cubicBezTo>
                  <a:pt x="695" y="23"/>
                  <a:pt x="694" y="23"/>
                  <a:pt x="693" y="23"/>
                </a:cubicBezTo>
                <a:cubicBezTo>
                  <a:pt x="694" y="22"/>
                  <a:pt x="694" y="21"/>
                  <a:pt x="694" y="19"/>
                </a:cubicBezTo>
                <a:cubicBezTo>
                  <a:pt x="692" y="19"/>
                  <a:pt x="690" y="19"/>
                  <a:pt x="688" y="19"/>
                </a:cubicBezTo>
                <a:cubicBezTo>
                  <a:pt x="686" y="19"/>
                  <a:pt x="684" y="19"/>
                  <a:pt x="682" y="19"/>
                </a:cubicBezTo>
                <a:cubicBezTo>
                  <a:pt x="682" y="19"/>
                  <a:pt x="682" y="19"/>
                  <a:pt x="681" y="19"/>
                </a:cubicBezTo>
                <a:cubicBezTo>
                  <a:pt x="681" y="19"/>
                  <a:pt x="681" y="20"/>
                  <a:pt x="681" y="20"/>
                </a:cubicBezTo>
                <a:cubicBezTo>
                  <a:pt x="680" y="20"/>
                  <a:pt x="680" y="20"/>
                  <a:pt x="679" y="20"/>
                </a:cubicBezTo>
                <a:cubicBezTo>
                  <a:pt x="678" y="20"/>
                  <a:pt x="679" y="20"/>
                  <a:pt x="679" y="20"/>
                </a:cubicBezTo>
                <a:cubicBezTo>
                  <a:pt x="678" y="20"/>
                  <a:pt x="677" y="20"/>
                  <a:pt x="676" y="20"/>
                </a:cubicBezTo>
                <a:cubicBezTo>
                  <a:pt x="676" y="20"/>
                  <a:pt x="673" y="19"/>
                  <a:pt x="673" y="20"/>
                </a:cubicBezTo>
                <a:cubicBezTo>
                  <a:pt x="672" y="20"/>
                  <a:pt x="672" y="20"/>
                  <a:pt x="671" y="20"/>
                </a:cubicBezTo>
                <a:cubicBezTo>
                  <a:pt x="671" y="20"/>
                  <a:pt x="670" y="20"/>
                  <a:pt x="670" y="20"/>
                </a:cubicBezTo>
                <a:cubicBezTo>
                  <a:pt x="670" y="20"/>
                  <a:pt x="669" y="20"/>
                  <a:pt x="669" y="20"/>
                </a:cubicBezTo>
                <a:cubicBezTo>
                  <a:pt x="669" y="21"/>
                  <a:pt x="669" y="21"/>
                  <a:pt x="669" y="21"/>
                </a:cubicBezTo>
                <a:cubicBezTo>
                  <a:pt x="668" y="21"/>
                  <a:pt x="668" y="21"/>
                  <a:pt x="668" y="21"/>
                </a:cubicBezTo>
                <a:cubicBezTo>
                  <a:pt x="667" y="22"/>
                  <a:pt x="667" y="22"/>
                  <a:pt x="666" y="22"/>
                </a:cubicBezTo>
                <a:cubicBezTo>
                  <a:pt x="665" y="23"/>
                  <a:pt x="663" y="22"/>
                  <a:pt x="662" y="22"/>
                </a:cubicBezTo>
                <a:cubicBezTo>
                  <a:pt x="661" y="22"/>
                  <a:pt x="661" y="23"/>
                  <a:pt x="661" y="23"/>
                </a:cubicBezTo>
                <a:cubicBezTo>
                  <a:pt x="660" y="23"/>
                  <a:pt x="660" y="24"/>
                  <a:pt x="660" y="24"/>
                </a:cubicBezTo>
                <a:cubicBezTo>
                  <a:pt x="660" y="24"/>
                  <a:pt x="659" y="24"/>
                  <a:pt x="658" y="24"/>
                </a:cubicBezTo>
                <a:cubicBezTo>
                  <a:pt x="659" y="22"/>
                  <a:pt x="661" y="22"/>
                  <a:pt x="663" y="22"/>
                </a:cubicBezTo>
                <a:cubicBezTo>
                  <a:pt x="663" y="22"/>
                  <a:pt x="666" y="21"/>
                  <a:pt x="666" y="21"/>
                </a:cubicBezTo>
                <a:cubicBezTo>
                  <a:pt x="666" y="21"/>
                  <a:pt x="667" y="20"/>
                  <a:pt x="667" y="20"/>
                </a:cubicBezTo>
                <a:cubicBezTo>
                  <a:pt x="668" y="20"/>
                  <a:pt x="670" y="20"/>
                  <a:pt x="671" y="19"/>
                </a:cubicBezTo>
                <a:cubicBezTo>
                  <a:pt x="671" y="19"/>
                  <a:pt x="671" y="19"/>
                  <a:pt x="671" y="19"/>
                </a:cubicBezTo>
                <a:cubicBezTo>
                  <a:pt x="671" y="18"/>
                  <a:pt x="671" y="18"/>
                  <a:pt x="672" y="18"/>
                </a:cubicBezTo>
                <a:cubicBezTo>
                  <a:pt x="672" y="18"/>
                  <a:pt x="673" y="18"/>
                  <a:pt x="673" y="18"/>
                </a:cubicBezTo>
                <a:cubicBezTo>
                  <a:pt x="673" y="17"/>
                  <a:pt x="674" y="18"/>
                  <a:pt x="674" y="17"/>
                </a:cubicBezTo>
                <a:cubicBezTo>
                  <a:pt x="674" y="17"/>
                  <a:pt x="673" y="17"/>
                  <a:pt x="674" y="17"/>
                </a:cubicBezTo>
                <a:cubicBezTo>
                  <a:pt x="675" y="17"/>
                  <a:pt x="676" y="17"/>
                  <a:pt x="676" y="17"/>
                </a:cubicBezTo>
                <a:cubicBezTo>
                  <a:pt x="677" y="17"/>
                  <a:pt x="677" y="17"/>
                  <a:pt x="678" y="17"/>
                </a:cubicBezTo>
                <a:cubicBezTo>
                  <a:pt x="679" y="17"/>
                  <a:pt x="681" y="17"/>
                  <a:pt x="683" y="17"/>
                </a:cubicBezTo>
                <a:cubicBezTo>
                  <a:pt x="683" y="17"/>
                  <a:pt x="684" y="17"/>
                  <a:pt x="685" y="17"/>
                </a:cubicBezTo>
                <a:cubicBezTo>
                  <a:pt x="685" y="17"/>
                  <a:pt x="686" y="17"/>
                  <a:pt x="686" y="17"/>
                </a:cubicBezTo>
                <a:cubicBezTo>
                  <a:pt x="686" y="17"/>
                  <a:pt x="686" y="17"/>
                  <a:pt x="687" y="17"/>
                </a:cubicBezTo>
                <a:cubicBezTo>
                  <a:pt x="687" y="17"/>
                  <a:pt x="688" y="17"/>
                  <a:pt x="688" y="18"/>
                </a:cubicBezTo>
                <a:cubicBezTo>
                  <a:pt x="691" y="17"/>
                  <a:pt x="693" y="18"/>
                  <a:pt x="695" y="18"/>
                </a:cubicBezTo>
                <a:cubicBezTo>
                  <a:pt x="695" y="16"/>
                  <a:pt x="704" y="18"/>
                  <a:pt x="705" y="18"/>
                </a:cubicBezTo>
                <a:cubicBezTo>
                  <a:pt x="705" y="18"/>
                  <a:pt x="707" y="18"/>
                  <a:pt x="707" y="18"/>
                </a:cubicBezTo>
                <a:cubicBezTo>
                  <a:pt x="707" y="17"/>
                  <a:pt x="713" y="17"/>
                  <a:pt x="713" y="17"/>
                </a:cubicBezTo>
                <a:cubicBezTo>
                  <a:pt x="713" y="18"/>
                  <a:pt x="716" y="17"/>
                  <a:pt x="716" y="16"/>
                </a:cubicBezTo>
                <a:cubicBezTo>
                  <a:pt x="717" y="15"/>
                  <a:pt x="717" y="15"/>
                  <a:pt x="719" y="15"/>
                </a:cubicBezTo>
                <a:cubicBezTo>
                  <a:pt x="720" y="15"/>
                  <a:pt x="720" y="14"/>
                  <a:pt x="721" y="14"/>
                </a:cubicBezTo>
                <a:cubicBezTo>
                  <a:pt x="721" y="13"/>
                  <a:pt x="721" y="13"/>
                  <a:pt x="720" y="13"/>
                </a:cubicBezTo>
                <a:cubicBezTo>
                  <a:pt x="719" y="12"/>
                  <a:pt x="719" y="12"/>
                  <a:pt x="718" y="12"/>
                </a:cubicBezTo>
                <a:cubicBezTo>
                  <a:pt x="717" y="12"/>
                  <a:pt x="717" y="12"/>
                  <a:pt x="717" y="11"/>
                </a:cubicBezTo>
                <a:cubicBezTo>
                  <a:pt x="716" y="11"/>
                  <a:pt x="716" y="11"/>
                  <a:pt x="715" y="11"/>
                </a:cubicBezTo>
                <a:cubicBezTo>
                  <a:pt x="714" y="11"/>
                  <a:pt x="713" y="11"/>
                  <a:pt x="712" y="11"/>
                </a:cubicBezTo>
                <a:cubicBezTo>
                  <a:pt x="711" y="11"/>
                  <a:pt x="711" y="12"/>
                  <a:pt x="711" y="11"/>
                </a:cubicBezTo>
                <a:cubicBezTo>
                  <a:pt x="710" y="10"/>
                  <a:pt x="710" y="10"/>
                  <a:pt x="710" y="10"/>
                </a:cubicBezTo>
                <a:cubicBezTo>
                  <a:pt x="710" y="10"/>
                  <a:pt x="710" y="10"/>
                  <a:pt x="709" y="10"/>
                </a:cubicBezTo>
                <a:cubicBezTo>
                  <a:pt x="709" y="10"/>
                  <a:pt x="709" y="10"/>
                  <a:pt x="709" y="9"/>
                </a:cubicBezTo>
                <a:cubicBezTo>
                  <a:pt x="708" y="9"/>
                  <a:pt x="708" y="9"/>
                  <a:pt x="708" y="10"/>
                </a:cubicBezTo>
                <a:cubicBezTo>
                  <a:pt x="707" y="10"/>
                  <a:pt x="707" y="11"/>
                  <a:pt x="707" y="10"/>
                </a:cubicBezTo>
                <a:cubicBezTo>
                  <a:pt x="707" y="9"/>
                  <a:pt x="707" y="9"/>
                  <a:pt x="706" y="9"/>
                </a:cubicBezTo>
                <a:cubicBezTo>
                  <a:pt x="706" y="9"/>
                  <a:pt x="705" y="9"/>
                  <a:pt x="705" y="9"/>
                </a:cubicBezTo>
                <a:cubicBezTo>
                  <a:pt x="703" y="9"/>
                  <a:pt x="703" y="10"/>
                  <a:pt x="702" y="11"/>
                </a:cubicBezTo>
                <a:cubicBezTo>
                  <a:pt x="701" y="11"/>
                  <a:pt x="700" y="11"/>
                  <a:pt x="699" y="11"/>
                </a:cubicBezTo>
                <a:cubicBezTo>
                  <a:pt x="698" y="10"/>
                  <a:pt x="700" y="11"/>
                  <a:pt x="700" y="10"/>
                </a:cubicBezTo>
                <a:cubicBezTo>
                  <a:pt x="700" y="9"/>
                  <a:pt x="703" y="10"/>
                  <a:pt x="703" y="8"/>
                </a:cubicBezTo>
                <a:cubicBezTo>
                  <a:pt x="703" y="8"/>
                  <a:pt x="703" y="7"/>
                  <a:pt x="702" y="6"/>
                </a:cubicBezTo>
                <a:cubicBezTo>
                  <a:pt x="701" y="5"/>
                  <a:pt x="701" y="5"/>
                  <a:pt x="700" y="5"/>
                </a:cubicBezTo>
                <a:cubicBezTo>
                  <a:pt x="699" y="5"/>
                  <a:pt x="699" y="4"/>
                  <a:pt x="698" y="5"/>
                </a:cubicBezTo>
                <a:cubicBezTo>
                  <a:pt x="697" y="5"/>
                  <a:pt x="697" y="6"/>
                  <a:pt x="696" y="6"/>
                </a:cubicBezTo>
                <a:cubicBezTo>
                  <a:pt x="696" y="7"/>
                  <a:pt x="696" y="7"/>
                  <a:pt x="695" y="7"/>
                </a:cubicBezTo>
                <a:cubicBezTo>
                  <a:pt x="694" y="7"/>
                  <a:pt x="694" y="7"/>
                  <a:pt x="694" y="7"/>
                </a:cubicBezTo>
                <a:cubicBezTo>
                  <a:pt x="693" y="7"/>
                  <a:pt x="692" y="8"/>
                  <a:pt x="691" y="8"/>
                </a:cubicBezTo>
                <a:cubicBezTo>
                  <a:pt x="689" y="8"/>
                  <a:pt x="690" y="7"/>
                  <a:pt x="691" y="6"/>
                </a:cubicBezTo>
                <a:cubicBezTo>
                  <a:pt x="692" y="6"/>
                  <a:pt x="692" y="5"/>
                  <a:pt x="693" y="5"/>
                </a:cubicBezTo>
                <a:cubicBezTo>
                  <a:pt x="694" y="5"/>
                  <a:pt x="694" y="5"/>
                  <a:pt x="694" y="4"/>
                </a:cubicBezTo>
                <a:cubicBezTo>
                  <a:pt x="695" y="4"/>
                  <a:pt x="695" y="4"/>
                  <a:pt x="695" y="3"/>
                </a:cubicBezTo>
                <a:cubicBezTo>
                  <a:pt x="695" y="3"/>
                  <a:pt x="694" y="3"/>
                  <a:pt x="694" y="3"/>
                </a:cubicBezTo>
                <a:cubicBezTo>
                  <a:pt x="694" y="3"/>
                  <a:pt x="693" y="2"/>
                  <a:pt x="693" y="3"/>
                </a:cubicBezTo>
                <a:cubicBezTo>
                  <a:pt x="693" y="2"/>
                  <a:pt x="693" y="2"/>
                  <a:pt x="693" y="3"/>
                </a:cubicBezTo>
                <a:cubicBezTo>
                  <a:pt x="693" y="3"/>
                  <a:pt x="691" y="3"/>
                  <a:pt x="691" y="3"/>
                </a:cubicBezTo>
                <a:cubicBezTo>
                  <a:pt x="689" y="3"/>
                  <a:pt x="688" y="3"/>
                  <a:pt x="686" y="3"/>
                </a:cubicBezTo>
                <a:cubicBezTo>
                  <a:pt x="686" y="3"/>
                  <a:pt x="685" y="3"/>
                  <a:pt x="685" y="3"/>
                </a:cubicBezTo>
                <a:cubicBezTo>
                  <a:pt x="685" y="3"/>
                  <a:pt x="685" y="2"/>
                  <a:pt x="685" y="2"/>
                </a:cubicBezTo>
                <a:cubicBezTo>
                  <a:pt x="685" y="2"/>
                  <a:pt x="684" y="2"/>
                  <a:pt x="684" y="2"/>
                </a:cubicBezTo>
                <a:cubicBezTo>
                  <a:pt x="683" y="2"/>
                  <a:pt x="684" y="2"/>
                  <a:pt x="684" y="2"/>
                </a:cubicBezTo>
                <a:cubicBezTo>
                  <a:pt x="683" y="2"/>
                  <a:pt x="682" y="2"/>
                  <a:pt x="682" y="2"/>
                </a:cubicBezTo>
                <a:cubicBezTo>
                  <a:pt x="681" y="2"/>
                  <a:pt x="681" y="2"/>
                  <a:pt x="680" y="1"/>
                </a:cubicBezTo>
                <a:cubicBezTo>
                  <a:pt x="680" y="2"/>
                  <a:pt x="680" y="2"/>
                  <a:pt x="680" y="2"/>
                </a:cubicBezTo>
                <a:cubicBezTo>
                  <a:pt x="679" y="2"/>
                  <a:pt x="678" y="2"/>
                  <a:pt x="678" y="2"/>
                </a:cubicBezTo>
                <a:cubicBezTo>
                  <a:pt x="676" y="2"/>
                  <a:pt x="675" y="3"/>
                  <a:pt x="673" y="3"/>
                </a:cubicBezTo>
                <a:cubicBezTo>
                  <a:pt x="673" y="2"/>
                  <a:pt x="671" y="2"/>
                  <a:pt x="671" y="2"/>
                </a:cubicBezTo>
                <a:cubicBezTo>
                  <a:pt x="669" y="2"/>
                  <a:pt x="669" y="1"/>
                  <a:pt x="668" y="1"/>
                </a:cubicBezTo>
                <a:cubicBezTo>
                  <a:pt x="668" y="1"/>
                  <a:pt x="668" y="1"/>
                  <a:pt x="668" y="0"/>
                </a:cubicBezTo>
                <a:cubicBezTo>
                  <a:pt x="667" y="0"/>
                  <a:pt x="667" y="0"/>
                  <a:pt x="666" y="1"/>
                </a:cubicBezTo>
                <a:cubicBezTo>
                  <a:pt x="664" y="2"/>
                  <a:pt x="663" y="2"/>
                  <a:pt x="661" y="1"/>
                </a:cubicBezTo>
                <a:cubicBezTo>
                  <a:pt x="660" y="1"/>
                  <a:pt x="657" y="0"/>
                  <a:pt x="657" y="1"/>
                </a:cubicBezTo>
                <a:cubicBezTo>
                  <a:pt x="655" y="1"/>
                  <a:pt x="653" y="1"/>
                  <a:pt x="651" y="1"/>
                </a:cubicBezTo>
                <a:cubicBezTo>
                  <a:pt x="650" y="1"/>
                  <a:pt x="649" y="1"/>
                  <a:pt x="648" y="1"/>
                </a:cubicBezTo>
                <a:cubicBezTo>
                  <a:pt x="647" y="1"/>
                  <a:pt x="648" y="1"/>
                  <a:pt x="647" y="1"/>
                </a:cubicBezTo>
                <a:cubicBezTo>
                  <a:pt x="646" y="1"/>
                  <a:pt x="646" y="1"/>
                  <a:pt x="645" y="1"/>
                </a:cubicBezTo>
                <a:cubicBezTo>
                  <a:pt x="644" y="1"/>
                  <a:pt x="644" y="0"/>
                  <a:pt x="643" y="0"/>
                </a:cubicBezTo>
                <a:cubicBezTo>
                  <a:pt x="642" y="1"/>
                  <a:pt x="642" y="1"/>
                  <a:pt x="642" y="2"/>
                </a:cubicBezTo>
                <a:cubicBezTo>
                  <a:pt x="641" y="2"/>
                  <a:pt x="639" y="1"/>
                  <a:pt x="638" y="1"/>
                </a:cubicBezTo>
                <a:cubicBezTo>
                  <a:pt x="638" y="1"/>
                  <a:pt x="638" y="1"/>
                  <a:pt x="638" y="1"/>
                </a:cubicBezTo>
                <a:cubicBezTo>
                  <a:pt x="638" y="2"/>
                  <a:pt x="638" y="2"/>
                  <a:pt x="638" y="3"/>
                </a:cubicBezTo>
                <a:cubicBezTo>
                  <a:pt x="638" y="3"/>
                  <a:pt x="638" y="2"/>
                  <a:pt x="638" y="3"/>
                </a:cubicBezTo>
                <a:cubicBezTo>
                  <a:pt x="637" y="3"/>
                  <a:pt x="638" y="3"/>
                  <a:pt x="637" y="3"/>
                </a:cubicBezTo>
                <a:cubicBezTo>
                  <a:pt x="637" y="3"/>
                  <a:pt x="636" y="3"/>
                  <a:pt x="635" y="3"/>
                </a:cubicBezTo>
                <a:cubicBezTo>
                  <a:pt x="635" y="3"/>
                  <a:pt x="634" y="3"/>
                  <a:pt x="633" y="3"/>
                </a:cubicBezTo>
                <a:cubicBezTo>
                  <a:pt x="633" y="2"/>
                  <a:pt x="633" y="3"/>
                  <a:pt x="632" y="4"/>
                </a:cubicBezTo>
                <a:cubicBezTo>
                  <a:pt x="632" y="4"/>
                  <a:pt x="631" y="4"/>
                  <a:pt x="631" y="5"/>
                </a:cubicBezTo>
                <a:cubicBezTo>
                  <a:pt x="631" y="5"/>
                  <a:pt x="633" y="5"/>
                  <a:pt x="634" y="5"/>
                </a:cubicBezTo>
                <a:cubicBezTo>
                  <a:pt x="633" y="6"/>
                  <a:pt x="632" y="6"/>
                  <a:pt x="631" y="6"/>
                </a:cubicBezTo>
                <a:cubicBezTo>
                  <a:pt x="631" y="5"/>
                  <a:pt x="630" y="5"/>
                  <a:pt x="630" y="5"/>
                </a:cubicBezTo>
                <a:cubicBezTo>
                  <a:pt x="629" y="5"/>
                  <a:pt x="629" y="6"/>
                  <a:pt x="629" y="6"/>
                </a:cubicBezTo>
                <a:cubicBezTo>
                  <a:pt x="629" y="6"/>
                  <a:pt x="628" y="6"/>
                  <a:pt x="628" y="7"/>
                </a:cubicBezTo>
                <a:cubicBezTo>
                  <a:pt x="628" y="7"/>
                  <a:pt x="628" y="8"/>
                  <a:pt x="629" y="8"/>
                </a:cubicBezTo>
                <a:cubicBezTo>
                  <a:pt x="629" y="8"/>
                  <a:pt x="629" y="8"/>
                  <a:pt x="630" y="8"/>
                </a:cubicBezTo>
                <a:cubicBezTo>
                  <a:pt x="630" y="8"/>
                  <a:pt x="630" y="8"/>
                  <a:pt x="630" y="9"/>
                </a:cubicBezTo>
                <a:cubicBezTo>
                  <a:pt x="630" y="9"/>
                  <a:pt x="631" y="10"/>
                  <a:pt x="631" y="10"/>
                </a:cubicBezTo>
                <a:cubicBezTo>
                  <a:pt x="631" y="10"/>
                  <a:pt x="630" y="10"/>
                  <a:pt x="630" y="10"/>
                </a:cubicBezTo>
                <a:cubicBezTo>
                  <a:pt x="630" y="9"/>
                  <a:pt x="629" y="9"/>
                  <a:pt x="629" y="8"/>
                </a:cubicBezTo>
                <a:cubicBezTo>
                  <a:pt x="628" y="8"/>
                  <a:pt x="628" y="8"/>
                  <a:pt x="627" y="7"/>
                </a:cubicBezTo>
                <a:cubicBezTo>
                  <a:pt x="627" y="7"/>
                  <a:pt x="626" y="7"/>
                  <a:pt x="626" y="7"/>
                </a:cubicBezTo>
                <a:cubicBezTo>
                  <a:pt x="626" y="8"/>
                  <a:pt x="627" y="8"/>
                  <a:pt x="627" y="9"/>
                </a:cubicBezTo>
                <a:cubicBezTo>
                  <a:pt x="626" y="9"/>
                  <a:pt x="626" y="8"/>
                  <a:pt x="625" y="8"/>
                </a:cubicBezTo>
                <a:cubicBezTo>
                  <a:pt x="624" y="9"/>
                  <a:pt x="624" y="10"/>
                  <a:pt x="624" y="10"/>
                </a:cubicBezTo>
                <a:cubicBezTo>
                  <a:pt x="623" y="10"/>
                  <a:pt x="621" y="9"/>
                  <a:pt x="620" y="8"/>
                </a:cubicBezTo>
                <a:cubicBezTo>
                  <a:pt x="620" y="7"/>
                  <a:pt x="621" y="6"/>
                  <a:pt x="620" y="6"/>
                </a:cubicBezTo>
                <a:cubicBezTo>
                  <a:pt x="618" y="5"/>
                  <a:pt x="615" y="5"/>
                  <a:pt x="613" y="5"/>
                </a:cubicBezTo>
                <a:cubicBezTo>
                  <a:pt x="614" y="6"/>
                  <a:pt x="614" y="6"/>
                  <a:pt x="614" y="7"/>
                </a:cubicBezTo>
                <a:cubicBezTo>
                  <a:pt x="613" y="7"/>
                  <a:pt x="612" y="7"/>
                  <a:pt x="612" y="6"/>
                </a:cubicBezTo>
                <a:cubicBezTo>
                  <a:pt x="611" y="6"/>
                  <a:pt x="611" y="7"/>
                  <a:pt x="611" y="7"/>
                </a:cubicBezTo>
                <a:cubicBezTo>
                  <a:pt x="610" y="7"/>
                  <a:pt x="610" y="6"/>
                  <a:pt x="609" y="6"/>
                </a:cubicBezTo>
                <a:cubicBezTo>
                  <a:pt x="609" y="7"/>
                  <a:pt x="609" y="7"/>
                  <a:pt x="610" y="8"/>
                </a:cubicBezTo>
                <a:cubicBezTo>
                  <a:pt x="610" y="8"/>
                  <a:pt x="611" y="9"/>
                  <a:pt x="611" y="9"/>
                </a:cubicBezTo>
                <a:cubicBezTo>
                  <a:pt x="609" y="9"/>
                  <a:pt x="609" y="9"/>
                  <a:pt x="609" y="10"/>
                </a:cubicBezTo>
                <a:cubicBezTo>
                  <a:pt x="609" y="11"/>
                  <a:pt x="610" y="11"/>
                  <a:pt x="610" y="11"/>
                </a:cubicBezTo>
                <a:cubicBezTo>
                  <a:pt x="611" y="11"/>
                  <a:pt x="611" y="11"/>
                  <a:pt x="612" y="11"/>
                </a:cubicBezTo>
                <a:cubicBezTo>
                  <a:pt x="612" y="11"/>
                  <a:pt x="612" y="11"/>
                  <a:pt x="612" y="11"/>
                </a:cubicBezTo>
                <a:cubicBezTo>
                  <a:pt x="612" y="12"/>
                  <a:pt x="613" y="12"/>
                  <a:pt x="614" y="12"/>
                </a:cubicBezTo>
                <a:cubicBezTo>
                  <a:pt x="614" y="11"/>
                  <a:pt x="614" y="12"/>
                  <a:pt x="615" y="12"/>
                </a:cubicBezTo>
                <a:cubicBezTo>
                  <a:pt x="615" y="12"/>
                  <a:pt x="615" y="11"/>
                  <a:pt x="616" y="11"/>
                </a:cubicBezTo>
                <a:cubicBezTo>
                  <a:pt x="616" y="11"/>
                  <a:pt x="618" y="12"/>
                  <a:pt x="618" y="12"/>
                </a:cubicBezTo>
                <a:cubicBezTo>
                  <a:pt x="619" y="13"/>
                  <a:pt x="618" y="13"/>
                  <a:pt x="618" y="14"/>
                </a:cubicBezTo>
                <a:cubicBezTo>
                  <a:pt x="619" y="15"/>
                  <a:pt x="620" y="16"/>
                  <a:pt x="621" y="16"/>
                </a:cubicBezTo>
                <a:cubicBezTo>
                  <a:pt x="622" y="16"/>
                  <a:pt x="623" y="17"/>
                  <a:pt x="622" y="17"/>
                </a:cubicBezTo>
                <a:cubicBezTo>
                  <a:pt x="621" y="17"/>
                  <a:pt x="621" y="17"/>
                  <a:pt x="620" y="16"/>
                </a:cubicBezTo>
                <a:cubicBezTo>
                  <a:pt x="620" y="16"/>
                  <a:pt x="619" y="16"/>
                  <a:pt x="619" y="15"/>
                </a:cubicBezTo>
                <a:cubicBezTo>
                  <a:pt x="619" y="14"/>
                  <a:pt x="618" y="15"/>
                  <a:pt x="618" y="14"/>
                </a:cubicBezTo>
                <a:cubicBezTo>
                  <a:pt x="618" y="14"/>
                  <a:pt x="618" y="14"/>
                  <a:pt x="617" y="13"/>
                </a:cubicBezTo>
                <a:cubicBezTo>
                  <a:pt x="616" y="12"/>
                  <a:pt x="615" y="12"/>
                  <a:pt x="614" y="12"/>
                </a:cubicBezTo>
                <a:cubicBezTo>
                  <a:pt x="613" y="12"/>
                  <a:pt x="613" y="12"/>
                  <a:pt x="612" y="12"/>
                </a:cubicBezTo>
                <a:cubicBezTo>
                  <a:pt x="612" y="12"/>
                  <a:pt x="612" y="12"/>
                  <a:pt x="612" y="12"/>
                </a:cubicBezTo>
                <a:cubicBezTo>
                  <a:pt x="611" y="12"/>
                  <a:pt x="611" y="12"/>
                  <a:pt x="609" y="12"/>
                </a:cubicBezTo>
                <a:cubicBezTo>
                  <a:pt x="608" y="12"/>
                  <a:pt x="607" y="12"/>
                  <a:pt x="606" y="12"/>
                </a:cubicBezTo>
                <a:cubicBezTo>
                  <a:pt x="606" y="12"/>
                  <a:pt x="606" y="14"/>
                  <a:pt x="607" y="14"/>
                </a:cubicBezTo>
                <a:cubicBezTo>
                  <a:pt x="607" y="14"/>
                  <a:pt x="608" y="15"/>
                  <a:pt x="608" y="16"/>
                </a:cubicBezTo>
                <a:cubicBezTo>
                  <a:pt x="607" y="15"/>
                  <a:pt x="606" y="15"/>
                  <a:pt x="605" y="13"/>
                </a:cubicBezTo>
                <a:cubicBezTo>
                  <a:pt x="604" y="12"/>
                  <a:pt x="602" y="13"/>
                  <a:pt x="600" y="13"/>
                </a:cubicBezTo>
                <a:cubicBezTo>
                  <a:pt x="601" y="14"/>
                  <a:pt x="598" y="13"/>
                  <a:pt x="598" y="14"/>
                </a:cubicBezTo>
                <a:cubicBezTo>
                  <a:pt x="597" y="13"/>
                  <a:pt x="595" y="13"/>
                  <a:pt x="594" y="13"/>
                </a:cubicBezTo>
                <a:cubicBezTo>
                  <a:pt x="594" y="14"/>
                  <a:pt x="594" y="15"/>
                  <a:pt x="595" y="15"/>
                </a:cubicBezTo>
                <a:cubicBezTo>
                  <a:pt x="596" y="16"/>
                  <a:pt x="596" y="17"/>
                  <a:pt x="597" y="17"/>
                </a:cubicBezTo>
                <a:cubicBezTo>
                  <a:pt x="598" y="17"/>
                  <a:pt x="598" y="18"/>
                  <a:pt x="598" y="18"/>
                </a:cubicBezTo>
                <a:cubicBezTo>
                  <a:pt x="599" y="19"/>
                  <a:pt x="599" y="18"/>
                  <a:pt x="599" y="19"/>
                </a:cubicBezTo>
                <a:cubicBezTo>
                  <a:pt x="600" y="19"/>
                  <a:pt x="600" y="20"/>
                  <a:pt x="601" y="21"/>
                </a:cubicBezTo>
                <a:cubicBezTo>
                  <a:pt x="602" y="21"/>
                  <a:pt x="601" y="20"/>
                  <a:pt x="602" y="21"/>
                </a:cubicBezTo>
                <a:cubicBezTo>
                  <a:pt x="603" y="22"/>
                  <a:pt x="603" y="23"/>
                  <a:pt x="604" y="23"/>
                </a:cubicBezTo>
                <a:cubicBezTo>
                  <a:pt x="605" y="23"/>
                  <a:pt x="605" y="24"/>
                  <a:pt x="606" y="24"/>
                </a:cubicBezTo>
                <a:cubicBezTo>
                  <a:pt x="607" y="24"/>
                  <a:pt x="606" y="24"/>
                  <a:pt x="606" y="24"/>
                </a:cubicBezTo>
                <a:cubicBezTo>
                  <a:pt x="607" y="24"/>
                  <a:pt x="607" y="24"/>
                  <a:pt x="608" y="24"/>
                </a:cubicBezTo>
                <a:cubicBezTo>
                  <a:pt x="608" y="25"/>
                  <a:pt x="608" y="25"/>
                  <a:pt x="609" y="25"/>
                </a:cubicBezTo>
                <a:cubicBezTo>
                  <a:pt x="609" y="25"/>
                  <a:pt x="609" y="25"/>
                  <a:pt x="609" y="25"/>
                </a:cubicBezTo>
                <a:cubicBezTo>
                  <a:pt x="610" y="25"/>
                  <a:pt x="611" y="26"/>
                  <a:pt x="611" y="27"/>
                </a:cubicBezTo>
                <a:cubicBezTo>
                  <a:pt x="610" y="26"/>
                  <a:pt x="610" y="27"/>
                  <a:pt x="609" y="26"/>
                </a:cubicBezTo>
                <a:cubicBezTo>
                  <a:pt x="609" y="26"/>
                  <a:pt x="609" y="26"/>
                  <a:pt x="609" y="26"/>
                </a:cubicBezTo>
                <a:cubicBezTo>
                  <a:pt x="608" y="26"/>
                  <a:pt x="609" y="25"/>
                  <a:pt x="609" y="25"/>
                </a:cubicBezTo>
                <a:cubicBezTo>
                  <a:pt x="608" y="25"/>
                  <a:pt x="608" y="25"/>
                  <a:pt x="608" y="25"/>
                </a:cubicBezTo>
                <a:cubicBezTo>
                  <a:pt x="607" y="26"/>
                  <a:pt x="606" y="25"/>
                  <a:pt x="605" y="25"/>
                </a:cubicBezTo>
                <a:cubicBezTo>
                  <a:pt x="604" y="24"/>
                  <a:pt x="604" y="24"/>
                  <a:pt x="602" y="25"/>
                </a:cubicBezTo>
                <a:cubicBezTo>
                  <a:pt x="602" y="26"/>
                  <a:pt x="602" y="27"/>
                  <a:pt x="600" y="27"/>
                </a:cubicBezTo>
                <a:cubicBezTo>
                  <a:pt x="600" y="27"/>
                  <a:pt x="599" y="26"/>
                  <a:pt x="598" y="25"/>
                </a:cubicBezTo>
                <a:cubicBezTo>
                  <a:pt x="598" y="25"/>
                  <a:pt x="597" y="26"/>
                  <a:pt x="597" y="26"/>
                </a:cubicBezTo>
                <a:cubicBezTo>
                  <a:pt x="596" y="24"/>
                  <a:pt x="596" y="26"/>
                  <a:pt x="596" y="25"/>
                </a:cubicBezTo>
                <a:cubicBezTo>
                  <a:pt x="595" y="24"/>
                  <a:pt x="595" y="24"/>
                  <a:pt x="594" y="23"/>
                </a:cubicBezTo>
                <a:cubicBezTo>
                  <a:pt x="594" y="23"/>
                  <a:pt x="594" y="22"/>
                  <a:pt x="593" y="22"/>
                </a:cubicBezTo>
                <a:cubicBezTo>
                  <a:pt x="592" y="22"/>
                  <a:pt x="592" y="22"/>
                  <a:pt x="592" y="21"/>
                </a:cubicBezTo>
                <a:cubicBezTo>
                  <a:pt x="592" y="21"/>
                  <a:pt x="592" y="20"/>
                  <a:pt x="592" y="20"/>
                </a:cubicBezTo>
                <a:cubicBezTo>
                  <a:pt x="592" y="20"/>
                  <a:pt x="592" y="19"/>
                  <a:pt x="592" y="19"/>
                </a:cubicBezTo>
                <a:cubicBezTo>
                  <a:pt x="591" y="18"/>
                  <a:pt x="590" y="18"/>
                  <a:pt x="590" y="17"/>
                </a:cubicBezTo>
                <a:cubicBezTo>
                  <a:pt x="589" y="17"/>
                  <a:pt x="589" y="16"/>
                  <a:pt x="588" y="16"/>
                </a:cubicBezTo>
                <a:cubicBezTo>
                  <a:pt x="588" y="16"/>
                  <a:pt x="587" y="15"/>
                  <a:pt x="587" y="15"/>
                </a:cubicBezTo>
                <a:cubicBezTo>
                  <a:pt x="586" y="15"/>
                  <a:pt x="586" y="15"/>
                  <a:pt x="586" y="15"/>
                </a:cubicBezTo>
                <a:cubicBezTo>
                  <a:pt x="585" y="15"/>
                  <a:pt x="586" y="14"/>
                  <a:pt x="585" y="14"/>
                </a:cubicBezTo>
                <a:cubicBezTo>
                  <a:pt x="584" y="14"/>
                  <a:pt x="582" y="13"/>
                  <a:pt x="580" y="13"/>
                </a:cubicBezTo>
                <a:cubicBezTo>
                  <a:pt x="580" y="14"/>
                  <a:pt x="580" y="16"/>
                  <a:pt x="580" y="17"/>
                </a:cubicBezTo>
                <a:cubicBezTo>
                  <a:pt x="580" y="17"/>
                  <a:pt x="581" y="18"/>
                  <a:pt x="581" y="19"/>
                </a:cubicBezTo>
                <a:cubicBezTo>
                  <a:pt x="581" y="19"/>
                  <a:pt x="580" y="19"/>
                  <a:pt x="579" y="19"/>
                </a:cubicBezTo>
                <a:cubicBezTo>
                  <a:pt x="579" y="20"/>
                  <a:pt x="579" y="20"/>
                  <a:pt x="579" y="20"/>
                </a:cubicBezTo>
                <a:cubicBezTo>
                  <a:pt x="580" y="20"/>
                  <a:pt x="579" y="21"/>
                  <a:pt x="579" y="22"/>
                </a:cubicBezTo>
                <a:cubicBezTo>
                  <a:pt x="579" y="22"/>
                  <a:pt x="580" y="22"/>
                  <a:pt x="580" y="23"/>
                </a:cubicBezTo>
                <a:cubicBezTo>
                  <a:pt x="580" y="23"/>
                  <a:pt x="580" y="23"/>
                  <a:pt x="580" y="24"/>
                </a:cubicBezTo>
                <a:cubicBezTo>
                  <a:pt x="580" y="24"/>
                  <a:pt x="580" y="24"/>
                  <a:pt x="580" y="24"/>
                </a:cubicBezTo>
                <a:cubicBezTo>
                  <a:pt x="580" y="25"/>
                  <a:pt x="579" y="24"/>
                  <a:pt x="579" y="25"/>
                </a:cubicBezTo>
                <a:cubicBezTo>
                  <a:pt x="578" y="25"/>
                  <a:pt x="578" y="25"/>
                  <a:pt x="577" y="24"/>
                </a:cubicBezTo>
                <a:cubicBezTo>
                  <a:pt x="577" y="24"/>
                  <a:pt x="579" y="24"/>
                  <a:pt x="576" y="24"/>
                </a:cubicBezTo>
                <a:cubicBezTo>
                  <a:pt x="576" y="24"/>
                  <a:pt x="575" y="24"/>
                  <a:pt x="575" y="23"/>
                </a:cubicBezTo>
                <a:cubicBezTo>
                  <a:pt x="575" y="23"/>
                  <a:pt x="573" y="23"/>
                  <a:pt x="573" y="23"/>
                </a:cubicBezTo>
                <a:cubicBezTo>
                  <a:pt x="573" y="22"/>
                  <a:pt x="572" y="23"/>
                  <a:pt x="572" y="22"/>
                </a:cubicBezTo>
                <a:cubicBezTo>
                  <a:pt x="572" y="22"/>
                  <a:pt x="571" y="22"/>
                  <a:pt x="571" y="23"/>
                </a:cubicBezTo>
                <a:cubicBezTo>
                  <a:pt x="571" y="22"/>
                  <a:pt x="569" y="23"/>
                  <a:pt x="568" y="22"/>
                </a:cubicBezTo>
                <a:cubicBezTo>
                  <a:pt x="568" y="21"/>
                  <a:pt x="568" y="21"/>
                  <a:pt x="567" y="21"/>
                </a:cubicBezTo>
                <a:cubicBezTo>
                  <a:pt x="567" y="22"/>
                  <a:pt x="566" y="22"/>
                  <a:pt x="566" y="22"/>
                </a:cubicBezTo>
                <a:cubicBezTo>
                  <a:pt x="565" y="22"/>
                  <a:pt x="565" y="23"/>
                  <a:pt x="564" y="24"/>
                </a:cubicBezTo>
                <a:cubicBezTo>
                  <a:pt x="564" y="24"/>
                  <a:pt x="564" y="24"/>
                  <a:pt x="564" y="24"/>
                </a:cubicBezTo>
                <a:cubicBezTo>
                  <a:pt x="563" y="24"/>
                  <a:pt x="563" y="24"/>
                  <a:pt x="563" y="25"/>
                </a:cubicBezTo>
                <a:cubicBezTo>
                  <a:pt x="564" y="25"/>
                  <a:pt x="564" y="25"/>
                  <a:pt x="563" y="25"/>
                </a:cubicBezTo>
                <a:cubicBezTo>
                  <a:pt x="562" y="25"/>
                  <a:pt x="563" y="23"/>
                  <a:pt x="562" y="23"/>
                </a:cubicBezTo>
                <a:cubicBezTo>
                  <a:pt x="562" y="23"/>
                  <a:pt x="563" y="20"/>
                  <a:pt x="563" y="19"/>
                </a:cubicBezTo>
                <a:cubicBezTo>
                  <a:pt x="563" y="19"/>
                  <a:pt x="562" y="20"/>
                  <a:pt x="562" y="19"/>
                </a:cubicBezTo>
                <a:cubicBezTo>
                  <a:pt x="562" y="18"/>
                  <a:pt x="562" y="19"/>
                  <a:pt x="562" y="19"/>
                </a:cubicBezTo>
                <a:cubicBezTo>
                  <a:pt x="562" y="19"/>
                  <a:pt x="562" y="18"/>
                  <a:pt x="562" y="18"/>
                </a:cubicBezTo>
                <a:cubicBezTo>
                  <a:pt x="562" y="18"/>
                  <a:pt x="562" y="18"/>
                  <a:pt x="562" y="18"/>
                </a:cubicBezTo>
                <a:cubicBezTo>
                  <a:pt x="562" y="18"/>
                  <a:pt x="562" y="17"/>
                  <a:pt x="561" y="17"/>
                </a:cubicBezTo>
                <a:cubicBezTo>
                  <a:pt x="561" y="17"/>
                  <a:pt x="561" y="17"/>
                  <a:pt x="561" y="17"/>
                </a:cubicBezTo>
                <a:cubicBezTo>
                  <a:pt x="561" y="16"/>
                  <a:pt x="561" y="17"/>
                  <a:pt x="561" y="16"/>
                </a:cubicBezTo>
                <a:cubicBezTo>
                  <a:pt x="560" y="15"/>
                  <a:pt x="559" y="16"/>
                  <a:pt x="558" y="16"/>
                </a:cubicBezTo>
                <a:cubicBezTo>
                  <a:pt x="557" y="16"/>
                  <a:pt x="556" y="16"/>
                  <a:pt x="556" y="17"/>
                </a:cubicBezTo>
                <a:cubicBezTo>
                  <a:pt x="556" y="17"/>
                  <a:pt x="556" y="19"/>
                  <a:pt x="556" y="19"/>
                </a:cubicBezTo>
                <a:cubicBezTo>
                  <a:pt x="555" y="19"/>
                  <a:pt x="555" y="18"/>
                  <a:pt x="555" y="18"/>
                </a:cubicBezTo>
                <a:cubicBezTo>
                  <a:pt x="555" y="18"/>
                  <a:pt x="554" y="18"/>
                  <a:pt x="554" y="18"/>
                </a:cubicBezTo>
                <a:cubicBezTo>
                  <a:pt x="554" y="17"/>
                  <a:pt x="554" y="17"/>
                  <a:pt x="553" y="17"/>
                </a:cubicBezTo>
                <a:cubicBezTo>
                  <a:pt x="553" y="17"/>
                  <a:pt x="553" y="17"/>
                  <a:pt x="553" y="17"/>
                </a:cubicBezTo>
                <a:cubicBezTo>
                  <a:pt x="552" y="17"/>
                  <a:pt x="552" y="18"/>
                  <a:pt x="552" y="19"/>
                </a:cubicBezTo>
                <a:cubicBezTo>
                  <a:pt x="550" y="19"/>
                  <a:pt x="551" y="19"/>
                  <a:pt x="550" y="18"/>
                </a:cubicBezTo>
                <a:cubicBezTo>
                  <a:pt x="549" y="18"/>
                  <a:pt x="549" y="17"/>
                  <a:pt x="548" y="17"/>
                </a:cubicBezTo>
                <a:cubicBezTo>
                  <a:pt x="547" y="17"/>
                  <a:pt x="548" y="18"/>
                  <a:pt x="547" y="18"/>
                </a:cubicBezTo>
                <a:cubicBezTo>
                  <a:pt x="546" y="18"/>
                  <a:pt x="546" y="18"/>
                  <a:pt x="545" y="18"/>
                </a:cubicBezTo>
                <a:cubicBezTo>
                  <a:pt x="545" y="18"/>
                  <a:pt x="545" y="18"/>
                  <a:pt x="545" y="18"/>
                </a:cubicBezTo>
                <a:cubicBezTo>
                  <a:pt x="544" y="18"/>
                  <a:pt x="544" y="18"/>
                  <a:pt x="544" y="18"/>
                </a:cubicBezTo>
                <a:cubicBezTo>
                  <a:pt x="543" y="18"/>
                  <a:pt x="544" y="18"/>
                  <a:pt x="543" y="18"/>
                </a:cubicBezTo>
                <a:cubicBezTo>
                  <a:pt x="543" y="18"/>
                  <a:pt x="541" y="18"/>
                  <a:pt x="541" y="19"/>
                </a:cubicBezTo>
                <a:cubicBezTo>
                  <a:pt x="541" y="19"/>
                  <a:pt x="540" y="19"/>
                  <a:pt x="540" y="19"/>
                </a:cubicBezTo>
                <a:cubicBezTo>
                  <a:pt x="539" y="19"/>
                  <a:pt x="539" y="19"/>
                  <a:pt x="539" y="19"/>
                </a:cubicBezTo>
                <a:cubicBezTo>
                  <a:pt x="538" y="19"/>
                  <a:pt x="537" y="19"/>
                  <a:pt x="536" y="19"/>
                </a:cubicBezTo>
                <a:cubicBezTo>
                  <a:pt x="536" y="19"/>
                  <a:pt x="536" y="19"/>
                  <a:pt x="536" y="19"/>
                </a:cubicBezTo>
                <a:cubicBezTo>
                  <a:pt x="536" y="20"/>
                  <a:pt x="535" y="20"/>
                  <a:pt x="534" y="20"/>
                </a:cubicBezTo>
                <a:cubicBezTo>
                  <a:pt x="534" y="21"/>
                  <a:pt x="533" y="21"/>
                  <a:pt x="531" y="21"/>
                </a:cubicBezTo>
                <a:cubicBezTo>
                  <a:pt x="532" y="21"/>
                  <a:pt x="532" y="22"/>
                  <a:pt x="532" y="22"/>
                </a:cubicBezTo>
                <a:cubicBezTo>
                  <a:pt x="532" y="22"/>
                  <a:pt x="533" y="22"/>
                  <a:pt x="533" y="22"/>
                </a:cubicBezTo>
                <a:cubicBezTo>
                  <a:pt x="533" y="23"/>
                  <a:pt x="533" y="23"/>
                  <a:pt x="533" y="24"/>
                </a:cubicBezTo>
                <a:cubicBezTo>
                  <a:pt x="533" y="25"/>
                  <a:pt x="533" y="26"/>
                  <a:pt x="534" y="26"/>
                </a:cubicBezTo>
                <a:cubicBezTo>
                  <a:pt x="534" y="27"/>
                  <a:pt x="533" y="26"/>
                  <a:pt x="533" y="26"/>
                </a:cubicBezTo>
                <a:cubicBezTo>
                  <a:pt x="532" y="25"/>
                  <a:pt x="532" y="25"/>
                  <a:pt x="532" y="24"/>
                </a:cubicBezTo>
                <a:cubicBezTo>
                  <a:pt x="532" y="24"/>
                  <a:pt x="531" y="24"/>
                  <a:pt x="531" y="23"/>
                </a:cubicBezTo>
                <a:cubicBezTo>
                  <a:pt x="531" y="22"/>
                  <a:pt x="531" y="22"/>
                  <a:pt x="530" y="22"/>
                </a:cubicBezTo>
                <a:cubicBezTo>
                  <a:pt x="529" y="21"/>
                  <a:pt x="531" y="21"/>
                  <a:pt x="529" y="21"/>
                </a:cubicBezTo>
                <a:cubicBezTo>
                  <a:pt x="528" y="21"/>
                  <a:pt x="528" y="21"/>
                  <a:pt x="528" y="20"/>
                </a:cubicBezTo>
                <a:cubicBezTo>
                  <a:pt x="526" y="21"/>
                  <a:pt x="526" y="23"/>
                  <a:pt x="525" y="24"/>
                </a:cubicBezTo>
                <a:cubicBezTo>
                  <a:pt x="524" y="25"/>
                  <a:pt x="524" y="25"/>
                  <a:pt x="524" y="26"/>
                </a:cubicBezTo>
                <a:cubicBezTo>
                  <a:pt x="524" y="27"/>
                  <a:pt x="525" y="27"/>
                  <a:pt x="525" y="28"/>
                </a:cubicBezTo>
                <a:cubicBezTo>
                  <a:pt x="525" y="28"/>
                  <a:pt x="526" y="29"/>
                  <a:pt x="525" y="29"/>
                </a:cubicBezTo>
                <a:cubicBezTo>
                  <a:pt x="525" y="29"/>
                  <a:pt x="525" y="29"/>
                  <a:pt x="525" y="29"/>
                </a:cubicBezTo>
                <a:cubicBezTo>
                  <a:pt x="525" y="29"/>
                  <a:pt x="525" y="29"/>
                  <a:pt x="524" y="29"/>
                </a:cubicBezTo>
                <a:cubicBezTo>
                  <a:pt x="524" y="29"/>
                  <a:pt x="524" y="28"/>
                  <a:pt x="523" y="28"/>
                </a:cubicBezTo>
                <a:cubicBezTo>
                  <a:pt x="523" y="28"/>
                  <a:pt x="523" y="28"/>
                  <a:pt x="522" y="27"/>
                </a:cubicBezTo>
                <a:cubicBezTo>
                  <a:pt x="521" y="27"/>
                  <a:pt x="519" y="27"/>
                  <a:pt x="517" y="27"/>
                </a:cubicBezTo>
                <a:cubicBezTo>
                  <a:pt x="517" y="28"/>
                  <a:pt x="516" y="27"/>
                  <a:pt x="516" y="27"/>
                </a:cubicBezTo>
                <a:cubicBezTo>
                  <a:pt x="516" y="28"/>
                  <a:pt x="515" y="28"/>
                  <a:pt x="515" y="28"/>
                </a:cubicBezTo>
                <a:cubicBezTo>
                  <a:pt x="514" y="28"/>
                  <a:pt x="514" y="28"/>
                  <a:pt x="514" y="28"/>
                </a:cubicBezTo>
                <a:cubicBezTo>
                  <a:pt x="514" y="28"/>
                  <a:pt x="513" y="29"/>
                  <a:pt x="513" y="28"/>
                </a:cubicBezTo>
                <a:cubicBezTo>
                  <a:pt x="513" y="28"/>
                  <a:pt x="512" y="28"/>
                  <a:pt x="512" y="29"/>
                </a:cubicBezTo>
                <a:cubicBezTo>
                  <a:pt x="512" y="29"/>
                  <a:pt x="512" y="29"/>
                  <a:pt x="512" y="29"/>
                </a:cubicBezTo>
                <a:cubicBezTo>
                  <a:pt x="511" y="29"/>
                  <a:pt x="512" y="29"/>
                  <a:pt x="511" y="29"/>
                </a:cubicBezTo>
                <a:cubicBezTo>
                  <a:pt x="510" y="29"/>
                  <a:pt x="511" y="29"/>
                  <a:pt x="511" y="29"/>
                </a:cubicBezTo>
                <a:cubicBezTo>
                  <a:pt x="510" y="30"/>
                  <a:pt x="510" y="29"/>
                  <a:pt x="510" y="29"/>
                </a:cubicBezTo>
                <a:cubicBezTo>
                  <a:pt x="510" y="30"/>
                  <a:pt x="510" y="30"/>
                  <a:pt x="509" y="30"/>
                </a:cubicBezTo>
                <a:cubicBezTo>
                  <a:pt x="509" y="30"/>
                  <a:pt x="509" y="30"/>
                  <a:pt x="508" y="30"/>
                </a:cubicBezTo>
                <a:cubicBezTo>
                  <a:pt x="508" y="30"/>
                  <a:pt x="508" y="30"/>
                  <a:pt x="508" y="31"/>
                </a:cubicBezTo>
                <a:cubicBezTo>
                  <a:pt x="507" y="31"/>
                  <a:pt x="507" y="30"/>
                  <a:pt x="507" y="31"/>
                </a:cubicBezTo>
                <a:cubicBezTo>
                  <a:pt x="506" y="31"/>
                  <a:pt x="507" y="31"/>
                  <a:pt x="506" y="31"/>
                </a:cubicBezTo>
                <a:cubicBezTo>
                  <a:pt x="506" y="31"/>
                  <a:pt x="505" y="31"/>
                  <a:pt x="505" y="31"/>
                </a:cubicBezTo>
                <a:cubicBezTo>
                  <a:pt x="505" y="31"/>
                  <a:pt x="504" y="31"/>
                  <a:pt x="504" y="31"/>
                </a:cubicBezTo>
                <a:cubicBezTo>
                  <a:pt x="504" y="31"/>
                  <a:pt x="504" y="31"/>
                  <a:pt x="504" y="31"/>
                </a:cubicBezTo>
                <a:cubicBezTo>
                  <a:pt x="504" y="31"/>
                  <a:pt x="503" y="31"/>
                  <a:pt x="503" y="31"/>
                </a:cubicBezTo>
                <a:cubicBezTo>
                  <a:pt x="502" y="31"/>
                  <a:pt x="503" y="31"/>
                  <a:pt x="503" y="32"/>
                </a:cubicBezTo>
                <a:cubicBezTo>
                  <a:pt x="502" y="32"/>
                  <a:pt x="502" y="31"/>
                  <a:pt x="502" y="32"/>
                </a:cubicBezTo>
                <a:cubicBezTo>
                  <a:pt x="502" y="32"/>
                  <a:pt x="502" y="32"/>
                  <a:pt x="502" y="32"/>
                </a:cubicBezTo>
                <a:cubicBezTo>
                  <a:pt x="501" y="32"/>
                  <a:pt x="501" y="32"/>
                  <a:pt x="500" y="32"/>
                </a:cubicBezTo>
                <a:cubicBezTo>
                  <a:pt x="500" y="32"/>
                  <a:pt x="500" y="33"/>
                  <a:pt x="499" y="33"/>
                </a:cubicBezTo>
                <a:cubicBezTo>
                  <a:pt x="499" y="33"/>
                  <a:pt x="499" y="33"/>
                  <a:pt x="499" y="33"/>
                </a:cubicBezTo>
                <a:cubicBezTo>
                  <a:pt x="498" y="34"/>
                  <a:pt x="498" y="34"/>
                  <a:pt x="498" y="35"/>
                </a:cubicBezTo>
                <a:cubicBezTo>
                  <a:pt x="498" y="35"/>
                  <a:pt x="497" y="35"/>
                  <a:pt x="497" y="36"/>
                </a:cubicBezTo>
                <a:cubicBezTo>
                  <a:pt x="497" y="36"/>
                  <a:pt x="497" y="36"/>
                  <a:pt x="498" y="37"/>
                </a:cubicBezTo>
                <a:cubicBezTo>
                  <a:pt x="498" y="38"/>
                  <a:pt x="499" y="38"/>
                  <a:pt x="500" y="38"/>
                </a:cubicBezTo>
                <a:cubicBezTo>
                  <a:pt x="501" y="37"/>
                  <a:pt x="502" y="37"/>
                  <a:pt x="502" y="37"/>
                </a:cubicBezTo>
                <a:cubicBezTo>
                  <a:pt x="503" y="37"/>
                  <a:pt x="505" y="37"/>
                  <a:pt x="505" y="38"/>
                </a:cubicBezTo>
                <a:cubicBezTo>
                  <a:pt x="506" y="39"/>
                  <a:pt x="508" y="37"/>
                  <a:pt x="509" y="37"/>
                </a:cubicBezTo>
                <a:cubicBezTo>
                  <a:pt x="510" y="37"/>
                  <a:pt x="511" y="38"/>
                  <a:pt x="512" y="37"/>
                </a:cubicBezTo>
                <a:cubicBezTo>
                  <a:pt x="512" y="37"/>
                  <a:pt x="513" y="37"/>
                  <a:pt x="514" y="37"/>
                </a:cubicBezTo>
                <a:cubicBezTo>
                  <a:pt x="514" y="37"/>
                  <a:pt x="513" y="38"/>
                  <a:pt x="513" y="38"/>
                </a:cubicBezTo>
                <a:cubicBezTo>
                  <a:pt x="513" y="39"/>
                  <a:pt x="513" y="39"/>
                  <a:pt x="514" y="39"/>
                </a:cubicBezTo>
                <a:cubicBezTo>
                  <a:pt x="514" y="40"/>
                  <a:pt x="513" y="41"/>
                  <a:pt x="512" y="41"/>
                </a:cubicBezTo>
                <a:cubicBezTo>
                  <a:pt x="513" y="42"/>
                  <a:pt x="514" y="42"/>
                  <a:pt x="512" y="44"/>
                </a:cubicBezTo>
                <a:cubicBezTo>
                  <a:pt x="512" y="44"/>
                  <a:pt x="510" y="46"/>
                  <a:pt x="510" y="46"/>
                </a:cubicBezTo>
                <a:cubicBezTo>
                  <a:pt x="509" y="46"/>
                  <a:pt x="509" y="47"/>
                  <a:pt x="508" y="47"/>
                </a:cubicBezTo>
                <a:cubicBezTo>
                  <a:pt x="507" y="47"/>
                  <a:pt x="506" y="48"/>
                  <a:pt x="506" y="49"/>
                </a:cubicBezTo>
                <a:cubicBezTo>
                  <a:pt x="506" y="48"/>
                  <a:pt x="505" y="48"/>
                  <a:pt x="505" y="48"/>
                </a:cubicBezTo>
                <a:cubicBezTo>
                  <a:pt x="504" y="47"/>
                  <a:pt x="504" y="48"/>
                  <a:pt x="503" y="48"/>
                </a:cubicBezTo>
                <a:cubicBezTo>
                  <a:pt x="503" y="47"/>
                  <a:pt x="501" y="47"/>
                  <a:pt x="501" y="47"/>
                </a:cubicBezTo>
                <a:cubicBezTo>
                  <a:pt x="500" y="47"/>
                  <a:pt x="500" y="47"/>
                  <a:pt x="500" y="47"/>
                </a:cubicBezTo>
                <a:cubicBezTo>
                  <a:pt x="499" y="48"/>
                  <a:pt x="501" y="48"/>
                  <a:pt x="499" y="48"/>
                </a:cubicBezTo>
                <a:cubicBezTo>
                  <a:pt x="499" y="48"/>
                  <a:pt x="498" y="47"/>
                  <a:pt x="498" y="47"/>
                </a:cubicBezTo>
                <a:cubicBezTo>
                  <a:pt x="498" y="48"/>
                  <a:pt x="496" y="48"/>
                  <a:pt x="495" y="48"/>
                </a:cubicBezTo>
                <a:cubicBezTo>
                  <a:pt x="495" y="48"/>
                  <a:pt x="495" y="49"/>
                  <a:pt x="494" y="49"/>
                </a:cubicBezTo>
                <a:cubicBezTo>
                  <a:pt x="494" y="49"/>
                  <a:pt x="494" y="49"/>
                  <a:pt x="494" y="49"/>
                </a:cubicBezTo>
                <a:cubicBezTo>
                  <a:pt x="493" y="49"/>
                  <a:pt x="492" y="49"/>
                  <a:pt x="492" y="50"/>
                </a:cubicBezTo>
                <a:cubicBezTo>
                  <a:pt x="491" y="49"/>
                  <a:pt x="490" y="49"/>
                  <a:pt x="489" y="49"/>
                </a:cubicBezTo>
                <a:cubicBezTo>
                  <a:pt x="490" y="50"/>
                  <a:pt x="487" y="50"/>
                  <a:pt x="486" y="50"/>
                </a:cubicBezTo>
                <a:cubicBezTo>
                  <a:pt x="486" y="50"/>
                  <a:pt x="485" y="50"/>
                  <a:pt x="484" y="50"/>
                </a:cubicBezTo>
                <a:cubicBezTo>
                  <a:pt x="484" y="50"/>
                  <a:pt x="484" y="50"/>
                  <a:pt x="484" y="50"/>
                </a:cubicBezTo>
                <a:cubicBezTo>
                  <a:pt x="483" y="50"/>
                  <a:pt x="482" y="50"/>
                  <a:pt x="482" y="50"/>
                </a:cubicBezTo>
                <a:cubicBezTo>
                  <a:pt x="481" y="50"/>
                  <a:pt x="481" y="50"/>
                  <a:pt x="481" y="50"/>
                </a:cubicBezTo>
                <a:cubicBezTo>
                  <a:pt x="481" y="51"/>
                  <a:pt x="481" y="50"/>
                  <a:pt x="481" y="51"/>
                </a:cubicBezTo>
                <a:cubicBezTo>
                  <a:pt x="480" y="51"/>
                  <a:pt x="482" y="51"/>
                  <a:pt x="480" y="51"/>
                </a:cubicBezTo>
                <a:cubicBezTo>
                  <a:pt x="479" y="51"/>
                  <a:pt x="479" y="51"/>
                  <a:pt x="478" y="51"/>
                </a:cubicBezTo>
                <a:cubicBezTo>
                  <a:pt x="478" y="51"/>
                  <a:pt x="476" y="51"/>
                  <a:pt x="476" y="51"/>
                </a:cubicBezTo>
                <a:cubicBezTo>
                  <a:pt x="475" y="52"/>
                  <a:pt x="475" y="52"/>
                  <a:pt x="475" y="53"/>
                </a:cubicBezTo>
                <a:cubicBezTo>
                  <a:pt x="474" y="53"/>
                  <a:pt x="474" y="53"/>
                  <a:pt x="474" y="54"/>
                </a:cubicBezTo>
                <a:cubicBezTo>
                  <a:pt x="474" y="54"/>
                  <a:pt x="474" y="54"/>
                  <a:pt x="474" y="54"/>
                </a:cubicBezTo>
                <a:cubicBezTo>
                  <a:pt x="475" y="54"/>
                  <a:pt x="474" y="54"/>
                  <a:pt x="474" y="55"/>
                </a:cubicBezTo>
                <a:cubicBezTo>
                  <a:pt x="475" y="55"/>
                  <a:pt x="475" y="56"/>
                  <a:pt x="475" y="56"/>
                </a:cubicBezTo>
                <a:cubicBezTo>
                  <a:pt x="475" y="57"/>
                  <a:pt x="476" y="57"/>
                  <a:pt x="476" y="57"/>
                </a:cubicBezTo>
                <a:cubicBezTo>
                  <a:pt x="477" y="57"/>
                  <a:pt x="477" y="57"/>
                  <a:pt x="477" y="59"/>
                </a:cubicBezTo>
                <a:cubicBezTo>
                  <a:pt x="478" y="59"/>
                  <a:pt x="479" y="59"/>
                  <a:pt x="479" y="59"/>
                </a:cubicBezTo>
                <a:cubicBezTo>
                  <a:pt x="480" y="59"/>
                  <a:pt x="480" y="59"/>
                  <a:pt x="480" y="59"/>
                </a:cubicBezTo>
                <a:cubicBezTo>
                  <a:pt x="480" y="60"/>
                  <a:pt x="480" y="59"/>
                  <a:pt x="481" y="60"/>
                </a:cubicBezTo>
                <a:cubicBezTo>
                  <a:pt x="481" y="60"/>
                  <a:pt x="481" y="61"/>
                  <a:pt x="482" y="61"/>
                </a:cubicBezTo>
                <a:cubicBezTo>
                  <a:pt x="483" y="61"/>
                  <a:pt x="484" y="60"/>
                  <a:pt x="485" y="61"/>
                </a:cubicBezTo>
                <a:cubicBezTo>
                  <a:pt x="488" y="61"/>
                  <a:pt x="489" y="60"/>
                  <a:pt x="489" y="58"/>
                </a:cubicBezTo>
                <a:cubicBezTo>
                  <a:pt x="490" y="58"/>
                  <a:pt x="490" y="58"/>
                  <a:pt x="491" y="59"/>
                </a:cubicBezTo>
                <a:cubicBezTo>
                  <a:pt x="491" y="59"/>
                  <a:pt x="491" y="60"/>
                  <a:pt x="491" y="60"/>
                </a:cubicBezTo>
                <a:cubicBezTo>
                  <a:pt x="492" y="61"/>
                  <a:pt x="494" y="61"/>
                  <a:pt x="495" y="61"/>
                </a:cubicBezTo>
                <a:cubicBezTo>
                  <a:pt x="496" y="61"/>
                  <a:pt x="497" y="61"/>
                  <a:pt x="498" y="60"/>
                </a:cubicBezTo>
                <a:cubicBezTo>
                  <a:pt x="499" y="60"/>
                  <a:pt x="499" y="60"/>
                  <a:pt x="500" y="60"/>
                </a:cubicBezTo>
                <a:cubicBezTo>
                  <a:pt x="501" y="60"/>
                  <a:pt x="503" y="60"/>
                  <a:pt x="505" y="60"/>
                </a:cubicBezTo>
                <a:cubicBezTo>
                  <a:pt x="505" y="60"/>
                  <a:pt x="506" y="61"/>
                  <a:pt x="505" y="62"/>
                </a:cubicBezTo>
                <a:cubicBezTo>
                  <a:pt x="505" y="62"/>
                  <a:pt x="504" y="62"/>
                  <a:pt x="504" y="63"/>
                </a:cubicBezTo>
                <a:cubicBezTo>
                  <a:pt x="503" y="63"/>
                  <a:pt x="503" y="62"/>
                  <a:pt x="501" y="62"/>
                </a:cubicBezTo>
                <a:cubicBezTo>
                  <a:pt x="501" y="62"/>
                  <a:pt x="502" y="62"/>
                  <a:pt x="501" y="62"/>
                </a:cubicBezTo>
                <a:cubicBezTo>
                  <a:pt x="501" y="62"/>
                  <a:pt x="500" y="62"/>
                  <a:pt x="500" y="62"/>
                </a:cubicBezTo>
                <a:cubicBezTo>
                  <a:pt x="499" y="62"/>
                  <a:pt x="498" y="62"/>
                  <a:pt x="497" y="62"/>
                </a:cubicBezTo>
                <a:cubicBezTo>
                  <a:pt x="496" y="62"/>
                  <a:pt x="497" y="62"/>
                  <a:pt x="496" y="62"/>
                </a:cubicBezTo>
                <a:cubicBezTo>
                  <a:pt x="496" y="63"/>
                  <a:pt x="496" y="62"/>
                  <a:pt x="496" y="63"/>
                </a:cubicBezTo>
                <a:cubicBezTo>
                  <a:pt x="494" y="63"/>
                  <a:pt x="493" y="62"/>
                  <a:pt x="492" y="62"/>
                </a:cubicBezTo>
                <a:cubicBezTo>
                  <a:pt x="491" y="63"/>
                  <a:pt x="490" y="63"/>
                  <a:pt x="489" y="64"/>
                </a:cubicBezTo>
                <a:cubicBezTo>
                  <a:pt x="488" y="64"/>
                  <a:pt x="486" y="64"/>
                  <a:pt x="485" y="64"/>
                </a:cubicBezTo>
                <a:cubicBezTo>
                  <a:pt x="485" y="66"/>
                  <a:pt x="486" y="66"/>
                  <a:pt x="487" y="66"/>
                </a:cubicBezTo>
                <a:cubicBezTo>
                  <a:pt x="486" y="67"/>
                  <a:pt x="484" y="66"/>
                  <a:pt x="483" y="66"/>
                </a:cubicBezTo>
                <a:cubicBezTo>
                  <a:pt x="483" y="66"/>
                  <a:pt x="482" y="66"/>
                  <a:pt x="482" y="66"/>
                </a:cubicBezTo>
                <a:cubicBezTo>
                  <a:pt x="481" y="65"/>
                  <a:pt x="481" y="65"/>
                  <a:pt x="480" y="65"/>
                </a:cubicBezTo>
                <a:cubicBezTo>
                  <a:pt x="480" y="65"/>
                  <a:pt x="480" y="64"/>
                  <a:pt x="479" y="65"/>
                </a:cubicBezTo>
                <a:cubicBezTo>
                  <a:pt x="479" y="65"/>
                  <a:pt x="477" y="65"/>
                  <a:pt x="477" y="66"/>
                </a:cubicBezTo>
                <a:cubicBezTo>
                  <a:pt x="477" y="66"/>
                  <a:pt x="478" y="66"/>
                  <a:pt x="478" y="67"/>
                </a:cubicBezTo>
                <a:cubicBezTo>
                  <a:pt x="478" y="68"/>
                  <a:pt x="479" y="68"/>
                  <a:pt x="479" y="69"/>
                </a:cubicBezTo>
                <a:cubicBezTo>
                  <a:pt x="479" y="69"/>
                  <a:pt x="481" y="68"/>
                  <a:pt x="481" y="68"/>
                </a:cubicBezTo>
                <a:cubicBezTo>
                  <a:pt x="481" y="69"/>
                  <a:pt x="482" y="69"/>
                  <a:pt x="482" y="70"/>
                </a:cubicBezTo>
                <a:cubicBezTo>
                  <a:pt x="483" y="70"/>
                  <a:pt x="484" y="70"/>
                  <a:pt x="484" y="70"/>
                </a:cubicBezTo>
                <a:cubicBezTo>
                  <a:pt x="485" y="70"/>
                  <a:pt x="487" y="70"/>
                  <a:pt x="485" y="71"/>
                </a:cubicBezTo>
                <a:cubicBezTo>
                  <a:pt x="483" y="71"/>
                  <a:pt x="484" y="72"/>
                  <a:pt x="485" y="73"/>
                </a:cubicBezTo>
                <a:cubicBezTo>
                  <a:pt x="486" y="73"/>
                  <a:pt x="486" y="74"/>
                  <a:pt x="487" y="75"/>
                </a:cubicBezTo>
                <a:cubicBezTo>
                  <a:pt x="487" y="75"/>
                  <a:pt x="488" y="74"/>
                  <a:pt x="488" y="75"/>
                </a:cubicBezTo>
                <a:cubicBezTo>
                  <a:pt x="489" y="75"/>
                  <a:pt x="490" y="75"/>
                  <a:pt x="491" y="75"/>
                </a:cubicBezTo>
                <a:cubicBezTo>
                  <a:pt x="491" y="75"/>
                  <a:pt x="495" y="76"/>
                  <a:pt x="496" y="76"/>
                </a:cubicBezTo>
                <a:cubicBezTo>
                  <a:pt x="496" y="75"/>
                  <a:pt x="495" y="73"/>
                  <a:pt x="495" y="73"/>
                </a:cubicBezTo>
                <a:cubicBezTo>
                  <a:pt x="495" y="72"/>
                  <a:pt x="496" y="72"/>
                  <a:pt x="496" y="71"/>
                </a:cubicBezTo>
                <a:cubicBezTo>
                  <a:pt x="497" y="71"/>
                  <a:pt x="497" y="71"/>
                  <a:pt x="498" y="72"/>
                </a:cubicBezTo>
                <a:cubicBezTo>
                  <a:pt x="498" y="73"/>
                  <a:pt x="499" y="74"/>
                  <a:pt x="500" y="73"/>
                </a:cubicBezTo>
                <a:cubicBezTo>
                  <a:pt x="500" y="72"/>
                  <a:pt x="500" y="72"/>
                  <a:pt x="501" y="72"/>
                </a:cubicBezTo>
                <a:cubicBezTo>
                  <a:pt x="502" y="71"/>
                  <a:pt x="503" y="71"/>
                  <a:pt x="504" y="71"/>
                </a:cubicBezTo>
                <a:cubicBezTo>
                  <a:pt x="505" y="71"/>
                  <a:pt x="505" y="72"/>
                  <a:pt x="505" y="73"/>
                </a:cubicBezTo>
                <a:cubicBezTo>
                  <a:pt x="505" y="73"/>
                  <a:pt x="506" y="73"/>
                  <a:pt x="506" y="74"/>
                </a:cubicBezTo>
                <a:cubicBezTo>
                  <a:pt x="507" y="75"/>
                  <a:pt x="508" y="73"/>
                  <a:pt x="508" y="72"/>
                </a:cubicBezTo>
                <a:cubicBezTo>
                  <a:pt x="509" y="72"/>
                  <a:pt x="509" y="73"/>
                  <a:pt x="510" y="73"/>
                </a:cubicBezTo>
                <a:cubicBezTo>
                  <a:pt x="511" y="73"/>
                  <a:pt x="510" y="72"/>
                  <a:pt x="511" y="72"/>
                </a:cubicBezTo>
                <a:cubicBezTo>
                  <a:pt x="512" y="72"/>
                  <a:pt x="513" y="72"/>
                  <a:pt x="515" y="72"/>
                </a:cubicBezTo>
                <a:cubicBezTo>
                  <a:pt x="515" y="72"/>
                  <a:pt x="515" y="72"/>
                  <a:pt x="515" y="72"/>
                </a:cubicBezTo>
                <a:cubicBezTo>
                  <a:pt x="515" y="71"/>
                  <a:pt x="515" y="71"/>
                  <a:pt x="516" y="71"/>
                </a:cubicBezTo>
                <a:cubicBezTo>
                  <a:pt x="517" y="70"/>
                  <a:pt x="517" y="70"/>
                  <a:pt x="518" y="71"/>
                </a:cubicBezTo>
                <a:cubicBezTo>
                  <a:pt x="518" y="72"/>
                  <a:pt x="518" y="72"/>
                  <a:pt x="518" y="73"/>
                </a:cubicBezTo>
                <a:cubicBezTo>
                  <a:pt x="519" y="73"/>
                  <a:pt x="520" y="72"/>
                  <a:pt x="521" y="72"/>
                </a:cubicBezTo>
                <a:cubicBezTo>
                  <a:pt x="521" y="71"/>
                  <a:pt x="522" y="70"/>
                  <a:pt x="523" y="71"/>
                </a:cubicBezTo>
                <a:cubicBezTo>
                  <a:pt x="523" y="71"/>
                  <a:pt x="524" y="72"/>
                  <a:pt x="524" y="72"/>
                </a:cubicBezTo>
                <a:cubicBezTo>
                  <a:pt x="525" y="72"/>
                  <a:pt x="525" y="72"/>
                  <a:pt x="526" y="72"/>
                </a:cubicBezTo>
                <a:cubicBezTo>
                  <a:pt x="527" y="72"/>
                  <a:pt x="531" y="73"/>
                  <a:pt x="531" y="74"/>
                </a:cubicBezTo>
                <a:cubicBezTo>
                  <a:pt x="531" y="74"/>
                  <a:pt x="533" y="75"/>
                  <a:pt x="534" y="76"/>
                </a:cubicBezTo>
                <a:cubicBezTo>
                  <a:pt x="535" y="76"/>
                  <a:pt x="535" y="76"/>
                  <a:pt x="535" y="77"/>
                </a:cubicBezTo>
                <a:cubicBezTo>
                  <a:pt x="535" y="77"/>
                  <a:pt x="537" y="76"/>
                  <a:pt x="537" y="77"/>
                </a:cubicBezTo>
                <a:cubicBezTo>
                  <a:pt x="537" y="77"/>
                  <a:pt x="539" y="77"/>
                  <a:pt x="539" y="77"/>
                </a:cubicBezTo>
                <a:cubicBezTo>
                  <a:pt x="539" y="77"/>
                  <a:pt x="542" y="79"/>
                  <a:pt x="542" y="79"/>
                </a:cubicBezTo>
                <a:cubicBezTo>
                  <a:pt x="542" y="81"/>
                  <a:pt x="542" y="81"/>
                  <a:pt x="543" y="81"/>
                </a:cubicBezTo>
                <a:cubicBezTo>
                  <a:pt x="544" y="81"/>
                  <a:pt x="544" y="82"/>
                  <a:pt x="545" y="82"/>
                </a:cubicBezTo>
                <a:cubicBezTo>
                  <a:pt x="546" y="82"/>
                  <a:pt x="545" y="83"/>
                  <a:pt x="546" y="83"/>
                </a:cubicBezTo>
                <a:cubicBezTo>
                  <a:pt x="547" y="83"/>
                  <a:pt x="548" y="84"/>
                  <a:pt x="548" y="85"/>
                </a:cubicBezTo>
                <a:cubicBezTo>
                  <a:pt x="548" y="85"/>
                  <a:pt x="548" y="85"/>
                  <a:pt x="548" y="85"/>
                </a:cubicBezTo>
                <a:cubicBezTo>
                  <a:pt x="548" y="86"/>
                  <a:pt x="548" y="86"/>
                  <a:pt x="549" y="86"/>
                </a:cubicBezTo>
                <a:cubicBezTo>
                  <a:pt x="550" y="86"/>
                  <a:pt x="551" y="86"/>
                  <a:pt x="552" y="87"/>
                </a:cubicBezTo>
                <a:cubicBezTo>
                  <a:pt x="551" y="87"/>
                  <a:pt x="551" y="88"/>
                  <a:pt x="551" y="88"/>
                </a:cubicBezTo>
                <a:cubicBezTo>
                  <a:pt x="551" y="88"/>
                  <a:pt x="551" y="88"/>
                  <a:pt x="551" y="89"/>
                </a:cubicBezTo>
                <a:cubicBezTo>
                  <a:pt x="551" y="89"/>
                  <a:pt x="551" y="89"/>
                  <a:pt x="551" y="90"/>
                </a:cubicBezTo>
                <a:cubicBezTo>
                  <a:pt x="551" y="91"/>
                  <a:pt x="548" y="90"/>
                  <a:pt x="548" y="91"/>
                </a:cubicBezTo>
                <a:cubicBezTo>
                  <a:pt x="549" y="91"/>
                  <a:pt x="550" y="91"/>
                  <a:pt x="552" y="90"/>
                </a:cubicBezTo>
                <a:cubicBezTo>
                  <a:pt x="552" y="91"/>
                  <a:pt x="551" y="91"/>
                  <a:pt x="552" y="92"/>
                </a:cubicBezTo>
                <a:cubicBezTo>
                  <a:pt x="553" y="93"/>
                  <a:pt x="553" y="93"/>
                  <a:pt x="553" y="94"/>
                </a:cubicBezTo>
                <a:cubicBezTo>
                  <a:pt x="553" y="94"/>
                  <a:pt x="555" y="95"/>
                  <a:pt x="555" y="96"/>
                </a:cubicBezTo>
                <a:cubicBezTo>
                  <a:pt x="555" y="96"/>
                  <a:pt x="555" y="96"/>
                  <a:pt x="555" y="96"/>
                </a:cubicBezTo>
                <a:cubicBezTo>
                  <a:pt x="555" y="96"/>
                  <a:pt x="555" y="97"/>
                  <a:pt x="555" y="97"/>
                </a:cubicBezTo>
                <a:cubicBezTo>
                  <a:pt x="555" y="97"/>
                  <a:pt x="556" y="97"/>
                  <a:pt x="556" y="97"/>
                </a:cubicBezTo>
                <a:cubicBezTo>
                  <a:pt x="556" y="98"/>
                  <a:pt x="556" y="99"/>
                  <a:pt x="557" y="99"/>
                </a:cubicBezTo>
                <a:cubicBezTo>
                  <a:pt x="557" y="99"/>
                  <a:pt x="556" y="100"/>
                  <a:pt x="556" y="100"/>
                </a:cubicBezTo>
                <a:cubicBezTo>
                  <a:pt x="557" y="100"/>
                  <a:pt x="558" y="100"/>
                  <a:pt x="558" y="100"/>
                </a:cubicBezTo>
                <a:cubicBezTo>
                  <a:pt x="559" y="100"/>
                  <a:pt x="559" y="101"/>
                  <a:pt x="558" y="101"/>
                </a:cubicBezTo>
                <a:cubicBezTo>
                  <a:pt x="558" y="101"/>
                  <a:pt x="558" y="101"/>
                  <a:pt x="558" y="102"/>
                </a:cubicBezTo>
                <a:cubicBezTo>
                  <a:pt x="558" y="102"/>
                  <a:pt x="558" y="102"/>
                  <a:pt x="558" y="103"/>
                </a:cubicBezTo>
                <a:cubicBezTo>
                  <a:pt x="557" y="103"/>
                  <a:pt x="558" y="104"/>
                  <a:pt x="558" y="105"/>
                </a:cubicBezTo>
                <a:cubicBezTo>
                  <a:pt x="557" y="105"/>
                  <a:pt x="555" y="104"/>
                  <a:pt x="554" y="105"/>
                </a:cubicBezTo>
                <a:cubicBezTo>
                  <a:pt x="553" y="105"/>
                  <a:pt x="555" y="106"/>
                  <a:pt x="555" y="106"/>
                </a:cubicBezTo>
                <a:cubicBezTo>
                  <a:pt x="555" y="107"/>
                  <a:pt x="554" y="108"/>
                  <a:pt x="554" y="109"/>
                </a:cubicBezTo>
                <a:cubicBezTo>
                  <a:pt x="553" y="109"/>
                  <a:pt x="553" y="108"/>
                  <a:pt x="553" y="109"/>
                </a:cubicBezTo>
                <a:cubicBezTo>
                  <a:pt x="553" y="111"/>
                  <a:pt x="554" y="110"/>
                  <a:pt x="555" y="110"/>
                </a:cubicBezTo>
                <a:cubicBezTo>
                  <a:pt x="555" y="111"/>
                  <a:pt x="554" y="111"/>
                  <a:pt x="554" y="112"/>
                </a:cubicBezTo>
                <a:cubicBezTo>
                  <a:pt x="553" y="112"/>
                  <a:pt x="552" y="112"/>
                  <a:pt x="553" y="113"/>
                </a:cubicBezTo>
                <a:cubicBezTo>
                  <a:pt x="553" y="113"/>
                  <a:pt x="554" y="113"/>
                  <a:pt x="554" y="114"/>
                </a:cubicBezTo>
                <a:cubicBezTo>
                  <a:pt x="554" y="114"/>
                  <a:pt x="554" y="114"/>
                  <a:pt x="555" y="114"/>
                </a:cubicBezTo>
                <a:cubicBezTo>
                  <a:pt x="556" y="114"/>
                  <a:pt x="557" y="115"/>
                  <a:pt x="558" y="115"/>
                </a:cubicBezTo>
                <a:cubicBezTo>
                  <a:pt x="560" y="114"/>
                  <a:pt x="559" y="113"/>
                  <a:pt x="560" y="112"/>
                </a:cubicBezTo>
                <a:cubicBezTo>
                  <a:pt x="560" y="112"/>
                  <a:pt x="560" y="110"/>
                  <a:pt x="561" y="110"/>
                </a:cubicBezTo>
                <a:cubicBezTo>
                  <a:pt x="561" y="111"/>
                  <a:pt x="561" y="112"/>
                  <a:pt x="562" y="113"/>
                </a:cubicBezTo>
                <a:cubicBezTo>
                  <a:pt x="562" y="113"/>
                  <a:pt x="563" y="113"/>
                  <a:pt x="563" y="112"/>
                </a:cubicBezTo>
                <a:cubicBezTo>
                  <a:pt x="563" y="112"/>
                  <a:pt x="564" y="112"/>
                  <a:pt x="564" y="112"/>
                </a:cubicBezTo>
                <a:cubicBezTo>
                  <a:pt x="564" y="113"/>
                  <a:pt x="564" y="113"/>
                  <a:pt x="565" y="113"/>
                </a:cubicBezTo>
                <a:cubicBezTo>
                  <a:pt x="566" y="113"/>
                  <a:pt x="567" y="113"/>
                  <a:pt x="567" y="113"/>
                </a:cubicBezTo>
                <a:cubicBezTo>
                  <a:pt x="568" y="113"/>
                  <a:pt x="567" y="113"/>
                  <a:pt x="568" y="113"/>
                </a:cubicBezTo>
                <a:cubicBezTo>
                  <a:pt x="568" y="113"/>
                  <a:pt x="569" y="113"/>
                  <a:pt x="570" y="113"/>
                </a:cubicBezTo>
                <a:cubicBezTo>
                  <a:pt x="569" y="114"/>
                  <a:pt x="569" y="114"/>
                  <a:pt x="569" y="114"/>
                </a:cubicBezTo>
                <a:cubicBezTo>
                  <a:pt x="569" y="115"/>
                  <a:pt x="570" y="115"/>
                  <a:pt x="570" y="115"/>
                </a:cubicBezTo>
                <a:cubicBezTo>
                  <a:pt x="572" y="115"/>
                  <a:pt x="573" y="114"/>
                  <a:pt x="575" y="114"/>
                </a:cubicBezTo>
                <a:cubicBezTo>
                  <a:pt x="575" y="114"/>
                  <a:pt x="575" y="114"/>
                  <a:pt x="574" y="115"/>
                </a:cubicBezTo>
                <a:cubicBezTo>
                  <a:pt x="574" y="115"/>
                  <a:pt x="572" y="115"/>
                  <a:pt x="572" y="116"/>
                </a:cubicBezTo>
                <a:cubicBezTo>
                  <a:pt x="572" y="116"/>
                  <a:pt x="572" y="116"/>
                  <a:pt x="573" y="116"/>
                </a:cubicBezTo>
                <a:cubicBezTo>
                  <a:pt x="573" y="116"/>
                  <a:pt x="574" y="116"/>
                  <a:pt x="574" y="116"/>
                </a:cubicBezTo>
                <a:cubicBezTo>
                  <a:pt x="574" y="115"/>
                  <a:pt x="575" y="116"/>
                  <a:pt x="576" y="116"/>
                </a:cubicBezTo>
                <a:cubicBezTo>
                  <a:pt x="577" y="116"/>
                  <a:pt x="577" y="116"/>
                  <a:pt x="578" y="117"/>
                </a:cubicBezTo>
                <a:cubicBezTo>
                  <a:pt x="577" y="117"/>
                  <a:pt x="575" y="117"/>
                  <a:pt x="574" y="117"/>
                </a:cubicBezTo>
                <a:cubicBezTo>
                  <a:pt x="575" y="118"/>
                  <a:pt x="575" y="118"/>
                  <a:pt x="576" y="118"/>
                </a:cubicBezTo>
                <a:cubicBezTo>
                  <a:pt x="576" y="118"/>
                  <a:pt x="577" y="119"/>
                  <a:pt x="577" y="119"/>
                </a:cubicBezTo>
                <a:cubicBezTo>
                  <a:pt x="576" y="119"/>
                  <a:pt x="575" y="119"/>
                  <a:pt x="575" y="119"/>
                </a:cubicBezTo>
                <a:cubicBezTo>
                  <a:pt x="574" y="120"/>
                  <a:pt x="574" y="120"/>
                  <a:pt x="574" y="121"/>
                </a:cubicBezTo>
                <a:cubicBezTo>
                  <a:pt x="575" y="121"/>
                  <a:pt x="576" y="121"/>
                  <a:pt x="577" y="121"/>
                </a:cubicBezTo>
                <a:cubicBezTo>
                  <a:pt x="577" y="121"/>
                  <a:pt x="577" y="122"/>
                  <a:pt x="577" y="122"/>
                </a:cubicBezTo>
                <a:cubicBezTo>
                  <a:pt x="576" y="122"/>
                  <a:pt x="575" y="122"/>
                  <a:pt x="575" y="122"/>
                </a:cubicBezTo>
                <a:cubicBezTo>
                  <a:pt x="575" y="123"/>
                  <a:pt x="575" y="123"/>
                  <a:pt x="576" y="123"/>
                </a:cubicBezTo>
                <a:cubicBezTo>
                  <a:pt x="577" y="124"/>
                  <a:pt x="577" y="123"/>
                  <a:pt x="577" y="125"/>
                </a:cubicBezTo>
                <a:cubicBezTo>
                  <a:pt x="576" y="125"/>
                  <a:pt x="575" y="124"/>
                  <a:pt x="574" y="124"/>
                </a:cubicBezTo>
                <a:cubicBezTo>
                  <a:pt x="574" y="123"/>
                  <a:pt x="573" y="123"/>
                  <a:pt x="572" y="123"/>
                </a:cubicBezTo>
                <a:cubicBezTo>
                  <a:pt x="571" y="123"/>
                  <a:pt x="572" y="123"/>
                  <a:pt x="571" y="122"/>
                </a:cubicBezTo>
                <a:cubicBezTo>
                  <a:pt x="570" y="122"/>
                  <a:pt x="570" y="121"/>
                  <a:pt x="569" y="121"/>
                </a:cubicBezTo>
                <a:cubicBezTo>
                  <a:pt x="565" y="120"/>
                  <a:pt x="562" y="120"/>
                  <a:pt x="559" y="120"/>
                </a:cubicBezTo>
                <a:cubicBezTo>
                  <a:pt x="559" y="120"/>
                  <a:pt x="558" y="120"/>
                  <a:pt x="558" y="121"/>
                </a:cubicBezTo>
                <a:cubicBezTo>
                  <a:pt x="557" y="121"/>
                  <a:pt x="557" y="122"/>
                  <a:pt x="558" y="123"/>
                </a:cubicBezTo>
                <a:cubicBezTo>
                  <a:pt x="558" y="123"/>
                  <a:pt x="558" y="123"/>
                  <a:pt x="558" y="123"/>
                </a:cubicBezTo>
                <a:cubicBezTo>
                  <a:pt x="559" y="123"/>
                  <a:pt x="559" y="123"/>
                  <a:pt x="559" y="123"/>
                </a:cubicBezTo>
                <a:cubicBezTo>
                  <a:pt x="559" y="123"/>
                  <a:pt x="560" y="123"/>
                  <a:pt x="560" y="123"/>
                </a:cubicBezTo>
                <a:cubicBezTo>
                  <a:pt x="561" y="124"/>
                  <a:pt x="561" y="124"/>
                  <a:pt x="562" y="124"/>
                </a:cubicBezTo>
                <a:cubicBezTo>
                  <a:pt x="562" y="125"/>
                  <a:pt x="562" y="126"/>
                  <a:pt x="561" y="125"/>
                </a:cubicBezTo>
                <a:cubicBezTo>
                  <a:pt x="561" y="125"/>
                  <a:pt x="561" y="125"/>
                  <a:pt x="561" y="125"/>
                </a:cubicBezTo>
                <a:cubicBezTo>
                  <a:pt x="560" y="125"/>
                  <a:pt x="559" y="125"/>
                  <a:pt x="559" y="125"/>
                </a:cubicBezTo>
                <a:cubicBezTo>
                  <a:pt x="558" y="125"/>
                  <a:pt x="556" y="125"/>
                  <a:pt x="556" y="127"/>
                </a:cubicBezTo>
                <a:cubicBezTo>
                  <a:pt x="556" y="127"/>
                  <a:pt x="557" y="128"/>
                  <a:pt x="557" y="128"/>
                </a:cubicBezTo>
                <a:cubicBezTo>
                  <a:pt x="556" y="129"/>
                  <a:pt x="556" y="129"/>
                  <a:pt x="555" y="130"/>
                </a:cubicBezTo>
                <a:cubicBezTo>
                  <a:pt x="555" y="131"/>
                  <a:pt x="555" y="131"/>
                  <a:pt x="554" y="132"/>
                </a:cubicBezTo>
                <a:cubicBezTo>
                  <a:pt x="554" y="132"/>
                  <a:pt x="555" y="133"/>
                  <a:pt x="555" y="133"/>
                </a:cubicBezTo>
                <a:cubicBezTo>
                  <a:pt x="556" y="133"/>
                  <a:pt x="557" y="133"/>
                  <a:pt x="558" y="133"/>
                </a:cubicBezTo>
                <a:cubicBezTo>
                  <a:pt x="559" y="133"/>
                  <a:pt x="560" y="134"/>
                  <a:pt x="560" y="133"/>
                </a:cubicBezTo>
                <a:cubicBezTo>
                  <a:pt x="560" y="133"/>
                  <a:pt x="560" y="133"/>
                  <a:pt x="561" y="133"/>
                </a:cubicBezTo>
                <a:cubicBezTo>
                  <a:pt x="561" y="133"/>
                  <a:pt x="561" y="134"/>
                  <a:pt x="561" y="134"/>
                </a:cubicBezTo>
                <a:cubicBezTo>
                  <a:pt x="561" y="135"/>
                  <a:pt x="561" y="135"/>
                  <a:pt x="560" y="135"/>
                </a:cubicBezTo>
                <a:cubicBezTo>
                  <a:pt x="559" y="135"/>
                  <a:pt x="558" y="135"/>
                  <a:pt x="557" y="135"/>
                </a:cubicBezTo>
                <a:cubicBezTo>
                  <a:pt x="557" y="136"/>
                  <a:pt x="558" y="136"/>
                  <a:pt x="560" y="137"/>
                </a:cubicBezTo>
                <a:cubicBezTo>
                  <a:pt x="561" y="137"/>
                  <a:pt x="562" y="137"/>
                  <a:pt x="563" y="137"/>
                </a:cubicBezTo>
                <a:cubicBezTo>
                  <a:pt x="563" y="136"/>
                  <a:pt x="563" y="136"/>
                  <a:pt x="563" y="136"/>
                </a:cubicBezTo>
                <a:cubicBezTo>
                  <a:pt x="563" y="136"/>
                  <a:pt x="564" y="136"/>
                  <a:pt x="564" y="136"/>
                </a:cubicBezTo>
                <a:cubicBezTo>
                  <a:pt x="564" y="135"/>
                  <a:pt x="565" y="136"/>
                  <a:pt x="566" y="136"/>
                </a:cubicBezTo>
                <a:cubicBezTo>
                  <a:pt x="566" y="136"/>
                  <a:pt x="566" y="135"/>
                  <a:pt x="566" y="135"/>
                </a:cubicBezTo>
                <a:cubicBezTo>
                  <a:pt x="567" y="135"/>
                  <a:pt x="568" y="134"/>
                  <a:pt x="568" y="134"/>
                </a:cubicBezTo>
                <a:cubicBezTo>
                  <a:pt x="569" y="134"/>
                  <a:pt x="569" y="134"/>
                  <a:pt x="570" y="133"/>
                </a:cubicBezTo>
                <a:cubicBezTo>
                  <a:pt x="570" y="133"/>
                  <a:pt x="570" y="133"/>
                  <a:pt x="570" y="133"/>
                </a:cubicBezTo>
                <a:cubicBezTo>
                  <a:pt x="570" y="133"/>
                  <a:pt x="571" y="132"/>
                  <a:pt x="571" y="132"/>
                </a:cubicBezTo>
                <a:cubicBezTo>
                  <a:pt x="569" y="131"/>
                  <a:pt x="568" y="130"/>
                  <a:pt x="567" y="129"/>
                </a:cubicBezTo>
                <a:cubicBezTo>
                  <a:pt x="566" y="127"/>
                  <a:pt x="565" y="126"/>
                  <a:pt x="564" y="126"/>
                </a:cubicBezTo>
                <a:cubicBezTo>
                  <a:pt x="563" y="126"/>
                  <a:pt x="563" y="125"/>
                  <a:pt x="563" y="124"/>
                </a:cubicBezTo>
                <a:cubicBezTo>
                  <a:pt x="563" y="124"/>
                  <a:pt x="564" y="124"/>
                  <a:pt x="565" y="125"/>
                </a:cubicBezTo>
                <a:cubicBezTo>
                  <a:pt x="565" y="125"/>
                  <a:pt x="565" y="125"/>
                  <a:pt x="565" y="125"/>
                </a:cubicBezTo>
                <a:cubicBezTo>
                  <a:pt x="565" y="125"/>
                  <a:pt x="566" y="125"/>
                  <a:pt x="566" y="125"/>
                </a:cubicBezTo>
                <a:cubicBezTo>
                  <a:pt x="567" y="125"/>
                  <a:pt x="567" y="126"/>
                  <a:pt x="568" y="126"/>
                </a:cubicBezTo>
                <a:cubicBezTo>
                  <a:pt x="568" y="126"/>
                  <a:pt x="568" y="127"/>
                  <a:pt x="569" y="127"/>
                </a:cubicBezTo>
                <a:cubicBezTo>
                  <a:pt x="570" y="127"/>
                  <a:pt x="569" y="128"/>
                  <a:pt x="570" y="128"/>
                </a:cubicBezTo>
                <a:cubicBezTo>
                  <a:pt x="571" y="128"/>
                  <a:pt x="572" y="128"/>
                  <a:pt x="573" y="127"/>
                </a:cubicBezTo>
                <a:cubicBezTo>
                  <a:pt x="574" y="127"/>
                  <a:pt x="573" y="128"/>
                  <a:pt x="575" y="128"/>
                </a:cubicBezTo>
                <a:cubicBezTo>
                  <a:pt x="576" y="128"/>
                  <a:pt x="577" y="127"/>
                  <a:pt x="578" y="127"/>
                </a:cubicBezTo>
                <a:cubicBezTo>
                  <a:pt x="577" y="128"/>
                  <a:pt x="577" y="128"/>
                  <a:pt x="577" y="128"/>
                </a:cubicBezTo>
                <a:cubicBezTo>
                  <a:pt x="577" y="129"/>
                  <a:pt x="577" y="130"/>
                  <a:pt x="578" y="130"/>
                </a:cubicBezTo>
                <a:cubicBezTo>
                  <a:pt x="577" y="130"/>
                  <a:pt x="577" y="130"/>
                  <a:pt x="577" y="130"/>
                </a:cubicBezTo>
                <a:cubicBezTo>
                  <a:pt x="576" y="131"/>
                  <a:pt x="576" y="131"/>
                  <a:pt x="576" y="132"/>
                </a:cubicBezTo>
                <a:cubicBezTo>
                  <a:pt x="576" y="132"/>
                  <a:pt x="577" y="132"/>
                  <a:pt x="577" y="132"/>
                </a:cubicBezTo>
                <a:cubicBezTo>
                  <a:pt x="576" y="133"/>
                  <a:pt x="576" y="133"/>
                  <a:pt x="576" y="134"/>
                </a:cubicBezTo>
                <a:cubicBezTo>
                  <a:pt x="577" y="134"/>
                  <a:pt x="578" y="134"/>
                  <a:pt x="578" y="134"/>
                </a:cubicBezTo>
                <a:cubicBezTo>
                  <a:pt x="579" y="134"/>
                  <a:pt x="578" y="134"/>
                  <a:pt x="579" y="134"/>
                </a:cubicBezTo>
                <a:cubicBezTo>
                  <a:pt x="578" y="135"/>
                  <a:pt x="578" y="135"/>
                  <a:pt x="578" y="136"/>
                </a:cubicBezTo>
                <a:cubicBezTo>
                  <a:pt x="578" y="136"/>
                  <a:pt x="579" y="136"/>
                  <a:pt x="579" y="136"/>
                </a:cubicBezTo>
                <a:cubicBezTo>
                  <a:pt x="579" y="137"/>
                  <a:pt x="578" y="138"/>
                  <a:pt x="578" y="139"/>
                </a:cubicBezTo>
                <a:cubicBezTo>
                  <a:pt x="578" y="138"/>
                  <a:pt x="577" y="138"/>
                  <a:pt x="577" y="138"/>
                </a:cubicBezTo>
                <a:cubicBezTo>
                  <a:pt x="577" y="137"/>
                  <a:pt x="577" y="137"/>
                  <a:pt x="577" y="136"/>
                </a:cubicBezTo>
                <a:cubicBezTo>
                  <a:pt x="577" y="136"/>
                  <a:pt x="576" y="136"/>
                  <a:pt x="575" y="136"/>
                </a:cubicBezTo>
                <a:cubicBezTo>
                  <a:pt x="575" y="136"/>
                  <a:pt x="575" y="139"/>
                  <a:pt x="575" y="139"/>
                </a:cubicBezTo>
                <a:cubicBezTo>
                  <a:pt x="576" y="139"/>
                  <a:pt x="576" y="139"/>
                  <a:pt x="576" y="140"/>
                </a:cubicBezTo>
                <a:cubicBezTo>
                  <a:pt x="576" y="140"/>
                  <a:pt x="575" y="140"/>
                  <a:pt x="576" y="140"/>
                </a:cubicBezTo>
                <a:cubicBezTo>
                  <a:pt x="576" y="140"/>
                  <a:pt x="576" y="141"/>
                  <a:pt x="577" y="141"/>
                </a:cubicBezTo>
                <a:cubicBezTo>
                  <a:pt x="576" y="141"/>
                  <a:pt x="576" y="142"/>
                  <a:pt x="576" y="142"/>
                </a:cubicBezTo>
                <a:cubicBezTo>
                  <a:pt x="576" y="142"/>
                  <a:pt x="575" y="143"/>
                  <a:pt x="574" y="143"/>
                </a:cubicBezTo>
                <a:cubicBezTo>
                  <a:pt x="574" y="143"/>
                  <a:pt x="572" y="143"/>
                  <a:pt x="572" y="143"/>
                </a:cubicBezTo>
                <a:cubicBezTo>
                  <a:pt x="572" y="142"/>
                  <a:pt x="571" y="143"/>
                  <a:pt x="571" y="142"/>
                </a:cubicBezTo>
                <a:cubicBezTo>
                  <a:pt x="570" y="143"/>
                  <a:pt x="570" y="143"/>
                  <a:pt x="570" y="144"/>
                </a:cubicBezTo>
                <a:cubicBezTo>
                  <a:pt x="570" y="144"/>
                  <a:pt x="568" y="143"/>
                  <a:pt x="568" y="144"/>
                </a:cubicBezTo>
                <a:cubicBezTo>
                  <a:pt x="568" y="143"/>
                  <a:pt x="566" y="145"/>
                  <a:pt x="567" y="145"/>
                </a:cubicBezTo>
                <a:cubicBezTo>
                  <a:pt x="569" y="145"/>
                  <a:pt x="570" y="145"/>
                  <a:pt x="572" y="145"/>
                </a:cubicBezTo>
                <a:cubicBezTo>
                  <a:pt x="572" y="145"/>
                  <a:pt x="573" y="145"/>
                  <a:pt x="574" y="145"/>
                </a:cubicBezTo>
                <a:cubicBezTo>
                  <a:pt x="575" y="145"/>
                  <a:pt x="574" y="145"/>
                  <a:pt x="575" y="145"/>
                </a:cubicBezTo>
                <a:cubicBezTo>
                  <a:pt x="575" y="144"/>
                  <a:pt x="576" y="144"/>
                  <a:pt x="577" y="144"/>
                </a:cubicBezTo>
                <a:cubicBezTo>
                  <a:pt x="577" y="145"/>
                  <a:pt x="577" y="146"/>
                  <a:pt x="577" y="146"/>
                </a:cubicBezTo>
                <a:cubicBezTo>
                  <a:pt x="576" y="146"/>
                  <a:pt x="575" y="146"/>
                  <a:pt x="574" y="146"/>
                </a:cubicBezTo>
                <a:cubicBezTo>
                  <a:pt x="574" y="146"/>
                  <a:pt x="574" y="146"/>
                  <a:pt x="574" y="146"/>
                </a:cubicBezTo>
                <a:cubicBezTo>
                  <a:pt x="574" y="147"/>
                  <a:pt x="573" y="147"/>
                  <a:pt x="572" y="147"/>
                </a:cubicBezTo>
                <a:cubicBezTo>
                  <a:pt x="571" y="147"/>
                  <a:pt x="571" y="147"/>
                  <a:pt x="570" y="147"/>
                </a:cubicBezTo>
                <a:cubicBezTo>
                  <a:pt x="570" y="147"/>
                  <a:pt x="570" y="146"/>
                  <a:pt x="569" y="146"/>
                </a:cubicBezTo>
                <a:cubicBezTo>
                  <a:pt x="569" y="146"/>
                  <a:pt x="568" y="146"/>
                  <a:pt x="568" y="145"/>
                </a:cubicBezTo>
                <a:cubicBezTo>
                  <a:pt x="568" y="146"/>
                  <a:pt x="566" y="146"/>
                  <a:pt x="568" y="147"/>
                </a:cubicBezTo>
                <a:cubicBezTo>
                  <a:pt x="569" y="147"/>
                  <a:pt x="570" y="148"/>
                  <a:pt x="571" y="148"/>
                </a:cubicBezTo>
                <a:cubicBezTo>
                  <a:pt x="570" y="149"/>
                  <a:pt x="569" y="148"/>
                  <a:pt x="568" y="147"/>
                </a:cubicBezTo>
                <a:cubicBezTo>
                  <a:pt x="567" y="147"/>
                  <a:pt x="566" y="147"/>
                  <a:pt x="565" y="148"/>
                </a:cubicBezTo>
                <a:cubicBezTo>
                  <a:pt x="564" y="149"/>
                  <a:pt x="564" y="149"/>
                  <a:pt x="563" y="150"/>
                </a:cubicBezTo>
                <a:cubicBezTo>
                  <a:pt x="563" y="150"/>
                  <a:pt x="563" y="151"/>
                  <a:pt x="563" y="152"/>
                </a:cubicBezTo>
                <a:cubicBezTo>
                  <a:pt x="564" y="152"/>
                  <a:pt x="564" y="151"/>
                  <a:pt x="565" y="151"/>
                </a:cubicBezTo>
                <a:cubicBezTo>
                  <a:pt x="565" y="151"/>
                  <a:pt x="565" y="151"/>
                  <a:pt x="566" y="150"/>
                </a:cubicBezTo>
                <a:cubicBezTo>
                  <a:pt x="566" y="150"/>
                  <a:pt x="566" y="150"/>
                  <a:pt x="566" y="150"/>
                </a:cubicBezTo>
                <a:cubicBezTo>
                  <a:pt x="567" y="150"/>
                  <a:pt x="567" y="150"/>
                  <a:pt x="568" y="150"/>
                </a:cubicBezTo>
                <a:cubicBezTo>
                  <a:pt x="568" y="149"/>
                  <a:pt x="568" y="150"/>
                  <a:pt x="569" y="150"/>
                </a:cubicBezTo>
                <a:cubicBezTo>
                  <a:pt x="570" y="150"/>
                  <a:pt x="569" y="149"/>
                  <a:pt x="570" y="149"/>
                </a:cubicBezTo>
                <a:cubicBezTo>
                  <a:pt x="571" y="149"/>
                  <a:pt x="571" y="149"/>
                  <a:pt x="572" y="149"/>
                </a:cubicBezTo>
                <a:cubicBezTo>
                  <a:pt x="572" y="149"/>
                  <a:pt x="571" y="149"/>
                  <a:pt x="572" y="149"/>
                </a:cubicBezTo>
                <a:cubicBezTo>
                  <a:pt x="573" y="149"/>
                  <a:pt x="572" y="149"/>
                  <a:pt x="571" y="149"/>
                </a:cubicBezTo>
                <a:cubicBezTo>
                  <a:pt x="572" y="150"/>
                  <a:pt x="572" y="150"/>
                  <a:pt x="573" y="151"/>
                </a:cubicBezTo>
                <a:cubicBezTo>
                  <a:pt x="573" y="151"/>
                  <a:pt x="573" y="151"/>
                  <a:pt x="573" y="151"/>
                </a:cubicBezTo>
                <a:cubicBezTo>
                  <a:pt x="574" y="151"/>
                  <a:pt x="575" y="151"/>
                  <a:pt x="575" y="151"/>
                </a:cubicBezTo>
                <a:cubicBezTo>
                  <a:pt x="576" y="151"/>
                  <a:pt x="576" y="150"/>
                  <a:pt x="575" y="150"/>
                </a:cubicBezTo>
                <a:cubicBezTo>
                  <a:pt x="575" y="149"/>
                  <a:pt x="575" y="149"/>
                  <a:pt x="576" y="148"/>
                </a:cubicBezTo>
                <a:cubicBezTo>
                  <a:pt x="576" y="148"/>
                  <a:pt x="577" y="148"/>
                  <a:pt x="578" y="148"/>
                </a:cubicBezTo>
                <a:cubicBezTo>
                  <a:pt x="577" y="149"/>
                  <a:pt x="577" y="149"/>
                  <a:pt x="577" y="149"/>
                </a:cubicBezTo>
                <a:cubicBezTo>
                  <a:pt x="577" y="150"/>
                  <a:pt x="578" y="150"/>
                  <a:pt x="577" y="150"/>
                </a:cubicBezTo>
                <a:cubicBezTo>
                  <a:pt x="577" y="151"/>
                  <a:pt x="577" y="151"/>
                  <a:pt x="577" y="151"/>
                </a:cubicBezTo>
                <a:cubicBezTo>
                  <a:pt x="577" y="152"/>
                  <a:pt x="576" y="152"/>
                  <a:pt x="576" y="152"/>
                </a:cubicBezTo>
                <a:cubicBezTo>
                  <a:pt x="575" y="152"/>
                  <a:pt x="574" y="152"/>
                  <a:pt x="573" y="152"/>
                </a:cubicBezTo>
                <a:cubicBezTo>
                  <a:pt x="573" y="152"/>
                  <a:pt x="573" y="152"/>
                  <a:pt x="573" y="152"/>
                </a:cubicBezTo>
                <a:cubicBezTo>
                  <a:pt x="573" y="152"/>
                  <a:pt x="571" y="151"/>
                  <a:pt x="571" y="151"/>
                </a:cubicBezTo>
                <a:cubicBezTo>
                  <a:pt x="571" y="150"/>
                  <a:pt x="569" y="151"/>
                  <a:pt x="569" y="150"/>
                </a:cubicBezTo>
                <a:cubicBezTo>
                  <a:pt x="568" y="150"/>
                  <a:pt x="567" y="150"/>
                  <a:pt x="566" y="151"/>
                </a:cubicBezTo>
                <a:cubicBezTo>
                  <a:pt x="566" y="151"/>
                  <a:pt x="566" y="151"/>
                  <a:pt x="565" y="152"/>
                </a:cubicBezTo>
                <a:cubicBezTo>
                  <a:pt x="565" y="152"/>
                  <a:pt x="565" y="153"/>
                  <a:pt x="565" y="153"/>
                </a:cubicBezTo>
                <a:cubicBezTo>
                  <a:pt x="565" y="153"/>
                  <a:pt x="564" y="153"/>
                  <a:pt x="564" y="153"/>
                </a:cubicBezTo>
                <a:cubicBezTo>
                  <a:pt x="563" y="153"/>
                  <a:pt x="563" y="154"/>
                  <a:pt x="563" y="154"/>
                </a:cubicBezTo>
                <a:cubicBezTo>
                  <a:pt x="562" y="154"/>
                  <a:pt x="563" y="154"/>
                  <a:pt x="563" y="154"/>
                </a:cubicBezTo>
                <a:cubicBezTo>
                  <a:pt x="564" y="154"/>
                  <a:pt x="564" y="155"/>
                  <a:pt x="564" y="156"/>
                </a:cubicBezTo>
                <a:cubicBezTo>
                  <a:pt x="564" y="156"/>
                  <a:pt x="563" y="156"/>
                  <a:pt x="563" y="156"/>
                </a:cubicBezTo>
                <a:cubicBezTo>
                  <a:pt x="564" y="156"/>
                  <a:pt x="564" y="156"/>
                  <a:pt x="565" y="156"/>
                </a:cubicBezTo>
                <a:cubicBezTo>
                  <a:pt x="566" y="156"/>
                  <a:pt x="565" y="157"/>
                  <a:pt x="566" y="157"/>
                </a:cubicBezTo>
                <a:cubicBezTo>
                  <a:pt x="566" y="157"/>
                  <a:pt x="566" y="158"/>
                  <a:pt x="566" y="158"/>
                </a:cubicBezTo>
                <a:cubicBezTo>
                  <a:pt x="566" y="158"/>
                  <a:pt x="566" y="158"/>
                  <a:pt x="566" y="158"/>
                </a:cubicBezTo>
                <a:cubicBezTo>
                  <a:pt x="566" y="158"/>
                  <a:pt x="566" y="159"/>
                  <a:pt x="566" y="159"/>
                </a:cubicBezTo>
                <a:cubicBezTo>
                  <a:pt x="565" y="159"/>
                  <a:pt x="564" y="159"/>
                  <a:pt x="564" y="159"/>
                </a:cubicBezTo>
                <a:cubicBezTo>
                  <a:pt x="564" y="160"/>
                  <a:pt x="564" y="160"/>
                  <a:pt x="564" y="160"/>
                </a:cubicBezTo>
                <a:cubicBezTo>
                  <a:pt x="563" y="160"/>
                  <a:pt x="565" y="162"/>
                  <a:pt x="565" y="161"/>
                </a:cubicBezTo>
                <a:cubicBezTo>
                  <a:pt x="565" y="160"/>
                  <a:pt x="566" y="161"/>
                  <a:pt x="566" y="161"/>
                </a:cubicBezTo>
                <a:cubicBezTo>
                  <a:pt x="566" y="162"/>
                  <a:pt x="563" y="162"/>
                  <a:pt x="563" y="162"/>
                </a:cubicBezTo>
                <a:cubicBezTo>
                  <a:pt x="564" y="163"/>
                  <a:pt x="564" y="164"/>
                  <a:pt x="565" y="164"/>
                </a:cubicBezTo>
                <a:cubicBezTo>
                  <a:pt x="566" y="164"/>
                  <a:pt x="566" y="163"/>
                  <a:pt x="566" y="163"/>
                </a:cubicBezTo>
                <a:cubicBezTo>
                  <a:pt x="568" y="163"/>
                  <a:pt x="567" y="164"/>
                  <a:pt x="566" y="164"/>
                </a:cubicBezTo>
                <a:cubicBezTo>
                  <a:pt x="565" y="165"/>
                  <a:pt x="566" y="165"/>
                  <a:pt x="566" y="166"/>
                </a:cubicBezTo>
                <a:cubicBezTo>
                  <a:pt x="566" y="166"/>
                  <a:pt x="567" y="166"/>
                  <a:pt x="568" y="165"/>
                </a:cubicBezTo>
                <a:cubicBezTo>
                  <a:pt x="568" y="165"/>
                  <a:pt x="568" y="166"/>
                  <a:pt x="568" y="166"/>
                </a:cubicBezTo>
                <a:cubicBezTo>
                  <a:pt x="569" y="166"/>
                  <a:pt x="570" y="164"/>
                  <a:pt x="570" y="164"/>
                </a:cubicBezTo>
                <a:cubicBezTo>
                  <a:pt x="571" y="164"/>
                  <a:pt x="572" y="165"/>
                  <a:pt x="571" y="165"/>
                </a:cubicBezTo>
                <a:cubicBezTo>
                  <a:pt x="570" y="166"/>
                  <a:pt x="569" y="166"/>
                  <a:pt x="568" y="167"/>
                </a:cubicBezTo>
                <a:cubicBezTo>
                  <a:pt x="569" y="167"/>
                  <a:pt x="572" y="169"/>
                  <a:pt x="570" y="169"/>
                </a:cubicBezTo>
                <a:cubicBezTo>
                  <a:pt x="569" y="169"/>
                  <a:pt x="569" y="171"/>
                  <a:pt x="570" y="171"/>
                </a:cubicBezTo>
                <a:cubicBezTo>
                  <a:pt x="570" y="171"/>
                  <a:pt x="571" y="171"/>
                  <a:pt x="571" y="171"/>
                </a:cubicBezTo>
                <a:cubicBezTo>
                  <a:pt x="571" y="171"/>
                  <a:pt x="571" y="172"/>
                  <a:pt x="572" y="172"/>
                </a:cubicBezTo>
                <a:cubicBezTo>
                  <a:pt x="573" y="172"/>
                  <a:pt x="571" y="173"/>
                  <a:pt x="571" y="173"/>
                </a:cubicBezTo>
                <a:cubicBezTo>
                  <a:pt x="571" y="174"/>
                  <a:pt x="571" y="175"/>
                  <a:pt x="571" y="175"/>
                </a:cubicBezTo>
                <a:cubicBezTo>
                  <a:pt x="573" y="175"/>
                  <a:pt x="574" y="174"/>
                  <a:pt x="574" y="173"/>
                </a:cubicBezTo>
                <a:cubicBezTo>
                  <a:pt x="575" y="173"/>
                  <a:pt x="575" y="173"/>
                  <a:pt x="576" y="173"/>
                </a:cubicBezTo>
                <a:cubicBezTo>
                  <a:pt x="576" y="173"/>
                  <a:pt x="576" y="172"/>
                  <a:pt x="577" y="172"/>
                </a:cubicBezTo>
                <a:cubicBezTo>
                  <a:pt x="577" y="172"/>
                  <a:pt x="578" y="172"/>
                  <a:pt x="578" y="173"/>
                </a:cubicBezTo>
                <a:cubicBezTo>
                  <a:pt x="578" y="173"/>
                  <a:pt x="578" y="174"/>
                  <a:pt x="578" y="175"/>
                </a:cubicBezTo>
                <a:cubicBezTo>
                  <a:pt x="578" y="174"/>
                  <a:pt x="577" y="174"/>
                  <a:pt x="577" y="174"/>
                </a:cubicBezTo>
                <a:cubicBezTo>
                  <a:pt x="577" y="175"/>
                  <a:pt x="577" y="175"/>
                  <a:pt x="577" y="176"/>
                </a:cubicBezTo>
                <a:cubicBezTo>
                  <a:pt x="575" y="176"/>
                  <a:pt x="574" y="177"/>
                  <a:pt x="572" y="177"/>
                </a:cubicBezTo>
                <a:cubicBezTo>
                  <a:pt x="572" y="177"/>
                  <a:pt x="574" y="177"/>
                  <a:pt x="574" y="177"/>
                </a:cubicBezTo>
                <a:cubicBezTo>
                  <a:pt x="575" y="177"/>
                  <a:pt x="575" y="177"/>
                  <a:pt x="575" y="178"/>
                </a:cubicBezTo>
                <a:cubicBezTo>
                  <a:pt x="575" y="178"/>
                  <a:pt x="574" y="178"/>
                  <a:pt x="574" y="178"/>
                </a:cubicBezTo>
                <a:cubicBezTo>
                  <a:pt x="574" y="178"/>
                  <a:pt x="573" y="178"/>
                  <a:pt x="573" y="178"/>
                </a:cubicBezTo>
                <a:cubicBezTo>
                  <a:pt x="573" y="178"/>
                  <a:pt x="573" y="178"/>
                  <a:pt x="572" y="178"/>
                </a:cubicBezTo>
                <a:cubicBezTo>
                  <a:pt x="573" y="179"/>
                  <a:pt x="573" y="180"/>
                  <a:pt x="574" y="180"/>
                </a:cubicBezTo>
                <a:cubicBezTo>
                  <a:pt x="574" y="180"/>
                  <a:pt x="573" y="181"/>
                  <a:pt x="573" y="181"/>
                </a:cubicBezTo>
                <a:cubicBezTo>
                  <a:pt x="574" y="182"/>
                  <a:pt x="575" y="182"/>
                  <a:pt x="576" y="181"/>
                </a:cubicBezTo>
                <a:cubicBezTo>
                  <a:pt x="576" y="182"/>
                  <a:pt x="576" y="184"/>
                  <a:pt x="575" y="183"/>
                </a:cubicBezTo>
                <a:cubicBezTo>
                  <a:pt x="575" y="183"/>
                  <a:pt x="575" y="184"/>
                  <a:pt x="575" y="184"/>
                </a:cubicBezTo>
                <a:cubicBezTo>
                  <a:pt x="576" y="184"/>
                  <a:pt x="577" y="184"/>
                  <a:pt x="577" y="185"/>
                </a:cubicBezTo>
                <a:cubicBezTo>
                  <a:pt x="577" y="185"/>
                  <a:pt x="576" y="184"/>
                  <a:pt x="576" y="185"/>
                </a:cubicBezTo>
                <a:cubicBezTo>
                  <a:pt x="576" y="185"/>
                  <a:pt x="576" y="185"/>
                  <a:pt x="576" y="186"/>
                </a:cubicBezTo>
                <a:cubicBezTo>
                  <a:pt x="576" y="186"/>
                  <a:pt x="576" y="186"/>
                  <a:pt x="577" y="186"/>
                </a:cubicBezTo>
                <a:cubicBezTo>
                  <a:pt x="578" y="185"/>
                  <a:pt x="578" y="185"/>
                  <a:pt x="579" y="185"/>
                </a:cubicBezTo>
                <a:cubicBezTo>
                  <a:pt x="579" y="186"/>
                  <a:pt x="578" y="187"/>
                  <a:pt x="578" y="188"/>
                </a:cubicBezTo>
                <a:cubicBezTo>
                  <a:pt x="579" y="188"/>
                  <a:pt x="579" y="188"/>
                  <a:pt x="579" y="189"/>
                </a:cubicBezTo>
                <a:cubicBezTo>
                  <a:pt x="580" y="188"/>
                  <a:pt x="581" y="188"/>
                  <a:pt x="582" y="188"/>
                </a:cubicBezTo>
                <a:cubicBezTo>
                  <a:pt x="581" y="189"/>
                  <a:pt x="581" y="190"/>
                  <a:pt x="581" y="191"/>
                </a:cubicBezTo>
                <a:cubicBezTo>
                  <a:pt x="582" y="191"/>
                  <a:pt x="583" y="190"/>
                  <a:pt x="583" y="190"/>
                </a:cubicBezTo>
                <a:cubicBezTo>
                  <a:pt x="584" y="190"/>
                  <a:pt x="584" y="189"/>
                  <a:pt x="585" y="189"/>
                </a:cubicBezTo>
                <a:cubicBezTo>
                  <a:pt x="585" y="189"/>
                  <a:pt x="585" y="189"/>
                  <a:pt x="586" y="189"/>
                </a:cubicBezTo>
                <a:cubicBezTo>
                  <a:pt x="585" y="190"/>
                  <a:pt x="585" y="191"/>
                  <a:pt x="585" y="192"/>
                </a:cubicBezTo>
                <a:cubicBezTo>
                  <a:pt x="586" y="192"/>
                  <a:pt x="585" y="192"/>
                  <a:pt x="586" y="192"/>
                </a:cubicBezTo>
                <a:cubicBezTo>
                  <a:pt x="587" y="192"/>
                  <a:pt x="587" y="191"/>
                  <a:pt x="587" y="191"/>
                </a:cubicBezTo>
                <a:cubicBezTo>
                  <a:pt x="587" y="192"/>
                  <a:pt x="586" y="193"/>
                  <a:pt x="586" y="194"/>
                </a:cubicBezTo>
                <a:cubicBezTo>
                  <a:pt x="587" y="194"/>
                  <a:pt x="587" y="193"/>
                  <a:pt x="587" y="193"/>
                </a:cubicBezTo>
                <a:cubicBezTo>
                  <a:pt x="588" y="194"/>
                  <a:pt x="588" y="195"/>
                  <a:pt x="588" y="195"/>
                </a:cubicBezTo>
                <a:cubicBezTo>
                  <a:pt x="588" y="195"/>
                  <a:pt x="587" y="196"/>
                  <a:pt x="587" y="196"/>
                </a:cubicBezTo>
                <a:cubicBezTo>
                  <a:pt x="588" y="197"/>
                  <a:pt x="590" y="197"/>
                  <a:pt x="589" y="196"/>
                </a:cubicBezTo>
                <a:cubicBezTo>
                  <a:pt x="590" y="196"/>
                  <a:pt x="590" y="196"/>
                  <a:pt x="590" y="196"/>
                </a:cubicBezTo>
                <a:cubicBezTo>
                  <a:pt x="590" y="196"/>
                  <a:pt x="590" y="196"/>
                  <a:pt x="590" y="196"/>
                </a:cubicBezTo>
                <a:cubicBezTo>
                  <a:pt x="590" y="197"/>
                  <a:pt x="588" y="197"/>
                  <a:pt x="588" y="197"/>
                </a:cubicBezTo>
                <a:cubicBezTo>
                  <a:pt x="588" y="198"/>
                  <a:pt x="589" y="198"/>
                  <a:pt x="590" y="198"/>
                </a:cubicBezTo>
                <a:cubicBezTo>
                  <a:pt x="590" y="198"/>
                  <a:pt x="590" y="199"/>
                  <a:pt x="590" y="200"/>
                </a:cubicBezTo>
                <a:cubicBezTo>
                  <a:pt x="590" y="200"/>
                  <a:pt x="591" y="200"/>
                  <a:pt x="592" y="200"/>
                </a:cubicBezTo>
                <a:cubicBezTo>
                  <a:pt x="592" y="201"/>
                  <a:pt x="591" y="200"/>
                  <a:pt x="591" y="201"/>
                </a:cubicBezTo>
                <a:cubicBezTo>
                  <a:pt x="591" y="202"/>
                  <a:pt x="591" y="202"/>
                  <a:pt x="592" y="202"/>
                </a:cubicBezTo>
                <a:cubicBezTo>
                  <a:pt x="593" y="202"/>
                  <a:pt x="592" y="201"/>
                  <a:pt x="593" y="201"/>
                </a:cubicBezTo>
                <a:cubicBezTo>
                  <a:pt x="594" y="201"/>
                  <a:pt x="594" y="199"/>
                  <a:pt x="594" y="200"/>
                </a:cubicBezTo>
                <a:cubicBezTo>
                  <a:pt x="595" y="201"/>
                  <a:pt x="594" y="201"/>
                  <a:pt x="595" y="201"/>
                </a:cubicBezTo>
                <a:cubicBezTo>
                  <a:pt x="596" y="201"/>
                  <a:pt x="596" y="200"/>
                  <a:pt x="596" y="200"/>
                </a:cubicBezTo>
                <a:cubicBezTo>
                  <a:pt x="596" y="200"/>
                  <a:pt x="597" y="200"/>
                  <a:pt x="597" y="200"/>
                </a:cubicBezTo>
                <a:cubicBezTo>
                  <a:pt x="598" y="200"/>
                  <a:pt x="598" y="199"/>
                  <a:pt x="598" y="199"/>
                </a:cubicBezTo>
                <a:cubicBezTo>
                  <a:pt x="598" y="198"/>
                  <a:pt x="599" y="197"/>
                  <a:pt x="600" y="197"/>
                </a:cubicBezTo>
                <a:cubicBezTo>
                  <a:pt x="601" y="198"/>
                  <a:pt x="600" y="199"/>
                  <a:pt x="600" y="200"/>
                </a:cubicBezTo>
                <a:cubicBezTo>
                  <a:pt x="600" y="200"/>
                  <a:pt x="600" y="200"/>
                  <a:pt x="601" y="199"/>
                </a:cubicBezTo>
                <a:cubicBezTo>
                  <a:pt x="601" y="200"/>
                  <a:pt x="600" y="200"/>
                  <a:pt x="600" y="200"/>
                </a:cubicBezTo>
                <a:cubicBezTo>
                  <a:pt x="600" y="201"/>
                  <a:pt x="598" y="201"/>
                  <a:pt x="599" y="201"/>
                </a:cubicBezTo>
                <a:cubicBezTo>
                  <a:pt x="600" y="201"/>
                  <a:pt x="601" y="201"/>
                  <a:pt x="602" y="201"/>
                </a:cubicBezTo>
                <a:cubicBezTo>
                  <a:pt x="602" y="201"/>
                  <a:pt x="602" y="202"/>
                  <a:pt x="602" y="203"/>
                </a:cubicBezTo>
                <a:cubicBezTo>
                  <a:pt x="602" y="202"/>
                  <a:pt x="602" y="203"/>
                  <a:pt x="603" y="203"/>
                </a:cubicBezTo>
                <a:cubicBezTo>
                  <a:pt x="603" y="203"/>
                  <a:pt x="604" y="202"/>
                  <a:pt x="604" y="202"/>
                </a:cubicBezTo>
                <a:cubicBezTo>
                  <a:pt x="604" y="200"/>
                  <a:pt x="605" y="201"/>
                  <a:pt x="605" y="202"/>
                </a:cubicBezTo>
                <a:cubicBezTo>
                  <a:pt x="605" y="202"/>
                  <a:pt x="606" y="202"/>
                  <a:pt x="606" y="202"/>
                </a:cubicBezTo>
                <a:cubicBezTo>
                  <a:pt x="606" y="201"/>
                  <a:pt x="607" y="201"/>
                  <a:pt x="607" y="202"/>
                </a:cubicBezTo>
                <a:cubicBezTo>
                  <a:pt x="607" y="203"/>
                  <a:pt x="606" y="202"/>
                  <a:pt x="606" y="204"/>
                </a:cubicBezTo>
                <a:cubicBezTo>
                  <a:pt x="605" y="204"/>
                  <a:pt x="605" y="205"/>
                  <a:pt x="605" y="205"/>
                </a:cubicBezTo>
                <a:cubicBezTo>
                  <a:pt x="606" y="205"/>
                  <a:pt x="607" y="203"/>
                  <a:pt x="608" y="203"/>
                </a:cubicBezTo>
                <a:cubicBezTo>
                  <a:pt x="607" y="204"/>
                  <a:pt x="607" y="204"/>
                  <a:pt x="607" y="205"/>
                </a:cubicBezTo>
                <a:cubicBezTo>
                  <a:pt x="607" y="205"/>
                  <a:pt x="608" y="205"/>
                  <a:pt x="608" y="206"/>
                </a:cubicBezTo>
                <a:cubicBezTo>
                  <a:pt x="609" y="206"/>
                  <a:pt x="609" y="206"/>
                  <a:pt x="609" y="204"/>
                </a:cubicBezTo>
                <a:cubicBezTo>
                  <a:pt x="609" y="204"/>
                  <a:pt x="609" y="203"/>
                  <a:pt x="609" y="203"/>
                </a:cubicBezTo>
                <a:cubicBezTo>
                  <a:pt x="611" y="203"/>
                  <a:pt x="609" y="205"/>
                  <a:pt x="609" y="205"/>
                </a:cubicBezTo>
                <a:cubicBezTo>
                  <a:pt x="609" y="206"/>
                  <a:pt x="610" y="206"/>
                  <a:pt x="610" y="206"/>
                </a:cubicBezTo>
                <a:cubicBezTo>
                  <a:pt x="611" y="206"/>
                  <a:pt x="611" y="207"/>
                  <a:pt x="612" y="208"/>
                </a:cubicBezTo>
                <a:cubicBezTo>
                  <a:pt x="613" y="207"/>
                  <a:pt x="613" y="207"/>
                  <a:pt x="614" y="207"/>
                </a:cubicBezTo>
                <a:cubicBezTo>
                  <a:pt x="614" y="207"/>
                  <a:pt x="613" y="206"/>
                  <a:pt x="614" y="206"/>
                </a:cubicBezTo>
                <a:cubicBezTo>
                  <a:pt x="614" y="206"/>
                  <a:pt x="615" y="206"/>
                  <a:pt x="615" y="206"/>
                </a:cubicBezTo>
                <a:cubicBezTo>
                  <a:pt x="615" y="205"/>
                  <a:pt x="615" y="205"/>
                  <a:pt x="615" y="205"/>
                </a:cubicBezTo>
                <a:cubicBezTo>
                  <a:pt x="614" y="205"/>
                  <a:pt x="614" y="205"/>
                  <a:pt x="614" y="204"/>
                </a:cubicBezTo>
                <a:cubicBezTo>
                  <a:pt x="614" y="204"/>
                  <a:pt x="614" y="204"/>
                  <a:pt x="614" y="204"/>
                </a:cubicBezTo>
                <a:cubicBezTo>
                  <a:pt x="613" y="203"/>
                  <a:pt x="614" y="203"/>
                  <a:pt x="615" y="203"/>
                </a:cubicBezTo>
                <a:cubicBezTo>
                  <a:pt x="615" y="203"/>
                  <a:pt x="615" y="202"/>
                  <a:pt x="614" y="202"/>
                </a:cubicBezTo>
                <a:cubicBezTo>
                  <a:pt x="614" y="202"/>
                  <a:pt x="614" y="202"/>
                  <a:pt x="614" y="202"/>
                </a:cubicBezTo>
                <a:cubicBezTo>
                  <a:pt x="613" y="202"/>
                  <a:pt x="613" y="202"/>
                  <a:pt x="613" y="201"/>
                </a:cubicBezTo>
                <a:cubicBezTo>
                  <a:pt x="612" y="201"/>
                  <a:pt x="612" y="202"/>
                  <a:pt x="611" y="201"/>
                </a:cubicBezTo>
                <a:cubicBezTo>
                  <a:pt x="612" y="201"/>
                  <a:pt x="612" y="201"/>
                  <a:pt x="612" y="200"/>
                </a:cubicBezTo>
                <a:cubicBezTo>
                  <a:pt x="612" y="201"/>
                  <a:pt x="614" y="201"/>
                  <a:pt x="614" y="200"/>
                </a:cubicBezTo>
                <a:cubicBezTo>
                  <a:pt x="614" y="200"/>
                  <a:pt x="614" y="200"/>
                  <a:pt x="614" y="200"/>
                </a:cubicBezTo>
                <a:cubicBezTo>
                  <a:pt x="615" y="199"/>
                  <a:pt x="615" y="199"/>
                  <a:pt x="615" y="198"/>
                </a:cubicBezTo>
                <a:cubicBezTo>
                  <a:pt x="614" y="197"/>
                  <a:pt x="615" y="197"/>
                  <a:pt x="616" y="197"/>
                </a:cubicBezTo>
                <a:cubicBezTo>
                  <a:pt x="616" y="196"/>
                  <a:pt x="617" y="195"/>
                  <a:pt x="616" y="195"/>
                </a:cubicBezTo>
                <a:cubicBezTo>
                  <a:pt x="616" y="195"/>
                  <a:pt x="616" y="194"/>
                  <a:pt x="616" y="194"/>
                </a:cubicBezTo>
                <a:cubicBezTo>
                  <a:pt x="617" y="194"/>
                  <a:pt x="617" y="194"/>
                  <a:pt x="617" y="193"/>
                </a:cubicBezTo>
                <a:cubicBezTo>
                  <a:pt x="618" y="192"/>
                  <a:pt x="618" y="192"/>
                  <a:pt x="618" y="191"/>
                </a:cubicBezTo>
                <a:cubicBezTo>
                  <a:pt x="618" y="191"/>
                  <a:pt x="618" y="192"/>
                  <a:pt x="618" y="191"/>
                </a:cubicBezTo>
                <a:cubicBezTo>
                  <a:pt x="618" y="191"/>
                  <a:pt x="617" y="190"/>
                  <a:pt x="617" y="190"/>
                </a:cubicBezTo>
                <a:cubicBezTo>
                  <a:pt x="617" y="190"/>
                  <a:pt x="617" y="189"/>
                  <a:pt x="617" y="188"/>
                </a:cubicBezTo>
                <a:cubicBezTo>
                  <a:pt x="618" y="188"/>
                  <a:pt x="619" y="188"/>
                  <a:pt x="619" y="188"/>
                </a:cubicBezTo>
                <a:cubicBezTo>
                  <a:pt x="619" y="188"/>
                  <a:pt x="620" y="187"/>
                  <a:pt x="620" y="186"/>
                </a:cubicBezTo>
                <a:cubicBezTo>
                  <a:pt x="619" y="186"/>
                  <a:pt x="619" y="186"/>
                  <a:pt x="619" y="186"/>
                </a:cubicBezTo>
                <a:cubicBezTo>
                  <a:pt x="619" y="185"/>
                  <a:pt x="619" y="183"/>
                  <a:pt x="620" y="184"/>
                </a:cubicBezTo>
                <a:cubicBezTo>
                  <a:pt x="621" y="184"/>
                  <a:pt x="620" y="184"/>
                  <a:pt x="621" y="185"/>
                </a:cubicBezTo>
                <a:cubicBezTo>
                  <a:pt x="621" y="185"/>
                  <a:pt x="622" y="185"/>
                  <a:pt x="622" y="185"/>
                </a:cubicBezTo>
                <a:cubicBezTo>
                  <a:pt x="622" y="184"/>
                  <a:pt x="621" y="183"/>
                  <a:pt x="622" y="183"/>
                </a:cubicBezTo>
                <a:cubicBezTo>
                  <a:pt x="623" y="183"/>
                  <a:pt x="622" y="182"/>
                  <a:pt x="622" y="182"/>
                </a:cubicBezTo>
                <a:cubicBezTo>
                  <a:pt x="622" y="181"/>
                  <a:pt x="623" y="181"/>
                  <a:pt x="622" y="181"/>
                </a:cubicBezTo>
                <a:cubicBezTo>
                  <a:pt x="622" y="180"/>
                  <a:pt x="621" y="180"/>
                  <a:pt x="621" y="180"/>
                </a:cubicBezTo>
                <a:cubicBezTo>
                  <a:pt x="622" y="180"/>
                  <a:pt x="623" y="181"/>
                  <a:pt x="625" y="181"/>
                </a:cubicBezTo>
                <a:cubicBezTo>
                  <a:pt x="625" y="180"/>
                  <a:pt x="625" y="178"/>
                  <a:pt x="624" y="177"/>
                </a:cubicBezTo>
                <a:cubicBezTo>
                  <a:pt x="625" y="177"/>
                  <a:pt x="626" y="176"/>
                  <a:pt x="626" y="175"/>
                </a:cubicBezTo>
                <a:cubicBezTo>
                  <a:pt x="625" y="175"/>
                  <a:pt x="622" y="175"/>
                  <a:pt x="622" y="174"/>
                </a:cubicBezTo>
                <a:cubicBezTo>
                  <a:pt x="622" y="174"/>
                  <a:pt x="622" y="174"/>
                  <a:pt x="623" y="174"/>
                </a:cubicBezTo>
                <a:cubicBezTo>
                  <a:pt x="623" y="174"/>
                  <a:pt x="623" y="174"/>
                  <a:pt x="623" y="174"/>
                </a:cubicBezTo>
                <a:cubicBezTo>
                  <a:pt x="624" y="174"/>
                  <a:pt x="626" y="174"/>
                  <a:pt x="627" y="174"/>
                </a:cubicBezTo>
                <a:cubicBezTo>
                  <a:pt x="627" y="173"/>
                  <a:pt x="627" y="172"/>
                  <a:pt x="627" y="171"/>
                </a:cubicBezTo>
                <a:cubicBezTo>
                  <a:pt x="627" y="171"/>
                  <a:pt x="627" y="171"/>
                  <a:pt x="627" y="171"/>
                </a:cubicBezTo>
                <a:cubicBezTo>
                  <a:pt x="626" y="171"/>
                  <a:pt x="626" y="170"/>
                  <a:pt x="626" y="170"/>
                </a:cubicBezTo>
                <a:cubicBezTo>
                  <a:pt x="625" y="169"/>
                  <a:pt x="625" y="168"/>
                  <a:pt x="624" y="167"/>
                </a:cubicBezTo>
                <a:cubicBezTo>
                  <a:pt x="625" y="167"/>
                  <a:pt x="625" y="167"/>
                  <a:pt x="626" y="167"/>
                </a:cubicBezTo>
                <a:cubicBezTo>
                  <a:pt x="626" y="167"/>
                  <a:pt x="626" y="168"/>
                  <a:pt x="627" y="167"/>
                </a:cubicBezTo>
                <a:cubicBezTo>
                  <a:pt x="627" y="167"/>
                  <a:pt x="628" y="167"/>
                  <a:pt x="628" y="166"/>
                </a:cubicBezTo>
                <a:cubicBezTo>
                  <a:pt x="628" y="166"/>
                  <a:pt x="629" y="166"/>
                  <a:pt x="629" y="166"/>
                </a:cubicBezTo>
                <a:cubicBezTo>
                  <a:pt x="629" y="165"/>
                  <a:pt x="629" y="164"/>
                  <a:pt x="628" y="164"/>
                </a:cubicBezTo>
                <a:cubicBezTo>
                  <a:pt x="630" y="164"/>
                  <a:pt x="631" y="164"/>
                  <a:pt x="632" y="164"/>
                </a:cubicBezTo>
                <a:cubicBezTo>
                  <a:pt x="632" y="164"/>
                  <a:pt x="633" y="164"/>
                  <a:pt x="632" y="163"/>
                </a:cubicBezTo>
                <a:cubicBezTo>
                  <a:pt x="634" y="164"/>
                  <a:pt x="635" y="164"/>
                  <a:pt x="637" y="164"/>
                </a:cubicBezTo>
                <a:cubicBezTo>
                  <a:pt x="636" y="163"/>
                  <a:pt x="637" y="164"/>
                  <a:pt x="637" y="163"/>
                </a:cubicBezTo>
                <a:cubicBezTo>
                  <a:pt x="638" y="162"/>
                  <a:pt x="639" y="162"/>
                  <a:pt x="640" y="162"/>
                </a:cubicBezTo>
                <a:cubicBezTo>
                  <a:pt x="640" y="162"/>
                  <a:pt x="640" y="163"/>
                  <a:pt x="641" y="164"/>
                </a:cubicBezTo>
                <a:cubicBezTo>
                  <a:pt x="641" y="164"/>
                  <a:pt x="642" y="165"/>
                  <a:pt x="642" y="165"/>
                </a:cubicBezTo>
                <a:cubicBezTo>
                  <a:pt x="642" y="165"/>
                  <a:pt x="643" y="163"/>
                  <a:pt x="643" y="163"/>
                </a:cubicBezTo>
                <a:cubicBezTo>
                  <a:pt x="644" y="163"/>
                  <a:pt x="644" y="163"/>
                  <a:pt x="644" y="163"/>
                </a:cubicBezTo>
                <a:cubicBezTo>
                  <a:pt x="644" y="162"/>
                  <a:pt x="644" y="162"/>
                  <a:pt x="645" y="161"/>
                </a:cubicBezTo>
                <a:cubicBezTo>
                  <a:pt x="646" y="161"/>
                  <a:pt x="647" y="161"/>
                  <a:pt x="647" y="162"/>
                </a:cubicBezTo>
                <a:cubicBezTo>
                  <a:pt x="647" y="163"/>
                  <a:pt x="648" y="163"/>
                  <a:pt x="648" y="162"/>
                </a:cubicBezTo>
                <a:cubicBezTo>
                  <a:pt x="648" y="161"/>
                  <a:pt x="648" y="161"/>
                  <a:pt x="649" y="161"/>
                </a:cubicBezTo>
                <a:cubicBezTo>
                  <a:pt x="649" y="160"/>
                  <a:pt x="649" y="160"/>
                  <a:pt x="649" y="160"/>
                </a:cubicBezTo>
                <a:cubicBezTo>
                  <a:pt x="649" y="160"/>
                  <a:pt x="648" y="160"/>
                  <a:pt x="649" y="160"/>
                </a:cubicBezTo>
                <a:cubicBezTo>
                  <a:pt x="650" y="160"/>
                  <a:pt x="649" y="159"/>
                  <a:pt x="650" y="159"/>
                </a:cubicBezTo>
                <a:cubicBezTo>
                  <a:pt x="651" y="159"/>
                  <a:pt x="651" y="157"/>
                  <a:pt x="652" y="156"/>
                </a:cubicBezTo>
                <a:cubicBezTo>
                  <a:pt x="652" y="156"/>
                  <a:pt x="652" y="156"/>
                  <a:pt x="653" y="156"/>
                </a:cubicBezTo>
                <a:cubicBezTo>
                  <a:pt x="654" y="156"/>
                  <a:pt x="654" y="155"/>
                  <a:pt x="655" y="155"/>
                </a:cubicBezTo>
                <a:cubicBezTo>
                  <a:pt x="656" y="154"/>
                  <a:pt x="655" y="154"/>
                  <a:pt x="656" y="154"/>
                </a:cubicBezTo>
                <a:cubicBezTo>
                  <a:pt x="657" y="154"/>
                  <a:pt x="658" y="153"/>
                  <a:pt x="659" y="152"/>
                </a:cubicBezTo>
                <a:cubicBezTo>
                  <a:pt x="659" y="152"/>
                  <a:pt x="660" y="151"/>
                  <a:pt x="660" y="150"/>
                </a:cubicBezTo>
                <a:cubicBezTo>
                  <a:pt x="660" y="150"/>
                  <a:pt x="661" y="150"/>
                  <a:pt x="662" y="149"/>
                </a:cubicBezTo>
                <a:cubicBezTo>
                  <a:pt x="662" y="149"/>
                  <a:pt x="663" y="148"/>
                  <a:pt x="663" y="149"/>
                </a:cubicBezTo>
                <a:cubicBezTo>
                  <a:pt x="664" y="149"/>
                  <a:pt x="665" y="148"/>
                  <a:pt x="665" y="147"/>
                </a:cubicBezTo>
                <a:cubicBezTo>
                  <a:pt x="665" y="147"/>
                  <a:pt x="665" y="146"/>
                  <a:pt x="665" y="145"/>
                </a:cubicBezTo>
                <a:cubicBezTo>
                  <a:pt x="665" y="144"/>
                  <a:pt x="664" y="145"/>
                  <a:pt x="664" y="145"/>
                </a:cubicBezTo>
                <a:cubicBezTo>
                  <a:pt x="663" y="144"/>
                  <a:pt x="662" y="143"/>
                  <a:pt x="662" y="141"/>
                </a:cubicBezTo>
                <a:cubicBezTo>
                  <a:pt x="662" y="140"/>
                  <a:pt x="663" y="140"/>
                  <a:pt x="663" y="141"/>
                </a:cubicBezTo>
                <a:cubicBezTo>
                  <a:pt x="663" y="142"/>
                  <a:pt x="664" y="143"/>
                  <a:pt x="665" y="144"/>
                </a:cubicBezTo>
                <a:cubicBezTo>
                  <a:pt x="666" y="144"/>
                  <a:pt x="670" y="146"/>
                  <a:pt x="670" y="144"/>
                </a:cubicBezTo>
                <a:cubicBezTo>
                  <a:pt x="671" y="145"/>
                  <a:pt x="671" y="145"/>
                  <a:pt x="671" y="145"/>
                </a:cubicBezTo>
                <a:cubicBezTo>
                  <a:pt x="671" y="144"/>
                  <a:pt x="672" y="144"/>
                  <a:pt x="673" y="144"/>
                </a:cubicBezTo>
                <a:cubicBezTo>
                  <a:pt x="674" y="144"/>
                  <a:pt x="674" y="143"/>
                  <a:pt x="673" y="142"/>
                </a:cubicBezTo>
                <a:cubicBezTo>
                  <a:pt x="675" y="142"/>
                  <a:pt x="675" y="142"/>
                  <a:pt x="675" y="143"/>
                </a:cubicBezTo>
                <a:cubicBezTo>
                  <a:pt x="676" y="143"/>
                  <a:pt x="676" y="143"/>
                  <a:pt x="677" y="143"/>
                </a:cubicBezTo>
                <a:cubicBezTo>
                  <a:pt x="678" y="143"/>
                  <a:pt x="678" y="143"/>
                  <a:pt x="678" y="142"/>
                </a:cubicBezTo>
                <a:cubicBezTo>
                  <a:pt x="678" y="141"/>
                  <a:pt x="678" y="142"/>
                  <a:pt x="678" y="142"/>
                </a:cubicBezTo>
                <a:cubicBezTo>
                  <a:pt x="678" y="141"/>
                  <a:pt x="678" y="141"/>
                  <a:pt x="678" y="141"/>
                </a:cubicBezTo>
                <a:cubicBezTo>
                  <a:pt x="679" y="141"/>
                  <a:pt x="679" y="141"/>
                  <a:pt x="679" y="141"/>
                </a:cubicBezTo>
                <a:cubicBezTo>
                  <a:pt x="679" y="142"/>
                  <a:pt x="681" y="142"/>
                  <a:pt x="681" y="142"/>
                </a:cubicBezTo>
                <a:cubicBezTo>
                  <a:pt x="681" y="141"/>
                  <a:pt x="683" y="141"/>
                  <a:pt x="683" y="142"/>
                </a:cubicBezTo>
                <a:cubicBezTo>
                  <a:pt x="683" y="142"/>
                  <a:pt x="683" y="142"/>
                  <a:pt x="684" y="142"/>
                </a:cubicBezTo>
                <a:cubicBezTo>
                  <a:pt x="684" y="141"/>
                  <a:pt x="683" y="141"/>
                  <a:pt x="685" y="141"/>
                </a:cubicBezTo>
                <a:cubicBezTo>
                  <a:pt x="685" y="141"/>
                  <a:pt x="686" y="141"/>
                  <a:pt x="686" y="141"/>
                </a:cubicBezTo>
                <a:cubicBezTo>
                  <a:pt x="687" y="141"/>
                  <a:pt x="686" y="140"/>
                  <a:pt x="687" y="140"/>
                </a:cubicBezTo>
                <a:cubicBezTo>
                  <a:pt x="688" y="140"/>
                  <a:pt x="689" y="140"/>
                  <a:pt x="690" y="139"/>
                </a:cubicBezTo>
                <a:cubicBezTo>
                  <a:pt x="691" y="139"/>
                  <a:pt x="692" y="138"/>
                  <a:pt x="693" y="138"/>
                </a:cubicBezTo>
                <a:cubicBezTo>
                  <a:pt x="693" y="137"/>
                  <a:pt x="693" y="137"/>
                  <a:pt x="693" y="136"/>
                </a:cubicBezTo>
                <a:cubicBezTo>
                  <a:pt x="694" y="137"/>
                  <a:pt x="694" y="137"/>
                  <a:pt x="696" y="137"/>
                </a:cubicBezTo>
                <a:cubicBezTo>
                  <a:pt x="696" y="137"/>
                  <a:pt x="696" y="137"/>
                  <a:pt x="696" y="136"/>
                </a:cubicBezTo>
                <a:cubicBezTo>
                  <a:pt x="697" y="136"/>
                  <a:pt x="697" y="137"/>
                  <a:pt x="697" y="135"/>
                </a:cubicBezTo>
                <a:cubicBezTo>
                  <a:pt x="697" y="135"/>
                  <a:pt x="697" y="134"/>
                  <a:pt x="699" y="134"/>
                </a:cubicBezTo>
                <a:cubicBezTo>
                  <a:pt x="699" y="134"/>
                  <a:pt x="700" y="135"/>
                  <a:pt x="700" y="135"/>
                </a:cubicBezTo>
                <a:cubicBezTo>
                  <a:pt x="701" y="134"/>
                  <a:pt x="701" y="134"/>
                  <a:pt x="702" y="134"/>
                </a:cubicBezTo>
                <a:cubicBezTo>
                  <a:pt x="702" y="134"/>
                  <a:pt x="702" y="133"/>
                  <a:pt x="703" y="133"/>
                </a:cubicBezTo>
                <a:cubicBezTo>
                  <a:pt x="704" y="133"/>
                  <a:pt x="705" y="133"/>
                  <a:pt x="706" y="133"/>
                </a:cubicBezTo>
                <a:close/>
              </a:path>
            </a:pathLst>
          </a:custGeom>
          <a:solidFill>
            <a:schemeClr val="tx2">
              <a:lumMod val="75000"/>
            </a:schemeClr>
          </a:solidFill>
          <a:ln>
            <a:noFill/>
          </a:ln>
        </p:spPr>
        <p:txBody>
          <a:bodyPr vert="horz" wrap="square" lIns="68562" tIns="34289" rIns="68562" bIns="34289"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Tree>
    <p:extLst>
      <p:ext uri="{BB962C8B-B14F-4D97-AF65-F5344CB8AC3E}">
        <p14:creationId xmlns:p14="http://schemas.microsoft.com/office/powerpoint/2010/main" val="2384794838"/>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CR1">
    <p:spTree>
      <p:nvGrpSpPr>
        <p:cNvPr id="1" name=""/>
        <p:cNvGrpSpPr/>
        <p:nvPr/>
      </p:nvGrpSpPr>
      <p:grpSpPr>
        <a:xfrm>
          <a:off x="0" y="0"/>
          <a:ext cx="0" cy="0"/>
          <a:chOff x="0" y="0"/>
          <a:chExt cx="0" cy="0"/>
        </a:xfrm>
      </p:grpSpPr>
      <p:sp>
        <p:nvSpPr>
          <p:cNvPr id="33" name="Picture Placeholder 32"/>
          <p:cNvSpPr>
            <a:spLocks noGrp="1"/>
          </p:cNvSpPr>
          <p:nvPr userDrawn="1">
            <p:ph type="pic" sz="quarter" idx="10"/>
          </p:nvPr>
        </p:nvSpPr>
        <p:spPr>
          <a:xfrm>
            <a:off x="4777697" y="1"/>
            <a:ext cx="3771900" cy="4929188"/>
          </a:xfrm>
          <a:custGeom>
            <a:avLst/>
            <a:gdLst>
              <a:gd name="connsiteX0" fmla="*/ 1449076 w 5029152"/>
              <a:gd name="connsiteY0" fmla="*/ 1 h 6572250"/>
              <a:gd name="connsiteX1" fmla="*/ 2131000 w 5029152"/>
              <a:gd name="connsiteY1" fmla="*/ 1 h 6572250"/>
              <a:gd name="connsiteX2" fmla="*/ 2131000 w 5029152"/>
              <a:gd name="connsiteY2" fmla="*/ 6309291 h 6572250"/>
              <a:gd name="connsiteX3" fmla="*/ 1449076 w 5029152"/>
              <a:gd name="connsiteY3" fmla="*/ 6309291 h 6572250"/>
              <a:gd name="connsiteX4" fmla="*/ 724538 w 5029152"/>
              <a:gd name="connsiteY4" fmla="*/ 1 h 6572250"/>
              <a:gd name="connsiteX5" fmla="*/ 1406462 w 5029152"/>
              <a:gd name="connsiteY5" fmla="*/ 1 h 6572250"/>
              <a:gd name="connsiteX6" fmla="*/ 1406462 w 5029152"/>
              <a:gd name="connsiteY6" fmla="*/ 5577779 h 6572250"/>
              <a:gd name="connsiteX7" fmla="*/ 724538 w 5029152"/>
              <a:gd name="connsiteY7" fmla="*/ 5577779 h 6572250"/>
              <a:gd name="connsiteX8" fmla="*/ 0 w 5029152"/>
              <a:gd name="connsiteY8" fmla="*/ 1 h 6572250"/>
              <a:gd name="connsiteX9" fmla="*/ 681924 w 5029152"/>
              <a:gd name="connsiteY9" fmla="*/ 1 h 6572250"/>
              <a:gd name="connsiteX10" fmla="*/ 681924 w 5029152"/>
              <a:gd name="connsiteY10" fmla="*/ 6572250 h 6572250"/>
              <a:gd name="connsiteX11" fmla="*/ 0 w 5029152"/>
              <a:gd name="connsiteY11" fmla="*/ 6572250 h 6572250"/>
              <a:gd name="connsiteX12" fmla="*/ 4347229 w 5029152"/>
              <a:gd name="connsiteY12" fmla="*/ 0 h 6572250"/>
              <a:gd name="connsiteX13" fmla="*/ 5029152 w 5029152"/>
              <a:gd name="connsiteY13" fmla="*/ 0 h 6572250"/>
              <a:gd name="connsiteX14" fmla="*/ 5029152 w 5029152"/>
              <a:gd name="connsiteY14" fmla="*/ 6126413 h 6572250"/>
              <a:gd name="connsiteX15" fmla="*/ 4347229 w 5029152"/>
              <a:gd name="connsiteY15" fmla="*/ 6126413 h 6572250"/>
              <a:gd name="connsiteX16" fmla="*/ 3622691 w 5029152"/>
              <a:gd name="connsiteY16" fmla="*/ 0 h 6572250"/>
              <a:gd name="connsiteX17" fmla="*/ 4304615 w 5029152"/>
              <a:gd name="connsiteY17" fmla="*/ 0 h 6572250"/>
              <a:gd name="connsiteX18" fmla="*/ 4304615 w 5029152"/>
              <a:gd name="connsiteY18" fmla="*/ 5394901 h 6572250"/>
              <a:gd name="connsiteX19" fmla="*/ 3622691 w 5029152"/>
              <a:gd name="connsiteY19" fmla="*/ 5394901 h 6572250"/>
              <a:gd name="connsiteX20" fmla="*/ 2898153 w 5029152"/>
              <a:gd name="connsiteY20" fmla="*/ 0 h 6572250"/>
              <a:gd name="connsiteX21" fmla="*/ 3580077 w 5029152"/>
              <a:gd name="connsiteY21" fmla="*/ 0 h 6572250"/>
              <a:gd name="connsiteX22" fmla="*/ 3580077 w 5029152"/>
              <a:gd name="connsiteY22" fmla="*/ 5943535 h 6572250"/>
              <a:gd name="connsiteX23" fmla="*/ 2898153 w 5029152"/>
              <a:gd name="connsiteY23" fmla="*/ 5943535 h 6572250"/>
              <a:gd name="connsiteX24" fmla="*/ 2173615 w 5029152"/>
              <a:gd name="connsiteY24" fmla="*/ 0 h 6572250"/>
              <a:gd name="connsiteX25" fmla="*/ 2855539 w 5029152"/>
              <a:gd name="connsiteY25" fmla="*/ 0 h 6572250"/>
              <a:gd name="connsiteX26" fmla="*/ 2855539 w 5029152"/>
              <a:gd name="connsiteY26" fmla="*/ 5029145 h 6572250"/>
              <a:gd name="connsiteX27" fmla="*/ 2173615 w 5029152"/>
              <a:gd name="connsiteY27" fmla="*/ 5029145 h 65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9152" h="6572250">
                <a:moveTo>
                  <a:pt x="1449076" y="1"/>
                </a:moveTo>
                <a:lnTo>
                  <a:pt x="2131000" y="1"/>
                </a:lnTo>
                <a:lnTo>
                  <a:pt x="2131000" y="6309291"/>
                </a:lnTo>
                <a:lnTo>
                  <a:pt x="1449076" y="6309291"/>
                </a:lnTo>
                <a:close/>
                <a:moveTo>
                  <a:pt x="724538" y="1"/>
                </a:moveTo>
                <a:lnTo>
                  <a:pt x="1406462" y="1"/>
                </a:lnTo>
                <a:lnTo>
                  <a:pt x="1406462" y="5577779"/>
                </a:lnTo>
                <a:lnTo>
                  <a:pt x="724538" y="5577779"/>
                </a:lnTo>
                <a:close/>
                <a:moveTo>
                  <a:pt x="0" y="1"/>
                </a:moveTo>
                <a:lnTo>
                  <a:pt x="681924" y="1"/>
                </a:lnTo>
                <a:lnTo>
                  <a:pt x="681924" y="6572250"/>
                </a:lnTo>
                <a:lnTo>
                  <a:pt x="0" y="6572250"/>
                </a:lnTo>
                <a:close/>
                <a:moveTo>
                  <a:pt x="4347229" y="0"/>
                </a:moveTo>
                <a:lnTo>
                  <a:pt x="5029152" y="0"/>
                </a:lnTo>
                <a:lnTo>
                  <a:pt x="5029152" y="6126413"/>
                </a:lnTo>
                <a:lnTo>
                  <a:pt x="4347229" y="6126413"/>
                </a:lnTo>
                <a:close/>
                <a:moveTo>
                  <a:pt x="3622691" y="0"/>
                </a:moveTo>
                <a:lnTo>
                  <a:pt x="4304615" y="0"/>
                </a:lnTo>
                <a:lnTo>
                  <a:pt x="4304615" y="5394901"/>
                </a:lnTo>
                <a:lnTo>
                  <a:pt x="3622691" y="5394901"/>
                </a:lnTo>
                <a:close/>
                <a:moveTo>
                  <a:pt x="2898153" y="0"/>
                </a:moveTo>
                <a:lnTo>
                  <a:pt x="3580077" y="0"/>
                </a:lnTo>
                <a:lnTo>
                  <a:pt x="3580077" y="5943535"/>
                </a:lnTo>
                <a:lnTo>
                  <a:pt x="2898153" y="5943535"/>
                </a:lnTo>
                <a:close/>
                <a:moveTo>
                  <a:pt x="2173615" y="0"/>
                </a:moveTo>
                <a:lnTo>
                  <a:pt x="2855539" y="0"/>
                </a:lnTo>
                <a:lnTo>
                  <a:pt x="2855539" y="5029145"/>
                </a:lnTo>
                <a:lnTo>
                  <a:pt x="2173615" y="502914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883435876"/>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CR2">
    <p:spTree>
      <p:nvGrpSpPr>
        <p:cNvPr id="1" name=""/>
        <p:cNvGrpSpPr/>
        <p:nvPr/>
      </p:nvGrpSpPr>
      <p:grpSpPr>
        <a:xfrm>
          <a:off x="0" y="0"/>
          <a:ext cx="0" cy="0"/>
          <a:chOff x="0" y="0"/>
          <a:chExt cx="0" cy="0"/>
        </a:xfrm>
      </p:grpSpPr>
      <p:grpSp>
        <p:nvGrpSpPr>
          <p:cNvPr id="11" name="Group 10"/>
          <p:cNvGrpSpPr/>
          <p:nvPr userDrawn="1"/>
        </p:nvGrpSpPr>
        <p:grpSpPr>
          <a:xfrm>
            <a:off x="5331862" y="-30028"/>
            <a:ext cx="1783064" cy="5340714"/>
            <a:chOff x="6743391" y="-40037"/>
            <a:chExt cx="2377418" cy="7120952"/>
          </a:xfrm>
          <a:solidFill>
            <a:schemeClr val="tx2">
              <a:lumMod val="75000"/>
              <a:lumOff val="25000"/>
            </a:schemeClr>
          </a:solidFill>
        </p:grpSpPr>
        <p:sp>
          <p:nvSpPr>
            <p:cNvPr id="12" name="Freeform 11"/>
            <p:cNvSpPr/>
            <p:nvPr/>
          </p:nvSpPr>
          <p:spPr>
            <a:xfrm rot="1200000">
              <a:off x="8197210" y="5091063"/>
              <a:ext cx="365760" cy="1765207"/>
            </a:xfrm>
            <a:custGeom>
              <a:avLst/>
              <a:gdLst>
                <a:gd name="connsiteX0" fmla="*/ 365760 w 365760"/>
                <a:gd name="connsiteY0" fmla="*/ 0 h 1765207"/>
                <a:gd name="connsiteX1" fmla="*/ 365760 w 365760"/>
                <a:gd name="connsiteY1" fmla="*/ 1632082 h 1765207"/>
                <a:gd name="connsiteX2" fmla="*/ 0 w 365760"/>
                <a:gd name="connsiteY2" fmla="*/ 1765207 h 1765207"/>
                <a:gd name="connsiteX3" fmla="*/ 0 w 365760"/>
                <a:gd name="connsiteY3" fmla="*/ 133126 h 1765207"/>
              </a:gdLst>
              <a:ahLst/>
              <a:cxnLst>
                <a:cxn ang="0">
                  <a:pos x="connsiteX0" y="connsiteY0"/>
                </a:cxn>
                <a:cxn ang="0">
                  <a:pos x="connsiteX1" y="connsiteY1"/>
                </a:cxn>
                <a:cxn ang="0">
                  <a:pos x="connsiteX2" y="connsiteY2"/>
                </a:cxn>
                <a:cxn ang="0">
                  <a:pos x="connsiteX3" y="connsiteY3"/>
                </a:cxn>
              </a:cxnLst>
              <a:rect l="l" t="t" r="r" b="b"/>
              <a:pathLst>
                <a:path w="365760" h="1765207">
                  <a:moveTo>
                    <a:pt x="365760" y="0"/>
                  </a:moveTo>
                  <a:lnTo>
                    <a:pt x="365760" y="1632082"/>
                  </a:lnTo>
                  <a:lnTo>
                    <a:pt x="0" y="1765207"/>
                  </a:lnTo>
                  <a:lnTo>
                    <a:pt x="0" y="133126"/>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13" name="Freeform 12"/>
            <p:cNvSpPr/>
            <p:nvPr/>
          </p:nvSpPr>
          <p:spPr>
            <a:xfrm rot="1200000">
              <a:off x="6743391" y="972631"/>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14" name="Freeform 13"/>
            <p:cNvSpPr/>
            <p:nvPr/>
          </p:nvSpPr>
          <p:spPr>
            <a:xfrm rot="1200000">
              <a:off x="7094507" y="2161338"/>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sp>
          <p:nvSpPr>
            <p:cNvPr id="15" name="Freeform 14"/>
            <p:cNvSpPr/>
            <p:nvPr/>
          </p:nvSpPr>
          <p:spPr>
            <a:xfrm rot="1200000">
              <a:off x="8755049" y="-40037"/>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1" fontAlgn="auto">
                <a:spcBef>
                  <a:spcPts val="0"/>
                </a:spcBef>
                <a:spcAft>
                  <a:spcPts val="0"/>
                </a:spcAft>
              </a:pPr>
              <a:endParaRPr lang="en-US" sz="2000" dirty="0">
                <a:solidFill>
                  <a:prstClr val="white"/>
                </a:solidFill>
              </a:endParaRPr>
            </a:p>
          </p:txBody>
        </p:sp>
      </p:grpSp>
      <p:sp>
        <p:nvSpPr>
          <p:cNvPr id="23" name="Picture Placeholder 19"/>
          <p:cNvSpPr>
            <a:spLocks noGrp="1"/>
          </p:cNvSpPr>
          <p:nvPr>
            <p:ph type="pic" sz="quarter" idx="10"/>
          </p:nvPr>
        </p:nvSpPr>
        <p:spPr>
          <a:xfrm>
            <a:off x="4800205" y="128156"/>
            <a:ext cx="3475076" cy="4824859"/>
          </a:xfrm>
          <a:custGeom>
            <a:avLst/>
            <a:gdLst>
              <a:gd name="connsiteX0" fmla="*/ 3375866 w 4633435"/>
              <a:gd name="connsiteY0" fmla="*/ 1948335 h 6433145"/>
              <a:gd name="connsiteX1" fmla="*/ 1743529 w 4633435"/>
              <a:gd name="connsiteY1" fmla="*/ 6433145 h 6433145"/>
              <a:gd name="connsiteX2" fmla="*/ 1354296 w 4633435"/>
              <a:gd name="connsiteY2" fmla="*/ 6433145 h 6433145"/>
              <a:gd name="connsiteX3" fmla="*/ 2986632 w 4633435"/>
              <a:gd name="connsiteY3" fmla="*/ 1948336 h 6433145"/>
              <a:gd name="connsiteX4" fmla="*/ 1927309 w 4633435"/>
              <a:gd name="connsiteY4" fmla="*/ 1085245 h 6433145"/>
              <a:gd name="connsiteX5" fmla="*/ 389233 w 4633435"/>
              <a:gd name="connsiteY5" fmla="*/ 5311073 h 6433145"/>
              <a:gd name="connsiteX6" fmla="*/ 0 w 4633435"/>
              <a:gd name="connsiteY6" fmla="*/ 5311073 h 6433145"/>
              <a:gd name="connsiteX7" fmla="*/ 1538076 w 4633435"/>
              <a:gd name="connsiteY7" fmla="*/ 1085245 h 6433145"/>
              <a:gd name="connsiteX8" fmla="*/ 4144614 w 4633435"/>
              <a:gd name="connsiteY8" fmla="*/ 1054143 h 6433145"/>
              <a:gd name="connsiteX9" fmla="*/ 2240188 w 4633435"/>
              <a:gd name="connsiteY9" fmla="*/ 6286513 h 6433145"/>
              <a:gd name="connsiteX10" fmla="*/ 1850955 w 4633435"/>
              <a:gd name="connsiteY10" fmla="*/ 6286512 h 6433145"/>
              <a:gd name="connsiteX11" fmla="*/ 3755381 w 4633435"/>
              <a:gd name="connsiteY11" fmla="*/ 1054144 h 6433145"/>
              <a:gd name="connsiteX12" fmla="*/ 4633435 w 4633435"/>
              <a:gd name="connsiteY12" fmla="*/ 929046 h 6433145"/>
              <a:gd name="connsiteX13" fmla="*/ 2931731 w 4633435"/>
              <a:gd name="connsiteY13" fmla="*/ 5604439 h 6433145"/>
              <a:gd name="connsiteX14" fmla="*/ 2542497 w 4633435"/>
              <a:gd name="connsiteY14" fmla="*/ 5604441 h 6433145"/>
              <a:gd name="connsiteX15" fmla="*/ 4244201 w 4633435"/>
              <a:gd name="connsiteY15" fmla="*/ 929046 h 6433145"/>
              <a:gd name="connsiteX16" fmla="*/ 2556829 w 4633435"/>
              <a:gd name="connsiteY16" fmla="*/ 693359 h 6433145"/>
              <a:gd name="connsiteX17" fmla="*/ 2946062 w 4633435"/>
              <a:gd name="connsiteY17" fmla="*/ 693360 h 6433145"/>
              <a:gd name="connsiteX18" fmla="*/ 1105166 w 4633435"/>
              <a:gd name="connsiteY18" fmla="*/ 5751182 h 6433145"/>
              <a:gd name="connsiteX19" fmla="*/ 715932 w 4633435"/>
              <a:gd name="connsiteY19" fmla="*/ 5751182 h 6433145"/>
              <a:gd name="connsiteX20" fmla="*/ 3117220 w 4633435"/>
              <a:gd name="connsiteY20" fmla="*/ 371622 h 6433145"/>
              <a:gd name="connsiteX21" fmla="*/ 3506455 w 4633435"/>
              <a:gd name="connsiteY21" fmla="*/ 371623 h 6433145"/>
              <a:gd name="connsiteX22" fmla="*/ 1733179 w 4633435"/>
              <a:gd name="connsiteY22" fmla="*/ 5243655 h 6433145"/>
              <a:gd name="connsiteX23" fmla="*/ 1343944 w 4633435"/>
              <a:gd name="connsiteY23" fmla="*/ 5243655 h 6433145"/>
              <a:gd name="connsiteX24" fmla="*/ 2755136 w 4633435"/>
              <a:gd name="connsiteY24" fmla="*/ 0 h 6433145"/>
              <a:gd name="connsiteX25" fmla="*/ 525012 w 4633435"/>
              <a:gd name="connsiteY25" fmla="*/ 6127216 h 6433145"/>
              <a:gd name="connsiteX26" fmla="*/ 135778 w 4633435"/>
              <a:gd name="connsiteY26" fmla="*/ 6127217 h 6433145"/>
              <a:gd name="connsiteX27" fmla="*/ 2365902 w 4633435"/>
              <a:gd name="connsiteY27" fmla="*/ 1 h 643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33435" h="6433145">
                <a:moveTo>
                  <a:pt x="3375866" y="1948335"/>
                </a:moveTo>
                <a:lnTo>
                  <a:pt x="1743529" y="6433145"/>
                </a:lnTo>
                <a:lnTo>
                  <a:pt x="1354296" y="6433145"/>
                </a:lnTo>
                <a:lnTo>
                  <a:pt x="2986632" y="1948336"/>
                </a:lnTo>
                <a:close/>
                <a:moveTo>
                  <a:pt x="1927309" y="1085245"/>
                </a:moveTo>
                <a:lnTo>
                  <a:pt x="389233" y="5311073"/>
                </a:lnTo>
                <a:lnTo>
                  <a:pt x="0" y="5311073"/>
                </a:lnTo>
                <a:lnTo>
                  <a:pt x="1538076" y="1085245"/>
                </a:lnTo>
                <a:close/>
                <a:moveTo>
                  <a:pt x="4144614" y="1054143"/>
                </a:moveTo>
                <a:lnTo>
                  <a:pt x="2240188" y="6286513"/>
                </a:lnTo>
                <a:lnTo>
                  <a:pt x="1850955" y="6286512"/>
                </a:lnTo>
                <a:lnTo>
                  <a:pt x="3755381" y="1054144"/>
                </a:lnTo>
                <a:close/>
                <a:moveTo>
                  <a:pt x="4633435" y="929046"/>
                </a:moveTo>
                <a:lnTo>
                  <a:pt x="2931731" y="5604439"/>
                </a:lnTo>
                <a:lnTo>
                  <a:pt x="2542497" y="5604441"/>
                </a:lnTo>
                <a:lnTo>
                  <a:pt x="4244201" y="929046"/>
                </a:lnTo>
                <a:close/>
                <a:moveTo>
                  <a:pt x="2556829" y="693359"/>
                </a:moveTo>
                <a:lnTo>
                  <a:pt x="2946062" y="693360"/>
                </a:lnTo>
                <a:lnTo>
                  <a:pt x="1105166" y="5751182"/>
                </a:lnTo>
                <a:lnTo>
                  <a:pt x="715932" y="5751182"/>
                </a:lnTo>
                <a:close/>
                <a:moveTo>
                  <a:pt x="3117220" y="371622"/>
                </a:moveTo>
                <a:lnTo>
                  <a:pt x="3506455" y="371623"/>
                </a:lnTo>
                <a:lnTo>
                  <a:pt x="1733179" y="5243655"/>
                </a:lnTo>
                <a:lnTo>
                  <a:pt x="1343944" y="5243655"/>
                </a:lnTo>
                <a:close/>
                <a:moveTo>
                  <a:pt x="2755136" y="0"/>
                </a:moveTo>
                <a:lnTo>
                  <a:pt x="525012" y="6127216"/>
                </a:lnTo>
                <a:lnTo>
                  <a:pt x="135778" y="6127217"/>
                </a:lnTo>
                <a:lnTo>
                  <a:pt x="2365902" y="1"/>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523189175"/>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CR3">
    <p:spTree>
      <p:nvGrpSpPr>
        <p:cNvPr id="1" name=""/>
        <p:cNvGrpSpPr/>
        <p:nvPr/>
      </p:nvGrpSpPr>
      <p:grpSpPr>
        <a:xfrm>
          <a:off x="0" y="0"/>
          <a:ext cx="0" cy="0"/>
          <a:chOff x="0" y="0"/>
          <a:chExt cx="0" cy="0"/>
        </a:xfrm>
      </p:grpSpPr>
      <p:sp>
        <p:nvSpPr>
          <p:cNvPr id="4" name="Freeform 6"/>
          <p:cNvSpPr>
            <a:spLocks/>
          </p:cNvSpPr>
          <p:nvPr userDrawn="1"/>
        </p:nvSpPr>
        <p:spPr bwMode="auto">
          <a:xfrm>
            <a:off x="2411950" y="10"/>
            <a:ext cx="3623090" cy="5179730"/>
          </a:xfrm>
          <a:custGeom>
            <a:avLst/>
            <a:gdLst>
              <a:gd name="T0" fmla="*/ 3084 w 3859"/>
              <a:gd name="T1" fmla="*/ 0 h 5517"/>
              <a:gd name="T2" fmla="*/ 3859 w 3859"/>
              <a:gd name="T3" fmla="*/ 0 h 5517"/>
              <a:gd name="T4" fmla="*/ 0 w 3859"/>
              <a:gd name="T5" fmla="*/ 5517 h 5517"/>
              <a:gd name="T6" fmla="*/ 3084 w 3859"/>
              <a:gd name="T7" fmla="*/ 0 h 5517"/>
            </a:gdLst>
            <a:ahLst/>
            <a:cxnLst>
              <a:cxn ang="0">
                <a:pos x="T0" y="T1"/>
              </a:cxn>
              <a:cxn ang="0">
                <a:pos x="T2" y="T3"/>
              </a:cxn>
              <a:cxn ang="0">
                <a:pos x="T4" y="T5"/>
              </a:cxn>
              <a:cxn ang="0">
                <a:pos x="T6" y="T7"/>
              </a:cxn>
            </a:cxnLst>
            <a:rect l="0" t="0" r="r" b="b"/>
            <a:pathLst>
              <a:path w="3859" h="5517">
                <a:moveTo>
                  <a:pt x="3084" y="0"/>
                </a:moveTo>
                <a:lnTo>
                  <a:pt x="3859" y="0"/>
                </a:lnTo>
                <a:lnTo>
                  <a:pt x="0" y="5517"/>
                </a:lnTo>
                <a:lnTo>
                  <a:pt x="3084" y="0"/>
                </a:lnTo>
                <a:close/>
              </a:path>
            </a:pathLst>
          </a:custGeom>
          <a:gradFill>
            <a:gsLst>
              <a:gs pos="0">
                <a:schemeClr val="accent1"/>
              </a:gs>
              <a:gs pos="100000">
                <a:schemeClr val="bg2"/>
              </a:gs>
            </a:gsLst>
            <a:lin ang="5400000" scaled="1"/>
          </a:gradFill>
          <a:ln>
            <a:noFill/>
          </a:ln>
        </p:spPr>
        <p:txBody>
          <a:bodyPr vert="horz" wrap="square" lIns="68562" tIns="34289" rIns="68562" bIns="34289"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 name="Picture Placeholder 6"/>
          <p:cNvSpPr>
            <a:spLocks noGrp="1"/>
          </p:cNvSpPr>
          <p:nvPr>
            <p:ph type="pic" sz="quarter" idx="10"/>
          </p:nvPr>
        </p:nvSpPr>
        <p:spPr>
          <a:xfrm>
            <a:off x="3" y="10"/>
            <a:ext cx="5307418" cy="4945952"/>
          </a:xfrm>
          <a:custGeom>
            <a:avLst/>
            <a:gdLst>
              <a:gd name="connsiteX0" fmla="*/ 0 w 7076557"/>
              <a:gd name="connsiteY0" fmla="*/ 0 h 6594602"/>
              <a:gd name="connsiteX1" fmla="*/ 7076557 w 7076557"/>
              <a:gd name="connsiteY1" fmla="*/ 0 h 6594602"/>
              <a:gd name="connsiteX2" fmla="*/ 3169617 w 7076557"/>
              <a:gd name="connsiteY2" fmla="*/ 6594602 h 6594602"/>
              <a:gd name="connsiteX3" fmla="*/ 0 w 7076557"/>
              <a:gd name="connsiteY3" fmla="*/ 4639255 h 6594602"/>
            </a:gdLst>
            <a:ahLst/>
            <a:cxnLst>
              <a:cxn ang="0">
                <a:pos x="connsiteX0" y="connsiteY0"/>
              </a:cxn>
              <a:cxn ang="0">
                <a:pos x="connsiteX1" y="connsiteY1"/>
              </a:cxn>
              <a:cxn ang="0">
                <a:pos x="connsiteX2" y="connsiteY2"/>
              </a:cxn>
              <a:cxn ang="0">
                <a:pos x="connsiteX3" y="connsiteY3"/>
              </a:cxn>
            </a:cxnLst>
            <a:rect l="l" t="t" r="r" b="b"/>
            <a:pathLst>
              <a:path w="7076557" h="6594602">
                <a:moveTo>
                  <a:pt x="0" y="0"/>
                </a:moveTo>
                <a:lnTo>
                  <a:pt x="7076557" y="0"/>
                </a:lnTo>
                <a:lnTo>
                  <a:pt x="3169617" y="6594602"/>
                </a:lnTo>
                <a:lnTo>
                  <a:pt x="0" y="46392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644099854"/>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CR4">
    <p:spTree>
      <p:nvGrpSpPr>
        <p:cNvPr id="1" name=""/>
        <p:cNvGrpSpPr/>
        <p:nvPr/>
      </p:nvGrpSpPr>
      <p:grpSpPr>
        <a:xfrm>
          <a:off x="0" y="0"/>
          <a:ext cx="0" cy="0"/>
          <a:chOff x="0" y="0"/>
          <a:chExt cx="0" cy="0"/>
        </a:xfrm>
      </p:grpSpPr>
      <p:sp>
        <p:nvSpPr>
          <p:cNvPr id="4" name="Freeform 6"/>
          <p:cNvSpPr>
            <a:spLocks/>
          </p:cNvSpPr>
          <p:nvPr userDrawn="1"/>
        </p:nvSpPr>
        <p:spPr bwMode="auto">
          <a:xfrm>
            <a:off x="2411950" y="10"/>
            <a:ext cx="3623090" cy="5179730"/>
          </a:xfrm>
          <a:custGeom>
            <a:avLst/>
            <a:gdLst>
              <a:gd name="T0" fmla="*/ 3084 w 3859"/>
              <a:gd name="T1" fmla="*/ 0 h 5517"/>
              <a:gd name="T2" fmla="*/ 3859 w 3859"/>
              <a:gd name="T3" fmla="*/ 0 h 5517"/>
              <a:gd name="T4" fmla="*/ 0 w 3859"/>
              <a:gd name="T5" fmla="*/ 5517 h 5517"/>
              <a:gd name="T6" fmla="*/ 3084 w 3859"/>
              <a:gd name="T7" fmla="*/ 0 h 5517"/>
            </a:gdLst>
            <a:ahLst/>
            <a:cxnLst>
              <a:cxn ang="0">
                <a:pos x="T0" y="T1"/>
              </a:cxn>
              <a:cxn ang="0">
                <a:pos x="T2" y="T3"/>
              </a:cxn>
              <a:cxn ang="0">
                <a:pos x="T4" y="T5"/>
              </a:cxn>
              <a:cxn ang="0">
                <a:pos x="T6" y="T7"/>
              </a:cxn>
            </a:cxnLst>
            <a:rect l="0" t="0" r="r" b="b"/>
            <a:pathLst>
              <a:path w="3859" h="5517">
                <a:moveTo>
                  <a:pt x="3084" y="0"/>
                </a:moveTo>
                <a:lnTo>
                  <a:pt x="3859" y="0"/>
                </a:lnTo>
                <a:lnTo>
                  <a:pt x="0" y="5517"/>
                </a:lnTo>
                <a:lnTo>
                  <a:pt x="3084" y="0"/>
                </a:lnTo>
                <a:close/>
              </a:path>
            </a:pathLst>
          </a:custGeom>
          <a:gradFill>
            <a:gsLst>
              <a:gs pos="0">
                <a:schemeClr val="accent3"/>
              </a:gs>
              <a:gs pos="100000">
                <a:schemeClr val="bg2"/>
              </a:gs>
            </a:gsLst>
            <a:lin ang="5400000" scaled="1"/>
          </a:gradFill>
          <a:ln>
            <a:noFill/>
          </a:ln>
        </p:spPr>
        <p:txBody>
          <a:bodyPr vert="horz" wrap="square" lIns="68562" tIns="34289" rIns="68562" bIns="34289"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 name="Picture Placeholder 6"/>
          <p:cNvSpPr>
            <a:spLocks noGrp="1"/>
          </p:cNvSpPr>
          <p:nvPr>
            <p:ph type="pic" sz="quarter" idx="10"/>
          </p:nvPr>
        </p:nvSpPr>
        <p:spPr>
          <a:xfrm>
            <a:off x="3" y="10"/>
            <a:ext cx="5307418" cy="4945952"/>
          </a:xfrm>
          <a:custGeom>
            <a:avLst/>
            <a:gdLst>
              <a:gd name="connsiteX0" fmla="*/ 0 w 7076557"/>
              <a:gd name="connsiteY0" fmla="*/ 0 h 6594602"/>
              <a:gd name="connsiteX1" fmla="*/ 7076557 w 7076557"/>
              <a:gd name="connsiteY1" fmla="*/ 0 h 6594602"/>
              <a:gd name="connsiteX2" fmla="*/ 3169617 w 7076557"/>
              <a:gd name="connsiteY2" fmla="*/ 6594602 h 6594602"/>
              <a:gd name="connsiteX3" fmla="*/ 0 w 7076557"/>
              <a:gd name="connsiteY3" fmla="*/ 4639255 h 6594602"/>
            </a:gdLst>
            <a:ahLst/>
            <a:cxnLst>
              <a:cxn ang="0">
                <a:pos x="connsiteX0" y="connsiteY0"/>
              </a:cxn>
              <a:cxn ang="0">
                <a:pos x="connsiteX1" y="connsiteY1"/>
              </a:cxn>
              <a:cxn ang="0">
                <a:pos x="connsiteX2" y="connsiteY2"/>
              </a:cxn>
              <a:cxn ang="0">
                <a:pos x="connsiteX3" y="connsiteY3"/>
              </a:cxn>
            </a:cxnLst>
            <a:rect l="l" t="t" r="r" b="b"/>
            <a:pathLst>
              <a:path w="7076557" h="6594602">
                <a:moveTo>
                  <a:pt x="0" y="0"/>
                </a:moveTo>
                <a:lnTo>
                  <a:pt x="7076557" y="0"/>
                </a:lnTo>
                <a:lnTo>
                  <a:pt x="3169617" y="6594602"/>
                </a:lnTo>
                <a:lnTo>
                  <a:pt x="0" y="46392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636938568"/>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CR5">
    <p:spTree>
      <p:nvGrpSpPr>
        <p:cNvPr id="1" name=""/>
        <p:cNvGrpSpPr/>
        <p:nvPr/>
      </p:nvGrpSpPr>
      <p:grpSpPr>
        <a:xfrm>
          <a:off x="0" y="0"/>
          <a:ext cx="0" cy="0"/>
          <a:chOff x="0" y="0"/>
          <a:chExt cx="0" cy="0"/>
        </a:xfrm>
      </p:grpSpPr>
      <p:sp>
        <p:nvSpPr>
          <p:cNvPr id="4" name="Freeform 6"/>
          <p:cNvSpPr>
            <a:spLocks/>
          </p:cNvSpPr>
          <p:nvPr userDrawn="1"/>
        </p:nvSpPr>
        <p:spPr bwMode="auto">
          <a:xfrm>
            <a:off x="2411950" y="10"/>
            <a:ext cx="3623090" cy="5179730"/>
          </a:xfrm>
          <a:custGeom>
            <a:avLst/>
            <a:gdLst>
              <a:gd name="T0" fmla="*/ 3084 w 3859"/>
              <a:gd name="T1" fmla="*/ 0 h 5517"/>
              <a:gd name="T2" fmla="*/ 3859 w 3859"/>
              <a:gd name="T3" fmla="*/ 0 h 5517"/>
              <a:gd name="T4" fmla="*/ 0 w 3859"/>
              <a:gd name="T5" fmla="*/ 5517 h 5517"/>
              <a:gd name="T6" fmla="*/ 3084 w 3859"/>
              <a:gd name="T7" fmla="*/ 0 h 5517"/>
            </a:gdLst>
            <a:ahLst/>
            <a:cxnLst>
              <a:cxn ang="0">
                <a:pos x="T0" y="T1"/>
              </a:cxn>
              <a:cxn ang="0">
                <a:pos x="T2" y="T3"/>
              </a:cxn>
              <a:cxn ang="0">
                <a:pos x="T4" y="T5"/>
              </a:cxn>
              <a:cxn ang="0">
                <a:pos x="T6" y="T7"/>
              </a:cxn>
            </a:cxnLst>
            <a:rect l="0" t="0" r="r" b="b"/>
            <a:pathLst>
              <a:path w="3859" h="5517">
                <a:moveTo>
                  <a:pt x="3084" y="0"/>
                </a:moveTo>
                <a:lnTo>
                  <a:pt x="3859" y="0"/>
                </a:lnTo>
                <a:lnTo>
                  <a:pt x="0" y="5517"/>
                </a:lnTo>
                <a:lnTo>
                  <a:pt x="3084" y="0"/>
                </a:lnTo>
                <a:close/>
              </a:path>
            </a:pathLst>
          </a:custGeom>
          <a:gradFill>
            <a:gsLst>
              <a:gs pos="0">
                <a:schemeClr val="accent4"/>
              </a:gs>
              <a:gs pos="100000">
                <a:schemeClr val="bg2"/>
              </a:gs>
            </a:gsLst>
            <a:lin ang="5400000" scaled="1"/>
          </a:gradFill>
          <a:ln>
            <a:noFill/>
          </a:ln>
        </p:spPr>
        <p:txBody>
          <a:bodyPr vert="horz" wrap="square" lIns="68562" tIns="34289" rIns="68562" bIns="34289"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7" name="Picture Placeholder 6"/>
          <p:cNvSpPr>
            <a:spLocks noGrp="1"/>
          </p:cNvSpPr>
          <p:nvPr>
            <p:ph type="pic" sz="quarter" idx="10"/>
          </p:nvPr>
        </p:nvSpPr>
        <p:spPr>
          <a:xfrm>
            <a:off x="3" y="10"/>
            <a:ext cx="5307418" cy="4945952"/>
          </a:xfrm>
          <a:custGeom>
            <a:avLst/>
            <a:gdLst>
              <a:gd name="connsiteX0" fmla="*/ 0 w 7076557"/>
              <a:gd name="connsiteY0" fmla="*/ 0 h 6594602"/>
              <a:gd name="connsiteX1" fmla="*/ 7076557 w 7076557"/>
              <a:gd name="connsiteY1" fmla="*/ 0 h 6594602"/>
              <a:gd name="connsiteX2" fmla="*/ 3169617 w 7076557"/>
              <a:gd name="connsiteY2" fmla="*/ 6594602 h 6594602"/>
              <a:gd name="connsiteX3" fmla="*/ 0 w 7076557"/>
              <a:gd name="connsiteY3" fmla="*/ 4639255 h 6594602"/>
            </a:gdLst>
            <a:ahLst/>
            <a:cxnLst>
              <a:cxn ang="0">
                <a:pos x="connsiteX0" y="connsiteY0"/>
              </a:cxn>
              <a:cxn ang="0">
                <a:pos x="connsiteX1" y="connsiteY1"/>
              </a:cxn>
              <a:cxn ang="0">
                <a:pos x="connsiteX2" y="connsiteY2"/>
              </a:cxn>
              <a:cxn ang="0">
                <a:pos x="connsiteX3" y="connsiteY3"/>
              </a:cxn>
            </a:cxnLst>
            <a:rect l="l" t="t" r="r" b="b"/>
            <a:pathLst>
              <a:path w="7076557" h="6594602">
                <a:moveTo>
                  <a:pt x="0" y="0"/>
                </a:moveTo>
                <a:lnTo>
                  <a:pt x="7076557" y="0"/>
                </a:lnTo>
                <a:lnTo>
                  <a:pt x="3169617" y="6594602"/>
                </a:lnTo>
                <a:lnTo>
                  <a:pt x="0" y="46392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645426036"/>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CR6">
    <p:spTree>
      <p:nvGrpSpPr>
        <p:cNvPr id="1" name=""/>
        <p:cNvGrpSpPr/>
        <p:nvPr/>
      </p:nvGrpSpPr>
      <p:grpSpPr>
        <a:xfrm>
          <a:off x="0" y="0"/>
          <a:ext cx="0" cy="0"/>
          <a:chOff x="0" y="0"/>
          <a:chExt cx="0" cy="0"/>
        </a:xfrm>
      </p:grpSpPr>
      <p:sp>
        <p:nvSpPr>
          <p:cNvPr id="11" name="Freeform 5"/>
          <p:cNvSpPr>
            <a:spLocks/>
          </p:cNvSpPr>
          <p:nvPr userDrawn="1"/>
        </p:nvSpPr>
        <p:spPr bwMode="auto">
          <a:xfrm>
            <a:off x="2944095" y="0"/>
            <a:ext cx="3625945" cy="5177790"/>
          </a:xfrm>
          <a:custGeom>
            <a:avLst/>
            <a:gdLst>
              <a:gd name="T0" fmla="*/ 194 w 972"/>
              <a:gd name="T1" fmla="*/ 0 h 1388"/>
              <a:gd name="T2" fmla="*/ 0 w 972"/>
              <a:gd name="T3" fmla="*/ 0 h 1388"/>
              <a:gd name="T4" fmla="*/ 972 w 972"/>
              <a:gd name="T5" fmla="*/ 1388 h 1388"/>
              <a:gd name="T6" fmla="*/ 194 w 972"/>
              <a:gd name="T7" fmla="*/ 0 h 1388"/>
            </a:gdLst>
            <a:ahLst/>
            <a:cxnLst>
              <a:cxn ang="0">
                <a:pos x="T0" y="T1"/>
              </a:cxn>
              <a:cxn ang="0">
                <a:pos x="T2" y="T3"/>
              </a:cxn>
              <a:cxn ang="0">
                <a:pos x="T4" y="T5"/>
              </a:cxn>
              <a:cxn ang="0">
                <a:pos x="T6" y="T7"/>
              </a:cxn>
            </a:cxnLst>
            <a:rect l="0" t="0" r="r" b="b"/>
            <a:pathLst>
              <a:path w="972" h="1388">
                <a:moveTo>
                  <a:pt x="194" y="0"/>
                </a:moveTo>
                <a:lnTo>
                  <a:pt x="0" y="0"/>
                </a:lnTo>
                <a:lnTo>
                  <a:pt x="972" y="1388"/>
                </a:lnTo>
                <a:lnTo>
                  <a:pt x="194" y="0"/>
                </a:lnTo>
                <a:close/>
              </a:path>
            </a:pathLst>
          </a:custGeom>
          <a:gradFill>
            <a:gsLst>
              <a:gs pos="0">
                <a:schemeClr val="accent1"/>
              </a:gs>
              <a:gs pos="100000">
                <a:schemeClr val="bg2"/>
              </a:gs>
            </a:gsLst>
            <a:lin ang="5400000" scaled="1"/>
          </a:gradFill>
          <a:ln>
            <a:noFill/>
          </a:ln>
        </p:spPr>
        <p:txBody>
          <a:bodyPr vert="horz" wrap="square" lIns="68562" tIns="34289" rIns="68562" bIns="34289"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 name="Picture Placeholder 13"/>
          <p:cNvSpPr>
            <a:spLocks noGrp="1"/>
          </p:cNvSpPr>
          <p:nvPr>
            <p:ph type="pic" sz="quarter" idx="10"/>
          </p:nvPr>
        </p:nvSpPr>
        <p:spPr>
          <a:xfrm>
            <a:off x="3667778" y="0"/>
            <a:ext cx="5476221" cy="4953966"/>
          </a:xfrm>
          <a:custGeom>
            <a:avLst/>
            <a:gdLst>
              <a:gd name="connsiteX0" fmla="*/ 0 w 7301628"/>
              <a:gd name="connsiteY0" fmla="*/ 0 h 6605288"/>
              <a:gd name="connsiteX1" fmla="*/ 7301628 w 7301628"/>
              <a:gd name="connsiteY1" fmla="*/ 0 h 6605288"/>
              <a:gd name="connsiteX2" fmla="*/ 7301628 w 7301628"/>
              <a:gd name="connsiteY2" fmla="*/ 4516267 h 6605288"/>
              <a:gd name="connsiteX3" fmla="*/ 3904481 w 7301628"/>
              <a:gd name="connsiteY3" fmla="*/ 6605288 h 6605288"/>
            </a:gdLst>
            <a:ahLst/>
            <a:cxnLst>
              <a:cxn ang="0">
                <a:pos x="connsiteX0" y="connsiteY0"/>
              </a:cxn>
              <a:cxn ang="0">
                <a:pos x="connsiteX1" y="connsiteY1"/>
              </a:cxn>
              <a:cxn ang="0">
                <a:pos x="connsiteX2" y="connsiteY2"/>
              </a:cxn>
              <a:cxn ang="0">
                <a:pos x="connsiteX3" y="connsiteY3"/>
              </a:cxn>
            </a:cxnLst>
            <a:rect l="l" t="t" r="r" b="b"/>
            <a:pathLst>
              <a:path w="7301628" h="6605288">
                <a:moveTo>
                  <a:pt x="0" y="0"/>
                </a:moveTo>
                <a:lnTo>
                  <a:pt x="7301628" y="0"/>
                </a:lnTo>
                <a:lnTo>
                  <a:pt x="7301628" y="4516267"/>
                </a:lnTo>
                <a:lnTo>
                  <a:pt x="3904481" y="6605288"/>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776239194"/>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CR7">
    <p:spTree>
      <p:nvGrpSpPr>
        <p:cNvPr id="1" name=""/>
        <p:cNvGrpSpPr/>
        <p:nvPr/>
      </p:nvGrpSpPr>
      <p:grpSpPr>
        <a:xfrm>
          <a:off x="0" y="0"/>
          <a:ext cx="0" cy="0"/>
          <a:chOff x="0" y="0"/>
          <a:chExt cx="0" cy="0"/>
        </a:xfrm>
      </p:grpSpPr>
      <p:sp>
        <p:nvSpPr>
          <p:cNvPr id="11" name="Freeform 5"/>
          <p:cNvSpPr>
            <a:spLocks/>
          </p:cNvSpPr>
          <p:nvPr userDrawn="1"/>
        </p:nvSpPr>
        <p:spPr bwMode="auto">
          <a:xfrm>
            <a:off x="2944095" y="0"/>
            <a:ext cx="3625945" cy="5177790"/>
          </a:xfrm>
          <a:custGeom>
            <a:avLst/>
            <a:gdLst>
              <a:gd name="T0" fmla="*/ 194 w 972"/>
              <a:gd name="T1" fmla="*/ 0 h 1388"/>
              <a:gd name="T2" fmla="*/ 0 w 972"/>
              <a:gd name="T3" fmla="*/ 0 h 1388"/>
              <a:gd name="T4" fmla="*/ 972 w 972"/>
              <a:gd name="T5" fmla="*/ 1388 h 1388"/>
              <a:gd name="T6" fmla="*/ 194 w 972"/>
              <a:gd name="T7" fmla="*/ 0 h 1388"/>
            </a:gdLst>
            <a:ahLst/>
            <a:cxnLst>
              <a:cxn ang="0">
                <a:pos x="T0" y="T1"/>
              </a:cxn>
              <a:cxn ang="0">
                <a:pos x="T2" y="T3"/>
              </a:cxn>
              <a:cxn ang="0">
                <a:pos x="T4" y="T5"/>
              </a:cxn>
              <a:cxn ang="0">
                <a:pos x="T6" y="T7"/>
              </a:cxn>
            </a:cxnLst>
            <a:rect l="0" t="0" r="r" b="b"/>
            <a:pathLst>
              <a:path w="972" h="1388">
                <a:moveTo>
                  <a:pt x="194" y="0"/>
                </a:moveTo>
                <a:lnTo>
                  <a:pt x="0" y="0"/>
                </a:lnTo>
                <a:lnTo>
                  <a:pt x="972" y="1388"/>
                </a:lnTo>
                <a:lnTo>
                  <a:pt x="194" y="0"/>
                </a:lnTo>
                <a:close/>
              </a:path>
            </a:pathLst>
          </a:custGeom>
          <a:gradFill>
            <a:gsLst>
              <a:gs pos="0">
                <a:schemeClr val="accent3"/>
              </a:gs>
              <a:gs pos="100000">
                <a:schemeClr val="bg2"/>
              </a:gs>
            </a:gsLst>
            <a:lin ang="5400000" scaled="1"/>
          </a:gradFill>
          <a:ln>
            <a:noFill/>
          </a:ln>
        </p:spPr>
        <p:txBody>
          <a:bodyPr vert="horz" wrap="square" lIns="68562" tIns="34289" rIns="68562" bIns="34289"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 name="Picture Placeholder 13"/>
          <p:cNvSpPr>
            <a:spLocks noGrp="1"/>
          </p:cNvSpPr>
          <p:nvPr>
            <p:ph type="pic" sz="quarter" idx="10"/>
          </p:nvPr>
        </p:nvSpPr>
        <p:spPr>
          <a:xfrm>
            <a:off x="3667778" y="0"/>
            <a:ext cx="5476221" cy="4953966"/>
          </a:xfrm>
          <a:custGeom>
            <a:avLst/>
            <a:gdLst>
              <a:gd name="connsiteX0" fmla="*/ 0 w 7301628"/>
              <a:gd name="connsiteY0" fmla="*/ 0 h 6605288"/>
              <a:gd name="connsiteX1" fmla="*/ 7301628 w 7301628"/>
              <a:gd name="connsiteY1" fmla="*/ 0 h 6605288"/>
              <a:gd name="connsiteX2" fmla="*/ 7301628 w 7301628"/>
              <a:gd name="connsiteY2" fmla="*/ 4516267 h 6605288"/>
              <a:gd name="connsiteX3" fmla="*/ 3904481 w 7301628"/>
              <a:gd name="connsiteY3" fmla="*/ 6605288 h 6605288"/>
            </a:gdLst>
            <a:ahLst/>
            <a:cxnLst>
              <a:cxn ang="0">
                <a:pos x="connsiteX0" y="connsiteY0"/>
              </a:cxn>
              <a:cxn ang="0">
                <a:pos x="connsiteX1" y="connsiteY1"/>
              </a:cxn>
              <a:cxn ang="0">
                <a:pos x="connsiteX2" y="connsiteY2"/>
              </a:cxn>
              <a:cxn ang="0">
                <a:pos x="connsiteX3" y="connsiteY3"/>
              </a:cxn>
            </a:cxnLst>
            <a:rect l="l" t="t" r="r" b="b"/>
            <a:pathLst>
              <a:path w="7301628" h="6605288">
                <a:moveTo>
                  <a:pt x="0" y="0"/>
                </a:moveTo>
                <a:lnTo>
                  <a:pt x="7301628" y="0"/>
                </a:lnTo>
                <a:lnTo>
                  <a:pt x="7301628" y="4516267"/>
                </a:lnTo>
                <a:lnTo>
                  <a:pt x="3904481" y="6605288"/>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939342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89439" y="1085850"/>
            <a:ext cx="8363938" cy="2000548"/>
          </a:xfrm>
        </p:spPr>
        <p:txBody>
          <a:bodyPr/>
          <a:lstStyle>
            <a:lvl1pPr>
              <a:lnSpc>
                <a:spcPct val="90000"/>
              </a:lnSpc>
              <a:defRPr>
                <a:latin typeface="+mj-lt"/>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7367481"/>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CR8">
    <p:spTree>
      <p:nvGrpSpPr>
        <p:cNvPr id="1" name=""/>
        <p:cNvGrpSpPr/>
        <p:nvPr/>
      </p:nvGrpSpPr>
      <p:grpSpPr>
        <a:xfrm>
          <a:off x="0" y="0"/>
          <a:ext cx="0" cy="0"/>
          <a:chOff x="0" y="0"/>
          <a:chExt cx="0" cy="0"/>
        </a:xfrm>
      </p:grpSpPr>
      <p:sp>
        <p:nvSpPr>
          <p:cNvPr id="11" name="Freeform 5"/>
          <p:cNvSpPr>
            <a:spLocks/>
          </p:cNvSpPr>
          <p:nvPr userDrawn="1"/>
        </p:nvSpPr>
        <p:spPr bwMode="auto">
          <a:xfrm>
            <a:off x="2944095" y="0"/>
            <a:ext cx="3625945" cy="5177790"/>
          </a:xfrm>
          <a:custGeom>
            <a:avLst/>
            <a:gdLst>
              <a:gd name="T0" fmla="*/ 194 w 972"/>
              <a:gd name="T1" fmla="*/ 0 h 1388"/>
              <a:gd name="T2" fmla="*/ 0 w 972"/>
              <a:gd name="T3" fmla="*/ 0 h 1388"/>
              <a:gd name="T4" fmla="*/ 972 w 972"/>
              <a:gd name="T5" fmla="*/ 1388 h 1388"/>
              <a:gd name="T6" fmla="*/ 194 w 972"/>
              <a:gd name="T7" fmla="*/ 0 h 1388"/>
            </a:gdLst>
            <a:ahLst/>
            <a:cxnLst>
              <a:cxn ang="0">
                <a:pos x="T0" y="T1"/>
              </a:cxn>
              <a:cxn ang="0">
                <a:pos x="T2" y="T3"/>
              </a:cxn>
              <a:cxn ang="0">
                <a:pos x="T4" y="T5"/>
              </a:cxn>
              <a:cxn ang="0">
                <a:pos x="T6" y="T7"/>
              </a:cxn>
            </a:cxnLst>
            <a:rect l="0" t="0" r="r" b="b"/>
            <a:pathLst>
              <a:path w="972" h="1388">
                <a:moveTo>
                  <a:pt x="194" y="0"/>
                </a:moveTo>
                <a:lnTo>
                  <a:pt x="0" y="0"/>
                </a:lnTo>
                <a:lnTo>
                  <a:pt x="972" y="1388"/>
                </a:lnTo>
                <a:lnTo>
                  <a:pt x="194" y="0"/>
                </a:lnTo>
                <a:close/>
              </a:path>
            </a:pathLst>
          </a:custGeom>
          <a:gradFill>
            <a:gsLst>
              <a:gs pos="0">
                <a:schemeClr val="accent4"/>
              </a:gs>
              <a:gs pos="100000">
                <a:schemeClr val="bg2"/>
              </a:gs>
            </a:gsLst>
            <a:lin ang="5400000" scaled="1"/>
          </a:gradFill>
          <a:ln>
            <a:noFill/>
          </a:ln>
        </p:spPr>
        <p:txBody>
          <a:bodyPr vert="horz" wrap="square" lIns="68562" tIns="34289" rIns="68562" bIns="34289" numCol="1" anchor="t" anchorCtr="0" compatLnSpc="1">
            <a:prstTxWarp prst="textNoShape">
              <a:avLst/>
            </a:prstTxWarp>
          </a:bodyPr>
          <a:lstStyle/>
          <a:p>
            <a:pPr defTabSz="685631" fontAlgn="auto">
              <a:spcBef>
                <a:spcPts val="0"/>
              </a:spcBef>
              <a:spcAft>
                <a:spcPts val="0"/>
              </a:spcAft>
            </a:pPr>
            <a:endParaRPr lang="en-US" sz="2000" dirty="0">
              <a:solidFill>
                <a:prstClr val="black"/>
              </a:solidFill>
              <a:latin typeface="Roboto Light"/>
              <a:cs typeface="+mn-cs"/>
            </a:endParaRPr>
          </a:p>
        </p:txBody>
      </p:sp>
      <p:sp>
        <p:nvSpPr>
          <p:cNvPr id="14" name="Picture Placeholder 13"/>
          <p:cNvSpPr>
            <a:spLocks noGrp="1"/>
          </p:cNvSpPr>
          <p:nvPr>
            <p:ph type="pic" sz="quarter" idx="10"/>
          </p:nvPr>
        </p:nvSpPr>
        <p:spPr>
          <a:xfrm>
            <a:off x="3667778" y="0"/>
            <a:ext cx="5476221" cy="4953966"/>
          </a:xfrm>
          <a:custGeom>
            <a:avLst/>
            <a:gdLst>
              <a:gd name="connsiteX0" fmla="*/ 0 w 7301628"/>
              <a:gd name="connsiteY0" fmla="*/ 0 h 6605288"/>
              <a:gd name="connsiteX1" fmla="*/ 7301628 w 7301628"/>
              <a:gd name="connsiteY1" fmla="*/ 0 h 6605288"/>
              <a:gd name="connsiteX2" fmla="*/ 7301628 w 7301628"/>
              <a:gd name="connsiteY2" fmla="*/ 4516267 h 6605288"/>
              <a:gd name="connsiteX3" fmla="*/ 3904481 w 7301628"/>
              <a:gd name="connsiteY3" fmla="*/ 6605288 h 6605288"/>
            </a:gdLst>
            <a:ahLst/>
            <a:cxnLst>
              <a:cxn ang="0">
                <a:pos x="connsiteX0" y="connsiteY0"/>
              </a:cxn>
              <a:cxn ang="0">
                <a:pos x="connsiteX1" y="connsiteY1"/>
              </a:cxn>
              <a:cxn ang="0">
                <a:pos x="connsiteX2" y="connsiteY2"/>
              </a:cxn>
              <a:cxn ang="0">
                <a:pos x="connsiteX3" y="connsiteY3"/>
              </a:cxn>
            </a:cxnLst>
            <a:rect l="l" t="t" r="r" b="b"/>
            <a:pathLst>
              <a:path w="7301628" h="6605288">
                <a:moveTo>
                  <a:pt x="0" y="0"/>
                </a:moveTo>
                <a:lnTo>
                  <a:pt x="7301628" y="0"/>
                </a:lnTo>
                <a:lnTo>
                  <a:pt x="7301628" y="4516267"/>
                </a:lnTo>
                <a:lnTo>
                  <a:pt x="3904481" y="6605288"/>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54613738"/>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Advisors">
    <p:spTree>
      <p:nvGrpSpPr>
        <p:cNvPr id="1" name=""/>
        <p:cNvGrpSpPr/>
        <p:nvPr/>
      </p:nvGrpSpPr>
      <p:grpSpPr>
        <a:xfrm>
          <a:off x="0" y="0"/>
          <a:ext cx="0" cy="0"/>
          <a:chOff x="0" y="0"/>
          <a:chExt cx="0" cy="0"/>
        </a:xfrm>
      </p:grpSpPr>
      <p:sp>
        <p:nvSpPr>
          <p:cNvPr id="19" name="Picture Placeholder 18"/>
          <p:cNvSpPr>
            <a:spLocks noGrp="1"/>
          </p:cNvSpPr>
          <p:nvPr>
            <p:ph type="pic" sz="quarter" idx="13"/>
          </p:nvPr>
        </p:nvSpPr>
        <p:spPr>
          <a:xfrm>
            <a:off x="3543302" y="250316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3"/>
            </a:solidFill>
          </a:ln>
        </p:spPr>
        <p:txBody>
          <a:bodyPr wrap="square" anchor="ctr" anchorCtr="0">
            <a:noAutofit/>
          </a:bodyPr>
          <a:lstStyle>
            <a:lvl1pPr algn="ctr">
              <a:defRPr/>
            </a:lvl1pPr>
          </a:lstStyle>
          <a:p>
            <a:endParaRPr lang="en-US" dirty="0"/>
          </a:p>
        </p:txBody>
      </p:sp>
      <p:sp>
        <p:nvSpPr>
          <p:cNvPr id="20" name="Picture Placeholder 19"/>
          <p:cNvSpPr>
            <a:spLocks noGrp="1"/>
          </p:cNvSpPr>
          <p:nvPr>
            <p:ph type="pic" sz="quarter" idx="14"/>
          </p:nvPr>
        </p:nvSpPr>
        <p:spPr>
          <a:xfrm>
            <a:off x="6423622" y="250316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3"/>
            </a:solidFill>
          </a:ln>
        </p:spPr>
        <p:txBody>
          <a:bodyPr wrap="square" anchor="ctr" anchorCtr="0">
            <a:noAutofit/>
          </a:bodyPr>
          <a:lstStyle>
            <a:lvl1pPr algn="ctr">
              <a:defRPr/>
            </a:lvl1pPr>
          </a:lstStyle>
          <a:p>
            <a:endParaRPr lang="en-US" dirty="0"/>
          </a:p>
        </p:txBody>
      </p:sp>
      <p:sp>
        <p:nvSpPr>
          <p:cNvPr id="21" name="Picture Placeholder 20"/>
          <p:cNvSpPr>
            <a:spLocks noGrp="1"/>
          </p:cNvSpPr>
          <p:nvPr>
            <p:ph type="pic" sz="quarter" idx="15"/>
          </p:nvPr>
        </p:nvSpPr>
        <p:spPr>
          <a:xfrm>
            <a:off x="662983" y="250316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3"/>
            </a:solidFill>
          </a:ln>
        </p:spPr>
        <p:txBody>
          <a:bodyPr wrap="square" anchor="ctr" anchorCtr="0">
            <a:noAutofit/>
          </a:bodyPr>
          <a:lstStyle>
            <a:lvl1pPr algn="ctr">
              <a:defRPr/>
            </a:lvl1pPr>
          </a:lstStyle>
          <a:p>
            <a:endParaRPr lang="en-US" dirty="0"/>
          </a:p>
        </p:txBody>
      </p:sp>
      <p:sp>
        <p:nvSpPr>
          <p:cNvPr id="22" name="Picture Placeholder 21"/>
          <p:cNvSpPr>
            <a:spLocks noGrp="1"/>
          </p:cNvSpPr>
          <p:nvPr>
            <p:ph type="pic" sz="quarter" idx="16"/>
          </p:nvPr>
        </p:nvSpPr>
        <p:spPr>
          <a:xfrm>
            <a:off x="3543302" y="3737579"/>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4"/>
            </a:solidFill>
          </a:ln>
        </p:spPr>
        <p:txBody>
          <a:bodyPr wrap="square" anchor="ctr" anchorCtr="0">
            <a:noAutofit/>
          </a:bodyPr>
          <a:lstStyle>
            <a:lvl1pPr algn="ctr">
              <a:defRPr/>
            </a:lvl1pPr>
          </a:lstStyle>
          <a:p>
            <a:endParaRPr lang="en-US" dirty="0"/>
          </a:p>
        </p:txBody>
      </p:sp>
      <p:sp>
        <p:nvSpPr>
          <p:cNvPr id="23" name="Picture Placeholder 22"/>
          <p:cNvSpPr>
            <a:spLocks noGrp="1"/>
          </p:cNvSpPr>
          <p:nvPr>
            <p:ph type="pic" sz="quarter" idx="17"/>
          </p:nvPr>
        </p:nvSpPr>
        <p:spPr>
          <a:xfrm>
            <a:off x="6423622" y="3737579"/>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4"/>
            </a:solidFill>
          </a:ln>
        </p:spPr>
        <p:txBody>
          <a:bodyPr wrap="square" anchor="ctr" anchorCtr="0">
            <a:noAutofit/>
          </a:bodyPr>
          <a:lstStyle>
            <a:lvl1pPr algn="ctr">
              <a:defRPr/>
            </a:lvl1pPr>
          </a:lstStyle>
          <a:p>
            <a:endParaRPr lang="en-US" dirty="0"/>
          </a:p>
        </p:txBody>
      </p:sp>
      <p:sp>
        <p:nvSpPr>
          <p:cNvPr id="24" name="Picture Placeholder 23"/>
          <p:cNvSpPr>
            <a:spLocks noGrp="1"/>
          </p:cNvSpPr>
          <p:nvPr>
            <p:ph type="pic" sz="quarter" idx="18"/>
          </p:nvPr>
        </p:nvSpPr>
        <p:spPr>
          <a:xfrm>
            <a:off x="662983" y="3737579"/>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4"/>
            </a:solidFill>
          </a:ln>
        </p:spPr>
        <p:txBody>
          <a:bodyPr wrap="square" anchor="ctr" anchorCtr="0">
            <a:noAutofit/>
          </a:bodyPr>
          <a:lstStyle>
            <a:lvl1pPr algn="ctr">
              <a:defRPr/>
            </a:lvl1pPr>
          </a:lstStyle>
          <a:p>
            <a:endParaRPr lang="en-US" dirty="0"/>
          </a:p>
        </p:txBody>
      </p:sp>
      <p:sp>
        <p:nvSpPr>
          <p:cNvPr id="17" name="Picture Placeholder 16"/>
          <p:cNvSpPr>
            <a:spLocks noGrp="1"/>
          </p:cNvSpPr>
          <p:nvPr>
            <p:ph type="pic" sz="quarter" idx="11"/>
          </p:nvPr>
        </p:nvSpPr>
        <p:spPr>
          <a:xfrm>
            <a:off x="3543302" y="1268744"/>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1"/>
            </a:solidFill>
          </a:ln>
        </p:spPr>
        <p:txBody>
          <a:bodyPr wrap="square" anchor="ctr" anchorCtr="0">
            <a:noAutofit/>
          </a:bodyPr>
          <a:lstStyle>
            <a:lvl1pPr algn="ctr">
              <a:defRPr/>
            </a:lvl1pPr>
          </a:lstStyle>
          <a:p>
            <a:endParaRPr lang="en-US" dirty="0"/>
          </a:p>
        </p:txBody>
      </p:sp>
      <p:sp>
        <p:nvSpPr>
          <p:cNvPr id="18" name="Picture Placeholder 17"/>
          <p:cNvSpPr>
            <a:spLocks noGrp="1"/>
          </p:cNvSpPr>
          <p:nvPr>
            <p:ph type="pic" sz="quarter" idx="12"/>
          </p:nvPr>
        </p:nvSpPr>
        <p:spPr>
          <a:xfrm>
            <a:off x="6423622" y="1268744"/>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1"/>
            </a:solidFill>
          </a:ln>
        </p:spPr>
        <p:txBody>
          <a:bodyPr wrap="square" anchor="ctr" anchorCtr="0">
            <a:noAutofit/>
          </a:bodyPr>
          <a:lstStyle>
            <a:lvl1pPr algn="ctr">
              <a:defRPr/>
            </a:lvl1pPr>
          </a:lstStyle>
          <a:p>
            <a:endParaRPr lang="en-US" dirty="0"/>
          </a:p>
        </p:txBody>
      </p:sp>
      <p:sp>
        <p:nvSpPr>
          <p:cNvPr id="16" name="Picture Placeholder 15"/>
          <p:cNvSpPr>
            <a:spLocks noGrp="1"/>
          </p:cNvSpPr>
          <p:nvPr>
            <p:ph type="pic" sz="quarter" idx="10"/>
          </p:nvPr>
        </p:nvSpPr>
        <p:spPr>
          <a:xfrm>
            <a:off x="662983" y="1268744"/>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1"/>
            </a:solidFill>
          </a:ln>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p>
            <a:r>
              <a:rPr lang="en-US"/>
              <a:t>Click to edit Master title style</a:t>
            </a:r>
          </a:p>
        </p:txBody>
      </p:sp>
      <p:grpSp>
        <p:nvGrpSpPr>
          <p:cNvPr id="25" name="Group 24"/>
          <p:cNvGrpSpPr/>
          <p:nvPr userDrawn="1"/>
        </p:nvGrpSpPr>
        <p:grpSpPr>
          <a:xfrm>
            <a:off x="615835" y="695412"/>
            <a:ext cx="377186" cy="68580"/>
            <a:chOff x="792538" y="868707"/>
            <a:chExt cx="502914" cy="91440"/>
          </a:xfrm>
        </p:grpSpPr>
        <p:sp>
          <p:nvSpPr>
            <p:cNvPr id="26" name="Oval 25"/>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7" name="Oval 26"/>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8" name="Oval 27"/>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sp>
          <p:nvSpPr>
            <p:cNvPr id="29" name="Oval 28"/>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31" fontAlgn="auto">
                <a:spcBef>
                  <a:spcPts val="0"/>
                </a:spcBef>
                <a:spcAft>
                  <a:spcPts val="0"/>
                </a:spcAft>
              </a:pPr>
              <a:endParaRPr lang="en-US" sz="900" dirty="0">
                <a:solidFill>
                  <a:prstClr val="white"/>
                </a:solidFill>
              </a:endParaRPr>
            </a:p>
          </p:txBody>
        </p:sp>
      </p:grpSp>
    </p:spTree>
    <p:extLst>
      <p:ext uri="{BB962C8B-B14F-4D97-AF65-F5344CB8AC3E}">
        <p14:creationId xmlns:p14="http://schemas.microsoft.com/office/powerpoint/2010/main" val="1221136878"/>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1" name="Rectangle 10"/>
          <p:cNvSpPr/>
          <p:nvPr userDrawn="1"/>
        </p:nvSpPr>
        <p:spPr>
          <a:xfrm>
            <a:off x="4572000" y="0"/>
            <a:ext cx="54864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62" tIns="34289" rIns="68562" bIns="34289" rtlCol="0" anchor="ctr"/>
          <a:lstStyle/>
          <a:p>
            <a:pPr algn="ctr" defTabSz="685631" fontAlgn="auto">
              <a:spcBef>
                <a:spcPts val="0"/>
              </a:spcBef>
              <a:spcAft>
                <a:spcPts val="0"/>
              </a:spcAft>
            </a:pPr>
            <a:endParaRPr lang="en-US" sz="2000" dirty="0">
              <a:solidFill>
                <a:prstClr val="white"/>
              </a:solidFill>
            </a:endParaRPr>
          </a:p>
        </p:txBody>
      </p:sp>
      <p:sp>
        <p:nvSpPr>
          <p:cNvPr id="12" name="Picture Placeholder 3"/>
          <p:cNvSpPr>
            <a:spLocks noGrp="1"/>
          </p:cNvSpPr>
          <p:nvPr>
            <p:ph type="pic" sz="quarter" idx="10"/>
          </p:nvPr>
        </p:nvSpPr>
        <p:spPr>
          <a:xfrm>
            <a:off x="0" y="0"/>
            <a:ext cx="4572000" cy="514350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1365251184"/>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blank" preserve="1">
  <p:cSld name="Blank Dark">
    <p:bg>
      <p:bgPr>
        <a:solidFill>
          <a:schemeClr val="tx2">
            <a:lumMod val="90000"/>
            <a:lumOff val="1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0467701"/>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blank" preserve="1">
  <p:cSld name="Blank bg">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2" name="Group 1"/>
          <p:cNvGrpSpPr>
            <a:grpSpLocks noChangeAspect="1"/>
          </p:cNvGrpSpPr>
          <p:nvPr userDrawn="1"/>
        </p:nvGrpSpPr>
        <p:grpSpPr>
          <a:xfrm>
            <a:off x="182880" y="968119"/>
            <a:ext cx="8778240" cy="3072690"/>
            <a:chOff x="2719388" y="2247900"/>
            <a:chExt cx="6748462" cy="2362200"/>
          </a:xfrm>
          <a:solidFill>
            <a:schemeClr val="tx2">
              <a:lumMod val="85000"/>
            </a:schemeClr>
          </a:solidFill>
        </p:grpSpPr>
        <p:sp>
          <p:nvSpPr>
            <p:cNvPr id="3" name="Freeform 5"/>
            <p:cNvSpPr>
              <a:spLocks/>
            </p:cNvSpPr>
            <p:nvPr/>
          </p:nvSpPr>
          <p:spPr bwMode="auto">
            <a:xfrm>
              <a:off x="5416550" y="3241675"/>
              <a:ext cx="74613" cy="4763"/>
            </a:xfrm>
            <a:custGeom>
              <a:avLst/>
              <a:gdLst>
                <a:gd name="T0" fmla="*/ 20 w 20"/>
                <a:gd name="T1" fmla="*/ 0 h 1"/>
                <a:gd name="T2" fmla="*/ 0 w 20"/>
                <a:gd name="T3" fmla="*/ 1 h 1"/>
                <a:gd name="T4" fmla="*/ 20 w 20"/>
                <a:gd name="T5" fmla="*/ 0 h 1"/>
              </a:gdLst>
              <a:ahLst/>
              <a:cxnLst>
                <a:cxn ang="0">
                  <a:pos x="T0" y="T1"/>
                </a:cxn>
                <a:cxn ang="0">
                  <a:pos x="T2" y="T3"/>
                </a:cxn>
                <a:cxn ang="0">
                  <a:pos x="T4" y="T5"/>
                </a:cxn>
              </a:cxnLst>
              <a:rect l="0" t="0" r="r" b="b"/>
              <a:pathLst>
                <a:path w="20" h="1">
                  <a:moveTo>
                    <a:pt x="20" y="0"/>
                  </a:moveTo>
                  <a:cubicBezTo>
                    <a:pt x="14" y="0"/>
                    <a:pt x="6" y="0"/>
                    <a:pt x="0" y="1"/>
                  </a:cubicBezTo>
                  <a:cubicBezTo>
                    <a:pt x="6" y="1"/>
                    <a:pt x="14" y="0"/>
                    <a:pt x="2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 name="Freeform 6"/>
            <p:cNvSpPr>
              <a:spLocks/>
            </p:cNvSpPr>
            <p:nvPr/>
          </p:nvSpPr>
          <p:spPr bwMode="auto">
            <a:xfrm>
              <a:off x="5311775" y="3389313"/>
              <a:ext cx="44450" cy="46038"/>
            </a:xfrm>
            <a:custGeom>
              <a:avLst/>
              <a:gdLst>
                <a:gd name="T0" fmla="*/ 0 w 12"/>
                <a:gd name="T1" fmla="*/ 0 h 12"/>
                <a:gd name="T2" fmla="*/ 12 w 12"/>
                <a:gd name="T3" fmla="*/ 12 h 12"/>
                <a:gd name="T4" fmla="*/ 0 w 12"/>
                <a:gd name="T5" fmla="*/ 0 h 12"/>
              </a:gdLst>
              <a:ahLst/>
              <a:cxnLst>
                <a:cxn ang="0">
                  <a:pos x="T0" y="T1"/>
                </a:cxn>
                <a:cxn ang="0">
                  <a:pos x="T2" y="T3"/>
                </a:cxn>
                <a:cxn ang="0">
                  <a:pos x="T4" y="T5"/>
                </a:cxn>
              </a:cxnLst>
              <a:rect l="0" t="0" r="r" b="b"/>
              <a:pathLst>
                <a:path w="12" h="12">
                  <a:moveTo>
                    <a:pt x="0" y="0"/>
                  </a:moveTo>
                  <a:cubicBezTo>
                    <a:pt x="4" y="4"/>
                    <a:pt x="8" y="8"/>
                    <a:pt x="12" y="12"/>
                  </a:cubicBezTo>
                  <a:cubicBezTo>
                    <a:pt x="8" y="8"/>
                    <a:pt x="4"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 name="Oval 7"/>
            <p:cNvSpPr>
              <a:spLocks noChangeArrowheads="1"/>
            </p:cNvSpPr>
            <p:nvPr/>
          </p:nvSpPr>
          <p:spPr bwMode="auto">
            <a:xfrm>
              <a:off x="4608513" y="3027363"/>
              <a:ext cx="117475" cy="112713"/>
            </a:xfrm>
            <a:prstGeom prst="ellipse">
              <a:avLst/>
            </a:pr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 name="Freeform 8"/>
            <p:cNvSpPr>
              <a:spLocks noEditPoints="1"/>
            </p:cNvSpPr>
            <p:nvPr/>
          </p:nvSpPr>
          <p:spPr bwMode="auto">
            <a:xfrm>
              <a:off x="7437438" y="3773488"/>
              <a:ext cx="720725" cy="381000"/>
            </a:xfrm>
            <a:custGeom>
              <a:avLst/>
              <a:gdLst>
                <a:gd name="T0" fmla="*/ 78 w 192"/>
                <a:gd name="T1" fmla="*/ 24 h 101"/>
                <a:gd name="T2" fmla="*/ 80 w 192"/>
                <a:gd name="T3" fmla="*/ 24 h 101"/>
                <a:gd name="T4" fmla="*/ 86 w 192"/>
                <a:gd name="T5" fmla="*/ 32 h 101"/>
                <a:gd name="T6" fmla="*/ 65 w 192"/>
                <a:gd name="T7" fmla="*/ 74 h 101"/>
                <a:gd name="T8" fmla="*/ 65 w 192"/>
                <a:gd name="T9" fmla="*/ 74 h 101"/>
                <a:gd name="T10" fmla="*/ 54 w 192"/>
                <a:gd name="T11" fmla="*/ 75 h 101"/>
                <a:gd name="T12" fmla="*/ 52 w 192"/>
                <a:gd name="T13" fmla="*/ 77 h 101"/>
                <a:gd name="T14" fmla="*/ 14 w 192"/>
                <a:gd name="T15" fmla="*/ 43 h 101"/>
                <a:gd name="T16" fmla="*/ 15 w 192"/>
                <a:gd name="T17" fmla="*/ 39 h 101"/>
                <a:gd name="T18" fmla="*/ 96 w 192"/>
                <a:gd name="T19" fmla="*/ 0 h 101"/>
                <a:gd name="T20" fmla="*/ 78 w 192"/>
                <a:gd name="T21" fmla="*/ 19 h 101"/>
                <a:gd name="T22" fmla="*/ 15 w 192"/>
                <a:gd name="T23" fmla="*/ 37 h 101"/>
                <a:gd name="T24" fmla="*/ 15 w 192"/>
                <a:gd name="T25" fmla="*/ 37 h 101"/>
                <a:gd name="T26" fmla="*/ 10 w 192"/>
                <a:gd name="T27" fmla="*/ 33 h 101"/>
                <a:gd name="T28" fmla="*/ 13 w 192"/>
                <a:gd name="T29" fmla="*/ 9 h 101"/>
                <a:gd name="T30" fmla="*/ 8 w 192"/>
                <a:gd name="T31" fmla="*/ 33 h 101"/>
                <a:gd name="T32" fmla="*/ 2 w 192"/>
                <a:gd name="T33" fmla="*/ 42 h 101"/>
                <a:gd name="T34" fmla="*/ 11 w 192"/>
                <a:gd name="T35" fmla="*/ 45 h 101"/>
                <a:gd name="T36" fmla="*/ 12 w 192"/>
                <a:gd name="T37" fmla="*/ 45 h 101"/>
                <a:gd name="T38" fmla="*/ 49 w 192"/>
                <a:gd name="T39" fmla="*/ 79 h 101"/>
                <a:gd name="T40" fmla="*/ 48 w 192"/>
                <a:gd name="T41" fmla="*/ 93 h 101"/>
                <a:gd name="T42" fmla="*/ 66 w 192"/>
                <a:gd name="T43" fmla="*/ 99 h 101"/>
                <a:gd name="T44" fmla="*/ 69 w 192"/>
                <a:gd name="T45" fmla="*/ 76 h 101"/>
                <a:gd name="T46" fmla="*/ 91 w 192"/>
                <a:gd name="T47" fmla="*/ 34 h 101"/>
                <a:gd name="T48" fmla="*/ 91 w 192"/>
                <a:gd name="T49" fmla="*/ 34 h 101"/>
                <a:gd name="T50" fmla="*/ 104 w 192"/>
                <a:gd name="T51" fmla="*/ 33 h 101"/>
                <a:gd name="T52" fmla="*/ 109 w 192"/>
                <a:gd name="T53" fmla="*/ 30 h 101"/>
                <a:gd name="T54" fmla="*/ 178 w 192"/>
                <a:gd name="T55" fmla="*/ 78 h 101"/>
                <a:gd name="T56" fmla="*/ 178 w 192"/>
                <a:gd name="T57" fmla="*/ 83 h 101"/>
                <a:gd name="T58" fmla="*/ 187 w 192"/>
                <a:gd name="T59" fmla="*/ 87 h 101"/>
                <a:gd name="T60" fmla="*/ 184 w 192"/>
                <a:gd name="T61" fmla="*/ 74 h 101"/>
                <a:gd name="T62" fmla="*/ 179 w 192"/>
                <a:gd name="T63" fmla="*/ 76 h 101"/>
                <a:gd name="T64" fmla="*/ 179 w 192"/>
                <a:gd name="T65" fmla="*/ 76 h 101"/>
                <a:gd name="T66" fmla="*/ 112 w 192"/>
                <a:gd name="T67" fmla="*/ 26 h 101"/>
                <a:gd name="T68" fmla="*/ 96 w 192"/>
                <a:gd name="T6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01">
                  <a:moveTo>
                    <a:pt x="15" y="39"/>
                  </a:moveTo>
                  <a:cubicBezTo>
                    <a:pt x="15" y="38"/>
                    <a:pt x="68" y="24"/>
                    <a:pt x="78" y="24"/>
                  </a:cubicBezTo>
                  <a:cubicBezTo>
                    <a:pt x="79" y="24"/>
                    <a:pt x="80" y="24"/>
                    <a:pt x="80" y="24"/>
                  </a:cubicBezTo>
                  <a:cubicBezTo>
                    <a:pt x="80" y="24"/>
                    <a:pt x="80" y="24"/>
                    <a:pt x="80" y="24"/>
                  </a:cubicBezTo>
                  <a:cubicBezTo>
                    <a:pt x="80" y="25"/>
                    <a:pt x="80" y="25"/>
                    <a:pt x="80" y="25"/>
                  </a:cubicBezTo>
                  <a:cubicBezTo>
                    <a:pt x="81" y="28"/>
                    <a:pt x="84" y="30"/>
                    <a:pt x="86" y="32"/>
                  </a:cubicBezTo>
                  <a:cubicBezTo>
                    <a:pt x="86" y="31"/>
                    <a:pt x="86" y="31"/>
                    <a:pt x="86" y="31"/>
                  </a:cubicBezTo>
                  <a:cubicBezTo>
                    <a:pt x="89" y="33"/>
                    <a:pt x="68" y="74"/>
                    <a:pt x="65" y="74"/>
                  </a:cubicBezTo>
                  <a:cubicBezTo>
                    <a:pt x="65" y="74"/>
                    <a:pt x="65" y="74"/>
                    <a:pt x="65" y="74"/>
                  </a:cubicBezTo>
                  <a:cubicBezTo>
                    <a:pt x="65" y="74"/>
                    <a:pt x="65" y="74"/>
                    <a:pt x="65" y="74"/>
                  </a:cubicBezTo>
                  <a:cubicBezTo>
                    <a:pt x="63" y="74"/>
                    <a:pt x="62" y="74"/>
                    <a:pt x="60" y="74"/>
                  </a:cubicBezTo>
                  <a:cubicBezTo>
                    <a:pt x="58" y="74"/>
                    <a:pt x="56" y="74"/>
                    <a:pt x="54" y="75"/>
                  </a:cubicBezTo>
                  <a:cubicBezTo>
                    <a:pt x="53" y="76"/>
                    <a:pt x="53" y="76"/>
                    <a:pt x="52" y="77"/>
                  </a:cubicBezTo>
                  <a:cubicBezTo>
                    <a:pt x="52" y="77"/>
                    <a:pt x="52" y="77"/>
                    <a:pt x="52" y="77"/>
                  </a:cubicBezTo>
                  <a:cubicBezTo>
                    <a:pt x="52" y="77"/>
                    <a:pt x="52" y="77"/>
                    <a:pt x="52" y="77"/>
                  </a:cubicBezTo>
                  <a:cubicBezTo>
                    <a:pt x="48" y="77"/>
                    <a:pt x="13" y="44"/>
                    <a:pt x="14" y="43"/>
                  </a:cubicBezTo>
                  <a:cubicBezTo>
                    <a:pt x="14" y="43"/>
                    <a:pt x="14" y="43"/>
                    <a:pt x="14" y="43"/>
                  </a:cubicBezTo>
                  <a:cubicBezTo>
                    <a:pt x="15" y="42"/>
                    <a:pt x="15" y="40"/>
                    <a:pt x="15" y="39"/>
                  </a:cubicBezTo>
                  <a:cubicBezTo>
                    <a:pt x="15" y="39"/>
                    <a:pt x="15" y="39"/>
                    <a:pt x="15" y="39"/>
                  </a:cubicBezTo>
                  <a:moveTo>
                    <a:pt x="96" y="0"/>
                  </a:moveTo>
                  <a:cubicBezTo>
                    <a:pt x="94" y="0"/>
                    <a:pt x="91" y="1"/>
                    <a:pt x="89" y="2"/>
                  </a:cubicBezTo>
                  <a:cubicBezTo>
                    <a:pt x="81" y="5"/>
                    <a:pt x="78" y="12"/>
                    <a:pt x="78" y="19"/>
                  </a:cubicBezTo>
                  <a:cubicBezTo>
                    <a:pt x="78" y="19"/>
                    <a:pt x="78" y="19"/>
                    <a:pt x="78" y="19"/>
                  </a:cubicBezTo>
                  <a:cubicBezTo>
                    <a:pt x="79" y="23"/>
                    <a:pt x="20" y="37"/>
                    <a:pt x="15" y="37"/>
                  </a:cubicBezTo>
                  <a:cubicBezTo>
                    <a:pt x="15" y="37"/>
                    <a:pt x="15" y="37"/>
                    <a:pt x="15" y="37"/>
                  </a:cubicBezTo>
                  <a:cubicBezTo>
                    <a:pt x="15" y="37"/>
                    <a:pt x="15" y="37"/>
                    <a:pt x="15" y="37"/>
                  </a:cubicBezTo>
                  <a:cubicBezTo>
                    <a:pt x="14" y="37"/>
                    <a:pt x="14" y="37"/>
                    <a:pt x="14" y="37"/>
                  </a:cubicBezTo>
                  <a:cubicBezTo>
                    <a:pt x="14" y="35"/>
                    <a:pt x="12" y="34"/>
                    <a:pt x="10" y="33"/>
                  </a:cubicBezTo>
                  <a:cubicBezTo>
                    <a:pt x="10" y="33"/>
                    <a:pt x="10" y="33"/>
                    <a:pt x="10" y="33"/>
                  </a:cubicBezTo>
                  <a:cubicBezTo>
                    <a:pt x="10" y="33"/>
                    <a:pt x="11" y="22"/>
                    <a:pt x="13" y="9"/>
                  </a:cubicBezTo>
                  <a:cubicBezTo>
                    <a:pt x="11" y="22"/>
                    <a:pt x="9" y="33"/>
                    <a:pt x="8" y="33"/>
                  </a:cubicBezTo>
                  <a:cubicBezTo>
                    <a:pt x="8" y="33"/>
                    <a:pt x="8" y="33"/>
                    <a:pt x="8" y="33"/>
                  </a:cubicBezTo>
                  <a:cubicBezTo>
                    <a:pt x="7" y="33"/>
                    <a:pt x="6" y="33"/>
                    <a:pt x="5" y="34"/>
                  </a:cubicBezTo>
                  <a:cubicBezTo>
                    <a:pt x="2" y="35"/>
                    <a:pt x="0" y="39"/>
                    <a:pt x="2" y="42"/>
                  </a:cubicBezTo>
                  <a:cubicBezTo>
                    <a:pt x="3" y="45"/>
                    <a:pt x="6" y="46"/>
                    <a:pt x="8" y="46"/>
                  </a:cubicBezTo>
                  <a:cubicBezTo>
                    <a:pt x="9" y="46"/>
                    <a:pt x="10" y="46"/>
                    <a:pt x="11" y="45"/>
                  </a:cubicBezTo>
                  <a:cubicBezTo>
                    <a:pt x="12" y="45"/>
                    <a:pt x="12" y="45"/>
                    <a:pt x="12" y="45"/>
                  </a:cubicBezTo>
                  <a:cubicBezTo>
                    <a:pt x="12" y="45"/>
                    <a:pt x="12" y="45"/>
                    <a:pt x="12" y="45"/>
                  </a:cubicBezTo>
                  <a:cubicBezTo>
                    <a:pt x="12" y="45"/>
                    <a:pt x="12" y="45"/>
                    <a:pt x="12" y="45"/>
                  </a:cubicBezTo>
                  <a:cubicBezTo>
                    <a:pt x="14" y="45"/>
                    <a:pt x="51" y="77"/>
                    <a:pt x="49" y="79"/>
                  </a:cubicBezTo>
                  <a:cubicBezTo>
                    <a:pt x="49" y="79"/>
                    <a:pt x="49" y="79"/>
                    <a:pt x="49" y="79"/>
                  </a:cubicBezTo>
                  <a:cubicBezTo>
                    <a:pt x="46" y="83"/>
                    <a:pt x="46" y="88"/>
                    <a:pt x="48" y="93"/>
                  </a:cubicBezTo>
                  <a:cubicBezTo>
                    <a:pt x="50" y="98"/>
                    <a:pt x="55" y="101"/>
                    <a:pt x="60" y="101"/>
                  </a:cubicBezTo>
                  <a:cubicBezTo>
                    <a:pt x="62" y="101"/>
                    <a:pt x="65" y="100"/>
                    <a:pt x="66" y="99"/>
                  </a:cubicBezTo>
                  <a:cubicBezTo>
                    <a:pt x="73" y="96"/>
                    <a:pt x="76" y="88"/>
                    <a:pt x="73" y="81"/>
                  </a:cubicBezTo>
                  <a:cubicBezTo>
                    <a:pt x="72" y="79"/>
                    <a:pt x="70" y="78"/>
                    <a:pt x="69" y="76"/>
                  </a:cubicBezTo>
                  <a:cubicBezTo>
                    <a:pt x="69" y="76"/>
                    <a:pt x="69" y="76"/>
                    <a:pt x="69" y="76"/>
                  </a:cubicBezTo>
                  <a:cubicBezTo>
                    <a:pt x="66" y="75"/>
                    <a:pt x="87" y="34"/>
                    <a:pt x="91" y="34"/>
                  </a:cubicBezTo>
                  <a:cubicBezTo>
                    <a:pt x="91" y="34"/>
                    <a:pt x="91" y="34"/>
                    <a:pt x="91" y="34"/>
                  </a:cubicBezTo>
                  <a:cubicBezTo>
                    <a:pt x="91" y="34"/>
                    <a:pt x="91" y="34"/>
                    <a:pt x="91" y="34"/>
                  </a:cubicBezTo>
                  <a:cubicBezTo>
                    <a:pt x="92" y="34"/>
                    <a:pt x="94" y="35"/>
                    <a:pt x="96" y="35"/>
                  </a:cubicBezTo>
                  <a:cubicBezTo>
                    <a:pt x="99" y="35"/>
                    <a:pt x="101" y="34"/>
                    <a:pt x="104" y="33"/>
                  </a:cubicBezTo>
                  <a:cubicBezTo>
                    <a:pt x="106" y="32"/>
                    <a:pt x="107" y="31"/>
                    <a:pt x="109" y="29"/>
                  </a:cubicBezTo>
                  <a:cubicBezTo>
                    <a:pt x="109" y="30"/>
                    <a:pt x="109" y="30"/>
                    <a:pt x="109" y="30"/>
                  </a:cubicBezTo>
                  <a:cubicBezTo>
                    <a:pt x="109" y="30"/>
                    <a:pt x="109" y="29"/>
                    <a:pt x="109" y="29"/>
                  </a:cubicBezTo>
                  <a:cubicBezTo>
                    <a:pt x="115" y="29"/>
                    <a:pt x="179" y="76"/>
                    <a:pt x="178" y="78"/>
                  </a:cubicBezTo>
                  <a:cubicBezTo>
                    <a:pt x="178" y="78"/>
                    <a:pt x="178" y="78"/>
                    <a:pt x="178" y="78"/>
                  </a:cubicBezTo>
                  <a:cubicBezTo>
                    <a:pt x="177" y="79"/>
                    <a:pt x="177" y="82"/>
                    <a:pt x="178" y="83"/>
                  </a:cubicBezTo>
                  <a:cubicBezTo>
                    <a:pt x="179" y="86"/>
                    <a:pt x="182" y="87"/>
                    <a:pt x="184" y="87"/>
                  </a:cubicBezTo>
                  <a:cubicBezTo>
                    <a:pt x="185" y="87"/>
                    <a:pt x="186" y="87"/>
                    <a:pt x="187" y="87"/>
                  </a:cubicBezTo>
                  <a:cubicBezTo>
                    <a:pt x="191" y="85"/>
                    <a:pt x="192" y="81"/>
                    <a:pt x="190" y="78"/>
                  </a:cubicBezTo>
                  <a:cubicBezTo>
                    <a:pt x="189" y="75"/>
                    <a:pt x="187" y="74"/>
                    <a:pt x="184" y="74"/>
                  </a:cubicBezTo>
                  <a:cubicBezTo>
                    <a:pt x="183" y="74"/>
                    <a:pt x="182" y="74"/>
                    <a:pt x="181" y="75"/>
                  </a:cubicBezTo>
                  <a:cubicBezTo>
                    <a:pt x="181" y="75"/>
                    <a:pt x="180" y="75"/>
                    <a:pt x="179" y="76"/>
                  </a:cubicBezTo>
                  <a:cubicBezTo>
                    <a:pt x="179" y="76"/>
                    <a:pt x="179" y="76"/>
                    <a:pt x="179" y="76"/>
                  </a:cubicBezTo>
                  <a:cubicBezTo>
                    <a:pt x="179" y="76"/>
                    <a:pt x="179" y="76"/>
                    <a:pt x="179" y="76"/>
                  </a:cubicBezTo>
                  <a:cubicBezTo>
                    <a:pt x="177" y="76"/>
                    <a:pt x="110" y="29"/>
                    <a:pt x="112" y="26"/>
                  </a:cubicBezTo>
                  <a:cubicBezTo>
                    <a:pt x="112" y="26"/>
                    <a:pt x="112" y="26"/>
                    <a:pt x="112" y="26"/>
                  </a:cubicBezTo>
                  <a:cubicBezTo>
                    <a:pt x="115" y="21"/>
                    <a:pt x="115" y="15"/>
                    <a:pt x="112" y="10"/>
                  </a:cubicBezTo>
                  <a:cubicBezTo>
                    <a:pt x="109" y="4"/>
                    <a:pt x="103" y="0"/>
                    <a:pt x="96"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 name="Freeform 9"/>
            <p:cNvSpPr>
              <a:spLocks noEditPoints="1"/>
            </p:cNvSpPr>
            <p:nvPr/>
          </p:nvSpPr>
          <p:spPr bwMode="auto">
            <a:xfrm>
              <a:off x="6915150" y="2703513"/>
              <a:ext cx="2552700" cy="1103313"/>
            </a:xfrm>
            <a:custGeom>
              <a:avLst/>
              <a:gdLst>
                <a:gd name="T0" fmla="*/ 305 w 680"/>
                <a:gd name="T1" fmla="*/ 180 h 293"/>
                <a:gd name="T2" fmla="*/ 476 w 680"/>
                <a:gd name="T3" fmla="*/ 198 h 293"/>
                <a:gd name="T4" fmla="*/ 671 w 680"/>
                <a:gd name="T5" fmla="*/ 164 h 293"/>
                <a:gd name="T6" fmla="*/ 639 w 680"/>
                <a:gd name="T7" fmla="*/ 163 h 293"/>
                <a:gd name="T8" fmla="*/ 176 w 680"/>
                <a:gd name="T9" fmla="*/ 124 h 293"/>
                <a:gd name="T10" fmla="*/ 137 w 680"/>
                <a:gd name="T11" fmla="*/ 142 h 293"/>
                <a:gd name="T12" fmla="*/ 210 w 680"/>
                <a:gd name="T13" fmla="*/ 112 h 293"/>
                <a:gd name="T14" fmla="*/ 209 w 680"/>
                <a:gd name="T15" fmla="*/ 112 h 293"/>
                <a:gd name="T16" fmla="*/ 302 w 680"/>
                <a:gd name="T17" fmla="*/ 177 h 293"/>
                <a:gd name="T18" fmla="*/ 501 w 680"/>
                <a:gd name="T19" fmla="*/ 103 h 293"/>
                <a:gd name="T20" fmla="*/ 447 w 680"/>
                <a:gd name="T21" fmla="*/ 82 h 293"/>
                <a:gd name="T22" fmla="*/ 431 w 680"/>
                <a:gd name="T23" fmla="*/ 75 h 293"/>
                <a:gd name="T24" fmla="*/ 272 w 680"/>
                <a:gd name="T25" fmla="*/ 100 h 293"/>
                <a:gd name="T26" fmla="*/ 176 w 680"/>
                <a:gd name="T27" fmla="*/ 124 h 293"/>
                <a:gd name="T28" fmla="*/ 165 w 680"/>
                <a:gd name="T29" fmla="*/ 74 h 293"/>
                <a:gd name="T30" fmla="*/ 209 w 680"/>
                <a:gd name="T31" fmla="*/ 110 h 293"/>
                <a:gd name="T32" fmla="*/ 1 w 680"/>
                <a:gd name="T33" fmla="*/ 9 h 293"/>
                <a:gd name="T34" fmla="*/ 112 w 680"/>
                <a:gd name="T35" fmla="*/ 136 h 293"/>
                <a:gd name="T36" fmla="*/ 172 w 680"/>
                <a:gd name="T37" fmla="*/ 142 h 293"/>
                <a:gd name="T38" fmla="*/ 187 w 680"/>
                <a:gd name="T39" fmla="*/ 142 h 293"/>
                <a:gd name="T40" fmla="*/ 251 w 680"/>
                <a:gd name="T41" fmla="*/ 143 h 293"/>
                <a:gd name="T42" fmla="*/ 266 w 680"/>
                <a:gd name="T43" fmla="*/ 103 h 293"/>
                <a:gd name="T44" fmla="*/ 298 w 680"/>
                <a:gd name="T45" fmla="*/ 202 h 293"/>
                <a:gd name="T46" fmla="*/ 361 w 680"/>
                <a:gd name="T47" fmla="*/ 264 h 293"/>
                <a:gd name="T48" fmla="*/ 313 w 680"/>
                <a:gd name="T49" fmla="*/ 172 h 293"/>
                <a:gd name="T50" fmla="*/ 443 w 680"/>
                <a:gd name="T51" fmla="*/ 83 h 293"/>
                <a:gd name="T52" fmla="*/ 364 w 680"/>
                <a:gd name="T53" fmla="*/ 184 h 293"/>
                <a:gd name="T54" fmla="*/ 399 w 680"/>
                <a:gd name="T55" fmla="*/ 155 h 293"/>
                <a:gd name="T56" fmla="*/ 358 w 680"/>
                <a:gd name="T57" fmla="*/ 180 h 293"/>
                <a:gd name="T58" fmla="*/ 430 w 680"/>
                <a:gd name="T59" fmla="*/ 184 h 293"/>
                <a:gd name="T60" fmla="*/ 436 w 680"/>
                <a:gd name="T61" fmla="*/ 180 h 293"/>
                <a:gd name="T62" fmla="*/ 469 w 680"/>
                <a:gd name="T63" fmla="*/ 199 h 293"/>
                <a:gd name="T64" fmla="*/ 518 w 680"/>
                <a:gd name="T65" fmla="*/ 271 h 293"/>
                <a:gd name="T66" fmla="*/ 522 w 680"/>
                <a:gd name="T67" fmla="*/ 268 h 293"/>
                <a:gd name="T68" fmla="*/ 480 w 680"/>
                <a:gd name="T69" fmla="*/ 199 h 293"/>
                <a:gd name="T70" fmla="*/ 548 w 680"/>
                <a:gd name="T71" fmla="*/ 166 h 293"/>
                <a:gd name="T72" fmla="*/ 585 w 680"/>
                <a:gd name="T73" fmla="*/ 189 h 293"/>
                <a:gd name="T74" fmla="*/ 586 w 680"/>
                <a:gd name="T75" fmla="*/ 184 h 293"/>
                <a:gd name="T76" fmla="*/ 586 w 680"/>
                <a:gd name="T77" fmla="*/ 135 h 293"/>
                <a:gd name="T78" fmla="*/ 593 w 680"/>
                <a:gd name="T79" fmla="*/ 135 h 293"/>
                <a:gd name="T80" fmla="*/ 639 w 680"/>
                <a:gd name="T81" fmla="*/ 165 h 293"/>
                <a:gd name="T82" fmla="*/ 593 w 680"/>
                <a:gd name="T83" fmla="*/ 258 h 293"/>
                <a:gd name="T84" fmla="*/ 592 w 680"/>
                <a:gd name="T85" fmla="*/ 270 h 293"/>
                <a:gd name="T86" fmla="*/ 675 w 680"/>
                <a:gd name="T87" fmla="*/ 169 h 293"/>
                <a:gd name="T88" fmla="*/ 671 w 680"/>
                <a:gd name="T89" fmla="*/ 163 h 293"/>
                <a:gd name="T90" fmla="*/ 585 w 680"/>
                <a:gd name="T91" fmla="*/ 134 h 293"/>
                <a:gd name="T92" fmla="*/ 541 w 680"/>
                <a:gd name="T93" fmla="*/ 159 h 293"/>
                <a:gd name="T94" fmla="*/ 519 w 680"/>
                <a:gd name="T95" fmla="*/ 102 h 293"/>
                <a:gd name="T96" fmla="*/ 454 w 680"/>
                <a:gd name="T97" fmla="*/ 75 h 293"/>
                <a:gd name="T98" fmla="*/ 277 w 680"/>
                <a:gd name="T99" fmla="*/ 88 h 293"/>
                <a:gd name="T100" fmla="*/ 260 w 680"/>
                <a:gd name="T101" fmla="*/ 102 h 293"/>
                <a:gd name="T102" fmla="*/ 245 w 680"/>
                <a:gd name="T103" fmla="*/ 146 h 293"/>
                <a:gd name="T104" fmla="*/ 211 w 680"/>
                <a:gd name="T105" fmla="*/ 113 h 293"/>
                <a:gd name="T106" fmla="*/ 211 w 680"/>
                <a:gd name="T107" fmla="*/ 105 h 293"/>
                <a:gd name="T108" fmla="*/ 168 w 680"/>
                <a:gd name="T109" fmla="*/ 55 h 293"/>
                <a:gd name="T110" fmla="*/ 122 w 680"/>
                <a:gd name="T111" fmla="*/ 132 h 293"/>
                <a:gd name="T112" fmla="*/ 115 w 680"/>
                <a:gd name="T113" fmla="*/ 133 h 293"/>
                <a:gd name="T114" fmla="*/ 98 w 680"/>
                <a:gd name="T115" fmla="*/ 90 h 293"/>
                <a:gd name="T116" fmla="*/ 102 w 680"/>
                <a:gd name="T117" fmla="*/ 84 h 293"/>
                <a:gd name="T118" fmla="*/ 13 w 680"/>
                <a:gd name="T119" fmla="*/ 1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0" h="293">
                  <a:moveTo>
                    <a:pt x="305" y="180"/>
                  </a:moveTo>
                  <a:cubicBezTo>
                    <a:pt x="304" y="180"/>
                    <a:pt x="307" y="177"/>
                    <a:pt x="313" y="173"/>
                  </a:cubicBezTo>
                  <a:cubicBezTo>
                    <a:pt x="333" y="207"/>
                    <a:pt x="354" y="243"/>
                    <a:pt x="355" y="247"/>
                  </a:cubicBezTo>
                  <a:cubicBezTo>
                    <a:pt x="350" y="244"/>
                    <a:pt x="302" y="199"/>
                    <a:pt x="304" y="197"/>
                  </a:cubicBezTo>
                  <a:cubicBezTo>
                    <a:pt x="304" y="197"/>
                    <a:pt x="304" y="197"/>
                    <a:pt x="304" y="197"/>
                  </a:cubicBezTo>
                  <a:cubicBezTo>
                    <a:pt x="307" y="193"/>
                    <a:pt x="308" y="187"/>
                    <a:pt x="305" y="182"/>
                  </a:cubicBezTo>
                  <a:cubicBezTo>
                    <a:pt x="305" y="181"/>
                    <a:pt x="305" y="181"/>
                    <a:pt x="305" y="180"/>
                  </a:cubicBezTo>
                  <a:cubicBezTo>
                    <a:pt x="305" y="180"/>
                    <a:pt x="305" y="180"/>
                    <a:pt x="305" y="180"/>
                  </a:cubicBezTo>
                  <a:moveTo>
                    <a:pt x="473" y="198"/>
                  </a:moveTo>
                  <a:cubicBezTo>
                    <a:pt x="472" y="198"/>
                    <a:pt x="469" y="187"/>
                    <a:pt x="465" y="171"/>
                  </a:cubicBezTo>
                  <a:cubicBezTo>
                    <a:pt x="473" y="170"/>
                    <a:pt x="481" y="169"/>
                    <a:pt x="489" y="168"/>
                  </a:cubicBezTo>
                  <a:cubicBezTo>
                    <a:pt x="483" y="184"/>
                    <a:pt x="477" y="198"/>
                    <a:pt x="476" y="198"/>
                  </a:cubicBezTo>
                  <a:cubicBezTo>
                    <a:pt x="476" y="198"/>
                    <a:pt x="476" y="198"/>
                    <a:pt x="476" y="198"/>
                  </a:cubicBezTo>
                  <a:cubicBezTo>
                    <a:pt x="476" y="198"/>
                    <a:pt x="476" y="198"/>
                    <a:pt x="476" y="198"/>
                  </a:cubicBezTo>
                  <a:cubicBezTo>
                    <a:pt x="475" y="198"/>
                    <a:pt x="475" y="198"/>
                    <a:pt x="474" y="198"/>
                  </a:cubicBezTo>
                  <a:cubicBezTo>
                    <a:pt x="473" y="198"/>
                    <a:pt x="473" y="198"/>
                    <a:pt x="473" y="198"/>
                  </a:cubicBezTo>
                  <a:cubicBezTo>
                    <a:pt x="473" y="198"/>
                    <a:pt x="473" y="198"/>
                    <a:pt x="473" y="198"/>
                  </a:cubicBezTo>
                  <a:cubicBezTo>
                    <a:pt x="473" y="198"/>
                    <a:pt x="473" y="198"/>
                    <a:pt x="473" y="198"/>
                  </a:cubicBezTo>
                  <a:moveTo>
                    <a:pt x="632" y="162"/>
                  </a:moveTo>
                  <a:cubicBezTo>
                    <a:pt x="631" y="162"/>
                    <a:pt x="596" y="137"/>
                    <a:pt x="594" y="134"/>
                  </a:cubicBezTo>
                  <a:cubicBezTo>
                    <a:pt x="598" y="135"/>
                    <a:pt x="671" y="163"/>
                    <a:pt x="671" y="164"/>
                  </a:cubicBezTo>
                  <a:cubicBezTo>
                    <a:pt x="671" y="164"/>
                    <a:pt x="671" y="164"/>
                    <a:pt x="671" y="164"/>
                  </a:cubicBezTo>
                  <a:cubicBezTo>
                    <a:pt x="671" y="164"/>
                    <a:pt x="671" y="164"/>
                    <a:pt x="671" y="164"/>
                  </a:cubicBezTo>
                  <a:cubicBezTo>
                    <a:pt x="671" y="164"/>
                    <a:pt x="671" y="164"/>
                    <a:pt x="671" y="164"/>
                  </a:cubicBezTo>
                  <a:cubicBezTo>
                    <a:pt x="671" y="164"/>
                    <a:pt x="663" y="165"/>
                    <a:pt x="655" y="165"/>
                  </a:cubicBezTo>
                  <a:cubicBezTo>
                    <a:pt x="647" y="165"/>
                    <a:pt x="639" y="164"/>
                    <a:pt x="639" y="164"/>
                  </a:cubicBezTo>
                  <a:cubicBezTo>
                    <a:pt x="639" y="164"/>
                    <a:pt x="639" y="164"/>
                    <a:pt x="639" y="164"/>
                  </a:cubicBezTo>
                  <a:cubicBezTo>
                    <a:pt x="639" y="164"/>
                    <a:pt x="639" y="163"/>
                    <a:pt x="639" y="163"/>
                  </a:cubicBezTo>
                  <a:cubicBezTo>
                    <a:pt x="638" y="162"/>
                    <a:pt x="636" y="161"/>
                    <a:pt x="635" y="161"/>
                  </a:cubicBezTo>
                  <a:cubicBezTo>
                    <a:pt x="634" y="161"/>
                    <a:pt x="634" y="161"/>
                    <a:pt x="633" y="161"/>
                  </a:cubicBezTo>
                  <a:cubicBezTo>
                    <a:pt x="633" y="161"/>
                    <a:pt x="632" y="162"/>
                    <a:pt x="632" y="162"/>
                  </a:cubicBezTo>
                  <a:cubicBezTo>
                    <a:pt x="632" y="162"/>
                    <a:pt x="632" y="162"/>
                    <a:pt x="632" y="162"/>
                  </a:cubicBezTo>
                  <a:cubicBezTo>
                    <a:pt x="632" y="162"/>
                    <a:pt x="632" y="162"/>
                    <a:pt x="632" y="162"/>
                  </a:cubicBezTo>
                  <a:moveTo>
                    <a:pt x="137" y="142"/>
                  </a:moveTo>
                  <a:cubicBezTo>
                    <a:pt x="136" y="141"/>
                    <a:pt x="157" y="132"/>
                    <a:pt x="176" y="124"/>
                  </a:cubicBezTo>
                  <a:cubicBezTo>
                    <a:pt x="176" y="130"/>
                    <a:pt x="177" y="134"/>
                    <a:pt x="176" y="134"/>
                  </a:cubicBezTo>
                  <a:cubicBezTo>
                    <a:pt x="176" y="134"/>
                    <a:pt x="176" y="134"/>
                    <a:pt x="176" y="134"/>
                  </a:cubicBezTo>
                  <a:cubicBezTo>
                    <a:pt x="175" y="134"/>
                    <a:pt x="175" y="134"/>
                    <a:pt x="175" y="134"/>
                  </a:cubicBezTo>
                  <a:cubicBezTo>
                    <a:pt x="173" y="136"/>
                    <a:pt x="172" y="138"/>
                    <a:pt x="171" y="140"/>
                  </a:cubicBezTo>
                  <a:cubicBezTo>
                    <a:pt x="171" y="140"/>
                    <a:pt x="171" y="140"/>
                    <a:pt x="171" y="140"/>
                  </a:cubicBezTo>
                  <a:cubicBezTo>
                    <a:pt x="171" y="141"/>
                    <a:pt x="152" y="143"/>
                    <a:pt x="143" y="143"/>
                  </a:cubicBezTo>
                  <a:cubicBezTo>
                    <a:pt x="139" y="143"/>
                    <a:pt x="137" y="143"/>
                    <a:pt x="137" y="142"/>
                  </a:cubicBezTo>
                  <a:cubicBezTo>
                    <a:pt x="137" y="142"/>
                    <a:pt x="137" y="142"/>
                    <a:pt x="137" y="142"/>
                  </a:cubicBezTo>
                  <a:cubicBezTo>
                    <a:pt x="137" y="142"/>
                    <a:pt x="137" y="142"/>
                    <a:pt x="137" y="142"/>
                  </a:cubicBezTo>
                  <a:cubicBezTo>
                    <a:pt x="137" y="142"/>
                    <a:pt x="137" y="142"/>
                    <a:pt x="137" y="142"/>
                  </a:cubicBezTo>
                  <a:moveTo>
                    <a:pt x="209" y="112"/>
                  </a:moveTo>
                  <a:cubicBezTo>
                    <a:pt x="209" y="112"/>
                    <a:pt x="209" y="112"/>
                    <a:pt x="209" y="112"/>
                  </a:cubicBezTo>
                  <a:cubicBezTo>
                    <a:pt x="210" y="112"/>
                    <a:pt x="210" y="112"/>
                    <a:pt x="210" y="112"/>
                  </a:cubicBezTo>
                  <a:cubicBezTo>
                    <a:pt x="210" y="112"/>
                    <a:pt x="210" y="112"/>
                    <a:pt x="210" y="112"/>
                  </a:cubicBezTo>
                  <a:cubicBezTo>
                    <a:pt x="210" y="113"/>
                    <a:pt x="185" y="135"/>
                    <a:pt x="183" y="135"/>
                  </a:cubicBezTo>
                  <a:cubicBezTo>
                    <a:pt x="183" y="135"/>
                    <a:pt x="183" y="135"/>
                    <a:pt x="183" y="135"/>
                  </a:cubicBezTo>
                  <a:cubicBezTo>
                    <a:pt x="183" y="135"/>
                    <a:pt x="183" y="135"/>
                    <a:pt x="183" y="135"/>
                  </a:cubicBezTo>
                  <a:cubicBezTo>
                    <a:pt x="181" y="134"/>
                    <a:pt x="180" y="134"/>
                    <a:pt x="178" y="134"/>
                  </a:cubicBezTo>
                  <a:cubicBezTo>
                    <a:pt x="178" y="134"/>
                    <a:pt x="178" y="134"/>
                    <a:pt x="178" y="134"/>
                  </a:cubicBezTo>
                  <a:cubicBezTo>
                    <a:pt x="178" y="134"/>
                    <a:pt x="177" y="130"/>
                    <a:pt x="176" y="124"/>
                  </a:cubicBezTo>
                  <a:cubicBezTo>
                    <a:pt x="193" y="118"/>
                    <a:pt x="208" y="112"/>
                    <a:pt x="209" y="112"/>
                  </a:cubicBezTo>
                  <a:cubicBezTo>
                    <a:pt x="209" y="112"/>
                    <a:pt x="209" y="112"/>
                    <a:pt x="209" y="112"/>
                  </a:cubicBezTo>
                  <a:moveTo>
                    <a:pt x="289" y="173"/>
                  </a:moveTo>
                  <a:cubicBezTo>
                    <a:pt x="286" y="173"/>
                    <a:pt x="269" y="109"/>
                    <a:pt x="270" y="102"/>
                  </a:cubicBezTo>
                  <a:cubicBezTo>
                    <a:pt x="273" y="106"/>
                    <a:pt x="292" y="138"/>
                    <a:pt x="312" y="171"/>
                  </a:cubicBezTo>
                  <a:cubicBezTo>
                    <a:pt x="306" y="174"/>
                    <a:pt x="302" y="177"/>
                    <a:pt x="302" y="177"/>
                  </a:cubicBezTo>
                  <a:cubicBezTo>
                    <a:pt x="302" y="177"/>
                    <a:pt x="302" y="177"/>
                    <a:pt x="302" y="177"/>
                  </a:cubicBezTo>
                  <a:cubicBezTo>
                    <a:pt x="302" y="177"/>
                    <a:pt x="302" y="177"/>
                    <a:pt x="302" y="177"/>
                  </a:cubicBezTo>
                  <a:cubicBezTo>
                    <a:pt x="299" y="174"/>
                    <a:pt x="295" y="173"/>
                    <a:pt x="291" y="173"/>
                  </a:cubicBezTo>
                  <a:cubicBezTo>
                    <a:pt x="290" y="173"/>
                    <a:pt x="290" y="173"/>
                    <a:pt x="289" y="173"/>
                  </a:cubicBezTo>
                  <a:cubicBezTo>
                    <a:pt x="289" y="173"/>
                    <a:pt x="289" y="173"/>
                    <a:pt x="289" y="173"/>
                  </a:cubicBezTo>
                  <a:cubicBezTo>
                    <a:pt x="289" y="173"/>
                    <a:pt x="289" y="173"/>
                    <a:pt x="289" y="173"/>
                  </a:cubicBezTo>
                  <a:moveTo>
                    <a:pt x="452" y="78"/>
                  </a:moveTo>
                  <a:cubicBezTo>
                    <a:pt x="452" y="78"/>
                    <a:pt x="452" y="78"/>
                    <a:pt x="453" y="78"/>
                  </a:cubicBezTo>
                  <a:cubicBezTo>
                    <a:pt x="457" y="78"/>
                    <a:pt x="501" y="101"/>
                    <a:pt x="501" y="103"/>
                  </a:cubicBezTo>
                  <a:cubicBezTo>
                    <a:pt x="501" y="103"/>
                    <a:pt x="501" y="103"/>
                    <a:pt x="501" y="103"/>
                  </a:cubicBezTo>
                  <a:cubicBezTo>
                    <a:pt x="500" y="105"/>
                    <a:pt x="500" y="108"/>
                    <a:pt x="501" y="110"/>
                  </a:cubicBezTo>
                  <a:cubicBezTo>
                    <a:pt x="502" y="112"/>
                    <a:pt x="504" y="113"/>
                    <a:pt x="506" y="114"/>
                  </a:cubicBezTo>
                  <a:cubicBezTo>
                    <a:pt x="506" y="114"/>
                    <a:pt x="506" y="114"/>
                    <a:pt x="506" y="114"/>
                  </a:cubicBezTo>
                  <a:cubicBezTo>
                    <a:pt x="507" y="115"/>
                    <a:pt x="497" y="144"/>
                    <a:pt x="489" y="168"/>
                  </a:cubicBezTo>
                  <a:cubicBezTo>
                    <a:pt x="481" y="169"/>
                    <a:pt x="473" y="170"/>
                    <a:pt x="465" y="171"/>
                  </a:cubicBezTo>
                  <a:cubicBezTo>
                    <a:pt x="457" y="137"/>
                    <a:pt x="445" y="83"/>
                    <a:pt x="447" y="82"/>
                  </a:cubicBezTo>
                  <a:cubicBezTo>
                    <a:pt x="447" y="82"/>
                    <a:pt x="447" y="82"/>
                    <a:pt x="447" y="82"/>
                  </a:cubicBezTo>
                  <a:cubicBezTo>
                    <a:pt x="448" y="82"/>
                    <a:pt x="448" y="82"/>
                    <a:pt x="448" y="82"/>
                  </a:cubicBezTo>
                  <a:cubicBezTo>
                    <a:pt x="450" y="81"/>
                    <a:pt x="451" y="80"/>
                    <a:pt x="452" y="78"/>
                  </a:cubicBezTo>
                  <a:cubicBezTo>
                    <a:pt x="452" y="78"/>
                    <a:pt x="452" y="78"/>
                    <a:pt x="452" y="78"/>
                  </a:cubicBezTo>
                  <a:moveTo>
                    <a:pt x="277" y="92"/>
                  </a:moveTo>
                  <a:cubicBezTo>
                    <a:pt x="277" y="90"/>
                    <a:pt x="413" y="74"/>
                    <a:pt x="429" y="74"/>
                  </a:cubicBezTo>
                  <a:cubicBezTo>
                    <a:pt x="431" y="74"/>
                    <a:pt x="431" y="74"/>
                    <a:pt x="431" y="75"/>
                  </a:cubicBezTo>
                  <a:cubicBezTo>
                    <a:pt x="431" y="75"/>
                    <a:pt x="431" y="75"/>
                    <a:pt x="431" y="75"/>
                  </a:cubicBezTo>
                  <a:cubicBezTo>
                    <a:pt x="431" y="75"/>
                    <a:pt x="432" y="76"/>
                    <a:pt x="432" y="76"/>
                  </a:cubicBezTo>
                  <a:cubicBezTo>
                    <a:pt x="432" y="77"/>
                    <a:pt x="432" y="77"/>
                    <a:pt x="432" y="77"/>
                  </a:cubicBezTo>
                  <a:cubicBezTo>
                    <a:pt x="432" y="77"/>
                    <a:pt x="432" y="77"/>
                    <a:pt x="432" y="77"/>
                  </a:cubicBezTo>
                  <a:cubicBezTo>
                    <a:pt x="433" y="79"/>
                    <a:pt x="343" y="149"/>
                    <a:pt x="312" y="170"/>
                  </a:cubicBezTo>
                  <a:cubicBezTo>
                    <a:pt x="291" y="135"/>
                    <a:pt x="272" y="101"/>
                    <a:pt x="272" y="100"/>
                  </a:cubicBezTo>
                  <a:cubicBezTo>
                    <a:pt x="272" y="100"/>
                    <a:pt x="272" y="100"/>
                    <a:pt x="272" y="100"/>
                  </a:cubicBezTo>
                  <a:cubicBezTo>
                    <a:pt x="275" y="98"/>
                    <a:pt x="277" y="95"/>
                    <a:pt x="277" y="92"/>
                  </a:cubicBezTo>
                  <a:cubicBezTo>
                    <a:pt x="277" y="92"/>
                    <a:pt x="277" y="92"/>
                    <a:pt x="277" y="92"/>
                  </a:cubicBezTo>
                  <a:moveTo>
                    <a:pt x="165" y="74"/>
                  </a:moveTo>
                  <a:cubicBezTo>
                    <a:pt x="165" y="74"/>
                    <a:pt x="165" y="74"/>
                    <a:pt x="165" y="74"/>
                  </a:cubicBezTo>
                  <a:cubicBezTo>
                    <a:pt x="166" y="74"/>
                    <a:pt x="167" y="74"/>
                    <a:pt x="168" y="74"/>
                  </a:cubicBezTo>
                  <a:cubicBezTo>
                    <a:pt x="168" y="74"/>
                    <a:pt x="168" y="74"/>
                    <a:pt x="168" y="74"/>
                  </a:cubicBezTo>
                  <a:cubicBezTo>
                    <a:pt x="169" y="74"/>
                    <a:pt x="174" y="107"/>
                    <a:pt x="176" y="124"/>
                  </a:cubicBezTo>
                  <a:cubicBezTo>
                    <a:pt x="158" y="131"/>
                    <a:pt x="139" y="139"/>
                    <a:pt x="135" y="139"/>
                  </a:cubicBezTo>
                  <a:cubicBezTo>
                    <a:pt x="135" y="139"/>
                    <a:pt x="135" y="138"/>
                    <a:pt x="135" y="138"/>
                  </a:cubicBezTo>
                  <a:cubicBezTo>
                    <a:pt x="135" y="138"/>
                    <a:pt x="135" y="138"/>
                    <a:pt x="135" y="138"/>
                  </a:cubicBezTo>
                  <a:cubicBezTo>
                    <a:pt x="134" y="137"/>
                    <a:pt x="133" y="135"/>
                    <a:pt x="131" y="134"/>
                  </a:cubicBezTo>
                  <a:cubicBezTo>
                    <a:pt x="131" y="134"/>
                    <a:pt x="131" y="134"/>
                    <a:pt x="131" y="134"/>
                  </a:cubicBezTo>
                  <a:cubicBezTo>
                    <a:pt x="129" y="133"/>
                    <a:pt x="163" y="74"/>
                    <a:pt x="165" y="74"/>
                  </a:cubicBezTo>
                  <a:cubicBezTo>
                    <a:pt x="165" y="74"/>
                    <a:pt x="165" y="74"/>
                    <a:pt x="165" y="74"/>
                  </a:cubicBezTo>
                  <a:moveTo>
                    <a:pt x="171" y="74"/>
                  </a:moveTo>
                  <a:cubicBezTo>
                    <a:pt x="172" y="74"/>
                    <a:pt x="173" y="73"/>
                    <a:pt x="174" y="72"/>
                  </a:cubicBezTo>
                  <a:cubicBezTo>
                    <a:pt x="174" y="72"/>
                    <a:pt x="174" y="72"/>
                    <a:pt x="174" y="72"/>
                  </a:cubicBezTo>
                  <a:cubicBezTo>
                    <a:pt x="174" y="72"/>
                    <a:pt x="174" y="72"/>
                    <a:pt x="174" y="72"/>
                  </a:cubicBezTo>
                  <a:cubicBezTo>
                    <a:pt x="177" y="72"/>
                    <a:pt x="210" y="106"/>
                    <a:pt x="210" y="107"/>
                  </a:cubicBezTo>
                  <a:cubicBezTo>
                    <a:pt x="210" y="107"/>
                    <a:pt x="210" y="107"/>
                    <a:pt x="210" y="107"/>
                  </a:cubicBezTo>
                  <a:cubicBezTo>
                    <a:pt x="209" y="108"/>
                    <a:pt x="209" y="109"/>
                    <a:pt x="209" y="110"/>
                  </a:cubicBezTo>
                  <a:cubicBezTo>
                    <a:pt x="209" y="110"/>
                    <a:pt x="209" y="110"/>
                    <a:pt x="209" y="110"/>
                  </a:cubicBezTo>
                  <a:cubicBezTo>
                    <a:pt x="209" y="111"/>
                    <a:pt x="193" y="117"/>
                    <a:pt x="176" y="124"/>
                  </a:cubicBezTo>
                  <a:cubicBezTo>
                    <a:pt x="174" y="107"/>
                    <a:pt x="170" y="74"/>
                    <a:pt x="171" y="74"/>
                  </a:cubicBezTo>
                  <a:cubicBezTo>
                    <a:pt x="171" y="74"/>
                    <a:pt x="171" y="74"/>
                    <a:pt x="171" y="74"/>
                  </a:cubicBezTo>
                  <a:moveTo>
                    <a:pt x="8" y="0"/>
                  </a:moveTo>
                  <a:cubicBezTo>
                    <a:pt x="7" y="0"/>
                    <a:pt x="6" y="0"/>
                    <a:pt x="5" y="0"/>
                  </a:cubicBezTo>
                  <a:cubicBezTo>
                    <a:pt x="1" y="2"/>
                    <a:pt x="0" y="6"/>
                    <a:pt x="1" y="9"/>
                  </a:cubicBezTo>
                  <a:cubicBezTo>
                    <a:pt x="3" y="12"/>
                    <a:pt x="5" y="13"/>
                    <a:pt x="8" y="13"/>
                  </a:cubicBezTo>
                  <a:cubicBezTo>
                    <a:pt x="9" y="13"/>
                    <a:pt x="10" y="13"/>
                    <a:pt x="11" y="12"/>
                  </a:cubicBezTo>
                  <a:cubicBezTo>
                    <a:pt x="11" y="12"/>
                    <a:pt x="11" y="12"/>
                    <a:pt x="11" y="12"/>
                  </a:cubicBezTo>
                  <a:cubicBezTo>
                    <a:pt x="11" y="12"/>
                    <a:pt x="11" y="12"/>
                    <a:pt x="11" y="12"/>
                  </a:cubicBezTo>
                  <a:cubicBezTo>
                    <a:pt x="11" y="12"/>
                    <a:pt x="11" y="12"/>
                    <a:pt x="11" y="12"/>
                  </a:cubicBezTo>
                  <a:cubicBezTo>
                    <a:pt x="13" y="12"/>
                    <a:pt x="114" y="134"/>
                    <a:pt x="112" y="136"/>
                  </a:cubicBezTo>
                  <a:cubicBezTo>
                    <a:pt x="112" y="136"/>
                    <a:pt x="112" y="136"/>
                    <a:pt x="112" y="136"/>
                  </a:cubicBezTo>
                  <a:cubicBezTo>
                    <a:pt x="108" y="140"/>
                    <a:pt x="107" y="146"/>
                    <a:pt x="109" y="152"/>
                  </a:cubicBezTo>
                  <a:cubicBezTo>
                    <a:pt x="112" y="157"/>
                    <a:pt x="117" y="160"/>
                    <a:pt x="122" y="160"/>
                  </a:cubicBezTo>
                  <a:cubicBezTo>
                    <a:pt x="125" y="160"/>
                    <a:pt x="127" y="159"/>
                    <a:pt x="129" y="158"/>
                  </a:cubicBezTo>
                  <a:cubicBezTo>
                    <a:pt x="134" y="156"/>
                    <a:pt x="137" y="151"/>
                    <a:pt x="137" y="146"/>
                  </a:cubicBezTo>
                  <a:cubicBezTo>
                    <a:pt x="137" y="146"/>
                    <a:pt x="137" y="146"/>
                    <a:pt x="137" y="146"/>
                  </a:cubicBezTo>
                  <a:cubicBezTo>
                    <a:pt x="137" y="144"/>
                    <a:pt x="160" y="142"/>
                    <a:pt x="168" y="142"/>
                  </a:cubicBezTo>
                  <a:cubicBezTo>
                    <a:pt x="170" y="142"/>
                    <a:pt x="172" y="142"/>
                    <a:pt x="172" y="142"/>
                  </a:cubicBezTo>
                  <a:cubicBezTo>
                    <a:pt x="172" y="142"/>
                    <a:pt x="172" y="142"/>
                    <a:pt x="172" y="142"/>
                  </a:cubicBezTo>
                  <a:cubicBezTo>
                    <a:pt x="172" y="143"/>
                    <a:pt x="172" y="143"/>
                    <a:pt x="172" y="143"/>
                  </a:cubicBezTo>
                  <a:cubicBezTo>
                    <a:pt x="173" y="146"/>
                    <a:pt x="176" y="147"/>
                    <a:pt x="178" y="147"/>
                  </a:cubicBezTo>
                  <a:cubicBezTo>
                    <a:pt x="179" y="147"/>
                    <a:pt x="180" y="147"/>
                    <a:pt x="181" y="146"/>
                  </a:cubicBezTo>
                  <a:cubicBezTo>
                    <a:pt x="183" y="146"/>
                    <a:pt x="184" y="144"/>
                    <a:pt x="185" y="142"/>
                  </a:cubicBezTo>
                  <a:cubicBezTo>
                    <a:pt x="185" y="142"/>
                    <a:pt x="185" y="142"/>
                    <a:pt x="185" y="142"/>
                  </a:cubicBezTo>
                  <a:cubicBezTo>
                    <a:pt x="185" y="142"/>
                    <a:pt x="186" y="142"/>
                    <a:pt x="187" y="142"/>
                  </a:cubicBezTo>
                  <a:cubicBezTo>
                    <a:pt x="197" y="142"/>
                    <a:pt x="245" y="147"/>
                    <a:pt x="245" y="147"/>
                  </a:cubicBezTo>
                  <a:cubicBezTo>
                    <a:pt x="245" y="147"/>
                    <a:pt x="245" y="147"/>
                    <a:pt x="245" y="147"/>
                  </a:cubicBezTo>
                  <a:cubicBezTo>
                    <a:pt x="245" y="148"/>
                    <a:pt x="245" y="148"/>
                    <a:pt x="245" y="149"/>
                  </a:cubicBezTo>
                  <a:cubicBezTo>
                    <a:pt x="246" y="150"/>
                    <a:pt x="247" y="151"/>
                    <a:pt x="249" y="151"/>
                  </a:cubicBezTo>
                  <a:cubicBezTo>
                    <a:pt x="250" y="151"/>
                    <a:pt x="250" y="151"/>
                    <a:pt x="251" y="151"/>
                  </a:cubicBezTo>
                  <a:cubicBezTo>
                    <a:pt x="253" y="150"/>
                    <a:pt x="254" y="147"/>
                    <a:pt x="253" y="145"/>
                  </a:cubicBezTo>
                  <a:cubicBezTo>
                    <a:pt x="252" y="144"/>
                    <a:pt x="251" y="144"/>
                    <a:pt x="251" y="143"/>
                  </a:cubicBezTo>
                  <a:cubicBezTo>
                    <a:pt x="251" y="143"/>
                    <a:pt x="251" y="143"/>
                    <a:pt x="251" y="143"/>
                  </a:cubicBezTo>
                  <a:cubicBezTo>
                    <a:pt x="250" y="143"/>
                    <a:pt x="261" y="103"/>
                    <a:pt x="264" y="103"/>
                  </a:cubicBezTo>
                  <a:cubicBezTo>
                    <a:pt x="264" y="103"/>
                    <a:pt x="264" y="103"/>
                    <a:pt x="264" y="103"/>
                  </a:cubicBezTo>
                  <a:cubicBezTo>
                    <a:pt x="263" y="103"/>
                    <a:pt x="263" y="103"/>
                    <a:pt x="263" y="103"/>
                  </a:cubicBezTo>
                  <a:cubicBezTo>
                    <a:pt x="264" y="103"/>
                    <a:pt x="265" y="103"/>
                    <a:pt x="265" y="103"/>
                  </a:cubicBezTo>
                  <a:cubicBezTo>
                    <a:pt x="265" y="103"/>
                    <a:pt x="266" y="103"/>
                    <a:pt x="266" y="103"/>
                  </a:cubicBezTo>
                  <a:cubicBezTo>
                    <a:pt x="266" y="103"/>
                    <a:pt x="266" y="103"/>
                    <a:pt x="266" y="103"/>
                  </a:cubicBezTo>
                  <a:cubicBezTo>
                    <a:pt x="266" y="103"/>
                    <a:pt x="266" y="103"/>
                    <a:pt x="266" y="103"/>
                  </a:cubicBezTo>
                  <a:cubicBezTo>
                    <a:pt x="269" y="103"/>
                    <a:pt x="288" y="173"/>
                    <a:pt x="285" y="174"/>
                  </a:cubicBezTo>
                  <a:cubicBezTo>
                    <a:pt x="285" y="174"/>
                    <a:pt x="285" y="174"/>
                    <a:pt x="285" y="174"/>
                  </a:cubicBezTo>
                  <a:cubicBezTo>
                    <a:pt x="284" y="174"/>
                    <a:pt x="284" y="174"/>
                    <a:pt x="284" y="174"/>
                  </a:cubicBezTo>
                  <a:cubicBezTo>
                    <a:pt x="276" y="178"/>
                    <a:pt x="273" y="187"/>
                    <a:pt x="277" y="194"/>
                  </a:cubicBezTo>
                  <a:cubicBezTo>
                    <a:pt x="279" y="200"/>
                    <a:pt x="285" y="203"/>
                    <a:pt x="291" y="203"/>
                  </a:cubicBezTo>
                  <a:cubicBezTo>
                    <a:pt x="293" y="203"/>
                    <a:pt x="295" y="203"/>
                    <a:pt x="298" y="202"/>
                  </a:cubicBezTo>
                  <a:cubicBezTo>
                    <a:pt x="299" y="201"/>
                    <a:pt x="300" y="201"/>
                    <a:pt x="300" y="200"/>
                  </a:cubicBezTo>
                  <a:cubicBezTo>
                    <a:pt x="300" y="200"/>
                    <a:pt x="300" y="200"/>
                    <a:pt x="300" y="200"/>
                  </a:cubicBezTo>
                  <a:cubicBezTo>
                    <a:pt x="300" y="200"/>
                    <a:pt x="300" y="200"/>
                    <a:pt x="301" y="200"/>
                  </a:cubicBezTo>
                  <a:cubicBezTo>
                    <a:pt x="305" y="200"/>
                    <a:pt x="354" y="247"/>
                    <a:pt x="353" y="249"/>
                  </a:cubicBezTo>
                  <a:cubicBezTo>
                    <a:pt x="353" y="249"/>
                    <a:pt x="353" y="249"/>
                    <a:pt x="353" y="249"/>
                  </a:cubicBezTo>
                  <a:cubicBezTo>
                    <a:pt x="351" y="252"/>
                    <a:pt x="351" y="255"/>
                    <a:pt x="352" y="258"/>
                  </a:cubicBezTo>
                  <a:cubicBezTo>
                    <a:pt x="354" y="262"/>
                    <a:pt x="357" y="264"/>
                    <a:pt x="361" y="264"/>
                  </a:cubicBezTo>
                  <a:cubicBezTo>
                    <a:pt x="363" y="264"/>
                    <a:pt x="364" y="264"/>
                    <a:pt x="366" y="263"/>
                  </a:cubicBezTo>
                  <a:cubicBezTo>
                    <a:pt x="371" y="261"/>
                    <a:pt x="373" y="255"/>
                    <a:pt x="370" y="250"/>
                  </a:cubicBezTo>
                  <a:cubicBezTo>
                    <a:pt x="369" y="247"/>
                    <a:pt x="365" y="245"/>
                    <a:pt x="361" y="245"/>
                  </a:cubicBezTo>
                  <a:cubicBezTo>
                    <a:pt x="360" y="245"/>
                    <a:pt x="359" y="245"/>
                    <a:pt x="358" y="245"/>
                  </a:cubicBezTo>
                  <a:cubicBezTo>
                    <a:pt x="358" y="245"/>
                    <a:pt x="358" y="245"/>
                    <a:pt x="358" y="245"/>
                  </a:cubicBezTo>
                  <a:cubicBezTo>
                    <a:pt x="358" y="245"/>
                    <a:pt x="358" y="245"/>
                    <a:pt x="358" y="245"/>
                  </a:cubicBezTo>
                  <a:cubicBezTo>
                    <a:pt x="357" y="245"/>
                    <a:pt x="334" y="209"/>
                    <a:pt x="313" y="172"/>
                  </a:cubicBezTo>
                  <a:cubicBezTo>
                    <a:pt x="341" y="149"/>
                    <a:pt x="431" y="80"/>
                    <a:pt x="435" y="80"/>
                  </a:cubicBezTo>
                  <a:cubicBezTo>
                    <a:pt x="435" y="80"/>
                    <a:pt x="435" y="80"/>
                    <a:pt x="435" y="80"/>
                  </a:cubicBezTo>
                  <a:cubicBezTo>
                    <a:pt x="435" y="80"/>
                    <a:pt x="435" y="80"/>
                    <a:pt x="435" y="80"/>
                  </a:cubicBezTo>
                  <a:cubicBezTo>
                    <a:pt x="437" y="82"/>
                    <a:pt x="440" y="83"/>
                    <a:pt x="443" y="83"/>
                  </a:cubicBezTo>
                  <a:cubicBezTo>
                    <a:pt x="443" y="83"/>
                    <a:pt x="443" y="83"/>
                    <a:pt x="443" y="83"/>
                  </a:cubicBezTo>
                  <a:cubicBezTo>
                    <a:pt x="443" y="83"/>
                    <a:pt x="443" y="83"/>
                    <a:pt x="443" y="83"/>
                  </a:cubicBezTo>
                  <a:cubicBezTo>
                    <a:pt x="443" y="83"/>
                    <a:pt x="443" y="83"/>
                    <a:pt x="443" y="83"/>
                  </a:cubicBezTo>
                  <a:cubicBezTo>
                    <a:pt x="445" y="83"/>
                    <a:pt x="458" y="137"/>
                    <a:pt x="465" y="171"/>
                  </a:cubicBezTo>
                  <a:cubicBezTo>
                    <a:pt x="419" y="178"/>
                    <a:pt x="369" y="185"/>
                    <a:pt x="365" y="185"/>
                  </a:cubicBezTo>
                  <a:cubicBezTo>
                    <a:pt x="365" y="185"/>
                    <a:pt x="365" y="185"/>
                    <a:pt x="365" y="185"/>
                  </a:cubicBezTo>
                  <a:cubicBezTo>
                    <a:pt x="365" y="185"/>
                    <a:pt x="365" y="185"/>
                    <a:pt x="365" y="185"/>
                  </a:cubicBezTo>
                  <a:cubicBezTo>
                    <a:pt x="364" y="184"/>
                    <a:pt x="364" y="184"/>
                    <a:pt x="364" y="184"/>
                  </a:cubicBezTo>
                  <a:cubicBezTo>
                    <a:pt x="364" y="184"/>
                    <a:pt x="364" y="184"/>
                    <a:pt x="364" y="184"/>
                  </a:cubicBezTo>
                  <a:cubicBezTo>
                    <a:pt x="364" y="184"/>
                    <a:pt x="364" y="184"/>
                    <a:pt x="364" y="184"/>
                  </a:cubicBezTo>
                  <a:cubicBezTo>
                    <a:pt x="364" y="183"/>
                    <a:pt x="394" y="163"/>
                    <a:pt x="396" y="163"/>
                  </a:cubicBezTo>
                  <a:cubicBezTo>
                    <a:pt x="396" y="163"/>
                    <a:pt x="396" y="163"/>
                    <a:pt x="396" y="163"/>
                  </a:cubicBezTo>
                  <a:cubicBezTo>
                    <a:pt x="396" y="163"/>
                    <a:pt x="396" y="163"/>
                    <a:pt x="396" y="163"/>
                  </a:cubicBezTo>
                  <a:cubicBezTo>
                    <a:pt x="397" y="164"/>
                    <a:pt x="398" y="165"/>
                    <a:pt x="399" y="165"/>
                  </a:cubicBezTo>
                  <a:cubicBezTo>
                    <a:pt x="400" y="165"/>
                    <a:pt x="401" y="164"/>
                    <a:pt x="401" y="164"/>
                  </a:cubicBezTo>
                  <a:cubicBezTo>
                    <a:pt x="404" y="163"/>
                    <a:pt x="405" y="160"/>
                    <a:pt x="404" y="158"/>
                  </a:cubicBezTo>
                  <a:cubicBezTo>
                    <a:pt x="403" y="156"/>
                    <a:pt x="401" y="155"/>
                    <a:pt x="399" y="155"/>
                  </a:cubicBezTo>
                  <a:cubicBezTo>
                    <a:pt x="398" y="155"/>
                    <a:pt x="398" y="156"/>
                    <a:pt x="397" y="156"/>
                  </a:cubicBezTo>
                  <a:cubicBezTo>
                    <a:pt x="395" y="157"/>
                    <a:pt x="394" y="160"/>
                    <a:pt x="395" y="162"/>
                  </a:cubicBezTo>
                  <a:cubicBezTo>
                    <a:pt x="395" y="162"/>
                    <a:pt x="395" y="162"/>
                    <a:pt x="395" y="162"/>
                  </a:cubicBezTo>
                  <a:cubicBezTo>
                    <a:pt x="395" y="163"/>
                    <a:pt x="365" y="182"/>
                    <a:pt x="363" y="182"/>
                  </a:cubicBezTo>
                  <a:cubicBezTo>
                    <a:pt x="363" y="182"/>
                    <a:pt x="363" y="182"/>
                    <a:pt x="363" y="182"/>
                  </a:cubicBezTo>
                  <a:cubicBezTo>
                    <a:pt x="363" y="182"/>
                    <a:pt x="363" y="182"/>
                    <a:pt x="363" y="182"/>
                  </a:cubicBezTo>
                  <a:cubicBezTo>
                    <a:pt x="362" y="181"/>
                    <a:pt x="360" y="180"/>
                    <a:pt x="358" y="180"/>
                  </a:cubicBezTo>
                  <a:cubicBezTo>
                    <a:pt x="357" y="180"/>
                    <a:pt x="356" y="180"/>
                    <a:pt x="355" y="181"/>
                  </a:cubicBezTo>
                  <a:cubicBezTo>
                    <a:pt x="352" y="182"/>
                    <a:pt x="350" y="186"/>
                    <a:pt x="352" y="190"/>
                  </a:cubicBezTo>
                  <a:cubicBezTo>
                    <a:pt x="353" y="192"/>
                    <a:pt x="356" y="193"/>
                    <a:pt x="358" y="193"/>
                  </a:cubicBezTo>
                  <a:cubicBezTo>
                    <a:pt x="359" y="193"/>
                    <a:pt x="360" y="193"/>
                    <a:pt x="361" y="193"/>
                  </a:cubicBezTo>
                  <a:cubicBezTo>
                    <a:pt x="363" y="192"/>
                    <a:pt x="365" y="190"/>
                    <a:pt x="365" y="187"/>
                  </a:cubicBezTo>
                  <a:cubicBezTo>
                    <a:pt x="365" y="188"/>
                    <a:pt x="365" y="188"/>
                    <a:pt x="365" y="188"/>
                  </a:cubicBezTo>
                  <a:cubicBezTo>
                    <a:pt x="365" y="186"/>
                    <a:pt x="417" y="184"/>
                    <a:pt x="430" y="184"/>
                  </a:cubicBezTo>
                  <a:cubicBezTo>
                    <a:pt x="431" y="184"/>
                    <a:pt x="432" y="184"/>
                    <a:pt x="432" y="184"/>
                  </a:cubicBezTo>
                  <a:cubicBezTo>
                    <a:pt x="432" y="184"/>
                    <a:pt x="432" y="184"/>
                    <a:pt x="432" y="184"/>
                  </a:cubicBezTo>
                  <a:cubicBezTo>
                    <a:pt x="433" y="185"/>
                    <a:pt x="433" y="185"/>
                    <a:pt x="433" y="185"/>
                  </a:cubicBezTo>
                  <a:cubicBezTo>
                    <a:pt x="433" y="187"/>
                    <a:pt x="435" y="187"/>
                    <a:pt x="436" y="187"/>
                  </a:cubicBezTo>
                  <a:cubicBezTo>
                    <a:pt x="437" y="187"/>
                    <a:pt x="438" y="187"/>
                    <a:pt x="438" y="187"/>
                  </a:cubicBezTo>
                  <a:cubicBezTo>
                    <a:pt x="440" y="186"/>
                    <a:pt x="441" y="184"/>
                    <a:pt x="440" y="182"/>
                  </a:cubicBezTo>
                  <a:cubicBezTo>
                    <a:pt x="439" y="180"/>
                    <a:pt x="438" y="180"/>
                    <a:pt x="436" y="180"/>
                  </a:cubicBezTo>
                  <a:cubicBezTo>
                    <a:pt x="436" y="180"/>
                    <a:pt x="435" y="180"/>
                    <a:pt x="435" y="180"/>
                  </a:cubicBezTo>
                  <a:cubicBezTo>
                    <a:pt x="433" y="181"/>
                    <a:pt x="432" y="182"/>
                    <a:pt x="432" y="183"/>
                  </a:cubicBezTo>
                  <a:cubicBezTo>
                    <a:pt x="432" y="183"/>
                    <a:pt x="432" y="183"/>
                    <a:pt x="432" y="183"/>
                  </a:cubicBezTo>
                  <a:cubicBezTo>
                    <a:pt x="432" y="184"/>
                    <a:pt x="387" y="186"/>
                    <a:pt x="370" y="186"/>
                  </a:cubicBezTo>
                  <a:cubicBezTo>
                    <a:pt x="370" y="186"/>
                    <a:pt x="370" y="186"/>
                    <a:pt x="370" y="186"/>
                  </a:cubicBezTo>
                  <a:cubicBezTo>
                    <a:pt x="383" y="183"/>
                    <a:pt x="425" y="177"/>
                    <a:pt x="465" y="171"/>
                  </a:cubicBezTo>
                  <a:cubicBezTo>
                    <a:pt x="468" y="187"/>
                    <a:pt x="470" y="198"/>
                    <a:pt x="469" y="199"/>
                  </a:cubicBezTo>
                  <a:cubicBezTo>
                    <a:pt x="469" y="199"/>
                    <a:pt x="469" y="199"/>
                    <a:pt x="469" y="199"/>
                  </a:cubicBezTo>
                  <a:cubicBezTo>
                    <a:pt x="464" y="201"/>
                    <a:pt x="460" y="205"/>
                    <a:pt x="460" y="211"/>
                  </a:cubicBezTo>
                  <a:cubicBezTo>
                    <a:pt x="460" y="218"/>
                    <a:pt x="466" y="224"/>
                    <a:pt x="474" y="224"/>
                  </a:cubicBezTo>
                  <a:cubicBezTo>
                    <a:pt x="476" y="224"/>
                    <a:pt x="478" y="223"/>
                    <a:pt x="480" y="222"/>
                  </a:cubicBezTo>
                  <a:cubicBezTo>
                    <a:pt x="480" y="222"/>
                    <a:pt x="480" y="222"/>
                    <a:pt x="480" y="222"/>
                  </a:cubicBezTo>
                  <a:cubicBezTo>
                    <a:pt x="480" y="222"/>
                    <a:pt x="480" y="222"/>
                    <a:pt x="480" y="222"/>
                  </a:cubicBezTo>
                  <a:cubicBezTo>
                    <a:pt x="483" y="222"/>
                    <a:pt x="520" y="269"/>
                    <a:pt x="518" y="271"/>
                  </a:cubicBezTo>
                  <a:cubicBezTo>
                    <a:pt x="518" y="271"/>
                    <a:pt x="518" y="271"/>
                    <a:pt x="518" y="271"/>
                  </a:cubicBezTo>
                  <a:cubicBezTo>
                    <a:pt x="514" y="275"/>
                    <a:pt x="513" y="281"/>
                    <a:pt x="516" y="286"/>
                  </a:cubicBezTo>
                  <a:cubicBezTo>
                    <a:pt x="518" y="290"/>
                    <a:pt x="523" y="293"/>
                    <a:pt x="528" y="293"/>
                  </a:cubicBezTo>
                  <a:cubicBezTo>
                    <a:pt x="530" y="293"/>
                    <a:pt x="532" y="293"/>
                    <a:pt x="534" y="292"/>
                  </a:cubicBezTo>
                  <a:cubicBezTo>
                    <a:pt x="540" y="289"/>
                    <a:pt x="543" y="281"/>
                    <a:pt x="540" y="275"/>
                  </a:cubicBezTo>
                  <a:cubicBezTo>
                    <a:pt x="538" y="270"/>
                    <a:pt x="533" y="267"/>
                    <a:pt x="528" y="267"/>
                  </a:cubicBezTo>
                  <a:cubicBezTo>
                    <a:pt x="526" y="267"/>
                    <a:pt x="524" y="268"/>
                    <a:pt x="522" y="268"/>
                  </a:cubicBezTo>
                  <a:cubicBezTo>
                    <a:pt x="521" y="269"/>
                    <a:pt x="521" y="269"/>
                    <a:pt x="521" y="269"/>
                  </a:cubicBezTo>
                  <a:cubicBezTo>
                    <a:pt x="522" y="269"/>
                    <a:pt x="522" y="269"/>
                    <a:pt x="522" y="269"/>
                  </a:cubicBezTo>
                  <a:cubicBezTo>
                    <a:pt x="522" y="269"/>
                    <a:pt x="522" y="269"/>
                    <a:pt x="521" y="269"/>
                  </a:cubicBezTo>
                  <a:cubicBezTo>
                    <a:pt x="518" y="269"/>
                    <a:pt x="482" y="222"/>
                    <a:pt x="484" y="220"/>
                  </a:cubicBezTo>
                  <a:cubicBezTo>
                    <a:pt x="483" y="220"/>
                    <a:pt x="483" y="220"/>
                    <a:pt x="483" y="220"/>
                  </a:cubicBezTo>
                  <a:cubicBezTo>
                    <a:pt x="486" y="218"/>
                    <a:pt x="487" y="214"/>
                    <a:pt x="487" y="211"/>
                  </a:cubicBezTo>
                  <a:cubicBezTo>
                    <a:pt x="487" y="206"/>
                    <a:pt x="484" y="201"/>
                    <a:pt x="480" y="199"/>
                  </a:cubicBezTo>
                  <a:cubicBezTo>
                    <a:pt x="480" y="199"/>
                    <a:pt x="480" y="199"/>
                    <a:pt x="480" y="199"/>
                  </a:cubicBezTo>
                  <a:cubicBezTo>
                    <a:pt x="479" y="199"/>
                    <a:pt x="483" y="184"/>
                    <a:pt x="489" y="168"/>
                  </a:cubicBezTo>
                  <a:cubicBezTo>
                    <a:pt x="516" y="164"/>
                    <a:pt x="539" y="161"/>
                    <a:pt x="541" y="161"/>
                  </a:cubicBezTo>
                  <a:cubicBezTo>
                    <a:pt x="542" y="161"/>
                    <a:pt x="542" y="161"/>
                    <a:pt x="542" y="161"/>
                  </a:cubicBezTo>
                  <a:cubicBezTo>
                    <a:pt x="542" y="161"/>
                    <a:pt x="542" y="161"/>
                    <a:pt x="542" y="161"/>
                  </a:cubicBezTo>
                  <a:cubicBezTo>
                    <a:pt x="542" y="162"/>
                    <a:pt x="542" y="162"/>
                    <a:pt x="542" y="162"/>
                  </a:cubicBezTo>
                  <a:cubicBezTo>
                    <a:pt x="543" y="164"/>
                    <a:pt x="546" y="166"/>
                    <a:pt x="548" y="166"/>
                  </a:cubicBezTo>
                  <a:cubicBezTo>
                    <a:pt x="549" y="166"/>
                    <a:pt x="550" y="165"/>
                    <a:pt x="551" y="165"/>
                  </a:cubicBezTo>
                  <a:cubicBezTo>
                    <a:pt x="552" y="165"/>
                    <a:pt x="553" y="164"/>
                    <a:pt x="553" y="164"/>
                  </a:cubicBezTo>
                  <a:cubicBezTo>
                    <a:pt x="553" y="164"/>
                    <a:pt x="553" y="164"/>
                    <a:pt x="553" y="164"/>
                  </a:cubicBezTo>
                  <a:cubicBezTo>
                    <a:pt x="553" y="164"/>
                    <a:pt x="553" y="164"/>
                    <a:pt x="553" y="164"/>
                  </a:cubicBezTo>
                  <a:cubicBezTo>
                    <a:pt x="555" y="164"/>
                    <a:pt x="586" y="185"/>
                    <a:pt x="585" y="185"/>
                  </a:cubicBezTo>
                  <a:cubicBezTo>
                    <a:pt x="585" y="185"/>
                    <a:pt x="585" y="185"/>
                    <a:pt x="585" y="185"/>
                  </a:cubicBezTo>
                  <a:cubicBezTo>
                    <a:pt x="584" y="187"/>
                    <a:pt x="584" y="188"/>
                    <a:pt x="585" y="189"/>
                  </a:cubicBezTo>
                  <a:cubicBezTo>
                    <a:pt x="586" y="191"/>
                    <a:pt x="588" y="192"/>
                    <a:pt x="589" y="192"/>
                  </a:cubicBezTo>
                  <a:cubicBezTo>
                    <a:pt x="590" y="192"/>
                    <a:pt x="591" y="192"/>
                    <a:pt x="591" y="192"/>
                  </a:cubicBezTo>
                  <a:cubicBezTo>
                    <a:pt x="594" y="191"/>
                    <a:pt x="595" y="188"/>
                    <a:pt x="594" y="186"/>
                  </a:cubicBezTo>
                  <a:cubicBezTo>
                    <a:pt x="593" y="184"/>
                    <a:pt x="591" y="183"/>
                    <a:pt x="589" y="183"/>
                  </a:cubicBezTo>
                  <a:cubicBezTo>
                    <a:pt x="589" y="183"/>
                    <a:pt x="588" y="183"/>
                    <a:pt x="587" y="183"/>
                  </a:cubicBezTo>
                  <a:cubicBezTo>
                    <a:pt x="587" y="184"/>
                    <a:pt x="586" y="184"/>
                    <a:pt x="586" y="184"/>
                  </a:cubicBezTo>
                  <a:cubicBezTo>
                    <a:pt x="586" y="184"/>
                    <a:pt x="586" y="184"/>
                    <a:pt x="586" y="184"/>
                  </a:cubicBezTo>
                  <a:cubicBezTo>
                    <a:pt x="586" y="184"/>
                    <a:pt x="586" y="184"/>
                    <a:pt x="586" y="184"/>
                  </a:cubicBezTo>
                  <a:cubicBezTo>
                    <a:pt x="584" y="184"/>
                    <a:pt x="554" y="163"/>
                    <a:pt x="554" y="162"/>
                  </a:cubicBezTo>
                  <a:cubicBezTo>
                    <a:pt x="554" y="162"/>
                    <a:pt x="554" y="162"/>
                    <a:pt x="554" y="162"/>
                  </a:cubicBezTo>
                  <a:cubicBezTo>
                    <a:pt x="555" y="160"/>
                    <a:pt x="556" y="158"/>
                    <a:pt x="555" y="156"/>
                  </a:cubicBezTo>
                  <a:cubicBezTo>
                    <a:pt x="555" y="156"/>
                    <a:pt x="555" y="156"/>
                    <a:pt x="555" y="156"/>
                  </a:cubicBezTo>
                  <a:cubicBezTo>
                    <a:pt x="555" y="156"/>
                    <a:pt x="555" y="156"/>
                    <a:pt x="555" y="156"/>
                  </a:cubicBezTo>
                  <a:cubicBezTo>
                    <a:pt x="554" y="155"/>
                    <a:pt x="584" y="135"/>
                    <a:pt x="586" y="135"/>
                  </a:cubicBezTo>
                  <a:cubicBezTo>
                    <a:pt x="586" y="135"/>
                    <a:pt x="586" y="135"/>
                    <a:pt x="586" y="135"/>
                  </a:cubicBezTo>
                  <a:cubicBezTo>
                    <a:pt x="586" y="135"/>
                    <a:pt x="586" y="135"/>
                    <a:pt x="586" y="135"/>
                  </a:cubicBezTo>
                  <a:cubicBezTo>
                    <a:pt x="587" y="136"/>
                    <a:pt x="588" y="137"/>
                    <a:pt x="589" y="137"/>
                  </a:cubicBezTo>
                  <a:cubicBezTo>
                    <a:pt x="590" y="137"/>
                    <a:pt x="591" y="137"/>
                    <a:pt x="591" y="136"/>
                  </a:cubicBezTo>
                  <a:cubicBezTo>
                    <a:pt x="592" y="136"/>
                    <a:pt x="592" y="136"/>
                    <a:pt x="593" y="135"/>
                  </a:cubicBezTo>
                  <a:cubicBezTo>
                    <a:pt x="593" y="135"/>
                    <a:pt x="593" y="135"/>
                    <a:pt x="593" y="135"/>
                  </a:cubicBezTo>
                  <a:cubicBezTo>
                    <a:pt x="593" y="135"/>
                    <a:pt x="593" y="135"/>
                    <a:pt x="593" y="135"/>
                  </a:cubicBezTo>
                  <a:cubicBezTo>
                    <a:pt x="594" y="135"/>
                    <a:pt x="632" y="162"/>
                    <a:pt x="631" y="163"/>
                  </a:cubicBezTo>
                  <a:cubicBezTo>
                    <a:pt x="631" y="163"/>
                    <a:pt x="631" y="163"/>
                    <a:pt x="631" y="163"/>
                  </a:cubicBezTo>
                  <a:cubicBezTo>
                    <a:pt x="631" y="164"/>
                    <a:pt x="631" y="165"/>
                    <a:pt x="631" y="166"/>
                  </a:cubicBezTo>
                  <a:cubicBezTo>
                    <a:pt x="632" y="168"/>
                    <a:pt x="633" y="169"/>
                    <a:pt x="635" y="169"/>
                  </a:cubicBezTo>
                  <a:cubicBezTo>
                    <a:pt x="635" y="169"/>
                    <a:pt x="636" y="168"/>
                    <a:pt x="637" y="168"/>
                  </a:cubicBezTo>
                  <a:cubicBezTo>
                    <a:pt x="638" y="168"/>
                    <a:pt x="639" y="166"/>
                    <a:pt x="639" y="165"/>
                  </a:cubicBezTo>
                  <a:cubicBezTo>
                    <a:pt x="639" y="165"/>
                    <a:pt x="639" y="165"/>
                    <a:pt x="639" y="165"/>
                  </a:cubicBezTo>
                  <a:cubicBezTo>
                    <a:pt x="639" y="165"/>
                    <a:pt x="647" y="165"/>
                    <a:pt x="655" y="165"/>
                  </a:cubicBezTo>
                  <a:cubicBezTo>
                    <a:pt x="663" y="165"/>
                    <a:pt x="671" y="165"/>
                    <a:pt x="671" y="165"/>
                  </a:cubicBezTo>
                  <a:cubicBezTo>
                    <a:pt x="671" y="165"/>
                    <a:pt x="671" y="165"/>
                    <a:pt x="671" y="165"/>
                  </a:cubicBezTo>
                  <a:cubicBezTo>
                    <a:pt x="671" y="166"/>
                    <a:pt x="671" y="166"/>
                    <a:pt x="671" y="166"/>
                  </a:cubicBezTo>
                  <a:cubicBezTo>
                    <a:pt x="671" y="167"/>
                    <a:pt x="672" y="167"/>
                    <a:pt x="672" y="167"/>
                  </a:cubicBezTo>
                  <a:cubicBezTo>
                    <a:pt x="672" y="167"/>
                    <a:pt x="672" y="167"/>
                    <a:pt x="672" y="167"/>
                  </a:cubicBezTo>
                  <a:cubicBezTo>
                    <a:pt x="672" y="168"/>
                    <a:pt x="595" y="258"/>
                    <a:pt x="593" y="258"/>
                  </a:cubicBezTo>
                  <a:cubicBezTo>
                    <a:pt x="593" y="258"/>
                    <a:pt x="593" y="258"/>
                    <a:pt x="593" y="258"/>
                  </a:cubicBezTo>
                  <a:cubicBezTo>
                    <a:pt x="593" y="258"/>
                    <a:pt x="593" y="258"/>
                    <a:pt x="593" y="258"/>
                  </a:cubicBezTo>
                  <a:cubicBezTo>
                    <a:pt x="592" y="258"/>
                    <a:pt x="591" y="257"/>
                    <a:pt x="589" y="257"/>
                  </a:cubicBezTo>
                  <a:cubicBezTo>
                    <a:pt x="588" y="257"/>
                    <a:pt x="587" y="258"/>
                    <a:pt x="586" y="258"/>
                  </a:cubicBezTo>
                  <a:cubicBezTo>
                    <a:pt x="583" y="260"/>
                    <a:pt x="582" y="264"/>
                    <a:pt x="583" y="267"/>
                  </a:cubicBezTo>
                  <a:cubicBezTo>
                    <a:pt x="584" y="269"/>
                    <a:pt x="587" y="271"/>
                    <a:pt x="589" y="271"/>
                  </a:cubicBezTo>
                  <a:cubicBezTo>
                    <a:pt x="590" y="271"/>
                    <a:pt x="591" y="270"/>
                    <a:pt x="592" y="270"/>
                  </a:cubicBezTo>
                  <a:cubicBezTo>
                    <a:pt x="596" y="268"/>
                    <a:pt x="597" y="264"/>
                    <a:pt x="596" y="261"/>
                  </a:cubicBezTo>
                  <a:cubicBezTo>
                    <a:pt x="595" y="261"/>
                    <a:pt x="595" y="260"/>
                    <a:pt x="595" y="260"/>
                  </a:cubicBezTo>
                  <a:cubicBezTo>
                    <a:pt x="595" y="260"/>
                    <a:pt x="595" y="260"/>
                    <a:pt x="595" y="260"/>
                  </a:cubicBezTo>
                  <a:cubicBezTo>
                    <a:pt x="594" y="259"/>
                    <a:pt x="672" y="168"/>
                    <a:pt x="673" y="168"/>
                  </a:cubicBezTo>
                  <a:cubicBezTo>
                    <a:pt x="673" y="168"/>
                    <a:pt x="673" y="168"/>
                    <a:pt x="673" y="168"/>
                  </a:cubicBezTo>
                  <a:cubicBezTo>
                    <a:pt x="673" y="168"/>
                    <a:pt x="673" y="168"/>
                    <a:pt x="673" y="168"/>
                  </a:cubicBezTo>
                  <a:cubicBezTo>
                    <a:pt x="673" y="168"/>
                    <a:pt x="674" y="169"/>
                    <a:pt x="675" y="169"/>
                  </a:cubicBezTo>
                  <a:cubicBezTo>
                    <a:pt x="675" y="169"/>
                    <a:pt x="676" y="168"/>
                    <a:pt x="677" y="168"/>
                  </a:cubicBezTo>
                  <a:cubicBezTo>
                    <a:pt x="679" y="167"/>
                    <a:pt x="680" y="165"/>
                    <a:pt x="679" y="163"/>
                  </a:cubicBezTo>
                  <a:cubicBezTo>
                    <a:pt x="678" y="162"/>
                    <a:pt x="676" y="161"/>
                    <a:pt x="675" y="161"/>
                  </a:cubicBezTo>
                  <a:cubicBezTo>
                    <a:pt x="674" y="161"/>
                    <a:pt x="674" y="161"/>
                    <a:pt x="673" y="161"/>
                  </a:cubicBezTo>
                  <a:cubicBezTo>
                    <a:pt x="672" y="161"/>
                    <a:pt x="672" y="162"/>
                    <a:pt x="671" y="163"/>
                  </a:cubicBezTo>
                  <a:cubicBezTo>
                    <a:pt x="671" y="163"/>
                    <a:pt x="671" y="163"/>
                    <a:pt x="671" y="163"/>
                  </a:cubicBezTo>
                  <a:cubicBezTo>
                    <a:pt x="671" y="163"/>
                    <a:pt x="671" y="163"/>
                    <a:pt x="671" y="163"/>
                  </a:cubicBezTo>
                  <a:cubicBezTo>
                    <a:pt x="669" y="163"/>
                    <a:pt x="594" y="134"/>
                    <a:pt x="594" y="133"/>
                  </a:cubicBezTo>
                  <a:cubicBezTo>
                    <a:pt x="594" y="133"/>
                    <a:pt x="594" y="133"/>
                    <a:pt x="594" y="133"/>
                  </a:cubicBezTo>
                  <a:cubicBezTo>
                    <a:pt x="594" y="132"/>
                    <a:pt x="594" y="131"/>
                    <a:pt x="594" y="130"/>
                  </a:cubicBezTo>
                  <a:cubicBezTo>
                    <a:pt x="593" y="129"/>
                    <a:pt x="591" y="128"/>
                    <a:pt x="589" y="128"/>
                  </a:cubicBezTo>
                  <a:cubicBezTo>
                    <a:pt x="589" y="128"/>
                    <a:pt x="588" y="128"/>
                    <a:pt x="587" y="128"/>
                  </a:cubicBezTo>
                  <a:cubicBezTo>
                    <a:pt x="585" y="129"/>
                    <a:pt x="584" y="132"/>
                    <a:pt x="585" y="134"/>
                  </a:cubicBezTo>
                  <a:cubicBezTo>
                    <a:pt x="585" y="134"/>
                    <a:pt x="585" y="134"/>
                    <a:pt x="585" y="134"/>
                  </a:cubicBezTo>
                  <a:cubicBezTo>
                    <a:pt x="585" y="135"/>
                    <a:pt x="556" y="154"/>
                    <a:pt x="553" y="154"/>
                  </a:cubicBezTo>
                  <a:cubicBezTo>
                    <a:pt x="553" y="154"/>
                    <a:pt x="553" y="154"/>
                    <a:pt x="553" y="154"/>
                  </a:cubicBezTo>
                  <a:cubicBezTo>
                    <a:pt x="553" y="154"/>
                    <a:pt x="553" y="154"/>
                    <a:pt x="553" y="154"/>
                  </a:cubicBezTo>
                  <a:cubicBezTo>
                    <a:pt x="552" y="153"/>
                    <a:pt x="550" y="152"/>
                    <a:pt x="548" y="152"/>
                  </a:cubicBezTo>
                  <a:cubicBezTo>
                    <a:pt x="547" y="152"/>
                    <a:pt x="546" y="153"/>
                    <a:pt x="545" y="153"/>
                  </a:cubicBezTo>
                  <a:cubicBezTo>
                    <a:pt x="543" y="154"/>
                    <a:pt x="541" y="156"/>
                    <a:pt x="541" y="159"/>
                  </a:cubicBezTo>
                  <a:cubicBezTo>
                    <a:pt x="541" y="159"/>
                    <a:pt x="541" y="159"/>
                    <a:pt x="541" y="159"/>
                  </a:cubicBezTo>
                  <a:cubicBezTo>
                    <a:pt x="541" y="159"/>
                    <a:pt x="518" y="163"/>
                    <a:pt x="489" y="167"/>
                  </a:cubicBezTo>
                  <a:cubicBezTo>
                    <a:pt x="497" y="144"/>
                    <a:pt x="507" y="115"/>
                    <a:pt x="509" y="115"/>
                  </a:cubicBezTo>
                  <a:cubicBezTo>
                    <a:pt x="509" y="115"/>
                    <a:pt x="509" y="115"/>
                    <a:pt x="509" y="115"/>
                  </a:cubicBezTo>
                  <a:cubicBezTo>
                    <a:pt x="509" y="115"/>
                    <a:pt x="509" y="115"/>
                    <a:pt x="509" y="115"/>
                  </a:cubicBezTo>
                  <a:cubicBezTo>
                    <a:pt x="509" y="115"/>
                    <a:pt x="510" y="115"/>
                    <a:pt x="510" y="115"/>
                  </a:cubicBezTo>
                  <a:cubicBezTo>
                    <a:pt x="512" y="115"/>
                    <a:pt x="513" y="115"/>
                    <a:pt x="515" y="115"/>
                  </a:cubicBezTo>
                  <a:cubicBezTo>
                    <a:pt x="520" y="112"/>
                    <a:pt x="522" y="107"/>
                    <a:pt x="519" y="102"/>
                  </a:cubicBezTo>
                  <a:cubicBezTo>
                    <a:pt x="518" y="98"/>
                    <a:pt x="514" y="96"/>
                    <a:pt x="510" y="96"/>
                  </a:cubicBezTo>
                  <a:cubicBezTo>
                    <a:pt x="509" y="96"/>
                    <a:pt x="507" y="97"/>
                    <a:pt x="506" y="97"/>
                  </a:cubicBezTo>
                  <a:cubicBezTo>
                    <a:pt x="504" y="98"/>
                    <a:pt x="503" y="99"/>
                    <a:pt x="502" y="100"/>
                  </a:cubicBezTo>
                  <a:cubicBezTo>
                    <a:pt x="502" y="100"/>
                    <a:pt x="502" y="100"/>
                    <a:pt x="502" y="100"/>
                  </a:cubicBezTo>
                  <a:cubicBezTo>
                    <a:pt x="502" y="100"/>
                    <a:pt x="502" y="100"/>
                    <a:pt x="502" y="100"/>
                  </a:cubicBezTo>
                  <a:cubicBezTo>
                    <a:pt x="498" y="100"/>
                    <a:pt x="453" y="77"/>
                    <a:pt x="454" y="75"/>
                  </a:cubicBezTo>
                  <a:cubicBezTo>
                    <a:pt x="454" y="75"/>
                    <a:pt x="454" y="75"/>
                    <a:pt x="454" y="75"/>
                  </a:cubicBezTo>
                  <a:cubicBezTo>
                    <a:pt x="455" y="73"/>
                    <a:pt x="455" y="69"/>
                    <a:pt x="453" y="67"/>
                  </a:cubicBezTo>
                  <a:cubicBezTo>
                    <a:pt x="451" y="62"/>
                    <a:pt x="447" y="60"/>
                    <a:pt x="443" y="60"/>
                  </a:cubicBezTo>
                  <a:cubicBezTo>
                    <a:pt x="441" y="60"/>
                    <a:pt x="439" y="60"/>
                    <a:pt x="438" y="61"/>
                  </a:cubicBezTo>
                  <a:cubicBezTo>
                    <a:pt x="433" y="63"/>
                    <a:pt x="431" y="67"/>
                    <a:pt x="431" y="71"/>
                  </a:cubicBezTo>
                  <a:cubicBezTo>
                    <a:pt x="431" y="71"/>
                    <a:pt x="431" y="71"/>
                    <a:pt x="431" y="71"/>
                  </a:cubicBezTo>
                  <a:cubicBezTo>
                    <a:pt x="431" y="73"/>
                    <a:pt x="295" y="88"/>
                    <a:pt x="278" y="88"/>
                  </a:cubicBezTo>
                  <a:cubicBezTo>
                    <a:pt x="277" y="88"/>
                    <a:pt x="277" y="88"/>
                    <a:pt x="277" y="88"/>
                  </a:cubicBezTo>
                  <a:cubicBezTo>
                    <a:pt x="277" y="88"/>
                    <a:pt x="277" y="88"/>
                    <a:pt x="277" y="88"/>
                  </a:cubicBezTo>
                  <a:cubicBezTo>
                    <a:pt x="276" y="88"/>
                    <a:pt x="276" y="87"/>
                    <a:pt x="276" y="86"/>
                  </a:cubicBezTo>
                  <a:cubicBezTo>
                    <a:pt x="274" y="82"/>
                    <a:pt x="270" y="80"/>
                    <a:pt x="265" y="80"/>
                  </a:cubicBezTo>
                  <a:cubicBezTo>
                    <a:pt x="263" y="80"/>
                    <a:pt x="262" y="80"/>
                    <a:pt x="260" y="81"/>
                  </a:cubicBezTo>
                  <a:cubicBezTo>
                    <a:pt x="254" y="84"/>
                    <a:pt x="251" y="90"/>
                    <a:pt x="254" y="96"/>
                  </a:cubicBezTo>
                  <a:cubicBezTo>
                    <a:pt x="256" y="99"/>
                    <a:pt x="258" y="101"/>
                    <a:pt x="260" y="102"/>
                  </a:cubicBezTo>
                  <a:cubicBezTo>
                    <a:pt x="260" y="102"/>
                    <a:pt x="260" y="102"/>
                    <a:pt x="260" y="102"/>
                  </a:cubicBezTo>
                  <a:cubicBezTo>
                    <a:pt x="262" y="103"/>
                    <a:pt x="250" y="143"/>
                    <a:pt x="249" y="143"/>
                  </a:cubicBezTo>
                  <a:cubicBezTo>
                    <a:pt x="249" y="143"/>
                    <a:pt x="249" y="143"/>
                    <a:pt x="249" y="143"/>
                  </a:cubicBezTo>
                  <a:cubicBezTo>
                    <a:pt x="249" y="143"/>
                    <a:pt x="249" y="143"/>
                    <a:pt x="249" y="143"/>
                  </a:cubicBezTo>
                  <a:cubicBezTo>
                    <a:pt x="249" y="143"/>
                    <a:pt x="249" y="143"/>
                    <a:pt x="249" y="143"/>
                  </a:cubicBezTo>
                  <a:cubicBezTo>
                    <a:pt x="248" y="143"/>
                    <a:pt x="248" y="143"/>
                    <a:pt x="247" y="143"/>
                  </a:cubicBezTo>
                  <a:cubicBezTo>
                    <a:pt x="246" y="144"/>
                    <a:pt x="245" y="145"/>
                    <a:pt x="245" y="146"/>
                  </a:cubicBezTo>
                  <a:cubicBezTo>
                    <a:pt x="245" y="146"/>
                    <a:pt x="245" y="146"/>
                    <a:pt x="245" y="146"/>
                  </a:cubicBezTo>
                  <a:cubicBezTo>
                    <a:pt x="245" y="146"/>
                    <a:pt x="245" y="146"/>
                    <a:pt x="244" y="146"/>
                  </a:cubicBezTo>
                  <a:cubicBezTo>
                    <a:pt x="237" y="146"/>
                    <a:pt x="185" y="141"/>
                    <a:pt x="185" y="140"/>
                  </a:cubicBezTo>
                  <a:cubicBezTo>
                    <a:pt x="185" y="140"/>
                    <a:pt x="185" y="140"/>
                    <a:pt x="185" y="140"/>
                  </a:cubicBezTo>
                  <a:cubicBezTo>
                    <a:pt x="185" y="139"/>
                    <a:pt x="185" y="138"/>
                    <a:pt x="184" y="138"/>
                  </a:cubicBezTo>
                  <a:cubicBezTo>
                    <a:pt x="184" y="137"/>
                    <a:pt x="184" y="137"/>
                    <a:pt x="184" y="137"/>
                  </a:cubicBezTo>
                  <a:cubicBezTo>
                    <a:pt x="184" y="137"/>
                    <a:pt x="184" y="137"/>
                    <a:pt x="184" y="137"/>
                  </a:cubicBezTo>
                  <a:cubicBezTo>
                    <a:pt x="183" y="136"/>
                    <a:pt x="209" y="113"/>
                    <a:pt x="211" y="113"/>
                  </a:cubicBezTo>
                  <a:cubicBezTo>
                    <a:pt x="211" y="113"/>
                    <a:pt x="211" y="113"/>
                    <a:pt x="211" y="113"/>
                  </a:cubicBezTo>
                  <a:cubicBezTo>
                    <a:pt x="210" y="113"/>
                    <a:pt x="210" y="113"/>
                    <a:pt x="210" y="113"/>
                  </a:cubicBezTo>
                  <a:cubicBezTo>
                    <a:pt x="211" y="114"/>
                    <a:pt x="212" y="114"/>
                    <a:pt x="214" y="114"/>
                  </a:cubicBezTo>
                  <a:cubicBezTo>
                    <a:pt x="214" y="114"/>
                    <a:pt x="215" y="114"/>
                    <a:pt x="216" y="114"/>
                  </a:cubicBezTo>
                  <a:cubicBezTo>
                    <a:pt x="218" y="113"/>
                    <a:pt x="219" y="110"/>
                    <a:pt x="218" y="107"/>
                  </a:cubicBezTo>
                  <a:cubicBezTo>
                    <a:pt x="217" y="106"/>
                    <a:pt x="215" y="105"/>
                    <a:pt x="214" y="105"/>
                  </a:cubicBezTo>
                  <a:cubicBezTo>
                    <a:pt x="213" y="105"/>
                    <a:pt x="212" y="105"/>
                    <a:pt x="211" y="105"/>
                  </a:cubicBezTo>
                  <a:cubicBezTo>
                    <a:pt x="211" y="106"/>
                    <a:pt x="211" y="106"/>
                    <a:pt x="211" y="106"/>
                  </a:cubicBezTo>
                  <a:cubicBezTo>
                    <a:pt x="211" y="106"/>
                    <a:pt x="211" y="106"/>
                    <a:pt x="211" y="106"/>
                  </a:cubicBezTo>
                  <a:cubicBezTo>
                    <a:pt x="211" y="106"/>
                    <a:pt x="211" y="106"/>
                    <a:pt x="211" y="106"/>
                  </a:cubicBezTo>
                  <a:cubicBezTo>
                    <a:pt x="209" y="106"/>
                    <a:pt x="175" y="72"/>
                    <a:pt x="176" y="70"/>
                  </a:cubicBezTo>
                  <a:cubicBezTo>
                    <a:pt x="176" y="70"/>
                    <a:pt x="176" y="70"/>
                    <a:pt x="176" y="70"/>
                  </a:cubicBezTo>
                  <a:cubicBezTo>
                    <a:pt x="177" y="69"/>
                    <a:pt x="178" y="67"/>
                    <a:pt x="178" y="65"/>
                  </a:cubicBezTo>
                  <a:cubicBezTo>
                    <a:pt x="178" y="59"/>
                    <a:pt x="174" y="55"/>
                    <a:pt x="168" y="55"/>
                  </a:cubicBezTo>
                  <a:cubicBezTo>
                    <a:pt x="163" y="55"/>
                    <a:pt x="158" y="59"/>
                    <a:pt x="158" y="65"/>
                  </a:cubicBezTo>
                  <a:cubicBezTo>
                    <a:pt x="158" y="68"/>
                    <a:pt x="160" y="70"/>
                    <a:pt x="162" y="72"/>
                  </a:cubicBezTo>
                  <a:cubicBezTo>
                    <a:pt x="162" y="72"/>
                    <a:pt x="162" y="72"/>
                    <a:pt x="162" y="72"/>
                  </a:cubicBezTo>
                  <a:cubicBezTo>
                    <a:pt x="164" y="73"/>
                    <a:pt x="131" y="132"/>
                    <a:pt x="127" y="132"/>
                  </a:cubicBezTo>
                  <a:cubicBezTo>
                    <a:pt x="127" y="132"/>
                    <a:pt x="127" y="132"/>
                    <a:pt x="127" y="132"/>
                  </a:cubicBezTo>
                  <a:cubicBezTo>
                    <a:pt x="127" y="132"/>
                    <a:pt x="127" y="132"/>
                    <a:pt x="127" y="132"/>
                  </a:cubicBezTo>
                  <a:cubicBezTo>
                    <a:pt x="126" y="132"/>
                    <a:pt x="124" y="132"/>
                    <a:pt x="122" y="132"/>
                  </a:cubicBezTo>
                  <a:cubicBezTo>
                    <a:pt x="121" y="132"/>
                    <a:pt x="120" y="132"/>
                    <a:pt x="119" y="132"/>
                  </a:cubicBezTo>
                  <a:cubicBezTo>
                    <a:pt x="119" y="132"/>
                    <a:pt x="119" y="132"/>
                    <a:pt x="119" y="132"/>
                  </a:cubicBezTo>
                  <a:cubicBezTo>
                    <a:pt x="119" y="132"/>
                    <a:pt x="119" y="132"/>
                    <a:pt x="119" y="132"/>
                  </a:cubicBezTo>
                  <a:cubicBezTo>
                    <a:pt x="118" y="132"/>
                    <a:pt x="113" y="122"/>
                    <a:pt x="109" y="112"/>
                  </a:cubicBezTo>
                  <a:cubicBezTo>
                    <a:pt x="113" y="122"/>
                    <a:pt x="117" y="133"/>
                    <a:pt x="115" y="133"/>
                  </a:cubicBezTo>
                  <a:cubicBezTo>
                    <a:pt x="116" y="133"/>
                    <a:pt x="116" y="133"/>
                    <a:pt x="116" y="133"/>
                  </a:cubicBezTo>
                  <a:cubicBezTo>
                    <a:pt x="115" y="133"/>
                    <a:pt x="115" y="133"/>
                    <a:pt x="115" y="133"/>
                  </a:cubicBezTo>
                  <a:cubicBezTo>
                    <a:pt x="115" y="133"/>
                    <a:pt x="115" y="133"/>
                    <a:pt x="115" y="133"/>
                  </a:cubicBezTo>
                  <a:cubicBezTo>
                    <a:pt x="115" y="133"/>
                    <a:pt x="115" y="133"/>
                    <a:pt x="115" y="133"/>
                  </a:cubicBezTo>
                  <a:cubicBezTo>
                    <a:pt x="112" y="133"/>
                    <a:pt x="26" y="30"/>
                    <a:pt x="14" y="13"/>
                  </a:cubicBezTo>
                  <a:cubicBezTo>
                    <a:pt x="28" y="23"/>
                    <a:pt x="95" y="83"/>
                    <a:pt x="95" y="84"/>
                  </a:cubicBezTo>
                  <a:cubicBezTo>
                    <a:pt x="95" y="84"/>
                    <a:pt x="95" y="84"/>
                    <a:pt x="95" y="84"/>
                  </a:cubicBezTo>
                  <a:cubicBezTo>
                    <a:pt x="94" y="85"/>
                    <a:pt x="94" y="86"/>
                    <a:pt x="95" y="88"/>
                  </a:cubicBezTo>
                  <a:cubicBezTo>
                    <a:pt x="95" y="89"/>
                    <a:pt x="97" y="90"/>
                    <a:pt x="98" y="90"/>
                  </a:cubicBezTo>
                  <a:cubicBezTo>
                    <a:pt x="99" y="90"/>
                    <a:pt x="99" y="90"/>
                    <a:pt x="99" y="90"/>
                  </a:cubicBezTo>
                  <a:cubicBezTo>
                    <a:pt x="99" y="90"/>
                    <a:pt x="99" y="90"/>
                    <a:pt x="99" y="90"/>
                  </a:cubicBezTo>
                  <a:cubicBezTo>
                    <a:pt x="99" y="90"/>
                    <a:pt x="99" y="90"/>
                    <a:pt x="99" y="90"/>
                  </a:cubicBezTo>
                  <a:cubicBezTo>
                    <a:pt x="100" y="90"/>
                    <a:pt x="103" y="97"/>
                    <a:pt x="106" y="105"/>
                  </a:cubicBezTo>
                  <a:cubicBezTo>
                    <a:pt x="103" y="97"/>
                    <a:pt x="100" y="90"/>
                    <a:pt x="101" y="90"/>
                  </a:cubicBezTo>
                  <a:cubicBezTo>
                    <a:pt x="100" y="90"/>
                    <a:pt x="100" y="90"/>
                    <a:pt x="100" y="90"/>
                  </a:cubicBezTo>
                  <a:cubicBezTo>
                    <a:pt x="102" y="89"/>
                    <a:pt x="103" y="86"/>
                    <a:pt x="102" y="84"/>
                  </a:cubicBezTo>
                  <a:cubicBezTo>
                    <a:pt x="102" y="83"/>
                    <a:pt x="100" y="82"/>
                    <a:pt x="98" y="82"/>
                  </a:cubicBezTo>
                  <a:cubicBezTo>
                    <a:pt x="98" y="82"/>
                    <a:pt x="97" y="82"/>
                    <a:pt x="97" y="83"/>
                  </a:cubicBezTo>
                  <a:cubicBezTo>
                    <a:pt x="96" y="83"/>
                    <a:pt x="96" y="83"/>
                    <a:pt x="96" y="83"/>
                  </a:cubicBezTo>
                  <a:cubicBezTo>
                    <a:pt x="96" y="83"/>
                    <a:pt x="96" y="83"/>
                    <a:pt x="96" y="83"/>
                  </a:cubicBezTo>
                  <a:cubicBezTo>
                    <a:pt x="96" y="83"/>
                    <a:pt x="96" y="83"/>
                    <a:pt x="96" y="83"/>
                  </a:cubicBezTo>
                  <a:cubicBezTo>
                    <a:pt x="95" y="83"/>
                    <a:pt x="13" y="11"/>
                    <a:pt x="13" y="10"/>
                  </a:cubicBezTo>
                  <a:cubicBezTo>
                    <a:pt x="13" y="10"/>
                    <a:pt x="13" y="10"/>
                    <a:pt x="13" y="10"/>
                  </a:cubicBezTo>
                  <a:cubicBezTo>
                    <a:pt x="15" y="8"/>
                    <a:pt x="15" y="6"/>
                    <a:pt x="14" y="3"/>
                  </a:cubicBezTo>
                  <a:cubicBezTo>
                    <a:pt x="13" y="1"/>
                    <a:pt x="10" y="0"/>
                    <a:pt x="8"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8" name="Freeform 10"/>
            <p:cNvSpPr>
              <a:spLocks noEditPoints="1"/>
            </p:cNvSpPr>
            <p:nvPr/>
          </p:nvSpPr>
          <p:spPr bwMode="auto">
            <a:xfrm>
              <a:off x="6415088" y="4025900"/>
              <a:ext cx="315913" cy="323850"/>
            </a:xfrm>
            <a:custGeom>
              <a:avLst/>
              <a:gdLst>
                <a:gd name="T0" fmla="*/ 14 w 84"/>
                <a:gd name="T1" fmla="*/ 43 h 86"/>
                <a:gd name="T2" fmla="*/ 45 w 84"/>
                <a:gd name="T3" fmla="*/ 13 h 86"/>
                <a:gd name="T4" fmla="*/ 45 w 84"/>
                <a:gd name="T5" fmla="*/ 13 h 86"/>
                <a:gd name="T6" fmla="*/ 45 w 84"/>
                <a:gd name="T7" fmla="*/ 13 h 86"/>
                <a:gd name="T8" fmla="*/ 49 w 84"/>
                <a:gd name="T9" fmla="*/ 14 h 86"/>
                <a:gd name="T10" fmla="*/ 52 w 84"/>
                <a:gd name="T11" fmla="*/ 14 h 86"/>
                <a:gd name="T12" fmla="*/ 52 w 84"/>
                <a:gd name="T13" fmla="*/ 14 h 86"/>
                <a:gd name="T14" fmla="*/ 52 w 84"/>
                <a:gd name="T15" fmla="*/ 14 h 86"/>
                <a:gd name="T16" fmla="*/ 76 w 84"/>
                <a:gd name="T17" fmla="*/ 49 h 86"/>
                <a:gd name="T18" fmla="*/ 76 w 84"/>
                <a:gd name="T19" fmla="*/ 49 h 86"/>
                <a:gd name="T20" fmla="*/ 74 w 84"/>
                <a:gd name="T21" fmla="*/ 53 h 86"/>
                <a:gd name="T22" fmla="*/ 74 w 84"/>
                <a:gd name="T23" fmla="*/ 55 h 86"/>
                <a:gd name="T24" fmla="*/ 74 w 84"/>
                <a:gd name="T25" fmla="*/ 55 h 86"/>
                <a:gd name="T26" fmla="*/ 42 w 84"/>
                <a:gd name="T27" fmla="*/ 80 h 86"/>
                <a:gd name="T28" fmla="*/ 42 w 84"/>
                <a:gd name="T29" fmla="*/ 80 h 86"/>
                <a:gd name="T30" fmla="*/ 42 w 84"/>
                <a:gd name="T31" fmla="*/ 80 h 86"/>
                <a:gd name="T32" fmla="*/ 39 w 84"/>
                <a:gd name="T33" fmla="*/ 79 h 86"/>
                <a:gd name="T34" fmla="*/ 37 w 84"/>
                <a:gd name="T35" fmla="*/ 79 h 86"/>
                <a:gd name="T36" fmla="*/ 37 w 84"/>
                <a:gd name="T37" fmla="*/ 79 h 86"/>
                <a:gd name="T38" fmla="*/ 37 w 84"/>
                <a:gd name="T39" fmla="*/ 79 h 86"/>
                <a:gd name="T40" fmla="*/ 37 w 84"/>
                <a:gd name="T41" fmla="*/ 79 h 86"/>
                <a:gd name="T42" fmla="*/ 14 w 84"/>
                <a:gd name="T43" fmla="*/ 52 h 86"/>
                <a:gd name="T44" fmla="*/ 14 w 84"/>
                <a:gd name="T45" fmla="*/ 52 h 86"/>
                <a:gd name="T46" fmla="*/ 15 w 84"/>
                <a:gd name="T47" fmla="*/ 48 h 86"/>
                <a:gd name="T48" fmla="*/ 14 w 84"/>
                <a:gd name="T49" fmla="*/ 43 h 86"/>
                <a:gd name="T50" fmla="*/ 14 w 84"/>
                <a:gd name="T51" fmla="*/ 43 h 86"/>
                <a:gd name="T52" fmla="*/ 49 w 84"/>
                <a:gd name="T53" fmla="*/ 0 h 86"/>
                <a:gd name="T54" fmla="*/ 46 w 84"/>
                <a:gd name="T55" fmla="*/ 0 h 86"/>
                <a:gd name="T56" fmla="*/ 42 w 84"/>
                <a:gd name="T57" fmla="*/ 10 h 86"/>
                <a:gd name="T58" fmla="*/ 43 w 84"/>
                <a:gd name="T59" fmla="*/ 11 h 86"/>
                <a:gd name="T60" fmla="*/ 43 w 84"/>
                <a:gd name="T61" fmla="*/ 11 h 86"/>
                <a:gd name="T62" fmla="*/ 12 w 84"/>
                <a:gd name="T63" fmla="*/ 42 h 86"/>
                <a:gd name="T64" fmla="*/ 12 w 84"/>
                <a:gd name="T65" fmla="*/ 42 h 86"/>
                <a:gd name="T66" fmla="*/ 12 w 84"/>
                <a:gd name="T67" fmla="*/ 42 h 86"/>
                <a:gd name="T68" fmla="*/ 8 w 84"/>
                <a:gd name="T69" fmla="*/ 40 h 86"/>
                <a:gd name="T70" fmla="*/ 0 w 84"/>
                <a:gd name="T71" fmla="*/ 48 h 86"/>
                <a:gd name="T72" fmla="*/ 8 w 84"/>
                <a:gd name="T73" fmla="*/ 55 h 86"/>
                <a:gd name="T74" fmla="*/ 12 w 84"/>
                <a:gd name="T75" fmla="*/ 54 h 86"/>
                <a:gd name="T76" fmla="*/ 12 w 84"/>
                <a:gd name="T77" fmla="*/ 54 h 86"/>
                <a:gd name="T78" fmla="*/ 12 w 84"/>
                <a:gd name="T79" fmla="*/ 54 h 86"/>
                <a:gd name="T80" fmla="*/ 36 w 84"/>
                <a:gd name="T81" fmla="*/ 80 h 86"/>
                <a:gd name="T82" fmla="*/ 36 w 84"/>
                <a:gd name="T83" fmla="*/ 80 h 86"/>
                <a:gd name="T84" fmla="*/ 35 w 84"/>
                <a:gd name="T85" fmla="*/ 84 h 86"/>
                <a:gd name="T86" fmla="*/ 39 w 84"/>
                <a:gd name="T87" fmla="*/ 86 h 86"/>
                <a:gd name="T88" fmla="*/ 41 w 84"/>
                <a:gd name="T89" fmla="*/ 86 h 86"/>
                <a:gd name="T90" fmla="*/ 43 w 84"/>
                <a:gd name="T91" fmla="*/ 81 h 86"/>
                <a:gd name="T92" fmla="*/ 42 w 84"/>
                <a:gd name="T93" fmla="*/ 81 h 86"/>
                <a:gd name="T94" fmla="*/ 42 w 84"/>
                <a:gd name="T95" fmla="*/ 81 h 86"/>
                <a:gd name="T96" fmla="*/ 75 w 84"/>
                <a:gd name="T97" fmla="*/ 56 h 86"/>
                <a:gd name="T98" fmla="*/ 75 w 84"/>
                <a:gd name="T99" fmla="*/ 56 h 86"/>
                <a:gd name="T100" fmla="*/ 75 w 84"/>
                <a:gd name="T101" fmla="*/ 56 h 86"/>
                <a:gd name="T102" fmla="*/ 79 w 84"/>
                <a:gd name="T103" fmla="*/ 58 h 86"/>
                <a:gd name="T104" fmla="*/ 84 w 84"/>
                <a:gd name="T105" fmla="*/ 53 h 86"/>
                <a:gd name="T106" fmla="*/ 79 w 84"/>
                <a:gd name="T107" fmla="*/ 48 h 86"/>
                <a:gd name="T108" fmla="*/ 77 w 84"/>
                <a:gd name="T109" fmla="*/ 48 h 86"/>
                <a:gd name="T110" fmla="*/ 77 w 84"/>
                <a:gd name="T111" fmla="*/ 48 h 86"/>
                <a:gd name="T112" fmla="*/ 54 w 84"/>
                <a:gd name="T113" fmla="*/ 13 h 86"/>
                <a:gd name="T114" fmla="*/ 54 w 84"/>
                <a:gd name="T115" fmla="*/ 13 h 86"/>
                <a:gd name="T116" fmla="*/ 56 w 84"/>
                <a:gd name="T117" fmla="*/ 4 h 86"/>
                <a:gd name="T118" fmla="*/ 49 w 84"/>
                <a:gd name="T11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6">
                  <a:moveTo>
                    <a:pt x="14" y="43"/>
                  </a:moveTo>
                  <a:cubicBezTo>
                    <a:pt x="13" y="42"/>
                    <a:pt x="43" y="13"/>
                    <a:pt x="45" y="13"/>
                  </a:cubicBezTo>
                  <a:cubicBezTo>
                    <a:pt x="45" y="13"/>
                    <a:pt x="45" y="13"/>
                    <a:pt x="45" y="13"/>
                  </a:cubicBezTo>
                  <a:cubicBezTo>
                    <a:pt x="45" y="13"/>
                    <a:pt x="45" y="13"/>
                    <a:pt x="45" y="13"/>
                  </a:cubicBezTo>
                  <a:cubicBezTo>
                    <a:pt x="46" y="14"/>
                    <a:pt x="48" y="14"/>
                    <a:pt x="49" y="14"/>
                  </a:cubicBezTo>
                  <a:cubicBezTo>
                    <a:pt x="50" y="14"/>
                    <a:pt x="51" y="14"/>
                    <a:pt x="52" y="14"/>
                  </a:cubicBezTo>
                  <a:cubicBezTo>
                    <a:pt x="52" y="14"/>
                    <a:pt x="52" y="14"/>
                    <a:pt x="52" y="14"/>
                  </a:cubicBezTo>
                  <a:cubicBezTo>
                    <a:pt x="52" y="14"/>
                    <a:pt x="52" y="14"/>
                    <a:pt x="52" y="14"/>
                  </a:cubicBezTo>
                  <a:cubicBezTo>
                    <a:pt x="54" y="14"/>
                    <a:pt x="76" y="48"/>
                    <a:pt x="76" y="49"/>
                  </a:cubicBezTo>
                  <a:cubicBezTo>
                    <a:pt x="76" y="49"/>
                    <a:pt x="76" y="49"/>
                    <a:pt x="76" y="49"/>
                  </a:cubicBezTo>
                  <a:cubicBezTo>
                    <a:pt x="75" y="50"/>
                    <a:pt x="74" y="51"/>
                    <a:pt x="74" y="53"/>
                  </a:cubicBezTo>
                  <a:cubicBezTo>
                    <a:pt x="74" y="54"/>
                    <a:pt x="74" y="54"/>
                    <a:pt x="74" y="55"/>
                  </a:cubicBezTo>
                  <a:cubicBezTo>
                    <a:pt x="74" y="55"/>
                    <a:pt x="74" y="55"/>
                    <a:pt x="74" y="55"/>
                  </a:cubicBezTo>
                  <a:cubicBezTo>
                    <a:pt x="75" y="56"/>
                    <a:pt x="43" y="80"/>
                    <a:pt x="42" y="80"/>
                  </a:cubicBezTo>
                  <a:cubicBezTo>
                    <a:pt x="42" y="80"/>
                    <a:pt x="42" y="80"/>
                    <a:pt x="42" y="80"/>
                  </a:cubicBezTo>
                  <a:cubicBezTo>
                    <a:pt x="42" y="80"/>
                    <a:pt x="42" y="80"/>
                    <a:pt x="42" y="80"/>
                  </a:cubicBezTo>
                  <a:cubicBezTo>
                    <a:pt x="41" y="79"/>
                    <a:pt x="40" y="79"/>
                    <a:pt x="39" y="79"/>
                  </a:cubicBezTo>
                  <a:cubicBezTo>
                    <a:pt x="38" y="79"/>
                    <a:pt x="38" y="79"/>
                    <a:pt x="37" y="79"/>
                  </a:cubicBezTo>
                  <a:cubicBezTo>
                    <a:pt x="37" y="79"/>
                    <a:pt x="37" y="79"/>
                    <a:pt x="37" y="79"/>
                  </a:cubicBezTo>
                  <a:cubicBezTo>
                    <a:pt x="37" y="79"/>
                    <a:pt x="37" y="79"/>
                    <a:pt x="37" y="79"/>
                  </a:cubicBezTo>
                  <a:cubicBezTo>
                    <a:pt x="37" y="79"/>
                    <a:pt x="37" y="79"/>
                    <a:pt x="37" y="79"/>
                  </a:cubicBezTo>
                  <a:cubicBezTo>
                    <a:pt x="36" y="79"/>
                    <a:pt x="13" y="54"/>
                    <a:pt x="14" y="52"/>
                  </a:cubicBezTo>
                  <a:cubicBezTo>
                    <a:pt x="14" y="52"/>
                    <a:pt x="14" y="52"/>
                    <a:pt x="14" y="52"/>
                  </a:cubicBezTo>
                  <a:cubicBezTo>
                    <a:pt x="15" y="51"/>
                    <a:pt x="15" y="49"/>
                    <a:pt x="15" y="48"/>
                  </a:cubicBezTo>
                  <a:cubicBezTo>
                    <a:pt x="15" y="46"/>
                    <a:pt x="15" y="44"/>
                    <a:pt x="14" y="43"/>
                  </a:cubicBezTo>
                  <a:cubicBezTo>
                    <a:pt x="14" y="43"/>
                    <a:pt x="14" y="43"/>
                    <a:pt x="14" y="43"/>
                  </a:cubicBezTo>
                  <a:moveTo>
                    <a:pt x="49" y="0"/>
                  </a:moveTo>
                  <a:cubicBezTo>
                    <a:pt x="48" y="0"/>
                    <a:pt x="47" y="0"/>
                    <a:pt x="46" y="0"/>
                  </a:cubicBezTo>
                  <a:cubicBezTo>
                    <a:pt x="42" y="2"/>
                    <a:pt x="41" y="7"/>
                    <a:pt x="42" y="10"/>
                  </a:cubicBezTo>
                  <a:cubicBezTo>
                    <a:pt x="43" y="11"/>
                    <a:pt x="43" y="11"/>
                    <a:pt x="43" y="11"/>
                  </a:cubicBezTo>
                  <a:cubicBezTo>
                    <a:pt x="43" y="11"/>
                    <a:pt x="43" y="11"/>
                    <a:pt x="43" y="11"/>
                  </a:cubicBezTo>
                  <a:cubicBezTo>
                    <a:pt x="44" y="13"/>
                    <a:pt x="14" y="42"/>
                    <a:pt x="12" y="42"/>
                  </a:cubicBezTo>
                  <a:cubicBezTo>
                    <a:pt x="12" y="42"/>
                    <a:pt x="12" y="42"/>
                    <a:pt x="12" y="42"/>
                  </a:cubicBezTo>
                  <a:cubicBezTo>
                    <a:pt x="12" y="42"/>
                    <a:pt x="12" y="42"/>
                    <a:pt x="12" y="42"/>
                  </a:cubicBezTo>
                  <a:cubicBezTo>
                    <a:pt x="11" y="41"/>
                    <a:pt x="9" y="40"/>
                    <a:pt x="8" y="40"/>
                  </a:cubicBezTo>
                  <a:cubicBezTo>
                    <a:pt x="4" y="40"/>
                    <a:pt x="0" y="44"/>
                    <a:pt x="0" y="48"/>
                  </a:cubicBezTo>
                  <a:cubicBezTo>
                    <a:pt x="0" y="52"/>
                    <a:pt x="4" y="55"/>
                    <a:pt x="8" y="55"/>
                  </a:cubicBezTo>
                  <a:cubicBezTo>
                    <a:pt x="9" y="55"/>
                    <a:pt x="11" y="55"/>
                    <a:pt x="12" y="54"/>
                  </a:cubicBezTo>
                  <a:cubicBezTo>
                    <a:pt x="12" y="54"/>
                    <a:pt x="12" y="54"/>
                    <a:pt x="12" y="54"/>
                  </a:cubicBezTo>
                  <a:cubicBezTo>
                    <a:pt x="12" y="54"/>
                    <a:pt x="12" y="54"/>
                    <a:pt x="12" y="54"/>
                  </a:cubicBezTo>
                  <a:cubicBezTo>
                    <a:pt x="14" y="54"/>
                    <a:pt x="36" y="79"/>
                    <a:pt x="36" y="80"/>
                  </a:cubicBezTo>
                  <a:cubicBezTo>
                    <a:pt x="36" y="80"/>
                    <a:pt x="36" y="80"/>
                    <a:pt x="36" y="80"/>
                  </a:cubicBezTo>
                  <a:cubicBezTo>
                    <a:pt x="35" y="81"/>
                    <a:pt x="35" y="83"/>
                    <a:pt x="35" y="84"/>
                  </a:cubicBezTo>
                  <a:cubicBezTo>
                    <a:pt x="36" y="85"/>
                    <a:pt x="37" y="86"/>
                    <a:pt x="39" y="86"/>
                  </a:cubicBezTo>
                  <a:cubicBezTo>
                    <a:pt x="40" y="86"/>
                    <a:pt x="40" y="86"/>
                    <a:pt x="41" y="86"/>
                  </a:cubicBezTo>
                  <a:cubicBezTo>
                    <a:pt x="43" y="85"/>
                    <a:pt x="44" y="83"/>
                    <a:pt x="43" y="81"/>
                  </a:cubicBezTo>
                  <a:cubicBezTo>
                    <a:pt x="42" y="81"/>
                    <a:pt x="42" y="81"/>
                    <a:pt x="42" y="81"/>
                  </a:cubicBezTo>
                  <a:cubicBezTo>
                    <a:pt x="42" y="81"/>
                    <a:pt x="42" y="81"/>
                    <a:pt x="42" y="81"/>
                  </a:cubicBezTo>
                  <a:cubicBezTo>
                    <a:pt x="42" y="80"/>
                    <a:pt x="74" y="56"/>
                    <a:pt x="75" y="56"/>
                  </a:cubicBezTo>
                  <a:cubicBezTo>
                    <a:pt x="75" y="56"/>
                    <a:pt x="75" y="56"/>
                    <a:pt x="75" y="56"/>
                  </a:cubicBezTo>
                  <a:cubicBezTo>
                    <a:pt x="75" y="56"/>
                    <a:pt x="75" y="56"/>
                    <a:pt x="75" y="56"/>
                  </a:cubicBezTo>
                  <a:cubicBezTo>
                    <a:pt x="76" y="57"/>
                    <a:pt x="78" y="58"/>
                    <a:pt x="79" y="58"/>
                  </a:cubicBezTo>
                  <a:cubicBezTo>
                    <a:pt x="82" y="58"/>
                    <a:pt x="84" y="55"/>
                    <a:pt x="84" y="53"/>
                  </a:cubicBezTo>
                  <a:cubicBezTo>
                    <a:pt x="84" y="50"/>
                    <a:pt x="82" y="48"/>
                    <a:pt x="79" y="48"/>
                  </a:cubicBezTo>
                  <a:cubicBezTo>
                    <a:pt x="78" y="48"/>
                    <a:pt x="78" y="48"/>
                    <a:pt x="77" y="48"/>
                  </a:cubicBezTo>
                  <a:cubicBezTo>
                    <a:pt x="77" y="48"/>
                    <a:pt x="77" y="48"/>
                    <a:pt x="77" y="48"/>
                  </a:cubicBezTo>
                  <a:cubicBezTo>
                    <a:pt x="76" y="48"/>
                    <a:pt x="53" y="14"/>
                    <a:pt x="54" y="13"/>
                  </a:cubicBezTo>
                  <a:cubicBezTo>
                    <a:pt x="54" y="13"/>
                    <a:pt x="54" y="13"/>
                    <a:pt x="54" y="13"/>
                  </a:cubicBezTo>
                  <a:cubicBezTo>
                    <a:pt x="57" y="11"/>
                    <a:pt x="58" y="7"/>
                    <a:pt x="56" y="4"/>
                  </a:cubicBezTo>
                  <a:cubicBezTo>
                    <a:pt x="55" y="1"/>
                    <a:pt x="52" y="0"/>
                    <a:pt x="49"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 name="Freeform 11"/>
            <p:cNvSpPr>
              <a:spLocks/>
            </p:cNvSpPr>
            <p:nvPr/>
          </p:nvSpPr>
          <p:spPr bwMode="auto">
            <a:xfrm>
              <a:off x="4856163" y="2439988"/>
              <a:ext cx="87313" cy="74613"/>
            </a:xfrm>
            <a:custGeom>
              <a:avLst/>
              <a:gdLst>
                <a:gd name="T0" fmla="*/ 12 w 23"/>
                <a:gd name="T1" fmla="*/ 0 h 20"/>
                <a:gd name="T2" fmla="*/ 7 w 23"/>
                <a:gd name="T3" fmla="*/ 1 h 20"/>
                <a:gd name="T4" fmla="*/ 3 w 23"/>
                <a:gd name="T5" fmla="*/ 14 h 20"/>
                <a:gd name="T6" fmla="*/ 12 w 23"/>
                <a:gd name="T7" fmla="*/ 20 h 20"/>
                <a:gd name="T8" fmla="*/ 16 w 23"/>
                <a:gd name="T9" fmla="*/ 19 h 20"/>
                <a:gd name="T10" fmla="*/ 21 w 23"/>
                <a:gd name="T11" fmla="*/ 6 h 20"/>
                <a:gd name="T12" fmla="*/ 12 w 2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3" h="20">
                  <a:moveTo>
                    <a:pt x="12" y="0"/>
                  </a:moveTo>
                  <a:cubicBezTo>
                    <a:pt x="10" y="0"/>
                    <a:pt x="9" y="1"/>
                    <a:pt x="7" y="1"/>
                  </a:cubicBezTo>
                  <a:cubicBezTo>
                    <a:pt x="2" y="4"/>
                    <a:pt x="0" y="9"/>
                    <a:pt x="3" y="14"/>
                  </a:cubicBezTo>
                  <a:cubicBezTo>
                    <a:pt x="4" y="18"/>
                    <a:pt x="8" y="20"/>
                    <a:pt x="12" y="20"/>
                  </a:cubicBezTo>
                  <a:cubicBezTo>
                    <a:pt x="13" y="20"/>
                    <a:pt x="15" y="19"/>
                    <a:pt x="16" y="19"/>
                  </a:cubicBezTo>
                  <a:cubicBezTo>
                    <a:pt x="21" y="16"/>
                    <a:pt x="23" y="11"/>
                    <a:pt x="21" y="6"/>
                  </a:cubicBezTo>
                  <a:cubicBezTo>
                    <a:pt x="19" y="2"/>
                    <a:pt x="15" y="0"/>
                    <a:pt x="12"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0" name="Freeform 12"/>
            <p:cNvSpPr>
              <a:spLocks noEditPoints="1"/>
            </p:cNvSpPr>
            <p:nvPr/>
          </p:nvSpPr>
          <p:spPr bwMode="auto">
            <a:xfrm>
              <a:off x="3411538" y="2424113"/>
              <a:ext cx="1062038" cy="1203325"/>
            </a:xfrm>
            <a:custGeom>
              <a:avLst/>
              <a:gdLst>
                <a:gd name="T0" fmla="*/ 138 w 283"/>
                <a:gd name="T1" fmla="*/ 81 h 319"/>
                <a:gd name="T2" fmla="*/ 141 w 283"/>
                <a:gd name="T3" fmla="*/ 80 h 319"/>
                <a:gd name="T4" fmla="*/ 180 w 283"/>
                <a:gd name="T5" fmla="*/ 107 h 319"/>
                <a:gd name="T6" fmla="*/ 178 w 283"/>
                <a:gd name="T7" fmla="*/ 108 h 319"/>
                <a:gd name="T8" fmla="*/ 103 w 283"/>
                <a:gd name="T9" fmla="*/ 101 h 319"/>
                <a:gd name="T10" fmla="*/ 135 w 283"/>
                <a:gd name="T11" fmla="*/ 80 h 319"/>
                <a:gd name="T12" fmla="*/ 199 w 283"/>
                <a:gd name="T13" fmla="*/ 2 h 319"/>
                <a:gd name="T14" fmla="*/ 202 w 283"/>
                <a:gd name="T15" fmla="*/ 34 h 319"/>
                <a:gd name="T16" fmla="*/ 187 w 283"/>
                <a:gd name="T17" fmla="*/ 108 h 319"/>
                <a:gd name="T18" fmla="*/ 184 w 283"/>
                <a:gd name="T19" fmla="*/ 105 h 319"/>
                <a:gd name="T20" fmla="*/ 181 w 283"/>
                <a:gd name="T21" fmla="*/ 106 h 319"/>
                <a:gd name="T22" fmla="*/ 142 w 283"/>
                <a:gd name="T23" fmla="*/ 79 h 319"/>
                <a:gd name="T24" fmla="*/ 136 w 283"/>
                <a:gd name="T25" fmla="*/ 72 h 319"/>
                <a:gd name="T26" fmla="*/ 102 w 283"/>
                <a:gd name="T27" fmla="*/ 99 h 319"/>
                <a:gd name="T28" fmla="*/ 97 w 283"/>
                <a:gd name="T29" fmla="*/ 97 h 319"/>
                <a:gd name="T30" fmla="*/ 97 w 283"/>
                <a:gd name="T31" fmla="*/ 110 h 319"/>
                <a:gd name="T32" fmla="*/ 98 w 283"/>
                <a:gd name="T33" fmla="*/ 110 h 319"/>
                <a:gd name="T34" fmla="*/ 132 w 283"/>
                <a:gd name="T35" fmla="*/ 211 h 319"/>
                <a:gd name="T36" fmla="*/ 144 w 283"/>
                <a:gd name="T37" fmla="*/ 206 h 319"/>
                <a:gd name="T38" fmla="*/ 137 w 283"/>
                <a:gd name="T39" fmla="*/ 202 h 319"/>
                <a:gd name="T40" fmla="*/ 100 w 283"/>
                <a:gd name="T41" fmla="*/ 109 h 319"/>
                <a:gd name="T42" fmla="*/ 102 w 283"/>
                <a:gd name="T43" fmla="*/ 108 h 319"/>
                <a:gd name="T44" fmla="*/ 134 w 283"/>
                <a:gd name="T45" fmla="*/ 134 h 319"/>
                <a:gd name="T46" fmla="*/ 142 w 283"/>
                <a:gd name="T47" fmla="*/ 130 h 319"/>
                <a:gd name="T48" fmla="*/ 135 w 283"/>
                <a:gd name="T49" fmla="*/ 129 h 319"/>
                <a:gd name="T50" fmla="*/ 103 w 283"/>
                <a:gd name="T51" fmla="*/ 106 h 319"/>
                <a:gd name="T52" fmla="*/ 104 w 283"/>
                <a:gd name="T53" fmla="*/ 105 h 319"/>
                <a:gd name="T54" fmla="*/ 179 w 283"/>
                <a:gd name="T55" fmla="*/ 109 h 319"/>
                <a:gd name="T56" fmla="*/ 185 w 283"/>
                <a:gd name="T57" fmla="*/ 113 h 319"/>
                <a:gd name="T58" fmla="*/ 195 w 283"/>
                <a:gd name="T59" fmla="*/ 107 h 319"/>
                <a:gd name="T60" fmla="*/ 164 w 283"/>
                <a:gd name="T61" fmla="*/ 256 h 319"/>
                <a:gd name="T62" fmla="*/ 70 w 283"/>
                <a:gd name="T63" fmla="*/ 189 h 319"/>
                <a:gd name="T64" fmla="*/ 51 w 283"/>
                <a:gd name="T65" fmla="*/ 160 h 319"/>
                <a:gd name="T66" fmla="*/ 41 w 283"/>
                <a:gd name="T67" fmla="*/ 197 h 319"/>
                <a:gd name="T68" fmla="*/ 13 w 283"/>
                <a:gd name="T69" fmla="*/ 269 h 319"/>
                <a:gd name="T70" fmla="*/ 7 w 283"/>
                <a:gd name="T71" fmla="*/ 269 h 319"/>
                <a:gd name="T72" fmla="*/ 15 w 283"/>
                <a:gd name="T73" fmla="*/ 285 h 319"/>
                <a:gd name="T74" fmla="*/ 18 w 283"/>
                <a:gd name="T75" fmla="*/ 282 h 319"/>
                <a:gd name="T76" fmla="*/ 66 w 283"/>
                <a:gd name="T77" fmla="*/ 317 h 319"/>
                <a:gd name="T78" fmla="*/ 79 w 283"/>
                <a:gd name="T79" fmla="*/ 302 h 319"/>
                <a:gd name="T80" fmla="*/ 64 w 283"/>
                <a:gd name="T81" fmla="*/ 304 h 319"/>
                <a:gd name="T82" fmla="*/ 19 w 283"/>
                <a:gd name="T83" fmla="*/ 280 h 319"/>
                <a:gd name="T84" fmla="*/ 15 w 283"/>
                <a:gd name="T85" fmla="*/ 270 h 319"/>
                <a:gd name="T86" fmla="*/ 46 w 283"/>
                <a:gd name="T87" fmla="*/ 200 h 319"/>
                <a:gd name="T88" fmla="*/ 66 w 283"/>
                <a:gd name="T89" fmla="*/ 194 h 319"/>
                <a:gd name="T90" fmla="*/ 161 w 283"/>
                <a:gd name="T91" fmla="*/ 259 h 319"/>
                <a:gd name="T92" fmla="*/ 174 w 283"/>
                <a:gd name="T93" fmla="*/ 280 h 319"/>
                <a:gd name="T94" fmla="*/ 178 w 283"/>
                <a:gd name="T95" fmla="*/ 252 h 319"/>
                <a:gd name="T96" fmla="*/ 263 w 283"/>
                <a:gd name="T97" fmla="*/ 97 h 319"/>
                <a:gd name="T98" fmla="*/ 283 w 283"/>
                <a:gd name="T99" fmla="*/ 94 h 319"/>
                <a:gd name="T100" fmla="*/ 262 w 283"/>
                <a:gd name="T101" fmla="*/ 94 h 319"/>
                <a:gd name="T102" fmla="*/ 207 w 283"/>
                <a:gd name="T103" fmla="*/ 35 h 319"/>
                <a:gd name="T104" fmla="*/ 223 w 283"/>
                <a:gd name="T105" fmla="*/ 1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3" h="319">
                  <a:moveTo>
                    <a:pt x="135" y="80"/>
                  </a:moveTo>
                  <a:cubicBezTo>
                    <a:pt x="135" y="80"/>
                    <a:pt x="135" y="80"/>
                    <a:pt x="135" y="80"/>
                  </a:cubicBezTo>
                  <a:cubicBezTo>
                    <a:pt x="135" y="81"/>
                    <a:pt x="137" y="81"/>
                    <a:pt x="138" y="81"/>
                  </a:cubicBezTo>
                  <a:cubicBezTo>
                    <a:pt x="139" y="81"/>
                    <a:pt x="139" y="81"/>
                    <a:pt x="140" y="81"/>
                  </a:cubicBezTo>
                  <a:cubicBezTo>
                    <a:pt x="141" y="81"/>
                    <a:pt x="141" y="80"/>
                    <a:pt x="142" y="80"/>
                  </a:cubicBezTo>
                  <a:cubicBezTo>
                    <a:pt x="141" y="80"/>
                    <a:pt x="141" y="80"/>
                    <a:pt x="141" y="80"/>
                  </a:cubicBezTo>
                  <a:cubicBezTo>
                    <a:pt x="141" y="80"/>
                    <a:pt x="141" y="80"/>
                    <a:pt x="141" y="80"/>
                  </a:cubicBezTo>
                  <a:cubicBezTo>
                    <a:pt x="143" y="80"/>
                    <a:pt x="180" y="107"/>
                    <a:pt x="180" y="107"/>
                  </a:cubicBezTo>
                  <a:cubicBezTo>
                    <a:pt x="180" y="107"/>
                    <a:pt x="180" y="107"/>
                    <a:pt x="180" y="107"/>
                  </a:cubicBezTo>
                  <a:cubicBezTo>
                    <a:pt x="180" y="108"/>
                    <a:pt x="180" y="108"/>
                    <a:pt x="180" y="108"/>
                  </a:cubicBezTo>
                  <a:cubicBezTo>
                    <a:pt x="180" y="108"/>
                    <a:pt x="180" y="108"/>
                    <a:pt x="180" y="108"/>
                  </a:cubicBezTo>
                  <a:cubicBezTo>
                    <a:pt x="180" y="108"/>
                    <a:pt x="179" y="108"/>
                    <a:pt x="178" y="108"/>
                  </a:cubicBezTo>
                  <a:cubicBezTo>
                    <a:pt x="169" y="108"/>
                    <a:pt x="104" y="104"/>
                    <a:pt x="104" y="103"/>
                  </a:cubicBezTo>
                  <a:cubicBezTo>
                    <a:pt x="104" y="103"/>
                    <a:pt x="104" y="103"/>
                    <a:pt x="104" y="103"/>
                  </a:cubicBezTo>
                  <a:cubicBezTo>
                    <a:pt x="104" y="102"/>
                    <a:pt x="104" y="101"/>
                    <a:pt x="103" y="101"/>
                  </a:cubicBezTo>
                  <a:cubicBezTo>
                    <a:pt x="103" y="101"/>
                    <a:pt x="103" y="101"/>
                    <a:pt x="103" y="101"/>
                  </a:cubicBezTo>
                  <a:cubicBezTo>
                    <a:pt x="103" y="101"/>
                    <a:pt x="103" y="101"/>
                    <a:pt x="103" y="101"/>
                  </a:cubicBezTo>
                  <a:cubicBezTo>
                    <a:pt x="103" y="99"/>
                    <a:pt x="133" y="80"/>
                    <a:pt x="135" y="80"/>
                  </a:cubicBezTo>
                  <a:cubicBezTo>
                    <a:pt x="135" y="80"/>
                    <a:pt x="135" y="80"/>
                    <a:pt x="135" y="80"/>
                  </a:cubicBezTo>
                  <a:moveTo>
                    <a:pt x="207" y="0"/>
                  </a:moveTo>
                  <a:cubicBezTo>
                    <a:pt x="204" y="0"/>
                    <a:pt x="202" y="1"/>
                    <a:pt x="199" y="2"/>
                  </a:cubicBezTo>
                  <a:cubicBezTo>
                    <a:pt x="190" y="6"/>
                    <a:pt x="186" y="16"/>
                    <a:pt x="191" y="25"/>
                  </a:cubicBezTo>
                  <a:cubicBezTo>
                    <a:pt x="193" y="30"/>
                    <a:pt x="197" y="33"/>
                    <a:pt x="202" y="34"/>
                  </a:cubicBezTo>
                  <a:cubicBezTo>
                    <a:pt x="202" y="34"/>
                    <a:pt x="202" y="34"/>
                    <a:pt x="202" y="34"/>
                  </a:cubicBezTo>
                  <a:cubicBezTo>
                    <a:pt x="203" y="34"/>
                    <a:pt x="200" y="67"/>
                    <a:pt x="195" y="107"/>
                  </a:cubicBezTo>
                  <a:cubicBezTo>
                    <a:pt x="191" y="107"/>
                    <a:pt x="188" y="108"/>
                    <a:pt x="188" y="108"/>
                  </a:cubicBezTo>
                  <a:cubicBezTo>
                    <a:pt x="187" y="108"/>
                    <a:pt x="187" y="108"/>
                    <a:pt x="187" y="108"/>
                  </a:cubicBezTo>
                  <a:cubicBezTo>
                    <a:pt x="187" y="108"/>
                    <a:pt x="187" y="108"/>
                    <a:pt x="187" y="108"/>
                  </a:cubicBezTo>
                  <a:cubicBezTo>
                    <a:pt x="187" y="107"/>
                    <a:pt x="187" y="107"/>
                    <a:pt x="187" y="107"/>
                  </a:cubicBezTo>
                  <a:cubicBezTo>
                    <a:pt x="187" y="106"/>
                    <a:pt x="185" y="105"/>
                    <a:pt x="184" y="105"/>
                  </a:cubicBezTo>
                  <a:cubicBezTo>
                    <a:pt x="183" y="105"/>
                    <a:pt x="182" y="105"/>
                    <a:pt x="182" y="106"/>
                  </a:cubicBezTo>
                  <a:cubicBezTo>
                    <a:pt x="181" y="106"/>
                    <a:pt x="181" y="106"/>
                    <a:pt x="181" y="106"/>
                  </a:cubicBezTo>
                  <a:cubicBezTo>
                    <a:pt x="181" y="106"/>
                    <a:pt x="181" y="106"/>
                    <a:pt x="181" y="106"/>
                  </a:cubicBezTo>
                  <a:cubicBezTo>
                    <a:pt x="181" y="106"/>
                    <a:pt x="181" y="106"/>
                    <a:pt x="181" y="106"/>
                  </a:cubicBezTo>
                  <a:cubicBezTo>
                    <a:pt x="179" y="106"/>
                    <a:pt x="142" y="80"/>
                    <a:pt x="142" y="79"/>
                  </a:cubicBezTo>
                  <a:cubicBezTo>
                    <a:pt x="142" y="79"/>
                    <a:pt x="142" y="79"/>
                    <a:pt x="142" y="79"/>
                  </a:cubicBezTo>
                  <a:cubicBezTo>
                    <a:pt x="143" y="78"/>
                    <a:pt x="143" y="76"/>
                    <a:pt x="142" y="75"/>
                  </a:cubicBezTo>
                  <a:cubicBezTo>
                    <a:pt x="142" y="73"/>
                    <a:pt x="140" y="72"/>
                    <a:pt x="138" y="72"/>
                  </a:cubicBezTo>
                  <a:cubicBezTo>
                    <a:pt x="137" y="72"/>
                    <a:pt x="137" y="72"/>
                    <a:pt x="136" y="72"/>
                  </a:cubicBezTo>
                  <a:cubicBezTo>
                    <a:pt x="134" y="74"/>
                    <a:pt x="133" y="76"/>
                    <a:pt x="134" y="79"/>
                  </a:cubicBezTo>
                  <a:cubicBezTo>
                    <a:pt x="134" y="79"/>
                    <a:pt x="134" y="79"/>
                    <a:pt x="134" y="79"/>
                  </a:cubicBezTo>
                  <a:cubicBezTo>
                    <a:pt x="134" y="79"/>
                    <a:pt x="104" y="99"/>
                    <a:pt x="102" y="99"/>
                  </a:cubicBezTo>
                  <a:cubicBezTo>
                    <a:pt x="102" y="99"/>
                    <a:pt x="102" y="99"/>
                    <a:pt x="102" y="99"/>
                  </a:cubicBezTo>
                  <a:cubicBezTo>
                    <a:pt x="102" y="99"/>
                    <a:pt x="102" y="99"/>
                    <a:pt x="102" y="99"/>
                  </a:cubicBezTo>
                  <a:cubicBezTo>
                    <a:pt x="101" y="98"/>
                    <a:pt x="99" y="97"/>
                    <a:pt x="97" y="97"/>
                  </a:cubicBezTo>
                  <a:cubicBezTo>
                    <a:pt x="96" y="97"/>
                    <a:pt x="95" y="97"/>
                    <a:pt x="94" y="97"/>
                  </a:cubicBezTo>
                  <a:cubicBezTo>
                    <a:pt x="91" y="99"/>
                    <a:pt x="89" y="103"/>
                    <a:pt x="91" y="106"/>
                  </a:cubicBezTo>
                  <a:cubicBezTo>
                    <a:pt x="92" y="109"/>
                    <a:pt x="94" y="110"/>
                    <a:pt x="97" y="110"/>
                  </a:cubicBezTo>
                  <a:cubicBezTo>
                    <a:pt x="97" y="110"/>
                    <a:pt x="98" y="110"/>
                    <a:pt x="98" y="110"/>
                  </a:cubicBezTo>
                  <a:cubicBezTo>
                    <a:pt x="98" y="110"/>
                    <a:pt x="98" y="110"/>
                    <a:pt x="98" y="110"/>
                  </a:cubicBezTo>
                  <a:cubicBezTo>
                    <a:pt x="98" y="110"/>
                    <a:pt x="98" y="110"/>
                    <a:pt x="98" y="110"/>
                  </a:cubicBezTo>
                  <a:cubicBezTo>
                    <a:pt x="100" y="110"/>
                    <a:pt x="136" y="202"/>
                    <a:pt x="135" y="203"/>
                  </a:cubicBezTo>
                  <a:cubicBezTo>
                    <a:pt x="135" y="203"/>
                    <a:pt x="135" y="203"/>
                    <a:pt x="135" y="203"/>
                  </a:cubicBezTo>
                  <a:cubicBezTo>
                    <a:pt x="132" y="204"/>
                    <a:pt x="130" y="208"/>
                    <a:pt x="132" y="211"/>
                  </a:cubicBezTo>
                  <a:cubicBezTo>
                    <a:pt x="133" y="214"/>
                    <a:pt x="136" y="215"/>
                    <a:pt x="138" y="215"/>
                  </a:cubicBezTo>
                  <a:cubicBezTo>
                    <a:pt x="139" y="215"/>
                    <a:pt x="140" y="215"/>
                    <a:pt x="141" y="214"/>
                  </a:cubicBezTo>
                  <a:cubicBezTo>
                    <a:pt x="144" y="213"/>
                    <a:pt x="146" y="209"/>
                    <a:pt x="144" y="206"/>
                  </a:cubicBezTo>
                  <a:cubicBezTo>
                    <a:pt x="143" y="203"/>
                    <a:pt x="141" y="202"/>
                    <a:pt x="138" y="202"/>
                  </a:cubicBezTo>
                  <a:cubicBezTo>
                    <a:pt x="138" y="202"/>
                    <a:pt x="137" y="202"/>
                    <a:pt x="137" y="202"/>
                  </a:cubicBezTo>
                  <a:cubicBezTo>
                    <a:pt x="137" y="202"/>
                    <a:pt x="137" y="202"/>
                    <a:pt x="137" y="202"/>
                  </a:cubicBezTo>
                  <a:cubicBezTo>
                    <a:pt x="137" y="202"/>
                    <a:pt x="137" y="202"/>
                    <a:pt x="137" y="202"/>
                  </a:cubicBezTo>
                  <a:cubicBezTo>
                    <a:pt x="135" y="202"/>
                    <a:pt x="99" y="110"/>
                    <a:pt x="100" y="109"/>
                  </a:cubicBezTo>
                  <a:cubicBezTo>
                    <a:pt x="100" y="109"/>
                    <a:pt x="100" y="109"/>
                    <a:pt x="100" y="109"/>
                  </a:cubicBezTo>
                  <a:cubicBezTo>
                    <a:pt x="101" y="109"/>
                    <a:pt x="101" y="108"/>
                    <a:pt x="102" y="108"/>
                  </a:cubicBezTo>
                  <a:cubicBezTo>
                    <a:pt x="102" y="108"/>
                    <a:pt x="102" y="108"/>
                    <a:pt x="102" y="108"/>
                  </a:cubicBezTo>
                  <a:cubicBezTo>
                    <a:pt x="102" y="108"/>
                    <a:pt x="102" y="108"/>
                    <a:pt x="102" y="108"/>
                  </a:cubicBezTo>
                  <a:cubicBezTo>
                    <a:pt x="104" y="108"/>
                    <a:pt x="134" y="129"/>
                    <a:pt x="134" y="130"/>
                  </a:cubicBezTo>
                  <a:cubicBezTo>
                    <a:pt x="134" y="130"/>
                    <a:pt x="134" y="130"/>
                    <a:pt x="134" y="130"/>
                  </a:cubicBezTo>
                  <a:cubicBezTo>
                    <a:pt x="133" y="131"/>
                    <a:pt x="133" y="133"/>
                    <a:pt x="134" y="134"/>
                  </a:cubicBezTo>
                  <a:cubicBezTo>
                    <a:pt x="135" y="136"/>
                    <a:pt x="136" y="137"/>
                    <a:pt x="138" y="137"/>
                  </a:cubicBezTo>
                  <a:cubicBezTo>
                    <a:pt x="139" y="137"/>
                    <a:pt x="139" y="136"/>
                    <a:pt x="140" y="136"/>
                  </a:cubicBezTo>
                  <a:cubicBezTo>
                    <a:pt x="143" y="135"/>
                    <a:pt x="144" y="132"/>
                    <a:pt x="142" y="130"/>
                  </a:cubicBezTo>
                  <a:cubicBezTo>
                    <a:pt x="142" y="128"/>
                    <a:pt x="140" y="127"/>
                    <a:pt x="138" y="127"/>
                  </a:cubicBezTo>
                  <a:cubicBezTo>
                    <a:pt x="137" y="127"/>
                    <a:pt x="137" y="127"/>
                    <a:pt x="136" y="128"/>
                  </a:cubicBezTo>
                  <a:cubicBezTo>
                    <a:pt x="136" y="128"/>
                    <a:pt x="135" y="128"/>
                    <a:pt x="135" y="129"/>
                  </a:cubicBezTo>
                  <a:cubicBezTo>
                    <a:pt x="135" y="129"/>
                    <a:pt x="135" y="129"/>
                    <a:pt x="135" y="129"/>
                  </a:cubicBezTo>
                  <a:cubicBezTo>
                    <a:pt x="135" y="129"/>
                    <a:pt x="135" y="129"/>
                    <a:pt x="135" y="129"/>
                  </a:cubicBezTo>
                  <a:cubicBezTo>
                    <a:pt x="133" y="129"/>
                    <a:pt x="103" y="108"/>
                    <a:pt x="103" y="106"/>
                  </a:cubicBezTo>
                  <a:cubicBezTo>
                    <a:pt x="103" y="106"/>
                    <a:pt x="103" y="106"/>
                    <a:pt x="103" y="106"/>
                  </a:cubicBezTo>
                  <a:cubicBezTo>
                    <a:pt x="103" y="106"/>
                    <a:pt x="104" y="105"/>
                    <a:pt x="104" y="105"/>
                  </a:cubicBezTo>
                  <a:cubicBezTo>
                    <a:pt x="104" y="105"/>
                    <a:pt x="104" y="105"/>
                    <a:pt x="104" y="105"/>
                  </a:cubicBezTo>
                  <a:cubicBezTo>
                    <a:pt x="104" y="105"/>
                    <a:pt x="105" y="105"/>
                    <a:pt x="106" y="105"/>
                  </a:cubicBezTo>
                  <a:cubicBezTo>
                    <a:pt x="120" y="105"/>
                    <a:pt x="179" y="109"/>
                    <a:pt x="179" y="109"/>
                  </a:cubicBezTo>
                  <a:cubicBezTo>
                    <a:pt x="179" y="109"/>
                    <a:pt x="179" y="109"/>
                    <a:pt x="179" y="109"/>
                  </a:cubicBezTo>
                  <a:cubicBezTo>
                    <a:pt x="180" y="110"/>
                    <a:pt x="180" y="110"/>
                    <a:pt x="180" y="111"/>
                  </a:cubicBezTo>
                  <a:cubicBezTo>
                    <a:pt x="181" y="112"/>
                    <a:pt x="182" y="113"/>
                    <a:pt x="184" y="113"/>
                  </a:cubicBezTo>
                  <a:cubicBezTo>
                    <a:pt x="184" y="113"/>
                    <a:pt x="185" y="113"/>
                    <a:pt x="185" y="113"/>
                  </a:cubicBezTo>
                  <a:cubicBezTo>
                    <a:pt x="187" y="112"/>
                    <a:pt x="188" y="110"/>
                    <a:pt x="188" y="109"/>
                  </a:cubicBezTo>
                  <a:cubicBezTo>
                    <a:pt x="188" y="109"/>
                    <a:pt x="188" y="109"/>
                    <a:pt x="188" y="109"/>
                  </a:cubicBezTo>
                  <a:cubicBezTo>
                    <a:pt x="188" y="109"/>
                    <a:pt x="190" y="108"/>
                    <a:pt x="195" y="107"/>
                  </a:cubicBezTo>
                  <a:cubicBezTo>
                    <a:pt x="187" y="171"/>
                    <a:pt x="176" y="252"/>
                    <a:pt x="174" y="252"/>
                  </a:cubicBezTo>
                  <a:cubicBezTo>
                    <a:pt x="174" y="252"/>
                    <a:pt x="174" y="252"/>
                    <a:pt x="174" y="252"/>
                  </a:cubicBezTo>
                  <a:cubicBezTo>
                    <a:pt x="170" y="252"/>
                    <a:pt x="167" y="253"/>
                    <a:pt x="164" y="256"/>
                  </a:cubicBezTo>
                  <a:cubicBezTo>
                    <a:pt x="164" y="256"/>
                    <a:pt x="164" y="256"/>
                    <a:pt x="164" y="256"/>
                  </a:cubicBezTo>
                  <a:cubicBezTo>
                    <a:pt x="164" y="256"/>
                    <a:pt x="164" y="256"/>
                    <a:pt x="164" y="256"/>
                  </a:cubicBezTo>
                  <a:cubicBezTo>
                    <a:pt x="159" y="256"/>
                    <a:pt x="68" y="193"/>
                    <a:pt x="70" y="189"/>
                  </a:cubicBezTo>
                  <a:cubicBezTo>
                    <a:pt x="70" y="189"/>
                    <a:pt x="70" y="189"/>
                    <a:pt x="70" y="189"/>
                  </a:cubicBezTo>
                  <a:cubicBezTo>
                    <a:pt x="74" y="181"/>
                    <a:pt x="72" y="170"/>
                    <a:pt x="64" y="164"/>
                  </a:cubicBezTo>
                  <a:cubicBezTo>
                    <a:pt x="61" y="161"/>
                    <a:pt x="56" y="160"/>
                    <a:pt x="51" y="160"/>
                  </a:cubicBezTo>
                  <a:cubicBezTo>
                    <a:pt x="45" y="160"/>
                    <a:pt x="39" y="162"/>
                    <a:pt x="35" y="167"/>
                  </a:cubicBezTo>
                  <a:cubicBezTo>
                    <a:pt x="27" y="176"/>
                    <a:pt x="29" y="188"/>
                    <a:pt x="38" y="195"/>
                  </a:cubicBezTo>
                  <a:cubicBezTo>
                    <a:pt x="39" y="196"/>
                    <a:pt x="40" y="197"/>
                    <a:pt x="41" y="197"/>
                  </a:cubicBezTo>
                  <a:cubicBezTo>
                    <a:pt x="40" y="197"/>
                    <a:pt x="40" y="197"/>
                    <a:pt x="40" y="197"/>
                  </a:cubicBezTo>
                  <a:cubicBezTo>
                    <a:pt x="44" y="199"/>
                    <a:pt x="15" y="269"/>
                    <a:pt x="13" y="269"/>
                  </a:cubicBezTo>
                  <a:cubicBezTo>
                    <a:pt x="13" y="269"/>
                    <a:pt x="13" y="269"/>
                    <a:pt x="13" y="269"/>
                  </a:cubicBezTo>
                  <a:cubicBezTo>
                    <a:pt x="13" y="269"/>
                    <a:pt x="13" y="269"/>
                    <a:pt x="13" y="269"/>
                  </a:cubicBezTo>
                  <a:cubicBezTo>
                    <a:pt x="12" y="269"/>
                    <a:pt x="11" y="268"/>
                    <a:pt x="11" y="268"/>
                  </a:cubicBezTo>
                  <a:cubicBezTo>
                    <a:pt x="9" y="268"/>
                    <a:pt x="8" y="269"/>
                    <a:pt x="7" y="269"/>
                  </a:cubicBezTo>
                  <a:cubicBezTo>
                    <a:pt x="2" y="271"/>
                    <a:pt x="0" y="277"/>
                    <a:pt x="2" y="281"/>
                  </a:cubicBezTo>
                  <a:cubicBezTo>
                    <a:pt x="4" y="284"/>
                    <a:pt x="7" y="286"/>
                    <a:pt x="11" y="286"/>
                  </a:cubicBezTo>
                  <a:cubicBezTo>
                    <a:pt x="12" y="286"/>
                    <a:pt x="13" y="286"/>
                    <a:pt x="15" y="285"/>
                  </a:cubicBezTo>
                  <a:cubicBezTo>
                    <a:pt x="16" y="284"/>
                    <a:pt x="17" y="284"/>
                    <a:pt x="18" y="282"/>
                  </a:cubicBezTo>
                  <a:cubicBezTo>
                    <a:pt x="18" y="283"/>
                    <a:pt x="18" y="283"/>
                    <a:pt x="18" y="283"/>
                  </a:cubicBezTo>
                  <a:cubicBezTo>
                    <a:pt x="18" y="282"/>
                    <a:pt x="18" y="282"/>
                    <a:pt x="18" y="282"/>
                  </a:cubicBezTo>
                  <a:cubicBezTo>
                    <a:pt x="21" y="282"/>
                    <a:pt x="63" y="305"/>
                    <a:pt x="63" y="306"/>
                  </a:cubicBezTo>
                  <a:cubicBezTo>
                    <a:pt x="63" y="306"/>
                    <a:pt x="63" y="306"/>
                    <a:pt x="63" y="306"/>
                  </a:cubicBezTo>
                  <a:cubicBezTo>
                    <a:pt x="61" y="310"/>
                    <a:pt x="62" y="314"/>
                    <a:pt x="66" y="317"/>
                  </a:cubicBezTo>
                  <a:cubicBezTo>
                    <a:pt x="68" y="319"/>
                    <a:pt x="70" y="319"/>
                    <a:pt x="72" y="319"/>
                  </a:cubicBezTo>
                  <a:cubicBezTo>
                    <a:pt x="75" y="319"/>
                    <a:pt x="78" y="318"/>
                    <a:pt x="80" y="316"/>
                  </a:cubicBezTo>
                  <a:cubicBezTo>
                    <a:pt x="83" y="312"/>
                    <a:pt x="83" y="306"/>
                    <a:pt x="79" y="302"/>
                  </a:cubicBezTo>
                  <a:cubicBezTo>
                    <a:pt x="77" y="301"/>
                    <a:pt x="74" y="300"/>
                    <a:pt x="72" y="300"/>
                  </a:cubicBezTo>
                  <a:cubicBezTo>
                    <a:pt x="69" y="300"/>
                    <a:pt x="66" y="301"/>
                    <a:pt x="64" y="304"/>
                  </a:cubicBezTo>
                  <a:cubicBezTo>
                    <a:pt x="64" y="304"/>
                    <a:pt x="64" y="304"/>
                    <a:pt x="64" y="304"/>
                  </a:cubicBezTo>
                  <a:cubicBezTo>
                    <a:pt x="64" y="304"/>
                    <a:pt x="64" y="304"/>
                    <a:pt x="64" y="304"/>
                  </a:cubicBezTo>
                  <a:cubicBezTo>
                    <a:pt x="64" y="304"/>
                    <a:pt x="64" y="304"/>
                    <a:pt x="64" y="304"/>
                  </a:cubicBezTo>
                  <a:cubicBezTo>
                    <a:pt x="60" y="304"/>
                    <a:pt x="19" y="282"/>
                    <a:pt x="19" y="280"/>
                  </a:cubicBezTo>
                  <a:cubicBezTo>
                    <a:pt x="19" y="280"/>
                    <a:pt x="19" y="280"/>
                    <a:pt x="19" y="280"/>
                  </a:cubicBezTo>
                  <a:cubicBezTo>
                    <a:pt x="20" y="278"/>
                    <a:pt x="20" y="276"/>
                    <a:pt x="19" y="273"/>
                  </a:cubicBezTo>
                  <a:cubicBezTo>
                    <a:pt x="18" y="272"/>
                    <a:pt x="17" y="271"/>
                    <a:pt x="15" y="270"/>
                  </a:cubicBezTo>
                  <a:cubicBezTo>
                    <a:pt x="15" y="270"/>
                    <a:pt x="15" y="270"/>
                    <a:pt x="15" y="270"/>
                  </a:cubicBezTo>
                  <a:cubicBezTo>
                    <a:pt x="14" y="269"/>
                    <a:pt x="42" y="200"/>
                    <a:pt x="46" y="200"/>
                  </a:cubicBezTo>
                  <a:cubicBezTo>
                    <a:pt x="46" y="200"/>
                    <a:pt x="46" y="200"/>
                    <a:pt x="46" y="200"/>
                  </a:cubicBezTo>
                  <a:cubicBezTo>
                    <a:pt x="46" y="199"/>
                    <a:pt x="46" y="199"/>
                    <a:pt x="46" y="199"/>
                  </a:cubicBezTo>
                  <a:cubicBezTo>
                    <a:pt x="48" y="200"/>
                    <a:pt x="49" y="200"/>
                    <a:pt x="51" y="200"/>
                  </a:cubicBezTo>
                  <a:cubicBezTo>
                    <a:pt x="57" y="200"/>
                    <a:pt x="62" y="198"/>
                    <a:pt x="66" y="194"/>
                  </a:cubicBezTo>
                  <a:cubicBezTo>
                    <a:pt x="66" y="194"/>
                    <a:pt x="66" y="194"/>
                    <a:pt x="66" y="194"/>
                  </a:cubicBezTo>
                  <a:cubicBezTo>
                    <a:pt x="66" y="194"/>
                    <a:pt x="66" y="194"/>
                    <a:pt x="66" y="194"/>
                  </a:cubicBezTo>
                  <a:cubicBezTo>
                    <a:pt x="73" y="194"/>
                    <a:pt x="163" y="257"/>
                    <a:pt x="161" y="259"/>
                  </a:cubicBezTo>
                  <a:cubicBezTo>
                    <a:pt x="161" y="259"/>
                    <a:pt x="161" y="259"/>
                    <a:pt x="161" y="259"/>
                  </a:cubicBezTo>
                  <a:cubicBezTo>
                    <a:pt x="160" y="261"/>
                    <a:pt x="160" y="263"/>
                    <a:pt x="160" y="266"/>
                  </a:cubicBezTo>
                  <a:cubicBezTo>
                    <a:pt x="160" y="273"/>
                    <a:pt x="166" y="280"/>
                    <a:pt x="174" y="280"/>
                  </a:cubicBezTo>
                  <a:cubicBezTo>
                    <a:pt x="182" y="280"/>
                    <a:pt x="189" y="273"/>
                    <a:pt x="189" y="266"/>
                  </a:cubicBezTo>
                  <a:cubicBezTo>
                    <a:pt x="189" y="259"/>
                    <a:pt x="184" y="254"/>
                    <a:pt x="178" y="252"/>
                  </a:cubicBezTo>
                  <a:cubicBezTo>
                    <a:pt x="178" y="252"/>
                    <a:pt x="178" y="252"/>
                    <a:pt x="178" y="252"/>
                  </a:cubicBezTo>
                  <a:cubicBezTo>
                    <a:pt x="177" y="252"/>
                    <a:pt x="187" y="170"/>
                    <a:pt x="195" y="107"/>
                  </a:cubicBezTo>
                  <a:cubicBezTo>
                    <a:pt x="213" y="104"/>
                    <a:pt x="255" y="97"/>
                    <a:pt x="262" y="97"/>
                  </a:cubicBezTo>
                  <a:cubicBezTo>
                    <a:pt x="263" y="97"/>
                    <a:pt x="263" y="97"/>
                    <a:pt x="263" y="97"/>
                  </a:cubicBezTo>
                  <a:cubicBezTo>
                    <a:pt x="263" y="97"/>
                    <a:pt x="263" y="97"/>
                    <a:pt x="263" y="97"/>
                  </a:cubicBezTo>
                  <a:cubicBezTo>
                    <a:pt x="264" y="101"/>
                    <a:pt x="268" y="103"/>
                    <a:pt x="273" y="103"/>
                  </a:cubicBezTo>
                  <a:cubicBezTo>
                    <a:pt x="278" y="103"/>
                    <a:pt x="283" y="99"/>
                    <a:pt x="283" y="94"/>
                  </a:cubicBezTo>
                  <a:cubicBezTo>
                    <a:pt x="283" y="88"/>
                    <a:pt x="278" y="84"/>
                    <a:pt x="273" y="84"/>
                  </a:cubicBezTo>
                  <a:cubicBezTo>
                    <a:pt x="267" y="84"/>
                    <a:pt x="262" y="88"/>
                    <a:pt x="262" y="94"/>
                  </a:cubicBezTo>
                  <a:cubicBezTo>
                    <a:pt x="262" y="94"/>
                    <a:pt x="262" y="94"/>
                    <a:pt x="262" y="94"/>
                  </a:cubicBezTo>
                  <a:cubicBezTo>
                    <a:pt x="262" y="94"/>
                    <a:pt x="262" y="94"/>
                    <a:pt x="262" y="94"/>
                  </a:cubicBezTo>
                  <a:cubicBezTo>
                    <a:pt x="263" y="96"/>
                    <a:pt x="215" y="104"/>
                    <a:pt x="195" y="107"/>
                  </a:cubicBezTo>
                  <a:cubicBezTo>
                    <a:pt x="201" y="67"/>
                    <a:pt x="206" y="35"/>
                    <a:pt x="207" y="35"/>
                  </a:cubicBezTo>
                  <a:cubicBezTo>
                    <a:pt x="207" y="35"/>
                    <a:pt x="207" y="35"/>
                    <a:pt x="207" y="35"/>
                  </a:cubicBezTo>
                  <a:cubicBezTo>
                    <a:pt x="210" y="35"/>
                    <a:pt x="212" y="34"/>
                    <a:pt x="214" y="33"/>
                  </a:cubicBezTo>
                  <a:cubicBezTo>
                    <a:pt x="223" y="29"/>
                    <a:pt x="227" y="19"/>
                    <a:pt x="223" y="10"/>
                  </a:cubicBezTo>
                  <a:cubicBezTo>
                    <a:pt x="220" y="4"/>
                    <a:pt x="214" y="0"/>
                    <a:pt x="207"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1" name="Freeform 13"/>
            <p:cNvSpPr>
              <a:spLocks/>
            </p:cNvSpPr>
            <p:nvPr/>
          </p:nvSpPr>
          <p:spPr bwMode="auto">
            <a:xfrm>
              <a:off x="5762625" y="2805113"/>
              <a:ext cx="36513" cy="30163"/>
            </a:xfrm>
            <a:custGeom>
              <a:avLst/>
              <a:gdLst>
                <a:gd name="T0" fmla="*/ 0 w 10"/>
                <a:gd name="T1" fmla="*/ 0 h 8"/>
                <a:gd name="T2" fmla="*/ 10 w 10"/>
                <a:gd name="T3" fmla="*/ 8 h 8"/>
                <a:gd name="T4" fmla="*/ 0 w 10"/>
                <a:gd name="T5" fmla="*/ 0 h 8"/>
              </a:gdLst>
              <a:ahLst/>
              <a:cxnLst>
                <a:cxn ang="0">
                  <a:pos x="T0" y="T1"/>
                </a:cxn>
                <a:cxn ang="0">
                  <a:pos x="T2" y="T3"/>
                </a:cxn>
                <a:cxn ang="0">
                  <a:pos x="T4" y="T5"/>
                </a:cxn>
              </a:cxnLst>
              <a:rect l="0" t="0" r="r" b="b"/>
              <a:pathLst>
                <a:path w="10" h="8">
                  <a:moveTo>
                    <a:pt x="0" y="0"/>
                  </a:moveTo>
                  <a:cubicBezTo>
                    <a:pt x="3" y="3"/>
                    <a:pt x="6" y="6"/>
                    <a:pt x="10" y="8"/>
                  </a:cubicBezTo>
                  <a:cubicBezTo>
                    <a:pt x="6" y="6"/>
                    <a:pt x="3" y="3"/>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 name="Freeform 14"/>
            <p:cNvSpPr>
              <a:spLocks noEditPoints="1"/>
            </p:cNvSpPr>
            <p:nvPr/>
          </p:nvSpPr>
          <p:spPr bwMode="auto">
            <a:xfrm>
              <a:off x="5799138" y="2613025"/>
              <a:ext cx="241300" cy="293688"/>
            </a:xfrm>
            <a:custGeom>
              <a:avLst/>
              <a:gdLst>
                <a:gd name="T0" fmla="*/ 28 w 64"/>
                <a:gd name="T1" fmla="*/ 13 h 78"/>
                <a:gd name="T2" fmla="*/ 31 w 64"/>
                <a:gd name="T3" fmla="*/ 12 h 78"/>
                <a:gd name="T4" fmla="*/ 31 w 64"/>
                <a:gd name="T5" fmla="*/ 12 h 78"/>
                <a:gd name="T6" fmla="*/ 31 w 64"/>
                <a:gd name="T7" fmla="*/ 12 h 78"/>
                <a:gd name="T8" fmla="*/ 48 w 64"/>
                <a:gd name="T9" fmla="*/ 38 h 78"/>
                <a:gd name="T10" fmla="*/ 48 w 64"/>
                <a:gd name="T11" fmla="*/ 38 h 78"/>
                <a:gd name="T12" fmla="*/ 46 w 64"/>
                <a:gd name="T13" fmla="*/ 49 h 78"/>
                <a:gd name="T14" fmla="*/ 46 w 64"/>
                <a:gd name="T15" fmla="*/ 49 h 78"/>
                <a:gd name="T16" fmla="*/ 46 w 64"/>
                <a:gd name="T17" fmla="*/ 49 h 78"/>
                <a:gd name="T18" fmla="*/ 20 w 64"/>
                <a:gd name="T19" fmla="*/ 70 h 78"/>
                <a:gd name="T20" fmla="*/ 20 w 64"/>
                <a:gd name="T21" fmla="*/ 70 h 78"/>
                <a:gd name="T22" fmla="*/ 20 w 64"/>
                <a:gd name="T23" fmla="*/ 70 h 78"/>
                <a:gd name="T24" fmla="*/ 18 w 64"/>
                <a:gd name="T25" fmla="*/ 69 h 78"/>
                <a:gd name="T26" fmla="*/ 18 w 64"/>
                <a:gd name="T27" fmla="*/ 69 h 78"/>
                <a:gd name="T28" fmla="*/ 28 w 64"/>
                <a:gd name="T29" fmla="*/ 13 h 78"/>
                <a:gd name="T30" fmla="*/ 28 w 64"/>
                <a:gd name="T31" fmla="*/ 13 h 78"/>
                <a:gd name="T32" fmla="*/ 28 w 64"/>
                <a:gd name="T33" fmla="*/ 13 h 78"/>
                <a:gd name="T34" fmla="*/ 28 w 64"/>
                <a:gd name="T35" fmla="*/ 0 h 78"/>
                <a:gd name="T36" fmla="*/ 25 w 64"/>
                <a:gd name="T37" fmla="*/ 0 h 78"/>
                <a:gd name="T38" fmla="*/ 22 w 64"/>
                <a:gd name="T39" fmla="*/ 9 h 78"/>
                <a:gd name="T40" fmla="*/ 26 w 64"/>
                <a:gd name="T41" fmla="*/ 13 h 78"/>
                <a:gd name="T42" fmla="*/ 26 w 64"/>
                <a:gd name="T43" fmla="*/ 13 h 78"/>
                <a:gd name="T44" fmla="*/ 17 w 64"/>
                <a:gd name="T45" fmla="*/ 69 h 78"/>
                <a:gd name="T46" fmla="*/ 17 w 64"/>
                <a:gd name="T47" fmla="*/ 69 h 78"/>
                <a:gd name="T48" fmla="*/ 17 w 64"/>
                <a:gd name="T49" fmla="*/ 69 h 78"/>
                <a:gd name="T50" fmla="*/ 15 w 64"/>
                <a:gd name="T51" fmla="*/ 69 h 78"/>
                <a:gd name="T52" fmla="*/ 13 w 64"/>
                <a:gd name="T53" fmla="*/ 70 h 78"/>
                <a:gd name="T54" fmla="*/ 14 w 64"/>
                <a:gd name="T55" fmla="*/ 70 h 78"/>
                <a:gd name="T56" fmla="*/ 14 w 64"/>
                <a:gd name="T57" fmla="*/ 70 h 78"/>
                <a:gd name="T58" fmla="*/ 0 w 64"/>
                <a:gd name="T59" fmla="*/ 59 h 78"/>
                <a:gd name="T60" fmla="*/ 12 w 64"/>
                <a:gd name="T61" fmla="*/ 71 h 78"/>
                <a:gd name="T62" fmla="*/ 12 w 64"/>
                <a:gd name="T63" fmla="*/ 71 h 78"/>
                <a:gd name="T64" fmla="*/ 12 w 64"/>
                <a:gd name="T65" fmla="*/ 75 h 78"/>
                <a:gd name="T66" fmla="*/ 17 w 64"/>
                <a:gd name="T67" fmla="*/ 78 h 78"/>
                <a:gd name="T68" fmla="*/ 19 w 64"/>
                <a:gd name="T69" fmla="*/ 78 h 78"/>
                <a:gd name="T70" fmla="*/ 21 w 64"/>
                <a:gd name="T71" fmla="*/ 72 h 78"/>
                <a:gd name="T72" fmla="*/ 21 w 64"/>
                <a:gd name="T73" fmla="*/ 71 h 78"/>
                <a:gd name="T74" fmla="*/ 21 w 64"/>
                <a:gd name="T75" fmla="*/ 71 h 78"/>
                <a:gd name="T76" fmla="*/ 48 w 64"/>
                <a:gd name="T77" fmla="*/ 51 h 78"/>
                <a:gd name="T78" fmla="*/ 48 w 64"/>
                <a:gd name="T79" fmla="*/ 51 h 78"/>
                <a:gd name="T80" fmla="*/ 48 w 64"/>
                <a:gd name="T81" fmla="*/ 51 h 78"/>
                <a:gd name="T82" fmla="*/ 54 w 64"/>
                <a:gd name="T83" fmla="*/ 54 h 78"/>
                <a:gd name="T84" fmla="*/ 58 w 64"/>
                <a:gd name="T85" fmla="*/ 53 h 78"/>
                <a:gd name="T86" fmla="*/ 62 w 64"/>
                <a:gd name="T87" fmla="*/ 41 h 78"/>
                <a:gd name="T88" fmla="*/ 54 w 64"/>
                <a:gd name="T89" fmla="*/ 36 h 78"/>
                <a:gd name="T90" fmla="*/ 50 w 64"/>
                <a:gd name="T91" fmla="*/ 37 h 78"/>
                <a:gd name="T92" fmla="*/ 50 w 64"/>
                <a:gd name="T93" fmla="*/ 37 h 78"/>
                <a:gd name="T94" fmla="*/ 50 w 64"/>
                <a:gd name="T95" fmla="*/ 37 h 78"/>
                <a:gd name="T96" fmla="*/ 33 w 64"/>
                <a:gd name="T97" fmla="*/ 11 h 78"/>
                <a:gd name="T98" fmla="*/ 33 w 64"/>
                <a:gd name="T99" fmla="*/ 11 h 78"/>
                <a:gd name="T100" fmla="*/ 34 w 64"/>
                <a:gd name="T101" fmla="*/ 4 h 78"/>
                <a:gd name="T102" fmla="*/ 28 w 64"/>
                <a:gd name="T10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78">
                  <a:moveTo>
                    <a:pt x="28" y="13"/>
                  </a:moveTo>
                  <a:cubicBezTo>
                    <a:pt x="29" y="13"/>
                    <a:pt x="30" y="13"/>
                    <a:pt x="31" y="12"/>
                  </a:cubicBezTo>
                  <a:cubicBezTo>
                    <a:pt x="31" y="12"/>
                    <a:pt x="31" y="12"/>
                    <a:pt x="31" y="12"/>
                  </a:cubicBezTo>
                  <a:cubicBezTo>
                    <a:pt x="31" y="12"/>
                    <a:pt x="31" y="12"/>
                    <a:pt x="31" y="12"/>
                  </a:cubicBezTo>
                  <a:cubicBezTo>
                    <a:pt x="32" y="12"/>
                    <a:pt x="49" y="37"/>
                    <a:pt x="48" y="38"/>
                  </a:cubicBezTo>
                  <a:cubicBezTo>
                    <a:pt x="48" y="38"/>
                    <a:pt x="48" y="38"/>
                    <a:pt x="48" y="38"/>
                  </a:cubicBezTo>
                  <a:cubicBezTo>
                    <a:pt x="45" y="41"/>
                    <a:pt x="44" y="45"/>
                    <a:pt x="46" y="49"/>
                  </a:cubicBezTo>
                  <a:cubicBezTo>
                    <a:pt x="46" y="49"/>
                    <a:pt x="46" y="49"/>
                    <a:pt x="46" y="49"/>
                  </a:cubicBezTo>
                  <a:cubicBezTo>
                    <a:pt x="46" y="49"/>
                    <a:pt x="46" y="49"/>
                    <a:pt x="46" y="49"/>
                  </a:cubicBezTo>
                  <a:cubicBezTo>
                    <a:pt x="47" y="51"/>
                    <a:pt x="21" y="70"/>
                    <a:pt x="20" y="70"/>
                  </a:cubicBezTo>
                  <a:cubicBezTo>
                    <a:pt x="20" y="70"/>
                    <a:pt x="20" y="70"/>
                    <a:pt x="20" y="70"/>
                  </a:cubicBezTo>
                  <a:cubicBezTo>
                    <a:pt x="20" y="70"/>
                    <a:pt x="20" y="70"/>
                    <a:pt x="20" y="70"/>
                  </a:cubicBezTo>
                  <a:cubicBezTo>
                    <a:pt x="19" y="70"/>
                    <a:pt x="19" y="69"/>
                    <a:pt x="18" y="69"/>
                  </a:cubicBezTo>
                  <a:cubicBezTo>
                    <a:pt x="18" y="69"/>
                    <a:pt x="18" y="69"/>
                    <a:pt x="18" y="69"/>
                  </a:cubicBezTo>
                  <a:cubicBezTo>
                    <a:pt x="17" y="69"/>
                    <a:pt x="26" y="13"/>
                    <a:pt x="28" y="13"/>
                  </a:cubicBezTo>
                  <a:cubicBezTo>
                    <a:pt x="28" y="13"/>
                    <a:pt x="28" y="13"/>
                    <a:pt x="28" y="13"/>
                  </a:cubicBezTo>
                  <a:cubicBezTo>
                    <a:pt x="28" y="13"/>
                    <a:pt x="28" y="13"/>
                    <a:pt x="28" y="13"/>
                  </a:cubicBezTo>
                  <a:moveTo>
                    <a:pt x="28" y="0"/>
                  </a:moveTo>
                  <a:cubicBezTo>
                    <a:pt x="27" y="0"/>
                    <a:pt x="26" y="0"/>
                    <a:pt x="25" y="0"/>
                  </a:cubicBezTo>
                  <a:cubicBezTo>
                    <a:pt x="21" y="2"/>
                    <a:pt x="20" y="6"/>
                    <a:pt x="22" y="9"/>
                  </a:cubicBezTo>
                  <a:cubicBezTo>
                    <a:pt x="22" y="11"/>
                    <a:pt x="24" y="12"/>
                    <a:pt x="26" y="13"/>
                  </a:cubicBezTo>
                  <a:cubicBezTo>
                    <a:pt x="26" y="13"/>
                    <a:pt x="26" y="13"/>
                    <a:pt x="26" y="13"/>
                  </a:cubicBezTo>
                  <a:cubicBezTo>
                    <a:pt x="27" y="13"/>
                    <a:pt x="18" y="69"/>
                    <a:pt x="17" y="69"/>
                  </a:cubicBezTo>
                  <a:cubicBezTo>
                    <a:pt x="17" y="69"/>
                    <a:pt x="17" y="69"/>
                    <a:pt x="17" y="69"/>
                  </a:cubicBezTo>
                  <a:cubicBezTo>
                    <a:pt x="17" y="69"/>
                    <a:pt x="17" y="69"/>
                    <a:pt x="17" y="69"/>
                  </a:cubicBezTo>
                  <a:cubicBezTo>
                    <a:pt x="16" y="69"/>
                    <a:pt x="15" y="69"/>
                    <a:pt x="15" y="69"/>
                  </a:cubicBezTo>
                  <a:cubicBezTo>
                    <a:pt x="14" y="70"/>
                    <a:pt x="14" y="70"/>
                    <a:pt x="13" y="70"/>
                  </a:cubicBezTo>
                  <a:cubicBezTo>
                    <a:pt x="14" y="70"/>
                    <a:pt x="14" y="70"/>
                    <a:pt x="14" y="70"/>
                  </a:cubicBezTo>
                  <a:cubicBezTo>
                    <a:pt x="14" y="70"/>
                    <a:pt x="14" y="70"/>
                    <a:pt x="14" y="70"/>
                  </a:cubicBezTo>
                  <a:cubicBezTo>
                    <a:pt x="13" y="70"/>
                    <a:pt x="7" y="65"/>
                    <a:pt x="0" y="59"/>
                  </a:cubicBezTo>
                  <a:cubicBezTo>
                    <a:pt x="7" y="66"/>
                    <a:pt x="13" y="71"/>
                    <a:pt x="12" y="71"/>
                  </a:cubicBezTo>
                  <a:cubicBezTo>
                    <a:pt x="12" y="71"/>
                    <a:pt x="12" y="71"/>
                    <a:pt x="12" y="71"/>
                  </a:cubicBezTo>
                  <a:cubicBezTo>
                    <a:pt x="12" y="72"/>
                    <a:pt x="12" y="74"/>
                    <a:pt x="12" y="75"/>
                  </a:cubicBezTo>
                  <a:cubicBezTo>
                    <a:pt x="13" y="77"/>
                    <a:pt x="15" y="78"/>
                    <a:pt x="17" y="78"/>
                  </a:cubicBezTo>
                  <a:cubicBezTo>
                    <a:pt x="17" y="78"/>
                    <a:pt x="18" y="78"/>
                    <a:pt x="19" y="78"/>
                  </a:cubicBezTo>
                  <a:cubicBezTo>
                    <a:pt x="21" y="77"/>
                    <a:pt x="22" y="74"/>
                    <a:pt x="21" y="72"/>
                  </a:cubicBezTo>
                  <a:cubicBezTo>
                    <a:pt x="21" y="71"/>
                    <a:pt x="21" y="71"/>
                    <a:pt x="21" y="71"/>
                  </a:cubicBezTo>
                  <a:cubicBezTo>
                    <a:pt x="21" y="71"/>
                    <a:pt x="21" y="71"/>
                    <a:pt x="21" y="71"/>
                  </a:cubicBezTo>
                  <a:cubicBezTo>
                    <a:pt x="20" y="70"/>
                    <a:pt x="45" y="51"/>
                    <a:pt x="48" y="51"/>
                  </a:cubicBezTo>
                  <a:cubicBezTo>
                    <a:pt x="48" y="51"/>
                    <a:pt x="48" y="51"/>
                    <a:pt x="48" y="51"/>
                  </a:cubicBezTo>
                  <a:cubicBezTo>
                    <a:pt x="48" y="51"/>
                    <a:pt x="48" y="51"/>
                    <a:pt x="48" y="51"/>
                  </a:cubicBezTo>
                  <a:cubicBezTo>
                    <a:pt x="49" y="53"/>
                    <a:pt x="52" y="54"/>
                    <a:pt x="54" y="54"/>
                  </a:cubicBezTo>
                  <a:cubicBezTo>
                    <a:pt x="55" y="54"/>
                    <a:pt x="57" y="53"/>
                    <a:pt x="58" y="53"/>
                  </a:cubicBezTo>
                  <a:cubicBezTo>
                    <a:pt x="63" y="51"/>
                    <a:pt x="64" y="46"/>
                    <a:pt x="62" y="41"/>
                  </a:cubicBezTo>
                  <a:cubicBezTo>
                    <a:pt x="61" y="38"/>
                    <a:pt x="57" y="36"/>
                    <a:pt x="54" y="36"/>
                  </a:cubicBezTo>
                  <a:cubicBezTo>
                    <a:pt x="53" y="36"/>
                    <a:pt x="51" y="36"/>
                    <a:pt x="50" y="37"/>
                  </a:cubicBezTo>
                  <a:cubicBezTo>
                    <a:pt x="50" y="37"/>
                    <a:pt x="50" y="37"/>
                    <a:pt x="50" y="37"/>
                  </a:cubicBezTo>
                  <a:cubicBezTo>
                    <a:pt x="50" y="37"/>
                    <a:pt x="50" y="37"/>
                    <a:pt x="50" y="37"/>
                  </a:cubicBezTo>
                  <a:cubicBezTo>
                    <a:pt x="48" y="37"/>
                    <a:pt x="32" y="12"/>
                    <a:pt x="33" y="11"/>
                  </a:cubicBezTo>
                  <a:cubicBezTo>
                    <a:pt x="33" y="11"/>
                    <a:pt x="33" y="11"/>
                    <a:pt x="33" y="11"/>
                  </a:cubicBezTo>
                  <a:cubicBezTo>
                    <a:pt x="35" y="9"/>
                    <a:pt x="35" y="6"/>
                    <a:pt x="34" y="4"/>
                  </a:cubicBezTo>
                  <a:cubicBezTo>
                    <a:pt x="33" y="1"/>
                    <a:pt x="30" y="0"/>
                    <a:pt x="28"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 name="Freeform 15"/>
            <p:cNvSpPr>
              <a:spLocks/>
            </p:cNvSpPr>
            <p:nvPr/>
          </p:nvSpPr>
          <p:spPr bwMode="auto">
            <a:xfrm>
              <a:off x="6832600" y="3729038"/>
              <a:ext cx="30163" cy="63500"/>
            </a:xfrm>
            <a:custGeom>
              <a:avLst/>
              <a:gdLst>
                <a:gd name="T0" fmla="*/ 0 w 8"/>
                <a:gd name="T1" fmla="*/ 0 h 17"/>
                <a:gd name="T2" fmla="*/ 8 w 8"/>
                <a:gd name="T3" fmla="*/ 17 h 17"/>
                <a:gd name="T4" fmla="*/ 0 w 8"/>
                <a:gd name="T5" fmla="*/ 0 h 17"/>
              </a:gdLst>
              <a:ahLst/>
              <a:cxnLst>
                <a:cxn ang="0">
                  <a:pos x="T0" y="T1"/>
                </a:cxn>
                <a:cxn ang="0">
                  <a:pos x="T2" y="T3"/>
                </a:cxn>
                <a:cxn ang="0">
                  <a:pos x="T4" y="T5"/>
                </a:cxn>
              </a:cxnLst>
              <a:rect l="0" t="0" r="r" b="b"/>
              <a:pathLst>
                <a:path w="8" h="17">
                  <a:moveTo>
                    <a:pt x="0" y="0"/>
                  </a:moveTo>
                  <a:cubicBezTo>
                    <a:pt x="3" y="5"/>
                    <a:pt x="6" y="11"/>
                    <a:pt x="8" y="17"/>
                  </a:cubicBezTo>
                  <a:cubicBezTo>
                    <a:pt x="6" y="11"/>
                    <a:pt x="3" y="5"/>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 name="Freeform 16"/>
            <p:cNvSpPr>
              <a:spLocks/>
            </p:cNvSpPr>
            <p:nvPr/>
          </p:nvSpPr>
          <p:spPr bwMode="auto">
            <a:xfrm>
              <a:off x="6656388" y="3328988"/>
              <a:ext cx="17463" cy="3175"/>
            </a:xfrm>
            <a:custGeom>
              <a:avLst/>
              <a:gdLst>
                <a:gd name="T0" fmla="*/ 0 w 5"/>
                <a:gd name="T1" fmla="*/ 0 h 1"/>
                <a:gd name="T2" fmla="*/ 5 w 5"/>
                <a:gd name="T3" fmla="*/ 1 h 1"/>
                <a:gd name="T4" fmla="*/ 0 w 5"/>
                <a:gd name="T5" fmla="*/ 0 h 1"/>
              </a:gdLst>
              <a:ahLst/>
              <a:cxnLst>
                <a:cxn ang="0">
                  <a:pos x="T0" y="T1"/>
                </a:cxn>
                <a:cxn ang="0">
                  <a:pos x="T2" y="T3"/>
                </a:cxn>
                <a:cxn ang="0">
                  <a:pos x="T4" y="T5"/>
                </a:cxn>
              </a:cxnLst>
              <a:rect l="0" t="0" r="r" b="b"/>
              <a:pathLst>
                <a:path w="5" h="1">
                  <a:moveTo>
                    <a:pt x="0" y="0"/>
                  </a:moveTo>
                  <a:cubicBezTo>
                    <a:pt x="2" y="0"/>
                    <a:pt x="4" y="1"/>
                    <a:pt x="5" y="1"/>
                  </a:cubicBezTo>
                  <a:cubicBezTo>
                    <a:pt x="4" y="0"/>
                    <a:pt x="2" y="0"/>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 name="Freeform 17"/>
            <p:cNvSpPr>
              <a:spLocks/>
            </p:cNvSpPr>
            <p:nvPr/>
          </p:nvSpPr>
          <p:spPr bwMode="auto">
            <a:xfrm>
              <a:off x="6040438" y="3951288"/>
              <a:ext cx="44450" cy="19050"/>
            </a:xfrm>
            <a:custGeom>
              <a:avLst/>
              <a:gdLst>
                <a:gd name="T0" fmla="*/ 0 w 12"/>
                <a:gd name="T1" fmla="*/ 0 h 5"/>
                <a:gd name="T2" fmla="*/ 12 w 12"/>
                <a:gd name="T3" fmla="*/ 5 h 5"/>
                <a:gd name="T4" fmla="*/ 0 w 12"/>
                <a:gd name="T5" fmla="*/ 0 h 5"/>
              </a:gdLst>
              <a:ahLst/>
              <a:cxnLst>
                <a:cxn ang="0">
                  <a:pos x="T0" y="T1"/>
                </a:cxn>
                <a:cxn ang="0">
                  <a:pos x="T2" y="T3"/>
                </a:cxn>
                <a:cxn ang="0">
                  <a:pos x="T4" y="T5"/>
                </a:cxn>
              </a:cxnLst>
              <a:rect l="0" t="0" r="r" b="b"/>
              <a:pathLst>
                <a:path w="12" h="5">
                  <a:moveTo>
                    <a:pt x="0" y="0"/>
                  </a:moveTo>
                  <a:cubicBezTo>
                    <a:pt x="4" y="1"/>
                    <a:pt x="8" y="3"/>
                    <a:pt x="12" y="5"/>
                  </a:cubicBezTo>
                  <a:cubicBezTo>
                    <a:pt x="8" y="3"/>
                    <a:pt x="4"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 name="Freeform 18"/>
            <p:cNvSpPr>
              <a:spLocks/>
            </p:cNvSpPr>
            <p:nvPr/>
          </p:nvSpPr>
          <p:spPr bwMode="auto">
            <a:xfrm>
              <a:off x="7485063" y="3729038"/>
              <a:ext cx="11113" cy="77788"/>
            </a:xfrm>
            <a:custGeom>
              <a:avLst/>
              <a:gdLst>
                <a:gd name="T0" fmla="*/ 3 w 3"/>
                <a:gd name="T1" fmla="*/ 0 h 21"/>
                <a:gd name="T2" fmla="*/ 0 w 3"/>
                <a:gd name="T3" fmla="*/ 21 h 21"/>
                <a:gd name="T4" fmla="*/ 3 w 3"/>
                <a:gd name="T5" fmla="*/ 0 h 21"/>
              </a:gdLst>
              <a:ahLst/>
              <a:cxnLst>
                <a:cxn ang="0">
                  <a:pos x="T0" y="T1"/>
                </a:cxn>
                <a:cxn ang="0">
                  <a:pos x="T2" y="T3"/>
                </a:cxn>
                <a:cxn ang="0">
                  <a:pos x="T4" y="T5"/>
                </a:cxn>
              </a:cxnLst>
              <a:rect l="0" t="0" r="r" b="b"/>
              <a:pathLst>
                <a:path w="3" h="21">
                  <a:moveTo>
                    <a:pt x="3" y="0"/>
                  </a:moveTo>
                  <a:cubicBezTo>
                    <a:pt x="2" y="7"/>
                    <a:pt x="1" y="15"/>
                    <a:pt x="0" y="21"/>
                  </a:cubicBezTo>
                  <a:cubicBezTo>
                    <a:pt x="1" y="15"/>
                    <a:pt x="2" y="7"/>
                    <a:pt x="3"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 name="Freeform 19"/>
            <p:cNvSpPr>
              <a:spLocks noEditPoints="1"/>
            </p:cNvSpPr>
            <p:nvPr/>
          </p:nvSpPr>
          <p:spPr bwMode="auto">
            <a:xfrm>
              <a:off x="2719388" y="2635250"/>
              <a:ext cx="4916488" cy="1974850"/>
            </a:xfrm>
            <a:custGeom>
              <a:avLst/>
              <a:gdLst>
                <a:gd name="T0" fmla="*/ 893 w 1309"/>
                <a:gd name="T1" fmla="*/ 437 h 524"/>
                <a:gd name="T2" fmla="*/ 374 w 1309"/>
                <a:gd name="T3" fmla="*/ 407 h 524"/>
                <a:gd name="T4" fmla="*/ 109 w 1309"/>
                <a:gd name="T5" fmla="*/ 335 h 524"/>
                <a:gd name="T6" fmla="*/ 711 w 1309"/>
                <a:gd name="T7" fmla="*/ 231 h 524"/>
                <a:gd name="T8" fmla="*/ 511 w 1309"/>
                <a:gd name="T9" fmla="*/ 291 h 524"/>
                <a:gd name="T10" fmla="*/ 1098 w 1309"/>
                <a:gd name="T11" fmla="*/ 219 h 524"/>
                <a:gd name="T12" fmla="*/ 125 w 1309"/>
                <a:gd name="T13" fmla="*/ 212 h 524"/>
                <a:gd name="T14" fmla="*/ 774 w 1309"/>
                <a:gd name="T15" fmla="*/ 164 h 524"/>
                <a:gd name="T16" fmla="*/ 772 w 1309"/>
                <a:gd name="T17" fmla="*/ 166 h 524"/>
                <a:gd name="T18" fmla="*/ 994 w 1309"/>
                <a:gd name="T19" fmla="*/ 178 h 524"/>
                <a:gd name="T20" fmla="*/ 776 w 1309"/>
                <a:gd name="T21" fmla="*/ 159 h 524"/>
                <a:gd name="T22" fmla="*/ 776 w 1309"/>
                <a:gd name="T23" fmla="*/ 159 h 524"/>
                <a:gd name="T24" fmla="*/ 40 w 1309"/>
                <a:gd name="T25" fmla="*/ 153 h 524"/>
                <a:gd name="T26" fmla="*/ 41 w 1309"/>
                <a:gd name="T27" fmla="*/ 138 h 524"/>
                <a:gd name="T28" fmla="*/ 625 w 1309"/>
                <a:gd name="T29" fmla="*/ 165 h 524"/>
                <a:gd name="T30" fmla="*/ 523 w 1309"/>
                <a:gd name="T31" fmla="*/ 211 h 524"/>
                <a:gd name="T32" fmla="*/ 784 w 1309"/>
                <a:gd name="T33" fmla="*/ 34 h 524"/>
                <a:gd name="T34" fmla="*/ 738 w 1309"/>
                <a:gd name="T35" fmla="*/ 161 h 524"/>
                <a:gd name="T36" fmla="*/ 645 w 1309"/>
                <a:gd name="T37" fmla="*/ 268 h 524"/>
                <a:gd name="T38" fmla="*/ 686 w 1309"/>
                <a:gd name="T39" fmla="*/ 160 h 524"/>
                <a:gd name="T40" fmla="*/ 656 w 1309"/>
                <a:gd name="T41" fmla="*/ 136 h 524"/>
                <a:gd name="T42" fmla="*/ 505 w 1309"/>
                <a:gd name="T43" fmla="*/ 214 h 524"/>
                <a:gd name="T44" fmla="*/ 320 w 1309"/>
                <a:gd name="T45" fmla="*/ 318 h 524"/>
                <a:gd name="T46" fmla="*/ 85 w 1309"/>
                <a:gd name="T47" fmla="*/ 202 h 524"/>
                <a:gd name="T48" fmla="*/ 106 w 1309"/>
                <a:gd name="T49" fmla="*/ 162 h 524"/>
                <a:gd name="T50" fmla="*/ 48 w 1309"/>
                <a:gd name="T51" fmla="*/ 132 h 524"/>
                <a:gd name="T52" fmla="*/ 15 w 1309"/>
                <a:gd name="T53" fmla="*/ 168 h 524"/>
                <a:gd name="T54" fmla="*/ 55 w 1309"/>
                <a:gd name="T55" fmla="*/ 246 h 524"/>
                <a:gd name="T56" fmla="*/ 66 w 1309"/>
                <a:gd name="T57" fmla="*/ 318 h 524"/>
                <a:gd name="T58" fmla="*/ 113 w 1309"/>
                <a:gd name="T59" fmla="*/ 332 h 524"/>
                <a:gd name="T60" fmla="*/ 165 w 1309"/>
                <a:gd name="T61" fmla="*/ 300 h 524"/>
                <a:gd name="T62" fmla="*/ 375 w 1309"/>
                <a:gd name="T63" fmla="*/ 342 h 524"/>
                <a:gd name="T64" fmla="*/ 401 w 1309"/>
                <a:gd name="T65" fmla="*/ 388 h 524"/>
                <a:gd name="T66" fmla="*/ 379 w 1309"/>
                <a:gd name="T67" fmla="*/ 337 h 524"/>
                <a:gd name="T68" fmla="*/ 519 w 1309"/>
                <a:gd name="T69" fmla="*/ 309 h 524"/>
                <a:gd name="T70" fmla="*/ 641 w 1309"/>
                <a:gd name="T71" fmla="*/ 298 h 524"/>
                <a:gd name="T72" fmla="*/ 552 w 1309"/>
                <a:gd name="T73" fmla="*/ 435 h 524"/>
                <a:gd name="T74" fmla="*/ 681 w 1309"/>
                <a:gd name="T75" fmla="*/ 478 h 524"/>
                <a:gd name="T76" fmla="*/ 675 w 1309"/>
                <a:gd name="T77" fmla="*/ 489 h 524"/>
                <a:gd name="T78" fmla="*/ 758 w 1309"/>
                <a:gd name="T79" fmla="*/ 416 h 524"/>
                <a:gd name="T80" fmla="*/ 741 w 1309"/>
                <a:gd name="T81" fmla="*/ 317 h 524"/>
                <a:gd name="T82" fmla="*/ 889 w 1309"/>
                <a:gd name="T83" fmla="*/ 439 h 524"/>
                <a:gd name="T84" fmla="*/ 926 w 1309"/>
                <a:gd name="T85" fmla="*/ 363 h 524"/>
                <a:gd name="T86" fmla="*/ 871 w 1309"/>
                <a:gd name="T87" fmla="*/ 413 h 524"/>
                <a:gd name="T88" fmla="*/ 712 w 1309"/>
                <a:gd name="T89" fmla="*/ 233 h 524"/>
                <a:gd name="T90" fmla="*/ 764 w 1309"/>
                <a:gd name="T91" fmla="*/ 165 h 524"/>
                <a:gd name="T92" fmla="*/ 845 w 1309"/>
                <a:gd name="T93" fmla="*/ 209 h 524"/>
                <a:gd name="T94" fmla="*/ 912 w 1309"/>
                <a:gd name="T95" fmla="*/ 234 h 524"/>
                <a:gd name="T96" fmla="*/ 884 w 1309"/>
                <a:gd name="T97" fmla="*/ 349 h 524"/>
                <a:gd name="T98" fmla="*/ 1000 w 1309"/>
                <a:gd name="T99" fmla="*/ 192 h 524"/>
                <a:gd name="T100" fmla="*/ 1083 w 1309"/>
                <a:gd name="T101" fmla="*/ 271 h 524"/>
                <a:gd name="T102" fmla="*/ 1023 w 1309"/>
                <a:gd name="T103" fmla="*/ 286 h 524"/>
                <a:gd name="T104" fmla="*/ 1067 w 1309"/>
                <a:gd name="T105" fmla="*/ 180 h 524"/>
                <a:gd name="T106" fmla="*/ 1069 w 1309"/>
                <a:gd name="T107" fmla="*/ 194 h 524"/>
                <a:gd name="T108" fmla="*/ 1138 w 1309"/>
                <a:gd name="T109" fmla="*/ 197 h 524"/>
                <a:gd name="T110" fmla="*/ 1141 w 1309"/>
                <a:gd name="T111" fmla="*/ 192 h 524"/>
                <a:gd name="T112" fmla="*/ 1130 w 1309"/>
                <a:gd name="T113" fmla="*/ 80 h 524"/>
                <a:gd name="T114" fmla="*/ 1257 w 1309"/>
                <a:gd name="T115" fmla="*/ 243 h 524"/>
                <a:gd name="T116" fmla="*/ 1273 w 1309"/>
                <a:gd name="T117" fmla="*/ 254 h 524"/>
                <a:gd name="T118" fmla="*/ 1148 w 1309"/>
                <a:gd name="T119" fmla="*/ 135 h 524"/>
                <a:gd name="T120" fmla="*/ 1023 w 1309"/>
                <a:gd name="T121" fmla="*/ 153 h 524"/>
                <a:gd name="T122" fmla="*/ 1011 w 1309"/>
                <a:gd name="T123" fmla="*/ 101 h 524"/>
                <a:gd name="T124" fmla="*/ 848 w 1309"/>
                <a:gd name="T125" fmla="*/ 12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9" h="524">
                  <a:moveTo>
                    <a:pt x="897" y="418"/>
                  </a:moveTo>
                  <a:cubicBezTo>
                    <a:pt x="895" y="415"/>
                    <a:pt x="923" y="393"/>
                    <a:pt x="929" y="393"/>
                  </a:cubicBezTo>
                  <a:cubicBezTo>
                    <a:pt x="930" y="393"/>
                    <a:pt x="930" y="394"/>
                    <a:pt x="930" y="394"/>
                  </a:cubicBezTo>
                  <a:cubicBezTo>
                    <a:pt x="930" y="394"/>
                    <a:pt x="930" y="394"/>
                    <a:pt x="930" y="394"/>
                  </a:cubicBezTo>
                  <a:cubicBezTo>
                    <a:pt x="932" y="395"/>
                    <a:pt x="934" y="397"/>
                    <a:pt x="936" y="398"/>
                  </a:cubicBezTo>
                  <a:cubicBezTo>
                    <a:pt x="938" y="399"/>
                    <a:pt x="941" y="400"/>
                    <a:pt x="943" y="400"/>
                  </a:cubicBezTo>
                  <a:cubicBezTo>
                    <a:pt x="943" y="400"/>
                    <a:pt x="943" y="400"/>
                    <a:pt x="943" y="400"/>
                  </a:cubicBezTo>
                  <a:cubicBezTo>
                    <a:pt x="948" y="401"/>
                    <a:pt x="942" y="495"/>
                    <a:pt x="939" y="496"/>
                  </a:cubicBezTo>
                  <a:cubicBezTo>
                    <a:pt x="939" y="496"/>
                    <a:pt x="939" y="496"/>
                    <a:pt x="939" y="496"/>
                  </a:cubicBezTo>
                  <a:cubicBezTo>
                    <a:pt x="938" y="496"/>
                    <a:pt x="936" y="496"/>
                    <a:pt x="935" y="497"/>
                  </a:cubicBezTo>
                  <a:cubicBezTo>
                    <a:pt x="935" y="497"/>
                    <a:pt x="935" y="497"/>
                    <a:pt x="935" y="497"/>
                  </a:cubicBezTo>
                  <a:cubicBezTo>
                    <a:pt x="935" y="497"/>
                    <a:pt x="935" y="497"/>
                    <a:pt x="935" y="497"/>
                  </a:cubicBezTo>
                  <a:cubicBezTo>
                    <a:pt x="932" y="497"/>
                    <a:pt x="891" y="439"/>
                    <a:pt x="893" y="437"/>
                  </a:cubicBezTo>
                  <a:cubicBezTo>
                    <a:pt x="893" y="437"/>
                    <a:pt x="893" y="437"/>
                    <a:pt x="893" y="437"/>
                  </a:cubicBezTo>
                  <a:cubicBezTo>
                    <a:pt x="896" y="434"/>
                    <a:pt x="898" y="430"/>
                    <a:pt x="898" y="426"/>
                  </a:cubicBezTo>
                  <a:cubicBezTo>
                    <a:pt x="899" y="423"/>
                    <a:pt x="898" y="420"/>
                    <a:pt x="896" y="418"/>
                  </a:cubicBezTo>
                  <a:cubicBezTo>
                    <a:pt x="897" y="418"/>
                    <a:pt x="897" y="418"/>
                    <a:pt x="897" y="418"/>
                  </a:cubicBezTo>
                  <a:moveTo>
                    <a:pt x="382" y="350"/>
                  </a:moveTo>
                  <a:cubicBezTo>
                    <a:pt x="383" y="350"/>
                    <a:pt x="384" y="350"/>
                    <a:pt x="385" y="349"/>
                  </a:cubicBezTo>
                  <a:cubicBezTo>
                    <a:pt x="385" y="349"/>
                    <a:pt x="385" y="349"/>
                    <a:pt x="385" y="349"/>
                  </a:cubicBezTo>
                  <a:cubicBezTo>
                    <a:pt x="385" y="349"/>
                    <a:pt x="385" y="349"/>
                    <a:pt x="385" y="349"/>
                  </a:cubicBezTo>
                  <a:cubicBezTo>
                    <a:pt x="386" y="349"/>
                    <a:pt x="403" y="374"/>
                    <a:pt x="402" y="375"/>
                  </a:cubicBezTo>
                  <a:cubicBezTo>
                    <a:pt x="402" y="375"/>
                    <a:pt x="402" y="375"/>
                    <a:pt x="402" y="375"/>
                  </a:cubicBezTo>
                  <a:cubicBezTo>
                    <a:pt x="399" y="378"/>
                    <a:pt x="398" y="382"/>
                    <a:pt x="400" y="385"/>
                  </a:cubicBezTo>
                  <a:cubicBezTo>
                    <a:pt x="400" y="386"/>
                    <a:pt x="400" y="386"/>
                    <a:pt x="400" y="386"/>
                  </a:cubicBezTo>
                  <a:cubicBezTo>
                    <a:pt x="400" y="386"/>
                    <a:pt x="400" y="386"/>
                    <a:pt x="400" y="386"/>
                  </a:cubicBezTo>
                  <a:cubicBezTo>
                    <a:pt x="401" y="388"/>
                    <a:pt x="375" y="407"/>
                    <a:pt x="374" y="407"/>
                  </a:cubicBezTo>
                  <a:cubicBezTo>
                    <a:pt x="374" y="407"/>
                    <a:pt x="374" y="407"/>
                    <a:pt x="374" y="407"/>
                  </a:cubicBezTo>
                  <a:cubicBezTo>
                    <a:pt x="374" y="407"/>
                    <a:pt x="374" y="407"/>
                    <a:pt x="374" y="407"/>
                  </a:cubicBezTo>
                  <a:cubicBezTo>
                    <a:pt x="373" y="406"/>
                    <a:pt x="373" y="406"/>
                    <a:pt x="372" y="406"/>
                  </a:cubicBezTo>
                  <a:cubicBezTo>
                    <a:pt x="372" y="406"/>
                    <a:pt x="372" y="406"/>
                    <a:pt x="372" y="406"/>
                  </a:cubicBezTo>
                  <a:cubicBezTo>
                    <a:pt x="371" y="406"/>
                    <a:pt x="380" y="350"/>
                    <a:pt x="382" y="350"/>
                  </a:cubicBezTo>
                  <a:cubicBezTo>
                    <a:pt x="382" y="350"/>
                    <a:pt x="382" y="350"/>
                    <a:pt x="382" y="350"/>
                  </a:cubicBezTo>
                  <a:cubicBezTo>
                    <a:pt x="382" y="350"/>
                    <a:pt x="382" y="350"/>
                    <a:pt x="382" y="350"/>
                  </a:cubicBezTo>
                  <a:moveTo>
                    <a:pt x="110" y="294"/>
                  </a:moveTo>
                  <a:cubicBezTo>
                    <a:pt x="110" y="294"/>
                    <a:pt x="110" y="294"/>
                    <a:pt x="110" y="294"/>
                  </a:cubicBezTo>
                  <a:cubicBezTo>
                    <a:pt x="110" y="294"/>
                    <a:pt x="111" y="295"/>
                    <a:pt x="112" y="295"/>
                  </a:cubicBezTo>
                  <a:cubicBezTo>
                    <a:pt x="112" y="295"/>
                    <a:pt x="112" y="295"/>
                    <a:pt x="112" y="295"/>
                  </a:cubicBezTo>
                  <a:cubicBezTo>
                    <a:pt x="113" y="295"/>
                    <a:pt x="113" y="332"/>
                    <a:pt x="112" y="332"/>
                  </a:cubicBezTo>
                  <a:cubicBezTo>
                    <a:pt x="112" y="332"/>
                    <a:pt x="112" y="332"/>
                    <a:pt x="112" y="332"/>
                  </a:cubicBezTo>
                  <a:cubicBezTo>
                    <a:pt x="112" y="333"/>
                    <a:pt x="111" y="333"/>
                    <a:pt x="111" y="333"/>
                  </a:cubicBezTo>
                  <a:cubicBezTo>
                    <a:pt x="110" y="333"/>
                    <a:pt x="109" y="334"/>
                    <a:pt x="109" y="335"/>
                  </a:cubicBezTo>
                  <a:cubicBezTo>
                    <a:pt x="109" y="334"/>
                    <a:pt x="109" y="334"/>
                    <a:pt x="109" y="334"/>
                  </a:cubicBezTo>
                  <a:cubicBezTo>
                    <a:pt x="109" y="334"/>
                    <a:pt x="109" y="334"/>
                    <a:pt x="109" y="334"/>
                  </a:cubicBezTo>
                  <a:cubicBezTo>
                    <a:pt x="107" y="334"/>
                    <a:pt x="70" y="323"/>
                    <a:pt x="70" y="322"/>
                  </a:cubicBezTo>
                  <a:cubicBezTo>
                    <a:pt x="70" y="322"/>
                    <a:pt x="70" y="322"/>
                    <a:pt x="70" y="322"/>
                  </a:cubicBezTo>
                  <a:cubicBezTo>
                    <a:pt x="70" y="321"/>
                    <a:pt x="70" y="321"/>
                    <a:pt x="70" y="320"/>
                  </a:cubicBezTo>
                  <a:cubicBezTo>
                    <a:pt x="70" y="320"/>
                    <a:pt x="70" y="320"/>
                    <a:pt x="70" y="320"/>
                  </a:cubicBezTo>
                  <a:cubicBezTo>
                    <a:pt x="70" y="320"/>
                    <a:pt x="70" y="320"/>
                    <a:pt x="70" y="320"/>
                  </a:cubicBezTo>
                  <a:cubicBezTo>
                    <a:pt x="69" y="319"/>
                    <a:pt x="108" y="294"/>
                    <a:pt x="110" y="294"/>
                  </a:cubicBezTo>
                  <a:cubicBezTo>
                    <a:pt x="110" y="294"/>
                    <a:pt x="110" y="294"/>
                    <a:pt x="110" y="294"/>
                  </a:cubicBezTo>
                  <a:moveTo>
                    <a:pt x="656" y="271"/>
                  </a:moveTo>
                  <a:cubicBezTo>
                    <a:pt x="663" y="262"/>
                    <a:pt x="685" y="240"/>
                    <a:pt x="708" y="218"/>
                  </a:cubicBezTo>
                  <a:cubicBezTo>
                    <a:pt x="710" y="221"/>
                    <a:pt x="712" y="223"/>
                    <a:pt x="711" y="223"/>
                  </a:cubicBezTo>
                  <a:cubicBezTo>
                    <a:pt x="711" y="223"/>
                    <a:pt x="711" y="223"/>
                    <a:pt x="711" y="223"/>
                  </a:cubicBezTo>
                  <a:cubicBezTo>
                    <a:pt x="710" y="225"/>
                    <a:pt x="709" y="228"/>
                    <a:pt x="711" y="231"/>
                  </a:cubicBezTo>
                  <a:cubicBezTo>
                    <a:pt x="711" y="231"/>
                    <a:pt x="711" y="231"/>
                    <a:pt x="711" y="231"/>
                  </a:cubicBezTo>
                  <a:cubicBezTo>
                    <a:pt x="711" y="231"/>
                    <a:pt x="711" y="231"/>
                    <a:pt x="711" y="231"/>
                  </a:cubicBezTo>
                  <a:cubicBezTo>
                    <a:pt x="711" y="232"/>
                    <a:pt x="669" y="263"/>
                    <a:pt x="656" y="271"/>
                  </a:cubicBezTo>
                  <a:moveTo>
                    <a:pt x="516" y="214"/>
                  </a:moveTo>
                  <a:cubicBezTo>
                    <a:pt x="516" y="214"/>
                    <a:pt x="516" y="214"/>
                    <a:pt x="516" y="214"/>
                  </a:cubicBezTo>
                  <a:cubicBezTo>
                    <a:pt x="521" y="214"/>
                    <a:pt x="573" y="327"/>
                    <a:pt x="571" y="328"/>
                  </a:cubicBezTo>
                  <a:cubicBezTo>
                    <a:pt x="571" y="328"/>
                    <a:pt x="571" y="328"/>
                    <a:pt x="571" y="328"/>
                  </a:cubicBezTo>
                  <a:cubicBezTo>
                    <a:pt x="570" y="329"/>
                    <a:pt x="569" y="330"/>
                    <a:pt x="568" y="331"/>
                  </a:cubicBezTo>
                  <a:cubicBezTo>
                    <a:pt x="568" y="331"/>
                    <a:pt x="568" y="331"/>
                    <a:pt x="568" y="331"/>
                  </a:cubicBezTo>
                  <a:cubicBezTo>
                    <a:pt x="568" y="331"/>
                    <a:pt x="568" y="331"/>
                    <a:pt x="568" y="331"/>
                  </a:cubicBezTo>
                  <a:cubicBezTo>
                    <a:pt x="564" y="331"/>
                    <a:pt x="519" y="308"/>
                    <a:pt x="520" y="306"/>
                  </a:cubicBezTo>
                  <a:cubicBezTo>
                    <a:pt x="520" y="306"/>
                    <a:pt x="520" y="306"/>
                    <a:pt x="520" y="306"/>
                  </a:cubicBezTo>
                  <a:cubicBezTo>
                    <a:pt x="521" y="303"/>
                    <a:pt x="521" y="300"/>
                    <a:pt x="520" y="297"/>
                  </a:cubicBezTo>
                  <a:cubicBezTo>
                    <a:pt x="518" y="294"/>
                    <a:pt x="515" y="292"/>
                    <a:pt x="511" y="291"/>
                  </a:cubicBezTo>
                  <a:cubicBezTo>
                    <a:pt x="511" y="291"/>
                    <a:pt x="511" y="291"/>
                    <a:pt x="511" y="291"/>
                  </a:cubicBezTo>
                  <a:cubicBezTo>
                    <a:pt x="509" y="291"/>
                    <a:pt x="508" y="215"/>
                    <a:pt x="513" y="214"/>
                  </a:cubicBezTo>
                  <a:cubicBezTo>
                    <a:pt x="513" y="214"/>
                    <a:pt x="513" y="214"/>
                    <a:pt x="513" y="214"/>
                  </a:cubicBezTo>
                  <a:cubicBezTo>
                    <a:pt x="514" y="214"/>
                    <a:pt x="515" y="214"/>
                    <a:pt x="516" y="214"/>
                  </a:cubicBezTo>
                  <a:cubicBezTo>
                    <a:pt x="516" y="214"/>
                    <a:pt x="516" y="214"/>
                    <a:pt x="516" y="214"/>
                  </a:cubicBezTo>
                  <a:moveTo>
                    <a:pt x="1072" y="189"/>
                  </a:moveTo>
                  <a:cubicBezTo>
                    <a:pt x="1072" y="189"/>
                    <a:pt x="1073" y="189"/>
                    <a:pt x="1075" y="189"/>
                  </a:cubicBezTo>
                  <a:cubicBezTo>
                    <a:pt x="1088" y="189"/>
                    <a:pt x="1130" y="192"/>
                    <a:pt x="1130" y="193"/>
                  </a:cubicBezTo>
                  <a:cubicBezTo>
                    <a:pt x="1130" y="193"/>
                    <a:pt x="1130" y="193"/>
                    <a:pt x="1130" y="193"/>
                  </a:cubicBezTo>
                  <a:cubicBezTo>
                    <a:pt x="1131" y="194"/>
                    <a:pt x="1131" y="194"/>
                    <a:pt x="1131" y="195"/>
                  </a:cubicBezTo>
                  <a:cubicBezTo>
                    <a:pt x="1131" y="195"/>
                    <a:pt x="1131" y="195"/>
                    <a:pt x="1131" y="195"/>
                  </a:cubicBezTo>
                  <a:cubicBezTo>
                    <a:pt x="1132" y="196"/>
                    <a:pt x="1100" y="219"/>
                    <a:pt x="1098" y="219"/>
                  </a:cubicBezTo>
                  <a:cubicBezTo>
                    <a:pt x="1098" y="219"/>
                    <a:pt x="1098" y="219"/>
                    <a:pt x="1098" y="219"/>
                  </a:cubicBezTo>
                  <a:cubicBezTo>
                    <a:pt x="1098" y="219"/>
                    <a:pt x="1098" y="219"/>
                    <a:pt x="1098" y="219"/>
                  </a:cubicBezTo>
                  <a:cubicBezTo>
                    <a:pt x="1098" y="219"/>
                    <a:pt x="1097" y="218"/>
                    <a:pt x="1096" y="218"/>
                  </a:cubicBezTo>
                  <a:cubicBezTo>
                    <a:pt x="1095" y="218"/>
                    <a:pt x="1095" y="219"/>
                    <a:pt x="1094" y="219"/>
                  </a:cubicBezTo>
                  <a:cubicBezTo>
                    <a:pt x="1094" y="219"/>
                    <a:pt x="1094" y="219"/>
                    <a:pt x="1094" y="219"/>
                  </a:cubicBezTo>
                  <a:cubicBezTo>
                    <a:pt x="1094" y="219"/>
                    <a:pt x="1094" y="219"/>
                    <a:pt x="1094" y="219"/>
                  </a:cubicBezTo>
                  <a:cubicBezTo>
                    <a:pt x="1094" y="219"/>
                    <a:pt x="1094" y="219"/>
                    <a:pt x="1094" y="219"/>
                  </a:cubicBezTo>
                  <a:cubicBezTo>
                    <a:pt x="1093" y="219"/>
                    <a:pt x="1069" y="193"/>
                    <a:pt x="1070" y="192"/>
                  </a:cubicBezTo>
                  <a:cubicBezTo>
                    <a:pt x="1070" y="192"/>
                    <a:pt x="1070" y="192"/>
                    <a:pt x="1070" y="192"/>
                  </a:cubicBezTo>
                  <a:cubicBezTo>
                    <a:pt x="1071" y="191"/>
                    <a:pt x="1072" y="190"/>
                    <a:pt x="1072" y="189"/>
                  </a:cubicBezTo>
                  <a:cubicBezTo>
                    <a:pt x="1072" y="189"/>
                    <a:pt x="1072" y="189"/>
                    <a:pt x="1072" y="189"/>
                  </a:cubicBezTo>
                  <a:moveTo>
                    <a:pt x="76" y="193"/>
                  </a:moveTo>
                  <a:cubicBezTo>
                    <a:pt x="75" y="193"/>
                    <a:pt x="62" y="176"/>
                    <a:pt x="54" y="165"/>
                  </a:cubicBezTo>
                  <a:cubicBezTo>
                    <a:pt x="56" y="165"/>
                    <a:pt x="58" y="164"/>
                    <a:pt x="61" y="164"/>
                  </a:cubicBezTo>
                  <a:cubicBezTo>
                    <a:pt x="83" y="181"/>
                    <a:pt x="126" y="212"/>
                    <a:pt x="125" y="212"/>
                  </a:cubicBezTo>
                  <a:cubicBezTo>
                    <a:pt x="125" y="212"/>
                    <a:pt x="125" y="212"/>
                    <a:pt x="125" y="212"/>
                  </a:cubicBezTo>
                  <a:cubicBezTo>
                    <a:pt x="125" y="213"/>
                    <a:pt x="125" y="213"/>
                    <a:pt x="125" y="213"/>
                  </a:cubicBezTo>
                  <a:cubicBezTo>
                    <a:pt x="125" y="213"/>
                    <a:pt x="125" y="213"/>
                    <a:pt x="125" y="213"/>
                  </a:cubicBezTo>
                  <a:cubicBezTo>
                    <a:pt x="125" y="213"/>
                    <a:pt x="125" y="213"/>
                    <a:pt x="125" y="213"/>
                  </a:cubicBezTo>
                  <a:cubicBezTo>
                    <a:pt x="122" y="213"/>
                    <a:pt x="86" y="201"/>
                    <a:pt x="86" y="200"/>
                  </a:cubicBezTo>
                  <a:cubicBezTo>
                    <a:pt x="86" y="200"/>
                    <a:pt x="86" y="200"/>
                    <a:pt x="86" y="200"/>
                  </a:cubicBezTo>
                  <a:cubicBezTo>
                    <a:pt x="86" y="199"/>
                    <a:pt x="86" y="197"/>
                    <a:pt x="86" y="196"/>
                  </a:cubicBezTo>
                  <a:cubicBezTo>
                    <a:pt x="84" y="194"/>
                    <a:pt x="82" y="192"/>
                    <a:pt x="79" y="192"/>
                  </a:cubicBezTo>
                  <a:cubicBezTo>
                    <a:pt x="78" y="192"/>
                    <a:pt x="77" y="193"/>
                    <a:pt x="76" y="193"/>
                  </a:cubicBezTo>
                  <a:cubicBezTo>
                    <a:pt x="76" y="193"/>
                    <a:pt x="76" y="193"/>
                    <a:pt x="76" y="193"/>
                  </a:cubicBezTo>
                  <a:cubicBezTo>
                    <a:pt x="76" y="193"/>
                    <a:pt x="76" y="193"/>
                    <a:pt x="76" y="193"/>
                  </a:cubicBezTo>
                  <a:cubicBezTo>
                    <a:pt x="76" y="193"/>
                    <a:pt x="76" y="193"/>
                    <a:pt x="76" y="193"/>
                  </a:cubicBezTo>
                  <a:moveTo>
                    <a:pt x="772" y="166"/>
                  </a:moveTo>
                  <a:cubicBezTo>
                    <a:pt x="773" y="165"/>
                    <a:pt x="774" y="165"/>
                    <a:pt x="774" y="164"/>
                  </a:cubicBezTo>
                  <a:cubicBezTo>
                    <a:pt x="774" y="164"/>
                    <a:pt x="774" y="164"/>
                    <a:pt x="774" y="164"/>
                  </a:cubicBezTo>
                  <a:cubicBezTo>
                    <a:pt x="774" y="164"/>
                    <a:pt x="775" y="164"/>
                    <a:pt x="775" y="164"/>
                  </a:cubicBezTo>
                  <a:cubicBezTo>
                    <a:pt x="778" y="164"/>
                    <a:pt x="841" y="198"/>
                    <a:pt x="841" y="199"/>
                  </a:cubicBezTo>
                  <a:cubicBezTo>
                    <a:pt x="841" y="199"/>
                    <a:pt x="841" y="199"/>
                    <a:pt x="841" y="199"/>
                  </a:cubicBezTo>
                  <a:cubicBezTo>
                    <a:pt x="840" y="201"/>
                    <a:pt x="840" y="203"/>
                    <a:pt x="841" y="205"/>
                  </a:cubicBezTo>
                  <a:cubicBezTo>
                    <a:pt x="842" y="206"/>
                    <a:pt x="842" y="207"/>
                    <a:pt x="843" y="208"/>
                  </a:cubicBezTo>
                  <a:cubicBezTo>
                    <a:pt x="843" y="208"/>
                    <a:pt x="843" y="208"/>
                    <a:pt x="843" y="208"/>
                  </a:cubicBezTo>
                  <a:cubicBezTo>
                    <a:pt x="844" y="208"/>
                    <a:pt x="822" y="249"/>
                    <a:pt x="818" y="249"/>
                  </a:cubicBezTo>
                  <a:cubicBezTo>
                    <a:pt x="818" y="249"/>
                    <a:pt x="818" y="249"/>
                    <a:pt x="818" y="249"/>
                  </a:cubicBezTo>
                  <a:cubicBezTo>
                    <a:pt x="818" y="249"/>
                    <a:pt x="818" y="249"/>
                    <a:pt x="818" y="249"/>
                  </a:cubicBezTo>
                  <a:cubicBezTo>
                    <a:pt x="816" y="248"/>
                    <a:pt x="813" y="247"/>
                    <a:pt x="811" y="247"/>
                  </a:cubicBezTo>
                  <a:cubicBezTo>
                    <a:pt x="810" y="247"/>
                    <a:pt x="808" y="247"/>
                    <a:pt x="807" y="248"/>
                  </a:cubicBezTo>
                  <a:cubicBezTo>
                    <a:pt x="807" y="248"/>
                    <a:pt x="807" y="248"/>
                    <a:pt x="807" y="248"/>
                  </a:cubicBezTo>
                  <a:cubicBezTo>
                    <a:pt x="807" y="248"/>
                    <a:pt x="807" y="248"/>
                    <a:pt x="807" y="248"/>
                  </a:cubicBezTo>
                  <a:cubicBezTo>
                    <a:pt x="803" y="248"/>
                    <a:pt x="771" y="166"/>
                    <a:pt x="772" y="166"/>
                  </a:cubicBezTo>
                  <a:cubicBezTo>
                    <a:pt x="772" y="166"/>
                    <a:pt x="772" y="166"/>
                    <a:pt x="772" y="166"/>
                  </a:cubicBezTo>
                  <a:moveTo>
                    <a:pt x="54" y="165"/>
                  </a:moveTo>
                  <a:cubicBezTo>
                    <a:pt x="50" y="159"/>
                    <a:pt x="47" y="155"/>
                    <a:pt x="47" y="155"/>
                  </a:cubicBezTo>
                  <a:cubicBezTo>
                    <a:pt x="48" y="155"/>
                    <a:pt x="53" y="159"/>
                    <a:pt x="61" y="164"/>
                  </a:cubicBezTo>
                  <a:cubicBezTo>
                    <a:pt x="58" y="164"/>
                    <a:pt x="56" y="164"/>
                    <a:pt x="54" y="165"/>
                  </a:cubicBezTo>
                  <a:moveTo>
                    <a:pt x="47" y="155"/>
                  </a:moveTo>
                  <a:cubicBezTo>
                    <a:pt x="47" y="155"/>
                    <a:pt x="47" y="155"/>
                    <a:pt x="47" y="155"/>
                  </a:cubicBezTo>
                  <a:cubicBezTo>
                    <a:pt x="47" y="155"/>
                    <a:pt x="47" y="155"/>
                    <a:pt x="47" y="155"/>
                  </a:cubicBezTo>
                  <a:cubicBezTo>
                    <a:pt x="47" y="155"/>
                    <a:pt x="47" y="155"/>
                    <a:pt x="47" y="155"/>
                  </a:cubicBezTo>
                  <a:moveTo>
                    <a:pt x="872" y="144"/>
                  </a:moveTo>
                  <a:cubicBezTo>
                    <a:pt x="873" y="144"/>
                    <a:pt x="873" y="144"/>
                    <a:pt x="874" y="144"/>
                  </a:cubicBezTo>
                  <a:cubicBezTo>
                    <a:pt x="886" y="144"/>
                    <a:pt x="995" y="171"/>
                    <a:pt x="995" y="175"/>
                  </a:cubicBezTo>
                  <a:cubicBezTo>
                    <a:pt x="995" y="175"/>
                    <a:pt x="995" y="175"/>
                    <a:pt x="995" y="175"/>
                  </a:cubicBezTo>
                  <a:cubicBezTo>
                    <a:pt x="994" y="176"/>
                    <a:pt x="994" y="177"/>
                    <a:pt x="994" y="178"/>
                  </a:cubicBezTo>
                  <a:cubicBezTo>
                    <a:pt x="994" y="181"/>
                    <a:pt x="995" y="183"/>
                    <a:pt x="996" y="186"/>
                  </a:cubicBezTo>
                  <a:cubicBezTo>
                    <a:pt x="998" y="190"/>
                    <a:pt x="943" y="219"/>
                    <a:pt x="938" y="219"/>
                  </a:cubicBezTo>
                  <a:cubicBezTo>
                    <a:pt x="938" y="219"/>
                    <a:pt x="937" y="219"/>
                    <a:pt x="937" y="219"/>
                  </a:cubicBezTo>
                  <a:cubicBezTo>
                    <a:pt x="937" y="219"/>
                    <a:pt x="937" y="219"/>
                    <a:pt x="937" y="219"/>
                  </a:cubicBezTo>
                  <a:cubicBezTo>
                    <a:pt x="934" y="215"/>
                    <a:pt x="930" y="213"/>
                    <a:pt x="925" y="213"/>
                  </a:cubicBezTo>
                  <a:cubicBezTo>
                    <a:pt x="923" y="213"/>
                    <a:pt x="921" y="213"/>
                    <a:pt x="919" y="214"/>
                  </a:cubicBezTo>
                  <a:cubicBezTo>
                    <a:pt x="918" y="215"/>
                    <a:pt x="918" y="215"/>
                    <a:pt x="918" y="215"/>
                  </a:cubicBezTo>
                  <a:cubicBezTo>
                    <a:pt x="918" y="215"/>
                    <a:pt x="918" y="215"/>
                    <a:pt x="918" y="215"/>
                  </a:cubicBezTo>
                  <a:cubicBezTo>
                    <a:pt x="918" y="215"/>
                    <a:pt x="918" y="215"/>
                    <a:pt x="918" y="215"/>
                  </a:cubicBezTo>
                  <a:cubicBezTo>
                    <a:pt x="915" y="215"/>
                    <a:pt x="866" y="152"/>
                    <a:pt x="869" y="150"/>
                  </a:cubicBezTo>
                  <a:cubicBezTo>
                    <a:pt x="869" y="150"/>
                    <a:pt x="869" y="150"/>
                    <a:pt x="869" y="150"/>
                  </a:cubicBezTo>
                  <a:cubicBezTo>
                    <a:pt x="870" y="148"/>
                    <a:pt x="872" y="146"/>
                    <a:pt x="872" y="144"/>
                  </a:cubicBezTo>
                  <a:cubicBezTo>
                    <a:pt x="872" y="144"/>
                    <a:pt x="872" y="144"/>
                    <a:pt x="872" y="144"/>
                  </a:cubicBezTo>
                  <a:moveTo>
                    <a:pt x="776" y="159"/>
                  </a:moveTo>
                  <a:cubicBezTo>
                    <a:pt x="776" y="157"/>
                    <a:pt x="826" y="144"/>
                    <a:pt x="836" y="144"/>
                  </a:cubicBezTo>
                  <a:cubicBezTo>
                    <a:pt x="837" y="144"/>
                    <a:pt x="838" y="144"/>
                    <a:pt x="838" y="144"/>
                  </a:cubicBezTo>
                  <a:cubicBezTo>
                    <a:pt x="838" y="144"/>
                    <a:pt x="838" y="144"/>
                    <a:pt x="838" y="144"/>
                  </a:cubicBezTo>
                  <a:cubicBezTo>
                    <a:pt x="840" y="149"/>
                    <a:pt x="845" y="153"/>
                    <a:pt x="851" y="154"/>
                  </a:cubicBezTo>
                  <a:cubicBezTo>
                    <a:pt x="851" y="154"/>
                    <a:pt x="851" y="154"/>
                    <a:pt x="851" y="154"/>
                  </a:cubicBezTo>
                  <a:cubicBezTo>
                    <a:pt x="854" y="155"/>
                    <a:pt x="849" y="194"/>
                    <a:pt x="847" y="195"/>
                  </a:cubicBezTo>
                  <a:cubicBezTo>
                    <a:pt x="847" y="195"/>
                    <a:pt x="847" y="195"/>
                    <a:pt x="847" y="195"/>
                  </a:cubicBezTo>
                  <a:cubicBezTo>
                    <a:pt x="846" y="195"/>
                    <a:pt x="846" y="195"/>
                    <a:pt x="845" y="195"/>
                  </a:cubicBezTo>
                  <a:cubicBezTo>
                    <a:pt x="844" y="196"/>
                    <a:pt x="843" y="196"/>
                    <a:pt x="842" y="197"/>
                  </a:cubicBezTo>
                  <a:cubicBezTo>
                    <a:pt x="842" y="197"/>
                    <a:pt x="842" y="197"/>
                    <a:pt x="842" y="197"/>
                  </a:cubicBezTo>
                  <a:cubicBezTo>
                    <a:pt x="842" y="197"/>
                    <a:pt x="842" y="197"/>
                    <a:pt x="842" y="197"/>
                  </a:cubicBezTo>
                  <a:cubicBezTo>
                    <a:pt x="839" y="197"/>
                    <a:pt x="775" y="163"/>
                    <a:pt x="776" y="162"/>
                  </a:cubicBezTo>
                  <a:cubicBezTo>
                    <a:pt x="776" y="162"/>
                    <a:pt x="776" y="162"/>
                    <a:pt x="776" y="162"/>
                  </a:cubicBezTo>
                  <a:cubicBezTo>
                    <a:pt x="776" y="161"/>
                    <a:pt x="776" y="160"/>
                    <a:pt x="776" y="159"/>
                  </a:cubicBezTo>
                  <a:cubicBezTo>
                    <a:pt x="776" y="159"/>
                    <a:pt x="776" y="159"/>
                    <a:pt x="776" y="159"/>
                  </a:cubicBezTo>
                  <a:moveTo>
                    <a:pt x="48" y="137"/>
                  </a:moveTo>
                  <a:cubicBezTo>
                    <a:pt x="48" y="137"/>
                    <a:pt x="48" y="137"/>
                    <a:pt x="48" y="137"/>
                  </a:cubicBezTo>
                  <a:cubicBezTo>
                    <a:pt x="51" y="137"/>
                    <a:pt x="108" y="159"/>
                    <a:pt x="108" y="160"/>
                  </a:cubicBezTo>
                  <a:cubicBezTo>
                    <a:pt x="108" y="160"/>
                    <a:pt x="108" y="160"/>
                    <a:pt x="108" y="160"/>
                  </a:cubicBezTo>
                  <a:cubicBezTo>
                    <a:pt x="108" y="161"/>
                    <a:pt x="108" y="161"/>
                    <a:pt x="108" y="161"/>
                  </a:cubicBezTo>
                  <a:cubicBezTo>
                    <a:pt x="108" y="161"/>
                    <a:pt x="108" y="161"/>
                    <a:pt x="108" y="161"/>
                  </a:cubicBezTo>
                  <a:cubicBezTo>
                    <a:pt x="107" y="161"/>
                    <a:pt x="84" y="163"/>
                    <a:pt x="61" y="164"/>
                  </a:cubicBezTo>
                  <a:cubicBezTo>
                    <a:pt x="53" y="158"/>
                    <a:pt x="47" y="154"/>
                    <a:pt x="48" y="154"/>
                  </a:cubicBezTo>
                  <a:cubicBezTo>
                    <a:pt x="48" y="154"/>
                    <a:pt x="48" y="154"/>
                    <a:pt x="48" y="154"/>
                  </a:cubicBezTo>
                  <a:cubicBezTo>
                    <a:pt x="48" y="153"/>
                    <a:pt x="48" y="151"/>
                    <a:pt x="48" y="150"/>
                  </a:cubicBezTo>
                  <a:cubicBezTo>
                    <a:pt x="47" y="149"/>
                    <a:pt x="45" y="148"/>
                    <a:pt x="44" y="148"/>
                  </a:cubicBezTo>
                  <a:cubicBezTo>
                    <a:pt x="43" y="148"/>
                    <a:pt x="43" y="148"/>
                    <a:pt x="42" y="148"/>
                  </a:cubicBezTo>
                  <a:cubicBezTo>
                    <a:pt x="40" y="149"/>
                    <a:pt x="39" y="152"/>
                    <a:pt x="40" y="153"/>
                  </a:cubicBezTo>
                  <a:cubicBezTo>
                    <a:pt x="41" y="155"/>
                    <a:pt x="42" y="156"/>
                    <a:pt x="44" y="156"/>
                  </a:cubicBezTo>
                  <a:cubicBezTo>
                    <a:pt x="45" y="156"/>
                    <a:pt x="45" y="156"/>
                    <a:pt x="46" y="155"/>
                  </a:cubicBezTo>
                  <a:cubicBezTo>
                    <a:pt x="46" y="155"/>
                    <a:pt x="46" y="155"/>
                    <a:pt x="46" y="155"/>
                  </a:cubicBezTo>
                  <a:cubicBezTo>
                    <a:pt x="46" y="155"/>
                    <a:pt x="46" y="155"/>
                    <a:pt x="46" y="155"/>
                  </a:cubicBezTo>
                  <a:cubicBezTo>
                    <a:pt x="46" y="155"/>
                    <a:pt x="46" y="155"/>
                    <a:pt x="46" y="155"/>
                  </a:cubicBezTo>
                  <a:cubicBezTo>
                    <a:pt x="46" y="155"/>
                    <a:pt x="49" y="159"/>
                    <a:pt x="53" y="165"/>
                  </a:cubicBezTo>
                  <a:cubicBezTo>
                    <a:pt x="38" y="165"/>
                    <a:pt x="24" y="166"/>
                    <a:pt x="18" y="166"/>
                  </a:cubicBezTo>
                  <a:cubicBezTo>
                    <a:pt x="16" y="166"/>
                    <a:pt x="15" y="166"/>
                    <a:pt x="15" y="166"/>
                  </a:cubicBezTo>
                  <a:cubicBezTo>
                    <a:pt x="15" y="166"/>
                    <a:pt x="15" y="166"/>
                    <a:pt x="15" y="166"/>
                  </a:cubicBezTo>
                  <a:cubicBezTo>
                    <a:pt x="14" y="165"/>
                    <a:pt x="14" y="165"/>
                    <a:pt x="14" y="164"/>
                  </a:cubicBezTo>
                  <a:cubicBezTo>
                    <a:pt x="13" y="163"/>
                    <a:pt x="13" y="163"/>
                    <a:pt x="13" y="163"/>
                  </a:cubicBezTo>
                  <a:cubicBezTo>
                    <a:pt x="13" y="163"/>
                    <a:pt x="13" y="163"/>
                    <a:pt x="13" y="163"/>
                  </a:cubicBezTo>
                  <a:cubicBezTo>
                    <a:pt x="13" y="162"/>
                    <a:pt x="40" y="138"/>
                    <a:pt x="41" y="138"/>
                  </a:cubicBezTo>
                  <a:cubicBezTo>
                    <a:pt x="41" y="138"/>
                    <a:pt x="41" y="138"/>
                    <a:pt x="41" y="138"/>
                  </a:cubicBezTo>
                  <a:cubicBezTo>
                    <a:pt x="41" y="138"/>
                    <a:pt x="41" y="138"/>
                    <a:pt x="41" y="138"/>
                  </a:cubicBezTo>
                  <a:cubicBezTo>
                    <a:pt x="42" y="139"/>
                    <a:pt x="43" y="139"/>
                    <a:pt x="44" y="139"/>
                  </a:cubicBezTo>
                  <a:cubicBezTo>
                    <a:pt x="45" y="139"/>
                    <a:pt x="45" y="139"/>
                    <a:pt x="46" y="139"/>
                  </a:cubicBezTo>
                  <a:cubicBezTo>
                    <a:pt x="47" y="138"/>
                    <a:pt x="48" y="138"/>
                    <a:pt x="48" y="137"/>
                  </a:cubicBezTo>
                  <a:cubicBezTo>
                    <a:pt x="48" y="137"/>
                    <a:pt x="48" y="137"/>
                    <a:pt x="48" y="137"/>
                  </a:cubicBezTo>
                  <a:moveTo>
                    <a:pt x="586" y="70"/>
                  </a:moveTo>
                  <a:cubicBezTo>
                    <a:pt x="586" y="70"/>
                    <a:pt x="586" y="70"/>
                    <a:pt x="586" y="70"/>
                  </a:cubicBezTo>
                  <a:cubicBezTo>
                    <a:pt x="588" y="70"/>
                    <a:pt x="590" y="71"/>
                    <a:pt x="592" y="71"/>
                  </a:cubicBezTo>
                  <a:cubicBezTo>
                    <a:pt x="594" y="71"/>
                    <a:pt x="596" y="70"/>
                    <a:pt x="598" y="70"/>
                  </a:cubicBezTo>
                  <a:cubicBezTo>
                    <a:pt x="597" y="70"/>
                    <a:pt x="597" y="70"/>
                    <a:pt x="597" y="70"/>
                  </a:cubicBezTo>
                  <a:cubicBezTo>
                    <a:pt x="597" y="70"/>
                    <a:pt x="597" y="70"/>
                    <a:pt x="598" y="70"/>
                  </a:cubicBezTo>
                  <a:cubicBezTo>
                    <a:pt x="601" y="70"/>
                    <a:pt x="642" y="138"/>
                    <a:pt x="637" y="142"/>
                  </a:cubicBezTo>
                  <a:cubicBezTo>
                    <a:pt x="637" y="142"/>
                    <a:pt x="637" y="142"/>
                    <a:pt x="637" y="142"/>
                  </a:cubicBezTo>
                  <a:cubicBezTo>
                    <a:pt x="630" y="147"/>
                    <a:pt x="625" y="156"/>
                    <a:pt x="625" y="165"/>
                  </a:cubicBezTo>
                  <a:cubicBezTo>
                    <a:pt x="625" y="179"/>
                    <a:pt x="634" y="190"/>
                    <a:pt x="648" y="194"/>
                  </a:cubicBezTo>
                  <a:cubicBezTo>
                    <a:pt x="653" y="195"/>
                    <a:pt x="643" y="267"/>
                    <a:pt x="640" y="268"/>
                  </a:cubicBezTo>
                  <a:cubicBezTo>
                    <a:pt x="640" y="268"/>
                    <a:pt x="640" y="268"/>
                    <a:pt x="640" y="268"/>
                  </a:cubicBezTo>
                  <a:cubicBezTo>
                    <a:pt x="632" y="268"/>
                    <a:pt x="625" y="274"/>
                    <a:pt x="625" y="283"/>
                  </a:cubicBezTo>
                  <a:cubicBezTo>
                    <a:pt x="625" y="286"/>
                    <a:pt x="626" y="288"/>
                    <a:pt x="628" y="291"/>
                  </a:cubicBezTo>
                  <a:cubicBezTo>
                    <a:pt x="628" y="291"/>
                    <a:pt x="628" y="291"/>
                    <a:pt x="628" y="291"/>
                  </a:cubicBezTo>
                  <a:cubicBezTo>
                    <a:pt x="629" y="293"/>
                    <a:pt x="586" y="329"/>
                    <a:pt x="583" y="329"/>
                  </a:cubicBezTo>
                  <a:cubicBezTo>
                    <a:pt x="583" y="329"/>
                    <a:pt x="583" y="329"/>
                    <a:pt x="583" y="329"/>
                  </a:cubicBezTo>
                  <a:cubicBezTo>
                    <a:pt x="583" y="329"/>
                    <a:pt x="583" y="329"/>
                    <a:pt x="583" y="329"/>
                  </a:cubicBezTo>
                  <a:cubicBezTo>
                    <a:pt x="581" y="328"/>
                    <a:pt x="579" y="327"/>
                    <a:pt x="576" y="327"/>
                  </a:cubicBezTo>
                  <a:cubicBezTo>
                    <a:pt x="576" y="327"/>
                    <a:pt x="575" y="327"/>
                    <a:pt x="574" y="327"/>
                  </a:cubicBezTo>
                  <a:cubicBezTo>
                    <a:pt x="574" y="327"/>
                    <a:pt x="574" y="327"/>
                    <a:pt x="574" y="327"/>
                  </a:cubicBezTo>
                  <a:cubicBezTo>
                    <a:pt x="574" y="327"/>
                    <a:pt x="574" y="327"/>
                    <a:pt x="574" y="327"/>
                  </a:cubicBezTo>
                  <a:cubicBezTo>
                    <a:pt x="572" y="327"/>
                    <a:pt x="518" y="213"/>
                    <a:pt x="523" y="211"/>
                  </a:cubicBezTo>
                  <a:cubicBezTo>
                    <a:pt x="523" y="211"/>
                    <a:pt x="523" y="211"/>
                    <a:pt x="523" y="211"/>
                  </a:cubicBezTo>
                  <a:cubicBezTo>
                    <a:pt x="530" y="206"/>
                    <a:pt x="535" y="199"/>
                    <a:pt x="535" y="190"/>
                  </a:cubicBezTo>
                  <a:cubicBezTo>
                    <a:pt x="535" y="182"/>
                    <a:pt x="531" y="175"/>
                    <a:pt x="525" y="171"/>
                  </a:cubicBezTo>
                  <a:cubicBezTo>
                    <a:pt x="525" y="171"/>
                    <a:pt x="525" y="171"/>
                    <a:pt x="525" y="171"/>
                  </a:cubicBezTo>
                  <a:cubicBezTo>
                    <a:pt x="521" y="168"/>
                    <a:pt x="583" y="70"/>
                    <a:pt x="586" y="70"/>
                  </a:cubicBezTo>
                  <a:cubicBezTo>
                    <a:pt x="586" y="70"/>
                    <a:pt x="586" y="70"/>
                    <a:pt x="586" y="70"/>
                  </a:cubicBezTo>
                  <a:moveTo>
                    <a:pt x="678" y="145"/>
                  </a:moveTo>
                  <a:cubicBezTo>
                    <a:pt x="674" y="141"/>
                    <a:pt x="762" y="34"/>
                    <a:pt x="767" y="34"/>
                  </a:cubicBezTo>
                  <a:cubicBezTo>
                    <a:pt x="767" y="34"/>
                    <a:pt x="767" y="34"/>
                    <a:pt x="767" y="34"/>
                  </a:cubicBezTo>
                  <a:cubicBezTo>
                    <a:pt x="767" y="34"/>
                    <a:pt x="767" y="34"/>
                    <a:pt x="767" y="34"/>
                  </a:cubicBezTo>
                  <a:cubicBezTo>
                    <a:pt x="770" y="35"/>
                    <a:pt x="773" y="36"/>
                    <a:pt x="776" y="36"/>
                  </a:cubicBezTo>
                  <a:cubicBezTo>
                    <a:pt x="779" y="36"/>
                    <a:pt x="781" y="35"/>
                    <a:pt x="784" y="34"/>
                  </a:cubicBezTo>
                  <a:cubicBezTo>
                    <a:pt x="784" y="34"/>
                    <a:pt x="784" y="34"/>
                    <a:pt x="784" y="34"/>
                  </a:cubicBezTo>
                  <a:cubicBezTo>
                    <a:pt x="784" y="34"/>
                    <a:pt x="784" y="34"/>
                    <a:pt x="784" y="34"/>
                  </a:cubicBezTo>
                  <a:cubicBezTo>
                    <a:pt x="788" y="34"/>
                    <a:pt x="846" y="121"/>
                    <a:pt x="843" y="124"/>
                  </a:cubicBezTo>
                  <a:cubicBezTo>
                    <a:pt x="843" y="123"/>
                    <a:pt x="843" y="123"/>
                    <a:pt x="843" y="123"/>
                  </a:cubicBezTo>
                  <a:cubicBezTo>
                    <a:pt x="839" y="127"/>
                    <a:pt x="837" y="132"/>
                    <a:pt x="837" y="137"/>
                  </a:cubicBezTo>
                  <a:cubicBezTo>
                    <a:pt x="837" y="138"/>
                    <a:pt x="837" y="138"/>
                    <a:pt x="837" y="139"/>
                  </a:cubicBezTo>
                  <a:cubicBezTo>
                    <a:pt x="837" y="139"/>
                    <a:pt x="837" y="139"/>
                    <a:pt x="837" y="139"/>
                  </a:cubicBezTo>
                  <a:cubicBezTo>
                    <a:pt x="837" y="142"/>
                    <a:pt x="781" y="156"/>
                    <a:pt x="776" y="156"/>
                  </a:cubicBezTo>
                  <a:cubicBezTo>
                    <a:pt x="776" y="156"/>
                    <a:pt x="775" y="156"/>
                    <a:pt x="775" y="156"/>
                  </a:cubicBezTo>
                  <a:cubicBezTo>
                    <a:pt x="775" y="156"/>
                    <a:pt x="775" y="156"/>
                    <a:pt x="775" y="156"/>
                  </a:cubicBezTo>
                  <a:cubicBezTo>
                    <a:pt x="775" y="156"/>
                    <a:pt x="775" y="156"/>
                    <a:pt x="775" y="156"/>
                  </a:cubicBezTo>
                  <a:cubicBezTo>
                    <a:pt x="774" y="153"/>
                    <a:pt x="771" y="152"/>
                    <a:pt x="768" y="152"/>
                  </a:cubicBezTo>
                  <a:cubicBezTo>
                    <a:pt x="767" y="152"/>
                    <a:pt x="766" y="152"/>
                    <a:pt x="765" y="153"/>
                  </a:cubicBezTo>
                  <a:cubicBezTo>
                    <a:pt x="763" y="154"/>
                    <a:pt x="761" y="156"/>
                    <a:pt x="761" y="158"/>
                  </a:cubicBezTo>
                  <a:cubicBezTo>
                    <a:pt x="761" y="158"/>
                    <a:pt x="761" y="158"/>
                    <a:pt x="761" y="158"/>
                  </a:cubicBezTo>
                  <a:cubicBezTo>
                    <a:pt x="761" y="159"/>
                    <a:pt x="751" y="160"/>
                    <a:pt x="738" y="161"/>
                  </a:cubicBezTo>
                  <a:cubicBezTo>
                    <a:pt x="744" y="161"/>
                    <a:pt x="749" y="161"/>
                    <a:pt x="753" y="161"/>
                  </a:cubicBezTo>
                  <a:cubicBezTo>
                    <a:pt x="758" y="161"/>
                    <a:pt x="761" y="161"/>
                    <a:pt x="761" y="161"/>
                  </a:cubicBezTo>
                  <a:cubicBezTo>
                    <a:pt x="761" y="161"/>
                    <a:pt x="761" y="161"/>
                    <a:pt x="761" y="161"/>
                  </a:cubicBezTo>
                  <a:cubicBezTo>
                    <a:pt x="761" y="161"/>
                    <a:pt x="761" y="162"/>
                    <a:pt x="761" y="162"/>
                  </a:cubicBezTo>
                  <a:cubicBezTo>
                    <a:pt x="762" y="163"/>
                    <a:pt x="762" y="163"/>
                    <a:pt x="762" y="164"/>
                  </a:cubicBezTo>
                  <a:cubicBezTo>
                    <a:pt x="762" y="164"/>
                    <a:pt x="762" y="164"/>
                    <a:pt x="762" y="164"/>
                  </a:cubicBezTo>
                  <a:cubicBezTo>
                    <a:pt x="763" y="164"/>
                    <a:pt x="736" y="191"/>
                    <a:pt x="708" y="218"/>
                  </a:cubicBezTo>
                  <a:cubicBezTo>
                    <a:pt x="706" y="216"/>
                    <a:pt x="704" y="214"/>
                    <a:pt x="702" y="212"/>
                  </a:cubicBezTo>
                  <a:cubicBezTo>
                    <a:pt x="704" y="214"/>
                    <a:pt x="706" y="216"/>
                    <a:pt x="707" y="218"/>
                  </a:cubicBezTo>
                  <a:cubicBezTo>
                    <a:pt x="680" y="244"/>
                    <a:pt x="652" y="270"/>
                    <a:pt x="650" y="270"/>
                  </a:cubicBezTo>
                  <a:cubicBezTo>
                    <a:pt x="650" y="270"/>
                    <a:pt x="650" y="270"/>
                    <a:pt x="650" y="270"/>
                  </a:cubicBezTo>
                  <a:cubicBezTo>
                    <a:pt x="650" y="270"/>
                    <a:pt x="650" y="270"/>
                    <a:pt x="650" y="270"/>
                  </a:cubicBezTo>
                  <a:cubicBezTo>
                    <a:pt x="649" y="269"/>
                    <a:pt x="647" y="269"/>
                    <a:pt x="645" y="268"/>
                  </a:cubicBezTo>
                  <a:cubicBezTo>
                    <a:pt x="645" y="268"/>
                    <a:pt x="645" y="268"/>
                    <a:pt x="645" y="268"/>
                  </a:cubicBezTo>
                  <a:cubicBezTo>
                    <a:pt x="642" y="267"/>
                    <a:pt x="650" y="195"/>
                    <a:pt x="656" y="195"/>
                  </a:cubicBezTo>
                  <a:cubicBezTo>
                    <a:pt x="656" y="195"/>
                    <a:pt x="656" y="195"/>
                    <a:pt x="656" y="195"/>
                  </a:cubicBezTo>
                  <a:cubicBezTo>
                    <a:pt x="663" y="194"/>
                    <a:pt x="669" y="192"/>
                    <a:pt x="674" y="189"/>
                  </a:cubicBezTo>
                  <a:cubicBezTo>
                    <a:pt x="674" y="189"/>
                    <a:pt x="674" y="189"/>
                    <a:pt x="674" y="189"/>
                  </a:cubicBezTo>
                  <a:cubicBezTo>
                    <a:pt x="674" y="189"/>
                    <a:pt x="674" y="189"/>
                    <a:pt x="674" y="189"/>
                  </a:cubicBezTo>
                  <a:cubicBezTo>
                    <a:pt x="677" y="189"/>
                    <a:pt x="683" y="194"/>
                    <a:pt x="690" y="200"/>
                  </a:cubicBezTo>
                  <a:cubicBezTo>
                    <a:pt x="683" y="192"/>
                    <a:pt x="678" y="186"/>
                    <a:pt x="679" y="184"/>
                  </a:cubicBezTo>
                  <a:cubicBezTo>
                    <a:pt x="679" y="184"/>
                    <a:pt x="679" y="184"/>
                    <a:pt x="679" y="184"/>
                  </a:cubicBezTo>
                  <a:cubicBezTo>
                    <a:pt x="683" y="179"/>
                    <a:pt x="686" y="174"/>
                    <a:pt x="686" y="168"/>
                  </a:cubicBezTo>
                  <a:cubicBezTo>
                    <a:pt x="686" y="168"/>
                    <a:pt x="686" y="168"/>
                    <a:pt x="686" y="168"/>
                  </a:cubicBezTo>
                  <a:cubicBezTo>
                    <a:pt x="686" y="165"/>
                    <a:pt x="701" y="163"/>
                    <a:pt x="718" y="162"/>
                  </a:cubicBezTo>
                  <a:cubicBezTo>
                    <a:pt x="713" y="162"/>
                    <a:pt x="709" y="162"/>
                    <a:pt x="705" y="162"/>
                  </a:cubicBezTo>
                  <a:cubicBezTo>
                    <a:pt x="694" y="162"/>
                    <a:pt x="686" y="161"/>
                    <a:pt x="686" y="160"/>
                  </a:cubicBezTo>
                  <a:cubicBezTo>
                    <a:pt x="686" y="160"/>
                    <a:pt x="686" y="160"/>
                    <a:pt x="686" y="160"/>
                  </a:cubicBezTo>
                  <a:cubicBezTo>
                    <a:pt x="685" y="154"/>
                    <a:pt x="682" y="149"/>
                    <a:pt x="678" y="145"/>
                  </a:cubicBezTo>
                  <a:cubicBezTo>
                    <a:pt x="678" y="145"/>
                    <a:pt x="678" y="145"/>
                    <a:pt x="678" y="145"/>
                  </a:cubicBezTo>
                  <a:moveTo>
                    <a:pt x="789" y="31"/>
                  </a:moveTo>
                  <a:cubicBezTo>
                    <a:pt x="789" y="31"/>
                    <a:pt x="789" y="31"/>
                    <a:pt x="789" y="31"/>
                  </a:cubicBezTo>
                  <a:cubicBezTo>
                    <a:pt x="789" y="31"/>
                    <a:pt x="789" y="31"/>
                    <a:pt x="789" y="31"/>
                  </a:cubicBezTo>
                  <a:cubicBezTo>
                    <a:pt x="789" y="31"/>
                    <a:pt x="789" y="31"/>
                    <a:pt x="789" y="31"/>
                  </a:cubicBezTo>
                  <a:moveTo>
                    <a:pt x="776" y="0"/>
                  </a:moveTo>
                  <a:cubicBezTo>
                    <a:pt x="766" y="0"/>
                    <a:pt x="757" y="8"/>
                    <a:pt x="757" y="18"/>
                  </a:cubicBezTo>
                  <a:cubicBezTo>
                    <a:pt x="757" y="23"/>
                    <a:pt x="759" y="27"/>
                    <a:pt x="763" y="30"/>
                  </a:cubicBezTo>
                  <a:cubicBezTo>
                    <a:pt x="762" y="30"/>
                    <a:pt x="762" y="30"/>
                    <a:pt x="762" y="30"/>
                  </a:cubicBezTo>
                  <a:cubicBezTo>
                    <a:pt x="765" y="33"/>
                    <a:pt x="678" y="140"/>
                    <a:pt x="671" y="140"/>
                  </a:cubicBezTo>
                  <a:cubicBezTo>
                    <a:pt x="671" y="140"/>
                    <a:pt x="671" y="140"/>
                    <a:pt x="671" y="140"/>
                  </a:cubicBezTo>
                  <a:cubicBezTo>
                    <a:pt x="671" y="140"/>
                    <a:pt x="671" y="140"/>
                    <a:pt x="671" y="140"/>
                  </a:cubicBezTo>
                  <a:cubicBezTo>
                    <a:pt x="666" y="137"/>
                    <a:pt x="661" y="136"/>
                    <a:pt x="656" y="136"/>
                  </a:cubicBezTo>
                  <a:cubicBezTo>
                    <a:pt x="652" y="136"/>
                    <a:pt x="648" y="136"/>
                    <a:pt x="645" y="138"/>
                  </a:cubicBezTo>
                  <a:cubicBezTo>
                    <a:pt x="645" y="138"/>
                    <a:pt x="645" y="138"/>
                    <a:pt x="644" y="138"/>
                  </a:cubicBezTo>
                  <a:cubicBezTo>
                    <a:pt x="638" y="138"/>
                    <a:pt x="600" y="69"/>
                    <a:pt x="602" y="67"/>
                  </a:cubicBezTo>
                  <a:cubicBezTo>
                    <a:pt x="602" y="68"/>
                    <a:pt x="602" y="68"/>
                    <a:pt x="602" y="68"/>
                  </a:cubicBezTo>
                  <a:cubicBezTo>
                    <a:pt x="606" y="65"/>
                    <a:pt x="608" y="60"/>
                    <a:pt x="608" y="56"/>
                  </a:cubicBezTo>
                  <a:cubicBezTo>
                    <a:pt x="608" y="47"/>
                    <a:pt x="601" y="41"/>
                    <a:pt x="592" y="41"/>
                  </a:cubicBezTo>
                  <a:cubicBezTo>
                    <a:pt x="584" y="41"/>
                    <a:pt x="576" y="47"/>
                    <a:pt x="576" y="56"/>
                  </a:cubicBezTo>
                  <a:cubicBezTo>
                    <a:pt x="576" y="60"/>
                    <a:pt x="579" y="64"/>
                    <a:pt x="582" y="67"/>
                  </a:cubicBezTo>
                  <a:cubicBezTo>
                    <a:pt x="582" y="67"/>
                    <a:pt x="582" y="67"/>
                    <a:pt x="582" y="67"/>
                  </a:cubicBezTo>
                  <a:cubicBezTo>
                    <a:pt x="584" y="69"/>
                    <a:pt x="525" y="167"/>
                    <a:pt x="519" y="167"/>
                  </a:cubicBezTo>
                  <a:cubicBezTo>
                    <a:pt x="519" y="167"/>
                    <a:pt x="519" y="167"/>
                    <a:pt x="519" y="167"/>
                  </a:cubicBezTo>
                  <a:cubicBezTo>
                    <a:pt x="516" y="166"/>
                    <a:pt x="512" y="165"/>
                    <a:pt x="509" y="165"/>
                  </a:cubicBezTo>
                  <a:cubicBezTo>
                    <a:pt x="495" y="165"/>
                    <a:pt x="483" y="176"/>
                    <a:pt x="483" y="190"/>
                  </a:cubicBezTo>
                  <a:cubicBezTo>
                    <a:pt x="483" y="202"/>
                    <a:pt x="493" y="213"/>
                    <a:pt x="505" y="214"/>
                  </a:cubicBezTo>
                  <a:cubicBezTo>
                    <a:pt x="505" y="214"/>
                    <a:pt x="505" y="214"/>
                    <a:pt x="505" y="214"/>
                  </a:cubicBezTo>
                  <a:cubicBezTo>
                    <a:pt x="510" y="215"/>
                    <a:pt x="509" y="291"/>
                    <a:pt x="507" y="291"/>
                  </a:cubicBezTo>
                  <a:cubicBezTo>
                    <a:pt x="507" y="291"/>
                    <a:pt x="507" y="291"/>
                    <a:pt x="507" y="291"/>
                  </a:cubicBezTo>
                  <a:cubicBezTo>
                    <a:pt x="506" y="291"/>
                    <a:pt x="505" y="291"/>
                    <a:pt x="504" y="292"/>
                  </a:cubicBezTo>
                  <a:cubicBezTo>
                    <a:pt x="500" y="294"/>
                    <a:pt x="497" y="298"/>
                    <a:pt x="497" y="302"/>
                  </a:cubicBezTo>
                  <a:cubicBezTo>
                    <a:pt x="497" y="302"/>
                    <a:pt x="497" y="302"/>
                    <a:pt x="497" y="302"/>
                  </a:cubicBezTo>
                  <a:cubicBezTo>
                    <a:pt x="497" y="304"/>
                    <a:pt x="361" y="319"/>
                    <a:pt x="345" y="319"/>
                  </a:cubicBezTo>
                  <a:cubicBezTo>
                    <a:pt x="343" y="319"/>
                    <a:pt x="343" y="319"/>
                    <a:pt x="343" y="319"/>
                  </a:cubicBezTo>
                  <a:cubicBezTo>
                    <a:pt x="343" y="319"/>
                    <a:pt x="343" y="319"/>
                    <a:pt x="343" y="319"/>
                  </a:cubicBezTo>
                  <a:cubicBezTo>
                    <a:pt x="343" y="318"/>
                    <a:pt x="342" y="318"/>
                    <a:pt x="342" y="317"/>
                  </a:cubicBezTo>
                  <a:cubicBezTo>
                    <a:pt x="340" y="313"/>
                    <a:pt x="336" y="311"/>
                    <a:pt x="331" y="311"/>
                  </a:cubicBezTo>
                  <a:cubicBezTo>
                    <a:pt x="330" y="311"/>
                    <a:pt x="328" y="311"/>
                    <a:pt x="326" y="312"/>
                  </a:cubicBezTo>
                  <a:cubicBezTo>
                    <a:pt x="323" y="313"/>
                    <a:pt x="321" y="315"/>
                    <a:pt x="320" y="318"/>
                  </a:cubicBezTo>
                  <a:cubicBezTo>
                    <a:pt x="320" y="318"/>
                    <a:pt x="320" y="318"/>
                    <a:pt x="320" y="318"/>
                  </a:cubicBezTo>
                  <a:cubicBezTo>
                    <a:pt x="320" y="318"/>
                    <a:pt x="320" y="318"/>
                    <a:pt x="320" y="318"/>
                  </a:cubicBezTo>
                  <a:cubicBezTo>
                    <a:pt x="310" y="318"/>
                    <a:pt x="180" y="290"/>
                    <a:pt x="180" y="287"/>
                  </a:cubicBezTo>
                  <a:cubicBezTo>
                    <a:pt x="180" y="287"/>
                    <a:pt x="180" y="287"/>
                    <a:pt x="180" y="287"/>
                  </a:cubicBezTo>
                  <a:cubicBezTo>
                    <a:pt x="180" y="283"/>
                    <a:pt x="178" y="279"/>
                    <a:pt x="175" y="276"/>
                  </a:cubicBezTo>
                  <a:cubicBezTo>
                    <a:pt x="172" y="273"/>
                    <a:pt x="169" y="272"/>
                    <a:pt x="165" y="272"/>
                  </a:cubicBezTo>
                  <a:cubicBezTo>
                    <a:pt x="161" y="272"/>
                    <a:pt x="157" y="274"/>
                    <a:pt x="154" y="277"/>
                  </a:cubicBezTo>
                  <a:cubicBezTo>
                    <a:pt x="154" y="278"/>
                    <a:pt x="153" y="279"/>
                    <a:pt x="153" y="280"/>
                  </a:cubicBezTo>
                  <a:cubicBezTo>
                    <a:pt x="153" y="280"/>
                    <a:pt x="153" y="280"/>
                    <a:pt x="153" y="280"/>
                  </a:cubicBezTo>
                  <a:cubicBezTo>
                    <a:pt x="153" y="280"/>
                    <a:pt x="152" y="280"/>
                    <a:pt x="152" y="280"/>
                  </a:cubicBezTo>
                  <a:cubicBezTo>
                    <a:pt x="148" y="280"/>
                    <a:pt x="124" y="272"/>
                    <a:pt x="103" y="265"/>
                  </a:cubicBezTo>
                  <a:cubicBezTo>
                    <a:pt x="94" y="241"/>
                    <a:pt x="82" y="205"/>
                    <a:pt x="83" y="205"/>
                  </a:cubicBezTo>
                  <a:cubicBezTo>
                    <a:pt x="82" y="205"/>
                    <a:pt x="82" y="205"/>
                    <a:pt x="82" y="205"/>
                  </a:cubicBezTo>
                  <a:cubicBezTo>
                    <a:pt x="84" y="204"/>
                    <a:pt x="85" y="203"/>
                    <a:pt x="85" y="202"/>
                  </a:cubicBezTo>
                  <a:cubicBezTo>
                    <a:pt x="85" y="202"/>
                    <a:pt x="85" y="202"/>
                    <a:pt x="85" y="202"/>
                  </a:cubicBezTo>
                  <a:cubicBezTo>
                    <a:pt x="85" y="202"/>
                    <a:pt x="86" y="202"/>
                    <a:pt x="86" y="202"/>
                  </a:cubicBezTo>
                  <a:cubicBezTo>
                    <a:pt x="90" y="202"/>
                    <a:pt x="125" y="213"/>
                    <a:pt x="125" y="214"/>
                  </a:cubicBezTo>
                  <a:cubicBezTo>
                    <a:pt x="125" y="214"/>
                    <a:pt x="125" y="214"/>
                    <a:pt x="125" y="214"/>
                  </a:cubicBezTo>
                  <a:cubicBezTo>
                    <a:pt x="125" y="215"/>
                    <a:pt x="125" y="216"/>
                    <a:pt x="125" y="217"/>
                  </a:cubicBezTo>
                  <a:cubicBezTo>
                    <a:pt x="126" y="218"/>
                    <a:pt x="128" y="219"/>
                    <a:pt x="130" y="219"/>
                  </a:cubicBezTo>
                  <a:cubicBezTo>
                    <a:pt x="130" y="219"/>
                    <a:pt x="131" y="219"/>
                    <a:pt x="132" y="219"/>
                  </a:cubicBezTo>
                  <a:cubicBezTo>
                    <a:pt x="134" y="218"/>
                    <a:pt x="135" y="215"/>
                    <a:pt x="134" y="213"/>
                  </a:cubicBezTo>
                  <a:cubicBezTo>
                    <a:pt x="133" y="211"/>
                    <a:pt x="131" y="210"/>
                    <a:pt x="130" y="210"/>
                  </a:cubicBezTo>
                  <a:cubicBezTo>
                    <a:pt x="129" y="210"/>
                    <a:pt x="128" y="210"/>
                    <a:pt x="128" y="210"/>
                  </a:cubicBezTo>
                  <a:cubicBezTo>
                    <a:pt x="127" y="211"/>
                    <a:pt x="127" y="211"/>
                    <a:pt x="126" y="211"/>
                  </a:cubicBezTo>
                  <a:cubicBezTo>
                    <a:pt x="126" y="211"/>
                    <a:pt x="126" y="211"/>
                    <a:pt x="126" y="211"/>
                  </a:cubicBezTo>
                  <a:cubicBezTo>
                    <a:pt x="126" y="211"/>
                    <a:pt x="126" y="211"/>
                    <a:pt x="126" y="211"/>
                  </a:cubicBezTo>
                  <a:cubicBezTo>
                    <a:pt x="125" y="211"/>
                    <a:pt x="83" y="181"/>
                    <a:pt x="61" y="164"/>
                  </a:cubicBezTo>
                  <a:cubicBezTo>
                    <a:pt x="81" y="163"/>
                    <a:pt x="100" y="162"/>
                    <a:pt x="106" y="162"/>
                  </a:cubicBezTo>
                  <a:cubicBezTo>
                    <a:pt x="107" y="162"/>
                    <a:pt x="108" y="162"/>
                    <a:pt x="108" y="162"/>
                  </a:cubicBezTo>
                  <a:cubicBezTo>
                    <a:pt x="108" y="162"/>
                    <a:pt x="108" y="162"/>
                    <a:pt x="108" y="162"/>
                  </a:cubicBezTo>
                  <a:cubicBezTo>
                    <a:pt x="108" y="163"/>
                    <a:pt x="108" y="163"/>
                    <a:pt x="108" y="163"/>
                  </a:cubicBezTo>
                  <a:cubicBezTo>
                    <a:pt x="109" y="165"/>
                    <a:pt x="111" y="166"/>
                    <a:pt x="112" y="166"/>
                  </a:cubicBezTo>
                  <a:cubicBezTo>
                    <a:pt x="113" y="166"/>
                    <a:pt x="114" y="166"/>
                    <a:pt x="114" y="165"/>
                  </a:cubicBezTo>
                  <a:cubicBezTo>
                    <a:pt x="117" y="164"/>
                    <a:pt x="118" y="162"/>
                    <a:pt x="117" y="159"/>
                  </a:cubicBezTo>
                  <a:cubicBezTo>
                    <a:pt x="116" y="158"/>
                    <a:pt x="114" y="157"/>
                    <a:pt x="112" y="157"/>
                  </a:cubicBezTo>
                  <a:cubicBezTo>
                    <a:pt x="112" y="157"/>
                    <a:pt x="111" y="157"/>
                    <a:pt x="110" y="157"/>
                  </a:cubicBezTo>
                  <a:cubicBezTo>
                    <a:pt x="109" y="158"/>
                    <a:pt x="109" y="158"/>
                    <a:pt x="108" y="159"/>
                  </a:cubicBezTo>
                  <a:cubicBezTo>
                    <a:pt x="108" y="159"/>
                    <a:pt x="108" y="159"/>
                    <a:pt x="108" y="159"/>
                  </a:cubicBezTo>
                  <a:cubicBezTo>
                    <a:pt x="108" y="159"/>
                    <a:pt x="108" y="159"/>
                    <a:pt x="108" y="159"/>
                  </a:cubicBezTo>
                  <a:cubicBezTo>
                    <a:pt x="106" y="159"/>
                    <a:pt x="49" y="136"/>
                    <a:pt x="49" y="135"/>
                  </a:cubicBezTo>
                  <a:cubicBezTo>
                    <a:pt x="49" y="136"/>
                    <a:pt x="49" y="136"/>
                    <a:pt x="49" y="136"/>
                  </a:cubicBezTo>
                  <a:cubicBezTo>
                    <a:pt x="49" y="135"/>
                    <a:pt x="49" y="133"/>
                    <a:pt x="48" y="132"/>
                  </a:cubicBezTo>
                  <a:cubicBezTo>
                    <a:pt x="48" y="131"/>
                    <a:pt x="46" y="130"/>
                    <a:pt x="44" y="130"/>
                  </a:cubicBezTo>
                  <a:cubicBezTo>
                    <a:pt x="43" y="130"/>
                    <a:pt x="43" y="130"/>
                    <a:pt x="42" y="130"/>
                  </a:cubicBezTo>
                  <a:cubicBezTo>
                    <a:pt x="40" y="131"/>
                    <a:pt x="39" y="134"/>
                    <a:pt x="40" y="136"/>
                  </a:cubicBezTo>
                  <a:cubicBezTo>
                    <a:pt x="40" y="137"/>
                    <a:pt x="40" y="137"/>
                    <a:pt x="40" y="137"/>
                  </a:cubicBezTo>
                  <a:cubicBezTo>
                    <a:pt x="40" y="137"/>
                    <a:pt x="40" y="137"/>
                    <a:pt x="40" y="137"/>
                  </a:cubicBezTo>
                  <a:cubicBezTo>
                    <a:pt x="41" y="138"/>
                    <a:pt x="14" y="162"/>
                    <a:pt x="12" y="162"/>
                  </a:cubicBezTo>
                  <a:cubicBezTo>
                    <a:pt x="12" y="162"/>
                    <a:pt x="12" y="162"/>
                    <a:pt x="12" y="162"/>
                  </a:cubicBezTo>
                  <a:cubicBezTo>
                    <a:pt x="12" y="162"/>
                    <a:pt x="12" y="162"/>
                    <a:pt x="12" y="162"/>
                  </a:cubicBezTo>
                  <a:cubicBezTo>
                    <a:pt x="11" y="161"/>
                    <a:pt x="9" y="161"/>
                    <a:pt x="8" y="161"/>
                  </a:cubicBezTo>
                  <a:cubicBezTo>
                    <a:pt x="7" y="161"/>
                    <a:pt x="6" y="161"/>
                    <a:pt x="5" y="161"/>
                  </a:cubicBezTo>
                  <a:cubicBezTo>
                    <a:pt x="1" y="163"/>
                    <a:pt x="0" y="167"/>
                    <a:pt x="2" y="170"/>
                  </a:cubicBezTo>
                  <a:cubicBezTo>
                    <a:pt x="3" y="172"/>
                    <a:pt x="5" y="174"/>
                    <a:pt x="8" y="174"/>
                  </a:cubicBezTo>
                  <a:cubicBezTo>
                    <a:pt x="9" y="174"/>
                    <a:pt x="10" y="174"/>
                    <a:pt x="11" y="173"/>
                  </a:cubicBezTo>
                  <a:cubicBezTo>
                    <a:pt x="13" y="172"/>
                    <a:pt x="14" y="170"/>
                    <a:pt x="15" y="168"/>
                  </a:cubicBezTo>
                  <a:cubicBezTo>
                    <a:pt x="15" y="168"/>
                    <a:pt x="15" y="168"/>
                    <a:pt x="15" y="168"/>
                  </a:cubicBezTo>
                  <a:cubicBezTo>
                    <a:pt x="15" y="167"/>
                    <a:pt x="33" y="166"/>
                    <a:pt x="53" y="165"/>
                  </a:cubicBezTo>
                  <a:cubicBezTo>
                    <a:pt x="62" y="176"/>
                    <a:pt x="75" y="194"/>
                    <a:pt x="74" y="194"/>
                  </a:cubicBezTo>
                  <a:cubicBezTo>
                    <a:pt x="75" y="194"/>
                    <a:pt x="75" y="194"/>
                    <a:pt x="75" y="194"/>
                  </a:cubicBezTo>
                  <a:cubicBezTo>
                    <a:pt x="72" y="196"/>
                    <a:pt x="72" y="199"/>
                    <a:pt x="73" y="202"/>
                  </a:cubicBezTo>
                  <a:cubicBezTo>
                    <a:pt x="74" y="204"/>
                    <a:pt x="77" y="206"/>
                    <a:pt x="79" y="206"/>
                  </a:cubicBezTo>
                  <a:cubicBezTo>
                    <a:pt x="80" y="206"/>
                    <a:pt x="80" y="206"/>
                    <a:pt x="81" y="206"/>
                  </a:cubicBezTo>
                  <a:cubicBezTo>
                    <a:pt x="81" y="206"/>
                    <a:pt x="81" y="206"/>
                    <a:pt x="81" y="206"/>
                  </a:cubicBezTo>
                  <a:cubicBezTo>
                    <a:pt x="81" y="206"/>
                    <a:pt x="81" y="206"/>
                    <a:pt x="81" y="206"/>
                  </a:cubicBezTo>
                  <a:cubicBezTo>
                    <a:pt x="81" y="206"/>
                    <a:pt x="94" y="241"/>
                    <a:pt x="103" y="265"/>
                  </a:cubicBezTo>
                  <a:cubicBezTo>
                    <a:pt x="91" y="261"/>
                    <a:pt x="79" y="257"/>
                    <a:pt x="73" y="254"/>
                  </a:cubicBezTo>
                  <a:cubicBezTo>
                    <a:pt x="74" y="251"/>
                    <a:pt x="72" y="247"/>
                    <a:pt x="70" y="245"/>
                  </a:cubicBezTo>
                  <a:cubicBezTo>
                    <a:pt x="68" y="244"/>
                    <a:pt x="65" y="243"/>
                    <a:pt x="63" y="243"/>
                  </a:cubicBezTo>
                  <a:cubicBezTo>
                    <a:pt x="60" y="243"/>
                    <a:pt x="57" y="244"/>
                    <a:pt x="55" y="246"/>
                  </a:cubicBezTo>
                  <a:cubicBezTo>
                    <a:pt x="52" y="251"/>
                    <a:pt x="52" y="257"/>
                    <a:pt x="57" y="260"/>
                  </a:cubicBezTo>
                  <a:cubicBezTo>
                    <a:pt x="59" y="262"/>
                    <a:pt x="61" y="262"/>
                    <a:pt x="63" y="262"/>
                  </a:cubicBezTo>
                  <a:cubicBezTo>
                    <a:pt x="66" y="262"/>
                    <a:pt x="69" y="261"/>
                    <a:pt x="71" y="259"/>
                  </a:cubicBezTo>
                  <a:cubicBezTo>
                    <a:pt x="72" y="258"/>
                    <a:pt x="72" y="257"/>
                    <a:pt x="73" y="256"/>
                  </a:cubicBezTo>
                  <a:cubicBezTo>
                    <a:pt x="79" y="258"/>
                    <a:pt x="91" y="261"/>
                    <a:pt x="103" y="265"/>
                  </a:cubicBezTo>
                  <a:cubicBezTo>
                    <a:pt x="108" y="278"/>
                    <a:pt x="111" y="288"/>
                    <a:pt x="111" y="288"/>
                  </a:cubicBezTo>
                  <a:cubicBezTo>
                    <a:pt x="111" y="288"/>
                    <a:pt x="111" y="288"/>
                    <a:pt x="111" y="288"/>
                  </a:cubicBezTo>
                  <a:cubicBezTo>
                    <a:pt x="109" y="289"/>
                    <a:pt x="108" y="291"/>
                    <a:pt x="109" y="293"/>
                  </a:cubicBezTo>
                  <a:cubicBezTo>
                    <a:pt x="109" y="293"/>
                    <a:pt x="109" y="293"/>
                    <a:pt x="109" y="293"/>
                  </a:cubicBezTo>
                  <a:cubicBezTo>
                    <a:pt x="109" y="293"/>
                    <a:pt x="109" y="293"/>
                    <a:pt x="109" y="293"/>
                  </a:cubicBezTo>
                  <a:cubicBezTo>
                    <a:pt x="109" y="293"/>
                    <a:pt x="70" y="319"/>
                    <a:pt x="69" y="319"/>
                  </a:cubicBezTo>
                  <a:cubicBezTo>
                    <a:pt x="69" y="319"/>
                    <a:pt x="69" y="319"/>
                    <a:pt x="69" y="319"/>
                  </a:cubicBezTo>
                  <a:cubicBezTo>
                    <a:pt x="69" y="319"/>
                    <a:pt x="69" y="319"/>
                    <a:pt x="69" y="319"/>
                  </a:cubicBezTo>
                  <a:cubicBezTo>
                    <a:pt x="68" y="319"/>
                    <a:pt x="67" y="318"/>
                    <a:pt x="66" y="318"/>
                  </a:cubicBezTo>
                  <a:cubicBezTo>
                    <a:pt x="66" y="318"/>
                    <a:pt x="66" y="318"/>
                    <a:pt x="65" y="318"/>
                  </a:cubicBezTo>
                  <a:cubicBezTo>
                    <a:pt x="63" y="319"/>
                    <a:pt x="63" y="321"/>
                    <a:pt x="63" y="323"/>
                  </a:cubicBezTo>
                  <a:cubicBezTo>
                    <a:pt x="64" y="324"/>
                    <a:pt x="65" y="325"/>
                    <a:pt x="67" y="325"/>
                  </a:cubicBezTo>
                  <a:cubicBezTo>
                    <a:pt x="67" y="325"/>
                    <a:pt x="67" y="324"/>
                    <a:pt x="68" y="324"/>
                  </a:cubicBezTo>
                  <a:cubicBezTo>
                    <a:pt x="69" y="324"/>
                    <a:pt x="69" y="323"/>
                    <a:pt x="69" y="323"/>
                  </a:cubicBezTo>
                  <a:cubicBezTo>
                    <a:pt x="69" y="323"/>
                    <a:pt x="69" y="323"/>
                    <a:pt x="69" y="323"/>
                  </a:cubicBezTo>
                  <a:cubicBezTo>
                    <a:pt x="69" y="323"/>
                    <a:pt x="69" y="323"/>
                    <a:pt x="70" y="323"/>
                  </a:cubicBezTo>
                  <a:cubicBezTo>
                    <a:pt x="71" y="323"/>
                    <a:pt x="109" y="335"/>
                    <a:pt x="109" y="336"/>
                  </a:cubicBezTo>
                  <a:cubicBezTo>
                    <a:pt x="109" y="335"/>
                    <a:pt x="109" y="335"/>
                    <a:pt x="109" y="335"/>
                  </a:cubicBezTo>
                  <a:cubicBezTo>
                    <a:pt x="108" y="336"/>
                    <a:pt x="109" y="337"/>
                    <a:pt x="109" y="338"/>
                  </a:cubicBezTo>
                  <a:cubicBezTo>
                    <a:pt x="110" y="339"/>
                    <a:pt x="111" y="340"/>
                    <a:pt x="112" y="340"/>
                  </a:cubicBezTo>
                  <a:cubicBezTo>
                    <a:pt x="113" y="340"/>
                    <a:pt x="114" y="340"/>
                    <a:pt x="114" y="340"/>
                  </a:cubicBezTo>
                  <a:cubicBezTo>
                    <a:pt x="116" y="339"/>
                    <a:pt x="117" y="336"/>
                    <a:pt x="116" y="335"/>
                  </a:cubicBezTo>
                  <a:cubicBezTo>
                    <a:pt x="115" y="333"/>
                    <a:pt x="114" y="333"/>
                    <a:pt x="113" y="332"/>
                  </a:cubicBezTo>
                  <a:cubicBezTo>
                    <a:pt x="113" y="332"/>
                    <a:pt x="113" y="332"/>
                    <a:pt x="113" y="332"/>
                  </a:cubicBezTo>
                  <a:cubicBezTo>
                    <a:pt x="112" y="332"/>
                    <a:pt x="112" y="295"/>
                    <a:pt x="113" y="295"/>
                  </a:cubicBezTo>
                  <a:cubicBezTo>
                    <a:pt x="113" y="295"/>
                    <a:pt x="113" y="295"/>
                    <a:pt x="113" y="295"/>
                  </a:cubicBezTo>
                  <a:cubicBezTo>
                    <a:pt x="113" y="295"/>
                    <a:pt x="114" y="295"/>
                    <a:pt x="114" y="295"/>
                  </a:cubicBezTo>
                  <a:cubicBezTo>
                    <a:pt x="116" y="294"/>
                    <a:pt x="117" y="291"/>
                    <a:pt x="116" y="290"/>
                  </a:cubicBezTo>
                  <a:cubicBezTo>
                    <a:pt x="115" y="288"/>
                    <a:pt x="114" y="287"/>
                    <a:pt x="112" y="287"/>
                  </a:cubicBezTo>
                  <a:cubicBezTo>
                    <a:pt x="112" y="287"/>
                    <a:pt x="112" y="287"/>
                    <a:pt x="112" y="287"/>
                  </a:cubicBezTo>
                  <a:cubicBezTo>
                    <a:pt x="112" y="287"/>
                    <a:pt x="112" y="287"/>
                    <a:pt x="112" y="287"/>
                  </a:cubicBezTo>
                  <a:cubicBezTo>
                    <a:pt x="112" y="287"/>
                    <a:pt x="112" y="287"/>
                    <a:pt x="112" y="287"/>
                  </a:cubicBezTo>
                  <a:cubicBezTo>
                    <a:pt x="112" y="287"/>
                    <a:pt x="108" y="278"/>
                    <a:pt x="103" y="265"/>
                  </a:cubicBezTo>
                  <a:cubicBezTo>
                    <a:pt x="126" y="273"/>
                    <a:pt x="151" y="282"/>
                    <a:pt x="151" y="284"/>
                  </a:cubicBezTo>
                  <a:cubicBezTo>
                    <a:pt x="151" y="284"/>
                    <a:pt x="151" y="284"/>
                    <a:pt x="151" y="284"/>
                  </a:cubicBezTo>
                  <a:cubicBezTo>
                    <a:pt x="150" y="289"/>
                    <a:pt x="152" y="294"/>
                    <a:pt x="156" y="297"/>
                  </a:cubicBezTo>
                  <a:cubicBezTo>
                    <a:pt x="159" y="299"/>
                    <a:pt x="162" y="300"/>
                    <a:pt x="165" y="300"/>
                  </a:cubicBezTo>
                  <a:cubicBezTo>
                    <a:pt x="170" y="300"/>
                    <a:pt x="174" y="299"/>
                    <a:pt x="177" y="295"/>
                  </a:cubicBezTo>
                  <a:cubicBezTo>
                    <a:pt x="178" y="294"/>
                    <a:pt x="178" y="293"/>
                    <a:pt x="179" y="291"/>
                  </a:cubicBezTo>
                  <a:cubicBezTo>
                    <a:pt x="179" y="291"/>
                    <a:pt x="179" y="291"/>
                    <a:pt x="179" y="291"/>
                  </a:cubicBezTo>
                  <a:cubicBezTo>
                    <a:pt x="179" y="291"/>
                    <a:pt x="179" y="291"/>
                    <a:pt x="180" y="291"/>
                  </a:cubicBezTo>
                  <a:cubicBezTo>
                    <a:pt x="191" y="291"/>
                    <a:pt x="320" y="319"/>
                    <a:pt x="319" y="321"/>
                  </a:cubicBezTo>
                  <a:cubicBezTo>
                    <a:pt x="319" y="321"/>
                    <a:pt x="319" y="321"/>
                    <a:pt x="319" y="321"/>
                  </a:cubicBezTo>
                  <a:cubicBezTo>
                    <a:pt x="319" y="323"/>
                    <a:pt x="320" y="325"/>
                    <a:pt x="321" y="327"/>
                  </a:cubicBezTo>
                  <a:cubicBezTo>
                    <a:pt x="323" y="331"/>
                    <a:pt x="327" y="333"/>
                    <a:pt x="331" y="333"/>
                  </a:cubicBezTo>
                  <a:cubicBezTo>
                    <a:pt x="333" y="333"/>
                    <a:pt x="335" y="333"/>
                    <a:pt x="336" y="332"/>
                  </a:cubicBezTo>
                  <a:cubicBezTo>
                    <a:pt x="339" y="331"/>
                    <a:pt x="340" y="330"/>
                    <a:pt x="341" y="328"/>
                  </a:cubicBezTo>
                  <a:cubicBezTo>
                    <a:pt x="341" y="328"/>
                    <a:pt x="341" y="328"/>
                    <a:pt x="341" y="328"/>
                  </a:cubicBezTo>
                  <a:cubicBezTo>
                    <a:pt x="342" y="328"/>
                    <a:pt x="342" y="328"/>
                    <a:pt x="342" y="328"/>
                  </a:cubicBezTo>
                  <a:cubicBezTo>
                    <a:pt x="347" y="328"/>
                    <a:pt x="375" y="340"/>
                    <a:pt x="375" y="342"/>
                  </a:cubicBezTo>
                  <a:cubicBezTo>
                    <a:pt x="375" y="342"/>
                    <a:pt x="375" y="342"/>
                    <a:pt x="375" y="342"/>
                  </a:cubicBezTo>
                  <a:cubicBezTo>
                    <a:pt x="375" y="343"/>
                    <a:pt x="375" y="345"/>
                    <a:pt x="375" y="346"/>
                  </a:cubicBezTo>
                  <a:cubicBezTo>
                    <a:pt x="376" y="348"/>
                    <a:pt x="378" y="349"/>
                    <a:pt x="380" y="350"/>
                  </a:cubicBezTo>
                  <a:cubicBezTo>
                    <a:pt x="380" y="350"/>
                    <a:pt x="380" y="350"/>
                    <a:pt x="380" y="350"/>
                  </a:cubicBezTo>
                  <a:cubicBezTo>
                    <a:pt x="381" y="350"/>
                    <a:pt x="371" y="406"/>
                    <a:pt x="370" y="406"/>
                  </a:cubicBezTo>
                  <a:cubicBezTo>
                    <a:pt x="371" y="406"/>
                    <a:pt x="371" y="406"/>
                    <a:pt x="371" y="406"/>
                  </a:cubicBezTo>
                  <a:cubicBezTo>
                    <a:pt x="371" y="406"/>
                    <a:pt x="371" y="406"/>
                    <a:pt x="370" y="406"/>
                  </a:cubicBezTo>
                  <a:cubicBezTo>
                    <a:pt x="370" y="406"/>
                    <a:pt x="369" y="406"/>
                    <a:pt x="368" y="406"/>
                  </a:cubicBezTo>
                  <a:cubicBezTo>
                    <a:pt x="366" y="407"/>
                    <a:pt x="365" y="410"/>
                    <a:pt x="366" y="412"/>
                  </a:cubicBezTo>
                  <a:cubicBezTo>
                    <a:pt x="367" y="414"/>
                    <a:pt x="369" y="415"/>
                    <a:pt x="370" y="415"/>
                  </a:cubicBezTo>
                  <a:cubicBezTo>
                    <a:pt x="371" y="415"/>
                    <a:pt x="372" y="415"/>
                    <a:pt x="373" y="414"/>
                  </a:cubicBezTo>
                  <a:cubicBezTo>
                    <a:pt x="375" y="413"/>
                    <a:pt x="376" y="411"/>
                    <a:pt x="375" y="408"/>
                  </a:cubicBezTo>
                  <a:cubicBezTo>
                    <a:pt x="375" y="408"/>
                    <a:pt x="375" y="408"/>
                    <a:pt x="375" y="408"/>
                  </a:cubicBezTo>
                  <a:cubicBezTo>
                    <a:pt x="375" y="408"/>
                    <a:pt x="375" y="408"/>
                    <a:pt x="375" y="408"/>
                  </a:cubicBezTo>
                  <a:cubicBezTo>
                    <a:pt x="374" y="407"/>
                    <a:pt x="399" y="388"/>
                    <a:pt x="401" y="388"/>
                  </a:cubicBezTo>
                  <a:cubicBezTo>
                    <a:pt x="402" y="388"/>
                    <a:pt x="402" y="388"/>
                    <a:pt x="402" y="388"/>
                  </a:cubicBezTo>
                  <a:cubicBezTo>
                    <a:pt x="402" y="388"/>
                    <a:pt x="402" y="388"/>
                    <a:pt x="402" y="388"/>
                  </a:cubicBezTo>
                  <a:cubicBezTo>
                    <a:pt x="403" y="390"/>
                    <a:pt x="406" y="390"/>
                    <a:pt x="408" y="390"/>
                  </a:cubicBezTo>
                  <a:cubicBezTo>
                    <a:pt x="409" y="390"/>
                    <a:pt x="411" y="390"/>
                    <a:pt x="412" y="390"/>
                  </a:cubicBezTo>
                  <a:cubicBezTo>
                    <a:pt x="416" y="388"/>
                    <a:pt x="418" y="382"/>
                    <a:pt x="416" y="378"/>
                  </a:cubicBezTo>
                  <a:cubicBezTo>
                    <a:pt x="415" y="375"/>
                    <a:pt x="411" y="373"/>
                    <a:pt x="408" y="373"/>
                  </a:cubicBezTo>
                  <a:cubicBezTo>
                    <a:pt x="407" y="373"/>
                    <a:pt x="405" y="373"/>
                    <a:pt x="404" y="374"/>
                  </a:cubicBezTo>
                  <a:cubicBezTo>
                    <a:pt x="404" y="374"/>
                    <a:pt x="404" y="374"/>
                    <a:pt x="404" y="374"/>
                  </a:cubicBezTo>
                  <a:cubicBezTo>
                    <a:pt x="404" y="374"/>
                    <a:pt x="404" y="374"/>
                    <a:pt x="404" y="374"/>
                  </a:cubicBezTo>
                  <a:cubicBezTo>
                    <a:pt x="402" y="374"/>
                    <a:pt x="385" y="349"/>
                    <a:pt x="386" y="348"/>
                  </a:cubicBezTo>
                  <a:cubicBezTo>
                    <a:pt x="386" y="348"/>
                    <a:pt x="386" y="348"/>
                    <a:pt x="386" y="348"/>
                  </a:cubicBezTo>
                  <a:cubicBezTo>
                    <a:pt x="389" y="346"/>
                    <a:pt x="389" y="343"/>
                    <a:pt x="388" y="340"/>
                  </a:cubicBezTo>
                  <a:cubicBezTo>
                    <a:pt x="387" y="338"/>
                    <a:pt x="384" y="337"/>
                    <a:pt x="382" y="337"/>
                  </a:cubicBezTo>
                  <a:cubicBezTo>
                    <a:pt x="381" y="337"/>
                    <a:pt x="380" y="337"/>
                    <a:pt x="379" y="337"/>
                  </a:cubicBezTo>
                  <a:cubicBezTo>
                    <a:pt x="378" y="338"/>
                    <a:pt x="377" y="339"/>
                    <a:pt x="376" y="340"/>
                  </a:cubicBezTo>
                  <a:cubicBezTo>
                    <a:pt x="376" y="340"/>
                    <a:pt x="376" y="340"/>
                    <a:pt x="376" y="340"/>
                  </a:cubicBezTo>
                  <a:cubicBezTo>
                    <a:pt x="376" y="340"/>
                    <a:pt x="376" y="340"/>
                    <a:pt x="376" y="340"/>
                  </a:cubicBezTo>
                  <a:cubicBezTo>
                    <a:pt x="373" y="340"/>
                    <a:pt x="342" y="327"/>
                    <a:pt x="343" y="325"/>
                  </a:cubicBezTo>
                  <a:cubicBezTo>
                    <a:pt x="343" y="325"/>
                    <a:pt x="343" y="325"/>
                    <a:pt x="343" y="325"/>
                  </a:cubicBezTo>
                  <a:cubicBezTo>
                    <a:pt x="343" y="324"/>
                    <a:pt x="343" y="323"/>
                    <a:pt x="343" y="322"/>
                  </a:cubicBezTo>
                  <a:cubicBezTo>
                    <a:pt x="343" y="322"/>
                    <a:pt x="343" y="322"/>
                    <a:pt x="343" y="322"/>
                  </a:cubicBezTo>
                  <a:cubicBezTo>
                    <a:pt x="343" y="320"/>
                    <a:pt x="479" y="305"/>
                    <a:pt x="496" y="305"/>
                  </a:cubicBezTo>
                  <a:cubicBezTo>
                    <a:pt x="497" y="305"/>
                    <a:pt x="497" y="305"/>
                    <a:pt x="497" y="305"/>
                  </a:cubicBezTo>
                  <a:cubicBezTo>
                    <a:pt x="497" y="305"/>
                    <a:pt x="497" y="305"/>
                    <a:pt x="497" y="305"/>
                  </a:cubicBezTo>
                  <a:cubicBezTo>
                    <a:pt x="498" y="306"/>
                    <a:pt x="498" y="306"/>
                    <a:pt x="498" y="307"/>
                  </a:cubicBezTo>
                  <a:cubicBezTo>
                    <a:pt x="500" y="311"/>
                    <a:pt x="504" y="314"/>
                    <a:pt x="509" y="314"/>
                  </a:cubicBezTo>
                  <a:cubicBezTo>
                    <a:pt x="511" y="314"/>
                    <a:pt x="512" y="313"/>
                    <a:pt x="514" y="313"/>
                  </a:cubicBezTo>
                  <a:cubicBezTo>
                    <a:pt x="516" y="312"/>
                    <a:pt x="517" y="311"/>
                    <a:pt x="519" y="309"/>
                  </a:cubicBezTo>
                  <a:cubicBezTo>
                    <a:pt x="519" y="309"/>
                    <a:pt x="519" y="309"/>
                    <a:pt x="519" y="309"/>
                  </a:cubicBezTo>
                  <a:cubicBezTo>
                    <a:pt x="519" y="309"/>
                    <a:pt x="519" y="309"/>
                    <a:pt x="519" y="309"/>
                  </a:cubicBezTo>
                  <a:cubicBezTo>
                    <a:pt x="523" y="309"/>
                    <a:pt x="568" y="332"/>
                    <a:pt x="567" y="333"/>
                  </a:cubicBezTo>
                  <a:cubicBezTo>
                    <a:pt x="567" y="333"/>
                    <a:pt x="567" y="333"/>
                    <a:pt x="567" y="333"/>
                  </a:cubicBezTo>
                  <a:cubicBezTo>
                    <a:pt x="566" y="336"/>
                    <a:pt x="566" y="338"/>
                    <a:pt x="567" y="341"/>
                  </a:cubicBezTo>
                  <a:cubicBezTo>
                    <a:pt x="569" y="344"/>
                    <a:pt x="573" y="346"/>
                    <a:pt x="576" y="346"/>
                  </a:cubicBezTo>
                  <a:cubicBezTo>
                    <a:pt x="578" y="346"/>
                    <a:pt x="579" y="346"/>
                    <a:pt x="581" y="345"/>
                  </a:cubicBezTo>
                  <a:cubicBezTo>
                    <a:pt x="586" y="343"/>
                    <a:pt x="588" y="337"/>
                    <a:pt x="586" y="332"/>
                  </a:cubicBezTo>
                  <a:cubicBezTo>
                    <a:pt x="585" y="331"/>
                    <a:pt x="585" y="331"/>
                    <a:pt x="585" y="331"/>
                  </a:cubicBezTo>
                  <a:cubicBezTo>
                    <a:pt x="585" y="331"/>
                    <a:pt x="585" y="331"/>
                    <a:pt x="585" y="331"/>
                  </a:cubicBezTo>
                  <a:cubicBezTo>
                    <a:pt x="584" y="330"/>
                    <a:pt x="626" y="294"/>
                    <a:pt x="631" y="294"/>
                  </a:cubicBezTo>
                  <a:cubicBezTo>
                    <a:pt x="631" y="294"/>
                    <a:pt x="631" y="294"/>
                    <a:pt x="631" y="294"/>
                  </a:cubicBezTo>
                  <a:cubicBezTo>
                    <a:pt x="631" y="294"/>
                    <a:pt x="631" y="294"/>
                    <a:pt x="631" y="294"/>
                  </a:cubicBezTo>
                  <a:cubicBezTo>
                    <a:pt x="634" y="296"/>
                    <a:pt x="637" y="298"/>
                    <a:pt x="641" y="298"/>
                  </a:cubicBezTo>
                  <a:cubicBezTo>
                    <a:pt x="647" y="298"/>
                    <a:pt x="653" y="294"/>
                    <a:pt x="655" y="289"/>
                  </a:cubicBezTo>
                  <a:cubicBezTo>
                    <a:pt x="655" y="289"/>
                    <a:pt x="655" y="289"/>
                    <a:pt x="655" y="289"/>
                  </a:cubicBezTo>
                  <a:cubicBezTo>
                    <a:pt x="655" y="289"/>
                    <a:pt x="656" y="289"/>
                    <a:pt x="656" y="289"/>
                  </a:cubicBezTo>
                  <a:cubicBezTo>
                    <a:pt x="666" y="289"/>
                    <a:pt x="737" y="308"/>
                    <a:pt x="737" y="310"/>
                  </a:cubicBezTo>
                  <a:cubicBezTo>
                    <a:pt x="737" y="310"/>
                    <a:pt x="737" y="310"/>
                    <a:pt x="737" y="310"/>
                  </a:cubicBezTo>
                  <a:cubicBezTo>
                    <a:pt x="737" y="311"/>
                    <a:pt x="737" y="312"/>
                    <a:pt x="738" y="314"/>
                  </a:cubicBezTo>
                  <a:cubicBezTo>
                    <a:pt x="738" y="314"/>
                    <a:pt x="739" y="315"/>
                    <a:pt x="739" y="316"/>
                  </a:cubicBezTo>
                  <a:cubicBezTo>
                    <a:pt x="739" y="316"/>
                    <a:pt x="739" y="316"/>
                    <a:pt x="739" y="316"/>
                  </a:cubicBezTo>
                  <a:cubicBezTo>
                    <a:pt x="740" y="317"/>
                    <a:pt x="692" y="378"/>
                    <a:pt x="689" y="378"/>
                  </a:cubicBezTo>
                  <a:cubicBezTo>
                    <a:pt x="689" y="378"/>
                    <a:pt x="689" y="378"/>
                    <a:pt x="689" y="378"/>
                  </a:cubicBezTo>
                  <a:cubicBezTo>
                    <a:pt x="687" y="377"/>
                    <a:pt x="684" y="376"/>
                    <a:pt x="682" y="376"/>
                  </a:cubicBezTo>
                  <a:cubicBezTo>
                    <a:pt x="674" y="376"/>
                    <a:pt x="667" y="382"/>
                    <a:pt x="667" y="390"/>
                  </a:cubicBezTo>
                  <a:cubicBezTo>
                    <a:pt x="667" y="391"/>
                    <a:pt x="667" y="392"/>
                    <a:pt x="668" y="393"/>
                  </a:cubicBezTo>
                  <a:cubicBezTo>
                    <a:pt x="668" y="396"/>
                    <a:pt x="559" y="435"/>
                    <a:pt x="552" y="435"/>
                  </a:cubicBezTo>
                  <a:cubicBezTo>
                    <a:pt x="552" y="435"/>
                    <a:pt x="552" y="435"/>
                    <a:pt x="552" y="435"/>
                  </a:cubicBezTo>
                  <a:cubicBezTo>
                    <a:pt x="552" y="435"/>
                    <a:pt x="552" y="435"/>
                    <a:pt x="552" y="435"/>
                  </a:cubicBezTo>
                  <a:cubicBezTo>
                    <a:pt x="550" y="431"/>
                    <a:pt x="545" y="429"/>
                    <a:pt x="540" y="429"/>
                  </a:cubicBezTo>
                  <a:cubicBezTo>
                    <a:pt x="533" y="429"/>
                    <a:pt x="527" y="434"/>
                    <a:pt x="527" y="442"/>
                  </a:cubicBezTo>
                  <a:cubicBezTo>
                    <a:pt x="527" y="449"/>
                    <a:pt x="533" y="455"/>
                    <a:pt x="540" y="455"/>
                  </a:cubicBezTo>
                  <a:cubicBezTo>
                    <a:pt x="548" y="455"/>
                    <a:pt x="554" y="449"/>
                    <a:pt x="554" y="442"/>
                  </a:cubicBezTo>
                  <a:cubicBezTo>
                    <a:pt x="554" y="441"/>
                    <a:pt x="554" y="440"/>
                    <a:pt x="553" y="439"/>
                  </a:cubicBezTo>
                  <a:cubicBezTo>
                    <a:pt x="553" y="436"/>
                    <a:pt x="661" y="397"/>
                    <a:pt x="669" y="397"/>
                  </a:cubicBezTo>
                  <a:cubicBezTo>
                    <a:pt x="669" y="397"/>
                    <a:pt x="669" y="397"/>
                    <a:pt x="669" y="397"/>
                  </a:cubicBezTo>
                  <a:cubicBezTo>
                    <a:pt x="669" y="397"/>
                    <a:pt x="669" y="397"/>
                    <a:pt x="669" y="397"/>
                  </a:cubicBezTo>
                  <a:cubicBezTo>
                    <a:pt x="671" y="401"/>
                    <a:pt x="675" y="403"/>
                    <a:pt x="680" y="404"/>
                  </a:cubicBezTo>
                  <a:cubicBezTo>
                    <a:pt x="680" y="404"/>
                    <a:pt x="680" y="404"/>
                    <a:pt x="680" y="404"/>
                  </a:cubicBezTo>
                  <a:cubicBezTo>
                    <a:pt x="683" y="404"/>
                    <a:pt x="682" y="478"/>
                    <a:pt x="681" y="478"/>
                  </a:cubicBezTo>
                  <a:cubicBezTo>
                    <a:pt x="681" y="478"/>
                    <a:pt x="681" y="478"/>
                    <a:pt x="681" y="478"/>
                  </a:cubicBezTo>
                  <a:cubicBezTo>
                    <a:pt x="680" y="478"/>
                    <a:pt x="679" y="479"/>
                    <a:pt x="679" y="479"/>
                  </a:cubicBezTo>
                  <a:cubicBezTo>
                    <a:pt x="676" y="480"/>
                    <a:pt x="674" y="483"/>
                    <a:pt x="674" y="486"/>
                  </a:cubicBezTo>
                  <a:cubicBezTo>
                    <a:pt x="674" y="486"/>
                    <a:pt x="674" y="486"/>
                    <a:pt x="674" y="486"/>
                  </a:cubicBezTo>
                  <a:cubicBezTo>
                    <a:pt x="674" y="488"/>
                    <a:pt x="615" y="505"/>
                    <a:pt x="607" y="505"/>
                  </a:cubicBezTo>
                  <a:cubicBezTo>
                    <a:pt x="607" y="505"/>
                    <a:pt x="606" y="505"/>
                    <a:pt x="606" y="505"/>
                  </a:cubicBezTo>
                  <a:cubicBezTo>
                    <a:pt x="606" y="505"/>
                    <a:pt x="606" y="505"/>
                    <a:pt x="606" y="505"/>
                  </a:cubicBezTo>
                  <a:cubicBezTo>
                    <a:pt x="604" y="501"/>
                    <a:pt x="599" y="498"/>
                    <a:pt x="594" y="498"/>
                  </a:cubicBezTo>
                  <a:cubicBezTo>
                    <a:pt x="592" y="498"/>
                    <a:pt x="590" y="498"/>
                    <a:pt x="588" y="499"/>
                  </a:cubicBezTo>
                  <a:cubicBezTo>
                    <a:pt x="582" y="502"/>
                    <a:pt x="579" y="510"/>
                    <a:pt x="582" y="516"/>
                  </a:cubicBezTo>
                  <a:cubicBezTo>
                    <a:pt x="584" y="521"/>
                    <a:pt x="589" y="524"/>
                    <a:pt x="594" y="524"/>
                  </a:cubicBezTo>
                  <a:cubicBezTo>
                    <a:pt x="596" y="524"/>
                    <a:pt x="598" y="523"/>
                    <a:pt x="600" y="523"/>
                  </a:cubicBezTo>
                  <a:cubicBezTo>
                    <a:pt x="605" y="520"/>
                    <a:pt x="608" y="515"/>
                    <a:pt x="608" y="509"/>
                  </a:cubicBezTo>
                  <a:cubicBezTo>
                    <a:pt x="608" y="509"/>
                    <a:pt x="608" y="509"/>
                    <a:pt x="608" y="509"/>
                  </a:cubicBezTo>
                  <a:cubicBezTo>
                    <a:pt x="607" y="507"/>
                    <a:pt x="670" y="489"/>
                    <a:pt x="675" y="489"/>
                  </a:cubicBezTo>
                  <a:cubicBezTo>
                    <a:pt x="675" y="489"/>
                    <a:pt x="675" y="489"/>
                    <a:pt x="675" y="489"/>
                  </a:cubicBezTo>
                  <a:cubicBezTo>
                    <a:pt x="675" y="489"/>
                    <a:pt x="675" y="489"/>
                    <a:pt x="675" y="489"/>
                  </a:cubicBezTo>
                  <a:cubicBezTo>
                    <a:pt x="676" y="491"/>
                    <a:pt x="679" y="493"/>
                    <a:pt x="682" y="493"/>
                  </a:cubicBezTo>
                  <a:cubicBezTo>
                    <a:pt x="683" y="493"/>
                    <a:pt x="684" y="493"/>
                    <a:pt x="685" y="492"/>
                  </a:cubicBezTo>
                  <a:cubicBezTo>
                    <a:pt x="689" y="490"/>
                    <a:pt x="690" y="486"/>
                    <a:pt x="689" y="482"/>
                  </a:cubicBezTo>
                  <a:cubicBezTo>
                    <a:pt x="688" y="480"/>
                    <a:pt x="685" y="479"/>
                    <a:pt x="683" y="478"/>
                  </a:cubicBezTo>
                  <a:cubicBezTo>
                    <a:pt x="683" y="478"/>
                    <a:pt x="683" y="478"/>
                    <a:pt x="683" y="478"/>
                  </a:cubicBezTo>
                  <a:cubicBezTo>
                    <a:pt x="682" y="478"/>
                    <a:pt x="681" y="404"/>
                    <a:pt x="684" y="404"/>
                  </a:cubicBezTo>
                  <a:cubicBezTo>
                    <a:pt x="684" y="404"/>
                    <a:pt x="684" y="404"/>
                    <a:pt x="684" y="404"/>
                  </a:cubicBezTo>
                  <a:cubicBezTo>
                    <a:pt x="689" y="403"/>
                    <a:pt x="693" y="400"/>
                    <a:pt x="695" y="396"/>
                  </a:cubicBezTo>
                  <a:cubicBezTo>
                    <a:pt x="695" y="396"/>
                    <a:pt x="695" y="396"/>
                    <a:pt x="695" y="396"/>
                  </a:cubicBezTo>
                  <a:cubicBezTo>
                    <a:pt x="695" y="396"/>
                    <a:pt x="695" y="396"/>
                    <a:pt x="696" y="396"/>
                  </a:cubicBezTo>
                  <a:cubicBezTo>
                    <a:pt x="704" y="396"/>
                    <a:pt x="759" y="413"/>
                    <a:pt x="758" y="416"/>
                  </a:cubicBezTo>
                  <a:cubicBezTo>
                    <a:pt x="758" y="416"/>
                    <a:pt x="758" y="416"/>
                    <a:pt x="758" y="416"/>
                  </a:cubicBezTo>
                  <a:cubicBezTo>
                    <a:pt x="758" y="417"/>
                    <a:pt x="758" y="418"/>
                    <a:pt x="758" y="419"/>
                  </a:cubicBezTo>
                  <a:cubicBezTo>
                    <a:pt x="758" y="429"/>
                    <a:pt x="766" y="437"/>
                    <a:pt x="776" y="437"/>
                  </a:cubicBezTo>
                  <a:cubicBezTo>
                    <a:pt x="786" y="437"/>
                    <a:pt x="795" y="429"/>
                    <a:pt x="795" y="419"/>
                  </a:cubicBezTo>
                  <a:cubicBezTo>
                    <a:pt x="795" y="409"/>
                    <a:pt x="786" y="401"/>
                    <a:pt x="776" y="401"/>
                  </a:cubicBezTo>
                  <a:cubicBezTo>
                    <a:pt x="769" y="401"/>
                    <a:pt x="763" y="405"/>
                    <a:pt x="760" y="411"/>
                  </a:cubicBezTo>
                  <a:cubicBezTo>
                    <a:pt x="760" y="411"/>
                    <a:pt x="760" y="411"/>
                    <a:pt x="760" y="411"/>
                  </a:cubicBezTo>
                  <a:cubicBezTo>
                    <a:pt x="760" y="411"/>
                    <a:pt x="759" y="411"/>
                    <a:pt x="759" y="411"/>
                  </a:cubicBezTo>
                  <a:cubicBezTo>
                    <a:pt x="749" y="411"/>
                    <a:pt x="696" y="395"/>
                    <a:pt x="696" y="392"/>
                  </a:cubicBezTo>
                  <a:cubicBezTo>
                    <a:pt x="696" y="392"/>
                    <a:pt x="696" y="392"/>
                    <a:pt x="696" y="392"/>
                  </a:cubicBezTo>
                  <a:cubicBezTo>
                    <a:pt x="696" y="391"/>
                    <a:pt x="696" y="391"/>
                    <a:pt x="696" y="390"/>
                  </a:cubicBezTo>
                  <a:cubicBezTo>
                    <a:pt x="696" y="386"/>
                    <a:pt x="695" y="383"/>
                    <a:pt x="692" y="380"/>
                  </a:cubicBezTo>
                  <a:cubicBezTo>
                    <a:pt x="692" y="380"/>
                    <a:pt x="692" y="380"/>
                    <a:pt x="692" y="380"/>
                  </a:cubicBezTo>
                  <a:cubicBezTo>
                    <a:pt x="690" y="378"/>
                    <a:pt x="739" y="317"/>
                    <a:pt x="741" y="317"/>
                  </a:cubicBezTo>
                  <a:cubicBezTo>
                    <a:pt x="741" y="317"/>
                    <a:pt x="741" y="317"/>
                    <a:pt x="741" y="317"/>
                  </a:cubicBezTo>
                  <a:cubicBezTo>
                    <a:pt x="741" y="317"/>
                    <a:pt x="741" y="317"/>
                    <a:pt x="741" y="317"/>
                  </a:cubicBezTo>
                  <a:cubicBezTo>
                    <a:pt x="742" y="318"/>
                    <a:pt x="743" y="318"/>
                    <a:pt x="745" y="318"/>
                  </a:cubicBezTo>
                  <a:cubicBezTo>
                    <a:pt x="746" y="318"/>
                    <a:pt x="747" y="318"/>
                    <a:pt x="748" y="317"/>
                  </a:cubicBezTo>
                  <a:cubicBezTo>
                    <a:pt x="748" y="317"/>
                    <a:pt x="749" y="316"/>
                    <a:pt x="750" y="316"/>
                  </a:cubicBezTo>
                  <a:cubicBezTo>
                    <a:pt x="749" y="316"/>
                    <a:pt x="749" y="316"/>
                    <a:pt x="749" y="316"/>
                  </a:cubicBezTo>
                  <a:cubicBezTo>
                    <a:pt x="749" y="316"/>
                    <a:pt x="750" y="316"/>
                    <a:pt x="750" y="316"/>
                  </a:cubicBezTo>
                  <a:cubicBezTo>
                    <a:pt x="752" y="316"/>
                    <a:pt x="870" y="414"/>
                    <a:pt x="868" y="417"/>
                  </a:cubicBezTo>
                  <a:cubicBezTo>
                    <a:pt x="868" y="417"/>
                    <a:pt x="868" y="417"/>
                    <a:pt x="868" y="417"/>
                  </a:cubicBezTo>
                  <a:cubicBezTo>
                    <a:pt x="867" y="419"/>
                    <a:pt x="866" y="421"/>
                    <a:pt x="866" y="424"/>
                  </a:cubicBezTo>
                  <a:cubicBezTo>
                    <a:pt x="865" y="433"/>
                    <a:pt x="872" y="440"/>
                    <a:pt x="881" y="441"/>
                  </a:cubicBezTo>
                  <a:cubicBezTo>
                    <a:pt x="882" y="441"/>
                    <a:pt x="882" y="441"/>
                    <a:pt x="882" y="441"/>
                  </a:cubicBezTo>
                  <a:cubicBezTo>
                    <a:pt x="885" y="441"/>
                    <a:pt x="887" y="440"/>
                    <a:pt x="889" y="439"/>
                  </a:cubicBezTo>
                  <a:cubicBezTo>
                    <a:pt x="889" y="439"/>
                    <a:pt x="889" y="439"/>
                    <a:pt x="889" y="439"/>
                  </a:cubicBezTo>
                  <a:cubicBezTo>
                    <a:pt x="889" y="439"/>
                    <a:pt x="889" y="439"/>
                    <a:pt x="889" y="439"/>
                  </a:cubicBezTo>
                  <a:cubicBezTo>
                    <a:pt x="893" y="439"/>
                    <a:pt x="933" y="497"/>
                    <a:pt x="931" y="499"/>
                  </a:cubicBezTo>
                  <a:cubicBezTo>
                    <a:pt x="931" y="499"/>
                    <a:pt x="931" y="499"/>
                    <a:pt x="931" y="499"/>
                  </a:cubicBezTo>
                  <a:cubicBezTo>
                    <a:pt x="929" y="501"/>
                    <a:pt x="927" y="504"/>
                    <a:pt x="927" y="508"/>
                  </a:cubicBezTo>
                  <a:cubicBezTo>
                    <a:pt x="926" y="515"/>
                    <a:pt x="932" y="522"/>
                    <a:pt x="940" y="522"/>
                  </a:cubicBezTo>
                  <a:cubicBezTo>
                    <a:pt x="940" y="522"/>
                    <a:pt x="940" y="522"/>
                    <a:pt x="941" y="522"/>
                  </a:cubicBezTo>
                  <a:cubicBezTo>
                    <a:pt x="948" y="522"/>
                    <a:pt x="954" y="516"/>
                    <a:pt x="954" y="509"/>
                  </a:cubicBezTo>
                  <a:cubicBezTo>
                    <a:pt x="955" y="503"/>
                    <a:pt x="950" y="497"/>
                    <a:pt x="944" y="496"/>
                  </a:cubicBezTo>
                  <a:cubicBezTo>
                    <a:pt x="944" y="496"/>
                    <a:pt x="944" y="496"/>
                    <a:pt x="944" y="496"/>
                  </a:cubicBezTo>
                  <a:cubicBezTo>
                    <a:pt x="941" y="495"/>
                    <a:pt x="946" y="401"/>
                    <a:pt x="951" y="401"/>
                  </a:cubicBezTo>
                  <a:cubicBezTo>
                    <a:pt x="951" y="401"/>
                    <a:pt x="951" y="401"/>
                    <a:pt x="951" y="401"/>
                  </a:cubicBezTo>
                  <a:cubicBezTo>
                    <a:pt x="959" y="400"/>
                    <a:pt x="967" y="395"/>
                    <a:pt x="971" y="388"/>
                  </a:cubicBezTo>
                  <a:cubicBezTo>
                    <a:pt x="978" y="376"/>
                    <a:pt x="973" y="361"/>
                    <a:pt x="960" y="354"/>
                  </a:cubicBezTo>
                  <a:cubicBezTo>
                    <a:pt x="957" y="352"/>
                    <a:pt x="952" y="351"/>
                    <a:pt x="948" y="351"/>
                  </a:cubicBezTo>
                  <a:cubicBezTo>
                    <a:pt x="940" y="351"/>
                    <a:pt x="931" y="355"/>
                    <a:pt x="926" y="363"/>
                  </a:cubicBezTo>
                  <a:cubicBezTo>
                    <a:pt x="926" y="363"/>
                    <a:pt x="926" y="363"/>
                    <a:pt x="926" y="363"/>
                  </a:cubicBezTo>
                  <a:cubicBezTo>
                    <a:pt x="926" y="363"/>
                    <a:pt x="926" y="363"/>
                    <a:pt x="925" y="363"/>
                  </a:cubicBezTo>
                  <a:cubicBezTo>
                    <a:pt x="921" y="363"/>
                    <a:pt x="909" y="359"/>
                    <a:pt x="896" y="354"/>
                  </a:cubicBezTo>
                  <a:cubicBezTo>
                    <a:pt x="911" y="360"/>
                    <a:pt x="924" y="367"/>
                    <a:pt x="923" y="369"/>
                  </a:cubicBezTo>
                  <a:cubicBezTo>
                    <a:pt x="923" y="369"/>
                    <a:pt x="923" y="369"/>
                    <a:pt x="923" y="369"/>
                  </a:cubicBezTo>
                  <a:cubicBezTo>
                    <a:pt x="921" y="376"/>
                    <a:pt x="922" y="382"/>
                    <a:pt x="926" y="388"/>
                  </a:cubicBezTo>
                  <a:cubicBezTo>
                    <a:pt x="926" y="388"/>
                    <a:pt x="926" y="388"/>
                    <a:pt x="926" y="388"/>
                  </a:cubicBezTo>
                  <a:cubicBezTo>
                    <a:pt x="928" y="392"/>
                    <a:pt x="898" y="414"/>
                    <a:pt x="894" y="414"/>
                  </a:cubicBezTo>
                  <a:cubicBezTo>
                    <a:pt x="893" y="414"/>
                    <a:pt x="893" y="414"/>
                    <a:pt x="893" y="413"/>
                  </a:cubicBezTo>
                  <a:cubicBezTo>
                    <a:pt x="893" y="413"/>
                    <a:pt x="893" y="413"/>
                    <a:pt x="893" y="413"/>
                  </a:cubicBezTo>
                  <a:cubicBezTo>
                    <a:pt x="890" y="411"/>
                    <a:pt x="887" y="410"/>
                    <a:pt x="883" y="409"/>
                  </a:cubicBezTo>
                  <a:cubicBezTo>
                    <a:pt x="883" y="409"/>
                    <a:pt x="882" y="409"/>
                    <a:pt x="882" y="409"/>
                  </a:cubicBezTo>
                  <a:cubicBezTo>
                    <a:pt x="878" y="409"/>
                    <a:pt x="874" y="411"/>
                    <a:pt x="871" y="413"/>
                  </a:cubicBezTo>
                  <a:cubicBezTo>
                    <a:pt x="871" y="413"/>
                    <a:pt x="871" y="413"/>
                    <a:pt x="871" y="413"/>
                  </a:cubicBezTo>
                  <a:cubicBezTo>
                    <a:pt x="871" y="413"/>
                    <a:pt x="871" y="413"/>
                    <a:pt x="871" y="413"/>
                  </a:cubicBezTo>
                  <a:cubicBezTo>
                    <a:pt x="867" y="413"/>
                    <a:pt x="750" y="316"/>
                    <a:pt x="751" y="314"/>
                  </a:cubicBezTo>
                  <a:cubicBezTo>
                    <a:pt x="751" y="314"/>
                    <a:pt x="751" y="314"/>
                    <a:pt x="751" y="314"/>
                  </a:cubicBezTo>
                  <a:cubicBezTo>
                    <a:pt x="752" y="312"/>
                    <a:pt x="753" y="310"/>
                    <a:pt x="752" y="307"/>
                  </a:cubicBezTo>
                  <a:cubicBezTo>
                    <a:pt x="750" y="305"/>
                    <a:pt x="747" y="303"/>
                    <a:pt x="745" y="303"/>
                  </a:cubicBezTo>
                  <a:cubicBezTo>
                    <a:pt x="744" y="303"/>
                    <a:pt x="742" y="303"/>
                    <a:pt x="741" y="304"/>
                  </a:cubicBezTo>
                  <a:cubicBezTo>
                    <a:pt x="740" y="305"/>
                    <a:pt x="738" y="306"/>
                    <a:pt x="738" y="307"/>
                  </a:cubicBezTo>
                  <a:cubicBezTo>
                    <a:pt x="738" y="307"/>
                    <a:pt x="738" y="307"/>
                    <a:pt x="738" y="307"/>
                  </a:cubicBezTo>
                  <a:cubicBezTo>
                    <a:pt x="738" y="307"/>
                    <a:pt x="738" y="307"/>
                    <a:pt x="737" y="307"/>
                  </a:cubicBezTo>
                  <a:cubicBezTo>
                    <a:pt x="732" y="307"/>
                    <a:pt x="656" y="287"/>
                    <a:pt x="657" y="284"/>
                  </a:cubicBezTo>
                  <a:cubicBezTo>
                    <a:pt x="657" y="285"/>
                    <a:pt x="657" y="285"/>
                    <a:pt x="657" y="285"/>
                  </a:cubicBezTo>
                  <a:cubicBezTo>
                    <a:pt x="657" y="284"/>
                    <a:pt x="657" y="283"/>
                    <a:pt x="657" y="283"/>
                  </a:cubicBezTo>
                  <a:cubicBezTo>
                    <a:pt x="657" y="280"/>
                    <a:pt x="656" y="278"/>
                    <a:pt x="655" y="275"/>
                  </a:cubicBezTo>
                  <a:cubicBezTo>
                    <a:pt x="653" y="273"/>
                    <a:pt x="710" y="233"/>
                    <a:pt x="712" y="233"/>
                  </a:cubicBezTo>
                  <a:cubicBezTo>
                    <a:pt x="712" y="233"/>
                    <a:pt x="712" y="233"/>
                    <a:pt x="712" y="233"/>
                  </a:cubicBezTo>
                  <a:cubicBezTo>
                    <a:pt x="712" y="233"/>
                    <a:pt x="712" y="233"/>
                    <a:pt x="712" y="233"/>
                  </a:cubicBezTo>
                  <a:cubicBezTo>
                    <a:pt x="714" y="234"/>
                    <a:pt x="716" y="235"/>
                    <a:pt x="718" y="235"/>
                  </a:cubicBezTo>
                  <a:cubicBezTo>
                    <a:pt x="719" y="235"/>
                    <a:pt x="720" y="235"/>
                    <a:pt x="721" y="234"/>
                  </a:cubicBezTo>
                  <a:cubicBezTo>
                    <a:pt x="725" y="233"/>
                    <a:pt x="726" y="228"/>
                    <a:pt x="724" y="225"/>
                  </a:cubicBezTo>
                  <a:cubicBezTo>
                    <a:pt x="723" y="222"/>
                    <a:pt x="720" y="220"/>
                    <a:pt x="718" y="220"/>
                  </a:cubicBezTo>
                  <a:cubicBezTo>
                    <a:pt x="716" y="220"/>
                    <a:pt x="715" y="221"/>
                    <a:pt x="714" y="221"/>
                  </a:cubicBezTo>
                  <a:cubicBezTo>
                    <a:pt x="713" y="222"/>
                    <a:pt x="713" y="222"/>
                    <a:pt x="713" y="222"/>
                  </a:cubicBezTo>
                  <a:cubicBezTo>
                    <a:pt x="713" y="222"/>
                    <a:pt x="713" y="222"/>
                    <a:pt x="713" y="222"/>
                  </a:cubicBezTo>
                  <a:cubicBezTo>
                    <a:pt x="713" y="222"/>
                    <a:pt x="713" y="222"/>
                    <a:pt x="713" y="222"/>
                  </a:cubicBezTo>
                  <a:cubicBezTo>
                    <a:pt x="713" y="222"/>
                    <a:pt x="711" y="220"/>
                    <a:pt x="708" y="218"/>
                  </a:cubicBezTo>
                  <a:cubicBezTo>
                    <a:pt x="735" y="191"/>
                    <a:pt x="763" y="165"/>
                    <a:pt x="764" y="165"/>
                  </a:cubicBezTo>
                  <a:cubicBezTo>
                    <a:pt x="764" y="165"/>
                    <a:pt x="764" y="165"/>
                    <a:pt x="764" y="165"/>
                  </a:cubicBezTo>
                  <a:cubicBezTo>
                    <a:pt x="764" y="165"/>
                    <a:pt x="764" y="165"/>
                    <a:pt x="764" y="165"/>
                  </a:cubicBezTo>
                  <a:cubicBezTo>
                    <a:pt x="765" y="166"/>
                    <a:pt x="767" y="167"/>
                    <a:pt x="768" y="167"/>
                  </a:cubicBezTo>
                  <a:cubicBezTo>
                    <a:pt x="769" y="167"/>
                    <a:pt x="769" y="167"/>
                    <a:pt x="770" y="166"/>
                  </a:cubicBezTo>
                  <a:cubicBezTo>
                    <a:pt x="770" y="167"/>
                    <a:pt x="770" y="167"/>
                    <a:pt x="770" y="167"/>
                  </a:cubicBezTo>
                  <a:cubicBezTo>
                    <a:pt x="770" y="167"/>
                    <a:pt x="770" y="167"/>
                    <a:pt x="770" y="167"/>
                  </a:cubicBezTo>
                  <a:cubicBezTo>
                    <a:pt x="772" y="167"/>
                    <a:pt x="805" y="248"/>
                    <a:pt x="802" y="250"/>
                  </a:cubicBezTo>
                  <a:cubicBezTo>
                    <a:pt x="802" y="250"/>
                    <a:pt x="802" y="250"/>
                    <a:pt x="802" y="250"/>
                  </a:cubicBezTo>
                  <a:cubicBezTo>
                    <a:pt x="793" y="254"/>
                    <a:pt x="790" y="265"/>
                    <a:pt x="794" y="273"/>
                  </a:cubicBezTo>
                  <a:cubicBezTo>
                    <a:pt x="797" y="280"/>
                    <a:pt x="804" y="284"/>
                    <a:pt x="811" y="284"/>
                  </a:cubicBezTo>
                  <a:cubicBezTo>
                    <a:pt x="814" y="284"/>
                    <a:pt x="817" y="283"/>
                    <a:pt x="819" y="282"/>
                  </a:cubicBezTo>
                  <a:cubicBezTo>
                    <a:pt x="829" y="278"/>
                    <a:pt x="833" y="267"/>
                    <a:pt x="828" y="258"/>
                  </a:cubicBezTo>
                  <a:cubicBezTo>
                    <a:pt x="827" y="255"/>
                    <a:pt x="825" y="253"/>
                    <a:pt x="822" y="251"/>
                  </a:cubicBezTo>
                  <a:cubicBezTo>
                    <a:pt x="823" y="251"/>
                    <a:pt x="823" y="251"/>
                    <a:pt x="823" y="251"/>
                  </a:cubicBezTo>
                  <a:cubicBezTo>
                    <a:pt x="820" y="249"/>
                    <a:pt x="844" y="209"/>
                    <a:pt x="845" y="209"/>
                  </a:cubicBezTo>
                  <a:cubicBezTo>
                    <a:pt x="845" y="209"/>
                    <a:pt x="845" y="209"/>
                    <a:pt x="845" y="209"/>
                  </a:cubicBezTo>
                  <a:cubicBezTo>
                    <a:pt x="845" y="209"/>
                    <a:pt x="845" y="209"/>
                    <a:pt x="845" y="209"/>
                  </a:cubicBezTo>
                  <a:cubicBezTo>
                    <a:pt x="846" y="209"/>
                    <a:pt x="847" y="209"/>
                    <a:pt x="848" y="209"/>
                  </a:cubicBezTo>
                  <a:cubicBezTo>
                    <a:pt x="849" y="209"/>
                    <a:pt x="850" y="209"/>
                    <a:pt x="851" y="208"/>
                  </a:cubicBezTo>
                  <a:cubicBezTo>
                    <a:pt x="855" y="207"/>
                    <a:pt x="857" y="202"/>
                    <a:pt x="855" y="199"/>
                  </a:cubicBezTo>
                  <a:cubicBezTo>
                    <a:pt x="854" y="197"/>
                    <a:pt x="852" y="195"/>
                    <a:pt x="850" y="195"/>
                  </a:cubicBezTo>
                  <a:cubicBezTo>
                    <a:pt x="850" y="195"/>
                    <a:pt x="850" y="195"/>
                    <a:pt x="850" y="195"/>
                  </a:cubicBezTo>
                  <a:cubicBezTo>
                    <a:pt x="849" y="194"/>
                    <a:pt x="852" y="155"/>
                    <a:pt x="856" y="155"/>
                  </a:cubicBezTo>
                  <a:cubicBezTo>
                    <a:pt x="856" y="155"/>
                    <a:pt x="856" y="155"/>
                    <a:pt x="856" y="155"/>
                  </a:cubicBezTo>
                  <a:cubicBezTo>
                    <a:pt x="859" y="155"/>
                    <a:pt x="862" y="154"/>
                    <a:pt x="864" y="153"/>
                  </a:cubicBezTo>
                  <a:cubicBezTo>
                    <a:pt x="864" y="153"/>
                    <a:pt x="864" y="153"/>
                    <a:pt x="864" y="153"/>
                  </a:cubicBezTo>
                  <a:cubicBezTo>
                    <a:pt x="864" y="153"/>
                    <a:pt x="864" y="153"/>
                    <a:pt x="864" y="153"/>
                  </a:cubicBezTo>
                  <a:cubicBezTo>
                    <a:pt x="869" y="153"/>
                    <a:pt x="917" y="215"/>
                    <a:pt x="914" y="217"/>
                  </a:cubicBezTo>
                  <a:cubicBezTo>
                    <a:pt x="915" y="217"/>
                    <a:pt x="915" y="217"/>
                    <a:pt x="915" y="217"/>
                  </a:cubicBezTo>
                  <a:cubicBezTo>
                    <a:pt x="910" y="222"/>
                    <a:pt x="909" y="228"/>
                    <a:pt x="912" y="234"/>
                  </a:cubicBezTo>
                  <a:cubicBezTo>
                    <a:pt x="913" y="236"/>
                    <a:pt x="914" y="238"/>
                    <a:pt x="916" y="239"/>
                  </a:cubicBezTo>
                  <a:cubicBezTo>
                    <a:pt x="915" y="239"/>
                    <a:pt x="915" y="239"/>
                    <a:pt x="915" y="239"/>
                  </a:cubicBezTo>
                  <a:cubicBezTo>
                    <a:pt x="918" y="241"/>
                    <a:pt x="860" y="330"/>
                    <a:pt x="858" y="330"/>
                  </a:cubicBezTo>
                  <a:cubicBezTo>
                    <a:pt x="858" y="330"/>
                    <a:pt x="858" y="330"/>
                    <a:pt x="858" y="330"/>
                  </a:cubicBezTo>
                  <a:cubicBezTo>
                    <a:pt x="858" y="330"/>
                    <a:pt x="858" y="330"/>
                    <a:pt x="858" y="330"/>
                  </a:cubicBezTo>
                  <a:cubicBezTo>
                    <a:pt x="857" y="329"/>
                    <a:pt x="856" y="329"/>
                    <a:pt x="855" y="329"/>
                  </a:cubicBezTo>
                  <a:cubicBezTo>
                    <a:pt x="854" y="329"/>
                    <a:pt x="853" y="329"/>
                    <a:pt x="852" y="330"/>
                  </a:cubicBezTo>
                  <a:cubicBezTo>
                    <a:pt x="848" y="332"/>
                    <a:pt x="847" y="336"/>
                    <a:pt x="848" y="340"/>
                  </a:cubicBezTo>
                  <a:cubicBezTo>
                    <a:pt x="850" y="342"/>
                    <a:pt x="852" y="344"/>
                    <a:pt x="855" y="344"/>
                  </a:cubicBezTo>
                  <a:cubicBezTo>
                    <a:pt x="856" y="344"/>
                    <a:pt x="858" y="344"/>
                    <a:pt x="859" y="343"/>
                  </a:cubicBezTo>
                  <a:cubicBezTo>
                    <a:pt x="860" y="343"/>
                    <a:pt x="861" y="342"/>
                    <a:pt x="862" y="341"/>
                  </a:cubicBezTo>
                  <a:cubicBezTo>
                    <a:pt x="862" y="341"/>
                    <a:pt x="862" y="341"/>
                    <a:pt x="862" y="341"/>
                  </a:cubicBezTo>
                  <a:cubicBezTo>
                    <a:pt x="862" y="341"/>
                    <a:pt x="862" y="341"/>
                    <a:pt x="862" y="341"/>
                  </a:cubicBezTo>
                  <a:cubicBezTo>
                    <a:pt x="863" y="341"/>
                    <a:pt x="873" y="344"/>
                    <a:pt x="884" y="349"/>
                  </a:cubicBezTo>
                  <a:cubicBezTo>
                    <a:pt x="872" y="344"/>
                    <a:pt x="863" y="339"/>
                    <a:pt x="863" y="338"/>
                  </a:cubicBezTo>
                  <a:cubicBezTo>
                    <a:pt x="863" y="338"/>
                    <a:pt x="863" y="338"/>
                    <a:pt x="863" y="338"/>
                  </a:cubicBezTo>
                  <a:cubicBezTo>
                    <a:pt x="863" y="337"/>
                    <a:pt x="863" y="335"/>
                    <a:pt x="862" y="333"/>
                  </a:cubicBezTo>
                  <a:cubicBezTo>
                    <a:pt x="862" y="332"/>
                    <a:pt x="861" y="332"/>
                    <a:pt x="860" y="331"/>
                  </a:cubicBezTo>
                  <a:cubicBezTo>
                    <a:pt x="860" y="331"/>
                    <a:pt x="860" y="331"/>
                    <a:pt x="860" y="331"/>
                  </a:cubicBezTo>
                  <a:cubicBezTo>
                    <a:pt x="859" y="330"/>
                    <a:pt x="916" y="241"/>
                    <a:pt x="919" y="241"/>
                  </a:cubicBezTo>
                  <a:cubicBezTo>
                    <a:pt x="919" y="241"/>
                    <a:pt x="919" y="241"/>
                    <a:pt x="919" y="241"/>
                  </a:cubicBezTo>
                  <a:cubicBezTo>
                    <a:pt x="919" y="241"/>
                    <a:pt x="919" y="241"/>
                    <a:pt x="919" y="241"/>
                  </a:cubicBezTo>
                  <a:cubicBezTo>
                    <a:pt x="921" y="242"/>
                    <a:pt x="923" y="242"/>
                    <a:pt x="925" y="242"/>
                  </a:cubicBezTo>
                  <a:cubicBezTo>
                    <a:pt x="928" y="242"/>
                    <a:pt x="930" y="242"/>
                    <a:pt x="932" y="241"/>
                  </a:cubicBezTo>
                  <a:cubicBezTo>
                    <a:pt x="939" y="238"/>
                    <a:pt x="942" y="230"/>
                    <a:pt x="940" y="223"/>
                  </a:cubicBezTo>
                  <a:cubicBezTo>
                    <a:pt x="940" y="223"/>
                    <a:pt x="940" y="223"/>
                    <a:pt x="940" y="223"/>
                  </a:cubicBezTo>
                  <a:cubicBezTo>
                    <a:pt x="939" y="220"/>
                    <a:pt x="990" y="192"/>
                    <a:pt x="999" y="192"/>
                  </a:cubicBezTo>
                  <a:cubicBezTo>
                    <a:pt x="999" y="192"/>
                    <a:pt x="999" y="192"/>
                    <a:pt x="1000" y="192"/>
                  </a:cubicBezTo>
                  <a:cubicBezTo>
                    <a:pt x="1000" y="192"/>
                    <a:pt x="1000" y="192"/>
                    <a:pt x="1000" y="192"/>
                  </a:cubicBezTo>
                  <a:cubicBezTo>
                    <a:pt x="1003" y="196"/>
                    <a:pt x="1008" y="200"/>
                    <a:pt x="1013" y="201"/>
                  </a:cubicBezTo>
                  <a:cubicBezTo>
                    <a:pt x="1013" y="201"/>
                    <a:pt x="1013" y="201"/>
                    <a:pt x="1013" y="201"/>
                  </a:cubicBezTo>
                  <a:cubicBezTo>
                    <a:pt x="1018" y="202"/>
                    <a:pt x="1008" y="276"/>
                    <a:pt x="1004" y="276"/>
                  </a:cubicBezTo>
                  <a:cubicBezTo>
                    <a:pt x="1004" y="276"/>
                    <a:pt x="1004" y="276"/>
                    <a:pt x="1004" y="276"/>
                  </a:cubicBezTo>
                  <a:cubicBezTo>
                    <a:pt x="993" y="277"/>
                    <a:pt x="984" y="286"/>
                    <a:pt x="984" y="297"/>
                  </a:cubicBezTo>
                  <a:cubicBezTo>
                    <a:pt x="984" y="308"/>
                    <a:pt x="994" y="317"/>
                    <a:pt x="1005" y="317"/>
                  </a:cubicBezTo>
                  <a:cubicBezTo>
                    <a:pt x="1017" y="317"/>
                    <a:pt x="1026" y="308"/>
                    <a:pt x="1026" y="297"/>
                  </a:cubicBezTo>
                  <a:cubicBezTo>
                    <a:pt x="1026" y="295"/>
                    <a:pt x="1026" y="293"/>
                    <a:pt x="1025" y="291"/>
                  </a:cubicBezTo>
                  <a:cubicBezTo>
                    <a:pt x="1025" y="291"/>
                    <a:pt x="1025" y="291"/>
                    <a:pt x="1025" y="291"/>
                  </a:cubicBezTo>
                  <a:cubicBezTo>
                    <a:pt x="1024" y="287"/>
                    <a:pt x="1073" y="268"/>
                    <a:pt x="1076" y="268"/>
                  </a:cubicBezTo>
                  <a:cubicBezTo>
                    <a:pt x="1076" y="268"/>
                    <a:pt x="1076" y="268"/>
                    <a:pt x="1076" y="268"/>
                  </a:cubicBezTo>
                  <a:cubicBezTo>
                    <a:pt x="1076" y="268"/>
                    <a:pt x="1076" y="268"/>
                    <a:pt x="1076" y="268"/>
                  </a:cubicBezTo>
                  <a:cubicBezTo>
                    <a:pt x="1078" y="270"/>
                    <a:pt x="1080" y="271"/>
                    <a:pt x="1083" y="271"/>
                  </a:cubicBezTo>
                  <a:cubicBezTo>
                    <a:pt x="1083" y="271"/>
                    <a:pt x="1084" y="271"/>
                    <a:pt x="1085" y="271"/>
                  </a:cubicBezTo>
                  <a:cubicBezTo>
                    <a:pt x="1085" y="271"/>
                    <a:pt x="1085" y="271"/>
                    <a:pt x="1085" y="271"/>
                  </a:cubicBezTo>
                  <a:cubicBezTo>
                    <a:pt x="1085" y="271"/>
                    <a:pt x="1085" y="271"/>
                    <a:pt x="1085" y="271"/>
                  </a:cubicBezTo>
                  <a:cubicBezTo>
                    <a:pt x="1085" y="271"/>
                    <a:pt x="1090" y="279"/>
                    <a:pt x="1095" y="290"/>
                  </a:cubicBezTo>
                  <a:cubicBezTo>
                    <a:pt x="1090" y="279"/>
                    <a:pt x="1087" y="270"/>
                    <a:pt x="1087" y="270"/>
                  </a:cubicBezTo>
                  <a:cubicBezTo>
                    <a:pt x="1087" y="270"/>
                    <a:pt x="1087" y="270"/>
                    <a:pt x="1087" y="270"/>
                  </a:cubicBezTo>
                  <a:cubicBezTo>
                    <a:pt x="1090" y="268"/>
                    <a:pt x="1091" y="264"/>
                    <a:pt x="1090" y="261"/>
                  </a:cubicBezTo>
                  <a:cubicBezTo>
                    <a:pt x="1088" y="258"/>
                    <a:pt x="1086" y="257"/>
                    <a:pt x="1083" y="257"/>
                  </a:cubicBezTo>
                  <a:cubicBezTo>
                    <a:pt x="1082" y="257"/>
                    <a:pt x="1080" y="257"/>
                    <a:pt x="1079" y="257"/>
                  </a:cubicBezTo>
                  <a:cubicBezTo>
                    <a:pt x="1076" y="259"/>
                    <a:pt x="1074" y="262"/>
                    <a:pt x="1075" y="266"/>
                  </a:cubicBezTo>
                  <a:cubicBezTo>
                    <a:pt x="1075" y="266"/>
                    <a:pt x="1075" y="266"/>
                    <a:pt x="1075" y="266"/>
                  </a:cubicBezTo>
                  <a:cubicBezTo>
                    <a:pt x="1076" y="267"/>
                    <a:pt x="1032" y="286"/>
                    <a:pt x="1024" y="286"/>
                  </a:cubicBezTo>
                  <a:cubicBezTo>
                    <a:pt x="1024" y="286"/>
                    <a:pt x="1023" y="286"/>
                    <a:pt x="1023" y="286"/>
                  </a:cubicBezTo>
                  <a:cubicBezTo>
                    <a:pt x="1023" y="286"/>
                    <a:pt x="1023" y="286"/>
                    <a:pt x="1023" y="286"/>
                  </a:cubicBezTo>
                  <a:cubicBezTo>
                    <a:pt x="1020" y="282"/>
                    <a:pt x="1016" y="279"/>
                    <a:pt x="1011" y="277"/>
                  </a:cubicBezTo>
                  <a:cubicBezTo>
                    <a:pt x="1011" y="277"/>
                    <a:pt x="1011" y="277"/>
                    <a:pt x="1011" y="277"/>
                  </a:cubicBezTo>
                  <a:cubicBezTo>
                    <a:pt x="1007" y="276"/>
                    <a:pt x="1016" y="202"/>
                    <a:pt x="1021" y="202"/>
                  </a:cubicBezTo>
                  <a:cubicBezTo>
                    <a:pt x="1021" y="202"/>
                    <a:pt x="1021" y="202"/>
                    <a:pt x="1021" y="202"/>
                  </a:cubicBezTo>
                  <a:cubicBezTo>
                    <a:pt x="1031" y="201"/>
                    <a:pt x="1040" y="195"/>
                    <a:pt x="1044" y="186"/>
                  </a:cubicBezTo>
                  <a:cubicBezTo>
                    <a:pt x="1044" y="184"/>
                    <a:pt x="1046" y="184"/>
                    <a:pt x="1048" y="184"/>
                  </a:cubicBezTo>
                  <a:cubicBezTo>
                    <a:pt x="1048" y="184"/>
                    <a:pt x="1048" y="184"/>
                    <a:pt x="1048" y="184"/>
                  </a:cubicBezTo>
                  <a:cubicBezTo>
                    <a:pt x="1046" y="183"/>
                    <a:pt x="1045" y="182"/>
                    <a:pt x="1045" y="180"/>
                  </a:cubicBezTo>
                  <a:cubicBezTo>
                    <a:pt x="1045" y="180"/>
                    <a:pt x="1045" y="180"/>
                    <a:pt x="1045" y="180"/>
                  </a:cubicBezTo>
                  <a:cubicBezTo>
                    <a:pt x="1045" y="179"/>
                    <a:pt x="1045" y="178"/>
                    <a:pt x="1045" y="178"/>
                  </a:cubicBezTo>
                  <a:cubicBezTo>
                    <a:pt x="1045" y="172"/>
                    <a:pt x="1043" y="167"/>
                    <a:pt x="1040" y="163"/>
                  </a:cubicBezTo>
                  <a:cubicBezTo>
                    <a:pt x="1040" y="163"/>
                    <a:pt x="1040" y="163"/>
                    <a:pt x="1040" y="163"/>
                  </a:cubicBezTo>
                  <a:cubicBezTo>
                    <a:pt x="1037" y="159"/>
                    <a:pt x="1115" y="80"/>
                    <a:pt x="1121" y="78"/>
                  </a:cubicBezTo>
                  <a:cubicBezTo>
                    <a:pt x="1120" y="84"/>
                    <a:pt x="1068" y="180"/>
                    <a:pt x="1067" y="180"/>
                  </a:cubicBezTo>
                  <a:cubicBezTo>
                    <a:pt x="1067" y="180"/>
                    <a:pt x="1067" y="180"/>
                    <a:pt x="1067" y="180"/>
                  </a:cubicBezTo>
                  <a:cubicBezTo>
                    <a:pt x="1067" y="180"/>
                    <a:pt x="1067" y="180"/>
                    <a:pt x="1067" y="180"/>
                  </a:cubicBezTo>
                  <a:cubicBezTo>
                    <a:pt x="1066" y="180"/>
                    <a:pt x="1065" y="180"/>
                    <a:pt x="1064" y="180"/>
                  </a:cubicBezTo>
                  <a:cubicBezTo>
                    <a:pt x="1061" y="180"/>
                    <a:pt x="1059" y="182"/>
                    <a:pt x="1058" y="184"/>
                  </a:cubicBezTo>
                  <a:cubicBezTo>
                    <a:pt x="1058" y="184"/>
                    <a:pt x="1058" y="184"/>
                    <a:pt x="1058" y="184"/>
                  </a:cubicBezTo>
                  <a:cubicBezTo>
                    <a:pt x="1057" y="185"/>
                    <a:pt x="1056" y="185"/>
                    <a:pt x="1055" y="185"/>
                  </a:cubicBezTo>
                  <a:cubicBezTo>
                    <a:pt x="1054" y="185"/>
                    <a:pt x="1054" y="185"/>
                    <a:pt x="1053" y="185"/>
                  </a:cubicBezTo>
                  <a:cubicBezTo>
                    <a:pt x="1055" y="186"/>
                    <a:pt x="1057" y="187"/>
                    <a:pt x="1057" y="187"/>
                  </a:cubicBezTo>
                  <a:cubicBezTo>
                    <a:pt x="1057" y="187"/>
                    <a:pt x="1057" y="187"/>
                    <a:pt x="1057" y="187"/>
                  </a:cubicBezTo>
                  <a:cubicBezTo>
                    <a:pt x="1057" y="187"/>
                    <a:pt x="1057" y="187"/>
                    <a:pt x="1057" y="187"/>
                  </a:cubicBezTo>
                  <a:cubicBezTo>
                    <a:pt x="1057" y="191"/>
                    <a:pt x="1060" y="195"/>
                    <a:pt x="1064" y="195"/>
                  </a:cubicBezTo>
                  <a:cubicBezTo>
                    <a:pt x="1066" y="195"/>
                    <a:pt x="1067" y="194"/>
                    <a:pt x="1069" y="194"/>
                  </a:cubicBezTo>
                  <a:cubicBezTo>
                    <a:pt x="1069" y="194"/>
                    <a:pt x="1069" y="194"/>
                    <a:pt x="1069" y="194"/>
                  </a:cubicBezTo>
                  <a:cubicBezTo>
                    <a:pt x="1069" y="194"/>
                    <a:pt x="1069" y="194"/>
                    <a:pt x="1069" y="194"/>
                  </a:cubicBezTo>
                  <a:cubicBezTo>
                    <a:pt x="1070" y="194"/>
                    <a:pt x="1093" y="219"/>
                    <a:pt x="1093" y="220"/>
                  </a:cubicBezTo>
                  <a:cubicBezTo>
                    <a:pt x="1093" y="220"/>
                    <a:pt x="1093" y="220"/>
                    <a:pt x="1093" y="220"/>
                  </a:cubicBezTo>
                  <a:cubicBezTo>
                    <a:pt x="1092" y="221"/>
                    <a:pt x="1091" y="222"/>
                    <a:pt x="1092" y="224"/>
                  </a:cubicBezTo>
                  <a:cubicBezTo>
                    <a:pt x="1093" y="225"/>
                    <a:pt x="1094" y="226"/>
                    <a:pt x="1096" y="226"/>
                  </a:cubicBezTo>
                  <a:cubicBezTo>
                    <a:pt x="1096" y="226"/>
                    <a:pt x="1097" y="226"/>
                    <a:pt x="1097" y="226"/>
                  </a:cubicBezTo>
                  <a:cubicBezTo>
                    <a:pt x="1099" y="225"/>
                    <a:pt x="1100" y="222"/>
                    <a:pt x="1099" y="221"/>
                  </a:cubicBezTo>
                  <a:cubicBezTo>
                    <a:pt x="1099" y="220"/>
                    <a:pt x="1099" y="220"/>
                    <a:pt x="1099" y="220"/>
                  </a:cubicBezTo>
                  <a:cubicBezTo>
                    <a:pt x="1099" y="220"/>
                    <a:pt x="1099" y="220"/>
                    <a:pt x="1099" y="220"/>
                  </a:cubicBezTo>
                  <a:cubicBezTo>
                    <a:pt x="1099" y="220"/>
                    <a:pt x="1130" y="196"/>
                    <a:pt x="1132" y="196"/>
                  </a:cubicBezTo>
                  <a:cubicBezTo>
                    <a:pt x="1132" y="196"/>
                    <a:pt x="1132" y="196"/>
                    <a:pt x="1132" y="196"/>
                  </a:cubicBezTo>
                  <a:cubicBezTo>
                    <a:pt x="1132" y="196"/>
                    <a:pt x="1132" y="196"/>
                    <a:pt x="1132" y="196"/>
                  </a:cubicBezTo>
                  <a:cubicBezTo>
                    <a:pt x="1133" y="197"/>
                    <a:pt x="1134" y="197"/>
                    <a:pt x="1136" y="197"/>
                  </a:cubicBezTo>
                  <a:cubicBezTo>
                    <a:pt x="1136" y="197"/>
                    <a:pt x="1137" y="197"/>
                    <a:pt x="1138" y="197"/>
                  </a:cubicBezTo>
                  <a:cubicBezTo>
                    <a:pt x="1138" y="197"/>
                    <a:pt x="1138" y="197"/>
                    <a:pt x="1138" y="197"/>
                  </a:cubicBezTo>
                  <a:cubicBezTo>
                    <a:pt x="1138" y="197"/>
                    <a:pt x="1138" y="197"/>
                    <a:pt x="1138" y="197"/>
                  </a:cubicBezTo>
                  <a:cubicBezTo>
                    <a:pt x="1139" y="197"/>
                    <a:pt x="1171" y="245"/>
                    <a:pt x="1169" y="247"/>
                  </a:cubicBezTo>
                  <a:cubicBezTo>
                    <a:pt x="1169" y="247"/>
                    <a:pt x="1169" y="247"/>
                    <a:pt x="1169" y="247"/>
                  </a:cubicBezTo>
                  <a:cubicBezTo>
                    <a:pt x="1164" y="251"/>
                    <a:pt x="1162" y="258"/>
                    <a:pt x="1165" y="264"/>
                  </a:cubicBezTo>
                  <a:cubicBezTo>
                    <a:pt x="1168" y="269"/>
                    <a:pt x="1173" y="272"/>
                    <a:pt x="1179" y="272"/>
                  </a:cubicBezTo>
                  <a:cubicBezTo>
                    <a:pt x="1181" y="272"/>
                    <a:pt x="1183" y="272"/>
                    <a:pt x="1185" y="271"/>
                  </a:cubicBezTo>
                  <a:cubicBezTo>
                    <a:pt x="1193" y="268"/>
                    <a:pt x="1196" y="259"/>
                    <a:pt x="1192" y="252"/>
                  </a:cubicBezTo>
                  <a:cubicBezTo>
                    <a:pt x="1190" y="246"/>
                    <a:pt x="1184" y="243"/>
                    <a:pt x="1179" y="243"/>
                  </a:cubicBezTo>
                  <a:cubicBezTo>
                    <a:pt x="1177" y="243"/>
                    <a:pt x="1175" y="244"/>
                    <a:pt x="1173" y="245"/>
                  </a:cubicBezTo>
                  <a:cubicBezTo>
                    <a:pt x="1173" y="245"/>
                    <a:pt x="1173" y="245"/>
                    <a:pt x="1173" y="245"/>
                  </a:cubicBezTo>
                  <a:cubicBezTo>
                    <a:pt x="1173" y="245"/>
                    <a:pt x="1173" y="245"/>
                    <a:pt x="1173" y="245"/>
                  </a:cubicBezTo>
                  <a:cubicBezTo>
                    <a:pt x="1169" y="245"/>
                    <a:pt x="1138" y="197"/>
                    <a:pt x="1139" y="196"/>
                  </a:cubicBezTo>
                  <a:cubicBezTo>
                    <a:pt x="1139" y="196"/>
                    <a:pt x="1139" y="196"/>
                    <a:pt x="1139" y="196"/>
                  </a:cubicBezTo>
                  <a:cubicBezTo>
                    <a:pt x="1140" y="195"/>
                    <a:pt x="1141" y="194"/>
                    <a:pt x="1141" y="192"/>
                  </a:cubicBezTo>
                  <a:cubicBezTo>
                    <a:pt x="1141" y="190"/>
                    <a:pt x="1139" y="187"/>
                    <a:pt x="1136" y="187"/>
                  </a:cubicBezTo>
                  <a:cubicBezTo>
                    <a:pt x="1133" y="187"/>
                    <a:pt x="1131" y="189"/>
                    <a:pt x="1131" y="191"/>
                  </a:cubicBezTo>
                  <a:cubicBezTo>
                    <a:pt x="1131" y="191"/>
                    <a:pt x="1131" y="191"/>
                    <a:pt x="1131" y="191"/>
                  </a:cubicBezTo>
                  <a:cubicBezTo>
                    <a:pt x="1131" y="191"/>
                    <a:pt x="1130" y="191"/>
                    <a:pt x="1129" y="191"/>
                  </a:cubicBezTo>
                  <a:cubicBezTo>
                    <a:pt x="1119" y="191"/>
                    <a:pt x="1072" y="188"/>
                    <a:pt x="1072" y="187"/>
                  </a:cubicBezTo>
                  <a:cubicBezTo>
                    <a:pt x="1072" y="187"/>
                    <a:pt x="1072" y="187"/>
                    <a:pt x="1072" y="187"/>
                  </a:cubicBezTo>
                  <a:cubicBezTo>
                    <a:pt x="1072" y="185"/>
                    <a:pt x="1071" y="183"/>
                    <a:pt x="1069" y="181"/>
                  </a:cubicBezTo>
                  <a:cubicBezTo>
                    <a:pt x="1069" y="182"/>
                    <a:pt x="1069" y="182"/>
                    <a:pt x="1069" y="182"/>
                  </a:cubicBezTo>
                  <a:cubicBezTo>
                    <a:pt x="1068" y="181"/>
                    <a:pt x="1122" y="80"/>
                    <a:pt x="1125" y="80"/>
                  </a:cubicBezTo>
                  <a:cubicBezTo>
                    <a:pt x="1125" y="80"/>
                    <a:pt x="1125" y="80"/>
                    <a:pt x="1125" y="80"/>
                  </a:cubicBezTo>
                  <a:cubicBezTo>
                    <a:pt x="1125" y="80"/>
                    <a:pt x="1125" y="80"/>
                    <a:pt x="1125" y="80"/>
                  </a:cubicBezTo>
                  <a:cubicBezTo>
                    <a:pt x="1126" y="80"/>
                    <a:pt x="1127" y="80"/>
                    <a:pt x="1129" y="80"/>
                  </a:cubicBezTo>
                  <a:cubicBezTo>
                    <a:pt x="1129" y="80"/>
                    <a:pt x="1130" y="80"/>
                    <a:pt x="1130" y="80"/>
                  </a:cubicBezTo>
                  <a:cubicBezTo>
                    <a:pt x="1130" y="80"/>
                    <a:pt x="1130" y="80"/>
                    <a:pt x="1130" y="80"/>
                  </a:cubicBezTo>
                  <a:cubicBezTo>
                    <a:pt x="1130" y="80"/>
                    <a:pt x="1130" y="80"/>
                    <a:pt x="1130" y="80"/>
                  </a:cubicBezTo>
                  <a:cubicBezTo>
                    <a:pt x="1133" y="80"/>
                    <a:pt x="1146" y="135"/>
                    <a:pt x="1143" y="136"/>
                  </a:cubicBezTo>
                  <a:cubicBezTo>
                    <a:pt x="1143" y="136"/>
                    <a:pt x="1143" y="136"/>
                    <a:pt x="1143" y="136"/>
                  </a:cubicBezTo>
                  <a:cubicBezTo>
                    <a:pt x="1143" y="136"/>
                    <a:pt x="1142" y="136"/>
                    <a:pt x="1142" y="137"/>
                  </a:cubicBezTo>
                  <a:cubicBezTo>
                    <a:pt x="1133" y="141"/>
                    <a:pt x="1129" y="151"/>
                    <a:pt x="1133" y="160"/>
                  </a:cubicBezTo>
                  <a:cubicBezTo>
                    <a:pt x="1136" y="167"/>
                    <a:pt x="1143" y="171"/>
                    <a:pt x="1150" y="171"/>
                  </a:cubicBezTo>
                  <a:cubicBezTo>
                    <a:pt x="1153" y="171"/>
                    <a:pt x="1155" y="170"/>
                    <a:pt x="1158" y="169"/>
                  </a:cubicBezTo>
                  <a:cubicBezTo>
                    <a:pt x="1161" y="168"/>
                    <a:pt x="1163" y="166"/>
                    <a:pt x="1164" y="164"/>
                  </a:cubicBezTo>
                  <a:cubicBezTo>
                    <a:pt x="1164" y="164"/>
                    <a:pt x="1164" y="164"/>
                    <a:pt x="1164" y="164"/>
                  </a:cubicBezTo>
                  <a:cubicBezTo>
                    <a:pt x="1164" y="164"/>
                    <a:pt x="1165" y="164"/>
                    <a:pt x="1165" y="164"/>
                  </a:cubicBezTo>
                  <a:cubicBezTo>
                    <a:pt x="1171" y="164"/>
                    <a:pt x="1256" y="212"/>
                    <a:pt x="1254" y="217"/>
                  </a:cubicBezTo>
                  <a:cubicBezTo>
                    <a:pt x="1253" y="220"/>
                    <a:pt x="1252" y="224"/>
                    <a:pt x="1252" y="228"/>
                  </a:cubicBezTo>
                  <a:cubicBezTo>
                    <a:pt x="1252" y="233"/>
                    <a:pt x="1254" y="238"/>
                    <a:pt x="1257" y="243"/>
                  </a:cubicBezTo>
                  <a:cubicBezTo>
                    <a:pt x="1257" y="243"/>
                    <a:pt x="1257" y="243"/>
                    <a:pt x="1257" y="243"/>
                  </a:cubicBezTo>
                  <a:cubicBezTo>
                    <a:pt x="1259" y="247"/>
                    <a:pt x="1178" y="318"/>
                    <a:pt x="1154" y="334"/>
                  </a:cubicBezTo>
                  <a:cubicBezTo>
                    <a:pt x="1151" y="326"/>
                    <a:pt x="1143" y="320"/>
                    <a:pt x="1134" y="320"/>
                  </a:cubicBezTo>
                  <a:cubicBezTo>
                    <a:pt x="1126" y="320"/>
                    <a:pt x="1120" y="324"/>
                    <a:pt x="1116" y="329"/>
                  </a:cubicBezTo>
                  <a:cubicBezTo>
                    <a:pt x="1113" y="324"/>
                    <a:pt x="1108" y="316"/>
                    <a:pt x="1103" y="307"/>
                  </a:cubicBezTo>
                  <a:cubicBezTo>
                    <a:pt x="1109" y="319"/>
                    <a:pt x="1113" y="329"/>
                    <a:pt x="1113" y="334"/>
                  </a:cubicBezTo>
                  <a:cubicBezTo>
                    <a:pt x="1112" y="336"/>
                    <a:pt x="1112" y="339"/>
                    <a:pt x="1112" y="341"/>
                  </a:cubicBezTo>
                  <a:cubicBezTo>
                    <a:pt x="1112" y="353"/>
                    <a:pt x="1122" y="363"/>
                    <a:pt x="1134" y="363"/>
                  </a:cubicBezTo>
                  <a:cubicBezTo>
                    <a:pt x="1146" y="363"/>
                    <a:pt x="1156" y="353"/>
                    <a:pt x="1156" y="341"/>
                  </a:cubicBezTo>
                  <a:cubicBezTo>
                    <a:pt x="1156" y="341"/>
                    <a:pt x="1156" y="341"/>
                    <a:pt x="1156" y="341"/>
                  </a:cubicBezTo>
                  <a:cubicBezTo>
                    <a:pt x="1169" y="323"/>
                    <a:pt x="1255" y="249"/>
                    <a:pt x="1262" y="249"/>
                  </a:cubicBezTo>
                  <a:cubicBezTo>
                    <a:pt x="1262" y="249"/>
                    <a:pt x="1263" y="249"/>
                    <a:pt x="1263" y="249"/>
                  </a:cubicBezTo>
                  <a:cubicBezTo>
                    <a:pt x="1263" y="249"/>
                    <a:pt x="1263" y="249"/>
                    <a:pt x="1263" y="249"/>
                  </a:cubicBezTo>
                  <a:cubicBezTo>
                    <a:pt x="1266" y="251"/>
                    <a:pt x="1269" y="253"/>
                    <a:pt x="1273" y="254"/>
                  </a:cubicBezTo>
                  <a:cubicBezTo>
                    <a:pt x="1273" y="254"/>
                    <a:pt x="1273" y="254"/>
                    <a:pt x="1273" y="254"/>
                  </a:cubicBezTo>
                  <a:cubicBezTo>
                    <a:pt x="1275" y="255"/>
                    <a:pt x="1274" y="272"/>
                    <a:pt x="1272" y="290"/>
                  </a:cubicBezTo>
                  <a:cubicBezTo>
                    <a:pt x="1275" y="272"/>
                    <a:pt x="1278" y="255"/>
                    <a:pt x="1281" y="255"/>
                  </a:cubicBezTo>
                  <a:cubicBezTo>
                    <a:pt x="1281" y="255"/>
                    <a:pt x="1281" y="255"/>
                    <a:pt x="1281" y="255"/>
                  </a:cubicBezTo>
                  <a:cubicBezTo>
                    <a:pt x="1297" y="255"/>
                    <a:pt x="1309" y="243"/>
                    <a:pt x="1309" y="228"/>
                  </a:cubicBezTo>
                  <a:cubicBezTo>
                    <a:pt x="1309" y="212"/>
                    <a:pt x="1297" y="200"/>
                    <a:pt x="1281" y="200"/>
                  </a:cubicBezTo>
                  <a:cubicBezTo>
                    <a:pt x="1272" y="200"/>
                    <a:pt x="1264" y="204"/>
                    <a:pt x="1258" y="210"/>
                  </a:cubicBezTo>
                  <a:cubicBezTo>
                    <a:pt x="1258" y="210"/>
                    <a:pt x="1258" y="210"/>
                    <a:pt x="1258" y="210"/>
                  </a:cubicBezTo>
                  <a:cubicBezTo>
                    <a:pt x="1248" y="210"/>
                    <a:pt x="1166" y="163"/>
                    <a:pt x="1167" y="159"/>
                  </a:cubicBezTo>
                  <a:cubicBezTo>
                    <a:pt x="1167" y="159"/>
                    <a:pt x="1167" y="159"/>
                    <a:pt x="1167" y="159"/>
                  </a:cubicBezTo>
                  <a:cubicBezTo>
                    <a:pt x="1169" y="155"/>
                    <a:pt x="1169" y="150"/>
                    <a:pt x="1167" y="145"/>
                  </a:cubicBezTo>
                  <a:cubicBezTo>
                    <a:pt x="1164" y="139"/>
                    <a:pt x="1157" y="135"/>
                    <a:pt x="1150" y="135"/>
                  </a:cubicBezTo>
                  <a:cubicBezTo>
                    <a:pt x="1149" y="135"/>
                    <a:pt x="1149" y="135"/>
                    <a:pt x="1148" y="135"/>
                  </a:cubicBezTo>
                  <a:cubicBezTo>
                    <a:pt x="1149" y="135"/>
                    <a:pt x="1149" y="135"/>
                    <a:pt x="1149" y="135"/>
                  </a:cubicBezTo>
                  <a:cubicBezTo>
                    <a:pt x="1149" y="135"/>
                    <a:pt x="1149" y="135"/>
                    <a:pt x="1148" y="135"/>
                  </a:cubicBezTo>
                  <a:cubicBezTo>
                    <a:pt x="1145" y="135"/>
                    <a:pt x="1132" y="80"/>
                    <a:pt x="1134" y="79"/>
                  </a:cubicBezTo>
                  <a:cubicBezTo>
                    <a:pt x="1134" y="79"/>
                    <a:pt x="1134" y="79"/>
                    <a:pt x="1134" y="79"/>
                  </a:cubicBezTo>
                  <a:cubicBezTo>
                    <a:pt x="1135" y="79"/>
                    <a:pt x="1135" y="79"/>
                    <a:pt x="1135" y="79"/>
                  </a:cubicBezTo>
                  <a:cubicBezTo>
                    <a:pt x="1141" y="76"/>
                    <a:pt x="1144" y="68"/>
                    <a:pt x="1141" y="62"/>
                  </a:cubicBezTo>
                  <a:cubicBezTo>
                    <a:pt x="1139" y="57"/>
                    <a:pt x="1134" y="54"/>
                    <a:pt x="1129" y="54"/>
                  </a:cubicBezTo>
                  <a:cubicBezTo>
                    <a:pt x="1127" y="54"/>
                    <a:pt x="1125" y="55"/>
                    <a:pt x="1123" y="56"/>
                  </a:cubicBezTo>
                  <a:cubicBezTo>
                    <a:pt x="1116" y="59"/>
                    <a:pt x="1113" y="66"/>
                    <a:pt x="1117" y="73"/>
                  </a:cubicBezTo>
                  <a:cubicBezTo>
                    <a:pt x="1117" y="74"/>
                    <a:pt x="1118" y="74"/>
                    <a:pt x="1118" y="75"/>
                  </a:cubicBezTo>
                  <a:cubicBezTo>
                    <a:pt x="1118" y="75"/>
                    <a:pt x="1118" y="75"/>
                    <a:pt x="1118" y="75"/>
                  </a:cubicBezTo>
                  <a:cubicBezTo>
                    <a:pt x="1120" y="77"/>
                    <a:pt x="1041" y="158"/>
                    <a:pt x="1035" y="158"/>
                  </a:cubicBezTo>
                  <a:cubicBezTo>
                    <a:pt x="1034" y="158"/>
                    <a:pt x="1034" y="158"/>
                    <a:pt x="1034" y="158"/>
                  </a:cubicBezTo>
                  <a:cubicBezTo>
                    <a:pt x="1034" y="158"/>
                    <a:pt x="1034" y="158"/>
                    <a:pt x="1034" y="158"/>
                  </a:cubicBezTo>
                  <a:cubicBezTo>
                    <a:pt x="1031" y="155"/>
                    <a:pt x="1027" y="154"/>
                    <a:pt x="1023" y="153"/>
                  </a:cubicBezTo>
                  <a:cubicBezTo>
                    <a:pt x="1023" y="153"/>
                    <a:pt x="1023" y="153"/>
                    <a:pt x="1023" y="153"/>
                  </a:cubicBezTo>
                  <a:cubicBezTo>
                    <a:pt x="1018" y="153"/>
                    <a:pt x="1019" y="84"/>
                    <a:pt x="1022" y="84"/>
                  </a:cubicBezTo>
                  <a:cubicBezTo>
                    <a:pt x="1022" y="84"/>
                    <a:pt x="1022" y="84"/>
                    <a:pt x="1022" y="84"/>
                  </a:cubicBezTo>
                  <a:cubicBezTo>
                    <a:pt x="1028" y="83"/>
                    <a:pt x="1033" y="77"/>
                    <a:pt x="1033" y="71"/>
                  </a:cubicBezTo>
                  <a:cubicBezTo>
                    <a:pt x="1033" y="64"/>
                    <a:pt x="1027" y="58"/>
                    <a:pt x="1020" y="58"/>
                  </a:cubicBezTo>
                  <a:cubicBezTo>
                    <a:pt x="1015" y="58"/>
                    <a:pt x="1011" y="60"/>
                    <a:pt x="1009" y="63"/>
                  </a:cubicBezTo>
                  <a:cubicBezTo>
                    <a:pt x="1009" y="63"/>
                    <a:pt x="1009" y="63"/>
                    <a:pt x="1009" y="63"/>
                  </a:cubicBezTo>
                  <a:cubicBezTo>
                    <a:pt x="1009" y="63"/>
                    <a:pt x="1009" y="63"/>
                    <a:pt x="1008" y="63"/>
                  </a:cubicBezTo>
                  <a:cubicBezTo>
                    <a:pt x="1006" y="63"/>
                    <a:pt x="1000" y="60"/>
                    <a:pt x="994" y="57"/>
                  </a:cubicBezTo>
                  <a:cubicBezTo>
                    <a:pt x="1001" y="61"/>
                    <a:pt x="1008" y="65"/>
                    <a:pt x="1007" y="66"/>
                  </a:cubicBezTo>
                  <a:cubicBezTo>
                    <a:pt x="1007" y="66"/>
                    <a:pt x="1007" y="66"/>
                    <a:pt x="1007" y="66"/>
                  </a:cubicBezTo>
                  <a:cubicBezTo>
                    <a:pt x="1007" y="68"/>
                    <a:pt x="1006" y="69"/>
                    <a:pt x="1006" y="71"/>
                  </a:cubicBezTo>
                  <a:cubicBezTo>
                    <a:pt x="1006" y="76"/>
                    <a:pt x="1010" y="81"/>
                    <a:pt x="1014" y="83"/>
                  </a:cubicBezTo>
                  <a:cubicBezTo>
                    <a:pt x="1014" y="83"/>
                    <a:pt x="1014" y="83"/>
                    <a:pt x="1014" y="83"/>
                  </a:cubicBezTo>
                  <a:cubicBezTo>
                    <a:pt x="1016" y="83"/>
                    <a:pt x="1013" y="92"/>
                    <a:pt x="1011" y="101"/>
                  </a:cubicBezTo>
                  <a:cubicBezTo>
                    <a:pt x="1013" y="93"/>
                    <a:pt x="1016" y="85"/>
                    <a:pt x="1018" y="84"/>
                  </a:cubicBezTo>
                  <a:cubicBezTo>
                    <a:pt x="1020" y="87"/>
                    <a:pt x="1021" y="153"/>
                    <a:pt x="1016" y="153"/>
                  </a:cubicBezTo>
                  <a:cubicBezTo>
                    <a:pt x="1016" y="153"/>
                    <a:pt x="1016" y="153"/>
                    <a:pt x="1016" y="153"/>
                  </a:cubicBezTo>
                  <a:cubicBezTo>
                    <a:pt x="1016" y="153"/>
                    <a:pt x="1016" y="153"/>
                    <a:pt x="1016" y="153"/>
                  </a:cubicBezTo>
                  <a:cubicBezTo>
                    <a:pt x="1016" y="153"/>
                    <a:pt x="1016" y="153"/>
                    <a:pt x="1016" y="153"/>
                  </a:cubicBezTo>
                  <a:cubicBezTo>
                    <a:pt x="1014" y="153"/>
                    <a:pt x="1012" y="151"/>
                    <a:pt x="1011" y="147"/>
                  </a:cubicBezTo>
                  <a:cubicBezTo>
                    <a:pt x="1012" y="151"/>
                    <a:pt x="1012" y="154"/>
                    <a:pt x="1010" y="155"/>
                  </a:cubicBezTo>
                  <a:cubicBezTo>
                    <a:pt x="1004" y="157"/>
                    <a:pt x="999" y="162"/>
                    <a:pt x="996" y="168"/>
                  </a:cubicBezTo>
                  <a:cubicBezTo>
                    <a:pt x="996" y="168"/>
                    <a:pt x="996" y="168"/>
                    <a:pt x="994" y="168"/>
                  </a:cubicBezTo>
                  <a:cubicBezTo>
                    <a:pt x="978" y="168"/>
                    <a:pt x="874" y="142"/>
                    <a:pt x="874" y="139"/>
                  </a:cubicBezTo>
                  <a:cubicBezTo>
                    <a:pt x="874" y="139"/>
                    <a:pt x="874" y="139"/>
                    <a:pt x="874" y="139"/>
                  </a:cubicBezTo>
                  <a:cubicBezTo>
                    <a:pt x="874" y="138"/>
                    <a:pt x="874" y="138"/>
                    <a:pt x="874" y="137"/>
                  </a:cubicBezTo>
                  <a:cubicBezTo>
                    <a:pt x="874" y="127"/>
                    <a:pt x="866" y="119"/>
                    <a:pt x="855" y="119"/>
                  </a:cubicBezTo>
                  <a:cubicBezTo>
                    <a:pt x="853" y="119"/>
                    <a:pt x="850" y="120"/>
                    <a:pt x="848" y="121"/>
                  </a:cubicBezTo>
                  <a:cubicBezTo>
                    <a:pt x="848" y="120"/>
                    <a:pt x="848" y="120"/>
                    <a:pt x="848" y="120"/>
                  </a:cubicBezTo>
                  <a:cubicBezTo>
                    <a:pt x="848" y="121"/>
                    <a:pt x="848" y="121"/>
                    <a:pt x="848" y="121"/>
                  </a:cubicBezTo>
                  <a:cubicBezTo>
                    <a:pt x="843" y="121"/>
                    <a:pt x="786" y="34"/>
                    <a:pt x="789" y="31"/>
                  </a:cubicBezTo>
                  <a:cubicBezTo>
                    <a:pt x="789" y="31"/>
                    <a:pt x="789" y="31"/>
                    <a:pt x="789" y="31"/>
                  </a:cubicBezTo>
                  <a:cubicBezTo>
                    <a:pt x="791" y="31"/>
                    <a:pt x="800" y="38"/>
                    <a:pt x="810" y="45"/>
                  </a:cubicBezTo>
                  <a:cubicBezTo>
                    <a:pt x="800" y="37"/>
                    <a:pt x="791" y="29"/>
                    <a:pt x="792" y="28"/>
                  </a:cubicBezTo>
                  <a:cubicBezTo>
                    <a:pt x="792" y="28"/>
                    <a:pt x="792" y="28"/>
                    <a:pt x="792" y="28"/>
                  </a:cubicBezTo>
                  <a:cubicBezTo>
                    <a:pt x="794" y="25"/>
                    <a:pt x="795" y="22"/>
                    <a:pt x="795" y="18"/>
                  </a:cubicBezTo>
                  <a:cubicBezTo>
                    <a:pt x="795" y="8"/>
                    <a:pt x="787" y="0"/>
                    <a:pt x="776"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8" name="Freeform 20"/>
            <p:cNvSpPr>
              <a:spLocks/>
            </p:cNvSpPr>
            <p:nvPr/>
          </p:nvSpPr>
          <p:spPr bwMode="auto">
            <a:xfrm>
              <a:off x="6035675" y="2900363"/>
              <a:ext cx="52388" cy="41275"/>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cubicBezTo>
                    <a:pt x="9" y="4"/>
                    <a:pt x="4" y="8"/>
                    <a:pt x="0" y="11"/>
                  </a:cubicBezTo>
                  <a:cubicBezTo>
                    <a:pt x="4" y="8"/>
                    <a:pt x="10" y="4"/>
                    <a:pt x="14"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9" name="Freeform 21"/>
            <p:cNvSpPr>
              <a:spLocks noEditPoints="1"/>
            </p:cNvSpPr>
            <p:nvPr/>
          </p:nvSpPr>
          <p:spPr bwMode="auto">
            <a:xfrm>
              <a:off x="5457825" y="2247900"/>
              <a:ext cx="1231900" cy="652463"/>
            </a:xfrm>
            <a:custGeom>
              <a:avLst/>
              <a:gdLst>
                <a:gd name="T0" fmla="*/ 294 w 328"/>
                <a:gd name="T1" fmla="*/ 53 h 173"/>
                <a:gd name="T2" fmla="*/ 290 w 328"/>
                <a:gd name="T3" fmla="*/ 68 h 173"/>
                <a:gd name="T4" fmla="*/ 237 w 328"/>
                <a:gd name="T5" fmla="*/ 89 h 173"/>
                <a:gd name="T6" fmla="*/ 255 w 328"/>
                <a:gd name="T7" fmla="*/ 21 h 173"/>
                <a:gd name="T8" fmla="*/ 257 w 328"/>
                <a:gd name="T9" fmla="*/ 22 h 173"/>
                <a:gd name="T10" fmla="*/ 257 w 328"/>
                <a:gd name="T11" fmla="*/ 0 h 173"/>
                <a:gd name="T12" fmla="*/ 252 w 328"/>
                <a:gd name="T13" fmla="*/ 20 h 173"/>
                <a:gd name="T14" fmla="*/ 230 w 328"/>
                <a:gd name="T15" fmla="*/ 84 h 173"/>
                <a:gd name="T16" fmla="*/ 225 w 328"/>
                <a:gd name="T17" fmla="*/ 84 h 173"/>
                <a:gd name="T18" fmla="*/ 213 w 328"/>
                <a:gd name="T19" fmla="*/ 59 h 173"/>
                <a:gd name="T20" fmla="*/ 199 w 328"/>
                <a:gd name="T21" fmla="*/ 34 h 173"/>
                <a:gd name="T22" fmla="*/ 185 w 328"/>
                <a:gd name="T23" fmla="*/ 44 h 173"/>
                <a:gd name="T24" fmla="*/ 104 w 328"/>
                <a:gd name="T25" fmla="*/ 22 h 173"/>
                <a:gd name="T26" fmla="*/ 88 w 328"/>
                <a:gd name="T27" fmla="*/ 38 h 173"/>
                <a:gd name="T28" fmla="*/ 16 w 328"/>
                <a:gd name="T29" fmla="*/ 52 h 173"/>
                <a:gd name="T30" fmla="*/ 6 w 328"/>
                <a:gd name="T31" fmla="*/ 48 h 173"/>
                <a:gd name="T32" fmla="*/ 12 w 328"/>
                <a:gd name="T33" fmla="*/ 61 h 173"/>
                <a:gd name="T34" fmla="*/ 86 w 328"/>
                <a:gd name="T35" fmla="*/ 42 h 173"/>
                <a:gd name="T36" fmla="*/ 104 w 328"/>
                <a:gd name="T37" fmla="*/ 54 h 173"/>
                <a:gd name="T38" fmla="*/ 128 w 328"/>
                <a:gd name="T39" fmla="*/ 41 h 173"/>
                <a:gd name="T40" fmla="*/ 192 w 328"/>
                <a:gd name="T41" fmla="*/ 53 h 173"/>
                <a:gd name="T42" fmla="*/ 210 w 328"/>
                <a:gd name="T43" fmla="*/ 60 h 173"/>
                <a:gd name="T44" fmla="*/ 222 w 328"/>
                <a:gd name="T45" fmla="*/ 86 h 173"/>
                <a:gd name="T46" fmla="*/ 222 w 328"/>
                <a:gd name="T47" fmla="*/ 101 h 173"/>
                <a:gd name="T48" fmla="*/ 205 w 328"/>
                <a:gd name="T49" fmla="*/ 130 h 173"/>
                <a:gd name="T50" fmla="*/ 178 w 328"/>
                <a:gd name="T51" fmla="*/ 162 h 173"/>
                <a:gd name="T52" fmla="*/ 181 w 328"/>
                <a:gd name="T53" fmla="*/ 166 h 173"/>
                <a:gd name="T54" fmla="*/ 198 w 328"/>
                <a:gd name="T55" fmla="*/ 172 h 173"/>
                <a:gd name="T56" fmla="*/ 226 w 328"/>
                <a:gd name="T57" fmla="*/ 150 h 173"/>
                <a:gd name="T58" fmla="*/ 211 w 328"/>
                <a:gd name="T59" fmla="*/ 132 h 173"/>
                <a:gd name="T60" fmla="*/ 225 w 328"/>
                <a:gd name="T61" fmla="*/ 103 h 173"/>
                <a:gd name="T62" fmla="*/ 230 w 328"/>
                <a:gd name="T63" fmla="*/ 103 h 173"/>
                <a:gd name="T64" fmla="*/ 244 w 328"/>
                <a:gd name="T65" fmla="*/ 146 h 173"/>
                <a:gd name="T66" fmla="*/ 242 w 328"/>
                <a:gd name="T67" fmla="*/ 149 h 173"/>
                <a:gd name="T68" fmla="*/ 242 w 328"/>
                <a:gd name="T69" fmla="*/ 151 h 173"/>
                <a:gd name="T70" fmla="*/ 248 w 328"/>
                <a:gd name="T71" fmla="*/ 154 h 173"/>
                <a:gd name="T72" fmla="*/ 250 w 328"/>
                <a:gd name="T73" fmla="*/ 153 h 173"/>
                <a:gd name="T74" fmla="*/ 251 w 328"/>
                <a:gd name="T75" fmla="*/ 152 h 173"/>
                <a:gd name="T76" fmla="*/ 246 w 328"/>
                <a:gd name="T77" fmla="*/ 146 h 173"/>
                <a:gd name="T78" fmla="*/ 232 w 328"/>
                <a:gd name="T79" fmla="*/ 102 h 173"/>
                <a:gd name="T80" fmla="*/ 238 w 328"/>
                <a:gd name="T81" fmla="*/ 92 h 173"/>
                <a:gd name="T82" fmla="*/ 292 w 328"/>
                <a:gd name="T83" fmla="*/ 72 h 173"/>
                <a:gd name="T84" fmla="*/ 324 w 328"/>
                <a:gd name="T85" fmla="*/ 57 h 173"/>
                <a:gd name="T86" fmla="*/ 297 w 328"/>
                <a:gd name="T87" fmla="*/ 50 h 173"/>
                <a:gd name="T88" fmla="*/ 266 w 328"/>
                <a:gd name="T89" fmla="*/ 17 h 173"/>
                <a:gd name="T90" fmla="*/ 257 w 328"/>
                <a:gd name="T9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173">
                  <a:moveTo>
                    <a:pt x="263" y="20"/>
                  </a:moveTo>
                  <a:cubicBezTo>
                    <a:pt x="263" y="20"/>
                    <a:pt x="263" y="20"/>
                    <a:pt x="263" y="20"/>
                  </a:cubicBezTo>
                  <a:cubicBezTo>
                    <a:pt x="266" y="20"/>
                    <a:pt x="296" y="51"/>
                    <a:pt x="294" y="53"/>
                  </a:cubicBezTo>
                  <a:cubicBezTo>
                    <a:pt x="294" y="53"/>
                    <a:pt x="294" y="53"/>
                    <a:pt x="294" y="53"/>
                  </a:cubicBezTo>
                  <a:cubicBezTo>
                    <a:pt x="290" y="57"/>
                    <a:pt x="289" y="63"/>
                    <a:pt x="290" y="68"/>
                  </a:cubicBezTo>
                  <a:cubicBezTo>
                    <a:pt x="290" y="68"/>
                    <a:pt x="290" y="68"/>
                    <a:pt x="290" y="68"/>
                  </a:cubicBezTo>
                  <a:cubicBezTo>
                    <a:pt x="291" y="71"/>
                    <a:pt x="242" y="89"/>
                    <a:pt x="237" y="89"/>
                  </a:cubicBezTo>
                  <a:cubicBezTo>
                    <a:pt x="237" y="89"/>
                    <a:pt x="237" y="89"/>
                    <a:pt x="237" y="89"/>
                  </a:cubicBezTo>
                  <a:cubicBezTo>
                    <a:pt x="237" y="89"/>
                    <a:pt x="237" y="89"/>
                    <a:pt x="237" y="89"/>
                  </a:cubicBezTo>
                  <a:cubicBezTo>
                    <a:pt x="236" y="87"/>
                    <a:pt x="234" y="86"/>
                    <a:pt x="233" y="85"/>
                  </a:cubicBezTo>
                  <a:cubicBezTo>
                    <a:pt x="233" y="85"/>
                    <a:pt x="233" y="85"/>
                    <a:pt x="233" y="85"/>
                  </a:cubicBezTo>
                  <a:cubicBezTo>
                    <a:pt x="231" y="84"/>
                    <a:pt x="253" y="21"/>
                    <a:pt x="255" y="21"/>
                  </a:cubicBezTo>
                  <a:cubicBezTo>
                    <a:pt x="255" y="21"/>
                    <a:pt x="255" y="21"/>
                    <a:pt x="255" y="21"/>
                  </a:cubicBezTo>
                  <a:cubicBezTo>
                    <a:pt x="255" y="21"/>
                    <a:pt x="255" y="21"/>
                    <a:pt x="255" y="21"/>
                  </a:cubicBezTo>
                  <a:cubicBezTo>
                    <a:pt x="256" y="21"/>
                    <a:pt x="256" y="22"/>
                    <a:pt x="257" y="22"/>
                  </a:cubicBezTo>
                  <a:cubicBezTo>
                    <a:pt x="259" y="22"/>
                    <a:pt x="261" y="21"/>
                    <a:pt x="263" y="20"/>
                  </a:cubicBezTo>
                  <a:cubicBezTo>
                    <a:pt x="263" y="20"/>
                    <a:pt x="263" y="20"/>
                    <a:pt x="263" y="20"/>
                  </a:cubicBezTo>
                  <a:moveTo>
                    <a:pt x="257" y="0"/>
                  </a:moveTo>
                  <a:cubicBezTo>
                    <a:pt x="251" y="0"/>
                    <a:pt x="246" y="5"/>
                    <a:pt x="246" y="11"/>
                  </a:cubicBezTo>
                  <a:cubicBezTo>
                    <a:pt x="246" y="15"/>
                    <a:pt x="248" y="19"/>
                    <a:pt x="252" y="20"/>
                  </a:cubicBezTo>
                  <a:cubicBezTo>
                    <a:pt x="252" y="20"/>
                    <a:pt x="252" y="20"/>
                    <a:pt x="252" y="20"/>
                  </a:cubicBezTo>
                  <a:cubicBezTo>
                    <a:pt x="254" y="21"/>
                    <a:pt x="232" y="84"/>
                    <a:pt x="230" y="84"/>
                  </a:cubicBezTo>
                  <a:cubicBezTo>
                    <a:pt x="230" y="84"/>
                    <a:pt x="230" y="84"/>
                    <a:pt x="230" y="84"/>
                  </a:cubicBezTo>
                  <a:cubicBezTo>
                    <a:pt x="230" y="84"/>
                    <a:pt x="230" y="84"/>
                    <a:pt x="230" y="84"/>
                  </a:cubicBezTo>
                  <a:cubicBezTo>
                    <a:pt x="229" y="84"/>
                    <a:pt x="229" y="84"/>
                    <a:pt x="228" y="84"/>
                  </a:cubicBezTo>
                  <a:cubicBezTo>
                    <a:pt x="227" y="84"/>
                    <a:pt x="226" y="84"/>
                    <a:pt x="225" y="85"/>
                  </a:cubicBezTo>
                  <a:cubicBezTo>
                    <a:pt x="225" y="84"/>
                    <a:pt x="225" y="84"/>
                    <a:pt x="225" y="84"/>
                  </a:cubicBezTo>
                  <a:cubicBezTo>
                    <a:pt x="225" y="85"/>
                    <a:pt x="225" y="85"/>
                    <a:pt x="225" y="85"/>
                  </a:cubicBezTo>
                  <a:cubicBezTo>
                    <a:pt x="223" y="85"/>
                    <a:pt x="211" y="60"/>
                    <a:pt x="214" y="59"/>
                  </a:cubicBezTo>
                  <a:cubicBezTo>
                    <a:pt x="213" y="59"/>
                    <a:pt x="213" y="59"/>
                    <a:pt x="213" y="59"/>
                  </a:cubicBezTo>
                  <a:cubicBezTo>
                    <a:pt x="220" y="55"/>
                    <a:pt x="222" y="47"/>
                    <a:pt x="219" y="41"/>
                  </a:cubicBezTo>
                  <a:cubicBezTo>
                    <a:pt x="216" y="36"/>
                    <a:pt x="211" y="33"/>
                    <a:pt x="205" y="33"/>
                  </a:cubicBezTo>
                  <a:cubicBezTo>
                    <a:pt x="203" y="33"/>
                    <a:pt x="201" y="33"/>
                    <a:pt x="199" y="34"/>
                  </a:cubicBezTo>
                  <a:cubicBezTo>
                    <a:pt x="195" y="36"/>
                    <a:pt x="192" y="39"/>
                    <a:pt x="191" y="43"/>
                  </a:cubicBezTo>
                  <a:cubicBezTo>
                    <a:pt x="191" y="43"/>
                    <a:pt x="191" y="43"/>
                    <a:pt x="191" y="43"/>
                  </a:cubicBezTo>
                  <a:cubicBezTo>
                    <a:pt x="191" y="44"/>
                    <a:pt x="189" y="44"/>
                    <a:pt x="185" y="44"/>
                  </a:cubicBezTo>
                  <a:cubicBezTo>
                    <a:pt x="168" y="44"/>
                    <a:pt x="121" y="39"/>
                    <a:pt x="121" y="37"/>
                  </a:cubicBezTo>
                  <a:cubicBezTo>
                    <a:pt x="121" y="37"/>
                    <a:pt x="121" y="37"/>
                    <a:pt x="121" y="37"/>
                  </a:cubicBezTo>
                  <a:cubicBezTo>
                    <a:pt x="121" y="28"/>
                    <a:pt x="114" y="22"/>
                    <a:pt x="104" y="22"/>
                  </a:cubicBezTo>
                  <a:cubicBezTo>
                    <a:pt x="95" y="22"/>
                    <a:pt x="88" y="29"/>
                    <a:pt x="88" y="38"/>
                  </a:cubicBezTo>
                  <a:cubicBezTo>
                    <a:pt x="88" y="38"/>
                    <a:pt x="88" y="38"/>
                    <a:pt x="88" y="38"/>
                  </a:cubicBezTo>
                  <a:cubicBezTo>
                    <a:pt x="88" y="38"/>
                    <a:pt x="88" y="38"/>
                    <a:pt x="88" y="38"/>
                  </a:cubicBezTo>
                  <a:cubicBezTo>
                    <a:pt x="88" y="41"/>
                    <a:pt x="24" y="52"/>
                    <a:pt x="17" y="52"/>
                  </a:cubicBezTo>
                  <a:cubicBezTo>
                    <a:pt x="16" y="52"/>
                    <a:pt x="16" y="52"/>
                    <a:pt x="16" y="52"/>
                  </a:cubicBezTo>
                  <a:cubicBezTo>
                    <a:pt x="16" y="52"/>
                    <a:pt x="16" y="52"/>
                    <a:pt x="16" y="52"/>
                  </a:cubicBezTo>
                  <a:cubicBezTo>
                    <a:pt x="16" y="51"/>
                    <a:pt x="16" y="51"/>
                    <a:pt x="16" y="51"/>
                  </a:cubicBezTo>
                  <a:cubicBezTo>
                    <a:pt x="14" y="48"/>
                    <a:pt x="12" y="47"/>
                    <a:pt x="9" y="47"/>
                  </a:cubicBezTo>
                  <a:cubicBezTo>
                    <a:pt x="8" y="47"/>
                    <a:pt x="7" y="47"/>
                    <a:pt x="6" y="48"/>
                  </a:cubicBezTo>
                  <a:cubicBezTo>
                    <a:pt x="2" y="49"/>
                    <a:pt x="0" y="54"/>
                    <a:pt x="2" y="57"/>
                  </a:cubicBezTo>
                  <a:cubicBezTo>
                    <a:pt x="3" y="60"/>
                    <a:pt x="6" y="61"/>
                    <a:pt x="9" y="61"/>
                  </a:cubicBezTo>
                  <a:cubicBezTo>
                    <a:pt x="10" y="61"/>
                    <a:pt x="11" y="61"/>
                    <a:pt x="12" y="61"/>
                  </a:cubicBezTo>
                  <a:cubicBezTo>
                    <a:pt x="15" y="60"/>
                    <a:pt x="17" y="57"/>
                    <a:pt x="16" y="54"/>
                  </a:cubicBezTo>
                  <a:cubicBezTo>
                    <a:pt x="16" y="54"/>
                    <a:pt x="16" y="54"/>
                    <a:pt x="16" y="54"/>
                  </a:cubicBezTo>
                  <a:cubicBezTo>
                    <a:pt x="16" y="53"/>
                    <a:pt x="73" y="42"/>
                    <a:pt x="86" y="42"/>
                  </a:cubicBezTo>
                  <a:cubicBezTo>
                    <a:pt x="87" y="42"/>
                    <a:pt x="88" y="43"/>
                    <a:pt x="89" y="43"/>
                  </a:cubicBezTo>
                  <a:cubicBezTo>
                    <a:pt x="88" y="43"/>
                    <a:pt x="88" y="43"/>
                    <a:pt x="88" y="43"/>
                  </a:cubicBezTo>
                  <a:cubicBezTo>
                    <a:pt x="91" y="49"/>
                    <a:pt x="97" y="54"/>
                    <a:pt x="104" y="54"/>
                  </a:cubicBezTo>
                  <a:cubicBezTo>
                    <a:pt x="112" y="54"/>
                    <a:pt x="119" y="49"/>
                    <a:pt x="121" y="42"/>
                  </a:cubicBezTo>
                  <a:cubicBezTo>
                    <a:pt x="121" y="42"/>
                    <a:pt x="121" y="42"/>
                    <a:pt x="121" y="42"/>
                  </a:cubicBezTo>
                  <a:cubicBezTo>
                    <a:pt x="121" y="41"/>
                    <a:pt x="124" y="41"/>
                    <a:pt x="128" y="41"/>
                  </a:cubicBezTo>
                  <a:cubicBezTo>
                    <a:pt x="145" y="41"/>
                    <a:pt x="191" y="46"/>
                    <a:pt x="191" y="48"/>
                  </a:cubicBezTo>
                  <a:cubicBezTo>
                    <a:pt x="191" y="48"/>
                    <a:pt x="191" y="48"/>
                    <a:pt x="191" y="48"/>
                  </a:cubicBezTo>
                  <a:cubicBezTo>
                    <a:pt x="191" y="49"/>
                    <a:pt x="191" y="51"/>
                    <a:pt x="192" y="53"/>
                  </a:cubicBezTo>
                  <a:cubicBezTo>
                    <a:pt x="195" y="58"/>
                    <a:pt x="200" y="61"/>
                    <a:pt x="205" y="61"/>
                  </a:cubicBezTo>
                  <a:cubicBezTo>
                    <a:pt x="207" y="61"/>
                    <a:pt x="208" y="61"/>
                    <a:pt x="210" y="60"/>
                  </a:cubicBezTo>
                  <a:cubicBezTo>
                    <a:pt x="210" y="60"/>
                    <a:pt x="210" y="60"/>
                    <a:pt x="210" y="60"/>
                  </a:cubicBezTo>
                  <a:cubicBezTo>
                    <a:pt x="210" y="60"/>
                    <a:pt x="210" y="60"/>
                    <a:pt x="210" y="60"/>
                  </a:cubicBezTo>
                  <a:cubicBezTo>
                    <a:pt x="213" y="60"/>
                    <a:pt x="224" y="85"/>
                    <a:pt x="222" y="86"/>
                  </a:cubicBezTo>
                  <a:cubicBezTo>
                    <a:pt x="222" y="86"/>
                    <a:pt x="222" y="86"/>
                    <a:pt x="222" y="86"/>
                  </a:cubicBezTo>
                  <a:cubicBezTo>
                    <a:pt x="218" y="88"/>
                    <a:pt x="217" y="94"/>
                    <a:pt x="219" y="98"/>
                  </a:cubicBezTo>
                  <a:cubicBezTo>
                    <a:pt x="220" y="99"/>
                    <a:pt x="221" y="101"/>
                    <a:pt x="222" y="101"/>
                  </a:cubicBezTo>
                  <a:cubicBezTo>
                    <a:pt x="222" y="101"/>
                    <a:pt x="222" y="101"/>
                    <a:pt x="222" y="101"/>
                  </a:cubicBezTo>
                  <a:cubicBezTo>
                    <a:pt x="223" y="103"/>
                    <a:pt x="210" y="130"/>
                    <a:pt x="206" y="130"/>
                  </a:cubicBezTo>
                  <a:cubicBezTo>
                    <a:pt x="206" y="130"/>
                    <a:pt x="205" y="130"/>
                    <a:pt x="205" y="130"/>
                  </a:cubicBezTo>
                  <a:cubicBezTo>
                    <a:pt x="205" y="130"/>
                    <a:pt x="205" y="130"/>
                    <a:pt x="205" y="130"/>
                  </a:cubicBezTo>
                  <a:cubicBezTo>
                    <a:pt x="203" y="129"/>
                    <a:pt x="201" y="128"/>
                    <a:pt x="198" y="128"/>
                  </a:cubicBezTo>
                  <a:cubicBezTo>
                    <a:pt x="185" y="128"/>
                    <a:pt x="175" y="138"/>
                    <a:pt x="175" y="150"/>
                  </a:cubicBezTo>
                  <a:cubicBezTo>
                    <a:pt x="175" y="155"/>
                    <a:pt x="176" y="159"/>
                    <a:pt x="178" y="162"/>
                  </a:cubicBezTo>
                  <a:cubicBezTo>
                    <a:pt x="178" y="162"/>
                    <a:pt x="178" y="162"/>
                    <a:pt x="178" y="162"/>
                  </a:cubicBezTo>
                  <a:cubicBezTo>
                    <a:pt x="179" y="163"/>
                    <a:pt x="174" y="168"/>
                    <a:pt x="168" y="173"/>
                  </a:cubicBezTo>
                  <a:cubicBezTo>
                    <a:pt x="174" y="169"/>
                    <a:pt x="179" y="166"/>
                    <a:pt x="181" y="166"/>
                  </a:cubicBezTo>
                  <a:cubicBezTo>
                    <a:pt x="182" y="166"/>
                    <a:pt x="182" y="166"/>
                    <a:pt x="182" y="166"/>
                  </a:cubicBezTo>
                  <a:cubicBezTo>
                    <a:pt x="182" y="166"/>
                    <a:pt x="182" y="166"/>
                    <a:pt x="182" y="166"/>
                  </a:cubicBezTo>
                  <a:cubicBezTo>
                    <a:pt x="186" y="170"/>
                    <a:pt x="192" y="172"/>
                    <a:pt x="198" y="172"/>
                  </a:cubicBezTo>
                  <a:cubicBezTo>
                    <a:pt x="210" y="172"/>
                    <a:pt x="219" y="164"/>
                    <a:pt x="221" y="153"/>
                  </a:cubicBezTo>
                  <a:cubicBezTo>
                    <a:pt x="221" y="153"/>
                    <a:pt x="221" y="153"/>
                    <a:pt x="221" y="153"/>
                  </a:cubicBezTo>
                  <a:cubicBezTo>
                    <a:pt x="221" y="151"/>
                    <a:pt x="223" y="151"/>
                    <a:pt x="226" y="150"/>
                  </a:cubicBezTo>
                  <a:cubicBezTo>
                    <a:pt x="223" y="150"/>
                    <a:pt x="221" y="149"/>
                    <a:pt x="221" y="148"/>
                  </a:cubicBezTo>
                  <a:cubicBezTo>
                    <a:pt x="221" y="148"/>
                    <a:pt x="221" y="148"/>
                    <a:pt x="221" y="148"/>
                  </a:cubicBezTo>
                  <a:cubicBezTo>
                    <a:pt x="220" y="141"/>
                    <a:pt x="216" y="136"/>
                    <a:pt x="211" y="132"/>
                  </a:cubicBezTo>
                  <a:cubicBezTo>
                    <a:pt x="211" y="132"/>
                    <a:pt x="211" y="132"/>
                    <a:pt x="211" y="132"/>
                  </a:cubicBezTo>
                  <a:cubicBezTo>
                    <a:pt x="207" y="130"/>
                    <a:pt x="223" y="103"/>
                    <a:pt x="225" y="103"/>
                  </a:cubicBezTo>
                  <a:cubicBezTo>
                    <a:pt x="225" y="103"/>
                    <a:pt x="225" y="103"/>
                    <a:pt x="225" y="103"/>
                  </a:cubicBezTo>
                  <a:cubicBezTo>
                    <a:pt x="225" y="103"/>
                    <a:pt x="225" y="103"/>
                    <a:pt x="225" y="103"/>
                  </a:cubicBezTo>
                  <a:cubicBezTo>
                    <a:pt x="226" y="103"/>
                    <a:pt x="227" y="103"/>
                    <a:pt x="228" y="103"/>
                  </a:cubicBezTo>
                  <a:cubicBezTo>
                    <a:pt x="229" y="103"/>
                    <a:pt x="229" y="103"/>
                    <a:pt x="230" y="103"/>
                  </a:cubicBezTo>
                  <a:cubicBezTo>
                    <a:pt x="230" y="103"/>
                    <a:pt x="230" y="103"/>
                    <a:pt x="230" y="103"/>
                  </a:cubicBezTo>
                  <a:cubicBezTo>
                    <a:pt x="230" y="103"/>
                    <a:pt x="230" y="103"/>
                    <a:pt x="230" y="103"/>
                  </a:cubicBezTo>
                  <a:cubicBezTo>
                    <a:pt x="232" y="103"/>
                    <a:pt x="245" y="146"/>
                    <a:pt x="244" y="146"/>
                  </a:cubicBezTo>
                  <a:cubicBezTo>
                    <a:pt x="244" y="146"/>
                    <a:pt x="244" y="146"/>
                    <a:pt x="244" y="146"/>
                  </a:cubicBezTo>
                  <a:cubicBezTo>
                    <a:pt x="243" y="147"/>
                    <a:pt x="242" y="148"/>
                    <a:pt x="242" y="150"/>
                  </a:cubicBezTo>
                  <a:cubicBezTo>
                    <a:pt x="242" y="149"/>
                    <a:pt x="242" y="149"/>
                    <a:pt x="242" y="149"/>
                  </a:cubicBezTo>
                  <a:cubicBezTo>
                    <a:pt x="242" y="150"/>
                    <a:pt x="240" y="150"/>
                    <a:pt x="237" y="150"/>
                  </a:cubicBezTo>
                  <a:cubicBezTo>
                    <a:pt x="240" y="151"/>
                    <a:pt x="242" y="151"/>
                    <a:pt x="242" y="151"/>
                  </a:cubicBezTo>
                  <a:cubicBezTo>
                    <a:pt x="242" y="151"/>
                    <a:pt x="242" y="151"/>
                    <a:pt x="242" y="151"/>
                  </a:cubicBezTo>
                  <a:cubicBezTo>
                    <a:pt x="242" y="151"/>
                    <a:pt x="242" y="152"/>
                    <a:pt x="242" y="152"/>
                  </a:cubicBezTo>
                  <a:cubicBezTo>
                    <a:pt x="243" y="154"/>
                    <a:pt x="245" y="155"/>
                    <a:pt x="246" y="155"/>
                  </a:cubicBezTo>
                  <a:cubicBezTo>
                    <a:pt x="247" y="155"/>
                    <a:pt x="248" y="155"/>
                    <a:pt x="248" y="154"/>
                  </a:cubicBezTo>
                  <a:cubicBezTo>
                    <a:pt x="249" y="154"/>
                    <a:pt x="250" y="154"/>
                    <a:pt x="250" y="153"/>
                  </a:cubicBezTo>
                  <a:cubicBezTo>
                    <a:pt x="250" y="153"/>
                    <a:pt x="250" y="153"/>
                    <a:pt x="250" y="153"/>
                  </a:cubicBezTo>
                  <a:cubicBezTo>
                    <a:pt x="250" y="153"/>
                    <a:pt x="250" y="153"/>
                    <a:pt x="250" y="153"/>
                  </a:cubicBezTo>
                  <a:cubicBezTo>
                    <a:pt x="251" y="153"/>
                    <a:pt x="256" y="155"/>
                    <a:pt x="262" y="158"/>
                  </a:cubicBezTo>
                  <a:cubicBezTo>
                    <a:pt x="256" y="155"/>
                    <a:pt x="251" y="152"/>
                    <a:pt x="251" y="152"/>
                  </a:cubicBezTo>
                  <a:cubicBezTo>
                    <a:pt x="251" y="152"/>
                    <a:pt x="251" y="152"/>
                    <a:pt x="251" y="152"/>
                  </a:cubicBezTo>
                  <a:cubicBezTo>
                    <a:pt x="251" y="151"/>
                    <a:pt x="251" y="150"/>
                    <a:pt x="251" y="148"/>
                  </a:cubicBezTo>
                  <a:cubicBezTo>
                    <a:pt x="250" y="147"/>
                    <a:pt x="248" y="146"/>
                    <a:pt x="246" y="146"/>
                  </a:cubicBezTo>
                  <a:cubicBezTo>
                    <a:pt x="246" y="146"/>
                    <a:pt x="246" y="146"/>
                    <a:pt x="246" y="146"/>
                  </a:cubicBezTo>
                  <a:cubicBezTo>
                    <a:pt x="246" y="146"/>
                    <a:pt x="246" y="146"/>
                    <a:pt x="246" y="146"/>
                  </a:cubicBezTo>
                  <a:cubicBezTo>
                    <a:pt x="246" y="146"/>
                    <a:pt x="246" y="146"/>
                    <a:pt x="246" y="146"/>
                  </a:cubicBezTo>
                  <a:cubicBezTo>
                    <a:pt x="245" y="146"/>
                    <a:pt x="231" y="103"/>
                    <a:pt x="232" y="102"/>
                  </a:cubicBezTo>
                  <a:cubicBezTo>
                    <a:pt x="232" y="102"/>
                    <a:pt x="232" y="102"/>
                    <a:pt x="232" y="102"/>
                  </a:cubicBezTo>
                  <a:cubicBezTo>
                    <a:pt x="237" y="101"/>
                    <a:pt x="239" y="96"/>
                    <a:pt x="238" y="92"/>
                  </a:cubicBezTo>
                  <a:cubicBezTo>
                    <a:pt x="238" y="92"/>
                    <a:pt x="238" y="92"/>
                    <a:pt x="238" y="92"/>
                  </a:cubicBezTo>
                  <a:cubicBezTo>
                    <a:pt x="237" y="90"/>
                    <a:pt x="283" y="72"/>
                    <a:pt x="291" y="72"/>
                  </a:cubicBezTo>
                  <a:cubicBezTo>
                    <a:pt x="292" y="72"/>
                    <a:pt x="292" y="72"/>
                    <a:pt x="292" y="73"/>
                  </a:cubicBezTo>
                  <a:cubicBezTo>
                    <a:pt x="292" y="72"/>
                    <a:pt x="292" y="72"/>
                    <a:pt x="292" y="72"/>
                  </a:cubicBezTo>
                  <a:cubicBezTo>
                    <a:pt x="295" y="78"/>
                    <a:pt x="301" y="81"/>
                    <a:pt x="308" y="81"/>
                  </a:cubicBezTo>
                  <a:cubicBezTo>
                    <a:pt x="310" y="81"/>
                    <a:pt x="313" y="81"/>
                    <a:pt x="315" y="80"/>
                  </a:cubicBezTo>
                  <a:cubicBezTo>
                    <a:pt x="324" y="76"/>
                    <a:pt x="328" y="65"/>
                    <a:pt x="324" y="57"/>
                  </a:cubicBezTo>
                  <a:cubicBezTo>
                    <a:pt x="321" y="51"/>
                    <a:pt x="314" y="47"/>
                    <a:pt x="308" y="47"/>
                  </a:cubicBezTo>
                  <a:cubicBezTo>
                    <a:pt x="305" y="47"/>
                    <a:pt x="302" y="47"/>
                    <a:pt x="300" y="49"/>
                  </a:cubicBezTo>
                  <a:cubicBezTo>
                    <a:pt x="299" y="49"/>
                    <a:pt x="298" y="49"/>
                    <a:pt x="297" y="50"/>
                  </a:cubicBezTo>
                  <a:cubicBezTo>
                    <a:pt x="298" y="50"/>
                    <a:pt x="298" y="50"/>
                    <a:pt x="298" y="50"/>
                  </a:cubicBezTo>
                  <a:cubicBezTo>
                    <a:pt x="298" y="50"/>
                    <a:pt x="297" y="50"/>
                    <a:pt x="297" y="50"/>
                  </a:cubicBezTo>
                  <a:cubicBezTo>
                    <a:pt x="293" y="50"/>
                    <a:pt x="264" y="19"/>
                    <a:pt x="266" y="17"/>
                  </a:cubicBezTo>
                  <a:cubicBezTo>
                    <a:pt x="266" y="17"/>
                    <a:pt x="266" y="17"/>
                    <a:pt x="266" y="17"/>
                  </a:cubicBezTo>
                  <a:cubicBezTo>
                    <a:pt x="267" y="16"/>
                    <a:pt x="268" y="13"/>
                    <a:pt x="268" y="11"/>
                  </a:cubicBezTo>
                  <a:cubicBezTo>
                    <a:pt x="268" y="5"/>
                    <a:pt x="263" y="0"/>
                    <a:pt x="257"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0" name="Freeform 22"/>
            <p:cNvSpPr>
              <a:spLocks/>
            </p:cNvSpPr>
            <p:nvPr/>
          </p:nvSpPr>
          <p:spPr bwMode="auto">
            <a:xfrm>
              <a:off x="7312025" y="3098800"/>
              <a:ext cx="12700" cy="26988"/>
            </a:xfrm>
            <a:custGeom>
              <a:avLst/>
              <a:gdLst>
                <a:gd name="T0" fmla="*/ 0 w 3"/>
                <a:gd name="T1" fmla="*/ 0 h 7"/>
                <a:gd name="T2" fmla="*/ 3 w 3"/>
                <a:gd name="T3" fmla="*/ 7 h 7"/>
                <a:gd name="T4" fmla="*/ 0 w 3"/>
                <a:gd name="T5" fmla="*/ 0 h 7"/>
              </a:gdLst>
              <a:ahLst/>
              <a:cxnLst>
                <a:cxn ang="0">
                  <a:pos x="T0" y="T1"/>
                </a:cxn>
                <a:cxn ang="0">
                  <a:pos x="T2" y="T3"/>
                </a:cxn>
                <a:cxn ang="0">
                  <a:pos x="T4" y="T5"/>
                </a:cxn>
              </a:cxnLst>
              <a:rect l="0" t="0" r="r" b="b"/>
              <a:pathLst>
                <a:path w="3" h="7">
                  <a:moveTo>
                    <a:pt x="0" y="0"/>
                  </a:moveTo>
                  <a:cubicBezTo>
                    <a:pt x="1" y="2"/>
                    <a:pt x="2" y="4"/>
                    <a:pt x="3" y="7"/>
                  </a:cubicBezTo>
                  <a:cubicBezTo>
                    <a:pt x="2" y="4"/>
                    <a:pt x="1" y="2"/>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1" name="Freeform 23"/>
            <p:cNvSpPr>
              <a:spLocks/>
            </p:cNvSpPr>
            <p:nvPr/>
          </p:nvSpPr>
          <p:spPr bwMode="auto">
            <a:xfrm>
              <a:off x="6307138" y="2813050"/>
              <a:ext cx="41275" cy="3175"/>
            </a:xfrm>
            <a:custGeom>
              <a:avLst/>
              <a:gdLst>
                <a:gd name="T0" fmla="*/ 5 w 11"/>
                <a:gd name="T1" fmla="*/ 0 h 1"/>
                <a:gd name="T2" fmla="*/ 0 w 11"/>
                <a:gd name="T3" fmla="*/ 0 h 1"/>
                <a:gd name="T4" fmla="*/ 5 w 11"/>
                <a:gd name="T5" fmla="*/ 1 h 1"/>
                <a:gd name="T6" fmla="*/ 11 w 11"/>
                <a:gd name="T7" fmla="*/ 0 h 1"/>
                <a:gd name="T8" fmla="*/ 5 w 11"/>
                <a:gd name="T9" fmla="*/ 0 h 1"/>
              </a:gdLst>
              <a:ahLst/>
              <a:cxnLst>
                <a:cxn ang="0">
                  <a:pos x="T0" y="T1"/>
                </a:cxn>
                <a:cxn ang="0">
                  <a:pos x="T2" y="T3"/>
                </a:cxn>
                <a:cxn ang="0">
                  <a:pos x="T4" y="T5"/>
                </a:cxn>
                <a:cxn ang="0">
                  <a:pos x="T6" y="T7"/>
                </a:cxn>
                <a:cxn ang="0">
                  <a:pos x="T8" y="T9"/>
                </a:cxn>
              </a:cxnLst>
              <a:rect l="0" t="0" r="r" b="b"/>
              <a:pathLst>
                <a:path w="11" h="1">
                  <a:moveTo>
                    <a:pt x="5" y="0"/>
                  </a:moveTo>
                  <a:cubicBezTo>
                    <a:pt x="4" y="0"/>
                    <a:pt x="2" y="0"/>
                    <a:pt x="0" y="0"/>
                  </a:cubicBezTo>
                  <a:cubicBezTo>
                    <a:pt x="2" y="1"/>
                    <a:pt x="4" y="1"/>
                    <a:pt x="5" y="1"/>
                  </a:cubicBezTo>
                  <a:cubicBezTo>
                    <a:pt x="7" y="1"/>
                    <a:pt x="9" y="0"/>
                    <a:pt x="11" y="0"/>
                  </a:cubicBezTo>
                  <a:cubicBezTo>
                    <a:pt x="9" y="0"/>
                    <a:pt x="7" y="0"/>
                    <a:pt x="5"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2" name="Freeform 24"/>
            <p:cNvSpPr>
              <a:spLocks/>
            </p:cNvSpPr>
            <p:nvPr/>
          </p:nvSpPr>
          <p:spPr bwMode="auto">
            <a:xfrm>
              <a:off x="6442075" y="2843213"/>
              <a:ext cx="11113" cy="7938"/>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2"/>
                    <a:pt x="1"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3" name="Freeform 25"/>
            <p:cNvSpPr>
              <a:spLocks/>
            </p:cNvSpPr>
            <p:nvPr/>
          </p:nvSpPr>
          <p:spPr bwMode="auto">
            <a:xfrm>
              <a:off x="6502400" y="3136900"/>
              <a:ext cx="14288" cy="52388"/>
            </a:xfrm>
            <a:custGeom>
              <a:avLst/>
              <a:gdLst>
                <a:gd name="T0" fmla="*/ 0 w 4"/>
                <a:gd name="T1" fmla="*/ 0 h 14"/>
                <a:gd name="T2" fmla="*/ 4 w 4"/>
                <a:gd name="T3" fmla="*/ 14 h 14"/>
                <a:gd name="T4" fmla="*/ 0 w 4"/>
                <a:gd name="T5" fmla="*/ 0 h 14"/>
              </a:gdLst>
              <a:ahLst/>
              <a:cxnLst>
                <a:cxn ang="0">
                  <a:pos x="T0" y="T1"/>
                </a:cxn>
                <a:cxn ang="0">
                  <a:pos x="T2" y="T3"/>
                </a:cxn>
                <a:cxn ang="0">
                  <a:pos x="T4" y="T5"/>
                </a:cxn>
              </a:cxnLst>
              <a:rect l="0" t="0" r="r" b="b"/>
              <a:pathLst>
                <a:path w="4" h="14">
                  <a:moveTo>
                    <a:pt x="0" y="0"/>
                  </a:moveTo>
                  <a:cubicBezTo>
                    <a:pt x="1" y="4"/>
                    <a:pt x="2" y="9"/>
                    <a:pt x="4" y="14"/>
                  </a:cubicBezTo>
                  <a:cubicBezTo>
                    <a:pt x="3" y="9"/>
                    <a:pt x="1"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4" name="Freeform 26"/>
            <p:cNvSpPr>
              <a:spLocks noEditPoints="1"/>
            </p:cNvSpPr>
            <p:nvPr/>
          </p:nvSpPr>
          <p:spPr bwMode="auto">
            <a:xfrm>
              <a:off x="5980113" y="2941638"/>
              <a:ext cx="528638" cy="195263"/>
            </a:xfrm>
            <a:custGeom>
              <a:avLst/>
              <a:gdLst>
                <a:gd name="T0" fmla="*/ 95 w 141"/>
                <a:gd name="T1" fmla="*/ 22 h 52"/>
                <a:gd name="T2" fmla="*/ 101 w 141"/>
                <a:gd name="T3" fmla="*/ 23 h 52"/>
                <a:gd name="T4" fmla="*/ 103 w 141"/>
                <a:gd name="T5" fmla="*/ 22 h 52"/>
                <a:gd name="T6" fmla="*/ 133 w 141"/>
                <a:gd name="T7" fmla="*/ 41 h 52"/>
                <a:gd name="T8" fmla="*/ 132 w 141"/>
                <a:gd name="T9" fmla="*/ 42 h 52"/>
                <a:gd name="T10" fmla="*/ 70 w 141"/>
                <a:gd name="T11" fmla="*/ 45 h 52"/>
                <a:gd name="T12" fmla="*/ 65 w 141"/>
                <a:gd name="T13" fmla="*/ 45 h 52"/>
                <a:gd name="T14" fmla="*/ 64 w 141"/>
                <a:gd name="T15" fmla="*/ 43 h 52"/>
                <a:gd name="T16" fmla="*/ 95 w 141"/>
                <a:gd name="T17" fmla="*/ 22 h 52"/>
                <a:gd name="T18" fmla="*/ 15 w 141"/>
                <a:gd name="T19" fmla="*/ 0 h 52"/>
                <a:gd name="T20" fmla="*/ 7 w 141"/>
                <a:gd name="T21" fmla="*/ 6 h 52"/>
                <a:gd name="T22" fmla="*/ 4 w 141"/>
                <a:gd name="T23" fmla="*/ 5 h 52"/>
                <a:gd name="T24" fmla="*/ 1 w 141"/>
                <a:gd name="T25" fmla="*/ 10 h 52"/>
                <a:gd name="T26" fmla="*/ 6 w 141"/>
                <a:gd name="T27" fmla="*/ 12 h 52"/>
                <a:gd name="T28" fmla="*/ 7 w 141"/>
                <a:gd name="T29" fmla="*/ 11 h 52"/>
                <a:gd name="T30" fmla="*/ 52 w 141"/>
                <a:gd name="T31" fmla="*/ 43 h 52"/>
                <a:gd name="T32" fmla="*/ 52 w 141"/>
                <a:gd name="T33" fmla="*/ 49 h 52"/>
                <a:gd name="T34" fmla="*/ 61 w 141"/>
                <a:gd name="T35" fmla="*/ 52 h 52"/>
                <a:gd name="T36" fmla="*/ 65 w 141"/>
                <a:gd name="T37" fmla="*/ 47 h 52"/>
                <a:gd name="T38" fmla="*/ 132 w 141"/>
                <a:gd name="T39" fmla="*/ 43 h 52"/>
                <a:gd name="T40" fmla="*/ 133 w 141"/>
                <a:gd name="T41" fmla="*/ 44 h 52"/>
                <a:gd name="T42" fmla="*/ 137 w 141"/>
                <a:gd name="T43" fmla="*/ 46 h 52"/>
                <a:gd name="T44" fmla="*/ 137 w 141"/>
                <a:gd name="T45" fmla="*/ 46 h 52"/>
                <a:gd name="T46" fmla="*/ 138 w 141"/>
                <a:gd name="T47" fmla="*/ 46 h 52"/>
                <a:gd name="T48" fmla="*/ 140 w 141"/>
                <a:gd name="T49" fmla="*/ 41 h 52"/>
                <a:gd name="T50" fmla="*/ 138 w 141"/>
                <a:gd name="T51" fmla="*/ 39 h 52"/>
                <a:gd name="T52" fmla="*/ 137 w 141"/>
                <a:gd name="T53" fmla="*/ 39 h 52"/>
                <a:gd name="T54" fmla="*/ 137 w 141"/>
                <a:gd name="T55" fmla="*/ 39 h 52"/>
                <a:gd name="T56" fmla="*/ 135 w 141"/>
                <a:gd name="T57" fmla="*/ 39 h 52"/>
                <a:gd name="T58" fmla="*/ 133 w 141"/>
                <a:gd name="T59" fmla="*/ 40 h 52"/>
                <a:gd name="T60" fmla="*/ 103 w 141"/>
                <a:gd name="T61" fmla="*/ 21 h 52"/>
                <a:gd name="T62" fmla="*/ 103 w 141"/>
                <a:gd name="T63" fmla="*/ 17 h 52"/>
                <a:gd name="T64" fmla="*/ 97 w 141"/>
                <a:gd name="T65" fmla="*/ 15 h 52"/>
                <a:gd name="T66" fmla="*/ 95 w 141"/>
                <a:gd name="T67" fmla="*/ 21 h 52"/>
                <a:gd name="T68" fmla="*/ 63 w 141"/>
                <a:gd name="T69" fmla="*/ 41 h 52"/>
                <a:gd name="T70" fmla="*/ 58 w 141"/>
                <a:gd name="T71" fmla="*/ 39 h 52"/>
                <a:gd name="T72" fmla="*/ 53 w 141"/>
                <a:gd name="T73" fmla="*/ 41 h 52"/>
                <a:gd name="T74" fmla="*/ 53 w 141"/>
                <a:gd name="T75" fmla="*/ 41 h 52"/>
                <a:gd name="T76" fmla="*/ 8 w 141"/>
                <a:gd name="T77" fmla="*/ 10 h 52"/>
                <a:gd name="T78" fmla="*/ 8 w 141"/>
                <a:gd name="T79" fmla="*/ 7 h 52"/>
                <a:gd name="T80" fmla="*/ 15 w 141"/>
                <a:gd name="T8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52">
                  <a:moveTo>
                    <a:pt x="96" y="22"/>
                  </a:moveTo>
                  <a:cubicBezTo>
                    <a:pt x="95" y="22"/>
                    <a:pt x="95" y="22"/>
                    <a:pt x="95" y="22"/>
                  </a:cubicBezTo>
                  <a:cubicBezTo>
                    <a:pt x="96" y="23"/>
                    <a:pt x="98" y="24"/>
                    <a:pt x="99" y="24"/>
                  </a:cubicBezTo>
                  <a:cubicBezTo>
                    <a:pt x="100" y="24"/>
                    <a:pt x="100" y="23"/>
                    <a:pt x="101" y="23"/>
                  </a:cubicBezTo>
                  <a:cubicBezTo>
                    <a:pt x="102" y="23"/>
                    <a:pt x="102" y="23"/>
                    <a:pt x="103" y="22"/>
                  </a:cubicBezTo>
                  <a:cubicBezTo>
                    <a:pt x="103" y="22"/>
                    <a:pt x="103" y="22"/>
                    <a:pt x="103" y="22"/>
                  </a:cubicBezTo>
                  <a:cubicBezTo>
                    <a:pt x="103" y="22"/>
                    <a:pt x="103" y="22"/>
                    <a:pt x="103" y="22"/>
                  </a:cubicBezTo>
                  <a:cubicBezTo>
                    <a:pt x="104" y="22"/>
                    <a:pt x="133" y="40"/>
                    <a:pt x="133" y="41"/>
                  </a:cubicBezTo>
                  <a:cubicBezTo>
                    <a:pt x="133" y="41"/>
                    <a:pt x="133" y="41"/>
                    <a:pt x="133" y="41"/>
                  </a:cubicBezTo>
                  <a:cubicBezTo>
                    <a:pt x="132" y="41"/>
                    <a:pt x="132" y="42"/>
                    <a:pt x="132" y="42"/>
                  </a:cubicBezTo>
                  <a:cubicBezTo>
                    <a:pt x="132" y="42"/>
                    <a:pt x="132" y="42"/>
                    <a:pt x="132" y="42"/>
                  </a:cubicBezTo>
                  <a:cubicBezTo>
                    <a:pt x="132" y="43"/>
                    <a:pt x="86" y="45"/>
                    <a:pt x="70" y="45"/>
                  </a:cubicBezTo>
                  <a:cubicBezTo>
                    <a:pt x="67" y="45"/>
                    <a:pt x="65" y="45"/>
                    <a:pt x="65" y="45"/>
                  </a:cubicBezTo>
                  <a:cubicBezTo>
                    <a:pt x="65" y="45"/>
                    <a:pt x="65" y="45"/>
                    <a:pt x="65" y="45"/>
                  </a:cubicBezTo>
                  <a:cubicBezTo>
                    <a:pt x="65" y="44"/>
                    <a:pt x="64" y="43"/>
                    <a:pt x="64" y="43"/>
                  </a:cubicBezTo>
                  <a:cubicBezTo>
                    <a:pt x="64" y="43"/>
                    <a:pt x="64" y="43"/>
                    <a:pt x="64" y="43"/>
                  </a:cubicBezTo>
                  <a:cubicBezTo>
                    <a:pt x="64" y="43"/>
                    <a:pt x="64" y="43"/>
                    <a:pt x="64" y="43"/>
                  </a:cubicBezTo>
                  <a:cubicBezTo>
                    <a:pt x="64" y="42"/>
                    <a:pt x="94" y="22"/>
                    <a:pt x="95" y="22"/>
                  </a:cubicBezTo>
                  <a:cubicBezTo>
                    <a:pt x="96" y="22"/>
                    <a:pt x="96" y="22"/>
                    <a:pt x="96" y="22"/>
                  </a:cubicBezTo>
                  <a:moveTo>
                    <a:pt x="15" y="0"/>
                  </a:moveTo>
                  <a:cubicBezTo>
                    <a:pt x="11" y="3"/>
                    <a:pt x="8" y="6"/>
                    <a:pt x="7" y="6"/>
                  </a:cubicBezTo>
                  <a:cubicBezTo>
                    <a:pt x="7" y="6"/>
                    <a:pt x="7" y="6"/>
                    <a:pt x="7" y="6"/>
                  </a:cubicBezTo>
                  <a:cubicBezTo>
                    <a:pt x="7" y="6"/>
                    <a:pt x="7" y="6"/>
                    <a:pt x="7" y="6"/>
                  </a:cubicBezTo>
                  <a:cubicBezTo>
                    <a:pt x="6" y="5"/>
                    <a:pt x="5" y="5"/>
                    <a:pt x="4" y="5"/>
                  </a:cubicBezTo>
                  <a:cubicBezTo>
                    <a:pt x="4" y="5"/>
                    <a:pt x="3" y="5"/>
                    <a:pt x="3" y="5"/>
                  </a:cubicBezTo>
                  <a:cubicBezTo>
                    <a:pt x="1" y="6"/>
                    <a:pt x="0" y="8"/>
                    <a:pt x="1" y="10"/>
                  </a:cubicBezTo>
                  <a:cubicBezTo>
                    <a:pt x="1" y="12"/>
                    <a:pt x="3" y="12"/>
                    <a:pt x="4" y="12"/>
                  </a:cubicBezTo>
                  <a:cubicBezTo>
                    <a:pt x="5" y="12"/>
                    <a:pt x="6" y="12"/>
                    <a:pt x="6" y="12"/>
                  </a:cubicBezTo>
                  <a:cubicBezTo>
                    <a:pt x="7" y="12"/>
                    <a:pt x="7" y="12"/>
                    <a:pt x="7" y="11"/>
                  </a:cubicBezTo>
                  <a:cubicBezTo>
                    <a:pt x="7" y="11"/>
                    <a:pt x="7" y="11"/>
                    <a:pt x="7" y="11"/>
                  </a:cubicBezTo>
                  <a:cubicBezTo>
                    <a:pt x="7" y="11"/>
                    <a:pt x="7" y="11"/>
                    <a:pt x="7" y="11"/>
                  </a:cubicBezTo>
                  <a:cubicBezTo>
                    <a:pt x="9" y="11"/>
                    <a:pt x="52" y="42"/>
                    <a:pt x="52" y="43"/>
                  </a:cubicBezTo>
                  <a:cubicBezTo>
                    <a:pt x="52" y="43"/>
                    <a:pt x="52" y="43"/>
                    <a:pt x="52" y="43"/>
                  </a:cubicBezTo>
                  <a:cubicBezTo>
                    <a:pt x="51" y="44"/>
                    <a:pt x="51" y="47"/>
                    <a:pt x="52" y="49"/>
                  </a:cubicBezTo>
                  <a:cubicBezTo>
                    <a:pt x="53" y="51"/>
                    <a:pt x="55" y="52"/>
                    <a:pt x="58" y="52"/>
                  </a:cubicBezTo>
                  <a:cubicBezTo>
                    <a:pt x="59" y="52"/>
                    <a:pt x="60" y="52"/>
                    <a:pt x="61" y="52"/>
                  </a:cubicBezTo>
                  <a:cubicBezTo>
                    <a:pt x="63" y="51"/>
                    <a:pt x="65" y="49"/>
                    <a:pt x="65" y="46"/>
                  </a:cubicBezTo>
                  <a:cubicBezTo>
                    <a:pt x="65" y="47"/>
                    <a:pt x="65" y="47"/>
                    <a:pt x="65" y="47"/>
                  </a:cubicBezTo>
                  <a:cubicBezTo>
                    <a:pt x="65" y="45"/>
                    <a:pt x="117" y="43"/>
                    <a:pt x="129" y="43"/>
                  </a:cubicBezTo>
                  <a:cubicBezTo>
                    <a:pt x="131" y="43"/>
                    <a:pt x="132" y="43"/>
                    <a:pt x="132" y="43"/>
                  </a:cubicBezTo>
                  <a:cubicBezTo>
                    <a:pt x="132" y="43"/>
                    <a:pt x="132" y="43"/>
                    <a:pt x="132" y="43"/>
                  </a:cubicBezTo>
                  <a:cubicBezTo>
                    <a:pt x="133" y="44"/>
                    <a:pt x="133" y="44"/>
                    <a:pt x="133" y="44"/>
                  </a:cubicBezTo>
                  <a:cubicBezTo>
                    <a:pt x="133" y="46"/>
                    <a:pt x="135" y="46"/>
                    <a:pt x="136" y="46"/>
                  </a:cubicBezTo>
                  <a:cubicBezTo>
                    <a:pt x="136" y="46"/>
                    <a:pt x="137" y="46"/>
                    <a:pt x="137" y="46"/>
                  </a:cubicBezTo>
                  <a:cubicBezTo>
                    <a:pt x="137" y="46"/>
                    <a:pt x="137" y="46"/>
                    <a:pt x="137" y="46"/>
                  </a:cubicBezTo>
                  <a:cubicBezTo>
                    <a:pt x="137" y="46"/>
                    <a:pt x="137" y="46"/>
                    <a:pt x="137" y="46"/>
                  </a:cubicBezTo>
                  <a:cubicBezTo>
                    <a:pt x="137" y="46"/>
                    <a:pt x="138" y="49"/>
                    <a:pt x="139" y="52"/>
                  </a:cubicBezTo>
                  <a:cubicBezTo>
                    <a:pt x="138" y="48"/>
                    <a:pt x="138" y="46"/>
                    <a:pt x="138" y="46"/>
                  </a:cubicBezTo>
                  <a:cubicBezTo>
                    <a:pt x="138" y="46"/>
                    <a:pt x="138" y="46"/>
                    <a:pt x="138" y="46"/>
                  </a:cubicBezTo>
                  <a:cubicBezTo>
                    <a:pt x="140" y="45"/>
                    <a:pt x="141" y="43"/>
                    <a:pt x="140" y="41"/>
                  </a:cubicBezTo>
                  <a:cubicBezTo>
                    <a:pt x="140" y="40"/>
                    <a:pt x="139" y="39"/>
                    <a:pt x="138" y="39"/>
                  </a:cubicBezTo>
                  <a:cubicBezTo>
                    <a:pt x="138" y="39"/>
                    <a:pt x="138" y="39"/>
                    <a:pt x="138" y="39"/>
                  </a:cubicBezTo>
                  <a:cubicBezTo>
                    <a:pt x="138" y="39"/>
                    <a:pt x="139" y="33"/>
                    <a:pt x="141" y="25"/>
                  </a:cubicBezTo>
                  <a:cubicBezTo>
                    <a:pt x="139" y="33"/>
                    <a:pt x="137" y="39"/>
                    <a:pt x="137" y="39"/>
                  </a:cubicBezTo>
                  <a:cubicBezTo>
                    <a:pt x="137" y="39"/>
                    <a:pt x="137" y="39"/>
                    <a:pt x="137" y="39"/>
                  </a:cubicBezTo>
                  <a:cubicBezTo>
                    <a:pt x="137" y="39"/>
                    <a:pt x="137" y="39"/>
                    <a:pt x="137" y="39"/>
                  </a:cubicBezTo>
                  <a:cubicBezTo>
                    <a:pt x="137" y="39"/>
                    <a:pt x="136" y="39"/>
                    <a:pt x="136" y="39"/>
                  </a:cubicBezTo>
                  <a:cubicBezTo>
                    <a:pt x="136" y="39"/>
                    <a:pt x="135" y="39"/>
                    <a:pt x="135" y="39"/>
                  </a:cubicBezTo>
                  <a:cubicBezTo>
                    <a:pt x="134" y="39"/>
                    <a:pt x="134" y="40"/>
                    <a:pt x="133" y="40"/>
                  </a:cubicBezTo>
                  <a:cubicBezTo>
                    <a:pt x="133" y="40"/>
                    <a:pt x="133" y="40"/>
                    <a:pt x="133" y="40"/>
                  </a:cubicBezTo>
                  <a:cubicBezTo>
                    <a:pt x="133" y="40"/>
                    <a:pt x="133" y="40"/>
                    <a:pt x="133" y="40"/>
                  </a:cubicBezTo>
                  <a:cubicBezTo>
                    <a:pt x="132" y="40"/>
                    <a:pt x="103" y="22"/>
                    <a:pt x="103" y="21"/>
                  </a:cubicBezTo>
                  <a:cubicBezTo>
                    <a:pt x="103" y="21"/>
                    <a:pt x="103" y="21"/>
                    <a:pt x="103" y="21"/>
                  </a:cubicBezTo>
                  <a:cubicBezTo>
                    <a:pt x="104" y="20"/>
                    <a:pt x="104" y="18"/>
                    <a:pt x="103" y="17"/>
                  </a:cubicBezTo>
                  <a:cubicBezTo>
                    <a:pt x="103" y="15"/>
                    <a:pt x="101" y="14"/>
                    <a:pt x="99" y="14"/>
                  </a:cubicBezTo>
                  <a:cubicBezTo>
                    <a:pt x="98" y="14"/>
                    <a:pt x="98" y="15"/>
                    <a:pt x="97" y="15"/>
                  </a:cubicBezTo>
                  <a:cubicBezTo>
                    <a:pt x="95" y="16"/>
                    <a:pt x="94" y="19"/>
                    <a:pt x="95" y="21"/>
                  </a:cubicBezTo>
                  <a:cubicBezTo>
                    <a:pt x="95" y="21"/>
                    <a:pt x="95" y="21"/>
                    <a:pt x="95" y="21"/>
                  </a:cubicBezTo>
                  <a:cubicBezTo>
                    <a:pt x="95" y="22"/>
                    <a:pt x="65" y="41"/>
                    <a:pt x="63" y="41"/>
                  </a:cubicBezTo>
                  <a:cubicBezTo>
                    <a:pt x="63" y="41"/>
                    <a:pt x="63" y="41"/>
                    <a:pt x="63" y="41"/>
                  </a:cubicBezTo>
                  <a:cubicBezTo>
                    <a:pt x="63" y="41"/>
                    <a:pt x="63" y="41"/>
                    <a:pt x="63" y="41"/>
                  </a:cubicBezTo>
                  <a:cubicBezTo>
                    <a:pt x="62" y="40"/>
                    <a:pt x="60" y="39"/>
                    <a:pt x="58" y="39"/>
                  </a:cubicBezTo>
                  <a:cubicBezTo>
                    <a:pt x="57" y="39"/>
                    <a:pt x="56" y="39"/>
                    <a:pt x="55" y="40"/>
                  </a:cubicBezTo>
                  <a:cubicBezTo>
                    <a:pt x="54" y="40"/>
                    <a:pt x="54" y="41"/>
                    <a:pt x="53" y="41"/>
                  </a:cubicBezTo>
                  <a:cubicBezTo>
                    <a:pt x="53" y="41"/>
                    <a:pt x="53" y="41"/>
                    <a:pt x="53" y="41"/>
                  </a:cubicBezTo>
                  <a:cubicBezTo>
                    <a:pt x="53" y="41"/>
                    <a:pt x="53" y="41"/>
                    <a:pt x="53" y="41"/>
                  </a:cubicBezTo>
                  <a:cubicBezTo>
                    <a:pt x="51" y="41"/>
                    <a:pt x="8" y="11"/>
                    <a:pt x="8" y="10"/>
                  </a:cubicBezTo>
                  <a:cubicBezTo>
                    <a:pt x="8" y="10"/>
                    <a:pt x="8" y="10"/>
                    <a:pt x="8" y="10"/>
                  </a:cubicBezTo>
                  <a:cubicBezTo>
                    <a:pt x="9" y="9"/>
                    <a:pt x="9" y="8"/>
                    <a:pt x="8" y="7"/>
                  </a:cubicBezTo>
                  <a:cubicBezTo>
                    <a:pt x="8" y="7"/>
                    <a:pt x="8" y="7"/>
                    <a:pt x="8" y="7"/>
                  </a:cubicBezTo>
                  <a:cubicBezTo>
                    <a:pt x="8" y="7"/>
                    <a:pt x="8" y="7"/>
                    <a:pt x="8" y="7"/>
                  </a:cubicBezTo>
                  <a:cubicBezTo>
                    <a:pt x="8" y="6"/>
                    <a:pt x="11" y="4"/>
                    <a:pt x="15"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5" name="Freeform 27"/>
            <p:cNvSpPr>
              <a:spLocks/>
            </p:cNvSpPr>
            <p:nvPr/>
          </p:nvSpPr>
          <p:spPr bwMode="auto">
            <a:xfrm>
              <a:off x="6508750" y="3016250"/>
              <a:ext cx="7938" cy="19050"/>
            </a:xfrm>
            <a:custGeom>
              <a:avLst/>
              <a:gdLst>
                <a:gd name="T0" fmla="*/ 2 w 2"/>
                <a:gd name="T1" fmla="*/ 0 h 5"/>
                <a:gd name="T2" fmla="*/ 0 w 2"/>
                <a:gd name="T3" fmla="*/ 5 h 5"/>
                <a:gd name="T4" fmla="*/ 2 w 2"/>
                <a:gd name="T5" fmla="*/ 0 h 5"/>
              </a:gdLst>
              <a:ahLst/>
              <a:cxnLst>
                <a:cxn ang="0">
                  <a:pos x="T0" y="T1"/>
                </a:cxn>
                <a:cxn ang="0">
                  <a:pos x="T2" y="T3"/>
                </a:cxn>
                <a:cxn ang="0">
                  <a:pos x="T4" y="T5"/>
                </a:cxn>
              </a:cxnLst>
              <a:rect l="0" t="0" r="r" b="b"/>
              <a:pathLst>
                <a:path w="2" h="5">
                  <a:moveTo>
                    <a:pt x="2" y="0"/>
                  </a:moveTo>
                  <a:cubicBezTo>
                    <a:pt x="1" y="2"/>
                    <a:pt x="1" y="4"/>
                    <a:pt x="0" y="5"/>
                  </a:cubicBezTo>
                  <a:cubicBezTo>
                    <a:pt x="1" y="4"/>
                    <a:pt x="1" y="2"/>
                    <a:pt x="2"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grpSp>
    </p:spTree>
    <p:extLst>
      <p:ext uri="{BB962C8B-B14F-4D97-AF65-F5344CB8AC3E}">
        <p14:creationId xmlns:p14="http://schemas.microsoft.com/office/powerpoint/2010/main" val="3310694566"/>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2394813282"/>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Only bg">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grpSp>
        <p:nvGrpSpPr>
          <p:cNvPr id="11" name="Group 10"/>
          <p:cNvGrpSpPr>
            <a:grpSpLocks noChangeAspect="1"/>
          </p:cNvGrpSpPr>
          <p:nvPr userDrawn="1"/>
        </p:nvGrpSpPr>
        <p:grpSpPr>
          <a:xfrm>
            <a:off x="182880" y="1419279"/>
            <a:ext cx="8778240" cy="3072690"/>
            <a:chOff x="2719388" y="2247900"/>
            <a:chExt cx="6748462" cy="2362200"/>
          </a:xfrm>
          <a:solidFill>
            <a:schemeClr val="tx2">
              <a:lumMod val="85000"/>
            </a:schemeClr>
          </a:solidFill>
        </p:grpSpPr>
        <p:sp>
          <p:nvSpPr>
            <p:cNvPr id="12" name="Freeform 5"/>
            <p:cNvSpPr>
              <a:spLocks/>
            </p:cNvSpPr>
            <p:nvPr/>
          </p:nvSpPr>
          <p:spPr bwMode="auto">
            <a:xfrm>
              <a:off x="5416550" y="3241675"/>
              <a:ext cx="74613" cy="4763"/>
            </a:xfrm>
            <a:custGeom>
              <a:avLst/>
              <a:gdLst>
                <a:gd name="T0" fmla="*/ 20 w 20"/>
                <a:gd name="T1" fmla="*/ 0 h 1"/>
                <a:gd name="T2" fmla="*/ 0 w 20"/>
                <a:gd name="T3" fmla="*/ 1 h 1"/>
                <a:gd name="T4" fmla="*/ 20 w 20"/>
                <a:gd name="T5" fmla="*/ 0 h 1"/>
              </a:gdLst>
              <a:ahLst/>
              <a:cxnLst>
                <a:cxn ang="0">
                  <a:pos x="T0" y="T1"/>
                </a:cxn>
                <a:cxn ang="0">
                  <a:pos x="T2" y="T3"/>
                </a:cxn>
                <a:cxn ang="0">
                  <a:pos x="T4" y="T5"/>
                </a:cxn>
              </a:cxnLst>
              <a:rect l="0" t="0" r="r" b="b"/>
              <a:pathLst>
                <a:path w="20" h="1">
                  <a:moveTo>
                    <a:pt x="20" y="0"/>
                  </a:moveTo>
                  <a:cubicBezTo>
                    <a:pt x="14" y="0"/>
                    <a:pt x="6" y="0"/>
                    <a:pt x="0" y="1"/>
                  </a:cubicBezTo>
                  <a:cubicBezTo>
                    <a:pt x="6" y="1"/>
                    <a:pt x="14" y="0"/>
                    <a:pt x="2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 name="Freeform 6"/>
            <p:cNvSpPr>
              <a:spLocks/>
            </p:cNvSpPr>
            <p:nvPr/>
          </p:nvSpPr>
          <p:spPr bwMode="auto">
            <a:xfrm>
              <a:off x="5311775" y="3389313"/>
              <a:ext cx="44450" cy="46038"/>
            </a:xfrm>
            <a:custGeom>
              <a:avLst/>
              <a:gdLst>
                <a:gd name="T0" fmla="*/ 0 w 12"/>
                <a:gd name="T1" fmla="*/ 0 h 12"/>
                <a:gd name="T2" fmla="*/ 12 w 12"/>
                <a:gd name="T3" fmla="*/ 12 h 12"/>
                <a:gd name="T4" fmla="*/ 0 w 12"/>
                <a:gd name="T5" fmla="*/ 0 h 12"/>
              </a:gdLst>
              <a:ahLst/>
              <a:cxnLst>
                <a:cxn ang="0">
                  <a:pos x="T0" y="T1"/>
                </a:cxn>
                <a:cxn ang="0">
                  <a:pos x="T2" y="T3"/>
                </a:cxn>
                <a:cxn ang="0">
                  <a:pos x="T4" y="T5"/>
                </a:cxn>
              </a:cxnLst>
              <a:rect l="0" t="0" r="r" b="b"/>
              <a:pathLst>
                <a:path w="12" h="12">
                  <a:moveTo>
                    <a:pt x="0" y="0"/>
                  </a:moveTo>
                  <a:cubicBezTo>
                    <a:pt x="4" y="4"/>
                    <a:pt x="8" y="8"/>
                    <a:pt x="12" y="12"/>
                  </a:cubicBezTo>
                  <a:cubicBezTo>
                    <a:pt x="8" y="8"/>
                    <a:pt x="4"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 name="Oval 7"/>
            <p:cNvSpPr>
              <a:spLocks noChangeArrowheads="1"/>
            </p:cNvSpPr>
            <p:nvPr/>
          </p:nvSpPr>
          <p:spPr bwMode="auto">
            <a:xfrm>
              <a:off x="4608513" y="3027363"/>
              <a:ext cx="117475" cy="112713"/>
            </a:xfrm>
            <a:prstGeom prst="ellipse">
              <a:avLst/>
            </a:pr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 name="Freeform 8"/>
            <p:cNvSpPr>
              <a:spLocks noEditPoints="1"/>
            </p:cNvSpPr>
            <p:nvPr/>
          </p:nvSpPr>
          <p:spPr bwMode="auto">
            <a:xfrm>
              <a:off x="7437438" y="3773488"/>
              <a:ext cx="720725" cy="381000"/>
            </a:xfrm>
            <a:custGeom>
              <a:avLst/>
              <a:gdLst>
                <a:gd name="T0" fmla="*/ 78 w 192"/>
                <a:gd name="T1" fmla="*/ 24 h 101"/>
                <a:gd name="T2" fmla="*/ 80 w 192"/>
                <a:gd name="T3" fmla="*/ 24 h 101"/>
                <a:gd name="T4" fmla="*/ 86 w 192"/>
                <a:gd name="T5" fmla="*/ 32 h 101"/>
                <a:gd name="T6" fmla="*/ 65 w 192"/>
                <a:gd name="T7" fmla="*/ 74 h 101"/>
                <a:gd name="T8" fmla="*/ 65 w 192"/>
                <a:gd name="T9" fmla="*/ 74 h 101"/>
                <a:gd name="T10" fmla="*/ 54 w 192"/>
                <a:gd name="T11" fmla="*/ 75 h 101"/>
                <a:gd name="T12" fmla="*/ 52 w 192"/>
                <a:gd name="T13" fmla="*/ 77 h 101"/>
                <a:gd name="T14" fmla="*/ 14 w 192"/>
                <a:gd name="T15" fmla="*/ 43 h 101"/>
                <a:gd name="T16" fmla="*/ 15 w 192"/>
                <a:gd name="T17" fmla="*/ 39 h 101"/>
                <a:gd name="T18" fmla="*/ 96 w 192"/>
                <a:gd name="T19" fmla="*/ 0 h 101"/>
                <a:gd name="T20" fmla="*/ 78 w 192"/>
                <a:gd name="T21" fmla="*/ 19 h 101"/>
                <a:gd name="T22" fmla="*/ 15 w 192"/>
                <a:gd name="T23" fmla="*/ 37 h 101"/>
                <a:gd name="T24" fmla="*/ 15 w 192"/>
                <a:gd name="T25" fmla="*/ 37 h 101"/>
                <a:gd name="T26" fmla="*/ 10 w 192"/>
                <a:gd name="T27" fmla="*/ 33 h 101"/>
                <a:gd name="T28" fmla="*/ 13 w 192"/>
                <a:gd name="T29" fmla="*/ 9 h 101"/>
                <a:gd name="T30" fmla="*/ 8 w 192"/>
                <a:gd name="T31" fmla="*/ 33 h 101"/>
                <a:gd name="T32" fmla="*/ 2 w 192"/>
                <a:gd name="T33" fmla="*/ 42 h 101"/>
                <a:gd name="T34" fmla="*/ 11 w 192"/>
                <a:gd name="T35" fmla="*/ 45 h 101"/>
                <a:gd name="T36" fmla="*/ 12 w 192"/>
                <a:gd name="T37" fmla="*/ 45 h 101"/>
                <a:gd name="T38" fmla="*/ 49 w 192"/>
                <a:gd name="T39" fmla="*/ 79 h 101"/>
                <a:gd name="T40" fmla="*/ 48 w 192"/>
                <a:gd name="T41" fmla="*/ 93 h 101"/>
                <a:gd name="T42" fmla="*/ 66 w 192"/>
                <a:gd name="T43" fmla="*/ 99 h 101"/>
                <a:gd name="T44" fmla="*/ 69 w 192"/>
                <a:gd name="T45" fmla="*/ 76 h 101"/>
                <a:gd name="T46" fmla="*/ 91 w 192"/>
                <a:gd name="T47" fmla="*/ 34 h 101"/>
                <a:gd name="T48" fmla="*/ 91 w 192"/>
                <a:gd name="T49" fmla="*/ 34 h 101"/>
                <a:gd name="T50" fmla="*/ 104 w 192"/>
                <a:gd name="T51" fmla="*/ 33 h 101"/>
                <a:gd name="T52" fmla="*/ 109 w 192"/>
                <a:gd name="T53" fmla="*/ 30 h 101"/>
                <a:gd name="T54" fmla="*/ 178 w 192"/>
                <a:gd name="T55" fmla="*/ 78 h 101"/>
                <a:gd name="T56" fmla="*/ 178 w 192"/>
                <a:gd name="T57" fmla="*/ 83 h 101"/>
                <a:gd name="T58" fmla="*/ 187 w 192"/>
                <a:gd name="T59" fmla="*/ 87 h 101"/>
                <a:gd name="T60" fmla="*/ 184 w 192"/>
                <a:gd name="T61" fmla="*/ 74 h 101"/>
                <a:gd name="T62" fmla="*/ 179 w 192"/>
                <a:gd name="T63" fmla="*/ 76 h 101"/>
                <a:gd name="T64" fmla="*/ 179 w 192"/>
                <a:gd name="T65" fmla="*/ 76 h 101"/>
                <a:gd name="T66" fmla="*/ 112 w 192"/>
                <a:gd name="T67" fmla="*/ 26 h 101"/>
                <a:gd name="T68" fmla="*/ 96 w 192"/>
                <a:gd name="T6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01">
                  <a:moveTo>
                    <a:pt x="15" y="39"/>
                  </a:moveTo>
                  <a:cubicBezTo>
                    <a:pt x="15" y="38"/>
                    <a:pt x="68" y="24"/>
                    <a:pt x="78" y="24"/>
                  </a:cubicBezTo>
                  <a:cubicBezTo>
                    <a:pt x="79" y="24"/>
                    <a:pt x="80" y="24"/>
                    <a:pt x="80" y="24"/>
                  </a:cubicBezTo>
                  <a:cubicBezTo>
                    <a:pt x="80" y="24"/>
                    <a:pt x="80" y="24"/>
                    <a:pt x="80" y="24"/>
                  </a:cubicBezTo>
                  <a:cubicBezTo>
                    <a:pt x="80" y="25"/>
                    <a:pt x="80" y="25"/>
                    <a:pt x="80" y="25"/>
                  </a:cubicBezTo>
                  <a:cubicBezTo>
                    <a:pt x="81" y="28"/>
                    <a:pt x="84" y="30"/>
                    <a:pt x="86" y="32"/>
                  </a:cubicBezTo>
                  <a:cubicBezTo>
                    <a:pt x="86" y="31"/>
                    <a:pt x="86" y="31"/>
                    <a:pt x="86" y="31"/>
                  </a:cubicBezTo>
                  <a:cubicBezTo>
                    <a:pt x="89" y="33"/>
                    <a:pt x="68" y="74"/>
                    <a:pt x="65" y="74"/>
                  </a:cubicBezTo>
                  <a:cubicBezTo>
                    <a:pt x="65" y="74"/>
                    <a:pt x="65" y="74"/>
                    <a:pt x="65" y="74"/>
                  </a:cubicBezTo>
                  <a:cubicBezTo>
                    <a:pt x="65" y="74"/>
                    <a:pt x="65" y="74"/>
                    <a:pt x="65" y="74"/>
                  </a:cubicBezTo>
                  <a:cubicBezTo>
                    <a:pt x="63" y="74"/>
                    <a:pt x="62" y="74"/>
                    <a:pt x="60" y="74"/>
                  </a:cubicBezTo>
                  <a:cubicBezTo>
                    <a:pt x="58" y="74"/>
                    <a:pt x="56" y="74"/>
                    <a:pt x="54" y="75"/>
                  </a:cubicBezTo>
                  <a:cubicBezTo>
                    <a:pt x="53" y="76"/>
                    <a:pt x="53" y="76"/>
                    <a:pt x="52" y="77"/>
                  </a:cubicBezTo>
                  <a:cubicBezTo>
                    <a:pt x="52" y="77"/>
                    <a:pt x="52" y="77"/>
                    <a:pt x="52" y="77"/>
                  </a:cubicBezTo>
                  <a:cubicBezTo>
                    <a:pt x="52" y="77"/>
                    <a:pt x="52" y="77"/>
                    <a:pt x="52" y="77"/>
                  </a:cubicBezTo>
                  <a:cubicBezTo>
                    <a:pt x="48" y="77"/>
                    <a:pt x="13" y="44"/>
                    <a:pt x="14" y="43"/>
                  </a:cubicBezTo>
                  <a:cubicBezTo>
                    <a:pt x="14" y="43"/>
                    <a:pt x="14" y="43"/>
                    <a:pt x="14" y="43"/>
                  </a:cubicBezTo>
                  <a:cubicBezTo>
                    <a:pt x="15" y="42"/>
                    <a:pt x="15" y="40"/>
                    <a:pt x="15" y="39"/>
                  </a:cubicBezTo>
                  <a:cubicBezTo>
                    <a:pt x="15" y="39"/>
                    <a:pt x="15" y="39"/>
                    <a:pt x="15" y="39"/>
                  </a:cubicBezTo>
                  <a:moveTo>
                    <a:pt x="96" y="0"/>
                  </a:moveTo>
                  <a:cubicBezTo>
                    <a:pt x="94" y="0"/>
                    <a:pt x="91" y="1"/>
                    <a:pt x="89" y="2"/>
                  </a:cubicBezTo>
                  <a:cubicBezTo>
                    <a:pt x="81" y="5"/>
                    <a:pt x="78" y="12"/>
                    <a:pt x="78" y="19"/>
                  </a:cubicBezTo>
                  <a:cubicBezTo>
                    <a:pt x="78" y="19"/>
                    <a:pt x="78" y="19"/>
                    <a:pt x="78" y="19"/>
                  </a:cubicBezTo>
                  <a:cubicBezTo>
                    <a:pt x="79" y="23"/>
                    <a:pt x="20" y="37"/>
                    <a:pt x="15" y="37"/>
                  </a:cubicBezTo>
                  <a:cubicBezTo>
                    <a:pt x="15" y="37"/>
                    <a:pt x="15" y="37"/>
                    <a:pt x="15" y="37"/>
                  </a:cubicBezTo>
                  <a:cubicBezTo>
                    <a:pt x="15" y="37"/>
                    <a:pt x="15" y="37"/>
                    <a:pt x="15" y="37"/>
                  </a:cubicBezTo>
                  <a:cubicBezTo>
                    <a:pt x="14" y="37"/>
                    <a:pt x="14" y="37"/>
                    <a:pt x="14" y="37"/>
                  </a:cubicBezTo>
                  <a:cubicBezTo>
                    <a:pt x="14" y="35"/>
                    <a:pt x="12" y="34"/>
                    <a:pt x="10" y="33"/>
                  </a:cubicBezTo>
                  <a:cubicBezTo>
                    <a:pt x="10" y="33"/>
                    <a:pt x="10" y="33"/>
                    <a:pt x="10" y="33"/>
                  </a:cubicBezTo>
                  <a:cubicBezTo>
                    <a:pt x="10" y="33"/>
                    <a:pt x="11" y="22"/>
                    <a:pt x="13" y="9"/>
                  </a:cubicBezTo>
                  <a:cubicBezTo>
                    <a:pt x="11" y="22"/>
                    <a:pt x="9" y="33"/>
                    <a:pt x="8" y="33"/>
                  </a:cubicBezTo>
                  <a:cubicBezTo>
                    <a:pt x="8" y="33"/>
                    <a:pt x="8" y="33"/>
                    <a:pt x="8" y="33"/>
                  </a:cubicBezTo>
                  <a:cubicBezTo>
                    <a:pt x="7" y="33"/>
                    <a:pt x="6" y="33"/>
                    <a:pt x="5" y="34"/>
                  </a:cubicBezTo>
                  <a:cubicBezTo>
                    <a:pt x="2" y="35"/>
                    <a:pt x="0" y="39"/>
                    <a:pt x="2" y="42"/>
                  </a:cubicBezTo>
                  <a:cubicBezTo>
                    <a:pt x="3" y="45"/>
                    <a:pt x="6" y="46"/>
                    <a:pt x="8" y="46"/>
                  </a:cubicBezTo>
                  <a:cubicBezTo>
                    <a:pt x="9" y="46"/>
                    <a:pt x="10" y="46"/>
                    <a:pt x="11" y="45"/>
                  </a:cubicBezTo>
                  <a:cubicBezTo>
                    <a:pt x="12" y="45"/>
                    <a:pt x="12" y="45"/>
                    <a:pt x="12" y="45"/>
                  </a:cubicBezTo>
                  <a:cubicBezTo>
                    <a:pt x="12" y="45"/>
                    <a:pt x="12" y="45"/>
                    <a:pt x="12" y="45"/>
                  </a:cubicBezTo>
                  <a:cubicBezTo>
                    <a:pt x="12" y="45"/>
                    <a:pt x="12" y="45"/>
                    <a:pt x="12" y="45"/>
                  </a:cubicBezTo>
                  <a:cubicBezTo>
                    <a:pt x="14" y="45"/>
                    <a:pt x="51" y="77"/>
                    <a:pt x="49" y="79"/>
                  </a:cubicBezTo>
                  <a:cubicBezTo>
                    <a:pt x="49" y="79"/>
                    <a:pt x="49" y="79"/>
                    <a:pt x="49" y="79"/>
                  </a:cubicBezTo>
                  <a:cubicBezTo>
                    <a:pt x="46" y="83"/>
                    <a:pt x="46" y="88"/>
                    <a:pt x="48" y="93"/>
                  </a:cubicBezTo>
                  <a:cubicBezTo>
                    <a:pt x="50" y="98"/>
                    <a:pt x="55" y="101"/>
                    <a:pt x="60" y="101"/>
                  </a:cubicBezTo>
                  <a:cubicBezTo>
                    <a:pt x="62" y="101"/>
                    <a:pt x="65" y="100"/>
                    <a:pt x="66" y="99"/>
                  </a:cubicBezTo>
                  <a:cubicBezTo>
                    <a:pt x="73" y="96"/>
                    <a:pt x="76" y="88"/>
                    <a:pt x="73" y="81"/>
                  </a:cubicBezTo>
                  <a:cubicBezTo>
                    <a:pt x="72" y="79"/>
                    <a:pt x="70" y="78"/>
                    <a:pt x="69" y="76"/>
                  </a:cubicBezTo>
                  <a:cubicBezTo>
                    <a:pt x="69" y="76"/>
                    <a:pt x="69" y="76"/>
                    <a:pt x="69" y="76"/>
                  </a:cubicBezTo>
                  <a:cubicBezTo>
                    <a:pt x="66" y="75"/>
                    <a:pt x="87" y="34"/>
                    <a:pt x="91" y="34"/>
                  </a:cubicBezTo>
                  <a:cubicBezTo>
                    <a:pt x="91" y="34"/>
                    <a:pt x="91" y="34"/>
                    <a:pt x="91" y="34"/>
                  </a:cubicBezTo>
                  <a:cubicBezTo>
                    <a:pt x="91" y="34"/>
                    <a:pt x="91" y="34"/>
                    <a:pt x="91" y="34"/>
                  </a:cubicBezTo>
                  <a:cubicBezTo>
                    <a:pt x="92" y="34"/>
                    <a:pt x="94" y="35"/>
                    <a:pt x="96" y="35"/>
                  </a:cubicBezTo>
                  <a:cubicBezTo>
                    <a:pt x="99" y="35"/>
                    <a:pt x="101" y="34"/>
                    <a:pt x="104" y="33"/>
                  </a:cubicBezTo>
                  <a:cubicBezTo>
                    <a:pt x="106" y="32"/>
                    <a:pt x="107" y="31"/>
                    <a:pt x="109" y="29"/>
                  </a:cubicBezTo>
                  <a:cubicBezTo>
                    <a:pt x="109" y="30"/>
                    <a:pt x="109" y="30"/>
                    <a:pt x="109" y="30"/>
                  </a:cubicBezTo>
                  <a:cubicBezTo>
                    <a:pt x="109" y="30"/>
                    <a:pt x="109" y="29"/>
                    <a:pt x="109" y="29"/>
                  </a:cubicBezTo>
                  <a:cubicBezTo>
                    <a:pt x="115" y="29"/>
                    <a:pt x="179" y="76"/>
                    <a:pt x="178" y="78"/>
                  </a:cubicBezTo>
                  <a:cubicBezTo>
                    <a:pt x="178" y="78"/>
                    <a:pt x="178" y="78"/>
                    <a:pt x="178" y="78"/>
                  </a:cubicBezTo>
                  <a:cubicBezTo>
                    <a:pt x="177" y="79"/>
                    <a:pt x="177" y="82"/>
                    <a:pt x="178" y="83"/>
                  </a:cubicBezTo>
                  <a:cubicBezTo>
                    <a:pt x="179" y="86"/>
                    <a:pt x="182" y="87"/>
                    <a:pt x="184" y="87"/>
                  </a:cubicBezTo>
                  <a:cubicBezTo>
                    <a:pt x="185" y="87"/>
                    <a:pt x="186" y="87"/>
                    <a:pt x="187" y="87"/>
                  </a:cubicBezTo>
                  <a:cubicBezTo>
                    <a:pt x="191" y="85"/>
                    <a:pt x="192" y="81"/>
                    <a:pt x="190" y="78"/>
                  </a:cubicBezTo>
                  <a:cubicBezTo>
                    <a:pt x="189" y="75"/>
                    <a:pt x="187" y="74"/>
                    <a:pt x="184" y="74"/>
                  </a:cubicBezTo>
                  <a:cubicBezTo>
                    <a:pt x="183" y="74"/>
                    <a:pt x="182" y="74"/>
                    <a:pt x="181" y="75"/>
                  </a:cubicBezTo>
                  <a:cubicBezTo>
                    <a:pt x="181" y="75"/>
                    <a:pt x="180" y="75"/>
                    <a:pt x="179" y="76"/>
                  </a:cubicBezTo>
                  <a:cubicBezTo>
                    <a:pt x="179" y="76"/>
                    <a:pt x="179" y="76"/>
                    <a:pt x="179" y="76"/>
                  </a:cubicBezTo>
                  <a:cubicBezTo>
                    <a:pt x="179" y="76"/>
                    <a:pt x="179" y="76"/>
                    <a:pt x="179" y="76"/>
                  </a:cubicBezTo>
                  <a:cubicBezTo>
                    <a:pt x="177" y="76"/>
                    <a:pt x="110" y="29"/>
                    <a:pt x="112" y="26"/>
                  </a:cubicBezTo>
                  <a:cubicBezTo>
                    <a:pt x="112" y="26"/>
                    <a:pt x="112" y="26"/>
                    <a:pt x="112" y="26"/>
                  </a:cubicBezTo>
                  <a:cubicBezTo>
                    <a:pt x="115" y="21"/>
                    <a:pt x="115" y="15"/>
                    <a:pt x="112" y="10"/>
                  </a:cubicBezTo>
                  <a:cubicBezTo>
                    <a:pt x="109" y="4"/>
                    <a:pt x="103" y="0"/>
                    <a:pt x="96"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 name="Freeform 9"/>
            <p:cNvSpPr>
              <a:spLocks noEditPoints="1"/>
            </p:cNvSpPr>
            <p:nvPr/>
          </p:nvSpPr>
          <p:spPr bwMode="auto">
            <a:xfrm>
              <a:off x="6915150" y="2703513"/>
              <a:ext cx="2552700" cy="1103313"/>
            </a:xfrm>
            <a:custGeom>
              <a:avLst/>
              <a:gdLst>
                <a:gd name="T0" fmla="*/ 305 w 680"/>
                <a:gd name="T1" fmla="*/ 180 h 293"/>
                <a:gd name="T2" fmla="*/ 476 w 680"/>
                <a:gd name="T3" fmla="*/ 198 h 293"/>
                <a:gd name="T4" fmla="*/ 671 w 680"/>
                <a:gd name="T5" fmla="*/ 164 h 293"/>
                <a:gd name="T6" fmla="*/ 639 w 680"/>
                <a:gd name="T7" fmla="*/ 163 h 293"/>
                <a:gd name="T8" fmla="*/ 176 w 680"/>
                <a:gd name="T9" fmla="*/ 124 h 293"/>
                <a:gd name="T10" fmla="*/ 137 w 680"/>
                <a:gd name="T11" fmla="*/ 142 h 293"/>
                <a:gd name="T12" fmla="*/ 210 w 680"/>
                <a:gd name="T13" fmla="*/ 112 h 293"/>
                <a:gd name="T14" fmla="*/ 209 w 680"/>
                <a:gd name="T15" fmla="*/ 112 h 293"/>
                <a:gd name="T16" fmla="*/ 302 w 680"/>
                <a:gd name="T17" fmla="*/ 177 h 293"/>
                <a:gd name="T18" fmla="*/ 501 w 680"/>
                <a:gd name="T19" fmla="*/ 103 h 293"/>
                <a:gd name="T20" fmla="*/ 447 w 680"/>
                <a:gd name="T21" fmla="*/ 82 h 293"/>
                <a:gd name="T22" fmla="*/ 431 w 680"/>
                <a:gd name="T23" fmla="*/ 75 h 293"/>
                <a:gd name="T24" fmla="*/ 272 w 680"/>
                <a:gd name="T25" fmla="*/ 100 h 293"/>
                <a:gd name="T26" fmla="*/ 176 w 680"/>
                <a:gd name="T27" fmla="*/ 124 h 293"/>
                <a:gd name="T28" fmla="*/ 165 w 680"/>
                <a:gd name="T29" fmla="*/ 74 h 293"/>
                <a:gd name="T30" fmla="*/ 209 w 680"/>
                <a:gd name="T31" fmla="*/ 110 h 293"/>
                <a:gd name="T32" fmla="*/ 1 w 680"/>
                <a:gd name="T33" fmla="*/ 9 h 293"/>
                <a:gd name="T34" fmla="*/ 112 w 680"/>
                <a:gd name="T35" fmla="*/ 136 h 293"/>
                <a:gd name="T36" fmla="*/ 172 w 680"/>
                <a:gd name="T37" fmla="*/ 142 h 293"/>
                <a:gd name="T38" fmla="*/ 187 w 680"/>
                <a:gd name="T39" fmla="*/ 142 h 293"/>
                <a:gd name="T40" fmla="*/ 251 w 680"/>
                <a:gd name="T41" fmla="*/ 143 h 293"/>
                <a:gd name="T42" fmla="*/ 266 w 680"/>
                <a:gd name="T43" fmla="*/ 103 h 293"/>
                <a:gd name="T44" fmla="*/ 298 w 680"/>
                <a:gd name="T45" fmla="*/ 202 h 293"/>
                <a:gd name="T46" fmla="*/ 361 w 680"/>
                <a:gd name="T47" fmla="*/ 264 h 293"/>
                <a:gd name="T48" fmla="*/ 313 w 680"/>
                <a:gd name="T49" fmla="*/ 172 h 293"/>
                <a:gd name="T50" fmla="*/ 443 w 680"/>
                <a:gd name="T51" fmla="*/ 83 h 293"/>
                <a:gd name="T52" fmla="*/ 364 w 680"/>
                <a:gd name="T53" fmla="*/ 184 h 293"/>
                <a:gd name="T54" fmla="*/ 399 w 680"/>
                <a:gd name="T55" fmla="*/ 155 h 293"/>
                <a:gd name="T56" fmla="*/ 358 w 680"/>
                <a:gd name="T57" fmla="*/ 180 h 293"/>
                <a:gd name="T58" fmla="*/ 430 w 680"/>
                <a:gd name="T59" fmla="*/ 184 h 293"/>
                <a:gd name="T60" fmla="*/ 436 w 680"/>
                <a:gd name="T61" fmla="*/ 180 h 293"/>
                <a:gd name="T62" fmla="*/ 469 w 680"/>
                <a:gd name="T63" fmla="*/ 199 h 293"/>
                <a:gd name="T64" fmla="*/ 518 w 680"/>
                <a:gd name="T65" fmla="*/ 271 h 293"/>
                <a:gd name="T66" fmla="*/ 522 w 680"/>
                <a:gd name="T67" fmla="*/ 268 h 293"/>
                <a:gd name="T68" fmla="*/ 480 w 680"/>
                <a:gd name="T69" fmla="*/ 199 h 293"/>
                <a:gd name="T70" fmla="*/ 548 w 680"/>
                <a:gd name="T71" fmla="*/ 166 h 293"/>
                <a:gd name="T72" fmla="*/ 585 w 680"/>
                <a:gd name="T73" fmla="*/ 189 h 293"/>
                <a:gd name="T74" fmla="*/ 586 w 680"/>
                <a:gd name="T75" fmla="*/ 184 h 293"/>
                <a:gd name="T76" fmla="*/ 586 w 680"/>
                <a:gd name="T77" fmla="*/ 135 h 293"/>
                <a:gd name="T78" fmla="*/ 593 w 680"/>
                <a:gd name="T79" fmla="*/ 135 h 293"/>
                <a:gd name="T80" fmla="*/ 639 w 680"/>
                <a:gd name="T81" fmla="*/ 165 h 293"/>
                <a:gd name="T82" fmla="*/ 593 w 680"/>
                <a:gd name="T83" fmla="*/ 258 h 293"/>
                <a:gd name="T84" fmla="*/ 592 w 680"/>
                <a:gd name="T85" fmla="*/ 270 h 293"/>
                <a:gd name="T86" fmla="*/ 675 w 680"/>
                <a:gd name="T87" fmla="*/ 169 h 293"/>
                <a:gd name="T88" fmla="*/ 671 w 680"/>
                <a:gd name="T89" fmla="*/ 163 h 293"/>
                <a:gd name="T90" fmla="*/ 585 w 680"/>
                <a:gd name="T91" fmla="*/ 134 h 293"/>
                <a:gd name="T92" fmla="*/ 541 w 680"/>
                <a:gd name="T93" fmla="*/ 159 h 293"/>
                <a:gd name="T94" fmla="*/ 519 w 680"/>
                <a:gd name="T95" fmla="*/ 102 h 293"/>
                <a:gd name="T96" fmla="*/ 454 w 680"/>
                <a:gd name="T97" fmla="*/ 75 h 293"/>
                <a:gd name="T98" fmla="*/ 277 w 680"/>
                <a:gd name="T99" fmla="*/ 88 h 293"/>
                <a:gd name="T100" fmla="*/ 260 w 680"/>
                <a:gd name="T101" fmla="*/ 102 h 293"/>
                <a:gd name="T102" fmla="*/ 245 w 680"/>
                <a:gd name="T103" fmla="*/ 146 h 293"/>
                <a:gd name="T104" fmla="*/ 211 w 680"/>
                <a:gd name="T105" fmla="*/ 113 h 293"/>
                <a:gd name="T106" fmla="*/ 211 w 680"/>
                <a:gd name="T107" fmla="*/ 105 h 293"/>
                <a:gd name="T108" fmla="*/ 168 w 680"/>
                <a:gd name="T109" fmla="*/ 55 h 293"/>
                <a:gd name="T110" fmla="*/ 122 w 680"/>
                <a:gd name="T111" fmla="*/ 132 h 293"/>
                <a:gd name="T112" fmla="*/ 115 w 680"/>
                <a:gd name="T113" fmla="*/ 133 h 293"/>
                <a:gd name="T114" fmla="*/ 98 w 680"/>
                <a:gd name="T115" fmla="*/ 90 h 293"/>
                <a:gd name="T116" fmla="*/ 102 w 680"/>
                <a:gd name="T117" fmla="*/ 84 h 293"/>
                <a:gd name="T118" fmla="*/ 13 w 680"/>
                <a:gd name="T119" fmla="*/ 1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0" h="293">
                  <a:moveTo>
                    <a:pt x="305" y="180"/>
                  </a:moveTo>
                  <a:cubicBezTo>
                    <a:pt x="304" y="180"/>
                    <a:pt x="307" y="177"/>
                    <a:pt x="313" y="173"/>
                  </a:cubicBezTo>
                  <a:cubicBezTo>
                    <a:pt x="333" y="207"/>
                    <a:pt x="354" y="243"/>
                    <a:pt x="355" y="247"/>
                  </a:cubicBezTo>
                  <a:cubicBezTo>
                    <a:pt x="350" y="244"/>
                    <a:pt x="302" y="199"/>
                    <a:pt x="304" y="197"/>
                  </a:cubicBezTo>
                  <a:cubicBezTo>
                    <a:pt x="304" y="197"/>
                    <a:pt x="304" y="197"/>
                    <a:pt x="304" y="197"/>
                  </a:cubicBezTo>
                  <a:cubicBezTo>
                    <a:pt x="307" y="193"/>
                    <a:pt x="308" y="187"/>
                    <a:pt x="305" y="182"/>
                  </a:cubicBezTo>
                  <a:cubicBezTo>
                    <a:pt x="305" y="181"/>
                    <a:pt x="305" y="181"/>
                    <a:pt x="305" y="180"/>
                  </a:cubicBezTo>
                  <a:cubicBezTo>
                    <a:pt x="305" y="180"/>
                    <a:pt x="305" y="180"/>
                    <a:pt x="305" y="180"/>
                  </a:cubicBezTo>
                  <a:moveTo>
                    <a:pt x="473" y="198"/>
                  </a:moveTo>
                  <a:cubicBezTo>
                    <a:pt x="472" y="198"/>
                    <a:pt x="469" y="187"/>
                    <a:pt x="465" y="171"/>
                  </a:cubicBezTo>
                  <a:cubicBezTo>
                    <a:pt x="473" y="170"/>
                    <a:pt x="481" y="169"/>
                    <a:pt x="489" y="168"/>
                  </a:cubicBezTo>
                  <a:cubicBezTo>
                    <a:pt x="483" y="184"/>
                    <a:pt x="477" y="198"/>
                    <a:pt x="476" y="198"/>
                  </a:cubicBezTo>
                  <a:cubicBezTo>
                    <a:pt x="476" y="198"/>
                    <a:pt x="476" y="198"/>
                    <a:pt x="476" y="198"/>
                  </a:cubicBezTo>
                  <a:cubicBezTo>
                    <a:pt x="476" y="198"/>
                    <a:pt x="476" y="198"/>
                    <a:pt x="476" y="198"/>
                  </a:cubicBezTo>
                  <a:cubicBezTo>
                    <a:pt x="475" y="198"/>
                    <a:pt x="475" y="198"/>
                    <a:pt x="474" y="198"/>
                  </a:cubicBezTo>
                  <a:cubicBezTo>
                    <a:pt x="473" y="198"/>
                    <a:pt x="473" y="198"/>
                    <a:pt x="473" y="198"/>
                  </a:cubicBezTo>
                  <a:cubicBezTo>
                    <a:pt x="473" y="198"/>
                    <a:pt x="473" y="198"/>
                    <a:pt x="473" y="198"/>
                  </a:cubicBezTo>
                  <a:cubicBezTo>
                    <a:pt x="473" y="198"/>
                    <a:pt x="473" y="198"/>
                    <a:pt x="473" y="198"/>
                  </a:cubicBezTo>
                  <a:moveTo>
                    <a:pt x="632" y="162"/>
                  </a:moveTo>
                  <a:cubicBezTo>
                    <a:pt x="631" y="162"/>
                    <a:pt x="596" y="137"/>
                    <a:pt x="594" y="134"/>
                  </a:cubicBezTo>
                  <a:cubicBezTo>
                    <a:pt x="598" y="135"/>
                    <a:pt x="671" y="163"/>
                    <a:pt x="671" y="164"/>
                  </a:cubicBezTo>
                  <a:cubicBezTo>
                    <a:pt x="671" y="164"/>
                    <a:pt x="671" y="164"/>
                    <a:pt x="671" y="164"/>
                  </a:cubicBezTo>
                  <a:cubicBezTo>
                    <a:pt x="671" y="164"/>
                    <a:pt x="671" y="164"/>
                    <a:pt x="671" y="164"/>
                  </a:cubicBezTo>
                  <a:cubicBezTo>
                    <a:pt x="671" y="164"/>
                    <a:pt x="671" y="164"/>
                    <a:pt x="671" y="164"/>
                  </a:cubicBezTo>
                  <a:cubicBezTo>
                    <a:pt x="671" y="164"/>
                    <a:pt x="663" y="165"/>
                    <a:pt x="655" y="165"/>
                  </a:cubicBezTo>
                  <a:cubicBezTo>
                    <a:pt x="647" y="165"/>
                    <a:pt x="639" y="164"/>
                    <a:pt x="639" y="164"/>
                  </a:cubicBezTo>
                  <a:cubicBezTo>
                    <a:pt x="639" y="164"/>
                    <a:pt x="639" y="164"/>
                    <a:pt x="639" y="164"/>
                  </a:cubicBezTo>
                  <a:cubicBezTo>
                    <a:pt x="639" y="164"/>
                    <a:pt x="639" y="163"/>
                    <a:pt x="639" y="163"/>
                  </a:cubicBezTo>
                  <a:cubicBezTo>
                    <a:pt x="638" y="162"/>
                    <a:pt x="636" y="161"/>
                    <a:pt x="635" y="161"/>
                  </a:cubicBezTo>
                  <a:cubicBezTo>
                    <a:pt x="634" y="161"/>
                    <a:pt x="634" y="161"/>
                    <a:pt x="633" y="161"/>
                  </a:cubicBezTo>
                  <a:cubicBezTo>
                    <a:pt x="633" y="161"/>
                    <a:pt x="632" y="162"/>
                    <a:pt x="632" y="162"/>
                  </a:cubicBezTo>
                  <a:cubicBezTo>
                    <a:pt x="632" y="162"/>
                    <a:pt x="632" y="162"/>
                    <a:pt x="632" y="162"/>
                  </a:cubicBezTo>
                  <a:cubicBezTo>
                    <a:pt x="632" y="162"/>
                    <a:pt x="632" y="162"/>
                    <a:pt x="632" y="162"/>
                  </a:cubicBezTo>
                  <a:moveTo>
                    <a:pt x="137" y="142"/>
                  </a:moveTo>
                  <a:cubicBezTo>
                    <a:pt x="136" y="141"/>
                    <a:pt x="157" y="132"/>
                    <a:pt x="176" y="124"/>
                  </a:cubicBezTo>
                  <a:cubicBezTo>
                    <a:pt x="176" y="130"/>
                    <a:pt x="177" y="134"/>
                    <a:pt x="176" y="134"/>
                  </a:cubicBezTo>
                  <a:cubicBezTo>
                    <a:pt x="176" y="134"/>
                    <a:pt x="176" y="134"/>
                    <a:pt x="176" y="134"/>
                  </a:cubicBezTo>
                  <a:cubicBezTo>
                    <a:pt x="175" y="134"/>
                    <a:pt x="175" y="134"/>
                    <a:pt x="175" y="134"/>
                  </a:cubicBezTo>
                  <a:cubicBezTo>
                    <a:pt x="173" y="136"/>
                    <a:pt x="172" y="138"/>
                    <a:pt x="171" y="140"/>
                  </a:cubicBezTo>
                  <a:cubicBezTo>
                    <a:pt x="171" y="140"/>
                    <a:pt x="171" y="140"/>
                    <a:pt x="171" y="140"/>
                  </a:cubicBezTo>
                  <a:cubicBezTo>
                    <a:pt x="171" y="141"/>
                    <a:pt x="152" y="143"/>
                    <a:pt x="143" y="143"/>
                  </a:cubicBezTo>
                  <a:cubicBezTo>
                    <a:pt x="139" y="143"/>
                    <a:pt x="137" y="143"/>
                    <a:pt x="137" y="142"/>
                  </a:cubicBezTo>
                  <a:cubicBezTo>
                    <a:pt x="137" y="142"/>
                    <a:pt x="137" y="142"/>
                    <a:pt x="137" y="142"/>
                  </a:cubicBezTo>
                  <a:cubicBezTo>
                    <a:pt x="137" y="142"/>
                    <a:pt x="137" y="142"/>
                    <a:pt x="137" y="142"/>
                  </a:cubicBezTo>
                  <a:cubicBezTo>
                    <a:pt x="137" y="142"/>
                    <a:pt x="137" y="142"/>
                    <a:pt x="137" y="142"/>
                  </a:cubicBezTo>
                  <a:moveTo>
                    <a:pt x="209" y="112"/>
                  </a:moveTo>
                  <a:cubicBezTo>
                    <a:pt x="209" y="112"/>
                    <a:pt x="209" y="112"/>
                    <a:pt x="209" y="112"/>
                  </a:cubicBezTo>
                  <a:cubicBezTo>
                    <a:pt x="210" y="112"/>
                    <a:pt x="210" y="112"/>
                    <a:pt x="210" y="112"/>
                  </a:cubicBezTo>
                  <a:cubicBezTo>
                    <a:pt x="210" y="112"/>
                    <a:pt x="210" y="112"/>
                    <a:pt x="210" y="112"/>
                  </a:cubicBezTo>
                  <a:cubicBezTo>
                    <a:pt x="210" y="113"/>
                    <a:pt x="185" y="135"/>
                    <a:pt x="183" y="135"/>
                  </a:cubicBezTo>
                  <a:cubicBezTo>
                    <a:pt x="183" y="135"/>
                    <a:pt x="183" y="135"/>
                    <a:pt x="183" y="135"/>
                  </a:cubicBezTo>
                  <a:cubicBezTo>
                    <a:pt x="183" y="135"/>
                    <a:pt x="183" y="135"/>
                    <a:pt x="183" y="135"/>
                  </a:cubicBezTo>
                  <a:cubicBezTo>
                    <a:pt x="181" y="134"/>
                    <a:pt x="180" y="134"/>
                    <a:pt x="178" y="134"/>
                  </a:cubicBezTo>
                  <a:cubicBezTo>
                    <a:pt x="178" y="134"/>
                    <a:pt x="178" y="134"/>
                    <a:pt x="178" y="134"/>
                  </a:cubicBezTo>
                  <a:cubicBezTo>
                    <a:pt x="178" y="134"/>
                    <a:pt x="177" y="130"/>
                    <a:pt x="176" y="124"/>
                  </a:cubicBezTo>
                  <a:cubicBezTo>
                    <a:pt x="193" y="118"/>
                    <a:pt x="208" y="112"/>
                    <a:pt x="209" y="112"/>
                  </a:cubicBezTo>
                  <a:cubicBezTo>
                    <a:pt x="209" y="112"/>
                    <a:pt x="209" y="112"/>
                    <a:pt x="209" y="112"/>
                  </a:cubicBezTo>
                  <a:moveTo>
                    <a:pt x="289" y="173"/>
                  </a:moveTo>
                  <a:cubicBezTo>
                    <a:pt x="286" y="173"/>
                    <a:pt x="269" y="109"/>
                    <a:pt x="270" y="102"/>
                  </a:cubicBezTo>
                  <a:cubicBezTo>
                    <a:pt x="273" y="106"/>
                    <a:pt x="292" y="138"/>
                    <a:pt x="312" y="171"/>
                  </a:cubicBezTo>
                  <a:cubicBezTo>
                    <a:pt x="306" y="174"/>
                    <a:pt x="302" y="177"/>
                    <a:pt x="302" y="177"/>
                  </a:cubicBezTo>
                  <a:cubicBezTo>
                    <a:pt x="302" y="177"/>
                    <a:pt x="302" y="177"/>
                    <a:pt x="302" y="177"/>
                  </a:cubicBezTo>
                  <a:cubicBezTo>
                    <a:pt x="302" y="177"/>
                    <a:pt x="302" y="177"/>
                    <a:pt x="302" y="177"/>
                  </a:cubicBezTo>
                  <a:cubicBezTo>
                    <a:pt x="299" y="174"/>
                    <a:pt x="295" y="173"/>
                    <a:pt x="291" y="173"/>
                  </a:cubicBezTo>
                  <a:cubicBezTo>
                    <a:pt x="290" y="173"/>
                    <a:pt x="290" y="173"/>
                    <a:pt x="289" y="173"/>
                  </a:cubicBezTo>
                  <a:cubicBezTo>
                    <a:pt x="289" y="173"/>
                    <a:pt x="289" y="173"/>
                    <a:pt x="289" y="173"/>
                  </a:cubicBezTo>
                  <a:cubicBezTo>
                    <a:pt x="289" y="173"/>
                    <a:pt x="289" y="173"/>
                    <a:pt x="289" y="173"/>
                  </a:cubicBezTo>
                  <a:moveTo>
                    <a:pt x="452" y="78"/>
                  </a:moveTo>
                  <a:cubicBezTo>
                    <a:pt x="452" y="78"/>
                    <a:pt x="452" y="78"/>
                    <a:pt x="453" y="78"/>
                  </a:cubicBezTo>
                  <a:cubicBezTo>
                    <a:pt x="457" y="78"/>
                    <a:pt x="501" y="101"/>
                    <a:pt x="501" y="103"/>
                  </a:cubicBezTo>
                  <a:cubicBezTo>
                    <a:pt x="501" y="103"/>
                    <a:pt x="501" y="103"/>
                    <a:pt x="501" y="103"/>
                  </a:cubicBezTo>
                  <a:cubicBezTo>
                    <a:pt x="500" y="105"/>
                    <a:pt x="500" y="108"/>
                    <a:pt x="501" y="110"/>
                  </a:cubicBezTo>
                  <a:cubicBezTo>
                    <a:pt x="502" y="112"/>
                    <a:pt x="504" y="113"/>
                    <a:pt x="506" y="114"/>
                  </a:cubicBezTo>
                  <a:cubicBezTo>
                    <a:pt x="506" y="114"/>
                    <a:pt x="506" y="114"/>
                    <a:pt x="506" y="114"/>
                  </a:cubicBezTo>
                  <a:cubicBezTo>
                    <a:pt x="507" y="115"/>
                    <a:pt x="497" y="144"/>
                    <a:pt x="489" y="168"/>
                  </a:cubicBezTo>
                  <a:cubicBezTo>
                    <a:pt x="481" y="169"/>
                    <a:pt x="473" y="170"/>
                    <a:pt x="465" y="171"/>
                  </a:cubicBezTo>
                  <a:cubicBezTo>
                    <a:pt x="457" y="137"/>
                    <a:pt x="445" y="83"/>
                    <a:pt x="447" y="82"/>
                  </a:cubicBezTo>
                  <a:cubicBezTo>
                    <a:pt x="447" y="82"/>
                    <a:pt x="447" y="82"/>
                    <a:pt x="447" y="82"/>
                  </a:cubicBezTo>
                  <a:cubicBezTo>
                    <a:pt x="448" y="82"/>
                    <a:pt x="448" y="82"/>
                    <a:pt x="448" y="82"/>
                  </a:cubicBezTo>
                  <a:cubicBezTo>
                    <a:pt x="450" y="81"/>
                    <a:pt x="451" y="80"/>
                    <a:pt x="452" y="78"/>
                  </a:cubicBezTo>
                  <a:cubicBezTo>
                    <a:pt x="452" y="78"/>
                    <a:pt x="452" y="78"/>
                    <a:pt x="452" y="78"/>
                  </a:cubicBezTo>
                  <a:moveTo>
                    <a:pt x="277" y="92"/>
                  </a:moveTo>
                  <a:cubicBezTo>
                    <a:pt x="277" y="90"/>
                    <a:pt x="413" y="74"/>
                    <a:pt x="429" y="74"/>
                  </a:cubicBezTo>
                  <a:cubicBezTo>
                    <a:pt x="431" y="74"/>
                    <a:pt x="431" y="74"/>
                    <a:pt x="431" y="75"/>
                  </a:cubicBezTo>
                  <a:cubicBezTo>
                    <a:pt x="431" y="75"/>
                    <a:pt x="431" y="75"/>
                    <a:pt x="431" y="75"/>
                  </a:cubicBezTo>
                  <a:cubicBezTo>
                    <a:pt x="431" y="75"/>
                    <a:pt x="432" y="76"/>
                    <a:pt x="432" y="76"/>
                  </a:cubicBezTo>
                  <a:cubicBezTo>
                    <a:pt x="432" y="77"/>
                    <a:pt x="432" y="77"/>
                    <a:pt x="432" y="77"/>
                  </a:cubicBezTo>
                  <a:cubicBezTo>
                    <a:pt x="432" y="77"/>
                    <a:pt x="432" y="77"/>
                    <a:pt x="432" y="77"/>
                  </a:cubicBezTo>
                  <a:cubicBezTo>
                    <a:pt x="433" y="79"/>
                    <a:pt x="343" y="149"/>
                    <a:pt x="312" y="170"/>
                  </a:cubicBezTo>
                  <a:cubicBezTo>
                    <a:pt x="291" y="135"/>
                    <a:pt x="272" y="101"/>
                    <a:pt x="272" y="100"/>
                  </a:cubicBezTo>
                  <a:cubicBezTo>
                    <a:pt x="272" y="100"/>
                    <a:pt x="272" y="100"/>
                    <a:pt x="272" y="100"/>
                  </a:cubicBezTo>
                  <a:cubicBezTo>
                    <a:pt x="275" y="98"/>
                    <a:pt x="277" y="95"/>
                    <a:pt x="277" y="92"/>
                  </a:cubicBezTo>
                  <a:cubicBezTo>
                    <a:pt x="277" y="92"/>
                    <a:pt x="277" y="92"/>
                    <a:pt x="277" y="92"/>
                  </a:cubicBezTo>
                  <a:moveTo>
                    <a:pt x="165" y="74"/>
                  </a:moveTo>
                  <a:cubicBezTo>
                    <a:pt x="165" y="74"/>
                    <a:pt x="165" y="74"/>
                    <a:pt x="165" y="74"/>
                  </a:cubicBezTo>
                  <a:cubicBezTo>
                    <a:pt x="166" y="74"/>
                    <a:pt x="167" y="74"/>
                    <a:pt x="168" y="74"/>
                  </a:cubicBezTo>
                  <a:cubicBezTo>
                    <a:pt x="168" y="74"/>
                    <a:pt x="168" y="74"/>
                    <a:pt x="168" y="74"/>
                  </a:cubicBezTo>
                  <a:cubicBezTo>
                    <a:pt x="169" y="74"/>
                    <a:pt x="174" y="107"/>
                    <a:pt x="176" y="124"/>
                  </a:cubicBezTo>
                  <a:cubicBezTo>
                    <a:pt x="158" y="131"/>
                    <a:pt x="139" y="139"/>
                    <a:pt x="135" y="139"/>
                  </a:cubicBezTo>
                  <a:cubicBezTo>
                    <a:pt x="135" y="139"/>
                    <a:pt x="135" y="138"/>
                    <a:pt x="135" y="138"/>
                  </a:cubicBezTo>
                  <a:cubicBezTo>
                    <a:pt x="135" y="138"/>
                    <a:pt x="135" y="138"/>
                    <a:pt x="135" y="138"/>
                  </a:cubicBezTo>
                  <a:cubicBezTo>
                    <a:pt x="134" y="137"/>
                    <a:pt x="133" y="135"/>
                    <a:pt x="131" y="134"/>
                  </a:cubicBezTo>
                  <a:cubicBezTo>
                    <a:pt x="131" y="134"/>
                    <a:pt x="131" y="134"/>
                    <a:pt x="131" y="134"/>
                  </a:cubicBezTo>
                  <a:cubicBezTo>
                    <a:pt x="129" y="133"/>
                    <a:pt x="163" y="74"/>
                    <a:pt x="165" y="74"/>
                  </a:cubicBezTo>
                  <a:cubicBezTo>
                    <a:pt x="165" y="74"/>
                    <a:pt x="165" y="74"/>
                    <a:pt x="165" y="74"/>
                  </a:cubicBezTo>
                  <a:moveTo>
                    <a:pt x="171" y="74"/>
                  </a:moveTo>
                  <a:cubicBezTo>
                    <a:pt x="172" y="74"/>
                    <a:pt x="173" y="73"/>
                    <a:pt x="174" y="72"/>
                  </a:cubicBezTo>
                  <a:cubicBezTo>
                    <a:pt x="174" y="72"/>
                    <a:pt x="174" y="72"/>
                    <a:pt x="174" y="72"/>
                  </a:cubicBezTo>
                  <a:cubicBezTo>
                    <a:pt x="174" y="72"/>
                    <a:pt x="174" y="72"/>
                    <a:pt x="174" y="72"/>
                  </a:cubicBezTo>
                  <a:cubicBezTo>
                    <a:pt x="177" y="72"/>
                    <a:pt x="210" y="106"/>
                    <a:pt x="210" y="107"/>
                  </a:cubicBezTo>
                  <a:cubicBezTo>
                    <a:pt x="210" y="107"/>
                    <a:pt x="210" y="107"/>
                    <a:pt x="210" y="107"/>
                  </a:cubicBezTo>
                  <a:cubicBezTo>
                    <a:pt x="209" y="108"/>
                    <a:pt x="209" y="109"/>
                    <a:pt x="209" y="110"/>
                  </a:cubicBezTo>
                  <a:cubicBezTo>
                    <a:pt x="209" y="110"/>
                    <a:pt x="209" y="110"/>
                    <a:pt x="209" y="110"/>
                  </a:cubicBezTo>
                  <a:cubicBezTo>
                    <a:pt x="209" y="111"/>
                    <a:pt x="193" y="117"/>
                    <a:pt x="176" y="124"/>
                  </a:cubicBezTo>
                  <a:cubicBezTo>
                    <a:pt x="174" y="107"/>
                    <a:pt x="170" y="74"/>
                    <a:pt x="171" y="74"/>
                  </a:cubicBezTo>
                  <a:cubicBezTo>
                    <a:pt x="171" y="74"/>
                    <a:pt x="171" y="74"/>
                    <a:pt x="171" y="74"/>
                  </a:cubicBezTo>
                  <a:moveTo>
                    <a:pt x="8" y="0"/>
                  </a:moveTo>
                  <a:cubicBezTo>
                    <a:pt x="7" y="0"/>
                    <a:pt x="6" y="0"/>
                    <a:pt x="5" y="0"/>
                  </a:cubicBezTo>
                  <a:cubicBezTo>
                    <a:pt x="1" y="2"/>
                    <a:pt x="0" y="6"/>
                    <a:pt x="1" y="9"/>
                  </a:cubicBezTo>
                  <a:cubicBezTo>
                    <a:pt x="3" y="12"/>
                    <a:pt x="5" y="13"/>
                    <a:pt x="8" y="13"/>
                  </a:cubicBezTo>
                  <a:cubicBezTo>
                    <a:pt x="9" y="13"/>
                    <a:pt x="10" y="13"/>
                    <a:pt x="11" y="12"/>
                  </a:cubicBezTo>
                  <a:cubicBezTo>
                    <a:pt x="11" y="12"/>
                    <a:pt x="11" y="12"/>
                    <a:pt x="11" y="12"/>
                  </a:cubicBezTo>
                  <a:cubicBezTo>
                    <a:pt x="11" y="12"/>
                    <a:pt x="11" y="12"/>
                    <a:pt x="11" y="12"/>
                  </a:cubicBezTo>
                  <a:cubicBezTo>
                    <a:pt x="11" y="12"/>
                    <a:pt x="11" y="12"/>
                    <a:pt x="11" y="12"/>
                  </a:cubicBezTo>
                  <a:cubicBezTo>
                    <a:pt x="13" y="12"/>
                    <a:pt x="114" y="134"/>
                    <a:pt x="112" y="136"/>
                  </a:cubicBezTo>
                  <a:cubicBezTo>
                    <a:pt x="112" y="136"/>
                    <a:pt x="112" y="136"/>
                    <a:pt x="112" y="136"/>
                  </a:cubicBezTo>
                  <a:cubicBezTo>
                    <a:pt x="108" y="140"/>
                    <a:pt x="107" y="146"/>
                    <a:pt x="109" y="152"/>
                  </a:cubicBezTo>
                  <a:cubicBezTo>
                    <a:pt x="112" y="157"/>
                    <a:pt x="117" y="160"/>
                    <a:pt x="122" y="160"/>
                  </a:cubicBezTo>
                  <a:cubicBezTo>
                    <a:pt x="125" y="160"/>
                    <a:pt x="127" y="159"/>
                    <a:pt x="129" y="158"/>
                  </a:cubicBezTo>
                  <a:cubicBezTo>
                    <a:pt x="134" y="156"/>
                    <a:pt x="137" y="151"/>
                    <a:pt x="137" y="146"/>
                  </a:cubicBezTo>
                  <a:cubicBezTo>
                    <a:pt x="137" y="146"/>
                    <a:pt x="137" y="146"/>
                    <a:pt x="137" y="146"/>
                  </a:cubicBezTo>
                  <a:cubicBezTo>
                    <a:pt x="137" y="144"/>
                    <a:pt x="160" y="142"/>
                    <a:pt x="168" y="142"/>
                  </a:cubicBezTo>
                  <a:cubicBezTo>
                    <a:pt x="170" y="142"/>
                    <a:pt x="172" y="142"/>
                    <a:pt x="172" y="142"/>
                  </a:cubicBezTo>
                  <a:cubicBezTo>
                    <a:pt x="172" y="142"/>
                    <a:pt x="172" y="142"/>
                    <a:pt x="172" y="142"/>
                  </a:cubicBezTo>
                  <a:cubicBezTo>
                    <a:pt x="172" y="143"/>
                    <a:pt x="172" y="143"/>
                    <a:pt x="172" y="143"/>
                  </a:cubicBezTo>
                  <a:cubicBezTo>
                    <a:pt x="173" y="146"/>
                    <a:pt x="176" y="147"/>
                    <a:pt x="178" y="147"/>
                  </a:cubicBezTo>
                  <a:cubicBezTo>
                    <a:pt x="179" y="147"/>
                    <a:pt x="180" y="147"/>
                    <a:pt x="181" y="146"/>
                  </a:cubicBezTo>
                  <a:cubicBezTo>
                    <a:pt x="183" y="146"/>
                    <a:pt x="184" y="144"/>
                    <a:pt x="185" y="142"/>
                  </a:cubicBezTo>
                  <a:cubicBezTo>
                    <a:pt x="185" y="142"/>
                    <a:pt x="185" y="142"/>
                    <a:pt x="185" y="142"/>
                  </a:cubicBezTo>
                  <a:cubicBezTo>
                    <a:pt x="185" y="142"/>
                    <a:pt x="186" y="142"/>
                    <a:pt x="187" y="142"/>
                  </a:cubicBezTo>
                  <a:cubicBezTo>
                    <a:pt x="197" y="142"/>
                    <a:pt x="245" y="147"/>
                    <a:pt x="245" y="147"/>
                  </a:cubicBezTo>
                  <a:cubicBezTo>
                    <a:pt x="245" y="147"/>
                    <a:pt x="245" y="147"/>
                    <a:pt x="245" y="147"/>
                  </a:cubicBezTo>
                  <a:cubicBezTo>
                    <a:pt x="245" y="148"/>
                    <a:pt x="245" y="148"/>
                    <a:pt x="245" y="149"/>
                  </a:cubicBezTo>
                  <a:cubicBezTo>
                    <a:pt x="246" y="150"/>
                    <a:pt x="247" y="151"/>
                    <a:pt x="249" y="151"/>
                  </a:cubicBezTo>
                  <a:cubicBezTo>
                    <a:pt x="250" y="151"/>
                    <a:pt x="250" y="151"/>
                    <a:pt x="251" y="151"/>
                  </a:cubicBezTo>
                  <a:cubicBezTo>
                    <a:pt x="253" y="150"/>
                    <a:pt x="254" y="147"/>
                    <a:pt x="253" y="145"/>
                  </a:cubicBezTo>
                  <a:cubicBezTo>
                    <a:pt x="252" y="144"/>
                    <a:pt x="251" y="144"/>
                    <a:pt x="251" y="143"/>
                  </a:cubicBezTo>
                  <a:cubicBezTo>
                    <a:pt x="251" y="143"/>
                    <a:pt x="251" y="143"/>
                    <a:pt x="251" y="143"/>
                  </a:cubicBezTo>
                  <a:cubicBezTo>
                    <a:pt x="250" y="143"/>
                    <a:pt x="261" y="103"/>
                    <a:pt x="264" y="103"/>
                  </a:cubicBezTo>
                  <a:cubicBezTo>
                    <a:pt x="264" y="103"/>
                    <a:pt x="264" y="103"/>
                    <a:pt x="264" y="103"/>
                  </a:cubicBezTo>
                  <a:cubicBezTo>
                    <a:pt x="263" y="103"/>
                    <a:pt x="263" y="103"/>
                    <a:pt x="263" y="103"/>
                  </a:cubicBezTo>
                  <a:cubicBezTo>
                    <a:pt x="264" y="103"/>
                    <a:pt x="265" y="103"/>
                    <a:pt x="265" y="103"/>
                  </a:cubicBezTo>
                  <a:cubicBezTo>
                    <a:pt x="265" y="103"/>
                    <a:pt x="266" y="103"/>
                    <a:pt x="266" y="103"/>
                  </a:cubicBezTo>
                  <a:cubicBezTo>
                    <a:pt x="266" y="103"/>
                    <a:pt x="266" y="103"/>
                    <a:pt x="266" y="103"/>
                  </a:cubicBezTo>
                  <a:cubicBezTo>
                    <a:pt x="266" y="103"/>
                    <a:pt x="266" y="103"/>
                    <a:pt x="266" y="103"/>
                  </a:cubicBezTo>
                  <a:cubicBezTo>
                    <a:pt x="269" y="103"/>
                    <a:pt x="288" y="173"/>
                    <a:pt x="285" y="174"/>
                  </a:cubicBezTo>
                  <a:cubicBezTo>
                    <a:pt x="285" y="174"/>
                    <a:pt x="285" y="174"/>
                    <a:pt x="285" y="174"/>
                  </a:cubicBezTo>
                  <a:cubicBezTo>
                    <a:pt x="284" y="174"/>
                    <a:pt x="284" y="174"/>
                    <a:pt x="284" y="174"/>
                  </a:cubicBezTo>
                  <a:cubicBezTo>
                    <a:pt x="276" y="178"/>
                    <a:pt x="273" y="187"/>
                    <a:pt x="277" y="194"/>
                  </a:cubicBezTo>
                  <a:cubicBezTo>
                    <a:pt x="279" y="200"/>
                    <a:pt x="285" y="203"/>
                    <a:pt x="291" y="203"/>
                  </a:cubicBezTo>
                  <a:cubicBezTo>
                    <a:pt x="293" y="203"/>
                    <a:pt x="295" y="203"/>
                    <a:pt x="298" y="202"/>
                  </a:cubicBezTo>
                  <a:cubicBezTo>
                    <a:pt x="299" y="201"/>
                    <a:pt x="300" y="201"/>
                    <a:pt x="300" y="200"/>
                  </a:cubicBezTo>
                  <a:cubicBezTo>
                    <a:pt x="300" y="200"/>
                    <a:pt x="300" y="200"/>
                    <a:pt x="300" y="200"/>
                  </a:cubicBezTo>
                  <a:cubicBezTo>
                    <a:pt x="300" y="200"/>
                    <a:pt x="300" y="200"/>
                    <a:pt x="301" y="200"/>
                  </a:cubicBezTo>
                  <a:cubicBezTo>
                    <a:pt x="305" y="200"/>
                    <a:pt x="354" y="247"/>
                    <a:pt x="353" y="249"/>
                  </a:cubicBezTo>
                  <a:cubicBezTo>
                    <a:pt x="353" y="249"/>
                    <a:pt x="353" y="249"/>
                    <a:pt x="353" y="249"/>
                  </a:cubicBezTo>
                  <a:cubicBezTo>
                    <a:pt x="351" y="252"/>
                    <a:pt x="351" y="255"/>
                    <a:pt x="352" y="258"/>
                  </a:cubicBezTo>
                  <a:cubicBezTo>
                    <a:pt x="354" y="262"/>
                    <a:pt x="357" y="264"/>
                    <a:pt x="361" y="264"/>
                  </a:cubicBezTo>
                  <a:cubicBezTo>
                    <a:pt x="363" y="264"/>
                    <a:pt x="364" y="264"/>
                    <a:pt x="366" y="263"/>
                  </a:cubicBezTo>
                  <a:cubicBezTo>
                    <a:pt x="371" y="261"/>
                    <a:pt x="373" y="255"/>
                    <a:pt x="370" y="250"/>
                  </a:cubicBezTo>
                  <a:cubicBezTo>
                    <a:pt x="369" y="247"/>
                    <a:pt x="365" y="245"/>
                    <a:pt x="361" y="245"/>
                  </a:cubicBezTo>
                  <a:cubicBezTo>
                    <a:pt x="360" y="245"/>
                    <a:pt x="359" y="245"/>
                    <a:pt x="358" y="245"/>
                  </a:cubicBezTo>
                  <a:cubicBezTo>
                    <a:pt x="358" y="245"/>
                    <a:pt x="358" y="245"/>
                    <a:pt x="358" y="245"/>
                  </a:cubicBezTo>
                  <a:cubicBezTo>
                    <a:pt x="358" y="245"/>
                    <a:pt x="358" y="245"/>
                    <a:pt x="358" y="245"/>
                  </a:cubicBezTo>
                  <a:cubicBezTo>
                    <a:pt x="357" y="245"/>
                    <a:pt x="334" y="209"/>
                    <a:pt x="313" y="172"/>
                  </a:cubicBezTo>
                  <a:cubicBezTo>
                    <a:pt x="341" y="149"/>
                    <a:pt x="431" y="80"/>
                    <a:pt x="435" y="80"/>
                  </a:cubicBezTo>
                  <a:cubicBezTo>
                    <a:pt x="435" y="80"/>
                    <a:pt x="435" y="80"/>
                    <a:pt x="435" y="80"/>
                  </a:cubicBezTo>
                  <a:cubicBezTo>
                    <a:pt x="435" y="80"/>
                    <a:pt x="435" y="80"/>
                    <a:pt x="435" y="80"/>
                  </a:cubicBezTo>
                  <a:cubicBezTo>
                    <a:pt x="437" y="82"/>
                    <a:pt x="440" y="83"/>
                    <a:pt x="443" y="83"/>
                  </a:cubicBezTo>
                  <a:cubicBezTo>
                    <a:pt x="443" y="83"/>
                    <a:pt x="443" y="83"/>
                    <a:pt x="443" y="83"/>
                  </a:cubicBezTo>
                  <a:cubicBezTo>
                    <a:pt x="443" y="83"/>
                    <a:pt x="443" y="83"/>
                    <a:pt x="443" y="83"/>
                  </a:cubicBezTo>
                  <a:cubicBezTo>
                    <a:pt x="443" y="83"/>
                    <a:pt x="443" y="83"/>
                    <a:pt x="443" y="83"/>
                  </a:cubicBezTo>
                  <a:cubicBezTo>
                    <a:pt x="445" y="83"/>
                    <a:pt x="458" y="137"/>
                    <a:pt x="465" y="171"/>
                  </a:cubicBezTo>
                  <a:cubicBezTo>
                    <a:pt x="419" y="178"/>
                    <a:pt x="369" y="185"/>
                    <a:pt x="365" y="185"/>
                  </a:cubicBezTo>
                  <a:cubicBezTo>
                    <a:pt x="365" y="185"/>
                    <a:pt x="365" y="185"/>
                    <a:pt x="365" y="185"/>
                  </a:cubicBezTo>
                  <a:cubicBezTo>
                    <a:pt x="365" y="185"/>
                    <a:pt x="365" y="185"/>
                    <a:pt x="365" y="185"/>
                  </a:cubicBezTo>
                  <a:cubicBezTo>
                    <a:pt x="364" y="184"/>
                    <a:pt x="364" y="184"/>
                    <a:pt x="364" y="184"/>
                  </a:cubicBezTo>
                  <a:cubicBezTo>
                    <a:pt x="364" y="184"/>
                    <a:pt x="364" y="184"/>
                    <a:pt x="364" y="184"/>
                  </a:cubicBezTo>
                  <a:cubicBezTo>
                    <a:pt x="364" y="184"/>
                    <a:pt x="364" y="184"/>
                    <a:pt x="364" y="184"/>
                  </a:cubicBezTo>
                  <a:cubicBezTo>
                    <a:pt x="364" y="183"/>
                    <a:pt x="394" y="163"/>
                    <a:pt x="396" y="163"/>
                  </a:cubicBezTo>
                  <a:cubicBezTo>
                    <a:pt x="396" y="163"/>
                    <a:pt x="396" y="163"/>
                    <a:pt x="396" y="163"/>
                  </a:cubicBezTo>
                  <a:cubicBezTo>
                    <a:pt x="396" y="163"/>
                    <a:pt x="396" y="163"/>
                    <a:pt x="396" y="163"/>
                  </a:cubicBezTo>
                  <a:cubicBezTo>
                    <a:pt x="397" y="164"/>
                    <a:pt x="398" y="165"/>
                    <a:pt x="399" y="165"/>
                  </a:cubicBezTo>
                  <a:cubicBezTo>
                    <a:pt x="400" y="165"/>
                    <a:pt x="401" y="164"/>
                    <a:pt x="401" y="164"/>
                  </a:cubicBezTo>
                  <a:cubicBezTo>
                    <a:pt x="404" y="163"/>
                    <a:pt x="405" y="160"/>
                    <a:pt x="404" y="158"/>
                  </a:cubicBezTo>
                  <a:cubicBezTo>
                    <a:pt x="403" y="156"/>
                    <a:pt x="401" y="155"/>
                    <a:pt x="399" y="155"/>
                  </a:cubicBezTo>
                  <a:cubicBezTo>
                    <a:pt x="398" y="155"/>
                    <a:pt x="398" y="156"/>
                    <a:pt x="397" y="156"/>
                  </a:cubicBezTo>
                  <a:cubicBezTo>
                    <a:pt x="395" y="157"/>
                    <a:pt x="394" y="160"/>
                    <a:pt x="395" y="162"/>
                  </a:cubicBezTo>
                  <a:cubicBezTo>
                    <a:pt x="395" y="162"/>
                    <a:pt x="395" y="162"/>
                    <a:pt x="395" y="162"/>
                  </a:cubicBezTo>
                  <a:cubicBezTo>
                    <a:pt x="395" y="163"/>
                    <a:pt x="365" y="182"/>
                    <a:pt x="363" y="182"/>
                  </a:cubicBezTo>
                  <a:cubicBezTo>
                    <a:pt x="363" y="182"/>
                    <a:pt x="363" y="182"/>
                    <a:pt x="363" y="182"/>
                  </a:cubicBezTo>
                  <a:cubicBezTo>
                    <a:pt x="363" y="182"/>
                    <a:pt x="363" y="182"/>
                    <a:pt x="363" y="182"/>
                  </a:cubicBezTo>
                  <a:cubicBezTo>
                    <a:pt x="362" y="181"/>
                    <a:pt x="360" y="180"/>
                    <a:pt x="358" y="180"/>
                  </a:cubicBezTo>
                  <a:cubicBezTo>
                    <a:pt x="357" y="180"/>
                    <a:pt x="356" y="180"/>
                    <a:pt x="355" y="181"/>
                  </a:cubicBezTo>
                  <a:cubicBezTo>
                    <a:pt x="352" y="182"/>
                    <a:pt x="350" y="186"/>
                    <a:pt x="352" y="190"/>
                  </a:cubicBezTo>
                  <a:cubicBezTo>
                    <a:pt x="353" y="192"/>
                    <a:pt x="356" y="193"/>
                    <a:pt x="358" y="193"/>
                  </a:cubicBezTo>
                  <a:cubicBezTo>
                    <a:pt x="359" y="193"/>
                    <a:pt x="360" y="193"/>
                    <a:pt x="361" y="193"/>
                  </a:cubicBezTo>
                  <a:cubicBezTo>
                    <a:pt x="363" y="192"/>
                    <a:pt x="365" y="190"/>
                    <a:pt x="365" y="187"/>
                  </a:cubicBezTo>
                  <a:cubicBezTo>
                    <a:pt x="365" y="188"/>
                    <a:pt x="365" y="188"/>
                    <a:pt x="365" y="188"/>
                  </a:cubicBezTo>
                  <a:cubicBezTo>
                    <a:pt x="365" y="186"/>
                    <a:pt x="417" y="184"/>
                    <a:pt x="430" y="184"/>
                  </a:cubicBezTo>
                  <a:cubicBezTo>
                    <a:pt x="431" y="184"/>
                    <a:pt x="432" y="184"/>
                    <a:pt x="432" y="184"/>
                  </a:cubicBezTo>
                  <a:cubicBezTo>
                    <a:pt x="432" y="184"/>
                    <a:pt x="432" y="184"/>
                    <a:pt x="432" y="184"/>
                  </a:cubicBezTo>
                  <a:cubicBezTo>
                    <a:pt x="433" y="185"/>
                    <a:pt x="433" y="185"/>
                    <a:pt x="433" y="185"/>
                  </a:cubicBezTo>
                  <a:cubicBezTo>
                    <a:pt x="433" y="187"/>
                    <a:pt x="435" y="187"/>
                    <a:pt x="436" y="187"/>
                  </a:cubicBezTo>
                  <a:cubicBezTo>
                    <a:pt x="437" y="187"/>
                    <a:pt x="438" y="187"/>
                    <a:pt x="438" y="187"/>
                  </a:cubicBezTo>
                  <a:cubicBezTo>
                    <a:pt x="440" y="186"/>
                    <a:pt x="441" y="184"/>
                    <a:pt x="440" y="182"/>
                  </a:cubicBezTo>
                  <a:cubicBezTo>
                    <a:pt x="439" y="180"/>
                    <a:pt x="438" y="180"/>
                    <a:pt x="436" y="180"/>
                  </a:cubicBezTo>
                  <a:cubicBezTo>
                    <a:pt x="436" y="180"/>
                    <a:pt x="435" y="180"/>
                    <a:pt x="435" y="180"/>
                  </a:cubicBezTo>
                  <a:cubicBezTo>
                    <a:pt x="433" y="181"/>
                    <a:pt x="432" y="182"/>
                    <a:pt x="432" y="183"/>
                  </a:cubicBezTo>
                  <a:cubicBezTo>
                    <a:pt x="432" y="183"/>
                    <a:pt x="432" y="183"/>
                    <a:pt x="432" y="183"/>
                  </a:cubicBezTo>
                  <a:cubicBezTo>
                    <a:pt x="432" y="184"/>
                    <a:pt x="387" y="186"/>
                    <a:pt x="370" y="186"/>
                  </a:cubicBezTo>
                  <a:cubicBezTo>
                    <a:pt x="370" y="186"/>
                    <a:pt x="370" y="186"/>
                    <a:pt x="370" y="186"/>
                  </a:cubicBezTo>
                  <a:cubicBezTo>
                    <a:pt x="383" y="183"/>
                    <a:pt x="425" y="177"/>
                    <a:pt x="465" y="171"/>
                  </a:cubicBezTo>
                  <a:cubicBezTo>
                    <a:pt x="468" y="187"/>
                    <a:pt x="470" y="198"/>
                    <a:pt x="469" y="199"/>
                  </a:cubicBezTo>
                  <a:cubicBezTo>
                    <a:pt x="469" y="199"/>
                    <a:pt x="469" y="199"/>
                    <a:pt x="469" y="199"/>
                  </a:cubicBezTo>
                  <a:cubicBezTo>
                    <a:pt x="464" y="201"/>
                    <a:pt x="460" y="205"/>
                    <a:pt x="460" y="211"/>
                  </a:cubicBezTo>
                  <a:cubicBezTo>
                    <a:pt x="460" y="218"/>
                    <a:pt x="466" y="224"/>
                    <a:pt x="474" y="224"/>
                  </a:cubicBezTo>
                  <a:cubicBezTo>
                    <a:pt x="476" y="224"/>
                    <a:pt x="478" y="223"/>
                    <a:pt x="480" y="222"/>
                  </a:cubicBezTo>
                  <a:cubicBezTo>
                    <a:pt x="480" y="222"/>
                    <a:pt x="480" y="222"/>
                    <a:pt x="480" y="222"/>
                  </a:cubicBezTo>
                  <a:cubicBezTo>
                    <a:pt x="480" y="222"/>
                    <a:pt x="480" y="222"/>
                    <a:pt x="480" y="222"/>
                  </a:cubicBezTo>
                  <a:cubicBezTo>
                    <a:pt x="483" y="222"/>
                    <a:pt x="520" y="269"/>
                    <a:pt x="518" y="271"/>
                  </a:cubicBezTo>
                  <a:cubicBezTo>
                    <a:pt x="518" y="271"/>
                    <a:pt x="518" y="271"/>
                    <a:pt x="518" y="271"/>
                  </a:cubicBezTo>
                  <a:cubicBezTo>
                    <a:pt x="514" y="275"/>
                    <a:pt x="513" y="281"/>
                    <a:pt x="516" y="286"/>
                  </a:cubicBezTo>
                  <a:cubicBezTo>
                    <a:pt x="518" y="290"/>
                    <a:pt x="523" y="293"/>
                    <a:pt x="528" y="293"/>
                  </a:cubicBezTo>
                  <a:cubicBezTo>
                    <a:pt x="530" y="293"/>
                    <a:pt x="532" y="293"/>
                    <a:pt x="534" y="292"/>
                  </a:cubicBezTo>
                  <a:cubicBezTo>
                    <a:pt x="540" y="289"/>
                    <a:pt x="543" y="281"/>
                    <a:pt x="540" y="275"/>
                  </a:cubicBezTo>
                  <a:cubicBezTo>
                    <a:pt x="538" y="270"/>
                    <a:pt x="533" y="267"/>
                    <a:pt x="528" y="267"/>
                  </a:cubicBezTo>
                  <a:cubicBezTo>
                    <a:pt x="526" y="267"/>
                    <a:pt x="524" y="268"/>
                    <a:pt x="522" y="268"/>
                  </a:cubicBezTo>
                  <a:cubicBezTo>
                    <a:pt x="521" y="269"/>
                    <a:pt x="521" y="269"/>
                    <a:pt x="521" y="269"/>
                  </a:cubicBezTo>
                  <a:cubicBezTo>
                    <a:pt x="522" y="269"/>
                    <a:pt x="522" y="269"/>
                    <a:pt x="522" y="269"/>
                  </a:cubicBezTo>
                  <a:cubicBezTo>
                    <a:pt x="522" y="269"/>
                    <a:pt x="522" y="269"/>
                    <a:pt x="521" y="269"/>
                  </a:cubicBezTo>
                  <a:cubicBezTo>
                    <a:pt x="518" y="269"/>
                    <a:pt x="482" y="222"/>
                    <a:pt x="484" y="220"/>
                  </a:cubicBezTo>
                  <a:cubicBezTo>
                    <a:pt x="483" y="220"/>
                    <a:pt x="483" y="220"/>
                    <a:pt x="483" y="220"/>
                  </a:cubicBezTo>
                  <a:cubicBezTo>
                    <a:pt x="486" y="218"/>
                    <a:pt x="487" y="214"/>
                    <a:pt x="487" y="211"/>
                  </a:cubicBezTo>
                  <a:cubicBezTo>
                    <a:pt x="487" y="206"/>
                    <a:pt x="484" y="201"/>
                    <a:pt x="480" y="199"/>
                  </a:cubicBezTo>
                  <a:cubicBezTo>
                    <a:pt x="480" y="199"/>
                    <a:pt x="480" y="199"/>
                    <a:pt x="480" y="199"/>
                  </a:cubicBezTo>
                  <a:cubicBezTo>
                    <a:pt x="479" y="199"/>
                    <a:pt x="483" y="184"/>
                    <a:pt x="489" y="168"/>
                  </a:cubicBezTo>
                  <a:cubicBezTo>
                    <a:pt x="516" y="164"/>
                    <a:pt x="539" y="161"/>
                    <a:pt x="541" y="161"/>
                  </a:cubicBezTo>
                  <a:cubicBezTo>
                    <a:pt x="542" y="161"/>
                    <a:pt x="542" y="161"/>
                    <a:pt x="542" y="161"/>
                  </a:cubicBezTo>
                  <a:cubicBezTo>
                    <a:pt x="542" y="161"/>
                    <a:pt x="542" y="161"/>
                    <a:pt x="542" y="161"/>
                  </a:cubicBezTo>
                  <a:cubicBezTo>
                    <a:pt x="542" y="162"/>
                    <a:pt x="542" y="162"/>
                    <a:pt x="542" y="162"/>
                  </a:cubicBezTo>
                  <a:cubicBezTo>
                    <a:pt x="543" y="164"/>
                    <a:pt x="546" y="166"/>
                    <a:pt x="548" y="166"/>
                  </a:cubicBezTo>
                  <a:cubicBezTo>
                    <a:pt x="549" y="166"/>
                    <a:pt x="550" y="165"/>
                    <a:pt x="551" y="165"/>
                  </a:cubicBezTo>
                  <a:cubicBezTo>
                    <a:pt x="552" y="165"/>
                    <a:pt x="553" y="164"/>
                    <a:pt x="553" y="164"/>
                  </a:cubicBezTo>
                  <a:cubicBezTo>
                    <a:pt x="553" y="164"/>
                    <a:pt x="553" y="164"/>
                    <a:pt x="553" y="164"/>
                  </a:cubicBezTo>
                  <a:cubicBezTo>
                    <a:pt x="553" y="164"/>
                    <a:pt x="553" y="164"/>
                    <a:pt x="553" y="164"/>
                  </a:cubicBezTo>
                  <a:cubicBezTo>
                    <a:pt x="555" y="164"/>
                    <a:pt x="586" y="185"/>
                    <a:pt x="585" y="185"/>
                  </a:cubicBezTo>
                  <a:cubicBezTo>
                    <a:pt x="585" y="185"/>
                    <a:pt x="585" y="185"/>
                    <a:pt x="585" y="185"/>
                  </a:cubicBezTo>
                  <a:cubicBezTo>
                    <a:pt x="584" y="187"/>
                    <a:pt x="584" y="188"/>
                    <a:pt x="585" y="189"/>
                  </a:cubicBezTo>
                  <a:cubicBezTo>
                    <a:pt x="586" y="191"/>
                    <a:pt x="588" y="192"/>
                    <a:pt x="589" y="192"/>
                  </a:cubicBezTo>
                  <a:cubicBezTo>
                    <a:pt x="590" y="192"/>
                    <a:pt x="591" y="192"/>
                    <a:pt x="591" y="192"/>
                  </a:cubicBezTo>
                  <a:cubicBezTo>
                    <a:pt x="594" y="191"/>
                    <a:pt x="595" y="188"/>
                    <a:pt x="594" y="186"/>
                  </a:cubicBezTo>
                  <a:cubicBezTo>
                    <a:pt x="593" y="184"/>
                    <a:pt x="591" y="183"/>
                    <a:pt x="589" y="183"/>
                  </a:cubicBezTo>
                  <a:cubicBezTo>
                    <a:pt x="589" y="183"/>
                    <a:pt x="588" y="183"/>
                    <a:pt x="587" y="183"/>
                  </a:cubicBezTo>
                  <a:cubicBezTo>
                    <a:pt x="587" y="184"/>
                    <a:pt x="586" y="184"/>
                    <a:pt x="586" y="184"/>
                  </a:cubicBezTo>
                  <a:cubicBezTo>
                    <a:pt x="586" y="184"/>
                    <a:pt x="586" y="184"/>
                    <a:pt x="586" y="184"/>
                  </a:cubicBezTo>
                  <a:cubicBezTo>
                    <a:pt x="586" y="184"/>
                    <a:pt x="586" y="184"/>
                    <a:pt x="586" y="184"/>
                  </a:cubicBezTo>
                  <a:cubicBezTo>
                    <a:pt x="584" y="184"/>
                    <a:pt x="554" y="163"/>
                    <a:pt x="554" y="162"/>
                  </a:cubicBezTo>
                  <a:cubicBezTo>
                    <a:pt x="554" y="162"/>
                    <a:pt x="554" y="162"/>
                    <a:pt x="554" y="162"/>
                  </a:cubicBezTo>
                  <a:cubicBezTo>
                    <a:pt x="555" y="160"/>
                    <a:pt x="556" y="158"/>
                    <a:pt x="555" y="156"/>
                  </a:cubicBezTo>
                  <a:cubicBezTo>
                    <a:pt x="555" y="156"/>
                    <a:pt x="555" y="156"/>
                    <a:pt x="555" y="156"/>
                  </a:cubicBezTo>
                  <a:cubicBezTo>
                    <a:pt x="555" y="156"/>
                    <a:pt x="555" y="156"/>
                    <a:pt x="555" y="156"/>
                  </a:cubicBezTo>
                  <a:cubicBezTo>
                    <a:pt x="554" y="155"/>
                    <a:pt x="584" y="135"/>
                    <a:pt x="586" y="135"/>
                  </a:cubicBezTo>
                  <a:cubicBezTo>
                    <a:pt x="586" y="135"/>
                    <a:pt x="586" y="135"/>
                    <a:pt x="586" y="135"/>
                  </a:cubicBezTo>
                  <a:cubicBezTo>
                    <a:pt x="586" y="135"/>
                    <a:pt x="586" y="135"/>
                    <a:pt x="586" y="135"/>
                  </a:cubicBezTo>
                  <a:cubicBezTo>
                    <a:pt x="587" y="136"/>
                    <a:pt x="588" y="137"/>
                    <a:pt x="589" y="137"/>
                  </a:cubicBezTo>
                  <a:cubicBezTo>
                    <a:pt x="590" y="137"/>
                    <a:pt x="591" y="137"/>
                    <a:pt x="591" y="136"/>
                  </a:cubicBezTo>
                  <a:cubicBezTo>
                    <a:pt x="592" y="136"/>
                    <a:pt x="592" y="136"/>
                    <a:pt x="593" y="135"/>
                  </a:cubicBezTo>
                  <a:cubicBezTo>
                    <a:pt x="593" y="135"/>
                    <a:pt x="593" y="135"/>
                    <a:pt x="593" y="135"/>
                  </a:cubicBezTo>
                  <a:cubicBezTo>
                    <a:pt x="593" y="135"/>
                    <a:pt x="593" y="135"/>
                    <a:pt x="593" y="135"/>
                  </a:cubicBezTo>
                  <a:cubicBezTo>
                    <a:pt x="594" y="135"/>
                    <a:pt x="632" y="162"/>
                    <a:pt x="631" y="163"/>
                  </a:cubicBezTo>
                  <a:cubicBezTo>
                    <a:pt x="631" y="163"/>
                    <a:pt x="631" y="163"/>
                    <a:pt x="631" y="163"/>
                  </a:cubicBezTo>
                  <a:cubicBezTo>
                    <a:pt x="631" y="164"/>
                    <a:pt x="631" y="165"/>
                    <a:pt x="631" y="166"/>
                  </a:cubicBezTo>
                  <a:cubicBezTo>
                    <a:pt x="632" y="168"/>
                    <a:pt x="633" y="169"/>
                    <a:pt x="635" y="169"/>
                  </a:cubicBezTo>
                  <a:cubicBezTo>
                    <a:pt x="635" y="169"/>
                    <a:pt x="636" y="168"/>
                    <a:pt x="637" y="168"/>
                  </a:cubicBezTo>
                  <a:cubicBezTo>
                    <a:pt x="638" y="168"/>
                    <a:pt x="639" y="166"/>
                    <a:pt x="639" y="165"/>
                  </a:cubicBezTo>
                  <a:cubicBezTo>
                    <a:pt x="639" y="165"/>
                    <a:pt x="639" y="165"/>
                    <a:pt x="639" y="165"/>
                  </a:cubicBezTo>
                  <a:cubicBezTo>
                    <a:pt x="639" y="165"/>
                    <a:pt x="647" y="165"/>
                    <a:pt x="655" y="165"/>
                  </a:cubicBezTo>
                  <a:cubicBezTo>
                    <a:pt x="663" y="165"/>
                    <a:pt x="671" y="165"/>
                    <a:pt x="671" y="165"/>
                  </a:cubicBezTo>
                  <a:cubicBezTo>
                    <a:pt x="671" y="165"/>
                    <a:pt x="671" y="165"/>
                    <a:pt x="671" y="165"/>
                  </a:cubicBezTo>
                  <a:cubicBezTo>
                    <a:pt x="671" y="166"/>
                    <a:pt x="671" y="166"/>
                    <a:pt x="671" y="166"/>
                  </a:cubicBezTo>
                  <a:cubicBezTo>
                    <a:pt x="671" y="167"/>
                    <a:pt x="672" y="167"/>
                    <a:pt x="672" y="167"/>
                  </a:cubicBezTo>
                  <a:cubicBezTo>
                    <a:pt x="672" y="167"/>
                    <a:pt x="672" y="167"/>
                    <a:pt x="672" y="167"/>
                  </a:cubicBezTo>
                  <a:cubicBezTo>
                    <a:pt x="672" y="168"/>
                    <a:pt x="595" y="258"/>
                    <a:pt x="593" y="258"/>
                  </a:cubicBezTo>
                  <a:cubicBezTo>
                    <a:pt x="593" y="258"/>
                    <a:pt x="593" y="258"/>
                    <a:pt x="593" y="258"/>
                  </a:cubicBezTo>
                  <a:cubicBezTo>
                    <a:pt x="593" y="258"/>
                    <a:pt x="593" y="258"/>
                    <a:pt x="593" y="258"/>
                  </a:cubicBezTo>
                  <a:cubicBezTo>
                    <a:pt x="592" y="258"/>
                    <a:pt x="591" y="257"/>
                    <a:pt x="589" y="257"/>
                  </a:cubicBezTo>
                  <a:cubicBezTo>
                    <a:pt x="588" y="257"/>
                    <a:pt x="587" y="258"/>
                    <a:pt x="586" y="258"/>
                  </a:cubicBezTo>
                  <a:cubicBezTo>
                    <a:pt x="583" y="260"/>
                    <a:pt x="582" y="264"/>
                    <a:pt x="583" y="267"/>
                  </a:cubicBezTo>
                  <a:cubicBezTo>
                    <a:pt x="584" y="269"/>
                    <a:pt x="587" y="271"/>
                    <a:pt x="589" y="271"/>
                  </a:cubicBezTo>
                  <a:cubicBezTo>
                    <a:pt x="590" y="271"/>
                    <a:pt x="591" y="270"/>
                    <a:pt x="592" y="270"/>
                  </a:cubicBezTo>
                  <a:cubicBezTo>
                    <a:pt x="596" y="268"/>
                    <a:pt x="597" y="264"/>
                    <a:pt x="596" y="261"/>
                  </a:cubicBezTo>
                  <a:cubicBezTo>
                    <a:pt x="595" y="261"/>
                    <a:pt x="595" y="260"/>
                    <a:pt x="595" y="260"/>
                  </a:cubicBezTo>
                  <a:cubicBezTo>
                    <a:pt x="595" y="260"/>
                    <a:pt x="595" y="260"/>
                    <a:pt x="595" y="260"/>
                  </a:cubicBezTo>
                  <a:cubicBezTo>
                    <a:pt x="594" y="259"/>
                    <a:pt x="672" y="168"/>
                    <a:pt x="673" y="168"/>
                  </a:cubicBezTo>
                  <a:cubicBezTo>
                    <a:pt x="673" y="168"/>
                    <a:pt x="673" y="168"/>
                    <a:pt x="673" y="168"/>
                  </a:cubicBezTo>
                  <a:cubicBezTo>
                    <a:pt x="673" y="168"/>
                    <a:pt x="673" y="168"/>
                    <a:pt x="673" y="168"/>
                  </a:cubicBezTo>
                  <a:cubicBezTo>
                    <a:pt x="673" y="168"/>
                    <a:pt x="674" y="169"/>
                    <a:pt x="675" y="169"/>
                  </a:cubicBezTo>
                  <a:cubicBezTo>
                    <a:pt x="675" y="169"/>
                    <a:pt x="676" y="168"/>
                    <a:pt x="677" y="168"/>
                  </a:cubicBezTo>
                  <a:cubicBezTo>
                    <a:pt x="679" y="167"/>
                    <a:pt x="680" y="165"/>
                    <a:pt x="679" y="163"/>
                  </a:cubicBezTo>
                  <a:cubicBezTo>
                    <a:pt x="678" y="162"/>
                    <a:pt x="676" y="161"/>
                    <a:pt x="675" y="161"/>
                  </a:cubicBezTo>
                  <a:cubicBezTo>
                    <a:pt x="674" y="161"/>
                    <a:pt x="674" y="161"/>
                    <a:pt x="673" y="161"/>
                  </a:cubicBezTo>
                  <a:cubicBezTo>
                    <a:pt x="672" y="161"/>
                    <a:pt x="672" y="162"/>
                    <a:pt x="671" y="163"/>
                  </a:cubicBezTo>
                  <a:cubicBezTo>
                    <a:pt x="671" y="163"/>
                    <a:pt x="671" y="163"/>
                    <a:pt x="671" y="163"/>
                  </a:cubicBezTo>
                  <a:cubicBezTo>
                    <a:pt x="671" y="163"/>
                    <a:pt x="671" y="163"/>
                    <a:pt x="671" y="163"/>
                  </a:cubicBezTo>
                  <a:cubicBezTo>
                    <a:pt x="669" y="163"/>
                    <a:pt x="594" y="134"/>
                    <a:pt x="594" y="133"/>
                  </a:cubicBezTo>
                  <a:cubicBezTo>
                    <a:pt x="594" y="133"/>
                    <a:pt x="594" y="133"/>
                    <a:pt x="594" y="133"/>
                  </a:cubicBezTo>
                  <a:cubicBezTo>
                    <a:pt x="594" y="132"/>
                    <a:pt x="594" y="131"/>
                    <a:pt x="594" y="130"/>
                  </a:cubicBezTo>
                  <a:cubicBezTo>
                    <a:pt x="593" y="129"/>
                    <a:pt x="591" y="128"/>
                    <a:pt x="589" y="128"/>
                  </a:cubicBezTo>
                  <a:cubicBezTo>
                    <a:pt x="589" y="128"/>
                    <a:pt x="588" y="128"/>
                    <a:pt x="587" y="128"/>
                  </a:cubicBezTo>
                  <a:cubicBezTo>
                    <a:pt x="585" y="129"/>
                    <a:pt x="584" y="132"/>
                    <a:pt x="585" y="134"/>
                  </a:cubicBezTo>
                  <a:cubicBezTo>
                    <a:pt x="585" y="134"/>
                    <a:pt x="585" y="134"/>
                    <a:pt x="585" y="134"/>
                  </a:cubicBezTo>
                  <a:cubicBezTo>
                    <a:pt x="585" y="135"/>
                    <a:pt x="556" y="154"/>
                    <a:pt x="553" y="154"/>
                  </a:cubicBezTo>
                  <a:cubicBezTo>
                    <a:pt x="553" y="154"/>
                    <a:pt x="553" y="154"/>
                    <a:pt x="553" y="154"/>
                  </a:cubicBezTo>
                  <a:cubicBezTo>
                    <a:pt x="553" y="154"/>
                    <a:pt x="553" y="154"/>
                    <a:pt x="553" y="154"/>
                  </a:cubicBezTo>
                  <a:cubicBezTo>
                    <a:pt x="552" y="153"/>
                    <a:pt x="550" y="152"/>
                    <a:pt x="548" y="152"/>
                  </a:cubicBezTo>
                  <a:cubicBezTo>
                    <a:pt x="547" y="152"/>
                    <a:pt x="546" y="153"/>
                    <a:pt x="545" y="153"/>
                  </a:cubicBezTo>
                  <a:cubicBezTo>
                    <a:pt x="543" y="154"/>
                    <a:pt x="541" y="156"/>
                    <a:pt x="541" y="159"/>
                  </a:cubicBezTo>
                  <a:cubicBezTo>
                    <a:pt x="541" y="159"/>
                    <a:pt x="541" y="159"/>
                    <a:pt x="541" y="159"/>
                  </a:cubicBezTo>
                  <a:cubicBezTo>
                    <a:pt x="541" y="159"/>
                    <a:pt x="518" y="163"/>
                    <a:pt x="489" y="167"/>
                  </a:cubicBezTo>
                  <a:cubicBezTo>
                    <a:pt x="497" y="144"/>
                    <a:pt x="507" y="115"/>
                    <a:pt x="509" y="115"/>
                  </a:cubicBezTo>
                  <a:cubicBezTo>
                    <a:pt x="509" y="115"/>
                    <a:pt x="509" y="115"/>
                    <a:pt x="509" y="115"/>
                  </a:cubicBezTo>
                  <a:cubicBezTo>
                    <a:pt x="509" y="115"/>
                    <a:pt x="509" y="115"/>
                    <a:pt x="509" y="115"/>
                  </a:cubicBezTo>
                  <a:cubicBezTo>
                    <a:pt x="509" y="115"/>
                    <a:pt x="510" y="115"/>
                    <a:pt x="510" y="115"/>
                  </a:cubicBezTo>
                  <a:cubicBezTo>
                    <a:pt x="512" y="115"/>
                    <a:pt x="513" y="115"/>
                    <a:pt x="515" y="115"/>
                  </a:cubicBezTo>
                  <a:cubicBezTo>
                    <a:pt x="520" y="112"/>
                    <a:pt x="522" y="107"/>
                    <a:pt x="519" y="102"/>
                  </a:cubicBezTo>
                  <a:cubicBezTo>
                    <a:pt x="518" y="98"/>
                    <a:pt x="514" y="96"/>
                    <a:pt x="510" y="96"/>
                  </a:cubicBezTo>
                  <a:cubicBezTo>
                    <a:pt x="509" y="96"/>
                    <a:pt x="507" y="97"/>
                    <a:pt x="506" y="97"/>
                  </a:cubicBezTo>
                  <a:cubicBezTo>
                    <a:pt x="504" y="98"/>
                    <a:pt x="503" y="99"/>
                    <a:pt x="502" y="100"/>
                  </a:cubicBezTo>
                  <a:cubicBezTo>
                    <a:pt x="502" y="100"/>
                    <a:pt x="502" y="100"/>
                    <a:pt x="502" y="100"/>
                  </a:cubicBezTo>
                  <a:cubicBezTo>
                    <a:pt x="502" y="100"/>
                    <a:pt x="502" y="100"/>
                    <a:pt x="502" y="100"/>
                  </a:cubicBezTo>
                  <a:cubicBezTo>
                    <a:pt x="498" y="100"/>
                    <a:pt x="453" y="77"/>
                    <a:pt x="454" y="75"/>
                  </a:cubicBezTo>
                  <a:cubicBezTo>
                    <a:pt x="454" y="75"/>
                    <a:pt x="454" y="75"/>
                    <a:pt x="454" y="75"/>
                  </a:cubicBezTo>
                  <a:cubicBezTo>
                    <a:pt x="455" y="73"/>
                    <a:pt x="455" y="69"/>
                    <a:pt x="453" y="67"/>
                  </a:cubicBezTo>
                  <a:cubicBezTo>
                    <a:pt x="451" y="62"/>
                    <a:pt x="447" y="60"/>
                    <a:pt x="443" y="60"/>
                  </a:cubicBezTo>
                  <a:cubicBezTo>
                    <a:pt x="441" y="60"/>
                    <a:pt x="439" y="60"/>
                    <a:pt x="438" y="61"/>
                  </a:cubicBezTo>
                  <a:cubicBezTo>
                    <a:pt x="433" y="63"/>
                    <a:pt x="431" y="67"/>
                    <a:pt x="431" y="71"/>
                  </a:cubicBezTo>
                  <a:cubicBezTo>
                    <a:pt x="431" y="71"/>
                    <a:pt x="431" y="71"/>
                    <a:pt x="431" y="71"/>
                  </a:cubicBezTo>
                  <a:cubicBezTo>
                    <a:pt x="431" y="73"/>
                    <a:pt x="295" y="88"/>
                    <a:pt x="278" y="88"/>
                  </a:cubicBezTo>
                  <a:cubicBezTo>
                    <a:pt x="277" y="88"/>
                    <a:pt x="277" y="88"/>
                    <a:pt x="277" y="88"/>
                  </a:cubicBezTo>
                  <a:cubicBezTo>
                    <a:pt x="277" y="88"/>
                    <a:pt x="277" y="88"/>
                    <a:pt x="277" y="88"/>
                  </a:cubicBezTo>
                  <a:cubicBezTo>
                    <a:pt x="276" y="88"/>
                    <a:pt x="276" y="87"/>
                    <a:pt x="276" y="86"/>
                  </a:cubicBezTo>
                  <a:cubicBezTo>
                    <a:pt x="274" y="82"/>
                    <a:pt x="270" y="80"/>
                    <a:pt x="265" y="80"/>
                  </a:cubicBezTo>
                  <a:cubicBezTo>
                    <a:pt x="263" y="80"/>
                    <a:pt x="262" y="80"/>
                    <a:pt x="260" y="81"/>
                  </a:cubicBezTo>
                  <a:cubicBezTo>
                    <a:pt x="254" y="84"/>
                    <a:pt x="251" y="90"/>
                    <a:pt x="254" y="96"/>
                  </a:cubicBezTo>
                  <a:cubicBezTo>
                    <a:pt x="256" y="99"/>
                    <a:pt x="258" y="101"/>
                    <a:pt x="260" y="102"/>
                  </a:cubicBezTo>
                  <a:cubicBezTo>
                    <a:pt x="260" y="102"/>
                    <a:pt x="260" y="102"/>
                    <a:pt x="260" y="102"/>
                  </a:cubicBezTo>
                  <a:cubicBezTo>
                    <a:pt x="262" y="103"/>
                    <a:pt x="250" y="143"/>
                    <a:pt x="249" y="143"/>
                  </a:cubicBezTo>
                  <a:cubicBezTo>
                    <a:pt x="249" y="143"/>
                    <a:pt x="249" y="143"/>
                    <a:pt x="249" y="143"/>
                  </a:cubicBezTo>
                  <a:cubicBezTo>
                    <a:pt x="249" y="143"/>
                    <a:pt x="249" y="143"/>
                    <a:pt x="249" y="143"/>
                  </a:cubicBezTo>
                  <a:cubicBezTo>
                    <a:pt x="249" y="143"/>
                    <a:pt x="249" y="143"/>
                    <a:pt x="249" y="143"/>
                  </a:cubicBezTo>
                  <a:cubicBezTo>
                    <a:pt x="248" y="143"/>
                    <a:pt x="248" y="143"/>
                    <a:pt x="247" y="143"/>
                  </a:cubicBezTo>
                  <a:cubicBezTo>
                    <a:pt x="246" y="144"/>
                    <a:pt x="245" y="145"/>
                    <a:pt x="245" y="146"/>
                  </a:cubicBezTo>
                  <a:cubicBezTo>
                    <a:pt x="245" y="146"/>
                    <a:pt x="245" y="146"/>
                    <a:pt x="245" y="146"/>
                  </a:cubicBezTo>
                  <a:cubicBezTo>
                    <a:pt x="245" y="146"/>
                    <a:pt x="245" y="146"/>
                    <a:pt x="244" y="146"/>
                  </a:cubicBezTo>
                  <a:cubicBezTo>
                    <a:pt x="237" y="146"/>
                    <a:pt x="185" y="141"/>
                    <a:pt x="185" y="140"/>
                  </a:cubicBezTo>
                  <a:cubicBezTo>
                    <a:pt x="185" y="140"/>
                    <a:pt x="185" y="140"/>
                    <a:pt x="185" y="140"/>
                  </a:cubicBezTo>
                  <a:cubicBezTo>
                    <a:pt x="185" y="139"/>
                    <a:pt x="185" y="138"/>
                    <a:pt x="184" y="138"/>
                  </a:cubicBezTo>
                  <a:cubicBezTo>
                    <a:pt x="184" y="137"/>
                    <a:pt x="184" y="137"/>
                    <a:pt x="184" y="137"/>
                  </a:cubicBezTo>
                  <a:cubicBezTo>
                    <a:pt x="184" y="137"/>
                    <a:pt x="184" y="137"/>
                    <a:pt x="184" y="137"/>
                  </a:cubicBezTo>
                  <a:cubicBezTo>
                    <a:pt x="183" y="136"/>
                    <a:pt x="209" y="113"/>
                    <a:pt x="211" y="113"/>
                  </a:cubicBezTo>
                  <a:cubicBezTo>
                    <a:pt x="211" y="113"/>
                    <a:pt x="211" y="113"/>
                    <a:pt x="211" y="113"/>
                  </a:cubicBezTo>
                  <a:cubicBezTo>
                    <a:pt x="210" y="113"/>
                    <a:pt x="210" y="113"/>
                    <a:pt x="210" y="113"/>
                  </a:cubicBezTo>
                  <a:cubicBezTo>
                    <a:pt x="211" y="114"/>
                    <a:pt x="212" y="114"/>
                    <a:pt x="214" y="114"/>
                  </a:cubicBezTo>
                  <a:cubicBezTo>
                    <a:pt x="214" y="114"/>
                    <a:pt x="215" y="114"/>
                    <a:pt x="216" y="114"/>
                  </a:cubicBezTo>
                  <a:cubicBezTo>
                    <a:pt x="218" y="113"/>
                    <a:pt x="219" y="110"/>
                    <a:pt x="218" y="107"/>
                  </a:cubicBezTo>
                  <a:cubicBezTo>
                    <a:pt x="217" y="106"/>
                    <a:pt x="215" y="105"/>
                    <a:pt x="214" y="105"/>
                  </a:cubicBezTo>
                  <a:cubicBezTo>
                    <a:pt x="213" y="105"/>
                    <a:pt x="212" y="105"/>
                    <a:pt x="211" y="105"/>
                  </a:cubicBezTo>
                  <a:cubicBezTo>
                    <a:pt x="211" y="106"/>
                    <a:pt x="211" y="106"/>
                    <a:pt x="211" y="106"/>
                  </a:cubicBezTo>
                  <a:cubicBezTo>
                    <a:pt x="211" y="106"/>
                    <a:pt x="211" y="106"/>
                    <a:pt x="211" y="106"/>
                  </a:cubicBezTo>
                  <a:cubicBezTo>
                    <a:pt x="211" y="106"/>
                    <a:pt x="211" y="106"/>
                    <a:pt x="211" y="106"/>
                  </a:cubicBezTo>
                  <a:cubicBezTo>
                    <a:pt x="209" y="106"/>
                    <a:pt x="175" y="72"/>
                    <a:pt x="176" y="70"/>
                  </a:cubicBezTo>
                  <a:cubicBezTo>
                    <a:pt x="176" y="70"/>
                    <a:pt x="176" y="70"/>
                    <a:pt x="176" y="70"/>
                  </a:cubicBezTo>
                  <a:cubicBezTo>
                    <a:pt x="177" y="69"/>
                    <a:pt x="178" y="67"/>
                    <a:pt x="178" y="65"/>
                  </a:cubicBezTo>
                  <a:cubicBezTo>
                    <a:pt x="178" y="59"/>
                    <a:pt x="174" y="55"/>
                    <a:pt x="168" y="55"/>
                  </a:cubicBezTo>
                  <a:cubicBezTo>
                    <a:pt x="163" y="55"/>
                    <a:pt x="158" y="59"/>
                    <a:pt x="158" y="65"/>
                  </a:cubicBezTo>
                  <a:cubicBezTo>
                    <a:pt x="158" y="68"/>
                    <a:pt x="160" y="70"/>
                    <a:pt x="162" y="72"/>
                  </a:cubicBezTo>
                  <a:cubicBezTo>
                    <a:pt x="162" y="72"/>
                    <a:pt x="162" y="72"/>
                    <a:pt x="162" y="72"/>
                  </a:cubicBezTo>
                  <a:cubicBezTo>
                    <a:pt x="164" y="73"/>
                    <a:pt x="131" y="132"/>
                    <a:pt x="127" y="132"/>
                  </a:cubicBezTo>
                  <a:cubicBezTo>
                    <a:pt x="127" y="132"/>
                    <a:pt x="127" y="132"/>
                    <a:pt x="127" y="132"/>
                  </a:cubicBezTo>
                  <a:cubicBezTo>
                    <a:pt x="127" y="132"/>
                    <a:pt x="127" y="132"/>
                    <a:pt x="127" y="132"/>
                  </a:cubicBezTo>
                  <a:cubicBezTo>
                    <a:pt x="126" y="132"/>
                    <a:pt x="124" y="132"/>
                    <a:pt x="122" y="132"/>
                  </a:cubicBezTo>
                  <a:cubicBezTo>
                    <a:pt x="121" y="132"/>
                    <a:pt x="120" y="132"/>
                    <a:pt x="119" y="132"/>
                  </a:cubicBezTo>
                  <a:cubicBezTo>
                    <a:pt x="119" y="132"/>
                    <a:pt x="119" y="132"/>
                    <a:pt x="119" y="132"/>
                  </a:cubicBezTo>
                  <a:cubicBezTo>
                    <a:pt x="119" y="132"/>
                    <a:pt x="119" y="132"/>
                    <a:pt x="119" y="132"/>
                  </a:cubicBezTo>
                  <a:cubicBezTo>
                    <a:pt x="118" y="132"/>
                    <a:pt x="113" y="122"/>
                    <a:pt x="109" y="112"/>
                  </a:cubicBezTo>
                  <a:cubicBezTo>
                    <a:pt x="113" y="122"/>
                    <a:pt x="117" y="133"/>
                    <a:pt x="115" y="133"/>
                  </a:cubicBezTo>
                  <a:cubicBezTo>
                    <a:pt x="116" y="133"/>
                    <a:pt x="116" y="133"/>
                    <a:pt x="116" y="133"/>
                  </a:cubicBezTo>
                  <a:cubicBezTo>
                    <a:pt x="115" y="133"/>
                    <a:pt x="115" y="133"/>
                    <a:pt x="115" y="133"/>
                  </a:cubicBezTo>
                  <a:cubicBezTo>
                    <a:pt x="115" y="133"/>
                    <a:pt x="115" y="133"/>
                    <a:pt x="115" y="133"/>
                  </a:cubicBezTo>
                  <a:cubicBezTo>
                    <a:pt x="115" y="133"/>
                    <a:pt x="115" y="133"/>
                    <a:pt x="115" y="133"/>
                  </a:cubicBezTo>
                  <a:cubicBezTo>
                    <a:pt x="112" y="133"/>
                    <a:pt x="26" y="30"/>
                    <a:pt x="14" y="13"/>
                  </a:cubicBezTo>
                  <a:cubicBezTo>
                    <a:pt x="28" y="23"/>
                    <a:pt x="95" y="83"/>
                    <a:pt x="95" y="84"/>
                  </a:cubicBezTo>
                  <a:cubicBezTo>
                    <a:pt x="95" y="84"/>
                    <a:pt x="95" y="84"/>
                    <a:pt x="95" y="84"/>
                  </a:cubicBezTo>
                  <a:cubicBezTo>
                    <a:pt x="94" y="85"/>
                    <a:pt x="94" y="86"/>
                    <a:pt x="95" y="88"/>
                  </a:cubicBezTo>
                  <a:cubicBezTo>
                    <a:pt x="95" y="89"/>
                    <a:pt x="97" y="90"/>
                    <a:pt x="98" y="90"/>
                  </a:cubicBezTo>
                  <a:cubicBezTo>
                    <a:pt x="99" y="90"/>
                    <a:pt x="99" y="90"/>
                    <a:pt x="99" y="90"/>
                  </a:cubicBezTo>
                  <a:cubicBezTo>
                    <a:pt x="99" y="90"/>
                    <a:pt x="99" y="90"/>
                    <a:pt x="99" y="90"/>
                  </a:cubicBezTo>
                  <a:cubicBezTo>
                    <a:pt x="99" y="90"/>
                    <a:pt x="99" y="90"/>
                    <a:pt x="99" y="90"/>
                  </a:cubicBezTo>
                  <a:cubicBezTo>
                    <a:pt x="100" y="90"/>
                    <a:pt x="103" y="97"/>
                    <a:pt x="106" y="105"/>
                  </a:cubicBezTo>
                  <a:cubicBezTo>
                    <a:pt x="103" y="97"/>
                    <a:pt x="100" y="90"/>
                    <a:pt x="101" y="90"/>
                  </a:cubicBezTo>
                  <a:cubicBezTo>
                    <a:pt x="100" y="90"/>
                    <a:pt x="100" y="90"/>
                    <a:pt x="100" y="90"/>
                  </a:cubicBezTo>
                  <a:cubicBezTo>
                    <a:pt x="102" y="89"/>
                    <a:pt x="103" y="86"/>
                    <a:pt x="102" y="84"/>
                  </a:cubicBezTo>
                  <a:cubicBezTo>
                    <a:pt x="102" y="83"/>
                    <a:pt x="100" y="82"/>
                    <a:pt x="98" y="82"/>
                  </a:cubicBezTo>
                  <a:cubicBezTo>
                    <a:pt x="98" y="82"/>
                    <a:pt x="97" y="82"/>
                    <a:pt x="97" y="83"/>
                  </a:cubicBezTo>
                  <a:cubicBezTo>
                    <a:pt x="96" y="83"/>
                    <a:pt x="96" y="83"/>
                    <a:pt x="96" y="83"/>
                  </a:cubicBezTo>
                  <a:cubicBezTo>
                    <a:pt x="96" y="83"/>
                    <a:pt x="96" y="83"/>
                    <a:pt x="96" y="83"/>
                  </a:cubicBezTo>
                  <a:cubicBezTo>
                    <a:pt x="96" y="83"/>
                    <a:pt x="96" y="83"/>
                    <a:pt x="96" y="83"/>
                  </a:cubicBezTo>
                  <a:cubicBezTo>
                    <a:pt x="95" y="83"/>
                    <a:pt x="13" y="11"/>
                    <a:pt x="13" y="10"/>
                  </a:cubicBezTo>
                  <a:cubicBezTo>
                    <a:pt x="13" y="10"/>
                    <a:pt x="13" y="10"/>
                    <a:pt x="13" y="10"/>
                  </a:cubicBezTo>
                  <a:cubicBezTo>
                    <a:pt x="15" y="8"/>
                    <a:pt x="15" y="6"/>
                    <a:pt x="14" y="3"/>
                  </a:cubicBezTo>
                  <a:cubicBezTo>
                    <a:pt x="13" y="1"/>
                    <a:pt x="10" y="0"/>
                    <a:pt x="8"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 name="Freeform 10"/>
            <p:cNvSpPr>
              <a:spLocks noEditPoints="1"/>
            </p:cNvSpPr>
            <p:nvPr/>
          </p:nvSpPr>
          <p:spPr bwMode="auto">
            <a:xfrm>
              <a:off x="6415088" y="4025900"/>
              <a:ext cx="315913" cy="323850"/>
            </a:xfrm>
            <a:custGeom>
              <a:avLst/>
              <a:gdLst>
                <a:gd name="T0" fmla="*/ 14 w 84"/>
                <a:gd name="T1" fmla="*/ 43 h 86"/>
                <a:gd name="T2" fmla="*/ 45 w 84"/>
                <a:gd name="T3" fmla="*/ 13 h 86"/>
                <a:gd name="T4" fmla="*/ 45 w 84"/>
                <a:gd name="T5" fmla="*/ 13 h 86"/>
                <a:gd name="T6" fmla="*/ 45 w 84"/>
                <a:gd name="T7" fmla="*/ 13 h 86"/>
                <a:gd name="T8" fmla="*/ 49 w 84"/>
                <a:gd name="T9" fmla="*/ 14 h 86"/>
                <a:gd name="T10" fmla="*/ 52 w 84"/>
                <a:gd name="T11" fmla="*/ 14 h 86"/>
                <a:gd name="T12" fmla="*/ 52 w 84"/>
                <a:gd name="T13" fmla="*/ 14 h 86"/>
                <a:gd name="T14" fmla="*/ 52 w 84"/>
                <a:gd name="T15" fmla="*/ 14 h 86"/>
                <a:gd name="T16" fmla="*/ 76 w 84"/>
                <a:gd name="T17" fmla="*/ 49 h 86"/>
                <a:gd name="T18" fmla="*/ 76 w 84"/>
                <a:gd name="T19" fmla="*/ 49 h 86"/>
                <a:gd name="T20" fmla="*/ 74 w 84"/>
                <a:gd name="T21" fmla="*/ 53 h 86"/>
                <a:gd name="T22" fmla="*/ 74 w 84"/>
                <a:gd name="T23" fmla="*/ 55 h 86"/>
                <a:gd name="T24" fmla="*/ 74 w 84"/>
                <a:gd name="T25" fmla="*/ 55 h 86"/>
                <a:gd name="T26" fmla="*/ 42 w 84"/>
                <a:gd name="T27" fmla="*/ 80 h 86"/>
                <a:gd name="T28" fmla="*/ 42 w 84"/>
                <a:gd name="T29" fmla="*/ 80 h 86"/>
                <a:gd name="T30" fmla="*/ 42 w 84"/>
                <a:gd name="T31" fmla="*/ 80 h 86"/>
                <a:gd name="T32" fmla="*/ 39 w 84"/>
                <a:gd name="T33" fmla="*/ 79 h 86"/>
                <a:gd name="T34" fmla="*/ 37 w 84"/>
                <a:gd name="T35" fmla="*/ 79 h 86"/>
                <a:gd name="T36" fmla="*/ 37 w 84"/>
                <a:gd name="T37" fmla="*/ 79 h 86"/>
                <a:gd name="T38" fmla="*/ 37 w 84"/>
                <a:gd name="T39" fmla="*/ 79 h 86"/>
                <a:gd name="T40" fmla="*/ 37 w 84"/>
                <a:gd name="T41" fmla="*/ 79 h 86"/>
                <a:gd name="T42" fmla="*/ 14 w 84"/>
                <a:gd name="T43" fmla="*/ 52 h 86"/>
                <a:gd name="T44" fmla="*/ 14 w 84"/>
                <a:gd name="T45" fmla="*/ 52 h 86"/>
                <a:gd name="T46" fmla="*/ 15 w 84"/>
                <a:gd name="T47" fmla="*/ 48 h 86"/>
                <a:gd name="T48" fmla="*/ 14 w 84"/>
                <a:gd name="T49" fmla="*/ 43 h 86"/>
                <a:gd name="T50" fmla="*/ 14 w 84"/>
                <a:gd name="T51" fmla="*/ 43 h 86"/>
                <a:gd name="T52" fmla="*/ 49 w 84"/>
                <a:gd name="T53" fmla="*/ 0 h 86"/>
                <a:gd name="T54" fmla="*/ 46 w 84"/>
                <a:gd name="T55" fmla="*/ 0 h 86"/>
                <a:gd name="T56" fmla="*/ 42 w 84"/>
                <a:gd name="T57" fmla="*/ 10 h 86"/>
                <a:gd name="T58" fmla="*/ 43 w 84"/>
                <a:gd name="T59" fmla="*/ 11 h 86"/>
                <a:gd name="T60" fmla="*/ 43 w 84"/>
                <a:gd name="T61" fmla="*/ 11 h 86"/>
                <a:gd name="T62" fmla="*/ 12 w 84"/>
                <a:gd name="T63" fmla="*/ 42 h 86"/>
                <a:gd name="T64" fmla="*/ 12 w 84"/>
                <a:gd name="T65" fmla="*/ 42 h 86"/>
                <a:gd name="T66" fmla="*/ 12 w 84"/>
                <a:gd name="T67" fmla="*/ 42 h 86"/>
                <a:gd name="T68" fmla="*/ 8 w 84"/>
                <a:gd name="T69" fmla="*/ 40 h 86"/>
                <a:gd name="T70" fmla="*/ 0 w 84"/>
                <a:gd name="T71" fmla="*/ 48 h 86"/>
                <a:gd name="T72" fmla="*/ 8 w 84"/>
                <a:gd name="T73" fmla="*/ 55 h 86"/>
                <a:gd name="T74" fmla="*/ 12 w 84"/>
                <a:gd name="T75" fmla="*/ 54 h 86"/>
                <a:gd name="T76" fmla="*/ 12 w 84"/>
                <a:gd name="T77" fmla="*/ 54 h 86"/>
                <a:gd name="T78" fmla="*/ 12 w 84"/>
                <a:gd name="T79" fmla="*/ 54 h 86"/>
                <a:gd name="T80" fmla="*/ 36 w 84"/>
                <a:gd name="T81" fmla="*/ 80 h 86"/>
                <a:gd name="T82" fmla="*/ 36 w 84"/>
                <a:gd name="T83" fmla="*/ 80 h 86"/>
                <a:gd name="T84" fmla="*/ 35 w 84"/>
                <a:gd name="T85" fmla="*/ 84 h 86"/>
                <a:gd name="T86" fmla="*/ 39 w 84"/>
                <a:gd name="T87" fmla="*/ 86 h 86"/>
                <a:gd name="T88" fmla="*/ 41 w 84"/>
                <a:gd name="T89" fmla="*/ 86 h 86"/>
                <a:gd name="T90" fmla="*/ 43 w 84"/>
                <a:gd name="T91" fmla="*/ 81 h 86"/>
                <a:gd name="T92" fmla="*/ 42 w 84"/>
                <a:gd name="T93" fmla="*/ 81 h 86"/>
                <a:gd name="T94" fmla="*/ 42 w 84"/>
                <a:gd name="T95" fmla="*/ 81 h 86"/>
                <a:gd name="T96" fmla="*/ 75 w 84"/>
                <a:gd name="T97" fmla="*/ 56 h 86"/>
                <a:gd name="T98" fmla="*/ 75 w 84"/>
                <a:gd name="T99" fmla="*/ 56 h 86"/>
                <a:gd name="T100" fmla="*/ 75 w 84"/>
                <a:gd name="T101" fmla="*/ 56 h 86"/>
                <a:gd name="T102" fmla="*/ 79 w 84"/>
                <a:gd name="T103" fmla="*/ 58 h 86"/>
                <a:gd name="T104" fmla="*/ 84 w 84"/>
                <a:gd name="T105" fmla="*/ 53 h 86"/>
                <a:gd name="T106" fmla="*/ 79 w 84"/>
                <a:gd name="T107" fmla="*/ 48 h 86"/>
                <a:gd name="T108" fmla="*/ 77 w 84"/>
                <a:gd name="T109" fmla="*/ 48 h 86"/>
                <a:gd name="T110" fmla="*/ 77 w 84"/>
                <a:gd name="T111" fmla="*/ 48 h 86"/>
                <a:gd name="T112" fmla="*/ 54 w 84"/>
                <a:gd name="T113" fmla="*/ 13 h 86"/>
                <a:gd name="T114" fmla="*/ 54 w 84"/>
                <a:gd name="T115" fmla="*/ 13 h 86"/>
                <a:gd name="T116" fmla="*/ 56 w 84"/>
                <a:gd name="T117" fmla="*/ 4 h 86"/>
                <a:gd name="T118" fmla="*/ 49 w 84"/>
                <a:gd name="T11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6">
                  <a:moveTo>
                    <a:pt x="14" y="43"/>
                  </a:moveTo>
                  <a:cubicBezTo>
                    <a:pt x="13" y="42"/>
                    <a:pt x="43" y="13"/>
                    <a:pt x="45" y="13"/>
                  </a:cubicBezTo>
                  <a:cubicBezTo>
                    <a:pt x="45" y="13"/>
                    <a:pt x="45" y="13"/>
                    <a:pt x="45" y="13"/>
                  </a:cubicBezTo>
                  <a:cubicBezTo>
                    <a:pt x="45" y="13"/>
                    <a:pt x="45" y="13"/>
                    <a:pt x="45" y="13"/>
                  </a:cubicBezTo>
                  <a:cubicBezTo>
                    <a:pt x="46" y="14"/>
                    <a:pt x="48" y="14"/>
                    <a:pt x="49" y="14"/>
                  </a:cubicBezTo>
                  <a:cubicBezTo>
                    <a:pt x="50" y="14"/>
                    <a:pt x="51" y="14"/>
                    <a:pt x="52" y="14"/>
                  </a:cubicBezTo>
                  <a:cubicBezTo>
                    <a:pt x="52" y="14"/>
                    <a:pt x="52" y="14"/>
                    <a:pt x="52" y="14"/>
                  </a:cubicBezTo>
                  <a:cubicBezTo>
                    <a:pt x="52" y="14"/>
                    <a:pt x="52" y="14"/>
                    <a:pt x="52" y="14"/>
                  </a:cubicBezTo>
                  <a:cubicBezTo>
                    <a:pt x="54" y="14"/>
                    <a:pt x="76" y="48"/>
                    <a:pt x="76" y="49"/>
                  </a:cubicBezTo>
                  <a:cubicBezTo>
                    <a:pt x="76" y="49"/>
                    <a:pt x="76" y="49"/>
                    <a:pt x="76" y="49"/>
                  </a:cubicBezTo>
                  <a:cubicBezTo>
                    <a:pt x="75" y="50"/>
                    <a:pt x="74" y="51"/>
                    <a:pt x="74" y="53"/>
                  </a:cubicBezTo>
                  <a:cubicBezTo>
                    <a:pt x="74" y="54"/>
                    <a:pt x="74" y="54"/>
                    <a:pt x="74" y="55"/>
                  </a:cubicBezTo>
                  <a:cubicBezTo>
                    <a:pt x="74" y="55"/>
                    <a:pt x="74" y="55"/>
                    <a:pt x="74" y="55"/>
                  </a:cubicBezTo>
                  <a:cubicBezTo>
                    <a:pt x="75" y="56"/>
                    <a:pt x="43" y="80"/>
                    <a:pt x="42" y="80"/>
                  </a:cubicBezTo>
                  <a:cubicBezTo>
                    <a:pt x="42" y="80"/>
                    <a:pt x="42" y="80"/>
                    <a:pt x="42" y="80"/>
                  </a:cubicBezTo>
                  <a:cubicBezTo>
                    <a:pt x="42" y="80"/>
                    <a:pt x="42" y="80"/>
                    <a:pt x="42" y="80"/>
                  </a:cubicBezTo>
                  <a:cubicBezTo>
                    <a:pt x="41" y="79"/>
                    <a:pt x="40" y="79"/>
                    <a:pt x="39" y="79"/>
                  </a:cubicBezTo>
                  <a:cubicBezTo>
                    <a:pt x="38" y="79"/>
                    <a:pt x="38" y="79"/>
                    <a:pt x="37" y="79"/>
                  </a:cubicBezTo>
                  <a:cubicBezTo>
                    <a:pt x="37" y="79"/>
                    <a:pt x="37" y="79"/>
                    <a:pt x="37" y="79"/>
                  </a:cubicBezTo>
                  <a:cubicBezTo>
                    <a:pt x="37" y="79"/>
                    <a:pt x="37" y="79"/>
                    <a:pt x="37" y="79"/>
                  </a:cubicBezTo>
                  <a:cubicBezTo>
                    <a:pt x="37" y="79"/>
                    <a:pt x="37" y="79"/>
                    <a:pt x="37" y="79"/>
                  </a:cubicBezTo>
                  <a:cubicBezTo>
                    <a:pt x="36" y="79"/>
                    <a:pt x="13" y="54"/>
                    <a:pt x="14" y="52"/>
                  </a:cubicBezTo>
                  <a:cubicBezTo>
                    <a:pt x="14" y="52"/>
                    <a:pt x="14" y="52"/>
                    <a:pt x="14" y="52"/>
                  </a:cubicBezTo>
                  <a:cubicBezTo>
                    <a:pt x="15" y="51"/>
                    <a:pt x="15" y="49"/>
                    <a:pt x="15" y="48"/>
                  </a:cubicBezTo>
                  <a:cubicBezTo>
                    <a:pt x="15" y="46"/>
                    <a:pt x="15" y="44"/>
                    <a:pt x="14" y="43"/>
                  </a:cubicBezTo>
                  <a:cubicBezTo>
                    <a:pt x="14" y="43"/>
                    <a:pt x="14" y="43"/>
                    <a:pt x="14" y="43"/>
                  </a:cubicBezTo>
                  <a:moveTo>
                    <a:pt x="49" y="0"/>
                  </a:moveTo>
                  <a:cubicBezTo>
                    <a:pt x="48" y="0"/>
                    <a:pt x="47" y="0"/>
                    <a:pt x="46" y="0"/>
                  </a:cubicBezTo>
                  <a:cubicBezTo>
                    <a:pt x="42" y="2"/>
                    <a:pt x="41" y="7"/>
                    <a:pt x="42" y="10"/>
                  </a:cubicBezTo>
                  <a:cubicBezTo>
                    <a:pt x="43" y="11"/>
                    <a:pt x="43" y="11"/>
                    <a:pt x="43" y="11"/>
                  </a:cubicBezTo>
                  <a:cubicBezTo>
                    <a:pt x="43" y="11"/>
                    <a:pt x="43" y="11"/>
                    <a:pt x="43" y="11"/>
                  </a:cubicBezTo>
                  <a:cubicBezTo>
                    <a:pt x="44" y="13"/>
                    <a:pt x="14" y="42"/>
                    <a:pt x="12" y="42"/>
                  </a:cubicBezTo>
                  <a:cubicBezTo>
                    <a:pt x="12" y="42"/>
                    <a:pt x="12" y="42"/>
                    <a:pt x="12" y="42"/>
                  </a:cubicBezTo>
                  <a:cubicBezTo>
                    <a:pt x="12" y="42"/>
                    <a:pt x="12" y="42"/>
                    <a:pt x="12" y="42"/>
                  </a:cubicBezTo>
                  <a:cubicBezTo>
                    <a:pt x="11" y="41"/>
                    <a:pt x="9" y="40"/>
                    <a:pt x="8" y="40"/>
                  </a:cubicBezTo>
                  <a:cubicBezTo>
                    <a:pt x="4" y="40"/>
                    <a:pt x="0" y="44"/>
                    <a:pt x="0" y="48"/>
                  </a:cubicBezTo>
                  <a:cubicBezTo>
                    <a:pt x="0" y="52"/>
                    <a:pt x="4" y="55"/>
                    <a:pt x="8" y="55"/>
                  </a:cubicBezTo>
                  <a:cubicBezTo>
                    <a:pt x="9" y="55"/>
                    <a:pt x="11" y="55"/>
                    <a:pt x="12" y="54"/>
                  </a:cubicBezTo>
                  <a:cubicBezTo>
                    <a:pt x="12" y="54"/>
                    <a:pt x="12" y="54"/>
                    <a:pt x="12" y="54"/>
                  </a:cubicBezTo>
                  <a:cubicBezTo>
                    <a:pt x="12" y="54"/>
                    <a:pt x="12" y="54"/>
                    <a:pt x="12" y="54"/>
                  </a:cubicBezTo>
                  <a:cubicBezTo>
                    <a:pt x="14" y="54"/>
                    <a:pt x="36" y="79"/>
                    <a:pt x="36" y="80"/>
                  </a:cubicBezTo>
                  <a:cubicBezTo>
                    <a:pt x="36" y="80"/>
                    <a:pt x="36" y="80"/>
                    <a:pt x="36" y="80"/>
                  </a:cubicBezTo>
                  <a:cubicBezTo>
                    <a:pt x="35" y="81"/>
                    <a:pt x="35" y="83"/>
                    <a:pt x="35" y="84"/>
                  </a:cubicBezTo>
                  <a:cubicBezTo>
                    <a:pt x="36" y="85"/>
                    <a:pt x="37" y="86"/>
                    <a:pt x="39" y="86"/>
                  </a:cubicBezTo>
                  <a:cubicBezTo>
                    <a:pt x="40" y="86"/>
                    <a:pt x="40" y="86"/>
                    <a:pt x="41" y="86"/>
                  </a:cubicBezTo>
                  <a:cubicBezTo>
                    <a:pt x="43" y="85"/>
                    <a:pt x="44" y="83"/>
                    <a:pt x="43" y="81"/>
                  </a:cubicBezTo>
                  <a:cubicBezTo>
                    <a:pt x="42" y="81"/>
                    <a:pt x="42" y="81"/>
                    <a:pt x="42" y="81"/>
                  </a:cubicBezTo>
                  <a:cubicBezTo>
                    <a:pt x="42" y="81"/>
                    <a:pt x="42" y="81"/>
                    <a:pt x="42" y="81"/>
                  </a:cubicBezTo>
                  <a:cubicBezTo>
                    <a:pt x="42" y="80"/>
                    <a:pt x="74" y="56"/>
                    <a:pt x="75" y="56"/>
                  </a:cubicBezTo>
                  <a:cubicBezTo>
                    <a:pt x="75" y="56"/>
                    <a:pt x="75" y="56"/>
                    <a:pt x="75" y="56"/>
                  </a:cubicBezTo>
                  <a:cubicBezTo>
                    <a:pt x="75" y="56"/>
                    <a:pt x="75" y="56"/>
                    <a:pt x="75" y="56"/>
                  </a:cubicBezTo>
                  <a:cubicBezTo>
                    <a:pt x="76" y="57"/>
                    <a:pt x="78" y="58"/>
                    <a:pt x="79" y="58"/>
                  </a:cubicBezTo>
                  <a:cubicBezTo>
                    <a:pt x="82" y="58"/>
                    <a:pt x="84" y="55"/>
                    <a:pt x="84" y="53"/>
                  </a:cubicBezTo>
                  <a:cubicBezTo>
                    <a:pt x="84" y="50"/>
                    <a:pt x="82" y="48"/>
                    <a:pt x="79" y="48"/>
                  </a:cubicBezTo>
                  <a:cubicBezTo>
                    <a:pt x="78" y="48"/>
                    <a:pt x="78" y="48"/>
                    <a:pt x="77" y="48"/>
                  </a:cubicBezTo>
                  <a:cubicBezTo>
                    <a:pt x="77" y="48"/>
                    <a:pt x="77" y="48"/>
                    <a:pt x="77" y="48"/>
                  </a:cubicBezTo>
                  <a:cubicBezTo>
                    <a:pt x="76" y="48"/>
                    <a:pt x="53" y="14"/>
                    <a:pt x="54" y="13"/>
                  </a:cubicBezTo>
                  <a:cubicBezTo>
                    <a:pt x="54" y="13"/>
                    <a:pt x="54" y="13"/>
                    <a:pt x="54" y="13"/>
                  </a:cubicBezTo>
                  <a:cubicBezTo>
                    <a:pt x="57" y="11"/>
                    <a:pt x="58" y="7"/>
                    <a:pt x="56" y="4"/>
                  </a:cubicBezTo>
                  <a:cubicBezTo>
                    <a:pt x="55" y="1"/>
                    <a:pt x="52" y="0"/>
                    <a:pt x="49"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8" name="Freeform 11"/>
            <p:cNvSpPr>
              <a:spLocks/>
            </p:cNvSpPr>
            <p:nvPr/>
          </p:nvSpPr>
          <p:spPr bwMode="auto">
            <a:xfrm>
              <a:off x="4856163" y="2439988"/>
              <a:ext cx="87313" cy="74613"/>
            </a:xfrm>
            <a:custGeom>
              <a:avLst/>
              <a:gdLst>
                <a:gd name="T0" fmla="*/ 12 w 23"/>
                <a:gd name="T1" fmla="*/ 0 h 20"/>
                <a:gd name="T2" fmla="*/ 7 w 23"/>
                <a:gd name="T3" fmla="*/ 1 h 20"/>
                <a:gd name="T4" fmla="*/ 3 w 23"/>
                <a:gd name="T5" fmla="*/ 14 h 20"/>
                <a:gd name="T6" fmla="*/ 12 w 23"/>
                <a:gd name="T7" fmla="*/ 20 h 20"/>
                <a:gd name="T8" fmla="*/ 16 w 23"/>
                <a:gd name="T9" fmla="*/ 19 h 20"/>
                <a:gd name="T10" fmla="*/ 21 w 23"/>
                <a:gd name="T11" fmla="*/ 6 h 20"/>
                <a:gd name="T12" fmla="*/ 12 w 2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3" h="20">
                  <a:moveTo>
                    <a:pt x="12" y="0"/>
                  </a:moveTo>
                  <a:cubicBezTo>
                    <a:pt x="10" y="0"/>
                    <a:pt x="9" y="1"/>
                    <a:pt x="7" y="1"/>
                  </a:cubicBezTo>
                  <a:cubicBezTo>
                    <a:pt x="2" y="4"/>
                    <a:pt x="0" y="9"/>
                    <a:pt x="3" y="14"/>
                  </a:cubicBezTo>
                  <a:cubicBezTo>
                    <a:pt x="4" y="18"/>
                    <a:pt x="8" y="20"/>
                    <a:pt x="12" y="20"/>
                  </a:cubicBezTo>
                  <a:cubicBezTo>
                    <a:pt x="13" y="20"/>
                    <a:pt x="15" y="19"/>
                    <a:pt x="16" y="19"/>
                  </a:cubicBezTo>
                  <a:cubicBezTo>
                    <a:pt x="21" y="16"/>
                    <a:pt x="23" y="11"/>
                    <a:pt x="21" y="6"/>
                  </a:cubicBezTo>
                  <a:cubicBezTo>
                    <a:pt x="19" y="2"/>
                    <a:pt x="15" y="0"/>
                    <a:pt x="12"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9" name="Freeform 12"/>
            <p:cNvSpPr>
              <a:spLocks noEditPoints="1"/>
            </p:cNvSpPr>
            <p:nvPr/>
          </p:nvSpPr>
          <p:spPr bwMode="auto">
            <a:xfrm>
              <a:off x="3411538" y="2424113"/>
              <a:ext cx="1062038" cy="1203325"/>
            </a:xfrm>
            <a:custGeom>
              <a:avLst/>
              <a:gdLst>
                <a:gd name="T0" fmla="*/ 138 w 283"/>
                <a:gd name="T1" fmla="*/ 81 h 319"/>
                <a:gd name="T2" fmla="*/ 141 w 283"/>
                <a:gd name="T3" fmla="*/ 80 h 319"/>
                <a:gd name="T4" fmla="*/ 180 w 283"/>
                <a:gd name="T5" fmla="*/ 107 h 319"/>
                <a:gd name="T6" fmla="*/ 178 w 283"/>
                <a:gd name="T7" fmla="*/ 108 h 319"/>
                <a:gd name="T8" fmla="*/ 103 w 283"/>
                <a:gd name="T9" fmla="*/ 101 h 319"/>
                <a:gd name="T10" fmla="*/ 135 w 283"/>
                <a:gd name="T11" fmla="*/ 80 h 319"/>
                <a:gd name="T12" fmla="*/ 199 w 283"/>
                <a:gd name="T13" fmla="*/ 2 h 319"/>
                <a:gd name="T14" fmla="*/ 202 w 283"/>
                <a:gd name="T15" fmla="*/ 34 h 319"/>
                <a:gd name="T16" fmla="*/ 187 w 283"/>
                <a:gd name="T17" fmla="*/ 108 h 319"/>
                <a:gd name="T18" fmla="*/ 184 w 283"/>
                <a:gd name="T19" fmla="*/ 105 h 319"/>
                <a:gd name="T20" fmla="*/ 181 w 283"/>
                <a:gd name="T21" fmla="*/ 106 h 319"/>
                <a:gd name="T22" fmla="*/ 142 w 283"/>
                <a:gd name="T23" fmla="*/ 79 h 319"/>
                <a:gd name="T24" fmla="*/ 136 w 283"/>
                <a:gd name="T25" fmla="*/ 72 h 319"/>
                <a:gd name="T26" fmla="*/ 102 w 283"/>
                <a:gd name="T27" fmla="*/ 99 h 319"/>
                <a:gd name="T28" fmla="*/ 97 w 283"/>
                <a:gd name="T29" fmla="*/ 97 h 319"/>
                <a:gd name="T30" fmla="*/ 97 w 283"/>
                <a:gd name="T31" fmla="*/ 110 h 319"/>
                <a:gd name="T32" fmla="*/ 98 w 283"/>
                <a:gd name="T33" fmla="*/ 110 h 319"/>
                <a:gd name="T34" fmla="*/ 132 w 283"/>
                <a:gd name="T35" fmla="*/ 211 h 319"/>
                <a:gd name="T36" fmla="*/ 144 w 283"/>
                <a:gd name="T37" fmla="*/ 206 h 319"/>
                <a:gd name="T38" fmla="*/ 137 w 283"/>
                <a:gd name="T39" fmla="*/ 202 h 319"/>
                <a:gd name="T40" fmla="*/ 100 w 283"/>
                <a:gd name="T41" fmla="*/ 109 h 319"/>
                <a:gd name="T42" fmla="*/ 102 w 283"/>
                <a:gd name="T43" fmla="*/ 108 h 319"/>
                <a:gd name="T44" fmla="*/ 134 w 283"/>
                <a:gd name="T45" fmla="*/ 134 h 319"/>
                <a:gd name="T46" fmla="*/ 142 w 283"/>
                <a:gd name="T47" fmla="*/ 130 h 319"/>
                <a:gd name="T48" fmla="*/ 135 w 283"/>
                <a:gd name="T49" fmla="*/ 129 h 319"/>
                <a:gd name="T50" fmla="*/ 103 w 283"/>
                <a:gd name="T51" fmla="*/ 106 h 319"/>
                <a:gd name="T52" fmla="*/ 104 w 283"/>
                <a:gd name="T53" fmla="*/ 105 h 319"/>
                <a:gd name="T54" fmla="*/ 179 w 283"/>
                <a:gd name="T55" fmla="*/ 109 h 319"/>
                <a:gd name="T56" fmla="*/ 185 w 283"/>
                <a:gd name="T57" fmla="*/ 113 h 319"/>
                <a:gd name="T58" fmla="*/ 195 w 283"/>
                <a:gd name="T59" fmla="*/ 107 h 319"/>
                <a:gd name="T60" fmla="*/ 164 w 283"/>
                <a:gd name="T61" fmla="*/ 256 h 319"/>
                <a:gd name="T62" fmla="*/ 70 w 283"/>
                <a:gd name="T63" fmla="*/ 189 h 319"/>
                <a:gd name="T64" fmla="*/ 51 w 283"/>
                <a:gd name="T65" fmla="*/ 160 h 319"/>
                <a:gd name="T66" fmla="*/ 41 w 283"/>
                <a:gd name="T67" fmla="*/ 197 h 319"/>
                <a:gd name="T68" fmla="*/ 13 w 283"/>
                <a:gd name="T69" fmla="*/ 269 h 319"/>
                <a:gd name="T70" fmla="*/ 7 w 283"/>
                <a:gd name="T71" fmla="*/ 269 h 319"/>
                <a:gd name="T72" fmla="*/ 15 w 283"/>
                <a:gd name="T73" fmla="*/ 285 h 319"/>
                <a:gd name="T74" fmla="*/ 18 w 283"/>
                <a:gd name="T75" fmla="*/ 282 h 319"/>
                <a:gd name="T76" fmla="*/ 66 w 283"/>
                <a:gd name="T77" fmla="*/ 317 h 319"/>
                <a:gd name="T78" fmla="*/ 79 w 283"/>
                <a:gd name="T79" fmla="*/ 302 h 319"/>
                <a:gd name="T80" fmla="*/ 64 w 283"/>
                <a:gd name="T81" fmla="*/ 304 h 319"/>
                <a:gd name="T82" fmla="*/ 19 w 283"/>
                <a:gd name="T83" fmla="*/ 280 h 319"/>
                <a:gd name="T84" fmla="*/ 15 w 283"/>
                <a:gd name="T85" fmla="*/ 270 h 319"/>
                <a:gd name="T86" fmla="*/ 46 w 283"/>
                <a:gd name="T87" fmla="*/ 200 h 319"/>
                <a:gd name="T88" fmla="*/ 66 w 283"/>
                <a:gd name="T89" fmla="*/ 194 h 319"/>
                <a:gd name="T90" fmla="*/ 161 w 283"/>
                <a:gd name="T91" fmla="*/ 259 h 319"/>
                <a:gd name="T92" fmla="*/ 174 w 283"/>
                <a:gd name="T93" fmla="*/ 280 h 319"/>
                <a:gd name="T94" fmla="*/ 178 w 283"/>
                <a:gd name="T95" fmla="*/ 252 h 319"/>
                <a:gd name="T96" fmla="*/ 263 w 283"/>
                <a:gd name="T97" fmla="*/ 97 h 319"/>
                <a:gd name="T98" fmla="*/ 283 w 283"/>
                <a:gd name="T99" fmla="*/ 94 h 319"/>
                <a:gd name="T100" fmla="*/ 262 w 283"/>
                <a:gd name="T101" fmla="*/ 94 h 319"/>
                <a:gd name="T102" fmla="*/ 207 w 283"/>
                <a:gd name="T103" fmla="*/ 35 h 319"/>
                <a:gd name="T104" fmla="*/ 223 w 283"/>
                <a:gd name="T105" fmla="*/ 1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3" h="319">
                  <a:moveTo>
                    <a:pt x="135" y="80"/>
                  </a:moveTo>
                  <a:cubicBezTo>
                    <a:pt x="135" y="80"/>
                    <a:pt x="135" y="80"/>
                    <a:pt x="135" y="80"/>
                  </a:cubicBezTo>
                  <a:cubicBezTo>
                    <a:pt x="135" y="81"/>
                    <a:pt x="137" y="81"/>
                    <a:pt x="138" y="81"/>
                  </a:cubicBezTo>
                  <a:cubicBezTo>
                    <a:pt x="139" y="81"/>
                    <a:pt x="139" y="81"/>
                    <a:pt x="140" y="81"/>
                  </a:cubicBezTo>
                  <a:cubicBezTo>
                    <a:pt x="141" y="81"/>
                    <a:pt x="141" y="80"/>
                    <a:pt x="142" y="80"/>
                  </a:cubicBezTo>
                  <a:cubicBezTo>
                    <a:pt x="141" y="80"/>
                    <a:pt x="141" y="80"/>
                    <a:pt x="141" y="80"/>
                  </a:cubicBezTo>
                  <a:cubicBezTo>
                    <a:pt x="141" y="80"/>
                    <a:pt x="141" y="80"/>
                    <a:pt x="141" y="80"/>
                  </a:cubicBezTo>
                  <a:cubicBezTo>
                    <a:pt x="143" y="80"/>
                    <a:pt x="180" y="107"/>
                    <a:pt x="180" y="107"/>
                  </a:cubicBezTo>
                  <a:cubicBezTo>
                    <a:pt x="180" y="107"/>
                    <a:pt x="180" y="107"/>
                    <a:pt x="180" y="107"/>
                  </a:cubicBezTo>
                  <a:cubicBezTo>
                    <a:pt x="180" y="108"/>
                    <a:pt x="180" y="108"/>
                    <a:pt x="180" y="108"/>
                  </a:cubicBezTo>
                  <a:cubicBezTo>
                    <a:pt x="180" y="108"/>
                    <a:pt x="180" y="108"/>
                    <a:pt x="180" y="108"/>
                  </a:cubicBezTo>
                  <a:cubicBezTo>
                    <a:pt x="180" y="108"/>
                    <a:pt x="179" y="108"/>
                    <a:pt x="178" y="108"/>
                  </a:cubicBezTo>
                  <a:cubicBezTo>
                    <a:pt x="169" y="108"/>
                    <a:pt x="104" y="104"/>
                    <a:pt x="104" y="103"/>
                  </a:cubicBezTo>
                  <a:cubicBezTo>
                    <a:pt x="104" y="103"/>
                    <a:pt x="104" y="103"/>
                    <a:pt x="104" y="103"/>
                  </a:cubicBezTo>
                  <a:cubicBezTo>
                    <a:pt x="104" y="102"/>
                    <a:pt x="104" y="101"/>
                    <a:pt x="103" y="101"/>
                  </a:cubicBezTo>
                  <a:cubicBezTo>
                    <a:pt x="103" y="101"/>
                    <a:pt x="103" y="101"/>
                    <a:pt x="103" y="101"/>
                  </a:cubicBezTo>
                  <a:cubicBezTo>
                    <a:pt x="103" y="101"/>
                    <a:pt x="103" y="101"/>
                    <a:pt x="103" y="101"/>
                  </a:cubicBezTo>
                  <a:cubicBezTo>
                    <a:pt x="103" y="99"/>
                    <a:pt x="133" y="80"/>
                    <a:pt x="135" y="80"/>
                  </a:cubicBezTo>
                  <a:cubicBezTo>
                    <a:pt x="135" y="80"/>
                    <a:pt x="135" y="80"/>
                    <a:pt x="135" y="80"/>
                  </a:cubicBezTo>
                  <a:moveTo>
                    <a:pt x="207" y="0"/>
                  </a:moveTo>
                  <a:cubicBezTo>
                    <a:pt x="204" y="0"/>
                    <a:pt x="202" y="1"/>
                    <a:pt x="199" y="2"/>
                  </a:cubicBezTo>
                  <a:cubicBezTo>
                    <a:pt x="190" y="6"/>
                    <a:pt x="186" y="16"/>
                    <a:pt x="191" y="25"/>
                  </a:cubicBezTo>
                  <a:cubicBezTo>
                    <a:pt x="193" y="30"/>
                    <a:pt x="197" y="33"/>
                    <a:pt x="202" y="34"/>
                  </a:cubicBezTo>
                  <a:cubicBezTo>
                    <a:pt x="202" y="34"/>
                    <a:pt x="202" y="34"/>
                    <a:pt x="202" y="34"/>
                  </a:cubicBezTo>
                  <a:cubicBezTo>
                    <a:pt x="203" y="34"/>
                    <a:pt x="200" y="67"/>
                    <a:pt x="195" y="107"/>
                  </a:cubicBezTo>
                  <a:cubicBezTo>
                    <a:pt x="191" y="107"/>
                    <a:pt x="188" y="108"/>
                    <a:pt x="188" y="108"/>
                  </a:cubicBezTo>
                  <a:cubicBezTo>
                    <a:pt x="187" y="108"/>
                    <a:pt x="187" y="108"/>
                    <a:pt x="187" y="108"/>
                  </a:cubicBezTo>
                  <a:cubicBezTo>
                    <a:pt x="187" y="108"/>
                    <a:pt x="187" y="108"/>
                    <a:pt x="187" y="108"/>
                  </a:cubicBezTo>
                  <a:cubicBezTo>
                    <a:pt x="187" y="107"/>
                    <a:pt x="187" y="107"/>
                    <a:pt x="187" y="107"/>
                  </a:cubicBezTo>
                  <a:cubicBezTo>
                    <a:pt x="187" y="106"/>
                    <a:pt x="185" y="105"/>
                    <a:pt x="184" y="105"/>
                  </a:cubicBezTo>
                  <a:cubicBezTo>
                    <a:pt x="183" y="105"/>
                    <a:pt x="182" y="105"/>
                    <a:pt x="182" y="106"/>
                  </a:cubicBezTo>
                  <a:cubicBezTo>
                    <a:pt x="181" y="106"/>
                    <a:pt x="181" y="106"/>
                    <a:pt x="181" y="106"/>
                  </a:cubicBezTo>
                  <a:cubicBezTo>
                    <a:pt x="181" y="106"/>
                    <a:pt x="181" y="106"/>
                    <a:pt x="181" y="106"/>
                  </a:cubicBezTo>
                  <a:cubicBezTo>
                    <a:pt x="181" y="106"/>
                    <a:pt x="181" y="106"/>
                    <a:pt x="181" y="106"/>
                  </a:cubicBezTo>
                  <a:cubicBezTo>
                    <a:pt x="179" y="106"/>
                    <a:pt x="142" y="80"/>
                    <a:pt x="142" y="79"/>
                  </a:cubicBezTo>
                  <a:cubicBezTo>
                    <a:pt x="142" y="79"/>
                    <a:pt x="142" y="79"/>
                    <a:pt x="142" y="79"/>
                  </a:cubicBezTo>
                  <a:cubicBezTo>
                    <a:pt x="143" y="78"/>
                    <a:pt x="143" y="76"/>
                    <a:pt x="142" y="75"/>
                  </a:cubicBezTo>
                  <a:cubicBezTo>
                    <a:pt x="142" y="73"/>
                    <a:pt x="140" y="72"/>
                    <a:pt x="138" y="72"/>
                  </a:cubicBezTo>
                  <a:cubicBezTo>
                    <a:pt x="137" y="72"/>
                    <a:pt x="137" y="72"/>
                    <a:pt x="136" y="72"/>
                  </a:cubicBezTo>
                  <a:cubicBezTo>
                    <a:pt x="134" y="74"/>
                    <a:pt x="133" y="76"/>
                    <a:pt x="134" y="79"/>
                  </a:cubicBezTo>
                  <a:cubicBezTo>
                    <a:pt x="134" y="79"/>
                    <a:pt x="134" y="79"/>
                    <a:pt x="134" y="79"/>
                  </a:cubicBezTo>
                  <a:cubicBezTo>
                    <a:pt x="134" y="79"/>
                    <a:pt x="104" y="99"/>
                    <a:pt x="102" y="99"/>
                  </a:cubicBezTo>
                  <a:cubicBezTo>
                    <a:pt x="102" y="99"/>
                    <a:pt x="102" y="99"/>
                    <a:pt x="102" y="99"/>
                  </a:cubicBezTo>
                  <a:cubicBezTo>
                    <a:pt x="102" y="99"/>
                    <a:pt x="102" y="99"/>
                    <a:pt x="102" y="99"/>
                  </a:cubicBezTo>
                  <a:cubicBezTo>
                    <a:pt x="101" y="98"/>
                    <a:pt x="99" y="97"/>
                    <a:pt x="97" y="97"/>
                  </a:cubicBezTo>
                  <a:cubicBezTo>
                    <a:pt x="96" y="97"/>
                    <a:pt x="95" y="97"/>
                    <a:pt x="94" y="97"/>
                  </a:cubicBezTo>
                  <a:cubicBezTo>
                    <a:pt x="91" y="99"/>
                    <a:pt x="89" y="103"/>
                    <a:pt x="91" y="106"/>
                  </a:cubicBezTo>
                  <a:cubicBezTo>
                    <a:pt x="92" y="109"/>
                    <a:pt x="94" y="110"/>
                    <a:pt x="97" y="110"/>
                  </a:cubicBezTo>
                  <a:cubicBezTo>
                    <a:pt x="97" y="110"/>
                    <a:pt x="98" y="110"/>
                    <a:pt x="98" y="110"/>
                  </a:cubicBezTo>
                  <a:cubicBezTo>
                    <a:pt x="98" y="110"/>
                    <a:pt x="98" y="110"/>
                    <a:pt x="98" y="110"/>
                  </a:cubicBezTo>
                  <a:cubicBezTo>
                    <a:pt x="98" y="110"/>
                    <a:pt x="98" y="110"/>
                    <a:pt x="98" y="110"/>
                  </a:cubicBezTo>
                  <a:cubicBezTo>
                    <a:pt x="100" y="110"/>
                    <a:pt x="136" y="202"/>
                    <a:pt x="135" y="203"/>
                  </a:cubicBezTo>
                  <a:cubicBezTo>
                    <a:pt x="135" y="203"/>
                    <a:pt x="135" y="203"/>
                    <a:pt x="135" y="203"/>
                  </a:cubicBezTo>
                  <a:cubicBezTo>
                    <a:pt x="132" y="204"/>
                    <a:pt x="130" y="208"/>
                    <a:pt x="132" y="211"/>
                  </a:cubicBezTo>
                  <a:cubicBezTo>
                    <a:pt x="133" y="214"/>
                    <a:pt x="136" y="215"/>
                    <a:pt x="138" y="215"/>
                  </a:cubicBezTo>
                  <a:cubicBezTo>
                    <a:pt x="139" y="215"/>
                    <a:pt x="140" y="215"/>
                    <a:pt x="141" y="214"/>
                  </a:cubicBezTo>
                  <a:cubicBezTo>
                    <a:pt x="144" y="213"/>
                    <a:pt x="146" y="209"/>
                    <a:pt x="144" y="206"/>
                  </a:cubicBezTo>
                  <a:cubicBezTo>
                    <a:pt x="143" y="203"/>
                    <a:pt x="141" y="202"/>
                    <a:pt x="138" y="202"/>
                  </a:cubicBezTo>
                  <a:cubicBezTo>
                    <a:pt x="138" y="202"/>
                    <a:pt x="137" y="202"/>
                    <a:pt x="137" y="202"/>
                  </a:cubicBezTo>
                  <a:cubicBezTo>
                    <a:pt x="137" y="202"/>
                    <a:pt x="137" y="202"/>
                    <a:pt x="137" y="202"/>
                  </a:cubicBezTo>
                  <a:cubicBezTo>
                    <a:pt x="137" y="202"/>
                    <a:pt x="137" y="202"/>
                    <a:pt x="137" y="202"/>
                  </a:cubicBezTo>
                  <a:cubicBezTo>
                    <a:pt x="135" y="202"/>
                    <a:pt x="99" y="110"/>
                    <a:pt x="100" y="109"/>
                  </a:cubicBezTo>
                  <a:cubicBezTo>
                    <a:pt x="100" y="109"/>
                    <a:pt x="100" y="109"/>
                    <a:pt x="100" y="109"/>
                  </a:cubicBezTo>
                  <a:cubicBezTo>
                    <a:pt x="101" y="109"/>
                    <a:pt x="101" y="108"/>
                    <a:pt x="102" y="108"/>
                  </a:cubicBezTo>
                  <a:cubicBezTo>
                    <a:pt x="102" y="108"/>
                    <a:pt x="102" y="108"/>
                    <a:pt x="102" y="108"/>
                  </a:cubicBezTo>
                  <a:cubicBezTo>
                    <a:pt x="102" y="108"/>
                    <a:pt x="102" y="108"/>
                    <a:pt x="102" y="108"/>
                  </a:cubicBezTo>
                  <a:cubicBezTo>
                    <a:pt x="104" y="108"/>
                    <a:pt x="134" y="129"/>
                    <a:pt x="134" y="130"/>
                  </a:cubicBezTo>
                  <a:cubicBezTo>
                    <a:pt x="134" y="130"/>
                    <a:pt x="134" y="130"/>
                    <a:pt x="134" y="130"/>
                  </a:cubicBezTo>
                  <a:cubicBezTo>
                    <a:pt x="133" y="131"/>
                    <a:pt x="133" y="133"/>
                    <a:pt x="134" y="134"/>
                  </a:cubicBezTo>
                  <a:cubicBezTo>
                    <a:pt x="135" y="136"/>
                    <a:pt x="136" y="137"/>
                    <a:pt x="138" y="137"/>
                  </a:cubicBezTo>
                  <a:cubicBezTo>
                    <a:pt x="139" y="137"/>
                    <a:pt x="139" y="136"/>
                    <a:pt x="140" y="136"/>
                  </a:cubicBezTo>
                  <a:cubicBezTo>
                    <a:pt x="143" y="135"/>
                    <a:pt x="144" y="132"/>
                    <a:pt x="142" y="130"/>
                  </a:cubicBezTo>
                  <a:cubicBezTo>
                    <a:pt x="142" y="128"/>
                    <a:pt x="140" y="127"/>
                    <a:pt x="138" y="127"/>
                  </a:cubicBezTo>
                  <a:cubicBezTo>
                    <a:pt x="137" y="127"/>
                    <a:pt x="137" y="127"/>
                    <a:pt x="136" y="128"/>
                  </a:cubicBezTo>
                  <a:cubicBezTo>
                    <a:pt x="136" y="128"/>
                    <a:pt x="135" y="128"/>
                    <a:pt x="135" y="129"/>
                  </a:cubicBezTo>
                  <a:cubicBezTo>
                    <a:pt x="135" y="129"/>
                    <a:pt x="135" y="129"/>
                    <a:pt x="135" y="129"/>
                  </a:cubicBezTo>
                  <a:cubicBezTo>
                    <a:pt x="135" y="129"/>
                    <a:pt x="135" y="129"/>
                    <a:pt x="135" y="129"/>
                  </a:cubicBezTo>
                  <a:cubicBezTo>
                    <a:pt x="133" y="129"/>
                    <a:pt x="103" y="108"/>
                    <a:pt x="103" y="106"/>
                  </a:cubicBezTo>
                  <a:cubicBezTo>
                    <a:pt x="103" y="106"/>
                    <a:pt x="103" y="106"/>
                    <a:pt x="103" y="106"/>
                  </a:cubicBezTo>
                  <a:cubicBezTo>
                    <a:pt x="103" y="106"/>
                    <a:pt x="104" y="105"/>
                    <a:pt x="104" y="105"/>
                  </a:cubicBezTo>
                  <a:cubicBezTo>
                    <a:pt x="104" y="105"/>
                    <a:pt x="104" y="105"/>
                    <a:pt x="104" y="105"/>
                  </a:cubicBezTo>
                  <a:cubicBezTo>
                    <a:pt x="104" y="105"/>
                    <a:pt x="105" y="105"/>
                    <a:pt x="106" y="105"/>
                  </a:cubicBezTo>
                  <a:cubicBezTo>
                    <a:pt x="120" y="105"/>
                    <a:pt x="179" y="109"/>
                    <a:pt x="179" y="109"/>
                  </a:cubicBezTo>
                  <a:cubicBezTo>
                    <a:pt x="179" y="109"/>
                    <a:pt x="179" y="109"/>
                    <a:pt x="179" y="109"/>
                  </a:cubicBezTo>
                  <a:cubicBezTo>
                    <a:pt x="180" y="110"/>
                    <a:pt x="180" y="110"/>
                    <a:pt x="180" y="111"/>
                  </a:cubicBezTo>
                  <a:cubicBezTo>
                    <a:pt x="181" y="112"/>
                    <a:pt x="182" y="113"/>
                    <a:pt x="184" y="113"/>
                  </a:cubicBezTo>
                  <a:cubicBezTo>
                    <a:pt x="184" y="113"/>
                    <a:pt x="185" y="113"/>
                    <a:pt x="185" y="113"/>
                  </a:cubicBezTo>
                  <a:cubicBezTo>
                    <a:pt x="187" y="112"/>
                    <a:pt x="188" y="110"/>
                    <a:pt x="188" y="109"/>
                  </a:cubicBezTo>
                  <a:cubicBezTo>
                    <a:pt x="188" y="109"/>
                    <a:pt x="188" y="109"/>
                    <a:pt x="188" y="109"/>
                  </a:cubicBezTo>
                  <a:cubicBezTo>
                    <a:pt x="188" y="109"/>
                    <a:pt x="190" y="108"/>
                    <a:pt x="195" y="107"/>
                  </a:cubicBezTo>
                  <a:cubicBezTo>
                    <a:pt x="187" y="171"/>
                    <a:pt x="176" y="252"/>
                    <a:pt x="174" y="252"/>
                  </a:cubicBezTo>
                  <a:cubicBezTo>
                    <a:pt x="174" y="252"/>
                    <a:pt x="174" y="252"/>
                    <a:pt x="174" y="252"/>
                  </a:cubicBezTo>
                  <a:cubicBezTo>
                    <a:pt x="170" y="252"/>
                    <a:pt x="167" y="253"/>
                    <a:pt x="164" y="256"/>
                  </a:cubicBezTo>
                  <a:cubicBezTo>
                    <a:pt x="164" y="256"/>
                    <a:pt x="164" y="256"/>
                    <a:pt x="164" y="256"/>
                  </a:cubicBezTo>
                  <a:cubicBezTo>
                    <a:pt x="164" y="256"/>
                    <a:pt x="164" y="256"/>
                    <a:pt x="164" y="256"/>
                  </a:cubicBezTo>
                  <a:cubicBezTo>
                    <a:pt x="159" y="256"/>
                    <a:pt x="68" y="193"/>
                    <a:pt x="70" y="189"/>
                  </a:cubicBezTo>
                  <a:cubicBezTo>
                    <a:pt x="70" y="189"/>
                    <a:pt x="70" y="189"/>
                    <a:pt x="70" y="189"/>
                  </a:cubicBezTo>
                  <a:cubicBezTo>
                    <a:pt x="74" y="181"/>
                    <a:pt x="72" y="170"/>
                    <a:pt x="64" y="164"/>
                  </a:cubicBezTo>
                  <a:cubicBezTo>
                    <a:pt x="61" y="161"/>
                    <a:pt x="56" y="160"/>
                    <a:pt x="51" y="160"/>
                  </a:cubicBezTo>
                  <a:cubicBezTo>
                    <a:pt x="45" y="160"/>
                    <a:pt x="39" y="162"/>
                    <a:pt x="35" y="167"/>
                  </a:cubicBezTo>
                  <a:cubicBezTo>
                    <a:pt x="27" y="176"/>
                    <a:pt x="29" y="188"/>
                    <a:pt x="38" y="195"/>
                  </a:cubicBezTo>
                  <a:cubicBezTo>
                    <a:pt x="39" y="196"/>
                    <a:pt x="40" y="197"/>
                    <a:pt x="41" y="197"/>
                  </a:cubicBezTo>
                  <a:cubicBezTo>
                    <a:pt x="40" y="197"/>
                    <a:pt x="40" y="197"/>
                    <a:pt x="40" y="197"/>
                  </a:cubicBezTo>
                  <a:cubicBezTo>
                    <a:pt x="44" y="199"/>
                    <a:pt x="15" y="269"/>
                    <a:pt x="13" y="269"/>
                  </a:cubicBezTo>
                  <a:cubicBezTo>
                    <a:pt x="13" y="269"/>
                    <a:pt x="13" y="269"/>
                    <a:pt x="13" y="269"/>
                  </a:cubicBezTo>
                  <a:cubicBezTo>
                    <a:pt x="13" y="269"/>
                    <a:pt x="13" y="269"/>
                    <a:pt x="13" y="269"/>
                  </a:cubicBezTo>
                  <a:cubicBezTo>
                    <a:pt x="12" y="269"/>
                    <a:pt x="11" y="268"/>
                    <a:pt x="11" y="268"/>
                  </a:cubicBezTo>
                  <a:cubicBezTo>
                    <a:pt x="9" y="268"/>
                    <a:pt x="8" y="269"/>
                    <a:pt x="7" y="269"/>
                  </a:cubicBezTo>
                  <a:cubicBezTo>
                    <a:pt x="2" y="271"/>
                    <a:pt x="0" y="277"/>
                    <a:pt x="2" y="281"/>
                  </a:cubicBezTo>
                  <a:cubicBezTo>
                    <a:pt x="4" y="284"/>
                    <a:pt x="7" y="286"/>
                    <a:pt x="11" y="286"/>
                  </a:cubicBezTo>
                  <a:cubicBezTo>
                    <a:pt x="12" y="286"/>
                    <a:pt x="13" y="286"/>
                    <a:pt x="15" y="285"/>
                  </a:cubicBezTo>
                  <a:cubicBezTo>
                    <a:pt x="16" y="284"/>
                    <a:pt x="17" y="284"/>
                    <a:pt x="18" y="282"/>
                  </a:cubicBezTo>
                  <a:cubicBezTo>
                    <a:pt x="18" y="283"/>
                    <a:pt x="18" y="283"/>
                    <a:pt x="18" y="283"/>
                  </a:cubicBezTo>
                  <a:cubicBezTo>
                    <a:pt x="18" y="282"/>
                    <a:pt x="18" y="282"/>
                    <a:pt x="18" y="282"/>
                  </a:cubicBezTo>
                  <a:cubicBezTo>
                    <a:pt x="21" y="282"/>
                    <a:pt x="63" y="305"/>
                    <a:pt x="63" y="306"/>
                  </a:cubicBezTo>
                  <a:cubicBezTo>
                    <a:pt x="63" y="306"/>
                    <a:pt x="63" y="306"/>
                    <a:pt x="63" y="306"/>
                  </a:cubicBezTo>
                  <a:cubicBezTo>
                    <a:pt x="61" y="310"/>
                    <a:pt x="62" y="314"/>
                    <a:pt x="66" y="317"/>
                  </a:cubicBezTo>
                  <a:cubicBezTo>
                    <a:pt x="68" y="319"/>
                    <a:pt x="70" y="319"/>
                    <a:pt x="72" y="319"/>
                  </a:cubicBezTo>
                  <a:cubicBezTo>
                    <a:pt x="75" y="319"/>
                    <a:pt x="78" y="318"/>
                    <a:pt x="80" y="316"/>
                  </a:cubicBezTo>
                  <a:cubicBezTo>
                    <a:pt x="83" y="312"/>
                    <a:pt x="83" y="306"/>
                    <a:pt x="79" y="302"/>
                  </a:cubicBezTo>
                  <a:cubicBezTo>
                    <a:pt x="77" y="301"/>
                    <a:pt x="74" y="300"/>
                    <a:pt x="72" y="300"/>
                  </a:cubicBezTo>
                  <a:cubicBezTo>
                    <a:pt x="69" y="300"/>
                    <a:pt x="66" y="301"/>
                    <a:pt x="64" y="304"/>
                  </a:cubicBezTo>
                  <a:cubicBezTo>
                    <a:pt x="64" y="304"/>
                    <a:pt x="64" y="304"/>
                    <a:pt x="64" y="304"/>
                  </a:cubicBezTo>
                  <a:cubicBezTo>
                    <a:pt x="64" y="304"/>
                    <a:pt x="64" y="304"/>
                    <a:pt x="64" y="304"/>
                  </a:cubicBezTo>
                  <a:cubicBezTo>
                    <a:pt x="64" y="304"/>
                    <a:pt x="64" y="304"/>
                    <a:pt x="64" y="304"/>
                  </a:cubicBezTo>
                  <a:cubicBezTo>
                    <a:pt x="60" y="304"/>
                    <a:pt x="19" y="282"/>
                    <a:pt x="19" y="280"/>
                  </a:cubicBezTo>
                  <a:cubicBezTo>
                    <a:pt x="19" y="280"/>
                    <a:pt x="19" y="280"/>
                    <a:pt x="19" y="280"/>
                  </a:cubicBezTo>
                  <a:cubicBezTo>
                    <a:pt x="20" y="278"/>
                    <a:pt x="20" y="276"/>
                    <a:pt x="19" y="273"/>
                  </a:cubicBezTo>
                  <a:cubicBezTo>
                    <a:pt x="18" y="272"/>
                    <a:pt x="17" y="271"/>
                    <a:pt x="15" y="270"/>
                  </a:cubicBezTo>
                  <a:cubicBezTo>
                    <a:pt x="15" y="270"/>
                    <a:pt x="15" y="270"/>
                    <a:pt x="15" y="270"/>
                  </a:cubicBezTo>
                  <a:cubicBezTo>
                    <a:pt x="14" y="269"/>
                    <a:pt x="42" y="200"/>
                    <a:pt x="46" y="200"/>
                  </a:cubicBezTo>
                  <a:cubicBezTo>
                    <a:pt x="46" y="200"/>
                    <a:pt x="46" y="200"/>
                    <a:pt x="46" y="200"/>
                  </a:cubicBezTo>
                  <a:cubicBezTo>
                    <a:pt x="46" y="199"/>
                    <a:pt x="46" y="199"/>
                    <a:pt x="46" y="199"/>
                  </a:cubicBezTo>
                  <a:cubicBezTo>
                    <a:pt x="48" y="200"/>
                    <a:pt x="49" y="200"/>
                    <a:pt x="51" y="200"/>
                  </a:cubicBezTo>
                  <a:cubicBezTo>
                    <a:pt x="57" y="200"/>
                    <a:pt x="62" y="198"/>
                    <a:pt x="66" y="194"/>
                  </a:cubicBezTo>
                  <a:cubicBezTo>
                    <a:pt x="66" y="194"/>
                    <a:pt x="66" y="194"/>
                    <a:pt x="66" y="194"/>
                  </a:cubicBezTo>
                  <a:cubicBezTo>
                    <a:pt x="66" y="194"/>
                    <a:pt x="66" y="194"/>
                    <a:pt x="66" y="194"/>
                  </a:cubicBezTo>
                  <a:cubicBezTo>
                    <a:pt x="73" y="194"/>
                    <a:pt x="163" y="257"/>
                    <a:pt x="161" y="259"/>
                  </a:cubicBezTo>
                  <a:cubicBezTo>
                    <a:pt x="161" y="259"/>
                    <a:pt x="161" y="259"/>
                    <a:pt x="161" y="259"/>
                  </a:cubicBezTo>
                  <a:cubicBezTo>
                    <a:pt x="160" y="261"/>
                    <a:pt x="160" y="263"/>
                    <a:pt x="160" y="266"/>
                  </a:cubicBezTo>
                  <a:cubicBezTo>
                    <a:pt x="160" y="273"/>
                    <a:pt x="166" y="280"/>
                    <a:pt x="174" y="280"/>
                  </a:cubicBezTo>
                  <a:cubicBezTo>
                    <a:pt x="182" y="280"/>
                    <a:pt x="189" y="273"/>
                    <a:pt x="189" y="266"/>
                  </a:cubicBezTo>
                  <a:cubicBezTo>
                    <a:pt x="189" y="259"/>
                    <a:pt x="184" y="254"/>
                    <a:pt x="178" y="252"/>
                  </a:cubicBezTo>
                  <a:cubicBezTo>
                    <a:pt x="178" y="252"/>
                    <a:pt x="178" y="252"/>
                    <a:pt x="178" y="252"/>
                  </a:cubicBezTo>
                  <a:cubicBezTo>
                    <a:pt x="177" y="252"/>
                    <a:pt x="187" y="170"/>
                    <a:pt x="195" y="107"/>
                  </a:cubicBezTo>
                  <a:cubicBezTo>
                    <a:pt x="213" y="104"/>
                    <a:pt x="255" y="97"/>
                    <a:pt x="262" y="97"/>
                  </a:cubicBezTo>
                  <a:cubicBezTo>
                    <a:pt x="263" y="97"/>
                    <a:pt x="263" y="97"/>
                    <a:pt x="263" y="97"/>
                  </a:cubicBezTo>
                  <a:cubicBezTo>
                    <a:pt x="263" y="97"/>
                    <a:pt x="263" y="97"/>
                    <a:pt x="263" y="97"/>
                  </a:cubicBezTo>
                  <a:cubicBezTo>
                    <a:pt x="264" y="101"/>
                    <a:pt x="268" y="103"/>
                    <a:pt x="273" y="103"/>
                  </a:cubicBezTo>
                  <a:cubicBezTo>
                    <a:pt x="278" y="103"/>
                    <a:pt x="283" y="99"/>
                    <a:pt x="283" y="94"/>
                  </a:cubicBezTo>
                  <a:cubicBezTo>
                    <a:pt x="283" y="88"/>
                    <a:pt x="278" y="84"/>
                    <a:pt x="273" y="84"/>
                  </a:cubicBezTo>
                  <a:cubicBezTo>
                    <a:pt x="267" y="84"/>
                    <a:pt x="262" y="88"/>
                    <a:pt x="262" y="94"/>
                  </a:cubicBezTo>
                  <a:cubicBezTo>
                    <a:pt x="262" y="94"/>
                    <a:pt x="262" y="94"/>
                    <a:pt x="262" y="94"/>
                  </a:cubicBezTo>
                  <a:cubicBezTo>
                    <a:pt x="262" y="94"/>
                    <a:pt x="262" y="94"/>
                    <a:pt x="262" y="94"/>
                  </a:cubicBezTo>
                  <a:cubicBezTo>
                    <a:pt x="263" y="96"/>
                    <a:pt x="215" y="104"/>
                    <a:pt x="195" y="107"/>
                  </a:cubicBezTo>
                  <a:cubicBezTo>
                    <a:pt x="201" y="67"/>
                    <a:pt x="206" y="35"/>
                    <a:pt x="207" y="35"/>
                  </a:cubicBezTo>
                  <a:cubicBezTo>
                    <a:pt x="207" y="35"/>
                    <a:pt x="207" y="35"/>
                    <a:pt x="207" y="35"/>
                  </a:cubicBezTo>
                  <a:cubicBezTo>
                    <a:pt x="210" y="35"/>
                    <a:pt x="212" y="34"/>
                    <a:pt x="214" y="33"/>
                  </a:cubicBezTo>
                  <a:cubicBezTo>
                    <a:pt x="223" y="29"/>
                    <a:pt x="227" y="19"/>
                    <a:pt x="223" y="10"/>
                  </a:cubicBezTo>
                  <a:cubicBezTo>
                    <a:pt x="220" y="4"/>
                    <a:pt x="214" y="0"/>
                    <a:pt x="207"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0" name="Freeform 13"/>
            <p:cNvSpPr>
              <a:spLocks/>
            </p:cNvSpPr>
            <p:nvPr/>
          </p:nvSpPr>
          <p:spPr bwMode="auto">
            <a:xfrm>
              <a:off x="5762625" y="2805113"/>
              <a:ext cx="36513" cy="30163"/>
            </a:xfrm>
            <a:custGeom>
              <a:avLst/>
              <a:gdLst>
                <a:gd name="T0" fmla="*/ 0 w 10"/>
                <a:gd name="T1" fmla="*/ 0 h 8"/>
                <a:gd name="T2" fmla="*/ 10 w 10"/>
                <a:gd name="T3" fmla="*/ 8 h 8"/>
                <a:gd name="T4" fmla="*/ 0 w 10"/>
                <a:gd name="T5" fmla="*/ 0 h 8"/>
              </a:gdLst>
              <a:ahLst/>
              <a:cxnLst>
                <a:cxn ang="0">
                  <a:pos x="T0" y="T1"/>
                </a:cxn>
                <a:cxn ang="0">
                  <a:pos x="T2" y="T3"/>
                </a:cxn>
                <a:cxn ang="0">
                  <a:pos x="T4" y="T5"/>
                </a:cxn>
              </a:cxnLst>
              <a:rect l="0" t="0" r="r" b="b"/>
              <a:pathLst>
                <a:path w="10" h="8">
                  <a:moveTo>
                    <a:pt x="0" y="0"/>
                  </a:moveTo>
                  <a:cubicBezTo>
                    <a:pt x="3" y="3"/>
                    <a:pt x="6" y="6"/>
                    <a:pt x="10" y="8"/>
                  </a:cubicBezTo>
                  <a:cubicBezTo>
                    <a:pt x="6" y="6"/>
                    <a:pt x="3" y="3"/>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1" name="Freeform 14"/>
            <p:cNvSpPr>
              <a:spLocks noEditPoints="1"/>
            </p:cNvSpPr>
            <p:nvPr/>
          </p:nvSpPr>
          <p:spPr bwMode="auto">
            <a:xfrm>
              <a:off x="5799138" y="2613025"/>
              <a:ext cx="241300" cy="293688"/>
            </a:xfrm>
            <a:custGeom>
              <a:avLst/>
              <a:gdLst>
                <a:gd name="T0" fmla="*/ 28 w 64"/>
                <a:gd name="T1" fmla="*/ 13 h 78"/>
                <a:gd name="T2" fmla="*/ 31 w 64"/>
                <a:gd name="T3" fmla="*/ 12 h 78"/>
                <a:gd name="T4" fmla="*/ 31 w 64"/>
                <a:gd name="T5" fmla="*/ 12 h 78"/>
                <a:gd name="T6" fmla="*/ 31 w 64"/>
                <a:gd name="T7" fmla="*/ 12 h 78"/>
                <a:gd name="T8" fmla="*/ 48 w 64"/>
                <a:gd name="T9" fmla="*/ 38 h 78"/>
                <a:gd name="T10" fmla="*/ 48 w 64"/>
                <a:gd name="T11" fmla="*/ 38 h 78"/>
                <a:gd name="T12" fmla="*/ 46 w 64"/>
                <a:gd name="T13" fmla="*/ 49 h 78"/>
                <a:gd name="T14" fmla="*/ 46 w 64"/>
                <a:gd name="T15" fmla="*/ 49 h 78"/>
                <a:gd name="T16" fmla="*/ 46 w 64"/>
                <a:gd name="T17" fmla="*/ 49 h 78"/>
                <a:gd name="T18" fmla="*/ 20 w 64"/>
                <a:gd name="T19" fmla="*/ 70 h 78"/>
                <a:gd name="T20" fmla="*/ 20 w 64"/>
                <a:gd name="T21" fmla="*/ 70 h 78"/>
                <a:gd name="T22" fmla="*/ 20 w 64"/>
                <a:gd name="T23" fmla="*/ 70 h 78"/>
                <a:gd name="T24" fmla="*/ 18 w 64"/>
                <a:gd name="T25" fmla="*/ 69 h 78"/>
                <a:gd name="T26" fmla="*/ 18 w 64"/>
                <a:gd name="T27" fmla="*/ 69 h 78"/>
                <a:gd name="T28" fmla="*/ 28 w 64"/>
                <a:gd name="T29" fmla="*/ 13 h 78"/>
                <a:gd name="T30" fmla="*/ 28 w 64"/>
                <a:gd name="T31" fmla="*/ 13 h 78"/>
                <a:gd name="T32" fmla="*/ 28 w 64"/>
                <a:gd name="T33" fmla="*/ 13 h 78"/>
                <a:gd name="T34" fmla="*/ 28 w 64"/>
                <a:gd name="T35" fmla="*/ 0 h 78"/>
                <a:gd name="T36" fmla="*/ 25 w 64"/>
                <a:gd name="T37" fmla="*/ 0 h 78"/>
                <a:gd name="T38" fmla="*/ 22 w 64"/>
                <a:gd name="T39" fmla="*/ 9 h 78"/>
                <a:gd name="T40" fmla="*/ 26 w 64"/>
                <a:gd name="T41" fmla="*/ 13 h 78"/>
                <a:gd name="T42" fmla="*/ 26 w 64"/>
                <a:gd name="T43" fmla="*/ 13 h 78"/>
                <a:gd name="T44" fmla="*/ 17 w 64"/>
                <a:gd name="T45" fmla="*/ 69 h 78"/>
                <a:gd name="T46" fmla="*/ 17 w 64"/>
                <a:gd name="T47" fmla="*/ 69 h 78"/>
                <a:gd name="T48" fmla="*/ 17 w 64"/>
                <a:gd name="T49" fmla="*/ 69 h 78"/>
                <a:gd name="T50" fmla="*/ 15 w 64"/>
                <a:gd name="T51" fmla="*/ 69 h 78"/>
                <a:gd name="T52" fmla="*/ 13 w 64"/>
                <a:gd name="T53" fmla="*/ 70 h 78"/>
                <a:gd name="T54" fmla="*/ 14 w 64"/>
                <a:gd name="T55" fmla="*/ 70 h 78"/>
                <a:gd name="T56" fmla="*/ 14 w 64"/>
                <a:gd name="T57" fmla="*/ 70 h 78"/>
                <a:gd name="T58" fmla="*/ 0 w 64"/>
                <a:gd name="T59" fmla="*/ 59 h 78"/>
                <a:gd name="T60" fmla="*/ 12 w 64"/>
                <a:gd name="T61" fmla="*/ 71 h 78"/>
                <a:gd name="T62" fmla="*/ 12 w 64"/>
                <a:gd name="T63" fmla="*/ 71 h 78"/>
                <a:gd name="T64" fmla="*/ 12 w 64"/>
                <a:gd name="T65" fmla="*/ 75 h 78"/>
                <a:gd name="T66" fmla="*/ 17 w 64"/>
                <a:gd name="T67" fmla="*/ 78 h 78"/>
                <a:gd name="T68" fmla="*/ 19 w 64"/>
                <a:gd name="T69" fmla="*/ 78 h 78"/>
                <a:gd name="T70" fmla="*/ 21 w 64"/>
                <a:gd name="T71" fmla="*/ 72 h 78"/>
                <a:gd name="T72" fmla="*/ 21 w 64"/>
                <a:gd name="T73" fmla="*/ 71 h 78"/>
                <a:gd name="T74" fmla="*/ 21 w 64"/>
                <a:gd name="T75" fmla="*/ 71 h 78"/>
                <a:gd name="T76" fmla="*/ 48 w 64"/>
                <a:gd name="T77" fmla="*/ 51 h 78"/>
                <a:gd name="T78" fmla="*/ 48 w 64"/>
                <a:gd name="T79" fmla="*/ 51 h 78"/>
                <a:gd name="T80" fmla="*/ 48 w 64"/>
                <a:gd name="T81" fmla="*/ 51 h 78"/>
                <a:gd name="T82" fmla="*/ 54 w 64"/>
                <a:gd name="T83" fmla="*/ 54 h 78"/>
                <a:gd name="T84" fmla="*/ 58 w 64"/>
                <a:gd name="T85" fmla="*/ 53 h 78"/>
                <a:gd name="T86" fmla="*/ 62 w 64"/>
                <a:gd name="T87" fmla="*/ 41 h 78"/>
                <a:gd name="T88" fmla="*/ 54 w 64"/>
                <a:gd name="T89" fmla="*/ 36 h 78"/>
                <a:gd name="T90" fmla="*/ 50 w 64"/>
                <a:gd name="T91" fmla="*/ 37 h 78"/>
                <a:gd name="T92" fmla="*/ 50 w 64"/>
                <a:gd name="T93" fmla="*/ 37 h 78"/>
                <a:gd name="T94" fmla="*/ 50 w 64"/>
                <a:gd name="T95" fmla="*/ 37 h 78"/>
                <a:gd name="T96" fmla="*/ 33 w 64"/>
                <a:gd name="T97" fmla="*/ 11 h 78"/>
                <a:gd name="T98" fmla="*/ 33 w 64"/>
                <a:gd name="T99" fmla="*/ 11 h 78"/>
                <a:gd name="T100" fmla="*/ 34 w 64"/>
                <a:gd name="T101" fmla="*/ 4 h 78"/>
                <a:gd name="T102" fmla="*/ 28 w 64"/>
                <a:gd name="T10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78">
                  <a:moveTo>
                    <a:pt x="28" y="13"/>
                  </a:moveTo>
                  <a:cubicBezTo>
                    <a:pt x="29" y="13"/>
                    <a:pt x="30" y="13"/>
                    <a:pt x="31" y="12"/>
                  </a:cubicBezTo>
                  <a:cubicBezTo>
                    <a:pt x="31" y="12"/>
                    <a:pt x="31" y="12"/>
                    <a:pt x="31" y="12"/>
                  </a:cubicBezTo>
                  <a:cubicBezTo>
                    <a:pt x="31" y="12"/>
                    <a:pt x="31" y="12"/>
                    <a:pt x="31" y="12"/>
                  </a:cubicBezTo>
                  <a:cubicBezTo>
                    <a:pt x="32" y="12"/>
                    <a:pt x="49" y="37"/>
                    <a:pt x="48" y="38"/>
                  </a:cubicBezTo>
                  <a:cubicBezTo>
                    <a:pt x="48" y="38"/>
                    <a:pt x="48" y="38"/>
                    <a:pt x="48" y="38"/>
                  </a:cubicBezTo>
                  <a:cubicBezTo>
                    <a:pt x="45" y="41"/>
                    <a:pt x="44" y="45"/>
                    <a:pt x="46" y="49"/>
                  </a:cubicBezTo>
                  <a:cubicBezTo>
                    <a:pt x="46" y="49"/>
                    <a:pt x="46" y="49"/>
                    <a:pt x="46" y="49"/>
                  </a:cubicBezTo>
                  <a:cubicBezTo>
                    <a:pt x="46" y="49"/>
                    <a:pt x="46" y="49"/>
                    <a:pt x="46" y="49"/>
                  </a:cubicBezTo>
                  <a:cubicBezTo>
                    <a:pt x="47" y="51"/>
                    <a:pt x="21" y="70"/>
                    <a:pt x="20" y="70"/>
                  </a:cubicBezTo>
                  <a:cubicBezTo>
                    <a:pt x="20" y="70"/>
                    <a:pt x="20" y="70"/>
                    <a:pt x="20" y="70"/>
                  </a:cubicBezTo>
                  <a:cubicBezTo>
                    <a:pt x="20" y="70"/>
                    <a:pt x="20" y="70"/>
                    <a:pt x="20" y="70"/>
                  </a:cubicBezTo>
                  <a:cubicBezTo>
                    <a:pt x="19" y="70"/>
                    <a:pt x="19" y="69"/>
                    <a:pt x="18" y="69"/>
                  </a:cubicBezTo>
                  <a:cubicBezTo>
                    <a:pt x="18" y="69"/>
                    <a:pt x="18" y="69"/>
                    <a:pt x="18" y="69"/>
                  </a:cubicBezTo>
                  <a:cubicBezTo>
                    <a:pt x="17" y="69"/>
                    <a:pt x="26" y="13"/>
                    <a:pt x="28" y="13"/>
                  </a:cubicBezTo>
                  <a:cubicBezTo>
                    <a:pt x="28" y="13"/>
                    <a:pt x="28" y="13"/>
                    <a:pt x="28" y="13"/>
                  </a:cubicBezTo>
                  <a:cubicBezTo>
                    <a:pt x="28" y="13"/>
                    <a:pt x="28" y="13"/>
                    <a:pt x="28" y="13"/>
                  </a:cubicBezTo>
                  <a:moveTo>
                    <a:pt x="28" y="0"/>
                  </a:moveTo>
                  <a:cubicBezTo>
                    <a:pt x="27" y="0"/>
                    <a:pt x="26" y="0"/>
                    <a:pt x="25" y="0"/>
                  </a:cubicBezTo>
                  <a:cubicBezTo>
                    <a:pt x="21" y="2"/>
                    <a:pt x="20" y="6"/>
                    <a:pt x="22" y="9"/>
                  </a:cubicBezTo>
                  <a:cubicBezTo>
                    <a:pt x="22" y="11"/>
                    <a:pt x="24" y="12"/>
                    <a:pt x="26" y="13"/>
                  </a:cubicBezTo>
                  <a:cubicBezTo>
                    <a:pt x="26" y="13"/>
                    <a:pt x="26" y="13"/>
                    <a:pt x="26" y="13"/>
                  </a:cubicBezTo>
                  <a:cubicBezTo>
                    <a:pt x="27" y="13"/>
                    <a:pt x="18" y="69"/>
                    <a:pt x="17" y="69"/>
                  </a:cubicBezTo>
                  <a:cubicBezTo>
                    <a:pt x="17" y="69"/>
                    <a:pt x="17" y="69"/>
                    <a:pt x="17" y="69"/>
                  </a:cubicBezTo>
                  <a:cubicBezTo>
                    <a:pt x="17" y="69"/>
                    <a:pt x="17" y="69"/>
                    <a:pt x="17" y="69"/>
                  </a:cubicBezTo>
                  <a:cubicBezTo>
                    <a:pt x="16" y="69"/>
                    <a:pt x="15" y="69"/>
                    <a:pt x="15" y="69"/>
                  </a:cubicBezTo>
                  <a:cubicBezTo>
                    <a:pt x="14" y="70"/>
                    <a:pt x="14" y="70"/>
                    <a:pt x="13" y="70"/>
                  </a:cubicBezTo>
                  <a:cubicBezTo>
                    <a:pt x="14" y="70"/>
                    <a:pt x="14" y="70"/>
                    <a:pt x="14" y="70"/>
                  </a:cubicBezTo>
                  <a:cubicBezTo>
                    <a:pt x="14" y="70"/>
                    <a:pt x="14" y="70"/>
                    <a:pt x="14" y="70"/>
                  </a:cubicBezTo>
                  <a:cubicBezTo>
                    <a:pt x="13" y="70"/>
                    <a:pt x="7" y="65"/>
                    <a:pt x="0" y="59"/>
                  </a:cubicBezTo>
                  <a:cubicBezTo>
                    <a:pt x="7" y="66"/>
                    <a:pt x="13" y="71"/>
                    <a:pt x="12" y="71"/>
                  </a:cubicBezTo>
                  <a:cubicBezTo>
                    <a:pt x="12" y="71"/>
                    <a:pt x="12" y="71"/>
                    <a:pt x="12" y="71"/>
                  </a:cubicBezTo>
                  <a:cubicBezTo>
                    <a:pt x="12" y="72"/>
                    <a:pt x="12" y="74"/>
                    <a:pt x="12" y="75"/>
                  </a:cubicBezTo>
                  <a:cubicBezTo>
                    <a:pt x="13" y="77"/>
                    <a:pt x="15" y="78"/>
                    <a:pt x="17" y="78"/>
                  </a:cubicBezTo>
                  <a:cubicBezTo>
                    <a:pt x="17" y="78"/>
                    <a:pt x="18" y="78"/>
                    <a:pt x="19" y="78"/>
                  </a:cubicBezTo>
                  <a:cubicBezTo>
                    <a:pt x="21" y="77"/>
                    <a:pt x="22" y="74"/>
                    <a:pt x="21" y="72"/>
                  </a:cubicBezTo>
                  <a:cubicBezTo>
                    <a:pt x="21" y="71"/>
                    <a:pt x="21" y="71"/>
                    <a:pt x="21" y="71"/>
                  </a:cubicBezTo>
                  <a:cubicBezTo>
                    <a:pt x="21" y="71"/>
                    <a:pt x="21" y="71"/>
                    <a:pt x="21" y="71"/>
                  </a:cubicBezTo>
                  <a:cubicBezTo>
                    <a:pt x="20" y="70"/>
                    <a:pt x="45" y="51"/>
                    <a:pt x="48" y="51"/>
                  </a:cubicBezTo>
                  <a:cubicBezTo>
                    <a:pt x="48" y="51"/>
                    <a:pt x="48" y="51"/>
                    <a:pt x="48" y="51"/>
                  </a:cubicBezTo>
                  <a:cubicBezTo>
                    <a:pt x="48" y="51"/>
                    <a:pt x="48" y="51"/>
                    <a:pt x="48" y="51"/>
                  </a:cubicBezTo>
                  <a:cubicBezTo>
                    <a:pt x="49" y="53"/>
                    <a:pt x="52" y="54"/>
                    <a:pt x="54" y="54"/>
                  </a:cubicBezTo>
                  <a:cubicBezTo>
                    <a:pt x="55" y="54"/>
                    <a:pt x="57" y="53"/>
                    <a:pt x="58" y="53"/>
                  </a:cubicBezTo>
                  <a:cubicBezTo>
                    <a:pt x="63" y="51"/>
                    <a:pt x="64" y="46"/>
                    <a:pt x="62" y="41"/>
                  </a:cubicBezTo>
                  <a:cubicBezTo>
                    <a:pt x="61" y="38"/>
                    <a:pt x="57" y="36"/>
                    <a:pt x="54" y="36"/>
                  </a:cubicBezTo>
                  <a:cubicBezTo>
                    <a:pt x="53" y="36"/>
                    <a:pt x="51" y="36"/>
                    <a:pt x="50" y="37"/>
                  </a:cubicBezTo>
                  <a:cubicBezTo>
                    <a:pt x="50" y="37"/>
                    <a:pt x="50" y="37"/>
                    <a:pt x="50" y="37"/>
                  </a:cubicBezTo>
                  <a:cubicBezTo>
                    <a:pt x="50" y="37"/>
                    <a:pt x="50" y="37"/>
                    <a:pt x="50" y="37"/>
                  </a:cubicBezTo>
                  <a:cubicBezTo>
                    <a:pt x="48" y="37"/>
                    <a:pt x="32" y="12"/>
                    <a:pt x="33" y="11"/>
                  </a:cubicBezTo>
                  <a:cubicBezTo>
                    <a:pt x="33" y="11"/>
                    <a:pt x="33" y="11"/>
                    <a:pt x="33" y="11"/>
                  </a:cubicBezTo>
                  <a:cubicBezTo>
                    <a:pt x="35" y="9"/>
                    <a:pt x="35" y="6"/>
                    <a:pt x="34" y="4"/>
                  </a:cubicBezTo>
                  <a:cubicBezTo>
                    <a:pt x="33" y="1"/>
                    <a:pt x="30" y="0"/>
                    <a:pt x="28"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2" name="Freeform 15"/>
            <p:cNvSpPr>
              <a:spLocks/>
            </p:cNvSpPr>
            <p:nvPr/>
          </p:nvSpPr>
          <p:spPr bwMode="auto">
            <a:xfrm>
              <a:off x="6832600" y="3729038"/>
              <a:ext cx="30163" cy="63500"/>
            </a:xfrm>
            <a:custGeom>
              <a:avLst/>
              <a:gdLst>
                <a:gd name="T0" fmla="*/ 0 w 8"/>
                <a:gd name="T1" fmla="*/ 0 h 17"/>
                <a:gd name="T2" fmla="*/ 8 w 8"/>
                <a:gd name="T3" fmla="*/ 17 h 17"/>
                <a:gd name="T4" fmla="*/ 0 w 8"/>
                <a:gd name="T5" fmla="*/ 0 h 17"/>
              </a:gdLst>
              <a:ahLst/>
              <a:cxnLst>
                <a:cxn ang="0">
                  <a:pos x="T0" y="T1"/>
                </a:cxn>
                <a:cxn ang="0">
                  <a:pos x="T2" y="T3"/>
                </a:cxn>
                <a:cxn ang="0">
                  <a:pos x="T4" y="T5"/>
                </a:cxn>
              </a:cxnLst>
              <a:rect l="0" t="0" r="r" b="b"/>
              <a:pathLst>
                <a:path w="8" h="17">
                  <a:moveTo>
                    <a:pt x="0" y="0"/>
                  </a:moveTo>
                  <a:cubicBezTo>
                    <a:pt x="3" y="5"/>
                    <a:pt x="6" y="11"/>
                    <a:pt x="8" y="17"/>
                  </a:cubicBezTo>
                  <a:cubicBezTo>
                    <a:pt x="6" y="11"/>
                    <a:pt x="3" y="5"/>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3" name="Freeform 16"/>
            <p:cNvSpPr>
              <a:spLocks/>
            </p:cNvSpPr>
            <p:nvPr/>
          </p:nvSpPr>
          <p:spPr bwMode="auto">
            <a:xfrm>
              <a:off x="6656388" y="3328988"/>
              <a:ext cx="17463" cy="3175"/>
            </a:xfrm>
            <a:custGeom>
              <a:avLst/>
              <a:gdLst>
                <a:gd name="T0" fmla="*/ 0 w 5"/>
                <a:gd name="T1" fmla="*/ 0 h 1"/>
                <a:gd name="T2" fmla="*/ 5 w 5"/>
                <a:gd name="T3" fmla="*/ 1 h 1"/>
                <a:gd name="T4" fmla="*/ 0 w 5"/>
                <a:gd name="T5" fmla="*/ 0 h 1"/>
              </a:gdLst>
              <a:ahLst/>
              <a:cxnLst>
                <a:cxn ang="0">
                  <a:pos x="T0" y="T1"/>
                </a:cxn>
                <a:cxn ang="0">
                  <a:pos x="T2" y="T3"/>
                </a:cxn>
                <a:cxn ang="0">
                  <a:pos x="T4" y="T5"/>
                </a:cxn>
              </a:cxnLst>
              <a:rect l="0" t="0" r="r" b="b"/>
              <a:pathLst>
                <a:path w="5" h="1">
                  <a:moveTo>
                    <a:pt x="0" y="0"/>
                  </a:moveTo>
                  <a:cubicBezTo>
                    <a:pt x="2" y="0"/>
                    <a:pt x="4" y="1"/>
                    <a:pt x="5" y="1"/>
                  </a:cubicBezTo>
                  <a:cubicBezTo>
                    <a:pt x="4" y="0"/>
                    <a:pt x="2" y="0"/>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4" name="Freeform 17"/>
            <p:cNvSpPr>
              <a:spLocks/>
            </p:cNvSpPr>
            <p:nvPr/>
          </p:nvSpPr>
          <p:spPr bwMode="auto">
            <a:xfrm>
              <a:off x="6040438" y="3951288"/>
              <a:ext cx="44450" cy="19050"/>
            </a:xfrm>
            <a:custGeom>
              <a:avLst/>
              <a:gdLst>
                <a:gd name="T0" fmla="*/ 0 w 12"/>
                <a:gd name="T1" fmla="*/ 0 h 5"/>
                <a:gd name="T2" fmla="*/ 12 w 12"/>
                <a:gd name="T3" fmla="*/ 5 h 5"/>
                <a:gd name="T4" fmla="*/ 0 w 12"/>
                <a:gd name="T5" fmla="*/ 0 h 5"/>
              </a:gdLst>
              <a:ahLst/>
              <a:cxnLst>
                <a:cxn ang="0">
                  <a:pos x="T0" y="T1"/>
                </a:cxn>
                <a:cxn ang="0">
                  <a:pos x="T2" y="T3"/>
                </a:cxn>
                <a:cxn ang="0">
                  <a:pos x="T4" y="T5"/>
                </a:cxn>
              </a:cxnLst>
              <a:rect l="0" t="0" r="r" b="b"/>
              <a:pathLst>
                <a:path w="12" h="5">
                  <a:moveTo>
                    <a:pt x="0" y="0"/>
                  </a:moveTo>
                  <a:cubicBezTo>
                    <a:pt x="4" y="1"/>
                    <a:pt x="8" y="3"/>
                    <a:pt x="12" y="5"/>
                  </a:cubicBezTo>
                  <a:cubicBezTo>
                    <a:pt x="8" y="3"/>
                    <a:pt x="4"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5" name="Freeform 18"/>
            <p:cNvSpPr>
              <a:spLocks/>
            </p:cNvSpPr>
            <p:nvPr/>
          </p:nvSpPr>
          <p:spPr bwMode="auto">
            <a:xfrm>
              <a:off x="7485063" y="3729038"/>
              <a:ext cx="11113" cy="77788"/>
            </a:xfrm>
            <a:custGeom>
              <a:avLst/>
              <a:gdLst>
                <a:gd name="T0" fmla="*/ 3 w 3"/>
                <a:gd name="T1" fmla="*/ 0 h 21"/>
                <a:gd name="T2" fmla="*/ 0 w 3"/>
                <a:gd name="T3" fmla="*/ 21 h 21"/>
                <a:gd name="T4" fmla="*/ 3 w 3"/>
                <a:gd name="T5" fmla="*/ 0 h 21"/>
              </a:gdLst>
              <a:ahLst/>
              <a:cxnLst>
                <a:cxn ang="0">
                  <a:pos x="T0" y="T1"/>
                </a:cxn>
                <a:cxn ang="0">
                  <a:pos x="T2" y="T3"/>
                </a:cxn>
                <a:cxn ang="0">
                  <a:pos x="T4" y="T5"/>
                </a:cxn>
              </a:cxnLst>
              <a:rect l="0" t="0" r="r" b="b"/>
              <a:pathLst>
                <a:path w="3" h="21">
                  <a:moveTo>
                    <a:pt x="3" y="0"/>
                  </a:moveTo>
                  <a:cubicBezTo>
                    <a:pt x="2" y="7"/>
                    <a:pt x="1" y="15"/>
                    <a:pt x="0" y="21"/>
                  </a:cubicBezTo>
                  <a:cubicBezTo>
                    <a:pt x="1" y="15"/>
                    <a:pt x="2" y="7"/>
                    <a:pt x="3"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6" name="Freeform 19"/>
            <p:cNvSpPr>
              <a:spLocks noEditPoints="1"/>
            </p:cNvSpPr>
            <p:nvPr/>
          </p:nvSpPr>
          <p:spPr bwMode="auto">
            <a:xfrm>
              <a:off x="2719388" y="2635250"/>
              <a:ext cx="4916488" cy="1974850"/>
            </a:xfrm>
            <a:custGeom>
              <a:avLst/>
              <a:gdLst>
                <a:gd name="T0" fmla="*/ 893 w 1309"/>
                <a:gd name="T1" fmla="*/ 437 h 524"/>
                <a:gd name="T2" fmla="*/ 374 w 1309"/>
                <a:gd name="T3" fmla="*/ 407 h 524"/>
                <a:gd name="T4" fmla="*/ 109 w 1309"/>
                <a:gd name="T5" fmla="*/ 335 h 524"/>
                <a:gd name="T6" fmla="*/ 711 w 1309"/>
                <a:gd name="T7" fmla="*/ 231 h 524"/>
                <a:gd name="T8" fmla="*/ 511 w 1309"/>
                <a:gd name="T9" fmla="*/ 291 h 524"/>
                <a:gd name="T10" fmla="*/ 1098 w 1309"/>
                <a:gd name="T11" fmla="*/ 219 h 524"/>
                <a:gd name="T12" fmla="*/ 125 w 1309"/>
                <a:gd name="T13" fmla="*/ 212 h 524"/>
                <a:gd name="T14" fmla="*/ 774 w 1309"/>
                <a:gd name="T15" fmla="*/ 164 h 524"/>
                <a:gd name="T16" fmla="*/ 772 w 1309"/>
                <a:gd name="T17" fmla="*/ 166 h 524"/>
                <a:gd name="T18" fmla="*/ 994 w 1309"/>
                <a:gd name="T19" fmla="*/ 178 h 524"/>
                <a:gd name="T20" fmla="*/ 776 w 1309"/>
                <a:gd name="T21" fmla="*/ 159 h 524"/>
                <a:gd name="T22" fmla="*/ 776 w 1309"/>
                <a:gd name="T23" fmla="*/ 159 h 524"/>
                <a:gd name="T24" fmla="*/ 40 w 1309"/>
                <a:gd name="T25" fmla="*/ 153 h 524"/>
                <a:gd name="T26" fmla="*/ 41 w 1309"/>
                <a:gd name="T27" fmla="*/ 138 h 524"/>
                <a:gd name="T28" fmla="*/ 625 w 1309"/>
                <a:gd name="T29" fmla="*/ 165 h 524"/>
                <a:gd name="T30" fmla="*/ 523 w 1309"/>
                <a:gd name="T31" fmla="*/ 211 h 524"/>
                <a:gd name="T32" fmla="*/ 784 w 1309"/>
                <a:gd name="T33" fmla="*/ 34 h 524"/>
                <a:gd name="T34" fmla="*/ 738 w 1309"/>
                <a:gd name="T35" fmla="*/ 161 h 524"/>
                <a:gd name="T36" fmla="*/ 645 w 1309"/>
                <a:gd name="T37" fmla="*/ 268 h 524"/>
                <a:gd name="T38" fmla="*/ 686 w 1309"/>
                <a:gd name="T39" fmla="*/ 160 h 524"/>
                <a:gd name="T40" fmla="*/ 656 w 1309"/>
                <a:gd name="T41" fmla="*/ 136 h 524"/>
                <a:gd name="T42" fmla="*/ 505 w 1309"/>
                <a:gd name="T43" fmla="*/ 214 h 524"/>
                <a:gd name="T44" fmla="*/ 320 w 1309"/>
                <a:gd name="T45" fmla="*/ 318 h 524"/>
                <a:gd name="T46" fmla="*/ 85 w 1309"/>
                <a:gd name="T47" fmla="*/ 202 h 524"/>
                <a:gd name="T48" fmla="*/ 106 w 1309"/>
                <a:gd name="T49" fmla="*/ 162 h 524"/>
                <a:gd name="T50" fmla="*/ 48 w 1309"/>
                <a:gd name="T51" fmla="*/ 132 h 524"/>
                <a:gd name="T52" fmla="*/ 15 w 1309"/>
                <a:gd name="T53" fmla="*/ 168 h 524"/>
                <a:gd name="T54" fmla="*/ 55 w 1309"/>
                <a:gd name="T55" fmla="*/ 246 h 524"/>
                <a:gd name="T56" fmla="*/ 66 w 1309"/>
                <a:gd name="T57" fmla="*/ 318 h 524"/>
                <a:gd name="T58" fmla="*/ 113 w 1309"/>
                <a:gd name="T59" fmla="*/ 332 h 524"/>
                <a:gd name="T60" fmla="*/ 165 w 1309"/>
                <a:gd name="T61" fmla="*/ 300 h 524"/>
                <a:gd name="T62" fmla="*/ 375 w 1309"/>
                <a:gd name="T63" fmla="*/ 342 h 524"/>
                <a:gd name="T64" fmla="*/ 401 w 1309"/>
                <a:gd name="T65" fmla="*/ 388 h 524"/>
                <a:gd name="T66" fmla="*/ 379 w 1309"/>
                <a:gd name="T67" fmla="*/ 337 h 524"/>
                <a:gd name="T68" fmla="*/ 519 w 1309"/>
                <a:gd name="T69" fmla="*/ 309 h 524"/>
                <a:gd name="T70" fmla="*/ 641 w 1309"/>
                <a:gd name="T71" fmla="*/ 298 h 524"/>
                <a:gd name="T72" fmla="*/ 552 w 1309"/>
                <a:gd name="T73" fmla="*/ 435 h 524"/>
                <a:gd name="T74" fmla="*/ 681 w 1309"/>
                <a:gd name="T75" fmla="*/ 478 h 524"/>
                <a:gd name="T76" fmla="*/ 675 w 1309"/>
                <a:gd name="T77" fmla="*/ 489 h 524"/>
                <a:gd name="T78" fmla="*/ 758 w 1309"/>
                <a:gd name="T79" fmla="*/ 416 h 524"/>
                <a:gd name="T80" fmla="*/ 741 w 1309"/>
                <a:gd name="T81" fmla="*/ 317 h 524"/>
                <a:gd name="T82" fmla="*/ 889 w 1309"/>
                <a:gd name="T83" fmla="*/ 439 h 524"/>
                <a:gd name="T84" fmla="*/ 926 w 1309"/>
                <a:gd name="T85" fmla="*/ 363 h 524"/>
                <a:gd name="T86" fmla="*/ 871 w 1309"/>
                <a:gd name="T87" fmla="*/ 413 h 524"/>
                <a:gd name="T88" fmla="*/ 712 w 1309"/>
                <a:gd name="T89" fmla="*/ 233 h 524"/>
                <a:gd name="T90" fmla="*/ 764 w 1309"/>
                <a:gd name="T91" fmla="*/ 165 h 524"/>
                <a:gd name="T92" fmla="*/ 845 w 1309"/>
                <a:gd name="T93" fmla="*/ 209 h 524"/>
                <a:gd name="T94" fmla="*/ 912 w 1309"/>
                <a:gd name="T95" fmla="*/ 234 h 524"/>
                <a:gd name="T96" fmla="*/ 884 w 1309"/>
                <a:gd name="T97" fmla="*/ 349 h 524"/>
                <a:gd name="T98" fmla="*/ 1000 w 1309"/>
                <a:gd name="T99" fmla="*/ 192 h 524"/>
                <a:gd name="T100" fmla="*/ 1083 w 1309"/>
                <a:gd name="T101" fmla="*/ 271 h 524"/>
                <a:gd name="T102" fmla="*/ 1023 w 1309"/>
                <a:gd name="T103" fmla="*/ 286 h 524"/>
                <a:gd name="T104" fmla="*/ 1067 w 1309"/>
                <a:gd name="T105" fmla="*/ 180 h 524"/>
                <a:gd name="T106" fmla="*/ 1069 w 1309"/>
                <a:gd name="T107" fmla="*/ 194 h 524"/>
                <a:gd name="T108" fmla="*/ 1138 w 1309"/>
                <a:gd name="T109" fmla="*/ 197 h 524"/>
                <a:gd name="T110" fmla="*/ 1141 w 1309"/>
                <a:gd name="T111" fmla="*/ 192 h 524"/>
                <a:gd name="T112" fmla="*/ 1130 w 1309"/>
                <a:gd name="T113" fmla="*/ 80 h 524"/>
                <a:gd name="T114" fmla="*/ 1257 w 1309"/>
                <a:gd name="T115" fmla="*/ 243 h 524"/>
                <a:gd name="T116" fmla="*/ 1273 w 1309"/>
                <a:gd name="T117" fmla="*/ 254 h 524"/>
                <a:gd name="T118" fmla="*/ 1148 w 1309"/>
                <a:gd name="T119" fmla="*/ 135 h 524"/>
                <a:gd name="T120" fmla="*/ 1023 w 1309"/>
                <a:gd name="T121" fmla="*/ 153 h 524"/>
                <a:gd name="T122" fmla="*/ 1011 w 1309"/>
                <a:gd name="T123" fmla="*/ 101 h 524"/>
                <a:gd name="T124" fmla="*/ 848 w 1309"/>
                <a:gd name="T125" fmla="*/ 12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9" h="524">
                  <a:moveTo>
                    <a:pt x="897" y="418"/>
                  </a:moveTo>
                  <a:cubicBezTo>
                    <a:pt x="895" y="415"/>
                    <a:pt x="923" y="393"/>
                    <a:pt x="929" y="393"/>
                  </a:cubicBezTo>
                  <a:cubicBezTo>
                    <a:pt x="930" y="393"/>
                    <a:pt x="930" y="394"/>
                    <a:pt x="930" y="394"/>
                  </a:cubicBezTo>
                  <a:cubicBezTo>
                    <a:pt x="930" y="394"/>
                    <a:pt x="930" y="394"/>
                    <a:pt x="930" y="394"/>
                  </a:cubicBezTo>
                  <a:cubicBezTo>
                    <a:pt x="932" y="395"/>
                    <a:pt x="934" y="397"/>
                    <a:pt x="936" y="398"/>
                  </a:cubicBezTo>
                  <a:cubicBezTo>
                    <a:pt x="938" y="399"/>
                    <a:pt x="941" y="400"/>
                    <a:pt x="943" y="400"/>
                  </a:cubicBezTo>
                  <a:cubicBezTo>
                    <a:pt x="943" y="400"/>
                    <a:pt x="943" y="400"/>
                    <a:pt x="943" y="400"/>
                  </a:cubicBezTo>
                  <a:cubicBezTo>
                    <a:pt x="948" y="401"/>
                    <a:pt x="942" y="495"/>
                    <a:pt x="939" y="496"/>
                  </a:cubicBezTo>
                  <a:cubicBezTo>
                    <a:pt x="939" y="496"/>
                    <a:pt x="939" y="496"/>
                    <a:pt x="939" y="496"/>
                  </a:cubicBezTo>
                  <a:cubicBezTo>
                    <a:pt x="938" y="496"/>
                    <a:pt x="936" y="496"/>
                    <a:pt x="935" y="497"/>
                  </a:cubicBezTo>
                  <a:cubicBezTo>
                    <a:pt x="935" y="497"/>
                    <a:pt x="935" y="497"/>
                    <a:pt x="935" y="497"/>
                  </a:cubicBezTo>
                  <a:cubicBezTo>
                    <a:pt x="935" y="497"/>
                    <a:pt x="935" y="497"/>
                    <a:pt x="935" y="497"/>
                  </a:cubicBezTo>
                  <a:cubicBezTo>
                    <a:pt x="932" y="497"/>
                    <a:pt x="891" y="439"/>
                    <a:pt x="893" y="437"/>
                  </a:cubicBezTo>
                  <a:cubicBezTo>
                    <a:pt x="893" y="437"/>
                    <a:pt x="893" y="437"/>
                    <a:pt x="893" y="437"/>
                  </a:cubicBezTo>
                  <a:cubicBezTo>
                    <a:pt x="896" y="434"/>
                    <a:pt x="898" y="430"/>
                    <a:pt x="898" y="426"/>
                  </a:cubicBezTo>
                  <a:cubicBezTo>
                    <a:pt x="899" y="423"/>
                    <a:pt x="898" y="420"/>
                    <a:pt x="896" y="418"/>
                  </a:cubicBezTo>
                  <a:cubicBezTo>
                    <a:pt x="897" y="418"/>
                    <a:pt x="897" y="418"/>
                    <a:pt x="897" y="418"/>
                  </a:cubicBezTo>
                  <a:moveTo>
                    <a:pt x="382" y="350"/>
                  </a:moveTo>
                  <a:cubicBezTo>
                    <a:pt x="383" y="350"/>
                    <a:pt x="384" y="350"/>
                    <a:pt x="385" y="349"/>
                  </a:cubicBezTo>
                  <a:cubicBezTo>
                    <a:pt x="385" y="349"/>
                    <a:pt x="385" y="349"/>
                    <a:pt x="385" y="349"/>
                  </a:cubicBezTo>
                  <a:cubicBezTo>
                    <a:pt x="385" y="349"/>
                    <a:pt x="385" y="349"/>
                    <a:pt x="385" y="349"/>
                  </a:cubicBezTo>
                  <a:cubicBezTo>
                    <a:pt x="386" y="349"/>
                    <a:pt x="403" y="374"/>
                    <a:pt x="402" y="375"/>
                  </a:cubicBezTo>
                  <a:cubicBezTo>
                    <a:pt x="402" y="375"/>
                    <a:pt x="402" y="375"/>
                    <a:pt x="402" y="375"/>
                  </a:cubicBezTo>
                  <a:cubicBezTo>
                    <a:pt x="399" y="378"/>
                    <a:pt x="398" y="382"/>
                    <a:pt x="400" y="385"/>
                  </a:cubicBezTo>
                  <a:cubicBezTo>
                    <a:pt x="400" y="386"/>
                    <a:pt x="400" y="386"/>
                    <a:pt x="400" y="386"/>
                  </a:cubicBezTo>
                  <a:cubicBezTo>
                    <a:pt x="400" y="386"/>
                    <a:pt x="400" y="386"/>
                    <a:pt x="400" y="386"/>
                  </a:cubicBezTo>
                  <a:cubicBezTo>
                    <a:pt x="401" y="388"/>
                    <a:pt x="375" y="407"/>
                    <a:pt x="374" y="407"/>
                  </a:cubicBezTo>
                  <a:cubicBezTo>
                    <a:pt x="374" y="407"/>
                    <a:pt x="374" y="407"/>
                    <a:pt x="374" y="407"/>
                  </a:cubicBezTo>
                  <a:cubicBezTo>
                    <a:pt x="374" y="407"/>
                    <a:pt x="374" y="407"/>
                    <a:pt x="374" y="407"/>
                  </a:cubicBezTo>
                  <a:cubicBezTo>
                    <a:pt x="373" y="406"/>
                    <a:pt x="373" y="406"/>
                    <a:pt x="372" y="406"/>
                  </a:cubicBezTo>
                  <a:cubicBezTo>
                    <a:pt x="372" y="406"/>
                    <a:pt x="372" y="406"/>
                    <a:pt x="372" y="406"/>
                  </a:cubicBezTo>
                  <a:cubicBezTo>
                    <a:pt x="371" y="406"/>
                    <a:pt x="380" y="350"/>
                    <a:pt x="382" y="350"/>
                  </a:cubicBezTo>
                  <a:cubicBezTo>
                    <a:pt x="382" y="350"/>
                    <a:pt x="382" y="350"/>
                    <a:pt x="382" y="350"/>
                  </a:cubicBezTo>
                  <a:cubicBezTo>
                    <a:pt x="382" y="350"/>
                    <a:pt x="382" y="350"/>
                    <a:pt x="382" y="350"/>
                  </a:cubicBezTo>
                  <a:moveTo>
                    <a:pt x="110" y="294"/>
                  </a:moveTo>
                  <a:cubicBezTo>
                    <a:pt x="110" y="294"/>
                    <a:pt x="110" y="294"/>
                    <a:pt x="110" y="294"/>
                  </a:cubicBezTo>
                  <a:cubicBezTo>
                    <a:pt x="110" y="294"/>
                    <a:pt x="111" y="295"/>
                    <a:pt x="112" y="295"/>
                  </a:cubicBezTo>
                  <a:cubicBezTo>
                    <a:pt x="112" y="295"/>
                    <a:pt x="112" y="295"/>
                    <a:pt x="112" y="295"/>
                  </a:cubicBezTo>
                  <a:cubicBezTo>
                    <a:pt x="113" y="295"/>
                    <a:pt x="113" y="332"/>
                    <a:pt x="112" y="332"/>
                  </a:cubicBezTo>
                  <a:cubicBezTo>
                    <a:pt x="112" y="332"/>
                    <a:pt x="112" y="332"/>
                    <a:pt x="112" y="332"/>
                  </a:cubicBezTo>
                  <a:cubicBezTo>
                    <a:pt x="112" y="333"/>
                    <a:pt x="111" y="333"/>
                    <a:pt x="111" y="333"/>
                  </a:cubicBezTo>
                  <a:cubicBezTo>
                    <a:pt x="110" y="333"/>
                    <a:pt x="109" y="334"/>
                    <a:pt x="109" y="335"/>
                  </a:cubicBezTo>
                  <a:cubicBezTo>
                    <a:pt x="109" y="334"/>
                    <a:pt x="109" y="334"/>
                    <a:pt x="109" y="334"/>
                  </a:cubicBezTo>
                  <a:cubicBezTo>
                    <a:pt x="109" y="334"/>
                    <a:pt x="109" y="334"/>
                    <a:pt x="109" y="334"/>
                  </a:cubicBezTo>
                  <a:cubicBezTo>
                    <a:pt x="107" y="334"/>
                    <a:pt x="70" y="323"/>
                    <a:pt x="70" y="322"/>
                  </a:cubicBezTo>
                  <a:cubicBezTo>
                    <a:pt x="70" y="322"/>
                    <a:pt x="70" y="322"/>
                    <a:pt x="70" y="322"/>
                  </a:cubicBezTo>
                  <a:cubicBezTo>
                    <a:pt x="70" y="321"/>
                    <a:pt x="70" y="321"/>
                    <a:pt x="70" y="320"/>
                  </a:cubicBezTo>
                  <a:cubicBezTo>
                    <a:pt x="70" y="320"/>
                    <a:pt x="70" y="320"/>
                    <a:pt x="70" y="320"/>
                  </a:cubicBezTo>
                  <a:cubicBezTo>
                    <a:pt x="70" y="320"/>
                    <a:pt x="70" y="320"/>
                    <a:pt x="70" y="320"/>
                  </a:cubicBezTo>
                  <a:cubicBezTo>
                    <a:pt x="69" y="319"/>
                    <a:pt x="108" y="294"/>
                    <a:pt x="110" y="294"/>
                  </a:cubicBezTo>
                  <a:cubicBezTo>
                    <a:pt x="110" y="294"/>
                    <a:pt x="110" y="294"/>
                    <a:pt x="110" y="294"/>
                  </a:cubicBezTo>
                  <a:moveTo>
                    <a:pt x="656" y="271"/>
                  </a:moveTo>
                  <a:cubicBezTo>
                    <a:pt x="663" y="262"/>
                    <a:pt x="685" y="240"/>
                    <a:pt x="708" y="218"/>
                  </a:cubicBezTo>
                  <a:cubicBezTo>
                    <a:pt x="710" y="221"/>
                    <a:pt x="712" y="223"/>
                    <a:pt x="711" y="223"/>
                  </a:cubicBezTo>
                  <a:cubicBezTo>
                    <a:pt x="711" y="223"/>
                    <a:pt x="711" y="223"/>
                    <a:pt x="711" y="223"/>
                  </a:cubicBezTo>
                  <a:cubicBezTo>
                    <a:pt x="710" y="225"/>
                    <a:pt x="709" y="228"/>
                    <a:pt x="711" y="231"/>
                  </a:cubicBezTo>
                  <a:cubicBezTo>
                    <a:pt x="711" y="231"/>
                    <a:pt x="711" y="231"/>
                    <a:pt x="711" y="231"/>
                  </a:cubicBezTo>
                  <a:cubicBezTo>
                    <a:pt x="711" y="231"/>
                    <a:pt x="711" y="231"/>
                    <a:pt x="711" y="231"/>
                  </a:cubicBezTo>
                  <a:cubicBezTo>
                    <a:pt x="711" y="232"/>
                    <a:pt x="669" y="263"/>
                    <a:pt x="656" y="271"/>
                  </a:cubicBezTo>
                  <a:moveTo>
                    <a:pt x="516" y="214"/>
                  </a:moveTo>
                  <a:cubicBezTo>
                    <a:pt x="516" y="214"/>
                    <a:pt x="516" y="214"/>
                    <a:pt x="516" y="214"/>
                  </a:cubicBezTo>
                  <a:cubicBezTo>
                    <a:pt x="521" y="214"/>
                    <a:pt x="573" y="327"/>
                    <a:pt x="571" y="328"/>
                  </a:cubicBezTo>
                  <a:cubicBezTo>
                    <a:pt x="571" y="328"/>
                    <a:pt x="571" y="328"/>
                    <a:pt x="571" y="328"/>
                  </a:cubicBezTo>
                  <a:cubicBezTo>
                    <a:pt x="570" y="329"/>
                    <a:pt x="569" y="330"/>
                    <a:pt x="568" y="331"/>
                  </a:cubicBezTo>
                  <a:cubicBezTo>
                    <a:pt x="568" y="331"/>
                    <a:pt x="568" y="331"/>
                    <a:pt x="568" y="331"/>
                  </a:cubicBezTo>
                  <a:cubicBezTo>
                    <a:pt x="568" y="331"/>
                    <a:pt x="568" y="331"/>
                    <a:pt x="568" y="331"/>
                  </a:cubicBezTo>
                  <a:cubicBezTo>
                    <a:pt x="564" y="331"/>
                    <a:pt x="519" y="308"/>
                    <a:pt x="520" y="306"/>
                  </a:cubicBezTo>
                  <a:cubicBezTo>
                    <a:pt x="520" y="306"/>
                    <a:pt x="520" y="306"/>
                    <a:pt x="520" y="306"/>
                  </a:cubicBezTo>
                  <a:cubicBezTo>
                    <a:pt x="521" y="303"/>
                    <a:pt x="521" y="300"/>
                    <a:pt x="520" y="297"/>
                  </a:cubicBezTo>
                  <a:cubicBezTo>
                    <a:pt x="518" y="294"/>
                    <a:pt x="515" y="292"/>
                    <a:pt x="511" y="291"/>
                  </a:cubicBezTo>
                  <a:cubicBezTo>
                    <a:pt x="511" y="291"/>
                    <a:pt x="511" y="291"/>
                    <a:pt x="511" y="291"/>
                  </a:cubicBezTo>
                  <a:cubicBezTo>
                    <a:pt x="509" y="291"/>
                    <a:pt x="508" y="215"/>
                    <a:pt x="513" y="214"/>
                  </a:cubicBezTo>
                  <a:cubicBezTo>
                    <a:pt x="513" y="214"/>
                    <a:pt x="513" y="214"/>
                    <a:pt x="513" y="214"/>
                  </a:cubicBezTo>
                  <a:cubicBezTo>
                    <a:pt x="514" y="214"/>
                    <a:pt x="515" y="214"/>
                    <a:pt x="516" y="214"/>
                  </a:cubicBezTo>
                  <a:cubicBezTo>
                    <a:pt x="516" y="214"/>
                    <a:pt x="516" y="214"/>
                    <a:pt x="516" y="214"/>
                  </a:cubicBezTo>
                  <a:moveTo>
                    <a:pt x="1072" y="189"/>
                  </a:moveTo>
                  <a:cubicBezTo>
                    <a:pt x="1072" y="189"/>
                    <a:pt x="1073" y="189"/>
                    <a:pt x="1075" y="189"/>
                  </a:cubicBezTo>
                  <a:cubicBezTo>
                    <a:pt x="1088" y="189"/>
                    <a:pt x="1130" y="192"/>
                    <a:pt x="1130" y="193"/>
                  </a:cubicBezTo>
                  <a:cubicBezTo>
                    <a:pt x="1130" y="193"/>
                    <a:pt x="1130" y="193"/>
                    <a:pt x="1130" y="193"/>
                  </a:cubicBezTo>
                  <a:cubicBezTo>
                    <a:pt x="1131" y="194"/>
                    <a:pt x="1131" y="194"/>
                    <a:pt x="1131" y="195"/>
                  </a:cubicBezTo>
                  <a:cubicBezTo>
                    <a:pt x="1131" y="195"/>
                    <a:pt x="1131" y="195"/>
                    <a:pt x="1131" y="195"/>
                  </a:cubicBezTo>
                  <a:cubicBezTo>
                    <a:pt x="1132" y="196"/>
                    <a:pt x="1100" y="219"/>
                    <a:pt x="1098" y="219"/>
                  </a:cubicBezTo>
                  <a:cubicBezTo>
                    <a:pt x="1098" y="219"/>
                    <a:pt x="1098" y="219"/>
                    <a:pt x="1098" y="219"/>
                  </a:cubicBezTo>
                  <a:cubicBezTo>
                    <a:pt x="1098" y="219"/>
                    <a:pt x="1098" y="219"/>
                    <a:pt x="1098" y="219"/>
                  </a:cubicBezTo>
                  <a:cubicBezTo>
                    <a:pt x="1098" y="219"/>
                    <a:pt x="1097" y="218"/>
                    <a:pt x="1096" y="218"/>
                  </a:cubicBezTo>
                  <a:cubicBezTo>
                    <a:pt x="1095" y="218"/>
                    <a:pt x="1095" y="219"/>
                    <a:pt x="1094" y="219"/>
                  </a:cubicBezTo>
                  <a:cubicBezTo>
                    <a:pt x="1094" y="219"/>
                    <a:pt x="1094" y="219"/>
                    <a:pt x="1094" y="219"/>
                  </a:cubicBezTo>
                  <a:cubicBezTo>
                    <a:pt x="1094" y="219"/>
                    <a:pt x="1094" y="219"/>
                    <a:pt x="1094" y="219"/>
                  </a:cubicBezTo>
                  <a:cubicBezTo>
                    <a:pt x="1094" y="219"/>
                    <a:pt x="1094" y="219"/>
                    <a:pt x="1094" y="219"/>
                  </a:cubicBezTo>
                  <a:cubicBezTo>
                    <a:pt x="1093" y="219"/>
                    <a:pt x="1069" y="193"/>
                    <a:pt x="1070" y="192"/>
                  </a:cubicBezTo>
                  <a:cubicBezTo>
                    <a:pt x="1070" y="192"/>
                    <a:pt x="1070" y="192"/>
                    <a:pt x="1070" y="192"/>
                  </a:cubicBezTo>
                  <a:cubicBezTo>
                    <a:pt x="1071" y="191"/>
                    <a:pt x="1072" y="190"/>
                    <a:pt x="1072" y="189"/>
                  </a:cubicBezTo>
                  <a:cubicBezTo>
                    <a:pt x="1072" y="189"/>
                    <a:pt x="1072" y="189"/>
                    <a:pt x="1072" y="189"/>
                  </a:cubicBezTo>
                  <a:moveTo>
                    <a:pt x="76" y="193"/>
                  </a:moveTo>
                  <a:cubicBezTo>
                    <a:pt x="75" y="193"/>
                    <a:pt x="62" y="176"/>
                    <a:pt x="54" y="165"/>
                  </a:cubicBezTo>
                  <a:cubicBezTo>
                    <a:pt x="56" y="165"/>
                    <a:pt x="58" y="164"/>
                    <a:pt x="61" y="164"/>
                  </a:cubicBezTo>
                  <a:cubicBezTo>
                    <a:pt x="83" y="181"/>
                    <a:pt x="126" y="212"/>
                    <a:pt x="125" y="212"/>
                  </a:cubicBezTo>
                  <a:cubicBezTo>
                    <a:pt x="125" y="212"/>
                    <a:pt x="125" y="212"/>
                    <a:pt x="125" y="212"/>
                  </a:cubicBezTo>
                  <a:cubicBezTo>
                    <a:pt x="125" y="213"/>
                    <a:pt x="125" y="213"/>
                    <a:pt x="125" y="213"/>
                  </a:cubicBezTo>
                  <a:cubicBezTo>
                    <a:pt x="125" y="213"/>
                    <a:pt x="125" y="213"/>
                    <a:pt x="125" y="213"/>
                  </a:cubicBezTo>
                  <a:cubicBezTo>
                    <a:pt x="125" y="213"/>
                    <a:pt x="125" y="213"/>
                    <a:pt x="125" y="213"/>
                  </a:cubicBezTo>
                  <a:cubicBezTo>
                    <a:pt x="122" y="213"/>
                    <a:pt x="86" y="201"/>
                    <a:pt x="86" y="200"/>
                  </a:cubicBezTo>
                  <a:cubicBezTo>
                    <a:pt x="86" y="200"/>
                    <a:pt x="86" y="200"/>
                    <a:pt x="86" y="200"/>
                  </a:cubicBezTo>
                  <a:cubicBezTo>
                    <a:pt x="86" y="199"/>
                    <a:pt x="86" y="197"/>
                    <a:pt x="86" y="196"/>
                  </a:cubicBezTo>
                  <a:cubicBezTo>
                    <a:pt x="84" y="194"/>
                    <a:pt x="82" y="192"/>
                    <a:pt x="79" y="192"/>
                  </a:cubicBezTo>
                  <a:cubicBezTo>
                    <a:pt x="78" y="192"/>
                    <a:pt x="77" y="193"/>
                    <a:pt x="76" y="193"/>
                  </a:cubicBezTo>
                  <a:cubicBezTo>
                    <a:pt x="76" y="193"/>
                    <a:pt x="76" y="193"/>
                    <a:pt x="76" y="193"/>
                  </a:cubicBezTo>
                  <a:cubicBezTo>
                    <a:pt x="76" y="193"/>
                    <a:pt x="76" y="193"/>
                    <a:pt x="76" y="193"/>
                  </a:cubicBezTo>
                  <a:cubicBezTo>
                    <a:pt x="76" y="193"/>
                    <a:pt x="76" y="193"/>
                    <a:pt x="76" y="193"/>
                  </a:cubicBezTo>
                  <a:moveTo>
                    <a:pt x="772" y="166"/>
                  </a:moveTo>
                  <a:cubicBezTo>
                    <a:pt x="773" y="165"/>
                    <a:pt x="774" y="165"/>
                    <a:pt x="774" y="164"/>
                  </a:cubicBezTo>
                  <a:cubicBezTo>
                    <a:pt x="774" y="164"/>
                    <a:pt x="774" y="164"/>
                    <a:pt x="774" y="164"/>
                  </a:cubicBezTo>
                  <a:cubicBezTo>
                    <a:pt x="774" y="164"/>
                    <a:pt x="775" y="164"/>
                    <a:pt x="775" y="164"/>
                  </a:cubicBezTo>
                  <a:cubicBezTo>
                    <a:pt x="778" y="164"/>
                    <a:pt x="841" y="198"/>
                    <a:pt x="841" y="199"/>
                  </a:cubicBezTo>
                  <a:cubicBezTo>
                    <a:pt x="841" y="199"/>
                    <a:pt x="841" y="199"/>
                    <a:pt x="841" y="199"/>
                  </a:cubicBezTo>
                  <a:cubicBezTo>
                    <a:pt x="840" y="201"/>
                    <a:pt x="840" y="203"/>
                    <a:pt x="841" y="205"/>
                  </a:cubicBezTo>
                  <a:cubicBezTo>
                    <a:pt x="842" y="206"/>
                    <a:pt x="842" y="207"/>
                    <a:pt x="843" y="208"/>
                  </a:cubicBezTo>
                  <a:cubicBezTo>
                    <a:pt x="843" y="208"/>
                    <a:pt x="843" y="208"/>
                    <a:pt x="843" y="208"/>
                  </a:cubicBezTo>
                  <a:cubicBezTo>
                    <a:pt x="844" y="208"/>
                    <a:pt x="822" y="249"/>
                    <a:pt x="818" y="249"/>
                  </a:cubicBezTo>
                  <a:cubicBezTo>
                    <a:pt x="818" y="249"/>
                    <a:pt x="818" y="249"/>
                    <a:pt x="818" y="249"/>
                  </a:cubicBezTo>
                  <a:cubicBezTo>
                    <a:pt x="818" y="249"/>
                    <a:pt x="818" y="249"/>
                    <a:pt x="818" y="249"/>
                  </a:cubicBezTo>
                  <a:cubicBezTo>
                    <a:pt x="816" y="248"/>
                    <a:pt x="813" y="247"/>
                    <a:pt x="811" y="247"/>
                  </a:cubicBezTo>
                  <a:cubicBezTo>
                    <a:pt x="810" y="247"/>
                    <a:pt x="808" y="247"/>
                    <a:pt x="807" y="248"/>
                  </a:cubicBezTo>
                  <a:cubicBezTo>
                    <a:pt x="807" y="248"/>
                    <a:pt x="807" y="248"/>
                    <a:pt x="807" y="248"/>
                  </a:cubicBezTo>
                  <a:cubicBezTo>
                    <a:pt x="807" y="248"/>
                    <a:pt x="807" y="248"/>
                    <a:pt x="807" y="248"/>
                  </a:cubicBezTo>
                  <a:cubicBezTo>
                    <a:pt x="803" y="248"/>
                    <a:pt x="771" y="166"/>
                    <a:pt x="772" y="166"/>
                  </a:cubicBezTo>
                  <a:cubicBezTo>
                    <a:pt x="772" y="166"/>
                    <a:pt x="772" y="166"/>
                    <a:pt x="772" y="166"/>
                  </a:cubicBezTo>
                  <a:moveTo>
                    <a:pt x="54" y="165"/>
                  </a:moveTo>
                  <a:cubicBezTo>
                    <a:pt x="50" y="159"/>
                    <a:pt x="47" y="155"/>
                    <a:pt x="47" y="155"/>
                  </a:cubicBezTo>
                  <a:cubicBezTo>
                    <a:pt x="48" y="155"/>
                    <a:pt x="53" y="159"/>
                    <a:pt x="61" y="164"/>
                  </a:cubicBezTo>
                  <a:cubicBezTo>
                    <a:pt x="58" y="164"/>
                    <a:pt x="56" y="164"/>
                    <a:pt x="54" y="165"/>
                  </a:cubicBezTo>
                  <a:moveTo>
                    <a:pt x="47" y="155"/>
                  </a:moveTo>
                  <a:cubicBezTo>
                    <a:pt x="47" y="155"/>
                    <a:pt x="47" y="155"/>
                    <a:pt x="47" y="155"/>
                  </a:cubicBezTo>
                  <a:cubicBezTo>
                    <a:pt x="47" y="155"/>
                    <a:pt x="47" y="155"/>
                    <a:pt x="47" y="155"/>
                  </a:cubicBezTo>
                  <a:cubicBezTo>
                    <a:pt x="47" y="155"/>
                    <a:pt x="47" y="155"/>
                    <a:pt x="47" y="155"/>
                  </a:cubicBezTo>
                  <a:moveTo>
                    <a:pt x="872" y="144"/>
                  </a:moveTo>
                  <a:cubicBezTo>
                    <a:pt x="873" y="144"/>
                    <a:pt x="873" y="144"/>
                    <a:pt x="874" y="144"/>
                  </a:cubicBezTo>
                  <a:cubicBezTo>
                    <a:pt x="886" y="144"/>
                    <a:pt x="995" y="171"/>
                    <a:pt x="995" y="175"/>
                  </a:cubicBezTo>
                  <a:cubicBezTo>
                    <a:pt x="995" y="175"/>
                    <a:pt x="995" y="175"/>
                    <a:pt x="995" y="175"/>
                  </a:cubicBezTo>
                  <a:cubicBezTo>
                    <a:pt x="994" y="176"/>
                    <a:pt x="994" y="177"/>
                    <a:pt x="994" y="178"/>
                  </a:cubicBezTo>
                  <a:cubicBezTo>
                    <a:pt x="994" y="181"/>
                    <a:pt x="995" y="183"/>
                    <a:pt x="996" y="186"/>
                  </a:cubicBezTo>
                  <a:cubicBezTo>
                    <a:pt x="998" y="190"/>
                    <a:pt x="943" y="219"/>
                    <a:pt x="938" y="219"/>
                  </a:cubicBezTo>
                  <a:cubicBezTo>
                    <a:pt x="938" y="219"/>
                    <a:pt x="937" y="219"/>
                    <a:pt x="937" y="219"/>
                  </a:cubicBezTo>
                  <a:cubicBezTo>
                    <a:pt x="937" y="219"/>
                    <a:pt x="937" y="219"/>
                    <a:pt x="937" y="219"/>
                  </a:cubicBezTo>
                  <a:cubicBezTo>
                    <a:pt x="934" y="215"/>
                    <a:pt x="930" y="213"/>
                    <a:pt x="925" y="213"/>
                  </a:cubicBezTo>
                  <a:cubicBezTo>
                    <a:pt x="923" y="213"/>
                    <a:pt x="921" y="213"/>
                    <a:pt x="919" y="214"/>
                  </a:cubicBezTo>
                  <a:cubicBezTo>
                    <a:pt x="918" y="215"/>
                    <a:pt x="918" y="215"/>
                    <a:pt x="918" y="215"/>
                  </a:cubicBezTo>
                  <a:cubicBezTo>
                    <a:pt x="918" y="215"/>
                    <a:pt x="918" y="215"/>
                    <a:pt x="918" y="215"/>
                  </a:cubicBezTo>
                  <a:cubicBezTo>
                    <a:pt x="918" y="215"/>
                    <a:pt x="918" y="215"/>
                    <a:pt x="918" y="215"/>
                  </a:cubicBezTo>
                  <a:cubicBezTo>
                    <a:pt x="915" y="215"/>
                    <a:pt x="866" y="152"/>
                    <a:pt x="869" y="150"/>
                  </a:cubicBezTo>
                  <a:cubicBezTo>
                    <a:pt x="869" y="150"/>
                    <a:pt x="869" y="150"/>
                    <a:pt x="869" y="150"/>
                  </a:cubicBezTo>
                  <a:cubicBezTo>
                    <a:pt x="870" y="148"/>
                    <a:pt x="872" y="146"/>
                    <a:pt x="872" y="144"/>
                  </a:cubicBezTo>
                  <a:cubicBezTo>
                    <a:pt x="872" y="144"/>
                    <a:pt x="872" y="144"/>
                    <a:pt x="872" y="144"/>
                  </a:cubicBezTo>
                  <a:moveTo>
                    <a:pt x="776" y="159"/>
                  </a:moveTo>
                  <a:cubicBezTo>
                    <a:pt x="776" y="157"/>
                    <a:pt x="826" y="144"/>
                    <a:pt x="836" y="144"/>
                  </a:cubicBezTo>
                  <a:cubicBezTo>
                    <a:pt x="837" y="144"/>
                    <a:pt x="838" y="144"/>
                    <a:pt x="838" y="144"/>
                  </a:cubicBezTo>
                  <a:cubicBezTo>
                    <a:pt x="838" y="144"/>
                    <a:pt x="838" y="144"/>
                    <a:pt x="838" y="144"/>
                  </a:cubicBezTo>
                  <a:cubicBezTo>
                    <a:pt x="840" y="149"/>
                    <a:pt x="845" y="153"/>
                    <a:pt x="851" y="154"/>
                  </a:cubicBezTo>
                  <a:cubicBezTo>
                    <a:pt x="851" y="154"/>
                    <a:pt x="851" y="154"/>
                    <a:pt x="851" y="154"/>
                  </a:cubicBezTo>
                  <a:cubicBezTo>
                    <a:pt x="854" y="155"/>
                    <a:pt x="849" y="194"/>
                    <a:pt x="847" y="195"/>
                  </a:cubicBezTo>
                  <a:cubicBezTo>
                    <a:pt x="847" y="195"/>
                    <a:pt x="847" y="195"/>
                    <a:pt x="847" y="195"/>
                  </a:cubicBezTo>
                  <a:cubicBezTo>
                    <a:pt x="846" y="195"/>
                    <a:pt x="846" y="195"/>
                    <a:pt x="845" y="195"/>
                  </a:cubicBezTo>
                  <a:cubicBezTo>
                    <a:pt x="844" y="196"/>
                    <a:pt x="843" y="196"/>
                    <a:pt x="842" y="197"/>
                  </a:cubicBezTo>
                  <a:cubicBezTo>
                    <a:pt x="842" y="197"/>
                    <a:pt x="842" y="197"/>
                    <a:pt x="842" y="197"/>
                  </a:cubicBezTo>
                  <a:cubicBezTo>
                    <a:pt x="842" y="197"/>
                    <a:pt x="842" y="197"/>
                    <a:pt x="842" y="197"/>
                  </a:cubicBezTo>
                  <a:cubicBezTo>
                    <a:pt x="839" y="197"/>
                    <a:pt x="775" y="163"/>
                    <a:pt x="776" y="162"/>
                  </a:cubicBezTo>
                  <a:cubicBezTo>
                    <a:pt x="776" y="162"/>
                    <a:pt x="776" y="162"/>
                    <a:pt x="776" y="162"/>
                  </a:cubicBezTo>
                  <a:cubicBezTo>
                    <a:pt x="776" y="161"/>
                    <a:pt x="776" y="160"/>
                    <a:pt x="776" y="159"/>
                  </a:cubicBezTo>
                  <a:cubicBezTo>
                    <a:pt x="776" y="159"/>
                    <a:pt x="776" y="159"/>
                    <a:pt x="776" y="159"/>
                  </a:cubicBezTo>
                  <a:moveTo>
                    <a:pt x="48" y="137"/>
                  </a:moveTo>
                  <a:cubicBezTo>
                    <a:pt x="48" y="137"/>
                    <a:pt x="48" y="137"/>
                    <a:pt x="48" y="137"/>
                  </a:cubicBezTo>
                  <a:cubicBezTo>
                    <a:pt x="51" y="137"/>
                    <a:pt x="108" y="159"/>
                    <a:pt x="108" y="160"/>
                  </a:cubicBezTo>
                  <a:cubicBezTo>
                    <a:pt x="108" y="160"/>
                    <a:pt x="108" y="160"/>
                    <a:pt x="108" y="160"/>
                  </a:cubicBezTo>
                  <a:cubicBezTo>
                    <a:pt x="108" y="161"/>
                    <a:pt x="108" y="161"/>
                    <a:pt x="108" y="161"/>
                  </a:cubicBezTo>
                  <a:cubicBezTo>
                    <a:pt x="108" y="161"/>
                    <a:pt x="108" y="161"/>
                    <a:pt x="108" y="161"/>
                  </a:cubicBezTo>
                  <a:cubicBezTo>
                    <a:pt x="107" y="161"/>
                    <a:pt x="84" y="163"/>
                    <a:pt x="61" y="164"/>
                  </a:cubicBezTo>
                  <a:cubicBezTo>
                    <a:pt x="53" y="158"/>
                    <a:pt x="47" y="154"/>
                    <a:pt x="48" y="154"/>
                  </a:cubicBezTo>
                  <a:cubicBezTo>
                    <a:pt x="48" y="154"/>
                    <a:pt x="48" y="154"/>
                    <a:pt x="48" y="154"/>
                  </a:cubicBezTo>
                  <a:cubicBezTo>
                    <a:pt x="48" y="153"/>
                    <a:pt x="48" y="151"/>
                    <a:pt x="48" y="150"/>
                  </a:cubicBezTo>
                  <a:cubicBezTo>
                    <a:pt x="47" y="149"/>
                    <a:pt x="45" y="148"/>
                    <a:pt x="44" y="148"/>
                  </a:cubicBezTo>
                  <a:cubicBezTo>
                    <a:pt x="43" y="148"/>
                    <a:pt x="43" y="148"/>
                    <a:pt x="42" y="148"/>
                  </a:cubicBezTo>
                  <a:cubicBezTo>
                    <a:pt x="40" y="149"/>
                    <a:pt x="39" y="152"/>
                    <a:pt x="40" y="153"/>
                  </a:cubicBezTo>
                  <a:cubicBezTo>
                    <a:pt x="41" y="155"/>
                    <a:pt x="42" y="156"/>
                    <a:pt x="44" y="156"/>
                  </a:cubicBezTo>
                  <a:cubicBezTo>
                    <a:pt x="45" y="156"/>
                    <a:pt x="45" y="156"/>
                    <a:pt x="46" y="155"/>
                  </a:cubicBezTo>
                  <a:cubicBezTo>
                    <a:pt x="46" y="155"/>
                    <a:pt x="46" y="155"/>
                    <a:pt x="46" y="155"/>
                  </a:cubicBezTo>
                  <a:cubicBezTo>
                    <a:pt x="46" y="155"/>
                    <a:pt x="46" y="155"/>
                    <a:pt x="46" y="155"/>
                  </a:cubicBezTo>
                  <a:cubicBezTo>
                    <a:pt x="46" y="155"/>
                    <a:pt x="46" y="155"/>
                    <a:pt x="46" y="155"/>
                  </a:cubicBezTo>
                  <a:cubicBezTo>
                    <a:pt x="46" y="155"/>
                    <a:pt x="49" y="159"/>
                    <a:pt x="53" y="165"/>
                  </a:cubicBezTo>
                  <a:cubicBezTo>
                    <a:pt x="38" y="165"/>
                    <a:pt x="24" y="166"/>
                    <a:pt x="18" y="166"/>
                  </a:cubicBezTo>
                  <a:cubicBezTo>
                    <a:pt x="16" y="166"/>
                    <a:pt x="15" y="166"/>
                    <a:pt x="15" y="166"/>
                  </a:cubicBezTo>
                  <a:cubicBezTo>
                    <a:pt x="15" y="166"/>
                    <a:pt x="15" y="166"/>
                    <a:pt x="15" y="166"/>
                  </a:cubicBezTo>
                  <a:cubicBezTo>
                    <a:pt x="14" y="165"/>
                    <a:pt x="14" y="165"/>
                    <a:pt x="14" y="164"/>
                  </a:cubicBezTo>
                  <a:cubicBezTo>
                    <a:pt x="13" y="163"/>
                    <a:pt x="13" y="163"/>
                    <a:pt x="13" y="163"/>
                  </a:cubicBezTo>
                  <a:cubicBezTo>
                    <a:pt x="13" y="163"/>
                    <a:pt x="13" y="163"/>
                    <a:pt x="13" y="163"/>
                  </a:cubicBezTo>
                  <a:cubicBezTo>
                    <a:pt x="13" y="162"/>
                    <a:pt x="40" y="138"/>
                    <a:pt x="41" y="138"/>
                  </a:cubicBezTo>
                  <a:cubicBezTo>
                    <a:pt x="41" y="138"/>
                    <a:pt x="41" y="138"/>
                    <a:pt x="41" y="138"/>
                  </a:cubicBezTo>
                  <a:cubicBezTo>
                    <a:pt x="41" y="138"/>
                    <a:pt x="41" y="138"/>
                    <a:pt x="41" y="138"/>
                  </a:cubicBezTo>
                  <a:cubicBezTo>
                    <a:pt x="42" y="139"/>
                    <a:pt x="43" y="139"/>
                    <a:pt x="44" y="139"/>
                  </a:cubicBezTo>
                  <a:cubicBezTo>
                    <a:pt x="45" y="139"/>
                    <a:pt x="45" y="139"/>
                    <a:pt x="46" y="139"/>
                  </a:cubicBezTo>
                  <a:cubicBezTo>
                    <a:pt x="47" y="138"/>
                    <a:pt x="48" y="138"/>
                    <a:pt x="48" y="137"/>
                  </a:cubicBezTo>
                  <a:cubicBezTo>
                    <a:pt x="48" y="137"/>
                    <a:pt x="48" y="137"/>
                    <a:pt x="48" y="137"/>
                  </a:cubicBezTo>
                  <a:moveTo>
                    <a:pt x="586" y="70"/>
                  </a:moveTo>
                  <a:cubicBezTo>
                    <a:pt x="586" y="70"/>
                    <a:pt x="586" y="70"/>
                    <a:pt x="586" y="70"/>
                  </a:cubicBezTo>
                  <a:cubicBezTo>
                    <a:pt x="588" y="70"/>
                    <a:pt x="590" y="71"/>
                    <a:pt x="592" y="71"/>
                  </a:cubicBezTo>
                  <a:cubicBezTo>
                    <a:pt x="594" y="71"/>
                    <a:pt x="596" y="70"/>
                    <a:pt x="598" y="70"/>
                  </a:cubicBezTo>
                  <a:cubicBezTo>
                    <a:pt x="597" y="70"/>
                    <a:pt x="597" y="70"/>
                    <a:pt x="597" y="70"/>
                  </a:cubicBezTo>
                  <a:cubicBezTo>
                    <a:pt x="597" y="70"/>
                    <a:pt x="597" y="70"/>
                    <a:pt x="598" y="70"/>
                  </a:cubicBezTo>
                  <a:cubicBezTo>
                    <a:pt x="601" y="70"/>
                    <a:pt x="642" y="138"/>
                    <a:pt x="637" y="142"/>
                  </a:cubicBezTo>
                  <a:cubicBezTo>
                    <a:pt x="637" y="142"/>
                    <a:pt x="637" y="142"/>
                    <a:pt x="637" y="142"/>
                  </a:cubicBezTo>
                  <a:cubicBezTo>
                    <a:pt x="630" y="147"/>
                    <a:pt x="625" y="156"/>
                    <a:pt x="625" y="165"/>
                  </a:cubicBezTo>
                  <a:cubicBezTo>
                    <a:pt x="625" y="179"/>
                    <a:pt x="634" y="190"/>
                    <a:pt x="648" y="194"/>
                  </a:cubicBezTo>
                  <a:cubicBezTo>
                    <a:pt x="653" y="195"/>
                    <a:pt x="643" y="267"/>
                    <a:pt x="640" y="268"/>
                  </a:cubicBezTo>
                  <a:cubicBezTo>
                    <a:pt x="640" y="268"/>
                    <a:pt x="640" y="268"/>
                    <a:pt x="640" y="268"/>
                  </a:cubicBezTo>
                  <a:cubicBezTo>
                    <a:pt x="632" y="268"/>
                    <a:pt x="625" y="274"/>
                    <a:pt x="625" y="283"/>
                  </a:cubicBezTo>
                  <a:cubicBezTo>
                    <a:pt x="625" y="286"/>
                    <a:pt x="626" y="288"/>
                    <a:pt x="628" y="291"/>
                  </a:cubicBezTo>
                  <a:cubicBezTo>
                    <a:pt x="628" y="291"/>
                    <a:pt x="628" y="291"/>
                    <a:pt x="628" y="291"/>
                  </a:cubicBezTo>
                  <a:cubicBezTo>
                    <a:pt x="629" y="293"/>
                    <a:pt x="586" y="329"/>
                    <a:pt x="583" y="329"/>
                  </a:cubicBezTo>
                  <a:cubicBezTo>
                    <a:pt x="583" y="329"/>
                    <a:pt x="583" y="329"/>
                    <a:pt x="583" y="329"/>
                  </a:cubicBezTo>
                  <a:cubicBezTo>
                    <a:pt x="583" y="329"/>
                    <a:pt x="583" y="329"/>
                    <a:pt x="583" y="329"/>
                  </a:cubicBezTo>
                  <a:cubicBezTo>
                    <a:pt x="581" y="328"/>
                    <a:pt x="579" y="327"/>
                    <a:pt x="576" y="327"/>
                  </a:cubicBezTo>
                  <a:cubicBezTo>
                    <a:pt x="576" y="327"/>
                    <a:pt x="575" y="327"/>
                    <a:pt x="574" y="327"/>
                  </a:cubicBezTo>
                  <a:cubicBezTo>
                    <a:pt x="574" y="327"/>
                    <a:pt x="574" y="327"/>
                    <a:pt x="574" y="327"/>
                  </a:cubicBezTo>
                  <a:cubicBezTo>
                    <a:pt x="574" y="327"/>
                    <a:pt x="574" y="327"/>
                    <a:pt x="574" y="327"/>
                  </a:cubicBezTo>
                  <a:cubicBezTo>
                    <a:pt x="572" y="327"/>
                    <a:pt x="518" y="213"/>
                    <a:pt x="523" y="211"/>
                  </a:cubicBezTo>
                  <a:cubicBezTo>
                    <a:pt x="523" y="211"/>
                    <a:pt x="523" y="211"/>
                    <a:pt x="523" y="211"/>
                  </a:cubicBezTo>
                  <a:cubicBezTo>
                    <a:pt x="530" y="206"/>
                    <a:pt x="535" y="199"/>
                    <a:pt x="535" y="190"/>
                  </a:cubicBezTo>
                  <a:cubicBezTo>
                    <a:pt x="535" y="182"/>
                    <a:pt x="531" y="175"/>
                    <a:pt x="525" y="171"/>
                  </a:cubicBezTo>
                  <a:cubicBezTo>
                    <a:pt x="525" y="171"/>
                    <a:pt x="525" y="171"/>
                    <a:pt x="525" y="171"/>
                  </a:cubicBezTo>
                  <a:cubicBezTo>
                    <a:pt x="521" y="168"/>
                    <a:pt x="583" y="70"/>
                    <a:pt x="586" y="70"/>
                  </a:cubicBezTo>
                  <a:cubicBezTo>
                    <a:pt x="586" y="70"/>
                    <a:pt x="586" y="70"/>
                    <a:pt x="586" y="70"/>
                  </a:cubicBezTo>
                  <a:moveTo>
                    <a:pt x="678" y="145"/>
                  </a:moveTo>
                  <a:cubicBezTo>
                    <a:pt x="674" y="141"/>
                    <a:pt x="762" y="34"/>
                    <a:pt x="767" y="34"/>
                  </a:cubicBezTo>
                  <a:cubicBezTo>
                    <a:pt x="767" y="34"/>
                    <a:pt x="767" y="34"/>
                    <a:pt x="767" y="34"/>
                  </a:cubicBezTo>
                  <a:cubicBezTo>
                    <a:pt x="767" y="34"/>
                    <a:pt x="767" y="34"/>
                    <a:pt x="767" y="34"/>
                  </a:cubicBezTo>
                  <a:cubicBezTo>
                    <a:pt x="770" y="35"/>
                    <a:pt x="773" y="36"/>
                    <a:pt x="776" y="36"/>
                  </a:cubicBezTo>
                  <a:cubicBezTo>
                    <a:pt x="779" y="36"/>
                    <a:pt x="781" y="35"/>
                    <a:pt x="784" y="34"/>
                  </a:cubicBezTo>
                  <a:cubicBezTo>
                    <a:pt x="784" y="34"/>
                    <a:pt x="784" y="34"/>
                    <a:pt x="784" y="34"/>
                  </a:cubicBezTo>
                  <a:cubicBezTo>
                    <a:pt x="784" y="34"/>
                    <a:pt x="784" y="34"/>
                    <a:pt x="784" y="34"/>
                  </a:cubicBezTo>
                  <a:cubicBezTo>
                    <a:pt x="788" y="34"/>
                    <a:pt x="846" y="121"/>
                    <a:pt x="843" y="124"/>
                  </a:cubicBezTo>
                  <a:cubicBezTo>
                    <a:pt x="843" y="123"/>
                    <a:pt x="843" y="123"/>
                    <a:pt x="843" y="123"/>
                  </a:cubicBezTo>
                  <a:cubicBezTo>
                    <a:pt x="839" y="127"/>
                    <a:pt x="837" y="132"/>
                    <a:pt x="837" y="137"/>
                  </a:cubicBezTo>
                  <a:cubicBezTo>
                    <a:pt x="837" y="138"/>
                    <a:pt x="837" y="138"/>
                    <a:pt x="837" y="139"/>
                  </a:cubicBezTo>
                  <a:cubicBezTo>
                    <a:pt x="837" y="139"/>
                    <a:pt x="837" y="139"/>
                    <a:pt x="837" y="139"/>
                  </a:cubicBezTo>
                  <a:cubicBezTo>
                    <a:pt x="837" y="142"/>
                    <a:pt x="781" y="156"/>
                    <a:pt x="776" y="156"/>
                  </a:cubicBezTo>
                  <a:cubicBezTo>
                    <a:pt x="776" y="156"/>
                    <a:pt x="775" y="156"/>
                    <a:pt x="775" y="156"/>
                  </a:cubicBezTo>
                  <a:cubicBezTo>
                    <a:pt x="775" y="156"/>
                    <a:pt x="775" y="156"/>
                    <a:pt x="775" y="156"/>
                  </a:cubicBezTo>
                  <a:cubicBezTo>
                    <a:pt x="775" y="156"/>
                    <a:pt x="775" y="156"/>
                    <a:pt x="775" y="156"/>
                  </a:cubicBezTo>
                  <a:cubicBezTo>
                    <a:pt x="774" y="153"/>
                    <a:pt x="771" y="152"/>
                    <a:pt x="768" y="152"/>
                  </a:cubicBezTo>
                  <a:cubicBezTo>
                    <a:pt x="767" y="152"/>
                    <a:pt x="766" y="152"/>
                    <a:pt x="765" y="153"/>
                  </a:cubicBezTo>
                  <a:cubicBezTo>
                    <a:pt x="763" y="154"/>
                    <a:pt x="761" y="156"/>
                    <a:pt x="761" y="158"/>
                  </a:cubicBezTo>
                  <a:cubicBezTo>
                    <a:pt x="761" y="158"/>
                    <a:pt x="761" y="158"/>
                    <a:pt x="761" y="158"/>
                  </a:cubicBezTo>
                  <a:cubicBezTo>
                    <a:pt x="761" y="159"/>
                    <a:pt x="751" y="160"/>
                    <a:pt x="738" y="161"/>
                  </a:cubicBezTo>
                  <a:cubicBezTo>
                    <a:pt x="744" y="161"/>
                    <a:pt x="749" y="161"/>
                    <a:pt x="753" y="161"/>
                  </a:cubicBezTo>
                  <a:cubicBezTo>
                    <a:pt x="758" y="161"/>
                    <a:pt x="761" y="161"/>
                    <a:pt x="761" y="161"/>
                  </a:cubicBezTo>
                  <a:cubicBezTo>
                    <a:pt x="761" y="161"/>
                    <a:pt x="761" y="161"/>
                    <a:pt x="761" y="161"/>
                  </a:cubicBezTo>
                  <a:cubicBezTo>
                    <a:pt x="761" y="161"/>
                    <a:pt x="761" y="162"/>
                    <a:pt x="761" y="162"/>
                  </a:cubicBezTo>
                  <a:cubicBezTo>
                    <a:pt x="762" y="163"/>
                    <a:pt x="762" y="163"/>
                    <a:pt x="762" y="164"/>
                  </a:cubicBezTo>
                  <a:cubicBezTo>
                    <a:pt x="762" y="164"/>
                    <a:pt x="762" y="164"/>
                    <a:pt x="762" y="164"/>
                  </a:cubicBezTo>
                  <a:cubicBezTo>
                    <a:pt x="763" y="164"/>
                    <a:pt x="736" y="191"/>
                    <a:pt x="708" y="218"/>
                  </a:cubicBezTo>
                  <a:cubicBezTo>
                    <a:pt x="706" y="216"/>
                    <a:pt x="704" y="214"/>
                    <a:pt x="702" y="212"/>
                  </a:cubicBezTo>
                  <a:cubicBezTo>
                    <a:pt x="704" y="214"/>
                    <a:pt x="706" y="216"/>
                    <a:pt x="707" y="218"/>
                  </a:cubicBezTo>
                  <a:cubicBezTo>
                    <a:pt x="680" y="244"/>
                    <a:pt x="652" y="270"/>
                    <a:pt x="650" y="270"/>
                  </a:cubicBezTo>
                  <a:cubicBezTo>
                    <a:pt x="650" y="270"/>
                    <a:pt x="650" y="270"/>
                    <a:pt x="650" y="270"/>
                  </a:cubicBezTo>
                  <a:cubicBezTo>
                    <a:pt x="650" y="270"/>
                    <a:pt x="650" y="270"/>
                    <a:pt x="650" y="270"/>
                  </a:cubicBezTo>
                  <a:cubicBezTo>
                    <a:pt x="649" y="269"/>
                    <a:pt x="647" y="269"/>
                    <a:pt x="645" y="268"/>
                  </a:cubicBezTo>
                  <a:cubicBezTo>
                    <a:pt x="645" y="268"/>
                    <a:pt x="645" y="268"/>
                    <a:pt x="645" y="268"/>
                  </a:cubicBezTo>
                  <a:cubicBezTo>
                    <a:pt x="642" y="267"/>
                    <a:pt x="650" y="195"/>
                    <a:pt x="656" y="195"/>
                  </a:cubicBezTo>
                  <a:cubicBezTo>
                    <a:pt x="656" y="195"/>
                    <a:pt x="656" y="195"/>
                    <a:pt x="656" y="195"/>
                  </a:cubicBezTo>
                  <a:cubicBezTo>
                    <a:pt x="663" y="194"/>
                    <a:pt x="669" y="192"/>
                    <a:pt x="674" y="189"/>
                  </a:cubicBezTo>
                  <a:cubicBezTo>
                    <a:pt x="674" y="189"/>
                    <a:pt x="674" y="189"/>
                    <a:pt x="674" y="189"/>
                  </a:cubicBezTo>
                  <a:cubicBezTo>
                    <a:pt x="674" y="189"/>
                    <a:pt x="674" y="189"/>
                    <a:pt x="674" y="189"/>
                  </a:cubicBezTo>
                  <a:cubicBezTo>
                    <a:pt x="677" y="189"/>
                    <a:pt x="683" y="194"/>
                    <a:pt x="690" y="200"/>
                  </a:cubicBezTo>
                  <a:cubicBezTo>
                    <a:pt x="683" y="192"/>
                    <a:pt x="678" y="186"/>
                    <a:pt x="679" y="184"/>
                  </a:cubicBezTo>
                  <a:cubicBezTo>
                    <a:pt x="679" y="184"/>
                    <a:pt x="679" y="184"/>
                    <a:pt x="679" y="184"/>
                  </a:cubicBezTo>
                  <a:cubicBezTo>
                    <a:pt x="683" y="179"/>
                    <a:pt x="686" y="174"/>
                    <a:pt x="686" y="168"/>
                  </a:cubicBezTo>
                  <a:cubicBezTo>
                    <a:pt x="686" y="168"/>
                    <a:pt x="686" y="168"/>
                    <a:pt x="686" y="168"/>
                  </a:cubicBezTo>
                  <a:cubicBezTo>
                    <a:pt x="686" y="165"/>
                    <a:pt x="701" y="163"/>
                    <a:pt x="718" y="162"/>
                  </a:cubicBezTo>
                  <a:cubicBezTo>
                    <a:pt x="713" y="162"/>
                    <a:pt x="709" y="162"/>
                    <a:pt x="705" y="162"/>
                  </a:cubicBezTo>
                  <a:cubicBezTo>
                    <a:pt x="694" y="162"/>
                    <a:pt x="686" y="161"/>
                    <a:pt x="686" y="160"/>
                  </a:cubicBezTo>
                  <a:cubicBezTo>
                    <a:pt x="686" y="160"/>
                    <a:pt x="686" y="160"/>
                    <a:pt x="686" y="160"/>
                  </a:cubicBezTo>
                  <a:cubicBezTo>
                    <a:pt x="685" y="154"/>
                    <a:pt x="682" y="149"/>
                    <a:pt x="678" y="145"/>
                  </a:cubicBezTo>
                  <a:cubicBezTo>
                    <a:pt x="678" y="145"/>
                    <a:pt x="678" y="145"/>
                    <a:pt x="678" y="145"/>
                  </a:cubicBezTo>
                  <a:moveTo>
                    <a:pt x="789" y="31"/>
                  </a:moveTo>
                  <a:cubicBezTo>
                    <a:pt x="789" y="31"/>
                    <a:pt x="789" y="31"/>
                    <a:pt x="789" y="31"/>
                  </a:cubicBezTo>
                  <a:cubicBezTo>
                    <a:pt x="789" y="31"/>
                    <a:pt x="789" y="31"/>
                    <a:pt x="789" y="31"/>
                  </a:cubicBezTo>
                  <a:cubicBezTo>
                    <a:pt x="789" y="31"/>
                    <a:pt x="789" y="31"/>
                    <a:pt x="789" y="31"/>
                  </a:cubicBezTo>
                  <a:moveTo>
                    <a:pt x="776" y="0"/>
                  </a:moveTo>
                  <a:cubicBezTo>
                    <a:pt x="766" y="0"/>
                    <a:pt x="757" y="8"/>
                    <a:pt x="757" y="18"/>
                  </a:cubicBezTo>
                  <a:cubicBezTo>
                    <a:pt x="757" y="23"/>
                    <a:pt x="759" y="27"/>
                    <a:pt x="763" y="30"/>
                  </a:cubicBezTo>
                  <a:cubicBezTo>
                    <a:pt x="762" y="30"/>
                    <a:pt x="762" y="30"/>
                    <a:pt x="762" y="30"/>
                  </a:cubicBezTo>
                  <a:cubicBezTo>
                    <a:pt x="765" y="33"/>
                    <a:pt x="678" y="140"/>
                    <a:pt x="671" y="140"/>
                  </a:cubicBezTo>
                  <a:cubicBezTo>
                    <a:pt x="671" y="140"/>
                    <a:pt x="671" y="140"/>
                    <a:pt x="671" y="140"/>
                  </a:cubicBezTo>
                  <a:cubicBezTo>
                    <a:pt x="671" y="140"/>
                    <a:pt x="671" y="140"/>
                    <a:pt x="671" y="140"/>
                  </a:cubicBezTo>
                  <a:cubicBezTo>
                    <a:pt x="666" y="137"/>
                    <a:pt x="661" y="136"/>
                    <a:pt x="656" y="136"/>
                  </a:cubicBezTo>
                  <a:cubicBezTo>
                    <a:pt x="652" y="136"/>
                    <a:pt x="648" y="136"/>
                    <a:pt x="645" y="138"/>
                  </a:cubicBezTo>
                  <a:cubicBezTo>
                    <a:pt x="645" y="138"/>
                    <a:pt x="645" y="138"/>
                    <a:pt x="644" y="138"/>
                  </a:cubicBezTo>
                  <a:cubicBezTo>
                    <a:pt x="638" y="138"/>
                    <a:pt x="600" y="69"/>
                    <a:pt x="602" y="67"/>
                  </a:cubicBezTo>
                  <a:cubicBezTo>
                    <a:pt x="602" y="68"/>
                    <a:pt x="602" y="68"/>
                    <a:pt x="602" y="68"/>
                  </a:cubicBezTo>
                  <a:cubicBezTo>
                    <a:pt x="606" y="65"/>
                    <a:pt x="608" y="60"/>
                    <a:pt x="608" y="56"/>
                  </a:cubicBezTo>
                  <a:cubicBezTo>
                    <a:pt x="608" y="47"/>
                    <a:pt x="601" y="41"/>
                    <a:pt x="592" y="41"/>
                  </a:cubicBezTo>
                  <a:cubicBezTo>
                    <a:pt x="584" y="41"/>
                    <a:pt x="576" y="47"/>
                    <a:pt x="576" y="56"/>
                  </a:cubicBezTo>
                  <a:cubicBezTo>
                    <a:pt x="576" y="60"/>
                    <a:pt x="579" y="64"/>
                    <a:pt x="582" y="67"/>
                  </a:cubicBezTo>
                  <a:cubicBezTo>
                    <a:pt x="582" y="67"/>
                    <a:pt x="582" y="67"/>
                    <a:pt x="582" y="67"/>
                  </a:cubicBezTo>
                  <a:cubicBezTo>
                    <a:pt x="584" y="69"/>
                    <a:pt x="525" y="167"/>
                    <a:pt x="519" y="167"/>
                  </a:cubicBezTo>
                  <a:cubicBezTo>
                    <a:pt x="519" y="167"/>
                    <a:pt x="519" y="167"/>
                    <a:pt x="519" y="167"/>
                  </a:cubicBezTo>
                  <a:cubicBezTo>
                    <a:pt x="516" y="166"/>
                    <a:pt x="512" y="165"/>
                    <a:pt x="509" y="165"/>
                  </a:cubicBezTo>
                  <a:cubicBezTo>
                    <a:pt x="495" y="165"/>
                    <a:pt x="483" y="176"/>
                    <a:pt x="483" y="190"/>
                  </a:cubicBezTo>
                  <a:cubicBezTo>
                    <a:pt x="483" y="202"/>
                    <a:pt x="493" y="213"/>
                    <a:pt x="505" y="214"/>
                  </a:cubicBezTo>
                  <a:cubicBezTo>
                    <a:pt x="505" y="214"/>
                    <a:pt x="505" y="214"/>
                    <a:pt x="505" y="214"/>
                  </a:cubicBezTo>
                  <a:cubicBezTo>
                    <a:pt x="510" y="215"/>
                    <a:pt x="509" y="291"/>
                    <a:pt x="507" y="291"/>
                  </a:cubicBezTo>
                  <a:cubicBezTo>
                    <a:pt x="507" y="291"/>
                    <a:pt x="507" y="291"/>
                    <a:pt x="507" y="291"/>
                  </a:cubicBezTo>
                  <a:cubicBezTo>
                    <a:pt x="506" y="291"/>
                    <a:pt x="505" y="291"/>
                    <a:pt x="504" y="292"/>
                  </a:cubicBezTo>
                  <a:cubicBezTo>
                    <a:pt x="500" y="294"/>
                    <a:pt x="497" y="298"/>
                    <a:pt x="497" y="302"/>
                  </a:cubicBezTo>
                  <a:cubicBezTo>
                    <a:pt x="497" y="302"/>
                    <a:pt x="497" y="302"/>
                    <a:pt x="497" y="302"/>
                  </a:cubicBezTo>
                  <a:cubicBezTo>
                    <a:pt x="497" y="304"/>
                    <a:pt x="361" y="319"/>
                    <a:pt x="345" y="319"/>
                  </a:cubicBezTo>
                  <a:cubicBezTo>
                    <a:pt x="343" y="319"/>
                    <a:pt x="343" y="319"/>
                    <a:pt x="343" y="319"/>
                  </a:cubicBezTo>
                  <a:cubicBezTo>
                    <a:pt x="343" y="319"/>
                    <a:pt x="343" y="319"/>
                    <a:pt x="343" y="319"/>
                  </a:cubicBezTo>
                  <a:cubicBezTo>
                    <a:pt x="343" y="318"/>
                    <a:pt x="342" y="318"/>
                    <a:pt x="342" y="317"/>
                  </a:cubicBezTo>
                  <a:cubicBezTo>
                    <a:pt x="340" y="313"/>
                    <a:pt x="336" y="311"/>
                    <a:pt x="331" y="311"/>
                  </a:cubicBezTo>
                  <a:cubicBezTo>
                    <a:pt x="330" y="311"/>
                    <a:pt x="328" y="311"/>
                    <a:pt x="326" y="312"/>
                  </a:cubicBezTo>
                  <a:cubicBezTo>
                    <a:pt x="323" y="313"/>
                    <a:pt x="321" y="315"/>
                    <a:pt x="320" y="318"/>
                  </a:cubicBezTo>
                  <a:cubicBezTo>
                    <a:pt x="320" y="318"/>
                    <a:pt x="320" y="318"/>
                    <a:pt x="320" y="318"/>
                  </a:cubicBezTo>
                  <a:cubicBezTo>
                    <a:pt x="320" y="318"/>
                    <a:pt x="320" y="318"/>
                    <a:pt x="320" y="318"/>
                  </a:cubicBezTo>
                  <a:cubicBezTo>
                    <a:pt x="310" y="318"/>
                    <a:pt x="180" y="290"/>
                    <a:pt x="180" y="287"/>
                  </a:cubicBezTo>
                  <a:cubicBezTo>
                    <a:pt x="180" y="287"/>
                    <a:pt x="180" y="287"/>
                    <a:pt x="180" y="287"/>
                  </a:cubicBezTo>
                  <a:cubicBezTo>
                    <a:pt x="180" y="283"/>
                    <a:pt x="178" y="279"/>
                    <a:pt x="175" y="276"/>
                  </a:cubicBezTo>
                  <a:cubicBezTo>
                    <a:pt x="172" y="273"/>
                    <a:pt x="169" y="272"/>
                    <a:pt x="165" y="272"/>
                  </a:cubicBezTo>
                  <a:cubicBezTo>
                    <a:pt x="161" y="272"/>
                    <a:pt x="157" y="274"/>
                    <a:pt x="154" y="277"/>
                  </a:cubicBezTo>
                  <a:cubicBezTo>
                    <a:pt x="154" y="278"/>
                    <a:pt x="153" y="279"/>
                    <a:pt x="153" y="280"/>
                  </a:cubicBezTo>
                  <a:cubicBezTo>
                    <a:pt x="153" y="280"/>
                    <a:pt x="153" y="280"/>
                    <a:pt x="153" y="280"/>
                  </a:cubicBezTo>
                  <a:cubicBezTo>
                    <a:pt x="153" y="280"/>
                    <a:pt x="152" y="280"/>
                    <a:pt x="152" y="280"/>
                  </a:cubicBezTo>
                  <a:cubicBezTo>
                    <a:pt x="148" y="280"/>
                    <a:pt x="124" y="272"/>
                    <a:pt x="103" y="265"/>
                  </a:cubicBezTo>
                  <a:cubicBezTo>
                    <a:pt x="94" y="241"/>
                    <a:pt x="82" y="205"/>
                    <a:pt x="83" y="205"/>
                  </a:cubicBezTo>
                  <a:cubicBezTo>
                    <a:pt x="82" y="205"/>
                    <a:pt x="82" y="205"/>
                    <a:pt x="82" y="205"/>
                  </a:cubicBezTo>
                  <a:cubicBezTo>
                    <a:pt x="84" y="204"/>
                    <a:pt x="85" y="203"/>
                    <a:pt x="85" y="202"/>
                  </a:cubicBezTo>
                  <a:cubicBezTo>
                    <a:pt x="85" y="202"/>
                    <a:pt x="85" y="202"/>
                    <a:pt x="85" y="202"/>
                  </a:cubicBezTo>
                  <a:cubicBezTo>
                    <a:pt x="85" y="202"/>
                    <a:pt x="86" y="202"/>
                    <a:pt x="86" y="202"/>
                  </a:cubicBezTo>
                  <a:cubicBezTo>
                    <a:pt x="90" y="202"/>
                    <a:pt x="125" y="213"/>
                    <a:pt x="125" y="214"/>
                  </a:cubicBezTo>
                  <a:cubicBezTo>
                    <a:pt x="125" y="214"/>
                    <a:pt x="125" y="214"/>
                    <a:pt x="125" y="214"/>
                  </a:cubicBezTo>
                  <a:cubicBezTo>
                    <a:pt x="125" y="215"/>
                    <a:pt x="125" y="216"/>
                    <a:pt x="125" y="217"/>
                  </a:cubicBezTo>
                  <a:cubicBezTo>
                    <a:pt x="126" y="218"/>
                    <a:pt x="128" y="219"/>
                    <a:pt x="130" y="219"/>
                  </a:cubicBezTo>
                  <a:cubicBezTo>
                    <a:pt x="130" y="219"/>
                    <a:pt x="131" y="219"/>
                    <a:pt x="132" y="219"/>
                  </a:cubicBezTo>
                  <a:cubicBezTo>
                    <a:pt x="134" y="218"/>
                    <a:pt x="135" y="215"/>
                    <a:pt x="134" y="213"/>
                  </a:cubicBezTo>
                  <a:cubicBezTo>
                    <a:pt x="133" y="211"/>
                    <a:pt x="131" y="210"/>
                    <a:pt x="130" y="210"/>
                  </a:cubicBezTo>
                  <a:cubicBezTo>
                    <a:pt x="129" y="210"/>
                    <a:pt x="128" y="210"/>
                    <a:pt x="128" y="210"/>
                  </a:cubicBezTo>
                  <a:cubicBezTo>
                    <a:pt x="127" y="211"/>
                    <a:pt x="127" y="211"/>
                    <a:pt x="126" y="211"/>
                  </a:cubicBezTo>
                  <a:cubicBezTo>
                    <a:pt x="126" y="211"/>
                    <a:pt x="126" y="211"/>
                    <a:pt x="126" y="211"/>
                  </a:cubicBezTo>
                  <a:cubicBezTo>
                    <a:pt x="126" y="211"/>
                    <a:pt x="126" y="211"/>
                    <a:pt x="126" y="211"/>
                  </a:cubicBezTo>
                  <a:cubicBezTo>
                    <a:pt x="125" y="211"/>
                    <a:pt x="83" y="181"/>
                    <a:pt x="61" y="164"/>
                  </a:cubicBezTo>
                  <a:cubicBezTo>
                    <a:pt x="81" y="163"/>
                    <a:pt x="100" y="162"/>
                    <a:pt x="106" y="162"/>
                  </a:cubicBezTo>
                  <a:cubicBezTo>
                    <a:pt x="107" y="162"/>
                    <a:pt x="108" y="162"/>
                    <a:pt x="108" y="162"/>
                  </a:cubicBezTo>
                  <a:cubicBezTo>
                    <a:pt x="108" y="162"/>
                    <a:pt x="108" y="162"/>
                    <a:pt x="108" y="162"/>
                  </a:cubicBezTo>
                  <a:cubicBezTo>
                    <a:pt x="108" y="163"/>
                    <a:pt x="108" y="163"/>
                    <a:pt x="108" y="163"/>
                  </a:cubicBezTo>
                  <a:cubicBezTo>
                    <a:pt x="109" y="165"/>
                    <a:pt x="111" y="166"/>
                    <a:pt x="112" y="166"/>
                  </a:cubicBezTo>
                  <a:cubicBezTo>
                    <a:pt x="113" y="166"/>
                    <a:pt x="114" y="166"/>
                    <a:pt x="114" y="165"/>
                  </a:cubicBezTo>
                  <a:cubicBezTo>
                    <a:pt x="117" y="164"/>
                    <a:pt x="118" y="162"/>
                    <a:pt x="117" y="159"/>
                  </a:cubicBezTo>
                  <a:cubicBezTo>
                    <a:pt x="116" y="158"/>
                    <a:pt x="114" y="157"/>
                    <a:pt x="112" y="157"/>
                  </a:cubicBezTo>
                  <a:cubicBezTo>
                    <a:pt x="112" y="157"/>
                    <a:pt x="111" y="157"/>
                    <a:pt x="110" y="157"/>
                  </a:cubicBezTo>
                  <a:cubicBezTo>
                    <a:pt x="109" y="158"/>
                    <a:pt x="109" y="158"/>
                    <a:pt x="108" y="159"/>
                  </a:cubicBezTo>
                  <a:cubicBezTo>
                    <a:pt x="108" y="159"/>
                    <a:pt x="108" y="159"/>
                    <a:pt x="108" y="159"/>
                  </a:cubicBezTo>
                  <a:cubicBezTo>
                    <a:pt x="108" y="159"/>
                    <a:pt x="108" y="159"/>
                    <a:pt x="108" y="159"/>
                  </a:cubicBezTo>
                  <a:cubicBezTo>
                    <a:pt x="106" y="159"/>
                    <a:pt x="49" y="136"/>
                    <a:pt x="49" y="135"/>
                  </a:cubicBezTo>
                  <a:cubicBezTo>
                    <a:pt x="49" y="136"/>
                    <a:pt x="49" y="136"/>
                    <a:pt x="49" y="136"/>
                  </a:cubicBezTo>
                  <a:cubicBezTo>
                    <a:pt x="49" y="135"/>
                    <a:pt x="49" y="133"/>
                    <a:pt x="48" y="132"/>
                  </a:cubicBezTo>
                  <a:cubicBezTo>
                    <a:pt x="48" y="131"/>
                    <a:pt x="46" y="130"/>
                    <a:pt x="44" y="130"/>
                  </a:cubicBezTo>
                  <a:cubicBezTo>
                    <a:pt x="43" y="130"/>
                    <a:pt x="43" y="130"/>
                    <a:pt x="42" y="130"/>
                  </a:cubicBezTo>
                  <a:cubicBezTo>
                    <a:pt x="40" y="131"/>
                    <a:pt x="39" y="134"/>
                    <a:pt x="40" y="136"/>
                  </a:cubicBezTo>
                  <a:cubicBezTo>
                    <a:pt x="40" y="137"/>
                    <a:pt x="40" y="137"/>
                    <a:pt x="40" y="137"/>
                  </a:cubicBezTo>
                  <a:cubicBezTo>
                    <a:pt x="40" y="137"/>
                    <a:pt x="40" y="137"/>
                    <a:pt x="40" y="137"/>
                  </a:cubicBezTo>
                  <a:cubicBezTo>
                    <a:pt x="41" y="138"/>
                    <a:pt x="14" y="162"/>
                    <a:pt x="12" y="162"/>
                  </a:cubicBezTo>
                  <a:cubicBezTo>
                    <a:pt x="12" y="162"/>
                    <a:pt x="12" y="162"/>
                    <a:pt x="12" y="162"/>
                  </a:cubicBezTo>
                  <a:cubicBezTo>
                    <a:pt x="12" y="162"/>
                    <a:pt x="12" y="162"/>
                    <a:pt x="12" y="162"/>
                  </a:cubicBezTo>
                  <a:cubicBezTo>
                    <a:pt x="11" y="161"/>
                    <a:pt x="9" y="161"/>
                    <a:pt x="8" y="161"/>
                  </a:cubicBezTo>
                  <a:cubicBezTo>
                    <a:pt x="7" y="161"/>
                    <a:pt x="6" y="161"/>
                    <a:pt x="5" y="161"/>
                  </a:cubicBezTo>
                  <a:cubicBezTo>
                    <a:pt x="1" y="163"/>
                    <a:pt x="0" y="167"/>
                    <a:pt x="2" y="170"/>
                  </a:cubicBezTo>
                  <a:cubicBezTo>
                    <a:pt x="3" y="172"/>
                    <a:pt x="5" y="174"/>
                    <a:pt x="8" y="174"/>
                  </a:cubicBezTo>
                  <a:cubicBezTo>
                    <a:pt x="9" y="174"/>
                    <a:pt x="10" y="174"/>
                    <a:pt x="11" y="173"/>
                  </a:cubicBezTo>
                  <a:cubicBezTo>
                    <a:pt x="13" y="172"/>
                    <a:pt x="14" y="170"/>
                    <a:pt x="15" y="168"/>
                  </a:cubicBezTo>
                  <a:cubicBezTo>
                    <a:pt x="15" y="168"/>
                    <a:pt x="15" y="168"/>
                    <a:pt x="15" y="168"/>
                  </a:cubicBezTo>
                  <a:cubicBezTo>
                    <a:pt x="15" y="167"/>
                    <a:pt x="33" y="166"/>
                    <a:pt x="53" y="165"/>
                  </a:cubicBezTo>
                  <a:cubicBezTo>
                    <a:pt x="62" y="176"/>
                    <a:pt x="75" y="194"/>
                    <a:pt x="74" y="194"/>
                  </a:cubicBezTo>
                  <a:cubicBezTo>
                    <a:pt x="75" y="194"/>
                    <a:pt x="75" y="194"/>
                    <a:pt x="75" y="194"/>
                  </a:cubicBezTo>
                  <a:cubicBezTo>
                    <a:pt x="72" y="196"/>
                    <a:pt x="72" y="199"/>
                    <a:pt x="73" y="202"/>
                  </a:cubicBezTo>
                  <a:cubicBezTo>
                    <a:pt x="74" y="204"/>
                    <a:pt x="77" y="206"/>
                    <a:pt x="79" y="206"/>
                  </a:cubicBezTo>
                  <a:cubicBezTo>
                    <a:pt x="80" y="206"/>
                    <a:pt x="80" y="206"/>
                    <a:pt x="81" y="206"/>
                  </a:cubicBezTo>
                  <a:cubicBezTo>
                    <a:pt x="81" y="206"/>
                    <a:pt x="81" y="206"/>
                    <a:pt x="81" y="206"/>
                  </a:cubicBezTo>
                  <a:cubicBezTo>
                    <a:pt x="81" y="206"/>
                    <a:pt x="81" y="206"/>
                    <a:pt x="81" y="206"/>
                  </a:cubicBezTo>
                  <a:cubicBezTo>
                    <a:pt x="81" y="206"/>
                    <a:pt x="94" y="241"/>
                    <a:pt x="103" y="265"/>
                  </a:cubicBezTo>
                  <a:cubicBezTo>
                    <a:pt x="91" y="261"/>
                    <a:pt x="79" y="257"/>
                    <a:pt x="73" y="254"/>
                  </a:cubicBezTo>
                  <a:cubicBezTo>
                    <a:pt x="74" y="251"/>
                    <a:pt x="72" y="247"/>
                    <a:pt x="70" y="245"/>
                  </a:cubicBezTo>
                  <a:cubicBezTo>
                    <a:pt x="68" y="244"/>
                    <a:pt x="65" y="243"/>
                    <a:pt x="63" y="243"/>
                  </a:cubicBezTo>
                  <a:cubicBezTo>
                    <a:pt x="60" y="243"/>
                    <a:pt x="57" y="244"/>
                    <a:pt x="55" y="246"/>
                  </a:cubicBezTo>
                  <a:cubicBezTo>
                    <a:pt x="52" y="251"/>
                    <a:pt x="52" y="257"/>
                    <a:pt x="57" y="260"/>
                  </a:cubicBezTo>
                  <a:cubicBezTo>
                    <a:pt x="59" y="262"/>
                    <a:pt x="61" y="262"/>
                    <a:pt x="63" y="262"/>
                  </a:cubicBezTo>
                  <a:cubicBezTo>
                    <a:pt x="66" y="262"/>
                    <a:pt x="69" y="261"/>
                    <a:pt x="71" y="259"/>
                  </a:cubicBezTo>
                  <a:cubicBezTo>
                    <a:pt x="72" y="258"/>
                    <a:pt x="72" y="257"/>
                    <a:pt x="73" y="256"/>
                  </a:cubicBezTo>
                  <a:cubicBezTo>
                    <a:pt x="79" y="258"/>
                    <a:pt x="91" y="261"/>
                    <a:pt x="103" y="265"/>
                  </a:cubicBezTo>
                  <a:cubicBezTo>
                    <a:pt x="108" y="278"/>
                    <a:pt x="111" y="288"/>
                    <a:pt x="111" y="288"/>
                  </a:cubicBezTo>
                  <a:cubicBezTo>
                    <a:pt x="111" y="288"/>
                    <a:pt x="111" y="288"/>
                    <a:pt x="111" y="288"/>
                  </a:cubicBezTo>
                  <a:cubicBezTo>
                    <a:pt x="109" y="289"/>
                    <a:pt x="108" y="291"/>
                    <a:pt x="109" y="293"/>
                  </a:cubicBezTo>
                  <a:cubicBezTo>
                    <a:pt x="109" y="293"/>
                    <a:pt x="109" y="293"/>
                    <a:pt x="109" y="293"/>
                  </a:cubicBezTo>
                  <a:cubicBezTo>
                    <a:pt x="109" y="293"/>
                    <a:pt x="109" y="293"/>
                    <a:pt x="109" y="293"/>
                  </a:cubicBezTo>
                  <a:cubicBezTo>
                    <a:pt x="109" y="293"/>
                    <a:pt x="70" y="319"/>
                    <a:pt x="69" y="319"/>
                  </a:cubicBezTo>
                  <a:cubicBezTo>
                    <a:pt x="69" y="319"/>
                    <a:pt x="69" y="319"/>
                    <a:pt x="69" y="319"/>
                  </a:cubicBezTo>
                  <a:cubicBezTo>
                    <a:pt x="69" y="319"/>
                    <a:pt x="69" y="319"/>
                    <a:pt x="69" y="319"/>
                  </a:cubicBezTo>
                  <a:cubicBezTo>
                    <a:pt x="68" y="319"/>
                    <a:pt x="67" y="318"/>
                    <a:pt x="66" y="318"/>
                  </a:cubicBezTo>
                  <a:cubicBezTo>
                    <a:pt x="66" y="318"/>
                    <a:pt x="66" y="318"/>
                    <a:pt x="65" y="318"/>
                  </a:cubicBezTo>
                  <a:cubicBezTo>
                    <a:pt x="63" y="319"/>
                    <a:pt x="63" y="321"/>
                    <a:pt x="63" y="323"/>
                  </a:cubicBezTo>
                  <a:cubicBezTo>
                    <a:pt x="64" y="324"/>
                    <a:pt x="65" y="325"/>
                    <a:pt x="67" y="325"/>
                  </a:cubicBezTo>
                  <a:cubicBezTo>
                    <a:pt x="67" y="325"/>
                    <a:pt x="67" y="324"/>
                    <a:pt x="68" y="324"/>
                  </a:cubicBezTo>
                  <a:cubicBezTo>
                    <a:pt x="69" y="324"/>
                    <a:pt x="69" y="323"/>
                    <a:pt x="69" y="323"/>
                  </a:cubicBezTo>
                  <a:cubicBezTo>
                    <a:pt x="69" y="323"/>
                    <a:pt x="69" y="323"/>
                    <a:pt x="69" y="323"/>
                  </a:cubicBezTo>
                  <a:cubicBezTo>
                    <a:pt x="69" y="323"/>
                    <a:pt x="69" y="323"/>
                    <a:pt x="70" y="323"/>
                  </a:cubicBezTo>
                  <a:cubicBezTo>
                    <a:pt x="71" y="323"/>
                    <a:pt x="109" y="335"/>
                    <a:pt x="109" y="336"/>
                  </a:cubicBezTo>
                  <a:cubicBezTo>
                    <a:pt x="109" y="335"/>
                    <a:pt x="109" y="335"/>
                    <a:pt x="109" y="335"/>
                  </a:cubicBezTo>
                  <a:cubicBezTo>
                    <a:pt x="108" y="336"/>
                    <a:pt x="109" y="337"/>
                    <a:pt x="109" y="338"/>
                  </a:cubicBezTo>
                  <a:cubicBezTo>
                    <a:pt x="110" y="339"/>
                    <a:pt x="111" y="340"/>
                    <a:pt x="112" y="340"/>
                  </a:cubicBezTo>
                  <a:cubicBezTo>
                    <a:pt x="113" y="340"/>
                    <a:pt x="114" y="340"/>
                    <a:pt x="114" y="340"/>
                  </a:cubicBezTo>
                  <a:cubicBezTo>
                    <a:pt x="116" y="339"/>
                    <a:pt x="117" y="336"/>
                    <a:pt x="116" y="335"/>
                  </a:cubicBezTo>
                  <a:cubicBezTo>
                    <a:pt x="115" y="333"/>
                    <a:pt x="114" y="333"/>
                    <a:pt x="113" y="332"/>
                  </a:cubicBezTo>
                  <a:cubicBezTo>
                    <a:pt x="113" y="332"/>
                    <a:pt x="113" y="332"/>
                    <a:pt x="113" y="332"/>
                  </a:cubicBezTo>
                  <a:cubicBezTo>
                    <a:pt x="112" y="332"/>
                    <a:pt x="112" y="295"/>
                    <a:pt x="113" y="295"/>
                  </a:cubicBezTo>
                  <a:cubicBezTo>
                    <a:pt x="113" y="295"/>
                    <a:pt x="113" y="295"/>
                    <a:pt x="113" y="295"/>
                  </a:cubicBezTo>
                  <a:cubicBezTo>
                    <a:pt x="113" y="295"/>
                    <a:pt x="114" y="295"/>
                    <a:pt x="114" y="295"/>
                  </a:cubicBezTo>
                  <a:cubicBezTo>
                    <a:pt x="116" y="294"/>
                    <a:pt x="117" y="291"/>
                    <a:pt x="116" y="290"/>
                  </a:cubicBezTo>
                  <a:cubicBezTo>
                    <a:pt x="115" y="288"/>
                    <a:pt x="114" y="287"/>
                    <a:pt x="112" y="287"/>
                  </a:cubicBezTo>
                  <a:cubicBezTo>
                    <a:pt x="112" y="287"/>
                    <a:pt x="112" y="287"/>
                    <a:pt x="112" y="287"/>
                  </a:cubicBezTo>
                  <a:cubicBezTo>
                    <a:pt x="112" y="287"/>
                    <a:pt x="112" y="287"/>
                    <a:pt x="112" y="287"/>
                  </a:cubicBezTo>
                  <a:cubicBezTo>
                    <a:pt x="112" y="287"/>
                    <a:pt x="112" y="287"/>
                    <a:pt x="112" y="287"/>
                  </a:cubicBezTo>
                  <a:cubicBezTo>
                    <a:pt x="112" y="287"/>
                    <a:pt x="108" y="278"/>
                    <a:pt x="103" y="265"/>
                  </a:cubicBezTo>
                  <a:cubicBezTo>
                    <a:pt x="126" y="273"/>
                    <a:pt x="151" y="282"/>
                    <a:pt x="151" y="284"/>
                  </a:cubicBezTo>
                  <a:cubicBezTo>
                    <a:pt x="151" y="284"/>
                    <a:pt x="151" y="284"/>
                    <a:pt x="151" y="284"/>
                  </a:cubicBezTo>
                  <a:cubicBezTo>
                    <a:pt x="150" y="289"/>
                    <a:pt x="152" y="294"/>
                    <a:pt x="156" y="297"/>
                  </a:cubicBezTo>
                  <a:cubicBezTo>
                    <a:pt x="159" y="299"/>
                    <a:pt x="162" y="300"/>
                    <a:pt x="165" y="300"/>
                  </a:cubicBezTo>
                  <a:cubicBezTo>
                    <a:pt x="170" y="300"/>
                    <a:pt x="174" y="299"/>
                    <a:pt x="177" y="295"/>
                  </a:cubicBezTo>
                  <a:cubicBezTo>
                    <a:pt x="178" y="294"/>
                    <a:pt x="178" y="293"/>
                    <a:pt x="179" y="291"/>
                  </a:cubicBezTo>
                  <a:cubicBezTo>
                    <a:pt x="179" y="291"/>
                    <a:pt x="179" y="291"/>
                    <a:pt x="179" y="291"/>
                  </a:cubicBezTo>
                  <a:cubicBezTo>
                    <a:pt x="179" y="291"/>
                    <a:pt x="179" y="291"/>
                    <a:pt x="180" y="291"/>
                  </a:cubicBezTo>
                  <a:cubicBezTo>
                    <a:pt x="191" y="291"/>
                    <a:pt x="320" y="319"/>
                    <a:pt x="319" y="321"/>
                  </a:cubicBezTo>
                  <a:cubicBezTo>
                    <a:pt x="319" y="321"/>
                    <a:pt x="319" y="321"/>
                    <a:pt x="319" y="321"/>
                  </a:cubicBezTo>
                  <a:cubicBezTo>
                    <a:pt x="319" y="323"/>
                    <a:pt x="320" y="325"/>
                    <a:pt x="321" y="327"/>
                  </a:cubicBezTo>
                  <a:cubicBezTo>
                    <a:pt x="323" y="331"/>
                    <a:pt x="327" y="333"/>
                    <a:pt x="331" y="333"/>
                  </a:cubicBezTo>
                  <a:cubicBezTo>
                    <a:pt x="333" y="333"/>
                    <a:pt x="335" y="333"/>
                    <a:pt x="336" y="332"/>
                  </a:cubicBezTo>
                  <a:cubicBezTo>
                    <a:pt x="339" y="331"/>
                    <a:pt x="340" y="330"/>
                    <a:pt x="341" y="328"/>
                  </a:cubicBezTo>
                  <a:cubicBezTo>
                    <a:pt x="341" y="328"/>
                    <a:pt x="341" y="328"/>
                    <a:pt x="341" y="328"/>
                  </a:cubicBezTo>
                  <a:cubicBezTo>
                    <a:pt x="342" y="328"/>
                    <a:pt x="342" y="328"/>
                    <a:pt x="342" y="328"/>
                  </a:cubicBezTo>
                  <a:cubicBezTo>
                    <a:pt x="347" y="328"/>
                    <a:pt x="375" y="340"/>
                    <a:pt x="375" y="342"/>
                  </a:cubicBezTo>
                  <a:cubicBezTo>
                    <a:pt x="375" y="342"/>
                    <a:pt x="375" y="342"/>
                    <a:pt x="375" y="342"/>
                  </a:cubicBezTo>
                  <a:cubicBezTo>
                    <a:pt x="375" y="343"/>
                    <a:pt x="375" y="345"/>
                    <a:pt x="375" y="346"/>
                  </a:cubicBezTo>
                  <a:cubicBezTo>
                    <a:pt x="376" y="348"/>
                    <a:pt x="378" y="349"/>
                    <a:pt x="380" y="350"/>
                  </a:cubicBezTo>
                  <a:cubicBezTo>
                    <a:pt x="380" y="350"/>
                    <a:pt x="380" y="350"/>
                    <a:pt x="380" y="350"/>
                  </a:cubicBezTo>
                  <a:cubicBezTo>
                    <a:pt x="381" y="350"/>
                    <a:pt x="371" y="406"/>
                    <a:pt x="370" y="406"/>
                  </a:cubicBezTo>
                  <a:cubicBezTo>
                    <a:pt x="371" y="406"/>
                    <a:pt x="371" y="406"/>
                    <a:pt x="371" y="406"/>
                  </a:cubicBezTo>
                  <a:cubicBezTo>
                    <a:pt x="371" y="406"/>
                    <a:pt x="371" y="406"/>
                    <a:pt x="370" y="406"/>
                  </a:cubicBezTo>
                  <a:cubicBezTo>
                    <a:pt x="370" y="406"/>
                    <a:pt x="369" y="406"/>
                    <a:pt x="368" y="406"/>
                  </a:cubicBezTo>
                  <a:cubicBezTo>
                    <a:pt x="366" y="407"/>
                    <a:pt x="365" y="410"/>
                    <a:pt x="366" y="412"/>
                  </a:cubicBezTo>
                  <a:cubicBezTo>
                    <a:pt x="367" y="414"/>
                    <a:pt x="369" y="415"/>
                    <a:pt x="370" y="415"/>
                  </a:cubicBezTo>
                  <a:cubicBezTo>
                    <a:pt x="371" y="415"/>
                    <a:pt x="372" y="415"/>
                    <a:pt x="373" y="414"/>
                  </a:cubicBezTo>
                  <a:cubicBezTo>
                    <a:pt x="375" y="413"/>
                    <a:pt x="376" y="411"/>
                    <a:pt x="375" y="408"/>
                  </a:cubicBezTo>
                  <a:cubicBezTo>
                    <a:pt x="375" y="408"/>
                    <a:pt x="375" y="408"/>
                    <a:pt x="375" y="408"/>
                  </a:cubicBezTo>
                  <a:cubicBezTo>
                    <a:pt x="375" y="408"/>
                    <a:pt x="375" y="408"/>
                    <a:pt x="375" y="408"/>
                  </a:cubicBezTo>
                  <a:cubicBezTo>
                    <a:pt x="374" y="407"/>
                    <a:pt x="399" y="388"/>
                    <a:pt x="401" y="388"/>
                  </a:cubicBezTo>
                  <a:cubicBezTo>
                    <a:pt x="402" y="388"/>
                    <a:pt x="402" y="388"/>
                    <a:pt x="402" y="388"/>
                  </a:cubicBezTo>
                  <a:cubicBezTo>
                    <a:pt x="402" y="388"/>
                    <a:pt x="402" y="388"/>
                    <a:pt x="402" y="388"/>
                  </a:cubicBezTo>
                  <a:cubicBezTo>
                    <a:pt x="403" y="390"/>
                    <a:pt x="406" y="390"/>
                    <a:pt x="408" y="390"/>
                  </a:cubicBezTo>
                  <a:cubicBezTo>
                    <a:pt x="409" y="390"/>
                    <a:pt x="411" y="390"/>
                    <a:pt x="412" y="390"/>
                  </a:cubicBezTo>
                  <a:cubicBezTo>
                    <a:pt x="416" y="388"/>
                    <a:pt x="418" y="382"/>
                    <a:pt x="416" y="378"/>
                  </a:cubicBezTo>
                  <a:cubicBezTo>
                    <a:pt x="415" y="375"/>
                    <a:pt x="411" y="373"/>
                    <a:pt x="408" y="373"/>
                  </a:cubicBezTo>
                  <a:cubicBezTo>
                    <a:pt x="407" y="373"/>
                    <a:pt x="405" y="373"/>
                    <a:pt x="404" y="374"/>
                  </a:cubicBezTo>
                  <a:cubicBezTo>
                    <a:pt x="404" y="374"/>
                    <a:pt x="404" y="374"/>
                    <a:pt x="404" y="374"/>
                  </a:cubicBezTo>
                  <a:cubicBezTo>
                    <a:pt x="404" y="374"/>
                    <a:pt x="404" y="374"/>
                    <a:pt x="404" y="374"/>
                  </a:cubicBezTo>
                  <a:cubicBezTo>
                    <a:pt x="402" y="374"/>
                    <a:pt x="385" y="349"/>
                    <a:pt x="386" y="348"/>
                  </a:cubicBezTo>
                  <a:cubicBezTo>
                    <a:pt x="386" y="348"/>
                    <a:pt x="386" y="348"/>
                    <a:pt x="386" y="348"/>
                  </a:cubicBezTo>
                  <a:cubicBezTo>
                    <a:pt x="389" y="346"/>
                    <a:pt x="389" y="343"/>
                    <a:pt x="388" y="340"/>
                  </a:cubicBezTo>
                  <a:cubicBezTo>
                    <a:pt x="387" y="338"/>
                    <a:pt x="384" y="337"/>
                    <a:pt x="382" y="337"/>
                  </a:cubicBezTo>
                  <a:cubicBezTo>
                    <a:pt x="381" y="337"/>
                    <a:pt x="380" y="337"/>
                    <a:pt x="379" y="337"/>
                  </a:cubicBezTo>
                  <a:cubicBezTo>
                    <a:pt x="378" y="338"/>
                    <a:pt x="377" y="339"/>
                    <a:pt x="376" y="340"/>
                  </a:cubicBezTo>
                  <a:cubicBezTo>
                    <a:pt x="376" y="340"/>
                    <a:pt x="376" y="340"/>
                    <a:pt x="376" y="340"/>
                  </a:cubicBezTo>
                  <a:cubicBezTo>
                    <a:pt x="376" y="340"/>
                    <a:pt x="376" y="340"/>
                    <a:pt x="376" y="340"/>
                  </a:cubicBezTo>
                  <a:cubicBezTo>
                    <a:pt x="373" y="340"/>
                    <a:pt x="342" y="327"/>
                    <a:pt x="343" y="325"/>
                  </a:cubicBezTo>
                  <a:cubicBezTo>
                    <a:pt x="343" y="325"/>
                    <a:pt x="343" y="325"/>
                    <a:pt x="343" y="325"/>
                  </a:cubicBezTo>
                  <a:cubicBezTo>
                    <a:pt x="343" y="324"/>
                    <a:pt x="343" y="323"/>
                    <a:pt x="343" y="322"/>
                  </a:cubicBezTo>
                  <a:cubicBezTo>
                    <a:pt x="343" y="322"/>
                    <a:pt x="343" y="322"/>
                    <a:pt x="343" y="322"/>
                  </a:cubicBezTo>
                  <a:cubicBezTo>
                    <a:pt x="343" y="320"/>
                    <a:pt x="479" y="305"/>
                    <a:pt x="496" y="305"/>
                  </a:cubicBezTo>
                  <a:cubicBezTo>
                    <a:pt x="497" y="305"/>
                    <a:pt x="497" y="305"/>
                    <a:pt x="497" y="305"/>
                  </a:cubicBezTo>
                  <a:cubicBezTo>
                    <a:pt x="497" y="305"/>
                    <a:pt x="497" y="305"/>
                    <a:pt x="497" y="305"/>
                  </a:cubicBezTo>
                  <a:cubicBezTo>
                    <a:pt x="498" y="306"/>
                    <a:pt x="498" y="306"/>
                    <a:pt x="498" y="307"/>
                  </a:cubicBezTo>
                  <a:cubicBezTo>
                    <a:pt x="500" y="311"/>
                    <a:pt x="504" y="314"/>
                    <a:pt x="509" y="314"/>
                  </a:cubicBezTo>
                  <a:cubicBezTo>
                    <a:pt x="511" y="314"/>
                    <a:pt x="512" y="313"/>
                    <a:pt x="514" y="313"/>
                  </a:cubicBezTo>
                  <a:cubicBezTo>
                    <a:pt x="516" y="312"/>
                    <a:pt x="517" y="311"/>
                    <a:pt x="519" y="309"/>
                  </a:cubicBezTo>
                  <a:cubicBezTo>
                    <a:pt x="519" y="309"/>
                    <a:pt x="519" y="309"/>
                    <a:pt x="519" y="309"/>
                  </a:cubicBezTo>
                  <a:cubicBezTo>
                    <a:pt x="519" y="309"/>
                    <a:pt x="519" y="309"/>
                    <a:pt x="519" y="309"/>
                  </a:cubicBezTo>
                  <a:cubicBezTo>
                    <a:pt x="523" y="309"/>
                    <a:pt x="568" y="332"/>
                    <a:pt x="567" y="333"/>
                  </a:cubicBezTo>
                  <a:cubicBezTo>
                    <a:pt x="567" y="333"/>
                    <a:pt x="567" y="333"/>
                    <a:pt x="567" y="333"/>
                  </a:cubicBezTo>
                  <a:cubicBezTo>
                    <a:pt x="566" y="336"/>
                    <a:pt x="566" y="338"/>
                    <a:pt x="567" y="341"/>
                  </a:cubicBezTo>
                  <a:cubicBezTo>
                    <a:pt x="569" y="344"/>
                    <a:pt x="573" y="346"/>
                    <a:pt x="576" y="346"/>
                  </a:cubicBezTo>
                  <a:cubicBezTo>
                    <a:pt x="578" y="346"/>
                    <a:pt x="579" y="346"/>
                    <a:pt x="581" y="345"/>
                  </a:cubicBezTo>
                  <a:cubicBezTo>
                    <a:pt x="586" y="343"/>
                    <a:pt x="588" y="337"/>
                    <a:pt x="586" y="332"/>
                  </a:cubicBezTo>
                  <a:cubicBezTo>
                    <a:pt x="585" y="331"/>
                    <a:pt x="585" y="331"/>
                    <a:pt x="585" y="331"/>
                  </a:cubicBezTo>
                  <a:cubicBezTo>
                    <a:pt x="585" y="331"/>
                    <a:pt x="585" y="331"/>
                    <a:pt x="585" y="331"/>
                  </a:cubicBezTo>
                  <a:cubicBezTo>
                    <a:pt x="584" y="330"/>
                    <a:pt x="626" y="294"/>
                    <a:pt x="631" y="294"/>
                  </a:cubicBezTo>
                  <a:cubicBezTo>
                    <a:pt x="631" y="294"/>
                    <a:pt x="631" y="294"/>
                    <a:pt x="631" y="294"/>
                  </a:cubicBezTo>
                  <a:cubicBezTo>
                    <a:pt x="631" y="294"/>
                    <a:pt x="631" y="294"/>
                    <a:pt x="631" y="294"/>
                  </a:cubicBezTo>
                  <a:cubicBezTo>
                    <a:pt x="634" y="296"/>
                    <a:pt x="637" y="298"/>
                    <a:pt x="641" y="298"/>
                  </a:cubicBezTo>
                  <a:cubicBezTo>
                    <a:pt x="647" y="298"/>
                    <a:pt x="653" y="294"/>
                    <a:pt x="655" y="289"/>
                  </a:cubicBezTo>
                  <a:cubicBezTo>
                    <a:pt x="655" y="289"/>
                    <a:pt x="655" y="289"/>
                    <a:pt x="655" y="289"/>
                  </a:cubicBezTo>
                  <a:cubicBezTo>
                    <a:pt x="655" y="289"/>
                    <a:pt x="656" y="289"/>
                    <a:pt x="656" y="289"/>
                  </a:cubicBezTo>
                  <a:cubicBezTo>
                    <a:pt x="666" y="289"/>
                    <a:pt x="737" y="308"/>
                    <a:pt x="737" y="310"/>
                  </a:cubicBezTo>
                  <a:cubicBezTo>
                    <a:pt x="737" y="310"/>
                    <a:pt x="737" y="310"/>
                    <a:pt x="737" y="310"/>
                  </a:cubicBezTo>
                  <a:cubicBezTo>
                    <a:pt x="737" y="311"/>
                    <a:pt x="737" y="312"/>
                    <a:pt x="738" y="314"/>
                  </a:cubicBezTo>
                  <a:cubicBezTo>
                    <a:pt x="738" y="314"/>
                    <a:pt x="739" y="315"/>
                    <a:pt x="739" y="316"/>
                  </a:cubicBezTo>
                  <a:cubicBezTo>
                    <a:pt x="739" y="316"/>
                    <a:pt x="739" y="316"/>
                    <a:pt x="739" y="316"/>
                  </a:cubicBezTo>
                  <a:cubicBezTo>
                    <a:pt x="740" y="317"/>
                    <a:pt x="692" y="378"/>
                    <a:pt x="689" y="378"/>
                  </a:cubicBezTo>
                  <a:cubicBezTo>
                    <a:pt x="689" y="378"/>
                    <a:pt x="689" y="378"/>
                    <a:pt x="689" y="378"/>
                  </a:cubicBezTo>
                  <a:cubicBezTo>
                    <a:pt x="687" y="377"/>
                    <a:pt x="684" y="376"/>
                    <a:pt x="682" y="376"/>
                  </a:cubicBezTo>
                  <a:cubicBezTo>
                    <a:pt x="674" y="376"/>
                    <a:pt x="667" y="382"/>
                    <a:pt x="667" y="390"/>
                  </a:cubicBezTo>
                  <a:cubicBezTo>
                    <a:pt x="667" y="391"/>
                    <a:pt x="667" y="392"/>
                    <a:pt x="668" y="393"/>
                  </a:cubicBezTo>
                  <a:cubicBezTo>
                    <a:pt x="668" y="396"/>
                    <a:pt x="559" y="435"/>
                    <a:pt x="552" y="435"/>
                  </a:cubicBezTo>
                  <a:cubicBezTo>
                    <a:pt x="552" y="435"/>
                    <a:pt x="552" y="435"/>
                    <a:pt x="552" y="435"/>
                  </a:cubicBezTo>
                  <a:cubicBezTo>
                    <a:pt x="552" y="435"/>
                    <a:pt x="552" y="435"/>
                    <a:pt x="552" y="435"/>
                  </a:cubicBezTo>
                  <a:cubicBezTo>
                    <a:pt x="550" y="431"/>
                    <a:pt x="545" y="429"/>
                    <a:pt x="540" y="429"/>
                  </a:cubicBezTo>
                  <a:cubicBezTo>
                    <a:pt x="533" y="429"/>
                    <a:pt x="527" y="434"/>
                    <a:pt x="527" y="442"/>
                  </a:cubicBezTo>
                  <a:cubicBezTo>
                    <a:pt x="527" y="449"/>
                    <a:pt x="533" y="455"/>
                    <a:pt x="540" y="455"/>
                  </a:cubicBezTo>
                  <a:cubicBezTo>
                    <a:pt x="548" y="455"/>
                    <a:pt x="554" y="449"/>
                    <a:pt x="554" y="442"/>
                  </a:cubicBezTo>
                  <a:cubicBezTo>
                    <a:pt x="554" y="441"/>
                    <a:pt x="554" y="440"/>
                    <a:pt x="553" y="439"/>
                  </a:cubicBezTo>
                  <a:cubicBezTo>
                    <a:pt x="553" y="436"/>
                    <a:pt x="661" y="397"/>
                    <a:pt x="669" y="397"/>
                  </a:cubicBezTo>
                  <a:cubicBezTo>
                    <a:pt x="669" y="397"/>
                    <a:pt x="669" y="397"/>
                    <a:pt x="669" y="397"/>
                  </a:cubicBezTo>
                  <a:cubicBezTo>
                    <a:pt x="669" y="397"/>
                    <a:pt x="669" y="397"/>
                    <a:pt x="669" y="397"/>
                  </a:cubicBezTo>
                  <a:cubicBezTo>
                    <a:pt x="671" y="401"/>
                    <a:pt x="675" y="403"/>
                    <a:pt x="680" y="404"/>
                  </a:cubicBezTo>
                  <a:cubicBezTo>
                    <a:pt x="680" y="404"/>
                    <a:pt x="680" y="404"/>
                    <a:pt x="680" y="404"/>
                  </a:cubicBezTo>
                  <a:cubicBezTo>
                    <a:pt x="683" y="404"/>
                    <a:pt x="682" y="478"/>
                    <a:pt x="681" y="478"/>
                  </a:cubicBezTo>
                  <a:cubicBezTo>
                    <a:pt x="681" y="478"/>
                    <a:pt x="681" y="478"/>
                    <a:pt x="681" y="478"/>
                  </a:cubicBezTo>
                  <a:cubicBezTo>
                    <a:pt x="680" y="478"/>
                    <a:pt x="679" y="479"/>
                    <a:pt x="679" y="479"/>
                  </a:cubicBezTo>
                  <a:cubicBezTo>
                    <a:pt x="676" y="480"/>
                    <a:pt x="674" y="483"/>
                    <a:pt x="674" y="486"/>
                  </a:cubicBezTo>
                  <a:cubicBezTo>
                    <a:pt x="674" y="486"/>
                    <a:pt x="674" y="486"/>
                    <a:pt x="674" y="486"/>
                  </a:cubicBezTo>
                  <a:cubicBezTo>
                    <a:pt x="674" y="488"/>
                    <a:pt x="615" y="505"/>
                    <a:pt x="607" y="505"/>
                  </a:cubicBezTo>
                  <a:cubicBezTo>
                    <a:pt x="607" y="505"/>
                    <a:pt x="606" y="505"/>
                    <a:pt x="606" y="505"/>
                  </a:cubicBezTo>
                  <a:cubicBezTo>
                    <a:pt x="606" y="505"/>
                    <a:pt x="606" y="505"/>
                    <a:pt x="606" y="505"/>
                  </a:cubicBezTo>
                  <a:cubicBezTo>
                    <a:pt x="604" y="501"/>
                    <a:pt x="599" y="498"/>
                    <a:pt x="594" y="498"/>
                  </a:cubicBezTo>
                  <a:cubicBezTo>
                    <a:pt x="592" y="498"/>
                    <a:pt x="590" y="498"/>
                    <a:pt x="588" y="499"/>
                  </a:cubicBezTo>
                  <a:cubicBezTo>
                    <a:pt x="582" y="502"/>
                    <a:pt x="579" y="510"/>
                    <a:pt x="582" y="516"/>
                  </a:cubicBezTo>
                  <a:cubicBezTo>
                    <a:pt x="584" y="521"/>
                    <a:pt x="589" y="524"/>
                    <a:pt x="594" y="524"/>
                  </a:cubicBezTo>
                  <a:cubicBezTo>
                    <a:pt x="596" y="524"/>
                    <a:pt x="598" y="523"/>
                    <a:pt x="600" y="523"/>
                  </a:cubicBezTo>
                  <a:cubicBezTo>
                    <a:pt x="605" y="520"/>
                    <a:pt x="608" y="515"/>
                    <a:pt x="608" y="509"/>
                  </a:cubicBezTo>
                  <a:cubicBezTo>
                    <a:pt x="608" y="509"/>
                    <a:pt x="608" y="509"/>
                    <a:pt x="608" y="509"/>
                  </a:cubicBezTo>
                  <a:cubicBezTo>
                    <a:pt x="607" y="507"/>
                    <a:pt x="670" y="489"/>
                    <a:pt x="675" y="489"/>
                  </a:cubicBezTo>
                  <a:cubicBezTo>
                    <a:pt x="675" y="489"/>
                    <a:pt x="675" y="489"/>
                    <a:pt x="675" y="489"/>
                  </a:cubicBezTo>
                  <a:cubicBezTo>
                    <a:pt x="675" y="489"/>
                    <a:pt x="675" y="489"/>
                    <a:pt x="675" y="489"/>
                  </a:cubicBezTo>
                  <a:cubicBezTo>
                    <a:pt x="676" y="491"/>
                    <a:pt x="679" y="493"/>
                    <a:pt x="682" y="493"/>
                  </a:cubicBezTo>
                  <a:cubicBezTo>
                    <a:pt x="683" y="493"/>
                    <a:pt x="684" y="493"/>
                    <a:pt x="685" y="492"/>
                  </a:cubicBezTo>
                  <a:cubicBezTo>
                    <a:pt x="689" y="490"/>
                    <a:pt x="690" y="486"/>
                    <a:pt x="689" y="482"/>
                  </a:cubicBezTo>
                  <a:cubicBezTo>
                    <a:pt x="688" y="480"/>
                    <a:pt x="685" y="479"/>
                    <a:pt x="683" y="478"/>
                  </a:cubicBezTo>
                  <a:cubicBezTo>
                    <a:pt x="683" y="478"/>
                    <a:pt x="683" y="478"/>
                    <a:pt x="683" y="478"/>
                  </a:cubicBezTo>
                  <a:cubicBezTo>
                    <a:pt x="682" y="478"/>
                    <a:pt x="681" y="404"/>
                    <a:pt x="684" y="404"/>
                  </a:cubicBezTo>
                  <a:cubicBezTo>
                    <a:pt x="684" y="404"/>
                    <a:pt x="684" y="404"/>
                    <a:pt x="684" y="404"/>
                  </a:cubicBezTo>
                  <a:cubicBezTo>
                    <a:pt x="689" y="403"/>
                    <a:pt x="693" y="400"/>
                    <a:pt x="695" y="396"/>
                  </a:cubicBezTo>
                  <a:cubicBezTo>
                    <a:pt x="695" y="396"/>
                    <a:pt x="695" y="396"/>
                    <a:pt x="695" y="396"/>
                  </a:cubicBezTo>
                  <a:cubicBezTo>
                    <a:pt x="695" y="396"/>
                    <a:pt x="695" y="396"/>
                    <a:pt x="696" y="396"/>
                  </a:cubicBezTo>
                  <a:cubicBezTo>
                    <a:pt x="704" y="396"/>
                    <a:pt x="759" y="413"/>
                    <a:pt x="758" y="416"/>
                  </a:cubicBezTo>
                  <a:cubicBezTo>
                    <a:pt x="758" y="416"/>
                    <a:pt x="758" y="416"/>
                    <a:pt x="758" y="416"/>
                  </a:cubicBezTo>
                  <a:cubicBezTo>
                    <a:pt x="758" y="417"/>
                    <a:pt x="758" y="418"/>
                    <a:pt x="758" y="419"/>
                  </a:cubicBezTo>
                  <a:cubicBezTo>
                    <a:pt x="758" y="429"/>
                    <a:pt x="766" y="437"/>
                    <a:pt x="776" y="437"/>
                  </a:cubicBezTo>
                  <a:cubicBezTo>
                    <a:pt x="786" y="437"/>
                    <a:pt x="795" y="429"/>
                    <a:pt x="795" y="419"/>
                  </a:cubicBezTo>
                  <a:cubicBezTo>
                    <a:pt x="795" y="409"/>
                    <a:pt x="786" y="401"/>
                    <a:pt x="776" y="401"/>
                  </a:cubicBezTo>
                  <a:cubicBezTo>
                    <a:pt x="769" y="401"/>
                    <a:pt x="763" y="405"/>
                    <a:pt x="760" y="411"/>
                  </a:cubicBezTo>
                  <a:cubicBezTo>
                    <a:pt x="760" y="411"/>
                    <a:pt x="760" y="411"/>
                    <a:pt x="760" y="411"/>
                  </a:cubicBezTo>
                  <a:cubicBezTo>
                    <a:pt x="760" y="411"/>
                    <a:pt x="759" y="411"/>
                    <a:pt x="759" y="411"/>
                  </a:cubicBezTo>
                  <a:cubicBezTo>
                    <a:pt x="749" y="411"/>
                    <a:pt x="696" y="395"/>
                    <a:pt x="696" y="392"/>
                  </a:cubicBezTo>
                  <a:cubicBezTo>
                    <a:pt x="696" y="392"/>
                    <a:pt x="696" y="392"/>
                    <a:pt x="696" y="392"/>
                  </a:cubicBezTo>
                  <a:cubicBezTo>
                    <a:pt x="696" y="391"/>
                    <a:pt x="696" y="391"/>
                    <a:pt x="696" y="390"/>
                  </a:cubicBezTo>
                  <a:cubicBezTo>
                    <a:pt x="696" y="386"/>
                    <a:pt x="695" y="383"/>
                    <a:pt x="692" y="380"/>
                  </a:cubicBezTo>
                  <a:cubicBezTo>
                    <a:pt x="692" y="380"/>
                    <a:pt x="692" y="380"/>
                    <a:pt x="692" y="380"/>
                  </a:cubicBezTo>
                  <a:cubicBezTo>
                    <a:pt x="690" y="378"/>
                    <a:pt x="739" y="317"/>
                    <a:pt x="741" y="317"/>
                  </a:cubicBezTo>
                  <a:cubicBezTo>
                    <a:pt x="741" y="317"/>
                    <a:pt x="741" y="317"/>
                    <a:pt x="741" y="317"/>
                  </a:cubicBezTo>
                  <a:cubicBezTo>
                    <a:pt x="741" y="317"/>
                    <a:pt x="741" y="317"/>
                    <a:pt x="741" y="317"/>
                  </a:cubicBezTo>
                  <a:cubicBezTo>
                    <a:pt x="742" y="318"/>
                    <a:pt x="743" y="318"/>
                    <a:pt x="745" y="318"/>
                  </a:cubicBezTo>
                  <a:cubicBezTo>
                    <a:pt x="746" y="318"/>
                    <a:pt x="747" y="318"/>
                    <a:pt x="748" y="317"/>
                  </a:cubicBezTo>
                  <a:cubicBezTo>
                    <a:pt x="748" y="317"/>
                    <a:pt x="749" y="316"/>
                    <a:pt x="750" y="316"/>
                  </a:cubicBezTo>
                  <a:cubicBezTo>
                    <a:pt x="749" y="316"/>
                    <a:pt x="749" y="316"/>
                    <a:pt x="749" y="316"/>
                  </a:cubicBezTo>
                  <a:cubicBezTo>
                    <a:pt x="749" y="316"/>
                    <a:pt x="750" y="316"/>
                    <a:pt x="750" y="316"/>
                  </a:cubicBezTo>
                  <a:cubicBezTo>
                    <a:pt x="752" y="316"/>
                    <a:pt x="870" y="414"/>
                    <a:pt x="868" y="417"/>
                  </a:cubicBezTo>
                  <a:cubicBezTo>
                    <a:pt x="868" y="417"/>
                    <a:pt x="868" y="417"/>
                    <a:pt x="868" y="417"/>
                  </a:cubicBezTo>
                  <a:cubicBezTo>
                    <a:pt x="867" y="419"/>
                    <a:pt x="866" y="421"/>
                    <a:pt x="866" y="424"/>
                  </a:cubicBezTo>
                  <a:cubicBezTo>
                    <a:pt x="865" y="433"/>
                    <a:pt x="872" y="440"/>
                    <a:pt x="881" y="441"/>
                  </a:cubicBezTo>
                  <a:cubicBezTo>
                    <a:pt x="882" y="441"/>
                    <a:pt x="882" y="441"/>
                    <a:pt x="882" y="441"/>
                  </a:cubicBezTo>
                  <a:cubicBezTo>
                    <a:pt x="885" y="441"/>
                    <a:pt x="887" y="440"/>
                    <a:pt x="889" y="439"/>
                  </a:cubicBezTo>
                  <a:cubicBezTo>
                    <a:pt x="889" y="439"/>
                    <a:pt x="889" y="439"/>
                    <a:pt x="889" y="439"/>
                  </a:cubicBezTo>
                  <a:cubicBezTo>
                    <a:pt x="889" y="439"/>
                    <a:pt x="889" y="439"/>
                    <a:pt x="889" y="439"/>
                  </a:cubicBezTo>
                  <a:cubicBezTo>
                    <a:pt x="893" y="439"/>
                    <a:pt x="933" y="497"/>
                    <a:pt x="931" y="499"/>
                  </a:cubicBezTo>
                  <a:cubicBezTo>
                    <a:pt x="931" y="499"/>
                    <a:pt x="931" y="499"/>
                    <a:pt x="931" y="499"/>
                  </a:cubicBezTo>
                  <a:cubicBezTo>
                    <a:pt x="929" y="501"/>
                    <a:pt x="927" y="504"/>
                    <a:pt x="927" y="508"/>
                  </a:cubicBezTo>
                  <a:cubicBezTo>
                    <a:pt x="926" y="515"/>
                    <a:pt x="932" y="522"/>
                    <a:pt x="940" y="522"/>
                  </a:cubicBezTo>
                  <a:cubicBezTo>
                    <a:pt x="940" y="522"/>
                    <a:pt x="940" y="522"/>
                    <a:pt x="941" y="522"/>
                  </a:cubicBezTo>
                  <a:cubicBezTo>
                    <a:pt x="948" y="522"/>
                    <a:pt x="954" y="516"/>
                    <a:pt x="954" y="509"/>
                  </a:cubicBezTo>
                  <a:cubicBezTo>
                    <a:pt x="955" y="503"/>
                    <a:pt x="950" y="497"/>
                    <a:pt x="944" y="496"/>
                  </a:cubicBezTo>
                  <a:cubicBezTo>
                    <a:pt x="944" y="496"/>
                    <a:pt x="944" y="496"/>
                    <a:pt x="944" y="496"/>
                  </a:cubicBezTo>
                  <a:cubicBezTo>
                    <a:pt x="941" y="495"/>
                    <a:pt x="946" y="401"/>
                    <a:pt x="951" y="401"/>
                  </a:cubicBezTo>
                  <a:cubicBezTo>
                    <a:pt x="951" y="401"/>
                    <a:pt x="951" y="401"/>
                    <a:pt x="951" y="401"/>
                  </a:cubicBezTo>
                  <a:cubicBezTo>
                    <a:pt x="959" y="400"/>
                    <a:pt x="967" y="395"/>
                    <a:pt x="971" y="388"/>
                  </a:cubicBezTo>
                  <a:cubicBezTo>
                    <a:pt x="978" y="376"/>
                    <a:pt x="973" y="361"/>
                    <a:pt x="960" y="354"/>
                  </a:cubicBezTo>
                  <a:cubicBezTo>
                    <a:pt x="957" y="352"/>
                    <a:pt x="952" y="351"/>
                    <a:pt x="948" y="351"/>
                  </a:cubicBezTo>
                  <a:cubicBezTo>
                    <a:pt x="940" y="351"/>
                    <a:pt x="931" y="355"/>
                    <a:pt x="926" y="363"/>
                  </a:cubicBezTo>
                  <a:cubicBezTo>
                    <a:pt x="926" y="363"/>
                    <a:pt x="926" y="363"/>
                    <a:pt x="926" y="363"/>
                  </a:cubicBezTo>
                  <a:cubicBezTo>
                    <a:pt x="926" y="363"/>
                    <a:pt x="926" y="363"/>
                    <a:pt x="925" y="363"/>
                  </a:cubicBezTo>
                  <a:cubicBezTo>
                    <a:pt x="921" y="363"/>
                    <a:pt x="909" y="359"/>
                    <a:pt x="896" y="354"/>
                  </a:cubicBezTo>
                  <a:cubicBezTo>
                    <a:pt x="911" y="360"/>
                    <a:pt x="924" y="367"/>
                    <a:pt x="923" y="369"/>
                  </a:cubicBezTo>
                  <a:cubicBezTo>
                    <a:pt x="923" y="369"/>
                    <a:pt x="923" y="369"/>
                    <a:pt x="923" y="369"/>
                  </a:cubicBezTo>
                  <a:cubicBezTo>
                    <a:pt x="921" y="376"/>
                    <a:pt x="922" y="382"/>
                    <a:pt x="926" y="388"/>
                  </a:cubicBezTo>
                  <a:cubicBezTo>
                    <a:pt x="926" y="388"/>
                    <a:pt x="926" y="388"/>
                    <a:pt x="926" y="388"/>
                  </a:cubicBezTo>
                  <a:cubicBezTo>
                    <a:pt x="928" y="392"/>
                    <a:pt x="898" y="414"/>
                    <a:pt x="894" y="414"/>
                  </a:cubicBezTo>
                  <a:cubicBezTo>
                    <a:pt x="893" y="414"/>
                    <a:pt x="893" y="414"/>
                    <a:pt x="893" y="413"/>
                  </a:cubicBezTo>
                  <a:cubicBezTo>
                    <a:pt x="893" y="413"/>
                    <a:pt x="893" y="413"/>
                    <a:pt x="893" y="413"/>
                  </a:cubicBezTo>
                  <a:cubicBezTo>
                    <a:pt x="890" y="411"/>
                    <a:pt x="887" y="410"/>
                    <a:pt x="883" y="409"/>
                  </a:cubicBezTo>
                  <a:cubicBezTo>
                    <a:pt x="883" y="409"/>
                    <a:pt x="882" y="409"/>
                    <a:pt x="882" y="409"/>
                  </a:cubicBezTo>
                  <a:cubicBezTo>
                    <a:pt x="878" y="409"/>
                    <a:pt x="874" y="411"/>
                    <a:pt x="871" y="413"/>
                  </a:cubicBezTo>
                  <a:cubicBezTo>
                    <a:pt x="871" y="413"/>
                    <a:pt x="871" y="413"/>
                    <a:pt x="871" y="413"/>
                  </a:cubicBezTo>
                  <a:cubicBezTo>
                    <a:pt x="871" y="413"/>
                    <a:pt x="871" y="413"/>
                    <a:pt x="871" y="413"/>
                  </a:cubicBezTo>
                  <a:cubicBezTo>
                    <a:pt x="867" y="413"/>
                    <a:pt x="750" y="316"/>
                    <a:pt x="751" y="314"/>
                  </a:cubicBezTo>
                  <a:cubicBezTo>
                    <a:pt x="751" y="314"/>
                    <a:pt x="751" y="314"/>
                    <a:pt x="751" y="314"/>
                  </a:cubicBezTo>
                  <a:cubicBezTo>
                    <a:pt x="752" y="312"/>
                    <a:pt x="753" y="310"/>
                    <a:pt x="752" y="307"/>
                  </a:cubicBezTo>
                  <a:cubicBezTo>
                    <a:pt x="750" y="305"/>
                    <a:pt x="747" y="303"/>
                    <a:pt x="745" y="303"/>
                  </a:cubicBezTo>
                  <a:cubicBezTo>
                    <a:pt x="744" y="303"/>
                    <a:pt x="742" y="303"/>
                    <a:pt x="741" y="304"/>
                  </a:cubicBezTo>
                  <a:cubicBezTo>
                    <a:pt x="740" y="305"/>
                    <a:pt x="738" y="306"/>
                    <a:pt x="738" y="307"/>
                  </a:cubicBezTo>
                  <a:cubicBezTo>
                    <a:pt x="738" y="307"/>
                    <a:pt x="738" y="307"/>
                    <a:pt x="738" y="307"/>
                  </a:cubicBezTo>
                  <a:cubicBezTo>
                    <a:pt x="738" y="307"/>
                    <a:pt x="738" y="307"/>
                    <a:pt x="737" y="307"/>
                  </a:cubicBezTo>
                  <a:cubicBezTo>
                    <a:pt x="732" y="307"/>
                    <a:pt x="656" y="287"/>
                    <a:pt x="657" y="284"/>
                  </a:cubicBezTo>
                  <a:cubicBezTo>
                    <a:pt x="657" y="285"/>
                    <a:pt x="657" y="285"/>
                    <a:pt x="657" y="285"/>
                  </a:cubicBezTo>
                  <a:cubicBezTo>
                    <a:pt x="657" y="284"/>
                    <a:pt x="657" y="283"/>
                    <a:pt x="657" y="283"/>
                  </a:cubicBezTo>
                  <a:cubicBezTo>
                    <a:pt x="657" y="280"/>
                    <a:pt x="656" y="278"/>
                    <a:pt x="655" y="275"/>
                  </a:cubicBezTo>
                  <a:cubicBezTo>
                    <a:pt x="653" y="273"/>
                    <a:pt x="710" y="233"/>
                    <a:pt x="712" y="233"/>
                  </a:cubicBezTo>
                  <a:cubicBezTo>
                    <a:pt x="712" y="233"/>
                    <a:pt x="712" y="233"/>
                    <a:pt x="712" y="233"/>
                  </a:cubicBezTo>
                  <a:cubicBezTo>
                    <a:pt x="712" y="233"/>
                    <a:pt x="712" y="233"/>
                    <a:pt x="712" y="233"/>
                  </a:cubicBezTo>
                  <a:cubicBezTo>
                    <a:pt x="714" y="234"/>
                    <a:pt x="716" y="235"/>
                    <a:pt x="718" y="235"/>
                  </a:cubicBezTo>
                  <a:cubicBezTo>
                    <a:pt x="719" y="235"/>
                    <a:pt x="720" y="235"/>
                    <a:pt x="721" y="234"/>
                  </a:cubicBezTo>
                  <a:cubicBezTo>
                    <a:pt x="725" y="233"/>
                    <a:pt x="726" y="228"/>
                    <a:pt x="724" y="225"/>
                  </a:cubicBezTo>
                  <a:cubicBezTo>
                    <a:pt x="723" y="222"/>
                    <a:pt x="720" y="220"/>
                    <a:pt x="718" y="220"/>
                  </a:cubicBezTo>
                  <a:cubicBezTo>
                    <a:pt x="716" y="220"/>
                    <a:pt x="715" y="221"/>
                    <a:pt x="714" y="221"/>
                  </a:cubicBezTo>
                  <a:cubicBezTo>
                    <a:pt x="713" y="222"/>
                    <a:pt x="713" y="222"/>
                    <a:pt x="713" y="222"/>
                  </a:cubicBezTo>
                  <a:cubicBezTo>
                    <a:pt x="713" y="222"/>
                    <a:pt x="713" y="222"/>
                    <a:pt x="713" y="222"/>
                  </a:cubicBezTo>
                  <a:cubicBezTo>
                    <a:pt x="713" y="222"/>
                    <a:pt x="713" y="222"/>
                    <a:pt x="713" y="222"/>
                  </a:cubicBezTo>
                  <a:cubicBezTo>
                    <a:pt x="713" y="222"/>
                    <a:pt x="711" y="220"/>
                    <a:pt x="708" y="218"/>
                  </a:cubicBezTo>
                  <a:cubicBezTo>
                    <a:pt x="735" y="191"/>
                    <a:pt x="763" y="165"/>
                    <a:pt x="764" y="165"/>
                  </a:cubicBezTo>
                  <a:cubicBezTo>
                    <a:pt x="764" y="165"/>
                    <a:pt x="764" y="165"/>
                    <a:pt x="764" y="165"/>
                  </a:cubicBezTo>
                  <a:cubicBezTo>
                    <a:pt x="764" y="165"/>
                    <a:pt x="764" y="165"/>
                    <a:pt x="764" y="165"/>
                  </a:cubicBezTo>
                  <a:cubicBezTo>
                    <a:pt x="765" y="166"/>
                    <a:pt x="767" y="167"/>
                    <a:pt x="768" y="167"/>
                  </a:cubicBezTo>
                  <a:cubicBezTo>
                    <a:pt x="769" y="167"/>
                    <a:pt x="769" y="167"/>
                    <a:pt x="770" y="166"/>
                  </a:cubicBezTo>
                  <a:cubicBezTo>
                    <a:pt x="770" y="167"/>
                    <a:pt x="770" y="167"/>
                    <a:pt x="770" y="167"/>
                  </a:cubicBezTo>
                  <a:cubicBezTo>
                    <a:pt x="770" y="167"/>
                    <a:pt x="770" y="167"/>
                    <a:pt x="770" y="167"/>
                  </a:cubicBezTo>
                  <a:cubicBezTo>
                    <a:pt x="772" y="167"/>
                    <a:pt x="805" y="248"/>
                    <a:pt x="802" y="250"/>
                  </a:cubicBezTo>
                  <a:cubicBezTo>
                    <a:pt x="802" y="250"/>
                    <a:pt x="802" y="250"/>
                    <a:pt x="802" y="250"/>
                  </a:cubicBezTo>
                  <a:cubicBezTo>
                    <a:pt x="793" y="254"/>
                    <a:pt x="790" y="265"/>
                    <a:pt x="794" y="273"/>
                  </a:cubicBezTo>
                  <a:cubicBezTo>
                    <a:pt x="797" y="280"/>
                    <a:pt x="804" y="284"/>
                    <a:pt x="811" y="284"/>
                  </a:cubicBezTo>
                  <a:cubicBezTo>
                    <a:pt x="814" y="284"/>
                    <a:pt x="817" y="283"/>
                    <a:pt x="819" y="282"/>
                  </a:cubicBezTo>
                  <a:cubicBezTo>
                    <a:pt x="829" y="278"/>
                    <a:pt x="833" y="267"/>
                    <a:pt x="828" y="258"/>
                  </a:cubicBezTo>
                  <a:cubicBezTo>
                    <a:pt x="827" y="255"/>
                    <a:pt x="825" y="253"/>
                    <a:pt x="822" y="251"/>
                  </a:cubicBezTo>
                  <a:cubicBezTo>
                    <a:pt x="823" y="251"/>
                    <a:pt x="823" y="251"/>
                    <a:pt x="823" y="251"/>
                  </a:cubicBezTo>
                  <a:cubicBezTo>
                    <a:pt x="820" y="249"/>
                    <a:pt x="844" y="209"/>
                    <a:pt x="845" y="209"/>
                  </a:cubicBezTo>
                  <a:cubicBezTo>
                    <a:pt x="845" y="209"/>
                    <a:pt x="845" y="209"/>
                    <a:pt x="845" y="209"/>
                  </a:cubicBezTo>
                  <a:cubicBezTo>
                    <a:pt x="845" y="209"/>
                    <a:pt x="845" y="209"/>
                    <a:pt x="845" y="209"/>
                  </a:cubicBezTo>
                  <a:cubicBezTo>
                    <a:pt x="846" y="209"/>
                    <a:pt x="847" y="209"/>
                    <a:pt x="848" y="209"/>
                  </a:cubicBezTo>
                  <a:cubicBezTo>
                    <a:pt x="849" y="209"/>
                    <a:pt x="850" y="209"/>
                    <a:pt x="851" y="208"/>
                  </a:cubicBezTo>
                  <a:cubicBezTo>
                    <a:pt x="855" y="207"/>
                    <a:pt x="857" y="202"/>
                    <a:pt x="855" y="199"/>
                  </a:cubicBezTo>
                  <a:cubicBezTo>
                    <a:pt x="854" y="197"/>
                    <a:pt x="852" y="195"/>
                    <a:pt x="850" y="195"/>
                  </a:cubicBezTo>
                  <a:cubicBezTo>
                    <a:pt x="850" y="195"/>
                    <a:pt x="850" y="195"/>
                    <a:pt x="850" y="195"/>
                  </a:cubicBezTo>
                  <a:cubicBezTo>
                    <a:pt x="849" y="194"/>
                    <a:pt x="852" y="155"/>
                    <a:pt x="856" y="155"/>
                  </a:cubicBezTo>
                  <a:cubicBezTo>
                    <a:pt x="856" y="155"/>
                    <a:pt x="856" y="155"/>
                    <a:pt x="856" y="155"/>
                  </a:cubicBezTo>
                  <a:cubicBezTo>
                    <a:pt x="859" y="155"/>
                    <a:pt x="862" y="154"/>
                    <a:pt x="864" y="153"/>
                  </a:cubicBezTo>
                  <a:cubicBezTo>
                    <a:pt x="864" y="153"/>
                    <a:pt x="864" y="153"/>
                    <a:pt x="864" y="153"/>
                  </a:cubicBezTo>
                  <a:cubicBezTo>
                    <a:pt x="864" y="153"/>
                    <a:pt x="864" y="153"/>
                    <a:pt x="864" y="153"/>
                  </a:cubicBezTo>
                  <a:cubicBezTo>
                    <a:pt x="869" y="153"/>
                    <a:pt x="917" y="215"/>
                    <a:pt x="914" y="217"/>
                  </a:cubicBezTo>
                  <a:cubicBezTo>
                    <a:pt x="915" y="217"/>
                    <a:pt x="915" y="217"/>
                    <a:pt x="915" y="217"/>
                  </a:cubicBezTo>
                  <a:cubicBezTo>
                    <a:pt x="910" y="222"/>
                    <a:pt x="909" y="228"/>
                    <a:pt x="912" y="234"/>
                  </a:cubicBezTo>
                  <a:cubicBezTo>
                    <a:pt x="913" y="236"/>
                    <a:pt x="914" y="238"/>
                    <a:pt x="916" y="239"/>
                  </a:cubicBezTo>
                  <a:cubicBezTo>
                    <a:pt x="915" y="239"/>
                    <a:pt x="915" y="239"/>
                    <a:pt x="915" y="239"/>
                  </a:cubicBezTo>
                  <a:cubicBezTo>
                    <a:pt x="918" y="241"/>
                    <a:pt x="860" y="330"/>
                    <a:pt x="858" y="330"/>
                  </a:cubicBezTo>
                  <a:cubicBezTo>
                    <a:pt x="858" y="330"/>
                    <a:pt x="858" y="330"/>
                    <a:pt x="858" y="330"/>
                  </a:cubicBezTo>
                  <a:cubicBezTo>
                    <a:pt x="858" y="330"/>
                    <a:pt x="858" y="330"/>
                    <a:pt x="858" y="330"/>
                  </a:cubicBezTo>
                  <a:cubicBezTo>
                    <a:pt x="857" y="329"/>
                    <a:pt x="856" y="329"/>
                    <a:pt x="855" y="329"/>
                  </a:cubicBezTo>
                  <a:cubicBezTo>
                    <a:pt x="854" y="329"/>
                    <a:pt x="853" y="329"/>
                    <a:pt x="852" y="330"/>
                  </a:cubicBezTo>
                  <a:cubicBezTo>
                    <a:pt x="848" y="332"/>
                    <a:pt x="847" y="336"/>
                    <a:pt x="848" y="340"/>
                  </a:cubicBezTo>
                  <a:cubicBezTo>
                    <a:pt x="850" y="342"/>
                    <a:pt x="852" y="344"/>
                    <a:pt x="855" y="344"/>
                  </a:cubicBezTo>
                  <a:cubicBezTo>
                    <a:pt x="856" y="344"/>
                    <a:pt x="858" y="344"/>
                    <a:pt x="859" y="343"/>
                  </a:cubicBezTo>
                  <a:cubicBezTo>
                    <a:pt x="860" y="343"/>
                    <a:pt x="861" y="342"/>
                    <a:pt x="862" y="341"/>
                  </a:cubicBezTo>
                  <a:cubicBezTo>
                    <a:pt x="862" y="341"/>
                    <a:pt x="862" y="341"/>
                    <a:pt x="862" y="341"/>
                  </a:cubicBezTo>
                  <a:cubicBezTo>
                    <a:pt x="862" y="341"/>
                    <a:pt x="862" y="341"/>
                    <a:pt x="862" y="341"/>
                  </a:cubicBezTo>
                  <a:cubicBezTo>
                    <a:pt x="863" y="341"/>
                    <a:pt x="873" y="344"/>
                    <a:pt x="884" y="349"/>
                  </a:cubicBezTo>
                  <a:cubicBezTo>
                    <a:pt x="872" y="344"/>
                    <a:pt x="863" y="339"/>
                    <a:pt x="863" y="338"/>
                  </a:cubicBezTo>
                  <a:cubicBezTo>
                    <a:pt x="863" y="338"/>
                    <a:pt x="863" y="338"/>
                    <a:pt x="863" y="338"/>
                  </a:cubicBezTo>
                  <a:cubicBezTo>
                    <a:pt x="863" y="337"/>
                    <a:pt x="863" y="335"/>
                    <a:pt x="862" y="333"/>
                  </a:cubicBezTo>
                  <a:cubicBezTo>
                    <a:pt x="862" y="332"/>
                    <a:pt x="861" y="332"/>
                    <a:pt x="860" y="331"/>
                  </a:cubicBezTo>
                  <a:cubicBezTo>
                    <a:pt x="860" y="331"/>
                    <a:pt x="860" y="331"/>
                    <a:pt x="860" y="331"/>
                  </a:cubicBezTo>
                  <a:cubicBezTo>
                    <a:pt x="859" y="330"/>
                    <a:pt x="916" y="241"/>
                    <a:pt x="919" y="241"/>
                  </a:cubicBezTo>
                  <a:cubicBezTo>
                    <a:pt x="919" y="241"/>
                    <a:pt x="919" y="241"/>
                    <a:pt x="919" y="241"/>
                  </a:cubicBezTo>
                  <a:cubicBezTo>
                    <a:pt x="919" y="241"/>
                    <a:pt x="919" y="241"/>
                    <a:pt x="919" y="241"/>
                  </a:cubicBezTo>
                  <a:cubicBezTo>
                    <a:pt x="921" y="242"/>
                    <a:pt x="923" y="242"/>
                    <a:pt x="925" y="242"/>
                  </a:cubicBezTo>
                  <a:cubicBezTo>
                    <a:pt x="928" y="242"/>
                    <a:pt x="930" y="242"/>
                    <a:pt x="932" y="241"/>
                  </a:cubicBezTo>
                  <a:cubicBezTo>
                    <a:pt x="939" y="238"/>
                    <a:pt x="942" y="230"/>
                    <a:pt x="940" y="223"/>
                  </a:cubicBezTo>
                  <a:cubicBezTo>
                    <a:pt x="940" y="223"/>
                    <a:pt x="940" y="223"/>
                    <a:pt x="940" y="223"/>
                  </a:cubicBezTo>
                  <a:cubicBezTo>
                    <a:pt x="939" y="220"/>
                    <a:pt x="990" y="192"/>
                    <a:pt x="999" y="192"/>
                  </a:cubicBezTo>
                  <a:cubicBezTo>
                    <a:pt x="999" y="192"/>
                    <a:pt x="999" y="192"/>
                    <a:pt x="1000" y="192"/>
                  </a:cubicBezTo>
                  <a:cubicBezTo>
                    <a:pt x="1000" y="192"/>
                    <a:pt x="1000" y="192"/>
                    <a:pt x="1000" y="192"/>
                  </a:cubicBezTo>
                  <a:cubicBezTo>
                    <a:pt x="1003" y="196"/>
                    <a:pt x="1008" y="200"/>
                    <a:pt x="1013" y="201"/>
                  </a:cubicBezTo>
                  <a:cubicBezTo>
                    <a:pt x="1013" y="201"/>
                    <a:pt x="1013" y="201"/>
                    <a:pt x="1013" y="201"/>
                  </a:cubicBezTo>
                  <a:cubicBezTo>
                    <a:pt x="1018" y="202"/>
                    <a:pt x="1008" y="276"/>
                    <a:pt x="1004" y="276"/>
                  </a:cubicBezTo>
                  <a:cubicBezTo>
                    <a:pt x="1004" y="276"/>
                    <a:pt x="1004" y="276"/>
                    <a:pt x="1004" y="276"/>
                  </a:cubicBezTo>
                  <a:cubicBezTo>
                    <a:pt x="993" y="277"/>
                    <a:pt x="984" y="286"/>
                    <a:pt x="984" y="297"/>
                  </a:cubicBezTo>
                  <a:cubicBezTo>
                    <a:pt x="984" y="308"/>
                    <a:pt x="994" y="317"/>
                    <a:pt x="1005" y="317"/>
                  </a:cubicBezTo>
                  <a:cubicBezTo>
                    <a:pt x="1017" y="317"/>
                    <a:pt x="1026" y="308"/>
                    <a:pt x="1026" y="297"/>
                  </a:cubicBezTo>
                  <a:cubicBezTo>
                    <a:pt x="1026" y="295"/>
                    <a:pt x="1026" y="293"/>
                    <a:pt x="1025" y="291"/>
                  </a:cubicBezTo>
                  <a:cubicBezTo>
                    <a:pt x="1025" y="291"/>
                    <a:pt x="1025" y="291"/>
                    <a:pt x="1025" y="291"/>
                  </a:cubicBezTo>
                  <a:cubicBezTo>
                    <a:pt x="1024" y="287"/>
                    <a:pt x="1073" y="268"/>
                    <a:pt x="1076" y="268"/>
                  </a:cubicBezTo>
                  <a:cubicBezTo>
                    <a:pt x="1076" y="268"/>
                    <a:pt x="1076" y="268"/>
                    <a:pt x="1076" y="268"/>
                  </a:cubicBezTo>
                  <a:cubicBezTo>
                    <a:pt x="1076" y="268"/>
                    <a:pt x="1076" y="268"/>
                    <a:pt x="1076" y="268"/>
                  </a:cubicBezTo>
                  <a:cubicBezTo>
                    <a:pt x="1078" y="270"/>
                    <a:pt x="1080" y="271"/>
                    <a:pt x="1083" y="271"/>
                  </a:cubicBezTo>
                  <a:cubicBezTo>
                    <a:pt x="1083" y="271"/>
                    <a:pt x="1084" y="271"/>
                    <a:pt x="1085" y="271"/>
                  </a:cubicBezTo>
                  <a:cubicBezTo>
                    <a:pt x="1085" y="271"/>
                    <a:pt x="1085" y="271"/>
                    <a:pt x="1085" y="271"/>
                  </a:cubicBezTo>
                  <a:cubicBezTo>
                    <a:pt x="1085" y="271"/>
                    <a:pt x="1085" y="271"/>
                    <a:pt x="1085" y="271"/>
                  </a:cubicBezTo>
                  <a:cubicBezTo>
                    <a:pt x="1085" y="271"/>
                    <a:pt x="1090" y="279"/>
                    <a:pt x="1095" y="290"/>
                  </a:cubicBezTo>
                  <a:cubicBezTo>
                    <a:pt x="1090" y="279"/>
                    <a:pt x="1087" y="270"/>
                    <a:pt x="1087" y="270"/>
                  </a:cubicBezTo>
                  <a:cubicBezTo>
                    <a:pt x="1087" y="270"/>
                    <a:pt x="1087" y="270"/>
                    <a:pt x="1087" y="270"/>
                  </a:cubicBezTo>
                  <a:cubicBezTo>
                    <a:pt x="1090" y="268"/>
                    <a:pt x="1091" y="264"/>
                    <a:pt x="1090" y="261"/>
                  </a:cubicBezTo>
                  <a:cubicBezTo>
                    <a:pt x="1088" y="258"/>
                    <a:pt x="1086" y="257"/>
                    <a:pt x="1083" y="257"/>
                  </a:cubicBezTo>
                  <a:cubicBezTo>
                    <a:pt x="1082" y="257"/>
                    <a:pt x="1080" y="257"/>
                    <a:pt x="1079" y="257"/>
                  </a:cubicBezTo>
                  <a:cubicBezTo>
                    <a:pt x="1076" y="259"/>
                    <a:pt x="1074" y="262"/>
                    <a:pt x="1075" y="266"/>
                  </a:cubicBezTo>
                  <a:cubicBezTo>
                    <a:pt x="1075" y="266"/>
                    <a:pt x="1075" y="266"/>
                    <a:pt x="1075" y="266"/>
                  </a:cubicBezTo>
                  <a:cubicBezTo>
                    <a:pt x="1076" y="267"/>
                    <a:pt x="1032" y="286"/>
                    <a:pt x="1024" y="286"/>
                  </a:cubicBezTo>
                  <a:cubicBezTo>
                    <a:pt x="1024" y="286"/>
                    <a:pt x="1023" y="286"/>
                    <a:pt x="1023" y="286"/>
                  </a:cubicBezTo>
                  <a:cubicBezTo>
                    <a:pt x="1023" y="286"/>
                    <a:pt x="1023" y="286"/>
                    <a:pt x="1023" y="286"/>
                  </a:cubicBezTo>
                  <a:cubicBezTo>
                    <a:pt x="1020" y="282"/>
                    <a:pt x="1016" y="279"/>
                    <a:pt x="1011" y="277"/>
                  </a:cubicBezTo>
                  <a:cubicBezTo>
                    <a:pt x="1011" y="277"/>
                    <a:pt x="1011" y="277"/>
                    <a:pt x="1011" y="277"/>
                  </a:cubicBezTo>
                  <a:cubicBezTo>
                    <a:pt x="1007" y="276"/>
                    <a:pt x="1016" y="202"/>
                    <a:pt x="1021" y="202"/>
                  </a:cubicBezTo>
                  <a:cubicBezTo>
                    <a:pt x="1021" y="202"/>
                    <a:pt x="1021" y="202"/>
                    <a:pt x="1021" y="202"/>
                  </a:cubicBezTo>
                  <a:cubicBezTo>
                    <a:pt x="1031" y="201"/>
                    <a:pt x="1040" y="195"/>
                    <a:pt x="1044" y="186"/>
                  </a:cubicBezTo>
                  <a:cubicBezTo>
                    <a:pt x="1044" y="184"/>
                    <a:pt x="1046" y="184"/>
                    <a:pt x="1048" y="184"/>
                  </a:cubicBezTo>
                  <a:cubicBezTo>
                    <a:pt x="1048" y="184"/>
                    <a:pt x="1048" y="184"/>
                    <a:pt x="1048" y="184"/>
                  </a:cubicBezTo>
                  <a:cubicBezTo>
                    <a:pt x="1046" y="183"/>
                    <a:pt x="1045" y="182"/>
                    <a:pt x="1045" y="180"/>
                  </a:cubicBezTo>
                  <a:cubicBezTo>
                    <a:pt x="1045" y="180"/>
                    <a:pt x="1045" y="180"/>
                    <a:pt x="1045" y="180"/>
                  </a:cubicBezTo>
                  <a:cubicBezTo>
                    <a:pt x="1045" y="179"/>
                    <a:pt x="1045" y="178"/>
                    <a:pt x="1045" y="178"/>
                  </a:cubicBezTo>
                  <a:cubicBezTo>
                    <a:pt x="1045" y="172"/>
                    <a:pt x="1043" y="167"/>
                    <a:pt x="1040" y="163"/>
                  </a:cubicBezTo>
                  <a:cubicBezTo>
                    <a:pt x="1040" y="163"/>
                    <a:pt x="1040" y="163"/>
                    <a:pt x="1040" y="163"/>
                  </a:cubicBezTo>
                  <a:cubicBezTo>
                    <a:pt x="1037" y="159"/>
                    <a:pt x="1115" y="80"/>
                    <a:pt x="1121" y="78"/>
                  </a:cubicBezTo>
                  <a:cubicBezTo>
                    <a:pt x="1120" y="84"/>
                    <a:pt x="1068" y="180"/>
                    <a:pt x="1067" y="180"/>
                  </a:cubicBezTo>
                  <a:cubicBezTo>
                    <a:pt x="1067" y="180"/>
                    <a:pt x="1067" y="180"/>
                    <a:pt x="1067" y="180"/>
                  </a:cubicBezTo>
                  <a:cubicBezTo>
                    <a:pt x="1067" y="180"/>
                    <a:pt x="1067" y="180"/>
                    <a:pt x="1067" y="180"/>
                  </a:cubicBezTo>
                  <a:cubicBezTo>
                    <a:pt x="1066" y="180"/>
                    <a:pt x="1065" y="180"/>
                    <a:pt x="1064" y="180"/>
                  </a:cubicBezTo>
                  <a:cubicBezTo>
                    <a:pt x="1061" y="180"/>
                    <a:pt x="1059" y="182"/>
                    <a:pt x="1058" y="184"/>
                  </a:cubicBezTo>
                  <a:cubicBezTo>
                    <a:pt x="1058" y="184"/>
                    <a:pt x="1058" y="184"/>
                    <a:pt x="1058" y="184"/>
                  </a:cubicBezTo>
                  <a:cubicBezTo>
                    <a:pt x="1057" y="185"/>
                    <a:pt x="1056" y="185"/>
                    <a:pt x="1055" y="185"/>
                  </a:cubicBezTo>
                  <a:cubicBezTo>
                    <a:pt x="1054" y="185"/>
                    <a:pt x="1054" y="185"/>
                    <a:pt x="1053" y="185"/>
                  </a:cubicBezTo>
                  <a:cubicBezTo>
                    <a:pt x="1055" y="186"/>
                    <a:pt x="1057" y="187"/>
                    <a:pt x="1057" y="187"/>
                  </a:cubicBezTo>
                  <a:cubicBezTo>
                    <a:pt x="1057" y="187"/>
                    <a:pt x="1057" y="187"/>
                    <a:pt x="1057" y="187"/>
                  </a:cubicBezTo>
                  <a:cubicBezTo>
                    <a:pt x="1057" y="187"/>
                    <a:pt x="1057" y="187"/>
                    <a:pt x="1057" y="187"/>
                  </a:cubicBezTo>
                  <a:cubicBezTo>
                    <a:pt x="1057" y="191"/>
                    <a:pt x="1060" y="195"/>
                    <a:pt x="1064" y="195"/>
                  </a:cubicBezTo>
                  <a:cubicBezTo>
                    <a:pt x="1066" y="195"/>
                    <a:pt x="1067" y="194"/>
                    <a:pt x="1069" y="194"/>
                  </a:cubicBezTo>
                  <a:cubicBezTo>
                    <a:pt x="1069" y="194"/>
                    <a:pt x="1069" y="194"/>
                    <a:pt x="1069" y="194"/>
                  </a:cubicBezTo>
                  <a:cubicBezTo>
                    <a:pt x="1069" y="194"/>
                    <a:pt x="1069" y="194"/>
                    <a:pt x="1069" y="194"/>
                  </a:cubicBezTo>
                  <a:cubicBezTo>
                    <a:pt x="1070" y="194"/>
                    <a:pt x="1093" y="219"/>
                    <a:pt x="1093" y="220"/>
                  </a:cubicBezTo>
                  <a:cubicBezTo>
                    <a:pt x="1093" y="220"/>
                    <a:pt x="1093" y="220"/>
                    <a:pt x="1093" y="220"/>
                  </a:cubicBezTo>
                  <a:cubicBezTo>
                    <a:pt x="1092" y="221"/>
                    <a:pt x="1091" y="222"/>
                    <a:pt x="1092" y="224"/>
                  </a:cubicBezTo>
                  <a:cubicBezTo>
                    <a:pt x="1093" y="225"/>
                    <a:pt x="1094" y="226"/>
                    <a:pt x="1096" y="226"/>
                  </a:cubicBezTo>
                  <a:cubicBezTo>
                    <a:pt x="1096" y="226"/>
                    <a:pt x="1097" y="226"/>
                    <a:pt x="1097" y="226"/>
                  </a:cubicBezTo>
                  <a:cubicBezTo>
                    <a:pt x="1099" y="225"/>
                    <a:pt x="1100" y="222"/>
                    <a:pt x="1099" y="221"/>
                  </a:cubicBezTo>
                  <a:cubicBezTo>
                    <a:pt x="1099" y="220"/>
                    <a:pt x="1099" y="220"/>
                    <a:pt x="1099" y="220"/>
                  </a:cubicBezTo>
                  <a:cubicBezTo>
                    <a:pt x="1099" y="220"/>
                    <a:pt x="1099" y="220"/>
                    <a:pt x="1099" y="220"/>
                  </a:cubicBezTo>
                  <a:cubicBezTo>
                    <a:pt x="1099" y="220"/>
                    <a:pt x="1130" y="196"/>
                    <a:pt x="1132" y="196"/>
                  </a:cubicBezTo>
                  <a:cubicBezTo>
                    <a:pt x="1132" y="196"/>
                    <a:pt x="1132" y="196"/>
                    <a:pt x="1132" y="196"/>
                  </a:cubicBezTo>
                  <a:cubicBezTo>
                    <a:pt x="1132" y="196"/>
                    <a:pt x="1132" y="196"/>
                    <a:pt x="1132" y="196"/>
                  </a:cubicBezTo>
                  <a:cubicBezTo>
                    <a:pt x="1133" y="197"/>
                    <a:pt x="1134" y="197"/>
                    <a:pt x="1136" y="197"/>
                  </a:cubicBezTo>
                  <a:cubicBezTo>
                    <a:pt x="1136" y="197"/>
                    <a:pt x="1137" y="197"/>
                    <a:pt x="1138" y="197"/>
                  </a:cubicBezTo>
                  <a:cubicBezTo>
                    <a:pt x="1138" y="197"/>
                    <a:pt x="1138" y="197"/>
                    <a:pt x="1138" y="197"/>
                  </a:cubicBezTo>
                  <a:cubicBezTo>
                    <a:pt x="1138" y="197"/>
                    <a:pt x="1138" y="197"/>
                    <a:pt x="1138" y="197"/>
                  </a:cubicBezTo>
                  <a:cubicBezTo>
                    <a:pt x="1139" y="197"/>
                    <a:pt x="1171" y="245"/>
                    <a:pt x="1169" y="247"/>
                  </a:cubicBezTo>
                  <a:cubicBezTo>
                    <a:pt x="1169" y="247"/>
                    <a:pt x="1169" y="247"/>
                    <a:pt x="1169" y="247"/>
                  </a:cubicBezTo>
                  <a:cubicBezTo>
                    <a:pt x="1164" y="251"/>
                    <a:pt x="1162" y="258"/>
                    <a:pt x="1165" y="264"/>
                  </a:cubicBezTo>
                  <a:cubicBezTo>
                    <a:pt x="1168" y="269"/>
                    <a:pt x="1173" y="272"/>
                    <a:pt x="1179" y="272"/>
                  </a:cubicBezTo>
                  <a:cubicBezTo>
                    <a:pt x="1181" y="272"/>
                    <a:pt x="1183" y="272"/>
                    <a:pt x="1185" y="271"/>
                  </a:cubicBezTo>
                  <a:cubicBezTo>
                    <a:pt x="1193" y="268"/>
                    <a:pt x="1196" y="259"/>
                    <a:pt x="1192" y="252"/>
                  </a:cubicBezTo>
                  <a:cubicBezTo>
                    <a:pt x="1190" y="246"/>
                    <a:pt x="1184" y="243"/>
                    <a:pt x="1179" y="243"/>
                  </a:cubicBezTo>
                  <a:cubicBezTo>
                    <a:pt x="1177" y="243"/>
                    <a:pt x="1175" y="244"/>
                    <a:pt x="1173" y="245"/>
                  </a:cubicBezTo>
                  <a:cubicBezTo>
                    <a:pt x="1173" y="245"/>
                    <a:pt x="1173" y="245"/>
                    <a:pt x="1173" y="245"/>
                  </a:cubicBezTo>
                  <a:cubicBezTo>
                    <a:pt x="1173" y="245"/>
                    <a:pt x="1173" y="245"/>
                    <a:pt x="1173" y="245"/>
                  </a:cubicBezTo>
                  <a:cubicBezTo>
                    <a:pt x="1169" y="245"/>
                    <a:pt x="1138" y="197"/>
                    <a:pt x="1139" y="196"/>
                  </a:cubicBezTo>
                  <a:cubicBezTo>
                    <a:pt x="1139" y="196"/>
                    <a:pt x="1139" y="196"/>
                    <a:pt x="1139" y="196"/>
                  </a:cubicBezTo>
                  <a:cubicBezTo>
                    <a:pt x="1140" y="195"/>
                    <a:pt x="1141" y="194"/>
                    <a:pt x="1141" y="192"/>
                  </a:cubicBezTo>
                  <a:cubicBezTo>
                    <a:pt x="1141" y="190"/>
                    <a:pt x="1139" y="187"/>
                    <a:pt x="1136" y="187"/>
                  </a:cubicBezTo>
                  <a:cubicBezTo>
                    <a:pt x="1133" y="187"/>
                    <a:pt x="1131" y="189"/>
                    <a:pt x="1131" y="191"/>
                  </a:cubicBezTo>
                  <a:cubicBezTo>
                    <a:pt x="1131" y="191"/>
                    <a:pt x="1131" y="191"/>
                    <a:pt x="1131" y="191"/>
                  </a:cubicBezTo>
                  <a:cubicBezTo>
                    <a:pt x="1131" y="191"/>
                    <a:pt x="1130" y="191"/>
                    <a:pt x="1129" y="191"/>
                  </a:cubicBezTo>
                  <a:cubicBezTo>
                    <a:pt x="1119" y="191"/>
                    <a:pt x="1072" y="188"/>
                    <a:pt x="1072" y="187"/>
                  </a:cubicBezTo>
                  <a:cubicBezTo>
                    <a:pt x="1072" y="187"/>
                    <a:pt x="1072" y="187"/>
                    <a:pt x="1072" y="187"/>
                  </a:cubicBezTo>
                  <a:cubicBezTo>
                    <a:pt x="1072" y="185"/>
                    <a:pt x="1071" y="183"/>
                    <a:pt x="1069" y="181"/>
                  </a:cubicBezTo>
                  <a:cubicBezTo>
                    <a:pt x="1069" y="182"/>
                    <a:pt x="1069" y="182"/>
                    <a:pt x="1069" y="182"/>
                  </a:cubicBezTo>
                  <a:cubicBezTo>
                    <a:pt x="1068" y="181"/>
                    <a:pt x="1122" y="80"/>
                    <a:pt x="1125" y="80"/>
                  </a:cubicBezTo>
                  <a:cubicBezTo>
                    <a:pt x="1125" y="80"/>
                    <a:pt x="1125" y="80"/>
                    <a:pt x="1125" y="80"/>
                  </a:cubicBezTo>
                  <a:cubicBezTo>
                    <a:pt x="1125" y="80"/>
                    <a:pt x="1125" y="80"/>
                    <a:pt x="1125" y="80"/>
                  </a:cubicBezTo>
                  <a:cubicBezTo>
                    <a:pt x="1126" y="80"/>
                    <a:pt x="1127" y="80"/>
                    <a:pt x="1129" y="80"/>
                  </a:cubicBezTo>
                  <a:cubicBezTo>
                    <a:pt x="1129" y="80"/>
                    <a:pt x="1130" y="80"/>
                    <a:pt x="1130" y="80"/>
                  </a:cubicBezTo>
                  <a:cubicBezTo>
                    <a:pt x="1130" y="80"/>
                    <a:pt x="1130" y="80"/>
                    <a:pt x="1130" y="80"/>
                  </a:cubicBezTo>
                  <a:cubicBezTo>
                    <a:pt x="1130" y="80"/>
                    <a:pt x="1130" y="80"/>
                    <a:pt x="1130" y="80"/>
                  </a:cubicBezTo>
                  <a:cubicBezTo>
                    <a:pt x="1133" y="80"/>
                    <a:pt x="1146" y="135"/>
                    <a:pt x="1143" y="136"/>
                  </a:cubicBezTo>
                  <a:cubicBezTo>
                    <a:pt x="1143" y="136"/>
                    <a:pt x="1143" y="136"/>
                    <a:pt x="1143" y="136"/>
                  </a:cubicBezTo>
                  <a:cubicBezTo>
                    <a:pt x="1143" y="136"/>
                    <a:pt x="1142" y="136"/>
                    <a:pt x="1142" y="137"/>
                  </a:cubicBezTo>
                  <a:cubicBezTo>
                    <a:pt x="1133" y="141"/>
                    <a:pt x="1129" y="151"/>
                    <a:pt x="1133" y="160"/>
                  </a:cubicBezTo>
                  <a:cubicBezTo>
                    <a:pt x="1136" y="167"/>
                    <a:pt x="1143" y="171"/>
                    <a:pt x="1150" y="171"/>
                  </a:cubicBezTo>
                  <a:cubicBezTo>
                    <a:pt x="1153" y="171"/>
                    <a:pt x="1155" y="170"/>
                    <a:pt x="1158" y="169"/>
                  </a:cubicBezTo>
                  <a:cubicBezTo>
                    <a:pt x="1161" y="168"/>
                    <a:pt x="1163" y="166"/>
                    <a:pt x="1164" y="164"/>
                  </a:cubicBezTo>
                  <a:cubicBezTo>
                    <a:pt x="1164" y="164"/>
                    <a:pt x="1164" y="164"/>
                    <a:pt x="1164" y="164"/>
                  </a:cubicBezTo>
                  <a:cubicBezTo>
                    <a:pt x="1164" y="164"/>
                    <a:pt x="1165" y="164"/>
                    <a:pt x="1165" y="164"/>
                  </a:cubicBezTo>
                  <a:cubicBezTo>
                    <a:pt x="1171" y="164"/>
                    <a:pt x="1256" y="212"/>
                    <a:pt x="1254" y="217"/>
                  </a:cubicBezTo>
                  <a:cubicBezTo>
                    <a:pt x="1253" y="220"/>
                    <a:pt x="1252" y="224"/>
                    <a:pt x="1252" y="228"/>
                  </a:cubicBezTo>
                  <a:cubicBezTo>
                    <a:pt x="1252" y="233"/>
                    <a:pt x="1254" y="238"/>
                    <a:pt x="1257" y="243"/>
                  </a:cubicBezTo>
                  <a:cubicBezTo>
                    <a:pt x="1257" y="243"/>
                    <a:pt x="1257" y="243"/>
                    <a:pt x="1257" y="243"/>
                  </a:cubicBezTo>
                  <a:cubicBezTo>
                    <a:pt x="1259" y="247"/>
                    <a:pt x="1178" y="318"/>
                    <a:pt x="1154" y="334"/>
                  </a:cubicBezTo>
                  <a:cubicBezTo>
                    <a:pt x="1151" y="326"/>
                    <a:pt x="1143" y="320"/>
                    <a:pt x="1134" y="320"/>
                  </a:cubicBezTo>
                  <a:cubicBezTo>
                    <a:pt x="1126" y="320"/>
                    <a:pt x="1120" y="324"/>
                    <a:pt x="1116" y="329"/>
                  </a:cubicBezTo>
                  <a:cubicBezTo>
                    <a:pt x="1113" y="324"/>
                    <a:pt x="1108" y="316"/>
                    <a:pt x="1103" y="307"/>
                  </a:cubicBezTo>
                  <a:cubicBezTo>
                    <a:pt x="1109" y="319"/>
                    <a:pt x="1113" y="329"/>
                    <a:pt x="1113" y="334"/>
                  </a:cubicBezTo>
                  <a:cubicBezTo>
                    <a:pt x="1112" y="336"/>
                    <a:pt x="1112" y="339"/>
                    <a:pt x="1112" y="341"/>
                  </a:cubicBezTo>
                  <a:cubicBezTo>
                    <a:pt x="1112" y="353"/>
                    <a:pt x="1122" y="363"/>
                    <a:pt x="1134" y="363"/>
                  </a:cubicBezTo>
                  <a:cubicBezTo>
                    <a:pt x="1146" y="363"/>
                    <a:pt x="1156" y="353"/>
                    <a:pt x="1156" y="341"/>
                  </a:cubicBezTo>
                  <a:cubicBezTo>
                    <a:pt x="1156" y="341"/>
                    <a:pt x="1156" y="341"/>
                    <a:pt x="1156" y="341"/>
                  </a:cubicBezTo>
                  <a:cubicBezTo>
                    <a:pt x="1169" y="323"/>
                    <a:pt x="1255" y="249"/>
                    <a:pt x="1262" y="249"/>
                  </a:cubicBezTo>
                  <a:cubicBezTo>
                    <a:pt x="1262" y="249"/>
                    <a:pt x="1263" y="249"/>
                    <a:pt x="1263" y="249"/>
                  </a:cubicBezTo>
                  <a:cubicBezTo>
                    <a:pt x="1263" y="249"/>
                    <a:pt x="1263" y="249"/>
                    <a:pt x="1263" y="249"/>
                  </a:cubicBezTo>
                  <a:cubicBezTo>
                    <a:pt x="1266" y="251"/>
                    <a:pt x="1269" y="253"/>
                    <a:pt x="1273" y="254"/>
                  </a:cubicBezTo>
                  <a:cubicBezTo>
                    <a:pt x="1273" y="254"/>
                    <a:pt x="1273" y="254"/>
                    <a:pt x="1273" y="254"/>
                  </a:cubicBezTo>
                  <a:cubicBezTo>
                    <a:pt x="1275" y="255"/>
                    <a:pt x="1274" y="272"/>
                    <a:pt x="1272" y="290"/>
                  </a:cubicBezTo>
                  <a:cubicBezTo>
                    <a:pt x="1275" y="272"/>
                    <a:pt x="1278" y="255"/>
                    <a:pt x="1281" y="255"/>
                  </a:cubicBezTo>
                  <a:cubicBezTo>
                    <a:pt x="1281" y="255"/>
                    <a:pt x="1281" y="255"/>
                    <a:pt x="1281" y="255"/>
                  </a:cubicBezTo>
                  <a:cubicBezTo>
                    <a:pt x="1297" y="255"/>
                    <a:pt x="1309" y="243"/>
                    <a:pt x="1309" y="228"/>
                  </a:cubicBezTo>
                  <a:cubicBezTo>
                    <a:pt x="1309" y="212"/>
                    <a:pt x="1297" y="200"/>
                    <a:pt x="1281" y="200"/>
                  </a:cubicBezTo>
                  <a:cubicBezTo>
                    <a:pt x="1272" y="200"/>
                    <a:pt x="1264" y="204"/>
                    <a:pt x="1258" y="210"/>
                  </a:cubicBezTo>
                  <a:cubicBezTo>
                    <a:pt x="1258" y="210"/>
                    <a:pt x="1258" y="210"/>
                    <a:pt x="1258" y="210"/>
                  </a:cubicBezTo>
                  <a:cubicBezTo>
                    <a:pt x="1248" y="210"/>
                    <a:pt x="1166" y="163"/>
                    <a:pt x="1167" y="159"/>
                  </a:cubicBezTo>
                  <a:cubicBezTo>
                    <a:pt x="1167" y="159"/>
                    <a:pt x="1167" y="159"/>
                    <a:pt x="1167" y="159"/>
                  </a:cubicBezTo>
                  <a:cubicBezTo>
                    <a:pt x="1169" y="155"/>
                    <a:pt x="1169" y="150"/>
                    <a:pt x="1167" y="145"/>
                  </a:cubicBezTo>
                  <a:cubicBezTo>
                    <a:pt x="1164" y="139"/>
                    <a:pt x="1157" y="135"/>
                    <a:pt x="1150" y="135"/>
                  </a:cubicBezTo>
                  <a:cubicBezTo>
                    <a:pt x="1149" y="135"/>
                    <a:pt x="1149" y="135"/>
                    <a:pt x="1148" y="135"/>
                  </a:cubicBezTo>
                  <a:cubicBezTo>
                    <a:pt x="1149" y="135"/>
                    <a:pt x="1149" y="135"/>
                    <a:pt x="1149" y="135"/>
                  </a:cubicBezTo>
                  <a:cubicBezTo>
                    <a:pt x="1149" y="135"/>
                    <a:pt x="1149" y="135"/>
                    <a:pt x="1148" y="135"/>
                  </a:cubicBezTo>
                  <a:cubicBezTo>
                    <a:pt x="1145" y="135"/>
                    <a:pt x="1132" y="80"/>
                    <a:pt x="1134" y="79"/>
                  </a:cubicBezTo>
                  <a:cubicBezTo>
                    <a:pt x="1134" y="79"/>
                    <a:pt x="1134" y="79"/>
                    <a:pt x="1134" y="79"/>
                  </a:cubicBezTo>
                  <a:cubicBezTo>
                    <a:pt x="1135" y="79"/>
                    <a:pt x="1135" y="79"/>
                    <a:pt x="1135" y="79"/>
                  </a:cubicBezTo>
                  <a:cubicBezTo>
                    <a:pt x="1141" y="76"/>
                    <a:pt x="1144" y="68"/>
                    <a:pt x="1141" y="62"/>
                  </a:cubicBezTo>
                  <a:cubicBezTo>
                    <a:pt x="1139" y="57"/>
                    <a:pt x="1134" y="54"/>
                    <a:pt x="1129" y="54"/>
                  </a:cubicBezTo>
                  <a:cubicBezTo>
                    <a:pt x="1127" y="54"/>
                    <a:pt x="1125" y="55"/>
                    <a:pt x="1123" y="56"/>
                  </a:cubicBezTo>
                  <a:cubicBezTo>
                    <a:pt x="1116" y="59"/>
                    <a:pt x="1113" y="66"/>
                    <a:pt x="1117" y="73"/>
                  </a:cubicBezTo>
                  <a:cubicBezTo>
                    <a:pt x="1117" y="74"/>
                    <a:pt x="1118" y="74"/>
                    <a:pt x="1118" y="75"/>
                  </a:cubicBezTo>
                  <a:cubicBezTo>
                    <a:pt x="1118" y="75"/>
                    <a:pt x="1118" y="75"/>
                    <a:pt x="1118" y="75"/>
                  </a:cubicBezTo>
                  <a:cubicBezTo>
                    <a:pt x="1120" y="77"/>
                    <a:pt x="1041" y="158"/>
                    <a:pt x="1035" y="158"/>
                  </a:cubicBezTo>
                  <a:cubicBezTo>
                    <a:pt x="1034" y="158"/>
                    <a:pt x="1034" y="158"/>
                    <a:pt x="1034" y="158"/>
                  </a:cubicBezTo>
                  <a:cubicBezTo>
                    <a:pt x="1034" y="158"/>
                    <a:pt x="1034" y="158"/>
                    <a:pt x="1034" y="158"/>
                  </a:cubicBezTo>
                  <a:cubicBezTo>
                    <a:pt x="1031" y="155"/>
                    <a:pt x="1027" y="154"/>
                    <a:pt x="1023" y="153"/>
                  </a:cubicBezTo>
                  <a:cubicBezTo>
                    <a:pt x="1023" y="153"/>
                    <a:pt x="1023" y="153"/>
                    <a:pt x="1023" y="153"/>
                  </a:cubicBezTo>
                  <a:cubicBezTo>
                    <a:pt x="1018" y="153"/>
                    <a:pt x="1019" y="84"/>
                    <a:pt x="1022" y="84"/>
                  </a:cubicBezTo>
                  <a:cubicBezTo>
                    <a:pt x="1022" y="84"/>
                    <a:pt x="1022" y="84"/>
                    <a:pt x="1022" y="84"/>
                  </a:cubicBezTo>
                  <a:cubicBezTo>
                    <a:pt x="1028" y="83"/>
                    <a:pt x="1033" y="77"/>
                    <a:pt x="1033" y="71"/>
                  </a:cubicBezTo>
                  <a:cubicBezTo>
                    <a:pt x="1033" y="64"/>
                    <a:pt x="1027" y="58"/>
                    <a:pt x="1020" y="58"/>
                  </a:cubicBezTo>
                  <a:cubicBezTo>
                    <a:pt x="1015" y="58"/>
                    <a:pt x="1011" y="60"/>
                    <a:pt x="1009" y="63"/>
                  </a:cubicBezTo>
                  <a:cubicBezTo>
                    <a:pt x="1009" y="63"/>
                    <a:pt x="1009" y="63"/>
                    <a:pt x="1009" y="63"/>
                  </a:cubicBezTo>
                  <a:cubicBezTo>
                    <a:pt x="1009" y="63"/>
                    <a:pt x="1009" y="63"/>
                    <a:pt x="1008" y="63"/>
                  </a:cubicBezTo>
                  <a:cubicBezTo>
                    <a:pt x="1006" y="63"/>
                    <a:pt x="1000" y="60"/>
                    <a:pt x="994" y="57"/>
                  </a:cubicBezTo>
                  <a:cubicBezTo>
                    <a:pt x="1001" y="61"/>
                    <a:pt x="1008" y="65"/>
                    <a:pt x="1007" y="66"/>
                  </a:cubicBezTo>
                  <a:cubicBezTo>
                    <a:pt x="1007" y="66"/>
                    <a:pt x="1007" y="66"/>
                    <a:pt x="1007" y="66"/>
                  </a:cubicBezTo>
                  <a:cubicBezTo>
                    <a:pt x="1007" y="68"/>
                    <a:pt x="1006" y="69"/>
                    <a:pt x="1006" y="71"/>
                  </a:cubicBezTo>
                  <a:cubicBezTo>
                    <a:pt x="1006" y="76"/>
                    <a:pt x="1010" y="81"/>
                    <a:pt x="1014" y="83"/>
                  </a:cubicBezTo>
                  <a:cubicBezTo>
                    <a:pt x="1014" y="83"/>
                    <a:pt x="1014" y="83"/>
                    <a:pt x="1014" y="83"/>
                  </a:cubicBezTo>
                  <a:cubicBezTo>
                    <a:pt x="1016" y="83"/>
                    <a:pt x="1013" y="92"/>
                    <a:pt x="1011" y="101"/>
                  </a:cubicBezTo>
                  <a:cubicBezTo>
                    <a:pt x="1013" y="93"/>
                    <a:pt x="1016" y="85"/>
                    <a:pt x="1018" y="84"/>
                  </a:cubicBezTo>
                  <a:cubicBezTo>
                    <a:pt x="1020" y="87"/>
                    <a:pt x="1021" y="153"/>
                    <a:pt x="1016" y="153"/>
                  </a:cubicBezTo>
                  <a:cubicBezTo>
                    <a:pt x="1016" y="153"/>
                    <a:pt x="1016" y="153"/>
                    <a:pt x="1016" y="153"/>
                  </a:cubicBezTo>
                  <a:cubicBezTo>
                    <a:pt x="1016" y="153"/>
                    <a:pt x="1016" y="153"/>
                    <a:pt x="1016" y="153"/>
                  </a:cubicBezTo>
                  <a:cubicBezTo>
                    <a:pt x="1016" y="153"/>
                    <a:pt x="1016" y="153"/>
                    <a:pt x="1016" y="153"/>
                  </a:cubicBezTo>
                  <a:cubicBezTo>
                    <a:pt x="1014" y="153"/>
                    <a:pt x="1012" y="151"/>
                    <a:pt x="1011" y="147"/>
                  </a:cubicBezTo>
                  <a:cubicBezTo>
                    <a:pt x="1012" y="151"/>
                    <a:pt x="1012" y="154"/>
                    <a:pt x="1010" y="155"/>
                  </a:cubicBezTo>
                  <a:cubicBezTo>
                    <a:pt x="1004" y="157"/>
                    <a:pt x="999" y="162"/>
                    <a:pt x="996" y="168"/>
                  </a:cubicBezTo>
                  <a:cubicBezTo>
                    <a:pt x="996" y="168"/>
                    <a:pt x="996" y="168"/>
                    <a:pt x="994" y="168"/>
                  </a:cubicBezTo>
                  <a:cubicBezTo>
                    <a:pt x="978" y="168"/>
                    <a:pt x="874" y="142"/>
                    <a:pt x="874" y="139"/>
                  </a:cubicBezTo>
                  <a:cubicBezTo>
                    <a:pt x="874" y="139"/>
                    <a:pt x="874" y="139"/>
                    <a:pt x="874" y="139"/>
                  </a:cubicBezTo>
                  <a:cubicBezTo>
                    <a:pt x="874" y="138"/>
                    <a:pt x="874" y="138"/>
                    <a:pt x="874" y="137"/>
                  </a:cubicBezTo>
                  <a:cubicBezTo>
                    <a:pt x="874" y="127"/>
                    <a:pt x="866" y="119"/>
                    <a:pt x="855" y="119"/>
                  </a:cubicBezTo>
                  <a:cubicBezTo>
                    <a:pt x="853" y="119"/>
                    <a:pt x="850" y="120"/>
                    <a:pt x="848" y="121"/>
                  </a:cubicBezTo>
                  <a:cubicBezTo>
                    <a:pt x="848" y="120"/>
                    <a:pt x="848" y="120"/>
                    <a:pt x="848" y="120"/>
                  </a:cubicBezTo>
                  <a:cubicBezTo>
                    <a:pt x="848" y="121"/>
                    <a:pt x="848" y="121"/>
                    <a:pt x="848" y="121"/>
                  </a:cubicBezTo>
                  <a:cubicBezTo>
                    <a:pt x="843" y="121"/>
                    <a:pt x="786" y="34"/>
                    <a:pt x="789" y="31"/>
                  </a:cubicBezTo>
                  <a:cubicBezTo>
                    <a:pt x="789" y="31"/>
                    <a:pt x="789" y="31"/>
                    <a:pt x="789" y="31"/>
                  </a:cubicBezTo>
                  <a:cubicBezTo>
                    <a:pt x="791" y="31"/>
                    <a:pt x="800" y="38"/>
                    <a:pt x="810" y="45"/>
                  </a:cubicBezTo>
                  <a:cubicBezTo>
                    <a:pt x="800" y="37"/>
                    <a:pt x="791" y="29"/>
                    <a:pt x="792" y="28"/>
                  </a:cubicBezTo>
                  <a:cubicBezTo>
                    <a:pt x="792" y="28"/>
                    <a:pt x="792" y="28"/>
                    <a:pt x="792" y="28"/>
                  </a:cubicBezTo>
                  <a:cubicBezTo>
                    <a:pt x="794" y="25"/>
                    <a:pt x="795" y="22"/>
                    <a:pt x="795" y="18"/>
                  </a:cubicBezTo>
                  <a:cubicBezTo>
                    <a:pt x="795" y="8"/>
                    <a:pt x="787" y="0"/>
                    <a:pt x="776"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7" name="Freeform 20"/>
            <p:cNvSpPr>
              <a:spLocks/>
            </p:cNvSpPr>
            <p:nvPr/>
          </p:nvSpPr>
          <p:spPr bwMode="auto">
            <a:xfrm>
              <a:off x="6035675" y="2900363"/>
              <a:ext cx="52388" cy="41275"/>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cubicBezTo>
                    <a:pt x="9" y="4"/>
                    <a:pt x="4" y="8"/>
                    <a:pt x="0" y="11"/>
                  </a:cubicBezTo>
                  <a:cubicBezTo>
                    <a:pt x="4" y="8"/>
                    <a:pt x="10" y="4"/>
                    <a:pt x="14"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8" name="Freeform 21"/>
            <p:cNvSpPr>
              <a:spLocks noEditPoints="1"/>
            </p:cNvSpPr>
            <p:nvPr/>
          </p:nvSpPr>
          <p:spPr bwMode="auto">
            <a:xfrm>
              <a:off x="5457825" y="2247900"/>
              <a:ext cx="1231900" cy="652463"/>
            </a:xfrm>
            <a:custGeom>
              <a:avLst/>
              <a:gdLst>
                <a:gd name="T0" fmla="*/ 294 w 328"/>
                <a:gd name="T1" fmla="*/ 53 h 173"/>
                <a:gd name="T2" fmla="*/ 290 w 328"/>
                <a:gd name="T3" fmla="*/ 68 h 173"/>
                <a:gd name="T4" fmla="*/ 237 w 328"/>
                <a:gd name="T5" fmla="*/ 89 h 173"/>
                <a:gd name="T6" fmla="*/ 255 w 328"/>
                <a:gd name="T7" fmla="*/ 21 h 173"/>
                <a:gd name="T8" fmla="*/ 257 w 328"/>
                <a:gd name="T9" fmla="*/ 22 h 173"/>
                <a:gd name="T10" fmla="*/ 257 w 328"/>
                <a:gd name="T11" fmla="*/ 0 h 173"/>
                <a:gd name="T12" fmla="*/ 252 w 328"/>
                <a:gd name="T13" fmla="*/ 20 h 173"/>
                <a:gd name="T14" fmla="*/ 230 w 328"/>
                <a:gd name="T15" fmla="*/ 84 h 173"/>
                <a:gd name="T16" fmla="*/ 225 w 328"/>
                <a:gd name="T17" fmla="*/ 84 h 173"/>
                <a:gd name="T18" fmla="*/ 213 w 328"/>
                <a:gd name="T19" fmla="*/ 59 h 173"/>
                <a:gd name="T20" fmla="*/ 199 w 328"/>
                <a:gd name="T21" fmla="*/ 34 h 173"/>
                <a:gd name="T22" fmla="*/ 185 w 328"/>
                <a:gd name="T23" fmla="*/ 44 h 173"/>
                <a:gd name="T24" fmla="*/ 104 w 328"/>
                <a:gd name="T25" fmla="*/ 22 h 173"/>
                <a:gd name="T26" fmla="*/ 88 w 328"/>
                <a:gd name="T27" fmla="*/ 38 h 173"/>
                <a:gd name="T28" fmla="*/ 16 w 328"/>
                <a:gd name="T29" fmla="*/ 52 h 173"/>
                <a:gd name="T30" fmla="*/ 6 w 328"/>
                <a:gd name="T31" fmla="*/ 48 h 173"/>
                <a:gd name="T32" fmla="*/ 12 w 328"/>
                <a:gd name="T33" fmla="*/ 61 h 173"/>
                <a:gd name="T34" fmla="*/ 86 w 328"/>
                <a:gd name="T35" fmla="*/ 42 h 173"/>
                <a:gd name="T36" fmla="*/ 104 w 328"/>
                <a:gd name="T37" fmla="*/ 54 h 173"/>
                <a:gd name="T38" fmla="*/ 128 w 328"/>
                <a:gd name="T39" fmla="*/ 41 h 173"/>
                <a:gd name="T40" fmla="*/ 192 w 328"/>
                <a:gd name="T41" fmla="*/ 53 h 173"/>
                <a:gd name="T42" fmla="*/ 210 w 328"/>
                <a:gd name="T43" fmla="*/ 60 h 173"/>
                <a:gd name="T44" fmla="*/ 222 w 328"/>
                <a:gd name="T45" fmla="*/ 86 h 173"/>
                <a:gd name="T46" fmla="*/ 222 w 328"/>
                <a:gd name="T47" fmla="*/ 101 h 173"/>
                <a:gd name="T48" fmla="*/ 205 w 328"/>
                <a:gd name="T49" fmla="*/ 130 h 173"/>
                <a:gd name="T50" fmla="*/ 178 w 328"/>
                <a:gd name="T51" fmla="*/ 162 h 173"/>
                <a:gd name="T52" fmla="*/ 181 w 328"/>
                <a:gd name="T53" fmla="*/ 166 h 173"/>
                <a:gd name="T54" fmla="*/ 198 w 328"/>
                <a:gd name="T55" fmla="*/ 172 h 173"/>
                <a:gd name="T56" fmla="*/ 226 w 328"/>
                <a:gd name="T57" fmla="*/ 150 h 173"/>
                <a:gd name="T58" fmla="*/ 211 w 328"/>
                <a:gd name="T59" fmla="*/ 132 h 173"/>
                <a:gd name="T60" fmla="*/ 225 w 328"/>
                <a:gd name="T61" fmla="*/ 103 h 173"/>
                <a:gd name="T62" fmla="*/ 230 w 328"/>
                <a:gd name="T63" fmla="*/ 103 h 173"/>
                <a:gd name="T64" fmla="*/ 244 w 328"/>
                <a:gd name="T65" fmla="*/ 146 h 173"/>
                <a:gd name="T66" fmla="*/ 242 w 328"/>
                <a:gd name="T67" fmla="*/ 149 h 173"/>
                <a:gd name="T68" fmla="*/ 242 w 328"/>
                <a:gd name="T69" fmla="*/ 151 h 173"/>
                <a:gd name="T70" fmla="*/ 248 w 328"/>
                <a:gd name="T71" fmla="*/ 154 h 173"/>
                <a:gd name="T72" fmla="*/ 250 w 328"/>
                <a:gd name="T73" fmla="*/ 153 h 173"/>
                <a:gd name="T74" fmla="*/ 251 w 328"/>
                <a:gd name="T75" fmla="*/ 152 h 173"/>
                <a:gd name="T76" fmla="*/ 246 w 328"/>
                <a:gd name="T77" fmla="*/ 146 h 173"/>
                <a:gd name="T78" fmla="*/ 232 w 328"/>
                <a:gd name="T79" fmla="*/ 102 h 173"/>
                <a:gd name="T80" fmla="*/ 238 w 328"/>
                <a:gd name="T81" fmla="*/ 92 h 173"/>
                <a:gd name="T82" fmla="*/ 292 w 328"/>
                <a:gd name="T83" fmla="*/ 72 h 173"/>
                <a:gd name="T84" fmla="*/ 324 w 328"/>
                <a:gd name="T85" fmla="*/ 57 h 173"/>
                <a:gd name="T86" fmla="*/ 297 w 328"/>
                <a:gd name="T87" fmla="*/ 50 h 173"/>
                <a:gd name="T88" fmla="*/ 266 w 328"/>
                <a:gd name="T89" fmla="*/ 17 h 173"/>
                <a:gd name="T90" fmla="*/ 257 w 328"/>
                <a:gd name="T9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173">
                  <a:moveTo>
                    <a:pt x="263" y="20"/>
                  </a:moveTo>
                  <a:cubicBezTo>
                    <a:pt x="263" y="20"/>
                    <a:pt x="263" y="20"/>
                    <a:pt x="263" y="20"/>
                  </a:cubicBezTo>
                  <a:cubicBezTo>
                    <a:pt x="266" y="20"/>
                    <a:pt x="296" y="51"/>
                    <a:pt x="294" y="53"/>
                  </a:cubicBezTo>
                  <a:cubicBezTo>
                    <a:pt x="294" y="53"/>
                    <a:pt x="294" y="53"/>
                    <a:pt x="294" y="53"/>
                  </a:cubicBezTo>
                  <a:cubicBezTo>
                    <a:pt x="290" y="57"/>
                    <a:pt x="289" y="63"/>
                    <a:pt x="290" y="68"/>
                  </a:cubicBezTo>
                  <a:cubicBezTo>
                    <a:pt x="290" y="68"/>
                    <a:pt x="290" y="68"/>
                    <a:pt x="290" y="68"/>
                  </a:cubicBezTo>
                  <a:cubicBezTo>
                    <a:pt x="291" y="71"/>
                    <a:pt x="242" y="89"/>
                    <a:pt x="237" y="89"/>
                  </a:cubicBezTo>
                  <a:cubicBezTo>
                    <a:pt x="237" y="89"/>
                    <a:pt x="237" y="89"/>
                    <a:pt x="237" y="89"/>
                  </a:cubicBezTo>
                  <a:cubicBezTo>
                    <a:pt x="237" y="89"/>
                    <a:pt x="237" y="89"/>
                    <a:pt x="237" y="89"/>
                  </a:cubicBezTo>
                  <a:cubicBezTo>
                    <a:pt x="236" y="87"/>
                    <a:pt x="234" y="86"/>
                    <a:pt x="233" y="85"/>
                  </a:cubicBezTo>
                  <a:cubicBezTo>
                    <a:pt x="233" y="85"/>
                    <a:pt x="233" y="85"/>
                    <a:pt x="233" y="85"/>
                  </a:cubicBezTo>
                  <a:cubicBezTo>
                    <a:pt x="231" y="84"/>
                    <a:pt x="253" y="21"/>
                    <a:pt x="255" y="21"/>
                  </a:cubicBezTo>
                  <a:cubicBezTo>
                    <a:pt x="255" y="21"/>
                    <a:pt x="255" y="21"/>
                    <a:pt x="255" y="21"/>
                  </a:cubicBezTo>
                  <a:cubicBezTo>
                    <a:pt x="255" y="21"/>
                    <a:pt x="255" y="21"/>
                    <a:pt x="255" y="21"/>
                  </a:cubicBezTo>
                  <a:cubicBezTo>
                    <a:pt x="256" y="21"/>
                    <a:pt x="256" y="22"/>
                    <a:pt x="257" y="22"/>
                  </a:cubicBezTo>
                  <a:cubicBezTo>
                    <a:pt x="259" y="22"/>
                    <a:pt x="261" y="21"/>
                    <a:pt x="263" y="20"/>
                  </a:cubicBezTo>
                  <a:cubicBezTo>
                    <a:pt x="263" y="20"/>
                    <a:pt x="263" y="20"/>
                    <a:pt x="263" y="20"/>
                  </a:cubicBezTo>
                  <a:moveTo>
                    <a:pt x="257" y="0"/>
                  </a:moveTo>
                  <a:cubicBezTo>
                    <a:pt x="251" y="0"/>
                    <a:pt x="246" y="5"/>
                    <a:pt x="246" y="11"/>
                  </a:cubicBezTo>
                  <a:cubicBezTo>
                    <a:pt x="246" y="15"/>
                    <a:pt x="248" y="19"/>
                    <a:pt x="252" y="20"/>
                  </a:cubicBezTo>
                  <a:cubicBezTo>
                    <a:pt x="252" y="20"/>
                    <a:pt x="252" y="20"/>
                    <a:pt x="252" y="20"/>
                  </a:cubicBezTo>
                  <a:cubicBezTo>
                    <a:pt x="254" y="21"/>
                    <a:pt x="232" y="84"/>
                    <a:pt x="230" y="84"/>
                  </a:cubicBezTo>
                  <a:cubicBezTo>
                    <a:pt x="230" y="84"/>
                    <a:pt x="230" y="84"/>
                    <a:pt x="230" y="84"/>
                  </a:cubicBezTo>
                  <a:cubicBezTo>
                    <a:pt x="230" y="84"/>
                    <a:pt x="230" y="84"/>
                    <a:pt x="230" y="84"/>
                  </a:cubicBezTo>
                  <a:cubicBezTo>
                    <a:pt x="229" y="84"/>
                    <a:pt x="229" y="84"/>
                    <a:pt x="228" y="84"/>
                  </a:cubicBezTo>
                  <a:cubicBezTo>
                    <a:pt x="227" y="84"/>
                    <a:pt x="226" y="84"/>
                    <a:pt x="225" y="85"/>
                  </a:cubicBezTo>
                  <a:cubicBezTo>
                    <a:pt x="225" y="84"/>
                    <a:pt x="225" y="84"/>
                    <a:pt x="225" y="84"/>
                  </a:cubicBezTo>
                  <a:cubicBezTo>
                    <a:pt x="225" y="85"/>
                    <a:pt x="225" y="85"/>
                    <a:pt x="225" y="85"/>
                  </a:cubicBezTo>
                  <a:cubicBezTo>
                    <a:pt x="223" y="85"/>
                    <a:pt x="211" y="60"/>
                    <a:pt x="214" y="59"/>
                  </a:cubicBezTo>
                  <a:cubicBezTo>
                    <a:pt x="213" y="59"/>
                    <a:pt x="213" y="59"/>
                    <a:pt x="213" y="59"/>
                  </a:cubicBezTo>
                  <a:cubicBezTo>
                    <a:pt x="220" y="55"/>
                    <a:pt x="222" y="47"/>
                    <a:pt x="219" y="41"/>
                  </a:cubicBezTo>
                  <a:cubicBezTo>
                    <a:pt x="216" y="36"/>
                    <a:pt x="211" y="33"/>
                    <a:pt x="205" y="33"/>
                  </a:cubicBezTo>
                  <a:cubicBezTo>
                    <a:pt x="203" y="33"/>
                    <a:pt x="201" y="33"/>
                    <a:pt x="199" y="34"/>
                  </a:cubicBezTo>
                  <a:cubicBezTo>
                    <a:pt x="195" y="36"/>
                    <a:pt x="192" y="39"/>
                    <a:pt x="191" y="43"/>
                  </a:cubicBezTo>
                  <a:cubicBezTo>
                    <a:pt x="191" y="43"/>
                    <a:pt x="191" y="43"/>
                    <a:pt x="191" y="43"/>
                  </a:cubicBezTo>
                  <a:cubicBezTo>
                    <a:pt x="191" y="44"/>
                    <a:pt x="189" y="44"/>
                    <a:pt x="185" y="44"/>
                  </a:cubicBezTo>
                  <a:cubicBezTo>
                    <a:pt x="168" y="44"/>
                    <a:pt x="121" y="39"/>
                    <a:pt x="121" y="37"/>
                  </a:cubicBezTo>
                  <a:cubicBezTo>
                    <a:pt x="121" y="37"/>
                    <a:pt x="121" y="37"/>
                    <a:pt x="121" y="37"/>
                  </a:cubicBezTo>
                  <a:cubicBezTo>
                    <a:pt x="121" y="28"/>
                    <a:pt x="114" y="22"/>
                    <a:pt x="104" y="22"/>
                  </a:cubicBezTo>
                  <a:cubicBezTo>
                    <a:pt x="95" y="22"/>
                    <a:pt x="88" y="29"/>
                    <a:pt x="88" y="38"/>
                  </a:cubicBezTo>
                  <a:cubicBezTo>
                    <a:pt x="88" y="38"/>
                    <a:pt x="88" y="38"/>
                    <a:pt x="88" y="38"/>
                  </a:cubicBezTo>
                  <a:cubicBezTo>
                    <a:pt x="88" y="38"/>
                    <a:pt x="88" y="38"/>
                    <a:pt x="88" y="38"/>
                  </a:cubicBezTo>
                  <a:cubicBezTo>
                    <a:pt x="88" y="41"/>
                    <a:pt x="24" y="52"/>
                    <a:pt x="17" y="52"/>
                  </a:cubicBezTo>
                  <a:cubicBezTo>
                    <a:pt x="16" y="52"/>
                    <a:pt x="16" y="52"/>
                    <a:pt x="16" y="52"/>
                  </a:cubicBezTo>
                  <a:cubicBezTo>
                    <a:pt x="16" y="52"/>
                    <a:pt x="16" y="52"/>
                    <a:pt x="16" y="52"/>
                  </a:cubicBezTo>
                  <a:cubicBezTo>
                    <a:pt x="16" y="51"/>
                    <a:pt x="16" y="51"/>
                    <a:pt x="16" y="51"/>
                  </a:cubicBezTo>
                  <a:cubicBezTo>
                    <a:pt x="14" y="48"/>
                    <a:pt x="12" y="47"/>
                    <a:pt x="9" y="47"/>
                  </a:cubicBezTo>
                  <a:cubicBezTo>
                    <a:pt x="8" y="47"/>
                    <a:pt x="7" y="47"/>
                    <a:pt x="6" y="48"/>
                  </a:cubicBezTo>
                  <a:cubicBezTo>
                    <a:pt x="2" y="49"/>
                    <a:pt x="0" y="54"/>
                    <a:pt x="2" y="57"/>
                  </a:cubicBezTo>
                  <a:cubicBezTo>
                    <a:pt x="3" y="60"/>
                    <a:pt x="6" y="61"/>
                    <a:pt x="9" y="61"/>
                  </a:cubicBezTo>
                  <a:cubicBezTo>
                    <a:pt x="10" y="61"/>
                    <a:pt x="11" y="61"/>
                    <a:pt x="12" y="61"/>
                  </a:cubicBezTo>
                  <a:cubicBezTo>
                    <a:pt x="15" y="60"/>
                    <a:pt x="17" y="57"/>
                    <a:pt x="16" y="54"/>
                  </a:cubicBezTo>
                  <a:cubicBezTo>
                    <a:pt x="16" y="54"/>
                    <a:pt x="16" y="54"/>
                    <a:pt x="16" y="54"/>
                  </a:cubicBezTo>
                  <a:cubicBezTo>
                    <a:pt x="16" y="53"/>
                    <a:pt x="73" y="42"/>
                    <a:pt x="86" y="42"/>
                  </a:cubicBezTo>
                  <a:cubicBezTo>
                    <a:pt x="87" y="42"/>
                    <a:pt x="88" y="43"/>
                    <a:pt x="89" y="43"/>
                  </a:cubicBezTo>
                  <a:cubicBezTo>
                    <a:pt x="88" y="43"/>
                    <a:pt x="88" y="43"/>
                    <a:pt x="88" y="43"/>
                  </a:cubicBezTo>
                  <a:cubicBezTo>
                    <a:pt x="91" y="49"/>
                    <a:pt x="97" y="54"/>
                    <a:pt x="104" y="54"/>
                  </a:cubicBezTo>
                  <a:cubicBezTo>
                    <a:pt x="112" y="54"/>
                    <a:pt x="119" y="49"/>
                    <a:pt x="121" y="42"/>
                  </a:cubicBezTo>
                  <a:cubicBezTo>
                    <a:pt x="121" y="42"/>
                    <a:pt x="121" y="42"/>
                    <a:pt x="121" y="42"/>
                  </a:cubicBezTo>
                  <a:cubicBezTo>
                    <a:pt x="121" y="41"/>
                    <a:pt x="124" y="41"/>
                    <a:pt x="128" y="41"/>
                  </a:cubicBezTo>
                  <a:cubicBezTo>
                    <a:pt x="145" y="41"/>
                    <a:pt x="191" y="46"/>
                    <a:pt x="191" y="48"/>
                  </a:cubicBezTo>
                  <a:cubicBezTo>
                    <a:pt x="191" y="48"/>
                    <a:pt x="191" y="48"/>
                    <a:pt x="191" y="48"/>
                  </a:cubicBezTo>
                  <a:cubicBezTo>
                    <a:pt x="191" y="49"/>
                    <a:pt x="191" y="51"/>
                    <a:pt x="192" y="53"/>
                  </a:cubicBezTo>
                  <a:cubicBezTo>
                    <a:pt x="195" y="58"/>
                    <a:pt x="200" y="61"/>
                    <a:pt x="205" y="61"/>
                  </a:cubicBezTo>
                  <a:cubicBezTo>
                    <a:pt x="207" y="61"/>
                    <a:pt x="208" y="61"/>
                    <a:pt x="210" y="60"/>
                  </a:cubicBezTo>
                  <a:cubicBezTo>
                    <a:pt x="210" y="60"/>
                    <a:pt x="210" y="60"/>
                    <a:pt x="210" y="60"/>
                  </a:cubicBezTo>
                  <a:cubicBezTo>
                    <a:pt x="210" y="60"/>
                    <a:pt x="210" y="60"/>
                    <a:pt x="210" y="60"/>
                  </a:cubicBezTo>
                  <a:cubicBezTo>
                    <a:pt x="213" y="60"/>
                    <a:pt x="224" y="85"/>
                    <a:pt x="222" y="86"/>
                  </a:cubicBezTo>
                  <a:cubicBezTo>
                    <a:pt x="222" y="86"/>
                    <a:pt x="222" y="86"/>
                    <a:pt x="222" y="86"/>
                  </a:cubicBezTo>
                  <a:cubicBezTo>
                    <a:pt x="218" y="88"/>
                    <a:pt x="217" y="94"/>
                    <a:pt x="219" y="98"/>
                  </a:cubicBezTo>
                  <a:cubicBezTo>
                    <a:pt x="220" y="99"/>
                    <a:pt x="221" y="101"/>
                    <a:pt x="222" y="101"/>
                  </a:cubicBezTo>
                  <a:cubicBezTo>
                    <a:pt x="222" y="101"/>
                    <a:pt x="222" y="101"/>
                    <a:pt x="222" y="101"/>
                  </a:cubicBezTo>
                  <a:cubicBezTo>
                    <a:pt x="223" y="103"/>
                    <a:pt x="210" y="130"/>
                    <a:pt x="206" y="130"/>
                  </a:cubicBezTo>
                  <a:cubicBezTo>
                    <a:pt x="206" y="130"/>
                    <a:pt x="205" y="130"/>
                    <a:pt x="205" y="130"/>
                  </a:cubicBezTo>
                  <a:cubicBezTo>
                    <a:pt x="205" y="130"/>
                    <a:pt x="205" y="130"/>
                    <a:pt x="205" y="130"/>
                  </a:cubicBezTo>
                  <a:cubicBezTo>
                    <a:pt x="203" y="129"/>
                    <a:pt x="201" y="128"/>
                    <a:pt x="198" y="128"/>
                  </a:cubicBezTo>
                  <a:cubicBezTo>
                    <a:pt x="185" y="128"/>
                    <a:pt x="175" y="138"/>
                    <a:pt x="175" y="150"/>
                  </a:cubicBezTo>
                  <a:cubicBezTo>
                    <a:pt x="175" y="155"/>
                    <a:pt x="176" y="159"/>
                    <a:pt x="178" y="162"/>
                  </a:cubicBezTo>
                  <a:cubicBezTo>
                    <a:pt x="178" y="162"/>
                    <a:pt x="178" y="162"/>
                    <a:pt x="178" y="162"/>
                  </a:cubicBezTo>
                  <a:cubicBezTo>
                    <a:pt x="179" y="163"/>
                    <a:pt x="174" y="168"/>
                    <a:pt x="168" y="173"/>
                  </a:cubicBezTo>
                  <a:cubicBezTo>
                    <a:pt x="174" y="169"/>
                    <a:pt x="179" y="166"/>
                    <a:pt x="181" y="166"/>
                  </a:cubicBezTo>
                  <a:cubicBezTo>
                    <a:pt x="182" y="166"/>
                    <a:pt x="182" y="166"/>
                    <a:pt x="182" y="166"/>
                  </a:cubicBezTo>
                  <a:cubicBezTo>
                    <a:pt x="182" y="166"/>
                    <a:pt x="182" y="166"/>
                    <a:pt x="182" y="166"/>
                  </a:cubicBezTo>
                  <a:cubicBezTo>
                    <a:pt x="186" y="170"/>
                    <a:pt x="192" y="172"/>
                    <a:pt x="198" y="172"/>
                  </a:cubicBezTo>
                  <a:cubicBezTo>
                    <a:pt x="210" y="172"/>
                    <a:pt x="219" y="164"/>
                    <a:pt x="221" y="153"/>
                  </a:cubicBezTo>
                  <a:cubicBezTo>
                    <a:pt x="221" y="153"/>
                    <a:pt x="221" y="153"/>
                    <a:pt x="221" y="153"/>
                  </a:cubicBezTo>
                  <a:cubicBezTo>
                    <a:pt x="221" y="151"/>
                    <a:pt x="223" y="151"/>
                    <a:pt x="226" y="150"/>
                  </a:cubicBezTo>
                  <a:cubicBezTo>
                    <a:pt x="223" y="150"/>
                    <a:pt x="221" y="149"/>
                    <a:pt x="221" y="148"/>
                  </a:cubicBezTo>
                  <a:cubicBezTo>
                    <a:pt x="221" y="148"/>
                    <a:pt x="221" y="148"/>
                    <a:pt x="221" y="148"/>
                  </a:cubicBezTo>
                  <a:cubicBezTo>
                    <a:pt x="220" y="141"/>
                    <a:pt x="216" y="136"/>
                    <a:pt x="211" y="132"/>
                  </a:cubicBezTo>
                  <a:cubicBezTo>
                    <a:pt x="211" y="132"/>
                    <a:pt x="211" y="132"/>
                    <a:pt x="211" y="132"/>
                  </a:cubicBezTo>
                  <a:cubicBezTo>
                    <a:pt x="207" y="130"/>
                    <a:pt x="223" y="103"/>
                    <a:pt x="225" y="103"/>
                  </a:cubicBezTo>
                  <a:cubicBezTo>
                    <a:pt x="225" y="103"/>
                    <a:pt x="225" y="103"/>
                    <a:pt x="225" y="103"/>
                  </a:cubicBezTo>
                  <a:cubicBezTo>
                    <a:pt x="225" y="103"/>
                    <a:pt x="225" y="103"/>
                    <a:pt x="225" y="103"/>
                  </a:cubicBezTo>
                  <a:cubicBezTo>
                    <a:pt x="226" y="103"/>
                    <a:pt x="227" y="103"/>
                    <a:pt x="228" y="103"/>
                  </a:cubicBezTo>
                  <a:cubicBezTo>
                    <a:pt x="229" y="103"/>
                    <a:pt x="229" y="103"/>
                    <a:pt x="230" y="103"/>
                  </a:cubicBezTo>
                  <a:cubicBezTo>
                    <a:pt x="230" y="103"/>
                    <a:pt x="230" y="103"/>
                    <a:pt x="230" y="103"/>
                  </a:cubicBezTo>
                  <a:cubicBezTo>
                    <a:pt x="230" y="103"/>
                    <a:pt x="230" y="103"/>
                    <a:pt x="230" y="103"/>
                  </a:cubicBezTo>
                  <a:cubicBezTo>
                    <a:pt x="232" y="103"/>
                    <a:pt x="245" y="146"/>
                    <a:pt x="244" y="146"/>
                  </a:cubicBezTo>
                  <a:cubicBezTo>
                    <a:pt x="244" y="146"/>
                    <a:pt x="244" y="146"/>
                    <a:pt x="244" y="146"/>
                  </a:cubicBezTo>
                  <a:cubicBezTo>
                    <a:pt x="243" y="147"/>
                    <a:pt x="242" y="148"/>
                    <a:pt x="242" y="150"/>
                  </a:cubicBezTo>
                  <a:cubicBezTo>
                    <a:pt x="242" y="149"/>
                    <a:pt x="242" y="149"/>
                    <a:pt x="242" y="149"/>
                  </a:cubicBezTo>
                  <a:cubicBezTo>
                    <a:pt x="242" y="150"/>
                    <a:pt x="240" y="150"/>
                    <a:pt x="237" y="150"/>
                  </a:cubicBezTo>
                  <a:cubicBezTo>
                    <a:pt x="240" y="151"/>
                    <a:pt x="242" y="151"/>
                    <a:pt x="242" y="151"/>
                  </a:cubicBezTo>
                  <a:cubicBezTo>
                    <a:pt x="242" y="151"/>
                    <a:pt x="242" y="151"/>
                    <a:pt x="242" y="151"/>
                  </a:cubicBezTo>
                  <a:cubicBezTo>
                    <a:pt x="242" y="151"/>
                    <a:pt x="242" y="152"/>
                    <a:pt x="242" y="152"/>
                  </a:cubicBezTo>
                  <a:cubicBezTo>
                    <a:pt x="243" y="154"/>
                    <a:pt x="245" y="155"/>
                    <a:pt x="246" y="155"/>
                  </a:cubicBezTo>
                  <a:cubicBezTo>
                    <a:pt x="247" y="155"/>
                    <a:pt x="248" y="155"/>
                    <a:pt x="248" y="154"/>
                  </a:cubicBezTo>
                  <a:cubicBezTo>
                    <a:pt x="249" y="154"/>
                    <a:pt x="250" y="154"/>
                    <a:pt x="250" y="153"/>
                  </a:cubicBezTo>
                  <a:cubicBezTo>
                    <a:pt x="250" y="153"/>
                    <a:pt x="250" y="153"/>
                    <a:pt x="250" y="153"/>
                  </a:cubicBezTo>
                  <a:cubicBezTo>
                    <a:pt x="250" y="153"/>
                    <a:pt x="250" y="153"/>
                    <a:pt x="250" y="153"/>
                  </a:cubicBezTo>
                  <a:cubicBezTo>
                    <a:pt x="251" y="153"/>
                    <a:pt x="256" y="155"/>
                    <a:pt x="262" y="158"/>
                  </a:cubicBezTo>
                  <a:cubicBezTo>
                    <a:pt x="256" y="155"/>
                    <a:pt x="251" y="152"/>
                    <a:pt x="251" y="152"/>
                  </a:cubicBezTo>
                  <a:cubicBezTo>
                    <a:pt x="251" y="152"/>
                    <a:pt x="251" y="152"/>
                    <a:pt x="251" y="152"/>
                  </a:cubicBezTo>
                  <a:cubicBezTo>
                    <a:pt x="251" y="151"/>
                    <a:pt x="251" y="150"/>
                    <a:pt x="251" y="148"/>
                  </a:cubicBezTo>
                  <a:cubicBezTo>
                    <a:pt x="250" y="147"/>
                    <a:pt x="248" y="146"/>
                    <a:pt x="246" y="146"/>
                  </a:cubicBezTo>
                  <a:cubicBezTo>
                    <a:pt x="246" y="146"/>
                    <a:pt x="246" y="146"/>
                    <a:pt x="246" y="146"/>
                  </a:cubicBezTo>
                  <a:cubicBezTo>
                    <a:pt x="246" y="146"/>
                    <a:pt x="246" y="146"/>
                    <a:pt x="246" y="146"/>
                  </a:cubicBezTo>
                  <a:cubicBezTo>
                    <a:pt x="246" y="146"/>
                    <a:pt x="246" y="146"/>
                    <a:pt x="246" y="146"/>
                  </a:cubicBezTo>
                  <a:cubicBezTo>
                    <a:pt x="245" y="146"/>
                    <a:pt x="231" y="103"/>
                    <a:pt x="232" y="102"/>
                  </a:cubicBezTo>
                  <a:cubicBezTo>
                    <a:pt x="232" y="102"/>
                    <a:pt x="232" y="102"/>
                    <a:pt x="232" y="102"/>
                  </a:cubicBezTo>
                  <a:cubicBezTo>
                    <a:pt x="237" y="101"/>
                    <a:pt x="239" y="96"/>
                    <a:pt x="238" y="92"/>
                  </a:cubicBezTo>
                  <a:cubicBezTo>
                    <a:pt x="238" y="92"/>
                    <a:pt x="238" y="92"/>
                    <a:pt x="238" y="92"/>
                  </a:cubicBezTo>
                  <a:cubicBezTo>
                    <a:pt x="237" y="90"/>
                    <a:pt x="283" y="72"/>
                    <a:pt x="291" y="72"/>
                  </a:cubicBezTo>
                  <a:cubicBezTo>
                    <a:pt x="292" y="72"/>
                    <a:pt x="292" y="72"/>
                    <a:pt x="292" y="73"/>
                  </a:cubicBezTo>
                  <a:cubicBezTo>
                    <a:pt x="292" y="72"/>
                    <a:pt x="292" y="72"/>
                    <a:pt x="292" y="72"/>
                  </a:cubicBezTo>
                  <a:cubicBezTo>
                    <a:pt x="295" y="78"/>
                    <a:pt x="301" y="81"/>
                    <a:pt x="308" y="81"/>
                  </a:cubicBezTo>
                  <a:cubicBezTo>
                    <a:pt x="310" y="81"/>
                    <a:pt x="313" y="81"/>
                    <a:pt x="315" y="80"/>
                  </a:cubicBezTo>
                  <a:cubicBezTo>
                    <a:pt x="324" y="76"/>
                    <a:pt x="328" y="65"/>
                    <a:pt x="324" y="57"/>
                  </a:cubicBezTo>
                  <a:cubicBezTo>
                    <a:pt x="321" y="51"/>
                    <a:pt x="314" y="47"/>
                    <a:pt x="308" y="47"/>
                  </a:cubicBezTo>
                  <a:cubicBezTo>
                    <a:pt x="305" y="47"/>
                    <a:pt x="302" y="47"/>
                    <a:pt x="300" y="49"/>
                  </a:cubicBezTo>
                  <a:cubicBezTo>
                    <a:pt x="299" y="49"/>
                    <a:pt x="298" y="49"/>
                    <a:pt x="297" y="50"/>
                  </a:cubicBezTo>
                  <a:cubicBezTo>
                    <a:pt x="298" y="50"/>
                    <a:pt x="298" y="50"/>
                    <a:pt x="298" y="50"/>
                  </a:cubicBezTo>
                  <a:cubicBezTo>
                    <a:pt x="298" y="50"/>
                    <a:pt x="297" y="50"/>
                    <a:pt x="297" y="50"/>
                  </a:cubicBezTo>
                  <a:cubicBezTo>
                    <a:pt x="293" y="50"/>
                    <a:pt x="264" y="19"/>
                    <a:pt x="266" y="17"/>
                  </a:cubicBezTo>
                  <a:cubicBezTo>
                    <a:pt x="266" y="17"/>
                    <a:pt x="266" y="17"/>
                    <a:pt x="266" y="17"/>
                  </a:cubicBezTo>
                  <a:cubicBezTo>
                    <a:pt x="267" y="16"/>
                    <a:pt x="268" y="13"/>
                    <a:pt x="268" y="11"/>
                  </a:cubicBezTo>
                  <a:cubicBezTo>
                    <a:pt x="268" y="5"/>
                    <a:pt x="263" y="0"/>
                    <a:pt x="257"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9" name="Freeform 22"/>
            <p:cNvSpPr>
              <a:spLocks/>
            </p:cNvSpPr>
            <p:nvPr/>
          </p:nvSpPr>
          <p:spPr bwMode="auto">
            <a:xfrm>
              <a:off x="7312025" y="3098800"/>
              <a:ext cx="12700" cy="26988"/>
            </a:xfrm>
            <a:custGeom>
              <a:avLst/>
              <a:gdLst>
                <a:gd name="T0" fmla="*/ 0 w 3"/>
                <a:gd name="T1" fmla="*/ 0 h 7"/>
                <a:gd name="T2" fmla="*/ 3 w 3"/>
                <a:gd name="T3" fmla="*/ 7 h 7"/>
                <a:gd name="T4" fmla="*/ 0 w 3"/>
                <a:gd name="T5" fmla="*/ 0 h 7"/>
              </a:gdLst>
              <a:ahLst/>
              <a:cxnLst>
                <a:cxn ang="0">
                  <a:pos x="T0" y="T1"/>
                </a:cxn>
                <a:cxn ang="0">
                  <a:pos x="T2" y="T3"/>
                </a:cxn>
                <a:cxn ang="0">
                  <a:pos x="T4" y="T5"/>
                </a:cxn>
              </a:cxnLst>
              <a:rect l="0" t="0" r="r" b="b"/>
              <a:pathLst>
                <a:path w="3" h="7">
                  <a:moveTo>
                    <a:pt x="0" y="0"/>
                  </a:moveTo>
                  <a:cubicBezTo>
                    <a:pt x="1" y="2"/>
                    <a:pt x="2" y="4"/>
                    <a:pt x="3" y="7"/>
                  </a:cubicBezTo>
                  <a:cubicBezTo>
                    <a:pt x="2" y="4"/>
                    <a:pt x="1" y="2"/>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0" name="Freeform 23"/>
            <p:cNvSpPr>
              <a:spLocks/>
            </p:cNvSpPr>
            <p:nvPr/>
          </p:nvSpPr>
          <p:spPr bwMode="auto">
            <a:xfrm>
              <a:off x="6307138" y="2813050"/>
              <a:ext cx="41275" cy="3175"/>
            </a:xfrm>
            <a:custGeom>
              <a:avLst/>
              <a:gdLst>
                <a:gd name="T0" fmla="*/ 5 w 11"/>
                <a:gd name="T1" fmla="*/ 0 h 1"/>
                <a:gd name="T2" fmla="*/ 0 w 11"/>
                <a:gd name="T3" fmla="*/ 0 h 1"/>
                <a:gd name="T4" fmla="*/ 5 w 11"/>
                <a:gd name="T5" fmla="*/ 1 h 1"/>
                <a:gd name="T6" fmla="*/ 11 w 11"/>
                <a:gd name="T7" fmla="*/ 0 h 1"/>
                <a:gd name="T8" fmla="*/ 5 w 11"/>
                <a:gd name="T9" fmla="*/ 0 h 1"/>
              </a:gdLst>
              <a:ahLst/>
              <a:cxnLst>
                <a:cxn ang="0">
                  <a:pos x="T0" y="T1"/>
                </a:cxn>
                <a:cxn ang="0">
                  <a:pos x="T2" y="T3"/>
                </a:cxn>
                <a:cxn ang="0">
                  <a:pos x="T4" y="T5"/>
                </a:cxn>
                <a:cxn ang="0">
                  <a:pos x="T6" y="T7"/>
                </a:cxn>
                <a:cxn ang="0">
                  <a:pos x="T8" y="T9"/>
                </a:cxn>
              </a:cxnLst>
              <a:rect l="0" t="0" r="r" b="b"/>
              <a:pathLst>
                <a:path w="11" h="1">
                  <a:moveTo>
                    <a:pt x="5" y="0"/>
                  </a:moveTo>
                  <a:cubicBezTo>
                    <a:pt x="4" y="0"/>
                    <a:pt x="2" y="0"/>
                    <a:pt x="0" y="0"/>
                  </a:cubicBezTo>
                  <a:cubicBezTo>
                    <a:pt x="2" y="1"/>
                    <a:pt x="4" y="1"/>
                    <a:pt x="5" y="1"/>
                  </a:cubicBezTo>
                  <a:cubicBezTo>
                    <a:pt x="7" y="1"/>
                    <a:pt x="9" y="0"/>
                    <a:pt x="11" y="0"/>
                  </a:cubicBezTo>
                  <a:cubicBezTo>
                    <a:pt x="9" y="0"/>
                    <a:pt x="7" y="0"/>
                    <a:pt x="5"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1" name="Freeform 24"/>
            <p:cNvSpPr>
              <a:spLocks/>
            </p:cNvSpPr>
            <p:nvPr/>
          </p:nvSpPr>
          <p:spPr bwMode="auto">
            <a:xfrm>
              <a:off x="6442075" y="2843213"/>
              <a:ext cx="11113" cy="7938"/>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2"/>
                    <a:pt x="1"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2" name="Freeform 25"/>
            <p:cNvSpPr>
              <a:spLocks/>
            </p:cNvSpPr>
            <p:nvPr/>
          </p:nvSpPr>
          <p:spPr bwMode="auto">
            <a:xfrm>
              <a:off x="6502400" y="3136900"/>
              <a:ext cx="14288" cy="52388"/>
            </a:xfrm>
            <a:custGeom>
              <a:avLst/>
              <a:gdLst>
                <a:gd name="T0" fmla="*/ 0 w 4"/>
                <a:gd name="T1" fmla="*/ 0 h 14"/>
                <a:gd name="T2" fmla="*/ 4 w 4"/>
                <a:gd name="T3" fmla="*/ 14 h 14"/>
                <a:gd name="T4" fmla="*/ 0 w 4"/>
                <a:gd name="T5" fmla="*/ 0 h 14"/>
              </a:gdLst>
              <a:ahLst/>
              <a:cxnLst>
                <a:cxn ang="0">
                  <a:pos x="T0" y="T1"/>
                </a:cxn>
                <a:cxn ang="0">
                  <a:pos x="T2" y="T3"/>
                </a:cxn>
                <a:cxn ang="0">
                  <a:pos x="T4" y="T5"/>
                </a:cxn>
              </a:cxnLst>
              <a:rect l="0" t="0" r="r" b="b"/>
              <a:pathLst>
                <a:path w="4" h="14">
                  <a:moveTo>
                    <a:pt x="0" y="0"/>
                  </a:moveTo>
                  <a:cubicBezTo>
                    <a:pt x="1" y="4"/>
                    <a:pt x="2" y="9"/>
                    <a:pt x="4" y="14"/>
                  </a:cubicBezTo>
                  <a:cubicBezTo>
                    <a:pt x="3" y="9"/>
                    <a:pt x="1"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3" name="Freeform 26"/>
            <p:cNvSpPr>
              <a:spLocks noEditPoints="1"/>
            </p:cNvSpPr>
            <p:nvPr/>
          </p:nvSpPr>
          <p:spPr bwMode="auto">
            <a:xfrm>
              <a:off x="5980113" y="2941638"/>
              <a:ext cx="528638" cy="195263"/>
            </a:xfrm>
            <a:custGeom>
              <a:avLst/>
              <a:gdLst>
                <a:gd name="T0" fmla="*/ 95 w 141"/>
                <a:gd name="T1" fmla="*/ 22 h 52"/>
                <a:gd name="T2" fmla="*/ 101 w 141"/>
                <a:gd name="T3" fmla="*/ 23 h 52"/>
                <a:gd name="T4" fmla="*/ 103 w 141"/>
                <a:gd name="T5" fmla="*/ 22 h 52"/>
                <a:gd name="T6" fmla="*/ 133 w 141"/>
                <a:gd name="T7" fmla="*/ 41 h 52"/>
                <a:gd name="T8" fmla="*/ 132 w 141"/>
                <a:gd name="T9" fmla="*/ 42 h 52"/>
                <a:gd name="T10" fmla="*/ 70 w 141"/>
                <a:gd name="T11" fmla="*/ 45 h 52"/>
                <a:gd name="T12" fmla="*/ 65 w 141"/>
                <a:gd name="T13" fmla="*/ 45 h 52"/>
                <a:gd name="T14" fmla="*/ 64 w 141"/>
                <a:gd name="T15" fmla="*/ 43 h 52"/>
                <a:gd name="T16" fmla="*/ 95 w 141"/>
                <a:gd name="T17" fmla="*/ 22 h 52"/>
                <a:gd name="T18" fmla="*/ 15 w 141"/>
                <a:gd name="T19" fmla="*/ 0 h 52"/>
                <a:gd name="T20" fmla="*/ 7 w 141"/>
                <a:gd name="T21" fmla="*/ 6 h 52"/>
                <a:gd name="T22" fmla="*/ 4 w 141"/>
                <a:gd name="T23" fmla="*/ 5 h 52"/>
                <a:gd name="T24" fmla="*/ 1 w 141"/>
                <a:gd name="T25" fmla="*/ 10 h 52"/>
                <a:gd name="T26" fmla="*/ 6 w 141"/>
                <a:gd name="T27" fmla="*/ 12 h 52"/>
                <a:gd name="T28" fmla="*/ 7 w 141"/>
                <a:gd name="T29" fmla="*/ 11 h 52"/>
                <a:gd name="T30" fmla="*/ 52 w 141"/>
                <a:gd name="T31" fmla="*/ 43 h 52"/>
                <a:gd name="T32" fmla="*/ 52 w 141"/>
                <a:gd name="T33" fmla="*/ 49 h 52"/>
                <a:gd name="T34" fmla="*/ 61 w 141"/>
                <a:gd name="T35" fmla="*/ 52 h 52"/>
                <a:gd name="T36" fmla="*/ 65 w 141"/>
                <a:gd name="T37" fmla="*/ 47 h 52"/>
                <a:gd name="T38" fmla="*/ 132 w 141"/>
                <a:gd name="T39" fmla="*/ 43 h 52"/>
                <a:gd name="T40" fmla="*/ 133 w 141"/>
                <a:gd name="T41" fmla="*/ 44 h 52"/>
                <a:gd name="T42" fmla="*/ 137 w 141"/>
                <a:gd name="T43" fmla="*/ 46 h 52"/>
                <a:gd name="T44" fmla="*/ 137 w 141"/>
                <a:gd name="T45" fmla="*/ 46 h 52"/>
                <a:gd name="T46" fmla="*/ 138 w 141"/>
                <a:gd name="T47" fmla="*/ 46 h 52"/>
                <a:gd name="T48" fmla="*/ 140 w 141"/>
                <a:gd name="T49" fmla="*/ 41 h 52"/>
                <a:gd name="T50" fmla="*/ 138 w 141"/>
                <a:gd name="T51" fmla="*/ 39 h 52"/>
                <a:gd name="T52" fmla="*/ 137 w 141"/>
                <a:gd name="T53" fmla="*/ 39 h 52"/>
                <a:gd name="T54" fmla="*/ 137 w 141"/>
                <a:gd name="T55" fmla="*/ 39 h 52"/>
                <a:gd name="T56" fmla="*/ 135 w 141"/>
                <a:gd name="T57" fmla="*/ 39 h 52"/>
                <a:gd name="T58" fmla="*/ 133 w 141"/>
                <a:gd name="T59" fmla="*/ 40 h 52"/>
                <a:gd name="T60" fmla="*/ 103 w 141"/>
                <a:gd name="T61" fmla="*/ 21 h 52"/>
                <a:gd name="T62" fmla="*/ 103 w 141"/>
                <a:gd name="T63" fmla="*/ 17 h 52"/>
                <a:gd name="T64" fmla="*/ 97 w 141"/>
                <a:gd name="T65" fmla="*/ 15 h 52"/>
                <a:gd name="T66" fmla="*/ 95 w 141"/>
                <a:gd name="T67" fmla="*/ 21 h 52"/>
                <a:gd name="T68" fmla="*/ 63 w 141"/>
                <a:gd name="T69" fmla="*/ 41 h 52"/>
                <a:gd name="T70" fmla="*/ 58 w 141"/>
                <a:gd name="T71" fmla="*/ 39 h 52"/>
                <a:gd name="T72" fmla="*/ 53 w 141"/>
                <a:gd name="T73" fmla="*/ 41 h 52"/>
                <a:gd name="T74" fmla="*/ 53 w 141"/>
                <a:gd name="T75" fmla="*/ 41 h 52"/>
                <a:gd name="T76" fmla="*/ 8 w 141"/>
                <a:gd name="T77" fmla="*/ 10 h 52"/>
                <a:gd name="T78" fmla="*/ 8 w 141"/>
                <a:gd name="T79" fmla="*/ 7 h 52"/>
                <a:gd name="T80" fmla="*/ 15 w 141"/>
                <a:gd name="T8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52">
                  <a:moveTo>
                    <a:pt x="96" y="22"/>
                  </a:moveTo>
                  <a:cubicBezTo>
                    <a:pt x="95" y="22"/>
                    <a:pt x="95" y="22"/>
                    <a:pt x="95" y="22"/>
                  </a:cubicBezTo>
                  <a:cubicBezTo>
                    <a:pt x="96" y="23"/>
                    <a:pt x="98" y="24"/>
                    <a:pt x="99" y="24"/>
                  </a:cubicBezTo>
                  <a:cubicBezTo>
                    <a:pt x="100" y="24"/>
                    <a:pt x="100" y="23"/>
                    <a:pt x="101" y="23"/>
                  </a:cubicBezTo>
                  <a:cubicBezTo>
                    <a:pt x="102" y="23"/>
                    <a:pt x="102" y="23"/>
                    <a:pt x="103" y="22"/>
                  </a:cubicBezTo>
                  <a:cubicBezTo>
                    <a:pt x="103" y="22"/>
                    <a:pt x="103" y="22"/>
                    <a:pt x="103" y="22"/>
                  </a:cubicBezTo>
                  <a:cubicBezTo>
                    <a:pt x="103" y="22"/>
                    <a:pt x="103" y="22"/>
                    <a:pt x="103" y="22"/>
                  </a:cubicBezTo>
                  <a:cubicBezTo>
                    <a:pt x="104" y="22"/>
                    <a:pt x="133" y="40"/>
                    <a:pt x="133" y="41"/>
                  </a:cubicBezTo>
                  <a:cubicBezTo>
                    <a:pt x="133" y="41"/>
                    <a:pt x="133" y="41"/>
                    <a:pt x="133" y="41"/>
                  </a:cubicBezTo>
                  <a:cubicBezTo>
                    <a:pt x="132" y="41"/>
                    <a:pt x="132" y="42"/>
                    <a:pt x="132" y="42"/>
                  </a:cubicBezTo>
                  <a:cubicBezTo>
                    <a:pt x="132" y="42"/>
                    <a:pt x="132" y="42"/>
                    <a:pt x="132" y="42"/>
                  </a:cubicBezTo>
                  <a:cubicBezTo>
                    <a:pt x="132" y="43"/>
                    <a:pt x="86" y="45"/>
                    <a:pt x="70" y="45"/>
                  </a:cubicBezTo>
                  <a:cubicBezTo>
                    <a:pt x="67" y="45"/>
                    <a:pt x="65" y="45"/>
                    <a:pt x="65" y="45"/>
                  </a:cubicBezTo>
                  <a:cubicBezTo>
                    <a:pt x="65" y="45"/>
                    <a:pt x="65" y="45"/>
                    <a:pt x="65" y="45"/>
                  </a:cubicBezTo>
                  <a:cubicBezTo>
                    <a:pt x="65" y="44"/>
                    <a:pt x="64" y="43"/>
                    <a:pt x="64" y="43"/>
                  </a:cubicBezTo>
                  <a:cubicBezTo>
                    <a:pt x="64" y="43"/>
                    <a:pt x="64" y="43"/>
                    <a:pt x="64" y="43"/>
                  </a:cubicBezTo>
                  <a:cubicBezTo>
                    <a:pt x="64" y="43"/>
                    <a:pt x="64" y="43"/>
                    <a:pt x="64" y="43"/>
                  </a:cubicBezTo>
                  <a:cubicBezTo>
                    <a:pt x="64" y="42"/>
                    <a:pt x="94" y="22"/>
                    <a:pt x="95" y="22"/>
                  </a:cubicBezTo>
                  <a:cubicBezTo>
                    <a:pt x="96" y="22"/>
                    <a:pt x="96" y="22"/>
                    <a:pt x="96" y="22"/>
                  </a:cubicBezTo>
                  <a:moveTo>
                    <a:pt x="15" y="0"/>
                  </a:moveTo>
                  <a:cubicBezTo>
                    <a:pt x="11" y="3"/>
                    <a:pt x="8" y="6"/>
                    <a:pt x="7" y="6"/>
                  </a:cubicBezTo>
                  <a:cubicBezTo>
                    <a:pt x="7" y="6"/>
                    <a:pt x="7" y="6"/>
                    <a:pt x="7" y="6"/>
                  </a:cubicBezTo>
                  <a:cubicBezTo>
                    <a:pt x="7" y="6"/>
                    <a:pt x="7" y="6"/>
                    <a:pt x="7" y="6"/>
                  </a:cubicBezTo>
                  <a:cubicBezTo>
                    <a:pt x="6" y="5"/>
                    <a:pt x="5" y="5"/>
                    <a:pt x="4" y="5"/>
                  </a:cubicBezTo>
                  <a:cubicBezTo>
                    <a:pt x="4" y="5"/>
                    <a:pt x="3" y="5"/>
                    <a:pt x="3" y="5"/>
                  </a:cubicBezTo>
                  <a:cubicBezTo>
                    <a:pt x="1" y="6"/>
                    <a:pt x="0" y="8"/>
                    <a:pt x="1" y="10"/>
                  </a:cubicBezTo>
                  <a:cubicBezTo>
                    <a:pt x="1" y="12"/>
                    <a:pt x="3" y="12"/>
                    <a:pt x="4" y="12"/>
                  </a:cubicBezTo>
                  <a:cubicBezTo>
                    <a:pt x="5" y="12"/>
                    <a:pt x="6" y="12"/>
                    <a:pt x="6" y="12"/>
                  </a:cubicBezTo>
                  <a:cubicBezTo>
                    <a:pt x="7" y="12"/>
                    <a:pt x="7" y="12"/>
                    <a:pt x="7" y="11"/>
                  </a:cubicBezTo>
                  <a:cubicBezTo>
                    <a:pt x="7" y="11"/>
                    <a:pt x="7" y="11"/>
                    <a:pt x="7" y="11"/>
                  </a:cubicBezTo>
                  <a:cubicBezTo>
                    <a:pt x="7" y="11"/>
                    <a:pt x="7" y="11"/>
                    <a:pt x="7" y="11"/>
                  </a:cubicBezTo>
                  <a:cubicBezTo>
                    <a:pt x="9" y="11"/>
                    <a:pt x="52" y="42"/>
                    <a:pt x="52" y="43"/>
                  </a:cubicBezTo>
                  <a:cubicBezTo>
                    <a:pt x="52" y="43"/>
                    <a:pt x="52" y="43"/>
                    <a:pt x="52" y="43"/>
                  </a:cubicBezTo>
                  <a:cubicBezTo>
                    <a:pt x="51" y="44"/>
                    <a:pt x="51" y="47"/>
                    <a:pt x="52" y="49"/>
                  </a:cubicBezTo>
                  <a:cubicBezTo>
                    <a:pt x="53" y="51"/>
                    <a:pt x="55" y="52"/>
                    <a:pt x="58" y="52"/>
                  </a:cubicBezTo>
                  <a:cubicBezTo>
                    <a:pt x="59" y="52"/>
                    <a:pt x="60" y="52"/>
                    <a:pt x="61" y="52"/>
                  </a:cubicBezTo>
                  <a:cubicBezTo>
                    <a:pt x="63" y="51"/>
                    <a:pt x="65" y="49"/>
                    <a:pt x="65" y="46"/>
                  </a:cubicBezTo>
                  <a:cubicBezTo>
                    <a:pt x="65" y="47"/>
                    <a:pt x="65" y="47"/>
                    <a:pt x="65" y="47"/>
                  </a:cubicBezTo>
                  <a:cubicBezTo>
                    <a:pt x="65" y="45"/>
                    <a:pt x="117" y="43"/>
                    <a:pt x="129" y="43"/>
                  </a:cubicBezTo>
                  <a:cubicBezTo>
                    <a:pt x="131" y="43"/>
                    <a:pt x="132" y="43"/>
                    <a:pt x="132" y="43"/>
                  </a:cubicBezTo>
                  <a:cubicBezTo>
                    <a:pt x="132" y="43"/>
                    <a:pt x="132" y="43"/>
                    <a:pt x="132" y="43"/>
                  </a:cubicBezTo>
                  <a:cubicBezTo>
                    <a:pt x="133" y="44"/>
                    <a:pt x="133" y="44"/>
                    <a:pt x="133" y="44"/>
                  </a:cubicBezTo>
                  <a:cubicBezTo>
                    <a:pt x="133" y="46"/>
                    <a:pt x="135" y="46"/>
                    <a:pt x="136" y="46"/>
                  </a:cubicBezTo>
                  <a:cubicBezTo>
                    <a:pt x="136" y="46"/>
                    <a:pt x="137" y="46"/>
                    <a:pt x="137" y="46"/>
                  </a:cubicBezTo>
                  <a:cubicBezTo>
                    <a:pt x="137" y="46"/>
                    <a:pt x="137" y="46"/>
                    <a:pt x="137" y="46"/>
                  </a:cubicBezTo>
                  <a:cubicBezTo>
                    <a:pt x="137" y="46"/>
                    <a:pt x="137" y="46"/>
                    <a:pt x="137" y="46"/>
                  </a:cubicBezTo>
                  <a:cubicBezTo>
                    <a:pt x="137" y="46"/>
                    <a:pt x="138" y="49"/>
                    <a:pt x="139" y="52"/>
                  </a:cubicBezTo>
                  <a:cubicBezTo>
                    <a:pt x="138" y="48"/>
                    <a:pt x="138" y="46"/>
                    <a:pt x="138" y="46"/>
                  </a:cubicBezTo>
                  <a:cubicBezTo>
                    <a:pt x="138" y="46"/>
                    <a:pt x="138" y="46"/>
                    <a:pt x="138" y="46"/>
                  </a:cubicBezTo>
                  <a:cubicBezTo>
                    <a:pt x="140" y="45"/>
                    <a:pt x="141" y="43"/>
                    <a:pt x="140" y="41"/>
                  </a:cubicBezTo>
                  <a:cubicBezTo>
                    <a:pt x="140" y="40"/>
                    <a:pt x="139" y="39"/>
                    <a:pt x="138" y="39"/>
                  </a:cubicBezTo>
                  <a:cubicBezTo>
                    <a:pt x="138" y="39"/>
                    <a:pt x="138" y="39"/>
                    <a:pt x="138" y="39"/>
                  </a:cubicBezTo>
                  <a:cubicBezTo>
                    <a:pt x="138" y="39"/>
                    <a:pt x="139" y="33"/>
                    <a:pt x="141" y="25"/>
                  </a:cubicBezTo>
                  <a:cubicBezTo>
                    <a:pt x="139" y="33"/>
                    <a:pt x="137" y="39"/>
                    <a:pt x="137" y="39"/>
                  </a:cubicBezTo>
                  <a:cubicBezTo>
                    <a:pt x="137" y="39"/>
                    <a:pt x="137" y="39"/>
                    <a:pt x="137" y="39"/>
                  </a:cubicBezTo>
                  <a:cubicBezTo>
                    <a:pt x="137" y="39"/>
                    <a:pt x="137" y="39"/>
                    <a:pt x="137" y="39"/>
                  </a:cubicBezTo>
                  <a:cubicBezTo>
                    <a:pt x="137" y="39"/>
                    <a:pt x="136" y="39"/>
                    <a:pt x="136" y="39"/>
                  </a:cubicBezTo>
                  <a:cubicBezTo>
                    <a:pt x="136" y="39"/>
                    <a:pt x="135" y="39"/>
                    <a:pt x="135" y="39"/>
                  </a:cubicBezTo>
                  <a:cubicBezTo>
                    <a:pt x="134" y="39"/>
                    <a:pt x="134" y="40"/>
                    <a:pt x="133" y="40"/>
                  </a:cubicBezTo>
                  <a:cubicBezTo>
                    <a:pt x="133" y="40"/>
                    <a:pt x="133" y="40"/>
                    <a:pt x="133" y="40"/>
                  </a:cubicBezTo>
                  <a:cubicBezTo>
                    <a:pt x="133" y="40"/>
                    <a:pt x="133" y="40"/>
                    <a:pt x="133" y="40"/>
                  </a:cubicBezTo>
                  <a:cubicBezTo>
                    <a:pt x="132" y="40"/>
                    <a:pt x="103" y="22"/>
                    <a:pt x="103" y="21"/>
                  </a:cubicBezTo>
                  <a:cubicBezTo>
                    <a:pt x="103" y="21"/>
                    <a:pt x="103" y="21"/>
                    <a:pt x="103" y="21"/>
                  </a:cubicBezTo>
                  <a:cubicBezTo>
                    <a:pt x="104" y="20"/>
                    <a:pt x="104" y="18"/>
                    <a:pt x="103" y="17"/>
                  </a:cubicBezTo>
                  <a:cubicBezTo>
                    <a:pt x="103" y="15"/>
                    <a:pt x="101" y="14"/>
                    <a:pt x="99" y="14"/>
                  </a:cubicBezTo>
                  <a:cubicBezTo>
                    <a:pt x="98" y="14"/>
                    <a:pt x="98" y="15"/>
                    <a:pt x="97" y="15"/>
                  </a:cubicBezTo>
                  <a:cubicBezTo>
                    <a:pt x="95" y="16"/>
                    <a:pt x="94" y="19"/>
                    <a:pt x="95" y="21"/>
                  </a:cubicBezTo>
                  <a:cubicBezTo>
                    <a:pt x="95" y="21"/>
                    <a:pt x="95" y="21"/>
                    <a:pt x="95" y="21"/>
                  </a:cubicBezTo>
                  <a:cubicBezTo>
                    <a:pt x="95" y="22"/>
                    <a:pt x="65" y="41"/>
                    <a:pt x="63" y="41"/>
                  </a:cubicBezTo>
                  <a:cubicBezTo>
                    <a:pt x="63" y="41"/>
                    <a:pt x="63" y="41"/>
                    <a:pt x="63" y="41"/>
                  </a:cubicBezTo>
                  <a:cubicBezTo>
                    <a:pt x="63" y="41"/>
                    <a:pt x="63" y="41"/>
                    <a:pt x="63" y="41"/>
                  </a:cubicBezTo>
                  <a:cubicBezTo>
                    <a:pt x="62" y="40"/>
                    <a:pt x="60" y="39"/>
                    <a:pt x="58" y="39"/>
                  </a:cubicBezTo>
                  <a:cubicBezTo>
                    <a:pt x="57" y="39"/>
                    <a:pt x="56" y="39"/>
                    <a:pt x="55" y="40"/>
                  </a:cubicBezTo>
                  <a:cubicBezTo>
                    <a:pt x="54" y="40"/>
                    <a:pt x="54" y="41"/>
                    <a:pt x="53" y="41"/>
                  </a:cubicBezTo>
                  <a:cubicBezTo>
                    <a:pt x="53" y="41"/>
                    <a:pt x="53" y="41"/>
                    <a:pt x="53" y="41"/>
                  </a:cubicBezTo>
                  <a:cubicBezTo>
                    <a:pt x="53" y="41"/>
                    <a:pt x="53" y="41"/>
                    <a:pt x="53" y="41"/>
                  </a:cubicBezTo>
                  <a:cubicBezTo>
                    <a:pt x="51" y="41"/>
                    <a:pt x="8" y="11"/>
                    <a:pt x="8" y="10"/>
                  </a:cubicBezTo>
                  <a:cubicBezTo>
                    <a:pt x="8" y="10"/>
                    <a:pt x="8" y="10"/>
                    <a:pt x="8" y="10"/>
                  </a:cubicBezTo>
                  <a:cubicBezTo>
                    <a:pt x="9" y="9"/>
                    <a:pt x="9" y="8"/>
                    <a:pt x="8" y="7"/>
                  </a:cubicBezTo>
                  <a:cubicBezTo>
                    <a:pt x="8" y="7"/>
                    <a:pt x="8" y="7"/>
                    <a:pt x="8" y="7"/>
                  </a:cubicBezTo>
                  <a:cubicBezTo>
                    <a:pt x="8" y="7"/>
                    <a:pt x="8" y="7"/>
                    <a:pt x="8" y="7"/>
                  </a:cubicBezTo>
                  <a:cubicBezTo>
                    <a:pt x="8" y="6"/>
                    <a:pt x="11" y="4"/>
                    <a:pt x="15"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4" name="Freeform 27"/>
            <p:cNvSpPr>
              <a:spLocks/>
            </p:cNvSpPr>
            <p:nvPr/>
          </p:nvSpPr>
          <p:spPr bwMode="auto">
            <a:xfrm>
              <a:off x="6508750" y="3016250"/>
              <a:ext cx="7938" cy="19050"/>
            </a:xfrm>
            <a:custGeom>
              <a:avLst/>
              <a:gdLst>
                <a:gd name="T0" fmla="*/ 2 w 2"/>
                <a:gd name="T1" fmla="*/ 0 h 5"/>
                <a:gd name="T2" fmla="*/ 0 w 2"/>
                <a:gd name="T3" fmla="*/ 5 h 5"/>
                <a:gd name="T4" fmla="*/ 2 w 2"/>
                <a:gd name="T5" fmla="*/ 0 h 5"/>
              </a:gdLst>
              <a:ahLst/>
              <a:cxnLst>
                <a:cxn ang="0">
                  <a:pos x="T0" y="T1"/>
                </a:cxn>
                <a:cxn ang="0">
                  <a:pos x="T2" y="T3"/>
                </a:cxn>
                <a:cxn ang="0">
                  <a:pos x="T4" y="T5"/>
                </a:cxn>
              </a:cxnLst>
              <a:rect l="0" t="0" r="r" b="b"/>
              <a:pathLst>
                <a:path w="2" h="5">
                  <a:moveTo>
                    <a:pt x="2" y="0"/>
                  </a:moveTo>
                  <a:cubicBezTo>
                    <a:pt x="1" y="2"/>
                    <a:pt x="1" y="4"/>
                    <a:pt x="0" y="5"/>
                  </a:cubicBezTo>
                  <a:cubicBezTo>
                    <a:pt x="1" y="4"/>
                    <a:pt x="1" y="2"/>
                    <a:pt x="2"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grpSp>
    </p:spTree>
    <p:extLst>
      <p:ext uri="{BB962C8B-B14F-4D97-AF65-F5344CB8AC3E}">
        <p14:creationId xmlns:p14="http://schemas.microsoft.com/office/powerpoint/2010/main" val="773266167"/>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Picture Placeholder 3"/>
          <p:cNvSpPr>
            <a:spLocks noGrp="1"/>
          </p:cNvSpPr>
          <p:nvPr>
            <p:ph type="pic" sz="quarter" idx="10"/>
          </p:nvPr>
        </p:nvSpPr>
        <p:spPr>
          <a:xfrm>
            <a:off x="11" y="0"/>
            <a:ext cx="9143999" cy="5143500"/>
          </a:xfrm>
        </p:spPr>
        <p:txBody>
          <a:bodyPr anchor="ctr" anchorCtr="0"/>
          <a:lstStyle>
            <a:lvl1pPr algn="ctr">
              <a:defRPr/>
            </a:lvl1pPr>
          </a:lstStyle>
          <a:p>
            <a:endParaRPr lang="en-US" dirty="0"/>
          </a:p>
        </p:txBody>
      </p:sp>
    </p:spTree>
    <p:extLst>
      <p:ext uri="{BB962C8B-B14F-4D97-AF65-F5344CB8AC3E}">
        <p14:creationId xmlns:p14="http://schemas.microsoft.com/office/powerpoint/2010/main" val="3230749190"/>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Welcome 1">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21" name="Group 20"/>
          <p:cNvGrpSpPr/>
          <p:nvPr userDrawn="1"/>
        </p:nvGrpSpPr>
        <p:grpSpPr>
          <a:xfrm>
            <a:off x="1743277" y="-30028"/>
            <a:ext cx="1783064" cy="5340714"/>
            <a:chOff x="6743391" y="-40037"/>
            <a:chExt cx="2377418" cy="7120952"/>
          </a:xfrm>
        </p:grpSpPr>
        <p:sp>
          <p:nvSpPr>
            <p:cNvPr id="22" name="Freeform 21"/>
            <p:cNvSpPr/>
            <p:nvPr/>
          </p:nvSpPr>
          <p:spPr>
            <a:xfrm rot="1200000">
              <a:off x="8197210" y="5091063"/>
              <a:ext cx="365760" cy="1765207"/>
            </a:xfrm>
            <a:custGeom>
              <a:avLst/>
              <a:gdLst>
                <a:gd name="connsiteX0" fmla="*/ 365760 w 365760"/>
                <a:gd name="connsiteY0" fmla="*/ 0 h 1765207"/>
                <a:gd name="connsiteX1" fmla="*/ 365760 w 365760"/>
                <a:gd name="connsiteY1" fmla="*/ 1632082 h 1765207"/>
                <a:gd name="connsiteX2" fmla="*/ 0 w 365760"/>
                <a:gd name="connsiteY2" fmla="*/ 1765207 h 1765207"/>
                <a:gd name="connsiteX3" fmla="*/ 0 w 365760"/>
                <a:gd name="connsiteY3" fmla="*/ 133126 h 1765207"/>
              </a:gdLst>
              <a:ahLst/>
              <a:cxnLst>
                <a:cxn ang="0">
                  <a:pos x="connsiteX0" y="connsiteY0"/>
                </a:cxn>
                <a:cxn ang="0">
                  <a:pos x="connsiteX1" y="connsiteY1"/>
                </a:cxn>
                <a:cxn ang="0">
                  <a:pos x="connsiteX2" y="connsiteY2"/>
                </a:cxn>
                <a:cxn ang="0">
                  <a:pos x="connsiteX3" y="connsiteY3"/>
                </a:cxn>
              </a:cxnLst>
              <a:rect l="l" t="t" r="r" b="b"/>
              <a:pathLst>
                <a:path w="365760" h="1765207">
                  <a:moveTo>
                    <a:pt x="365760" y="0"/>
                  </a:moveTo>
                  <a:lnTo>
                    <a:pt x="365760" y="1632082"/>
                  </a:lnTo>
                  <a:lnTo>
                    <a:pt x="0" y="1765207"/>
                  </a:lnTo>
                  <a:lnTo>
                    <a:pt x="0" y="133126"/>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23" name="Freeform 22"/>
            <p:cNvSpPr/>
            <p:nvPr/>
          </p:nvSpPr>
          <p:spPr>
            <a:xfrm rot="1200000">
              <a:off x="6743391" y="972631"/>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24" name="Freeform 23"/>
            <p:cNvSpPr/>
            <p:nvPr/>
          </p:nvSpPr>
          <p:spPr>
            <a:xfrm rot="1200000">
              <a:off x="7094507" y="2161338"/>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25" name="Freeform 24"/>
            <p:cNvSpPr/>
            <p:nvPr/>
          </p:nvSpPr>
          <p:spPr>
            <a:xfrm rot="1200000">
              <a:off x="8755049" y="-40037"/>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grpSp>
      <p:sp>
        <p:nvSpPr>
          <p:cNvPr id="20" name="Picture Placeholder 19"/>
          <p:cNvSpPr>
            <a:spLocks noGrp="1"/>
          </p:cNvSpPr>
          <p:nvPr userDrawn="1">
            <p:ph type="pic" sz="quarter" idx="10"/>
          </p:nvPr>
        </p:nvSpPr>
        <p:spPr>
          <a:xfrm>
            <a:off x="1211619" y="128154"/>
            <a:ext cx="3475076" cy="4824859"/>
          </a:xfrm>
          <a:custGeom>
            <a:avLst/>
            <a:gdLst>
              <a:gd name="connsiteX0" fmla="*/ 3375866 w 4633435"/>
              <a:gd name="connsiteY0" fmla="*/ 1948335 h 6433145"/>
              <a:gd name="connsiteX1" fmla="*/ 1743529 w 4633435"/>
              <a:gd name="connsiteY1" fmla="*/ 6433145 h 6433145"/>
              <a:gd name="connsiteX2" fmla="*/ 1354296 w 4633435"/>
              <a:gd name="connsiteY2" fmla="*/ 6433145 h 6433145"/>
              <a:gd name="connsiteX3" fmla="*/ 2986632 w 4633435"/>
              <a:gd name="connsiteY3" fmla="*/ 1948336 h 6433145"/>
              <a:gd name="connsiteX4" fmla="*/ 1927309 w 4633435"/>
              <a:gd name="connsiteY4" fmla="*/ 1085245 h 6433145"/>
              <a:gd name="connsiteX5" fmla="*/ 389233 w 4633435"/>
              <a:gd name="connsiteY5" fmla="*/ 5311073 h 6433145"/>
              <a:gd name="connsiteX6" fmla="*/ 0 w 4633435"/>
              <a:gd name="connsiteY6" fmla="*/ 5311073 h 6433145"/>
              <a:gd name="connsiteX7" fmla="*/ 1538076 w 4633435"/>
              <a:gd name="connsiteY7" fmla="*/ 1085245 h 6433145"/>
              <a:gd name="connsiteX8" fmla="*/ 4144614 w 4633435"/>
              <a:gd name="connsiteY8" fmla="*/ 1054143 h 6433145"/>
              <a:gd name="connsiteX9" fmla="*/ 2240188 w 4633435"/>
              <a:gd name="connsiteY9" fmla="*/ 6286513 h 6433145"/>
              <a:gd name="connsiteX10" fmla="*/ 1850955 w 4633435"/>
              <a:gd name="connsiteY10" fmla="*/ 6286512 h 6433145"/>
              <a:gd name="connsiteX11" fmla="*/ 3755381 w 4633435"/>
              <a:gd name="connsiteY11" fmla="*/ 1054144 h 6433145"/>
              <a:gd name="connsiteX12" fmla="*/ 4633435 w 4633435"/>
              <a:gd name="connsiteY12" fmla="*/ 929046 h 6433145"/>
              <a:gd name="connsiteX13" fmla="*/ 2931731 w 4633435"/>
              <a:gd name="connsiteY13" fmla="*/ 5604439 h 6433145"/>
              <a:gd name="connsiteX14" fmla="*/ 2542497 w 4633435"/>
              <a:gd name="connsiteY14" fmla="*/ 5604441 h 6433145"/>
              <a:gd name="connsiteX15" fmla="*/ 4244201 w 4633435"/>
              <a:gd name="connsiteY15" fmla="*/ 929046 h 6433145"/>
              <a:gd name="connsiteX16" fmla="*/ 2556829 w 4633435"/>
              <a:gd name="connsiteY16" fmla="*/ 693359 h 6433145"/>
              <a:gd name="connsiteX17" fmla="*/ 2946062 w 4633435"/>
              <a:gd name="connsiteY17" fmla="*/ 693360 h 6433145"/>
              <a:gd name="connsiteX18" fmla="*/ 1105166 w 4633435"/>
              <a:gd name="connsiteY18" fmla="*/ 5751182 h 6433145"/>
              <a:gd name="connsiteX19" fmla="*/ 715932 w 4633435"/>
              <a:gd name="connsiteY19" fmla="*/ 5751182 h 6433145"/>
              <a:gd name="connsiteX20" fmla="*/ 3117220 w 4633435"/>
              <a:gd name="connsiteY20" fmla="*/ 371622 h 6433145"/>
              <a:gd name="connsiteX21" fmla="*/ 3506455 w 4633435"/>
              <a:gd name="connsiteY21" fmla="*/ 371623 h 6433145"/>
              <a:gd name="connsiteX22" fmla="*/ 1733179 w 4633435"/>
              <a:gd name="connsiteY22" fmla="*/ 5243655 h 6433145"/>
              <a:gd name="connsiteX23" fmla="*/ 1343944 w 4633435"/>
              <a:gd name="connsiteY23" fmla="*/ 5243655 h 6433145"/>
              <a:gd name="connsiteX24" fmla="*/ 2755136 w 4633435"/>
              <a:gd name="connsiteY24" fmla="*/ 0 h 6433145"/>
              <a:gd name="connsiteX25" fmla="*/ 525012 w 4633435"/>
              <a:gd name="connsiteY25" fmla="*/ 6127216 h 6433145"/>
              <a:gd name="connsiteX26" fmla="*/ 135778 w 4633435"/>
              <a:gd name="connsiteY26" fmla="*/ 6127217 h 6433145"/>
              <a:gd name="connsiteX27" fmla="*/ 2365902 w 4633435"/>
              <a:gd name="connsiteY27" fmla="*/ 1 h 643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33435" h="6433145">
                <a:moveTo>
                  <a:pt x="3375866" y="1948335"/>
                </a:moveTo>
                <a:lnTo>
                  <a:pt x="1743529" y="6433145"/>
                </a:lnTo>
                <a:lnTo>
                  <a:pt x="1354296" y="6433145"/>
                </a:lnTo>
                <a:lnTo>
                  <a:pt x="2986632" y="1948336"/>
                </a:lnTo>
                <a:close/>
                <a:moveTo>
                  <a:pt x="1927309" y="1085245"/>
                </a:moveTo>
                <a:lnTo>
                  <a:pt x="389233" y="5311073"/>
                </a:lnTo>
                <a:lnTo>
                  <a:pt x="0" y="5311073"/>
                </a:lnTo>
                <a:lnTo>
                  <a:pt x="1538076" y="1085245"/>
                </a:lnTo>
                <a:close/>
                <a:moveTo>
                  <a:pt x="4144614" y="1054143"/>
                </a:moveTo>
                <a:lnTo>
                  <a:pt x="2240188" y="6286513"/>
                </a:lnTo>
                <a:lnTo>
                  <a:pt x="1850955" y="6286512"/>
                </a:lnTo>
                <a:lnTo>
                  <a:pt x="3755381" y="1054144"/>
                </a:lnTo>
                <a:close/>
                <a:moveTo>
                  <a:pt x="4633435" y="929046"/>
                </a:moveTo>
                <a:lnTo>
                  <a:pt x="2931731" y="5604439"/>
                </a:lnTo>
                <a:lnTo>
                  <a:pt x="2542497" y="5604441"/>
                </a:lnTo>
                <a:lnTo>
                  <a:pt x="4244201" y="929046"/>
                </a:lnTo>
                <a:close/>
                <a:moveTo>
                  <a:pt x="2556829" y="693359"/>
                </a:moveTo>
                <a:lnTo>
                  <a:pt x="2946062" y="693360"/>
                </a:lnTo>
                <a:lnTo>
                  <a:pt x="1105166" y="5751182"/>
                </a:lnTo>
                <a:lnTo>
                  <a:pt x="715932" y="5751182"/>
                </a:lnTo>
                <a:close/>
                <a:moveTo>
                  <a:pt x="3117220" y="371622"/>
                </a:moveTo>
                <a:lnTo>
                  <a:pt x="3506455" y="371623"/>
                </a:lnTo>
                <a:lnTo>
                  <a:pt x="1733179" y="5243655"/>
                </a:lnTo>
                <a:lnTo>
                  <a:pt x="1343944" y="5243655"/>
                </a:lnTo>
                <a:close/>
                <a:moveTo>
                  <a:pt x="2755136" y="0"/>
                </a:moveTo>
                <a:lnTo>
                  <a:pt x="525012" y="6127216"/>
                </a:lnTo>
                <a:lnTo>
                  <a:pt x="135778" y="6127217"/>
                </a:lnTo>
                <a:lnTo>
                  <a:pt x="2365902" y="1"/>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029593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outHorizontal)">
                                      <p:cBhvr>
                                        <p:cTn id="7" dur="1000"/>
                                        <p:tgtEl>
                                          <p:spTgt spid="20"/>
                                        </p:tgtEl>
                                      </p:cBhvr>
                                    </p:animEffect>
                                  </p:childTnLst>
                                </p:cTn>
                              </p:par>
                              <p:par>
                                <p:cTn id="8" presetID="16" presetClass="entr" presetSubtype="42"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arn(outHorizontal)">
                                      <p:cBhvr>
                                        <p:cTn id="1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Welcome 2">
    <p:spTree>
      <p:nvGrpSpPr>
        <p:cNvPr id="1" name=""/>
        <p:cNvGrpSpPr/>
        <p:nvPr/>
      </p:nvGrpSpPr>
      <p:grpSpPr>
        <a:xfrm>
          <a:off x="0" y="0"/>
          <a:ext cx="0" cy="0"/>
          <a:chOff x="0" y="0"/>
          <a:chExt cx="0" cy="0"/>
        </a:xfrm>
      </p:grpSpPr>
      <p:grpSp>
        <p:nvGrpSpPr>
          <p:cNvPr id="20" name="Group 19"/>
          <p:cNvGrpSpPr/>
          <p:nvPr userDrawn="1"/>
        </p:nvGrpSpPr>
        <p:grpSpPr>
          <a:xfrm>
            <a:off x="3978559" y="817700"/>
            <a:ext cx="4243417" cy="4253221"/>
            <a:chOff x="5218085" y="1090261"/>
            <a:chExt cx="5657889" cy="5670961"/>
          </a:xfrm>
        </p:grpSpPr>
        <p:sp>
          <p:nvSpPr>
            <p:cNvPr id="21" name="Freeform 20"/>
            <p:cNvSpPr/>
            <p:nvPr userDrawn="1"/>
          </p:nvSpPr>
          <p:spPr>
            <a:xfrm rot="18083416">
              <a:off x="8573387" y="5411583"/>
              <a:ext cx="706273" cy="616313"/>
            </a:xfrm>
            <a:custGeom>
              <a:avLst/>
              <a:gdLst>
                <a:gd name="connsiteX0" fmla="*/ 331008 w 706273"/>
                <a:gd name="connsiteY0" fmla="*/ 0 h 616313"/>
                <a:gd name="connsiteX1" fmla="*/ 706273 w 706273"/>
                <a:gd name="connsiteY1" fmla="*/ 615018 h 616313"/>
                <a:gd name="connsiteX2" fmla="*/ 375896 w 706273"/>
                <a:gd name="connsiteY2" fmla="*/ 616313 h 616313"/>
                <a:gd name="connsiteX3" fmla="*/ 0 w 706273"/>
                <a:gd name="connsiteY3" fmla="*/ 262 h 616313"/>
              </a:gdLst>
              <a:ahLst/>
              <a:cxnLst>
                <a:cxn ang="0">
                  <a:pos x="connsiteX0" y="connsiteY0"/>
                </a:cxn>
                <a:cxn ang="0">
                  <a:pos x="connsiteX1" y="connsiteY1"/>
                </a:cxn>
                <a:cxn ang="0">
                  <a:pos x="connsiteX2" y="connsiteY2"/>
                </a:cxn>
                <a:cxn ang="0">
                  <a:pos x="connsiteX3" y="connsiteY3"/>
                </a:cxn>
              </a:cxnLst>
              <a:rect l="l" t="t" r="r" b="b"/>
              <a:pathLst>
                <a:path w="706273" h="616313">
                  <a:moveTo>
                    <a:pt x="331008" y="0"/>
                  </a:moveTo>
                  <a:lnTo>
                    <a:pt x="706273" y="615018"/>
                  </a:lnTo>
                  <a:lnTo>
                    <a:pt x="375896" y="616313"/>
                  </a:lnTo>
                  <a:lnTo>
                    <a:pt x="0" y="262"/>
                  </a:lnTo>
                  <a:close/>
                </a:path>
              </a:pathLst>
            </a:cu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wrap="square" lIns="45714" tIns="22857" rIns="45714" bIns="22857" rtlCol="0" anchor="ctr">
              <a:noAutofit/>
            </a:bodyPr>
            <a:lstStyle/>
            <a:p>
              <a:pPr algn="ctr" defTabSz="685665" fontAlgn="auto">
                <a:spcBef>
                  <a:spcPts val="0"/>
                </a:spcBef>
                <a:spcAft>
                  <a:spcPts val="0"/>
                </a:spcAft>
              </a:pPr>
              <a:endParaRPr lang="en-US" sz="700" dirty="0">
                <a:solidFill>
                  <a:srgbClr val="1F1F1F"/>
                </a:solidFill>
              </a:endParaRPr>
            </a:p>
          </p:txBody>
        </p:sp>
        <p:sp>
          <p:nvSpPr>
            <p:cNvPr id="22" name="Freeform 21"/>
            <p:cNvSpPr/>
            <p:nvPr/>
          </p:nvSpPr>
          <p:spPr>
            <a:xfrm rot="18083416">
              <a:off x="9624257" y="1016647"/>
              <a:ext cx="1178104" cy="1325331"/>
            </a:xfrm>
            <a:custGeom>
              <a:avLst/>
              <a:gdLst>
                <a:gd name="connsiteX0" fmla="*/ 369428 w 1178104"/>
                <a:gd name="connsiteY0" fmla="*/ 0 h 1325331"/>
                <a:gd name="connsiteX1" fmla="*/ 1178104 w 1178104"/>
                <a:gd name="connsiteY1" fmla="*/ 1325331 h 1325331"/>
                <a:gd name="connsiteX2" fmla="*/ 808383 w 1178104"/>
                <a:gd name="connsiteY2" fmla="*/ 1325143 h 1325331"/>
                <a:gd name="connsiteX3" fmla="*/ 0 w 1178104"/>
                <a:gd name="connsiteY3" fmla="*/ 294 h 1325331"/>
              </a:gdLst>
              <a:ahLst/>
              <a:cxnLst>
                <a:cxn ang="0">
                  <a:pos x="connsiteX0" y="connsiteY0"/>
                </a:cxn>
                <a:cxn ang="0">
                  <a:pos x="connsiteX1" y="connsiteY1"/>
                </a:cxn>
                <a:cxn ang="0">
                  <a:pos x="connsiteX2" y="connsiteY2"/>
                </a:cxn>
                <a:cxn ang="0">
                  <a:pos x="connsiteX3" y="connsiteY3"/>
                </a:cxn>
              </a:cxnLst>
              <a:rect l="l" t="t" r="r" b="b"/>
              <a:pathLst>
                <a:path w="1178104" h="1325331">
                  <a:moveTo>
                    <a:pt x="369428" y="0"/>
                  </a:moveTo>
                  <a:lnTo>
                    <a:pt x="1178104" y="1325331"/>
                  </a:lnTo>
                  <a:lnTo>
                    <a:pt x="808383" y="1325143"/>
                  </a:lnTo>
                  <a:lnTo>
                    <a:pt x="0" y="294"/>
                  </a:lnTo>
                  <a:close/>
                </a:path>
              </a:pathLst>
            </a:cu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wrap="square" lIns="45714" tIns="22857" rIns="45714" bIns="22857" rtlCol="0" anchor="ctr">
              <a:noAutofit/>
            </a:bodyPr>
            <a:lstStyle/>
            <a:p>
              <a:pPr algn="ctr" defTabSz="685665" fontAlgn="auto">
                <a:spcBef>
                  <a:spcPts val="0"/>
                </a:spcBef>
                <a:spcAft>
                  <a:spcPts val="0"/>
                </a:spcAft>
              </a:pPr>
              <a:endParaRPr lang="en-US" sz="700" dirty="0">
                <a:solidFill>
                  <a:srgbClr val="1F1F1F"/>
                </a:solidFill>
              </a:endParaRPr>
            </a:p>
          </p:txBody>
        </p:sp>
        <p:sp>
          <p:nvSpPr>
            <p:cNvPr id="23" name="Freeform 22"/>
            <p:cNvSpPr/>
            <p:nvPr/>
          </p:nvSpPr>
          <p:spPr>
            <a:xfrm rot="18083416">
              <a:off x="5291699" y="5509504"/>
              <a:ext cx="1178104" cy="1325331"/>
            </a:xfrm>
            <a:custGeom>
              <a:avLst/>
              <a:gdLst>
                <a:gd name="connsiteX0" fmla="*/ 369428 w 1178104"/>
                <a:gd name="connsiteY0" fmla="*/ 0 h 1325331"/>
                <a:gd name="connsiteX1" fmla="*/ 1178104 w 1178104"/>
                <a:gd name="connsiteY1" fmla="*/ 1325331 h 1325331"/>
                <a:gd name="connsiteX2" fmla="*/ 808383 w 1178104"/>
                <a:gd name="connsiteY2" fmla="*/ 1325143 h 1325331"/>
                <a:gd name="connsiteX3" fmla="*/ 0 w 1178104"/>
                <a:gd name="connsiteY3" fmla="*/ 294 h 1325331"/>
              </a:gdLst>
              <a:ahLst/>
              <a:cxnLst>
                <a:cxn ang="0">
                  <a:pos x="connsiteX0" y="connsiteY0"/>
                </a:cxn>
                <a:cxn ang="0">
                  <a:pos x="connsiteX1" y="connsiteY1"/>
                </a:cxn>
                <a:cxn ang="0">
                  <a:pos x="connsiteX2" y="connsiteY2"/>
                </a:cxn>
                <a:cxn ang="0">
                  <a:pos x="connsiteX3" y="connsiteY3"/>
                </a:cxn>
              </a:cxnLst>
              <a:rect l="l" t="t" r="r" b="b"/>
              <a:pathLst>
                <a:path w="1178104" h="1325331">
                  <a:moveTo>
                    <a:pt x="369428" y="0"/>
                  </a:moveTo>
                  <a:lnTo>
                    <a:pt x="1178104" y="1325331"/>
                  </a:lnTo>
                  <a:lnTo>
                    <a:pt x="808383" y="1325143"/>
                  </a:lnTo>
                  <a:lnTo>
                    <a:pt x="0" y="294"/>
                  </a:lnTo>
                  <a:close/>
                </a:path>
              </a:pathLst>
            </a:cu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wrap="square" lIns="45714" tIns="22857" rIns="45714" bIns="22857" rtlCol="0" anchor="ctr">
              <a:noAutofit/>
            </a:bodyPr>
            <a:lstStyle/>
            <a:p>
              <a:pPr algn="ctr" defTabSz="685665" fontAlgn="auto">
                <a:spcBef>
                  <a:spcPts val="0"/>
                </a:spcBef>
                <a:spcAft>
                  <a:spcPts val="0"/>
                </a:spcAft>
              </a:pPr>
              <a:endParaRPr lang="en-US" sz="700" dirty="0">
                <a:solidFill>
                  <a:srgbClr val="1F1F1F"/>
                </a:solidFill>
              </a:endParaRPr>
            </a:p>
          </p:txBody>
        </p:sp>
      </p:grpSp>
      <p:sp>
        <p:nvSpPr>
          <p:cNvPr id="19" name="Picture Placeholder 18"/>
          <p:cNvSpPr>
            <a:spLocks noGrp="1"/>
          </p:cNvSpPr>
          <p:nvPr>
            <p:ph type="pic" sz="quarter" idx="10"/>
          </p:nvPr>
        </p:nvSpPr>
        <p:spPr>
          <a:xfrm>
            <a:off x="3954790" y="-1"/>
            <a:ext cx="5139848" cy="5143501"/>
          </a:xfrm>
          <a:custGeom>
            <a:avLst/>
            <a:gdLst>
              <a:gd name="connsiteX0" fmla="*/ 4151846 w 6853131"/>
              <a:gd name="connsiteY0" fmla="*/ 1836495 h 6858001"/>
              <a:gd name="connsiteX1" fmla="*/ 5704411 w 6853131"/>
              <a:gd name="connsiteY1" fmla="*/ 1836496 h 6858001"/>
              <a:gd name="connsiteX2" fmla="*/ 2636946 w 6853131"/>
              <a:gd name="connsiteY2" fmla="*/ 6858001 h 6858001"/>
              <a:gd name="connsiteX3" fmla="*/ 1093350 w 6853131"/>
              <a:gd name="connsiteY3" fmla="*/ 6858001 h 6858001"/>
              <a:gd name="connsiteX4" fmla="*/ 6853131 w 6853131"/>
              <a:gd name="connsiteY4" fmla="*/ 1157615 h 6858001"/>
              <a:gd name="connsiteX5" fmla="*/ 6853131 w 6853131"/>
              <a:gd name="connsiteY5" fmla="*/ 1169040 h 6858001"/>
              <a:gd name="connsiteX6" fmla="*/ 4103744 w 6853131"/>
              <a:gd name="connsiteY6" fmla="*/ 5714975 h 6858001"/>
              <a:gd name="connsiteX7" fmla="*/ 3382069 w 6853131"/>
              <a:gd name="connsiteY7" fmla="*/ 5714976 h 6858001"/>
              <a:gd name="connsiteX8" fmla="*/ 6157864 w 6853131"/>
              <a:gd name="connsiteY8" fmla="*/ 1157616 h 6858001"/>
              <a:gd name="connsiteX9" fmla="*/ 3676316 w 6853131"/>
              <a:gd name="connsiteY9" fmla="*/ 0 h 6858001"/>
              <a:gd name="connsiteX10" fmla="*/ 4454121 w 6853131"/>
              <a:gd name="connsiteY10" fmla="*/ 0 h 6858001"/>
              <a:gd name="connsiteX11" fmla="*/ 5231927 w 6853131"/>
              <a:gd name="connsiteY11" fmla="*/ 0 h 6858001"/>
              <a:gd name="connsiteX12" fmla="*/ 1544830 w 6853131"/>
              <a:gd name="connsiteY12" fmla="*/ 6035855 h 6858001"/>
              <a:gd name="connsiteX13" fmla="*/ 0 w 6853131"/>
              <a:gd name="connsiteY13" fmla="*/ 6035855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53131" h="6858001">
                <a:moveTo>
                  <a:pt x="4151846" y="1836495"/>
                </a:moveTo>
                <a:lnTo>
                  <a:pt x="5704411" y="1836496"/>
                </a:lnTo>
                <a:lnTo>
                  <a:pt x="2636946" y="6858001"/>
                </a:lnTo>
                <a:lnTo>
                  <a:pt x="1093350" y="6858001"/>
                </a:lnTo>
                <a:close/>
                <a:moveTo>
                  <a:pt x="6853131" y="1157615"/>
                </a:moveTo>
                <a:lnTo>
                  <a:pt x="6853131" y="1169040"/>
                </a:lnTo>
                <a:lnTo>
                  <a:pt x="4103744" y="5714975"/>
                </a:lnTo>
                <a:lnTo>
                  <a:pt x="3382069" y="5714976"/>
                </a:lnTo>
                <a:lnTo>
                  <a:pt x="6157864" y="1157616"/>
                </a:lnTo>
                <a:close/>
                <a:moveTo>
                  <a:pt x="3676316" y="0"/>
                </a:moveTo>
                <a:lnTo>
                  <a:pt x="4454121" y="0"/>
                </a:lnTo>
                <a:lnTo>
                  <a:pt x="5231927" y="0"/>
                </a:lnTo>
                <a:lnTo>
                  <a:pt x="1544830" y="6035855"/>
                </a:lnTo>
                <a:lnTo>
                  <a:pt x="0" y="60358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7338403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64654800"/>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Presenter 1">
    <p:bg>
      <p:bgPr>
        <a:solidFill>
          <a:schemeClr val="accent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11" y="0"/>
            <a:ext cx="9143999" cy="5143500"/>
          </a:xfrm>
          <a:custGeom>
            <a:avLst/>
            <a:gdLst>
              <a:gd name="connsiteX0" fmla="*/ 5897641 w 12191999"/>
              <a:gd name="connsiteY0" fmla="*/ 0 h 6858000"/>
              <a:gd name="connsiteX1" fmla="*/ 12191999 w 12191999"/>
              <a:gd name="connsiteY1" fmla="*/ 0 h 6858000"/>
              <a:gd name="connsiteX2" fmla="*/ 12191999 w 12191999"/>
              <a:gd name="connsiteY2" fmla="*/ 6858000 h 6858000"/>
              <a:gd name="connsiteX3" fmla="*/ 1066855 w 12191999"/>
              <a:gd name="connsiteY3" fmla="*/ 6858000 h 6858000"/>
              <a:gd name="connsiteX4" fmla="*/ 0 w 12191999"/>
              <a:gd name="connsiteY4" fmla="*/ 0 h 6858000"/>
              <a:gd name="connsiteX5" fmla="*/ 4927478 w 12191999"/>
              <a:gd name="connsiteY5" fmla="*/ 0 h 6858000"/>
              <a:gd name="connsiteX6" fmla="*/ 1066855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5897641" y="0"/>
                </a:moveTo>
                <a:lnTo>
                  <a:pt x="12191999" y="0"/>
                </a:lnTo>
                <a:lnTo>
                  <a:pt x="12191999" y="6858000"/>
                </a:lnTo>
                <a:lnTo>
                  <a:pt x="1066855" y="6858000"/>
                </a:lnTo>
                <a:close/>
                <a:moveTo>
                  <a:pt x="0" y="0"/>
                </a:moveTo>
                <a:lnTo>
                  <a:pt x="4927478" y="0"/>
                </a:lnTo>
                <a:lnTo>
                  <a:pt x="1066855" y="6858000"/>
                </a:lnTo>
                <a:lnTo>
                  <a:pt x="0" y="6858000"/>
                </a:lnTo>
                <a:close/>
              </a:path>
            </a:pathLst>
          </a:custGeom>
          <a:solidFill>
            <a:schemeClr val="tx2">
              <a:lumMod val="85000"/>
              <a:alpha val="67000"/>
            </a:schemeClr>
          </a:solidFill>
        </p:spPr>
        <p:txBody>
          <a:bodyPr wrap="square" anchor="ctr" anchorCtr="0">
            <a:noAutofit/>
          </a:bodyPr>
          <a:lstStyle>
            <a:lvl1pPr algn="ctr">
              <a:defRPr/>
            </a:lvl1pPr>
          </a:lstStyle>
          <a:p>
            <a:endParaRPr lang="en-US" dirty="0"/>
          </a:p>
        </p:txBody>
      </p:sp>
      <p:sp>
        <p:nvSpPr>
          <p:cNvPr id="5" name="Picture Placeholder 4"/>
          <p:cNvSpPr>
            <a:spLocks noGrp="1"/>
          </p:cNvSpPr>
          <p:nvPr>
            <p:ph type="pic" sz="quarter" idx="11"/>
          </p:nvPr>
        </p:nvSpPr>
        <p:spPr>
          <a:xfrm>
            <a:off x="1417334" y="1611640"/>
            <a:ext cx="1920240" cy="1920230"/>
          </a:xfrm>
          <a:custGeom>
            <a:avLst/>
            <a:gdLst>
              <a:gd name="connsiteX0" fmla="*/ 1279883 w 2560320"/>
              <a:gd name="connsiteY0" fmla="*/ 0 h 2560306"/>
              <a:gd name="connsiteX1" fmla="*/ 1280437 w 2560320"/>
              <a:gd name="connsiteY1" fmla="*/ 0 h 2560306"/>
              <a:gd name="connsiteX2" fmla="*/ 1411049 w 2560320"/>
              <a:gd name="connsiteY2" fmla="*/ 6595 h 2560306"/>
              <a:gd name="connsiteX3" fmla="*/ 2560320 w 2560320"/>
              <a:gd name="connsiteY3" fmla="*/ 1280146 h 2560306"/>
              <a:gd name="connsiteX4" fmla="*/ 1280160 w 2560320"/>
              <a:gd name="connsiteY4" fmla="*/ 2560306 h 2560306"/>
              <a:gd name="connsiteX5" fmla="*/ 0 w 2560320"/>
              <a:gd name="connsiteY5" fmla="*/ 1280146 h 2560306"/>
              <a:gd name="connsiteX6" fmla="*/ 1149271 w 2560320"/>
              <a:gd name="connsiteY6" fmla="*/ 6595 h 256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0320" h="2560306">
                <a:moveTo>
                  <a:pt x="1279883" y="0"/>
                </a:moveTo>
                <a:lnTo>
                  <a:pt x="1280437" y="0"/>
                </a:lnTo>
                <a:lnTo>
                  <a:pt x="1411049" y="6595"/>
                </a:lnTo>
                <a:cubicBezTo>
                  <a:pt x="2056578" y="72152"/>
                  <a:pt x="2560320" y="617321"/>
                  <a:pt x="2560320" y="1280146"/>
                </a:cubicBezTo>
                <a:cubicBezTo>
                  <a:pt x="2560320" y="1987159"/>
                  <a:pt x="1987173" y="2560306"/>
                  <a:pt x="1280160" y="2560306"/>
                </a:cubicBezTo>
                <a:cubicBezTo>
                  <a:pt x="573147" y="2560306"/>
                  <a:pt x="0" y="1987159"/>
                  <a:pt x="0" y="1280146"/>
                </a:cubicBezTo>
                <a:cubicBezTo>
                  <a:pt x="0" y="617321"/>
                  <a:pt x="503743" y="72152"/>
                  <a:pt x="1149271" y="6595"/>
                </a:cubicBezTo>
                <a:close/>
              </a:path>
            </a:pathLst>
          </a:custGeom>
          <a:solidFill>
            <a:schemeClr val="accent1"/>
          </a:solidFill>
          <a:ln w="76200">
            <a:solidFill>
              <a:schemeClr val="accent1"/>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9791891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path" presetSubtype="0" accel="58500" fill="hold" grpId="0" nodeType="withEffect" p14:presetBounceEnd="58500">
                                      <p:stCondLst>
                                        <p:cond delay="0"/>
                                      </p:stCondLst>
                                      <p:childTnLst>
                                        <p:animMotion origin="layout" path="M 0.26015 -0.70671 L 4.16667E-6 0 " pathEditMode="relative" rAng="0" ptsTypes="AA" p14:bounceEnd="58500">
                                          <p:cBhvr>
                                            <p:cTn id="6" dur="2000" fill="hold"/>
                                            <p:tgtEl>
                                              <p:spTgt spid="5"/>
                                            </p:tgtEl>
                                            <p:attrNameLst>
                                              <p:attrName>ppt_x</p:attrName>
                                              <p:attrName>ppt_y</p:attrName>
                                            </p:attrNameLst>
                                          </p:cBhvr>
                                          <p:rCtr x="-13008" y="353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path" presetSubtype="0" accel="58500" fill="hold" grpId="0" nodeType="withEffect">
                                      <p:stCondLst>
                                        <p:cond delay="0"/>
                                      </p:stCondLst>
                                      <p:childTnLst>
                                        <p:animMotion origin="layout" path="M 0.26015 -0.70671 L 4.16667E-6 0 " pathEditMode="relative" rAng="0" ptsTypes="AA">
                                          <p:cBhvr>
                                            <p:cTn id="6" dur="2000" fill="hold"/>
                                            <p:tgtEl>
                                              <p:spTgt spid="5"/>
                                            </p:tgtEl>
                                            <p:attrNameLst>
                                              <p:attrName>ppt_x</p:attrName>
                                              <p:attrName>ppt_y</p:attrName>
                                            </p:attrNameLst>
                                          </p:cBhvr>
                                          <p:rCtr x="-13008" y="353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mc:Fallback>
  </mc:AlternateConten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Presenter 2">
    <p:bg>
      <p:bgPr>
        <a:solidFill>
          <a:schemeClr val="accent4">
            <a:alpha val="67000"/>
          </a:schemeClr>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1" y="0"/>
            <a:ext cx="9143999" cy="5143500"/>
          </a:xfrm>
          <a:custGeom>
            <a:avLst/>
            <a:gdLst>
              <a:gd name="connsiteX0" fmla="*/ 6878051 w 12191999"/>
              <a:gd name="connsiteY0" fmla="*/ 0 h 6858000"/>
              <a:gd name="connsiteX1" fmla="*/ 12191999 w 12191999"/>
              <a:gd name="connsiteY1" fmla="*/ 0 h 6858000"/>
              <a:gd name="connsiteX2" fmla="*/ 12191999 w 12191999"/>
              <a:gd name="connsiteY2" fmla="*/ 6858000 h 6858000"/>
              <a:gd name="connsiteX3" fmla="*/ 10747715 w 12191999"/>
              <a:gd name="connsiteY3" fmla="*/ 6858000 h 6858000"/>
              <a:gd name="connsiteX4" fmla="*/ 0 w 12191999"/>
              <a:gd name="connsiteY4" fmla="*/ 0 h 6858000"/>
              <a:gd name="connsiteX5" fmla="*/ 5913122 w 12191999"/>
              <a:gd name="connsiteY5" fmla="*/ 0 h 6858000"/>
              <a:gd name="connsiteX6" fmla="*/ 10747715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6878051" y="0"/>
                </a:moveTo>
                <a:lnTo>
                  <a:pt x="12191999" y="0"/>
                </a:lnTo>
                <a:lnTo>
                  <a:pt x="12191999" y="6858000"/>
                </a:lnTo>
                <a:lnTo>
                  <a:pt x="10747715" y="6858000"/>
                </a:lnTo>
                <a:close/>
                <a:moveTo>
                  <a:pt x="0" y="0"/>
                </a:moveTo>
                <a:lnTo>
                  <a:pt x="5913122" y="0"/>
                </a:lnTo>
                <a:lnTo>
                  <a:pt x="10747715" y="6858000"/>
                </a:lnTo>
                <a:lnTo>
                  <a:pt x="0" y="6858000"/>
                </a:lnTo>
                <a:close/>
              </a:path>
            </a:pathLst>
          </a:custGeom>
          <a:solidFill>
            <a:schemeClr val="tx2">
              <a:lumMod val="85000"/>
              <a:alpha val="67000"/>
            </a:schemeClr>
          </a:solidFill>
        </p:spPr>
        <p:txBody>
          <a:bodyPr wrap="square" anchor="ctr" anchorCtr="0">
            <a:noAutofit/>
          </a:bodyPr>
          <a:lstStyle>
            <a:lvl1pPr algn="ctr">
              <a:defRPr/>
            </a:lvl1pPr>
          </a:lstStyle>
          <a:p>
            <a:endParaRPr lang="en-US" dirty="0"/>
          </a:p>
        </p:txBody>
      </p:sp>
      <p:sp>
        <p:nvSpPr>
          <p:cNvPr id="10" name="Picture Placeholder 9"/>
          <p:cNvSpPr>
            <a:spLocks noGrp="1"/>
          </p:cNvSpPr>
          <p:nvPr>
            <p:ph type="pic" sz="quarter" idx="11"/>
          </p:nvPr>
        </p:nvSpPr>
        <p:spPr>
          <a:xfrm>
            <a:off x="5463509" y="1611640"/>
            <a:ext cx="1920240" cy="1920230"/>
          </a:xfrm>
          <a:custGeom>
            <a:avLst/>
            <a:gdLst>
              <a:gd name="connsiteX0" fmla="*/ 1279883 w 2560320"/>
              <a:gd name="connsiteY0" fmla="*/ 0 h 2560306"/>
              <a:gd name="connsiteX1" fmla="*/ 1280437 w 2560320"/>
              <a:gd name="connsiteY1" fmla="*/ 0 h 2560306"/>
              <a:gd name="connsiteX2" fmla="*/ 1411049 w 2560320"/>
              <a:gd name="connsiteY2" fmla="*/ 6595 h 2560306"/>
              <a:gd name="connsiteX3" fmla="*/ 2560320 w 2560320"/>
              <a:gd name="connsiteY3" fmla="*/ 1280146 h 2560306"/>
              <a:gd name="connsiteX4" fmla="*/ 1280160 w 2560320"/>
              <a:gd name="connsiteY4" fmla="*/ 2560306 h 2560306"/>
              <a:gd name="connsiteX5" fmla="*/ 0 w 2560320"/>
              <a:gd name="connsiteY5" fmla="*/ 1280146 h 2560306"/>
              <a:gd name="connsiteX6" fmla="*/ 1149271 w 2560320"/>
              <a:gd name="connsiteY6" fmla="*/ 6595 h 256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0320" h="2560306">
                <a:moveTo>
                  <a:pt x="1279883" y="0"/>
                </a:moveTo>
                <a:lnTo>
                  <a:pt x="1280437" y="0"/>
                </a:lnTo>
                <a:lnTo>
                  <a:pt x="1411049" y="6595"/>
                </a:lnTo>
                <a:cubicBezTo>
                  <a:pt x="2056578" y="72152"/>
                  <a:pt x="2560320" y="617321"/>
                  <a:pt x="2560320" y="1280146"/>
                </a:cubicBezTo>
                <a:cubicBezTo>
                  <a:pt x="2560320" y="1987159"/>
                  <a:pt x="1987173" y="2560306"/>
                  <a:pt x="1280160" y="2560306"/>
                </a:cubicBezTo>
                <a:cubicBezTo>
                  <a:pt x="573147" y="2560306"/>
                  <a:pt x="0" y="1987159"/>
                  <a:pt x="0" y="1280146"/>
                </a:cubicBezTo>
                <a:cubicBezTo>
                  <a:pt x="0" y="617321"/>
                  <a:pt x="503743" y="72152"/>
                  <a:pt x="1149271" y="6595"/>
                </a:cubicBezTo>
                <a:close/>
              </a:path>
            </a:pathLst>
          </a:custGeom>
          <a:solidFill>
            <a:schemeClr val="accent4"/>
          </a:solidFill>
          <a:ln w="76200">
            <a:solidFill>
              <a:schemeClr val="accent4"/>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732450191"/>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66857" fill="hold" grpId="0" nodeType="withEffect" p14:presetBounceEnd="67000">
                                      <p:stCondLst>
                                        <p:cond delay="0"/>
                                      </p:stCondLst>
                                      <p:childTnLst>
                                        <p:animMotion origin="layout" path="M -0.25494 -0.71991 L -3.95833E-6 0.00023 " pathEditMode="relative" rAng="0" ptsTypes="AA" p14:bounceEnd="67000">
                                          <p:cBhvr>
                                            <p:cTn id="6" dur="1750" fill="hold"/>
                                            <p:tgtEl>
                                              <p:spTgt spid="10"/>
                                            </p:tgtEl>
                                            <p:attrNameLst>
                                              <p:attrName>ppt_x</p:attrName>
                                              <p:attrName>ppt_y</p:attrName>
                                            </p:attrNameLst>
                                          </p:cBhvr>
                                          <p:rCtr x="12747" y="359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66857" fill="hold" grpId="0" nodeType="withEffect">
                                      <p:stCondLst>
                                        <p:cond delay="0"/>
                                      </p:stCondLst>
                                      <p:childTnLst>
                                        <p:animMotion origin="layout" path="M -0.25494 -0.71991 L -3.95833E-6 0.00023 " pathEditMode="relative" rAng="0" ptsTypes="AA">
                                          <p:cBhvr>
                                            <p:cTn id="6" dur="1750" fill="hold"/>
                                            <p:tgtEl>
                                              <p:spTgt spid="10"/>
                                            </p:tgtEl>
                                            <p:attrNameLst>
                                              <p:attrName>ppt_x</p:attrName>
                                              <p:attrName>ppt_y</p:attrName>
                                            </p:attrNameLst>
                                          </p:cBhvr>
                                          <p:rCtr x="12747" y="359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Main Offic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Picture Placeholder 3"/>
          <p:cNvSpPr>
            <a:spLocks noGrp="1"/>
          </p:cNvSpPr>
          <p:nvPr>
            <p:ph type="pic" sz="quarter" idx="10"/>
          </p:nvPr>
        </p:nvSpPr>
        <p:spPr>
          <a:xfrm>
            <a:off x="0" y="-1"/>
            <a:ext cx="9144000" cy="428625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2976025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2250" fill="hold"/>
                                        <p:tgtEl>
                                          <p:spTgt spid="2"/>
                                        </p:tgtEl>
                                        <p:attrNameLst>
                                          <p:attrName>ppt_w</p:attrName>
                                        </p:attrNameLst>
                                      </p:cBhvr>
                                      <p:tavLst>
                                        <p:tav tm="0">
                                          <p:val>
                                            <p:strVal val="#ppt_w+.3"/>
                                          </p:val>
                                        </p:tav>
                                        <p:tav tm="100000">
                                          <p:val>
                                            <p:strVal val="#ppt_w"/>
                                          </p:val>
                                        </p:tav>
                                      </p:tavLst>
                                    </p:anim>
                                    <p:anim calcmode="lin" valueType="num">
                                      <p:cBhvr>
                                        <p:cTn id="8" dur="2250" fill="hold"/>
                                        <p:tgtEl>
                                          <p:spTgt spid="2"/>
                                        </p:tgtEl>
                                        <p:attrNameLst>
                                          <p:attrName>ppt_h</p:attrName>
                                        </p:attrNameLst>
                                      </p:cBhvr>
                                      <p:tavLst>
                                        <p:tav tm="0">
                                          <p:val>
                                            <p:strVal val="#ppt_h"/>
                                          </p:val>
                                        </p:tav>
                                        <p:tav tm="100000">
                                          <p:val>
                                            <p:strVal val="#ppt_h"/>
                                          </p:val>
                                        </p:tav>
                                      </p:tavLst>
                                    </p:anim>
                                    <p:animEffect transition="in" filter="fade">
                                      <p:cBhvr>
                                        <p:cTn id="9" dur="2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About Company">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 y="-1"/>
            <a:ext cx="9132461" cy="4286250"/>
          </a:xfrm>
          <a:custGeom>
            <a:avLst/>
            <a:gdLst>
              <a:gd name="connsiteX0" fmla="*/ 4450050 w 12176614"/>
              <a:gd name="connsiteY0" fmla="*/ 1 h 5715000"/>
              <a:gd name="connsiteX1" fmla="*/ 12176614 w 12176614"/>
              <a:gd name="connsiteY1" fmla="*/ 1 h 5715000"/>
              <a:gd name="connsiteX2" fmla="*/ 12176614 w 12176614"/>
              <a:gd name="connsiteY2" fmla="*/ 5715000 h 5715000"/>
              <a:gd name="connsiteX3" fmla="*/ 4450050 w 12176614"/>
              <a:gd name="connsiteY3" fmla="*/ 5715000 h 5715000"/>
              <a:gd name="connsiteX4" fmla="*/ 0 w 12176614"/>
              <a:gd name="connsiteY4" fmla="*/ 0 h 5715000"/>
              <a:gd name="connsiteX5" fmla="*/ 4389120 w 12176614"/>
              <a:gd name="connsiteY5" fmla="*/ 0 h 5715000"/>
              <a:gd name="connsiteX6" fmla="*/ 4389120 w 12176614"/>
              <a:gd name="connsiteY6" fmla="*/ 5714999 h 5715000"/>
              <a:gd name="connsiteX7" fmla="*/ 0 w 12176614"/>
              <a:gd name="connsiteY7" fmla="*/ 5714999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76614" h="5715000">
                <a:moveTo>
                  <a:pt x="4450050" y="1"/>
                </a:moveTo>
                <a:lnTo>
                  <a:pt x="12176614" y="1"/>
                </a:lnTo>
                <a:lnTo>
                  <a:pt x="12176614" y="5715000"/>
                </a:lnTo>
                <a:lnTo>
                  <a:pt x="4450050" y="5715000"/>
                </a:lnTo>
                <a:close/>
                <a:moveTo>
                  <a:pt x="0" y="0"/>
                </a:moveTo>
                <a:lnTo>
                  <a:pt x="4389120" y="0"/>
                </a:lnTo>
                <a:lnTo>
                  <a:pt x="4389120" y="5714999"/>
                </a:lnTo>
                <a:lnTo>
                  <a:pt x="0" y="5714999"/>
                </a:lnTo>
                <a:close/>
              </a:path>
            </a:pathLst>
          </a:custGeom>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291924007"/>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Mission">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1" y="8"/>
            <a:ext cx="6035039" cy="5143491"/>
          </a:xfrm>
          <a:custGeom>
            <a:avLst/>
            <a:gdLst>
              <a:gd name="connsiteX0" fmla="*/ 7076556 w 8046719"/>
              <a:gd name="connsiteY0" fmla="*/ 0 h 6857988"/>
              <a:gd name="connsiteX1" fmla="*/ 8046719 w 8046719"/>
              <a:gd name="connsiteY1" fmla="*/ 0 h 6857988"/>
              <a:gd name="connsiteX2" fmla="*/ 3249731 w 8046719"/>
              <a:gd name="connsiteY2" fmla="*/ 6857988 h 6857988"/>
              <a:gd name="connsiteX3" fmla="*/ 3242943 w 8046719"/>
              <a:gd name="connsiteY3" fmla="*/ 6857988 h 6857988"/>
              <a:gd name="connsiteX4" fmla="*/ 0 w 8046719"/>
              <a:gd name="connsiteY4" fmla="*/ 0 h 6857988"/>
              <a:gd name="connsiteX5" fmla="*/ 7076556 w 8046719"/>
              <a:gd name="connsiteY5" fmla="*/ 0 h 6857988"/>
              <a:gd name="connsiteX6" fmla="*/ 3169616 w 8046719"/>
              <a:gd name="connsiteY6" fmla="*/ 6594602 h 6857988"/>
              <a:gd name="connsiteX7" fmla="*/ 0 w 8046719"/>
              <a:gd name="connsiteY7" fmla="*/ 4639256 h 685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46719" h="6857988">
                <a:moveTo>
                  <a:pt x="7076556" y="0"/>
                </a:moveTo>
                <a:lnTo>
                  <a:pt x="8046719" y="0"/>
                </a:lnTo>
                <a:lnTo>
                  <a:pt x="3249731" y="6857988"/>
                </a:lnTo>
                <a:lnTo>
                  <a:pt x="3242943" y="6857988"/>
                </a:lnTo>
                <a:close/>
                <a:moveTo>
                  <a:pt x="0" y="0"/>
                </a:moveTo>
                <a:lnTo>
                  <a:pt x="7076556" y="0"/>
                </a:lnTo>
                <a:lnTo>
                  <a:pt x="3169616" y="6594602"/>
                </a:lnTo>
                <a:lnTo>
                  <a:pt x="0" y="4639256"/>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951708385"/>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Vision">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944083" y="11"/>
            <a:ext cx="6199919" cy="5143499"/>
          </a:xfrm>
          <a:custGeom>
            <a:avLst/>
            <a:gdLst>
              <a:gd name="connsiteX0" fmla="*/ 964929 w 8266558"/>
              <a:gd name="connsiteY0" fmla="*/ 0 h 6857999"/>
              <a:gd name="connsiteX1" fmla="*/ 8266558 w 8266558"/>
              <a:gd name="connsiteY1" fmla="*/ 0 h 6857999"/>
              <a:gd name="connsiteX2" fmla="*/ 8266558 w 8266558"/>
              <a:gd name="connsiteY2" fmla="*/ 4516266 h 6857999"/>
              <a:gd name="connsiteX3" fmla="*/ 4869410 w 8266558"/>
              <a:gd name="connsiteY3" fmla="*/ 6605288 h 6857999"/>
              <a:gd name="connsiteX4" fmla="*/ 0 w 8266558"/>
              <a:gd name="connsiteY4" fmla="*/ 0 h 6857999"/>
              <a:gd name="connsiteX5" fmla="*/ 964929 w 8266558"/>
              <a:gd name="connsiteY5" fmla="*/ 0 h 6857999"/>
              <a:gd name="connsiteX6" fmla="*/ 4808965 w 8266558"/>
              <a:gd name="connsiteY6" fmla="*/ 6857999 h 6857999"/>
              <a:gd name="connsiteX7" fmla="*/ 4802575 w 8266558"/>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66558" h="6857999">
                <a:moveTo>
                  <a:pt x="964929" y="0"/>
                </a:moveTo>
                <a:lnTo>
                  <a:pt x="8266558" y="0"/>
                </a:lnTo>
                <a:lnTo>
                  <a:pt x="8266558" y="4516266"/>
                </a:lnTo>
                <a:lnTo>
                  <a:pt x="4869410" y="6605288"/>
                </a:lnTo>
                <a:close/>
                <a:moveTo>
                  <a:pt x="0" y="0"/>
                </a:moveTo>
                <a:lnTo>
                  <a:pt x="964929" y="0"/>
                </a:lnTo>
                <a:lnTo>
                  <a:pt x="4808965" y="6857999"/>
                </a:lnTo>
                <a:lnTo>
                  <a:pt x="4802575" y="6857999"/>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638299265"/>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orporate History">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1" y="11"/>
            <a:ext cx="7383749" cy="5143499"/>
          </a:xfrm>
          <a:custGeom>
            <a:avLst/>
            <a:gdLst>
              <a:gd name="connsiteX0" fmla="*/ 0 w 9844999"/>
              <a:gd name="connsiteY0" fmla="*/ 0 h 6857999"/>
              <a:gd name="connsiteX1" fmla="*/ 9844999 w 9844999"/>
              <a:gd name="connsiteY1" fmla="*/ 0 h 6857999"/>
              <a:gd name="connsiteX2" fmla="*/ 5920715 w 9844999"/>
              <a:gd name="connsiteY2" fmla="*/ 6857999 h 6857999"/>
              <a:gd name="connsiteX3" fmla="*/ 0 w 9844999"/>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9844999" h="6857999">
                <a:moveTo>
                  <a:pt x="0" y="0"/>
                </a:moveTo>
                <a:lnTo>
                  <a:pt x="9844999" y="0"/>
                </a:lnTo>
                <a:lnTo>
                  <a:pt x="5920715" y="6857999"/>
                </a:lnTo>
                <a:lnTo>
                  <a:pt x="0" y="6857999"/>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265296727"/>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Our Journey A">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2446022" y="514373"/>
            <a:ext cx="1234440" cy="960120"/>
          </a:xfrm>
          <a:solidFill>
            <a:schemeClr val="tx2">
              <a:lumMod val="85000"/>
            </a:schemeClr>
          </a:solidFill>
          <a:ln>
            <a:noFill/>
          </a:ln>
        </p:spPr>
        <p:txBody>
          <a:bodyPr anchor="ctr" anchorCtr="0"/>
          <a:lstStyle>
            <a:lvl1pPr algn="ctr">
              <a:defRPr/>
            </a:lvl1pPr>
          </a:lstStyle>
          <a:p>
            <a:endParaRPr lang="en-US" dirty="0"/>
          </a:p>
        </p:txBody>
      </p:sp>
      <p:sp>
        <p:nvSpPr>
          <p:cNvPr id="7" name="Picture Placeholder 3"/>
          <p:cNvSpPr>
            <a:spLocks noGrp="1"/>
          </p:cNvSpPr>
          <p:nvPr>
            <p:ph type="pic" sz="quarter" idx="11"/>
          </p:nvPr>
        </p:nvSpPr>
        <p:spPr>
          <a:xfrm>
            <a:off x="5052041" y="3669008"/>
            <a:ext cx="1234440" cy="9601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2113055732"/>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Our Journey B">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1623092" y="514373"/>
            <a:ext cx="1234440" cy="960120"/>
          </a:xfrm>
          <a:solidFill>
            <a:schemeClr val="tx2">
              <a:lumMod val="85000"/>
            </a:schemeClr>
          </a:solidFill>
          <a:ln>
            <a:noFill/>
          </a:ln>
        </p:spPr>
        <p:txBody>
          <a:bodyPr anchor="ctr" anchorCtr="0"/>
          <a:lstStyle>
            <a:lvl1pPr algn="ctr">
              <a:defRPr/>
            </a:lvl1pPr>
          </a:lstStyle>
          <a:p>
            <a:endParaRPr lang="en-US" dirty="0"/>
          </a:p>
        </p:txBody>
      </p:sp>
      <p:sp>
        <p:nvSpPr>
          <p:cNvPr id="7" name="Picture Placeholder 3"/>
          <p:cNvSpPr>
            <a:spLocks noGrp="1"/>
          </p:cNvSpPr>
          <p:nvPr>
            <p:ph type="pic" sz="quarter" idx="11"/>
          </p:nvPr>
        </p:nvSpPr>
        <p:spPr>
          <a:xfrm>
            <a:off x="5052041" y="3669008"/>
            <a:ext cx="1234440" cy="9601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781308947"/>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Our Journey C">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1623092" y="514373"/>
            <a:ext cx="1234440" cy="9601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109458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121315"/>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Who We Ar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1" name="Picture Placeholder 3"/>
          <p:cNvSpPr>
            <a:spLocks noGrp="1"/>
          </p:cNvSpPr>
          <p:nvPr>
            <p:ph type="pic" sz="quarter" idx="10"/>
          </p:nvPr>
        </p:nvSpPr>
        <p:spPr>
          <a:xfrm>
            <a:off x="0" y="1268744"/>
            <a:ext cx="9144000" cy="2057400"/>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2638220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outHorizontal)">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hat We Do">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14" name="Picture Placeholder 13"/>
          <p:cNvSpPr>
            <a:spLocks noGrp="1"/>
          </p:cNvSpPr>
          <p:nvPr>
            <p:ph type="pic" sz="quarter" idx="10"/>
          </p:nvPr>
        </p:nvSpPr>
        <p:spPr>
          <a:xfrm>
            <a:off x="594124" y="1268744"/>
            <a:ext cx="7955756" cy="2057400"/>
          </a:xfrm>
          <a:custGeom>
            <a:avLst/>
            <a:gdLst>
              <a:gd name="connsiteX0" fmla="*/ 11369033 w 12191993"/>
              <a:gd name="connsiteY0" fmla="*/ 1920642 h 2743200"/>
              <a:gd name="connsiteX1" fmla="*/ 12191993 w 12191993"/>
              <a:gd name="connsiteY1" fmla="*/ 1920642 h 2743200"/>
              <a:gd name="connsiteX2" fmla="*/ 12191993 w 12191993"/>
              <a:gd name="connsiteY2" fmla="*/ 2743200 h 2743200"/>
              <a:gd name="connsiteX3" fmla="*/ 11369033 w 12191993"/>
              <a:gd name="connsiteY3" fmla="*/ 2743200 h 2743200"/>
              <a:gd name="connsiteX4" fmla="*/ 10413993 w 12191993"/>
              <a:gd name="connsiteY4" fmla="*/ 1920606 h 2743200"/>
              <a:gd name="connsiteX5" fmla="*/ 11328393 w 12191993"/>
              <a:gd name="connsiteY5" fmla="*/ 1920606 h 2743200"/>
              <a:gd name="connsiteX6" fmla="*/ 11328393 w 12191993"/>
              <a:gd name="connsiteY6" fmla="*/ 2743200 h 2743200"/>
              <a:gd name="connsiteX7" fmla="*/ 10413993 w 12191993"/>
              <a:gd name="connsiteY7" fmla="*/ 2743200 h 2743200"/>
              <a:gd name="connsiteX8" fmla="*/ 9458953 w 12191993"/>
              <a:gd name="connsiteY8" fmla="*/ 1920570 h 2743200"/>
              <a:gd name="connsiteX9" fmla="*/ 10373353 w 12191993"/>
              <a:gd name="connsiteY9" fmla="*/ 1920570 h 2743200"/>
              <a:gd name="connsiteX10" fmla="*/ 10373353 w 12191993"/>
              <a:gd name="connsiteY10" fmla="*/ 2743200 h 2743200"/>
              <a:gd name="connsiteX11" fmla="*/ 9458953 w 12191993"/>
              <a:gd name="connsiteY11" fmla="*/ 2743200 h 2743200"/>
              <a:gd name="connsiteX12" fmla="*/ 8503913 w 12191993"/>
              <a:gd name="connsiteY12" fmla="*/ 1920534 h 2743200"/>
              <a:gd name="connsiteX13" fmla="*/ 9418313 w 12191993"/>
              <a:gd name="connsiteY13" fmla="*/ 1920534 h 2743200"/>
              <a:gd name="connsiteX14" fmla="*/ 9418313 w 12191993"/>
              <a:gd name="connsiteY14" fmla="*/ 2743200 h 2743200"/>
              <a:gd name="connsiteX15" fmla="*/ 8503913 w 12191993"/>
              <a:gd name="connsiteY15" fmla="*/ 2743200 h 2743200"/>
              <a:gd name="connsiteX16" fmla="*/ 7548873 w 12191993"/>
              <a:gd name="connsiteY16" fmla="*/ 1920498 h 2743200"/>
              <a:gd name="connsiteX17" fmla="*/ 8463273 w 12191993"/>
              <a:gd name="connsiteY17" fmla="*/ 1920498 h 2743200"/>
              <a:gd name="connsiteX18" fmla="*/ 8463273 w 12191993"/>
              <a:gd name="connsiteY18" fmla="*/ 2743200 h 2743200"/>
              <a:gd name="connsiteX19" fmla="*/ 7548873 w 12191993"/>
              <a:gd name="connsiteY19" fmla="*/ 2743200 h 2743200"/>
              <a:gd name="connsiteX20" fmla="*/ 6593833 w 12191993"/>
              <a:gd name="connsiteY20" fmla="*/ 1920462 h 2743200"/>
              <a:gd name="connsiteX21" fmla="*/ 7508233 w 12191993"/>
              <a:gd name="connsiteY21" fmla="*/ 1920462 h 2743200"/>
              <a:gd name="connsiteX22" fmla="*/ 7508233 w 12191993"/>
              <a:gd name="connsiteY22" fmla="*/ 2743200 h 2743200"/>
              <a:gd name="connsiteX23" fmla="*/ 6593833 w 12191993"/>
              <a:gd name="connsiteY23" fmla="*/ 2743200 h 2743200"/>
              <a:gd name="connsiteX24" fmla="*/ 5638794 w 12191993"/>
              <a:gd name="connsiteY24" fmla="*/ 1920426 h 2743200"/>
              <a:gd name="connsiteX25" fmla="*/ 6553193 w 12191993"/>
              <a:gd name="connsiteY25" fmla="*/ 1920426 h 2743200"/>
              <a:gd name="connsiteX26" fmla="*/ 6553193 w 12191993"/>
              <a:gd name="connsiteY26" fmla="*/ 2743200 h 2743200"/>
              <a:gd name="connsiteX27" fmla="*/ 5638794 w 12191993"/>
              <a:gd name="connsiteY27" fmla="*/ 2743200 h 2743200"/>
              <a:gd name="connsiteX28" fmla="*/ 4683756 w 12191993"/>
              <a:gd name="connsiteY28" fmla="*/ 1920390 h 2743200"/>
              <a:gd name="connsiteX29" fmla="*/ 5598154 w 12191993"/>
              <a:gd name="connsiteY29" fmla="*/ 1920390 h 2743200"/>
              <a:gd name="connsiteX30" fmla="*/ 5598154 w 12191993"/>
              <a:gd name="connsiteY30" fmla="*/ 2743200 h 2743200"/>
              <a:gd name="connsiteX31" fmla="*/ 4683756 w 12191993"/>
              <a:gd name="connsiteY31" fmla="*/ 2743200 h 2743200"/>
              <a:gd name="connsiteX32" fmla="*/ 3728717 w 12191993"/>
              <a:gd name="connsiteY32" fmla="*/ 1920354 h 2743200"/>
              <a:gd name="connsiteX33" fmla="*/ 4643115 w 12191993"/>
              <a:gd name="connsiteY33" fmla="*/ 1920354 h 2743200"/>
              <a:gd name="connsiteX34" fmla="*/ 4643115 w 12191993"/>
              <a:gd name="connsiteY34" fmla="*/ 2743200 h 2743200"/>
              <a:gd name="connsiteX35" fmla="*/ 3728717 w 12191993"/>
              <a:gd name="connsiteY35" fmla="*/ 2743200 h 2743200"/>
              <a:gd name="connsiteX36" fmla="*/ 2773678 w 12191993"/>
              <a:gd name="connsiteY36" fmla="*/ 1920318 h 2743200"/>
              <a:gd name="connsiteX37" fmla="*/ 3688077 w 12191993"/>
              <a:gd name="connsiteY37" fmla="*/ 1920318 h 2743200"/>
              <a:gd name="connsiteX38" fmla="*/ 3688077 w 12191993"/>
              <a:gd name="connsiteY38" fmla="*/ 2743200 h 2743200"/>
              <a:gd name="connsiteX39" fmla="*/ 2773678 w 12191993"/>
              <a:gd name="connsiteY39" fmla="*/ 2743200 h 2743200"/>
              <a:gd name="connsiteX40" fmla="*/ 1818638 w 12191993"/>
              <a:gd name="connsiteY40" fmla="*/ 1920282 h 2743200"/>
              <a:gd name="connsiteX41" fmla="*/ 2733039 w 12191993"/>
              <a:gd name="connsiteY41" fmla="*/ 1920282 h 2743200"/>
              <a:gd name="connsiteX42" fmla="*/ 2733039 w 12191993"/>
              <a:gd name="connsiteY42" fmla="*/ 2743200 h 2743200"/>
              <a:gd name="connsiteX43" fmla="*/ 1818638 w 12191993"/>
              <a:gd name="connsiteY43" fmla="*/ 2743200 h 2743200"/>
              <a:gd name="connsiteX44" fmla="*/ 863599 w 12191993"/>
              <a:gd name="connsiteY44" fmla="*/ 1920246 h 2743200"/>
              <a:gd name="connsiteX45" fmla="*/ 1777998 w 12191993"/>
              <a:gd name="connsiteY45" fmla="*/ 1920246 h 2743200"/>
              <a:gd name="connsiteX46" fmla="*/ 1777998 w 12191993"/>
              <a:gd name="connsiteY46" fmla="*/ 2743200 h 2743200"/>
              <a:gd name="connsiteX47" fmla="*/ 863599 w 12191993"/>
              <a:gd name="connsiteY47" fmla="*/ 2743200 h 2743200"/>
              <a:gd name="connsiteX48" fmla="*/ 0 w 12191993"/>
              <a:gd name="connsiteY48" fmla="*/ 1920210 h 2743200"/>
              <a:gd name="connsiteX49" fmla="*/ 822959 w 12191993"/>
              <a:gd name="connsiteY49" fmla="*/ 1920210 h 2743200"/>
              <a:gd name="connsiteX50" fmla="*/ 822959 w 12191993"/>
              <a:gd name="connsiteY50" fmla="*/ 2743200 h 2743200"/>
              <a:gd name="connsiteX51" fmla="*/ 0 w 12191993"/>
              <a:gd name="connsiteY51" fmla="*/ 2743200 h 2743200"/>
              <a:gd name="connsiteX52" fmla="*/ 11369033 w 12191993"/>
              <a:gd name="connsiteY52" fmla="*/ 960519 h 2743200"/>
              <a:gd name="connsiteX53" fmla="*/ 12191993 w 12191993"/>
              <a:gd name="connsiteY53" fmla="*/ 960519 h 2743200"/>
              <a:gd name="connsiteX54" fmla="*/ 12191993 w 12191993"/>
              <a:gd name="connsiteY54" fmla="*/ 1874919 h 2743200"/>
              <a:gd name="connsiteX55" fmla="*/ 11369033 w 12191993"/>
              <a:gd name="connsiteY55" fmla="*/ 1874919 h 2743200"/>
              <a:gd name="connsiteX56" fmla="*/ 10413993 w 12191993"/>
              <a:gd name="connsiteY56" fmla="*/ 960483 h 2743200"/>
              <a:gd name="connsiteX57" fmla="*/ 11328393 w 12191993"/>
              <a:gd name="connsiteY57" fmla="*/ 960483 h 2743200"/>
              <a:gd name="connsiteX58" fmla="*/ 11328393 w 12191993"/>
              <a:gd name="connsiteY58" fmla="*/ 1874883 h 2743200"/>
              <a:gd name="connsiteX59" fmla="*/ 10413993 w 12191993"/>
              <a:gd name="connsiteY59" fmla="*/ 1874883 h 2743200"/>
              <a:gd name="connsiteX60" fmla="*/ 9458953 w 12191993"/>
              <a:gd name="connsiteY60" fmla="*/ 960447 h 2743200"/>
              <a:gd name="connsiteX61" fmla="*/ 10373353 w 12191993"/>
              <a:gd name="connsiteY61" fmla="*/ 960447 h 2743200"/>
              <a:gd name="connsiteX62" fmla="*/ 10373353 w 12191993"/>
              <a:gd name="connsiteY62" fmla="*/ 1874847 h 2743200"/>
              <a:gd name="connsiteX63" fmla="*/ 9458953 w 12191993"/>
              <a:gd name="connsiteY63" fmla="*/ 1874847 h 2743200"/>
              <a:gd name="connsiteX64" fmla="*/ 8503913 w 12191993"/>
              <a:gd name="connsiteY64" fmla="*/ 960411 h 2743200"/>
              <a:gd name="connsiteX65" fmla="*/ 9418313 w 12191993"/>
              <a:gd name="connsiteY65" fmla="*/ 960411 h 2743200"/>
              <a:gd name="connsiteX66" fmla="*/ 9418313 w 12191993"/>
              <a:gd name="connsiteY66" fmla="*/ 1874811 h 2743200"/>
              <a:gd name="connsiteX67" fmla="*/ 8503913 w 12191993"/>
              <a:gd name="connsiteY67" fmla="*/ 1874811 h 2743200"/>
              <a:gd name="connsiteX68" fmla="*/ 7548873 w 12191993"/>
              <a:gd name="connsiteY68" fmla="*/ 960375 h 2743200"/>
              <a:gd name="connsiteX69" fmla="*/ 8463273 w 12191993"/>
              <a:gd name="connsiteY69" fmla="*/ 960375 h 2743200"/>
              <a:gd name="connsiteX70" fmla="*/ 8463273 w 12191993"/>
              <a:gd name="connsiteY70" fmla="*/ 1874775 h 2743200"/>
              <a:gd name="connsiteX71" fmla="*/ 7548873 w 12191993"/>
              <a:gd name="connsiteY71" fmla="*/ 1874775 h 2743200"/>
              <a:gd name="connsiteX72" fmla="*/ 6593833 w 12191993"/>
              <a:gd name="connsiteY72" fmla="*/ 960339 h 2743200"/>
              <a:gd name="connsiteX73" fmla="*/ 7508233 w 12191993"/>
              <a:gd name="connsiteY73" fmla="*/ 960339 h 2743200"/>
              <a:gd name="connsiteX74" fmla="*/ 7508233 w 12191993"/>
              <a:gd name="connsiteY74" fmla="*/ 1874739 h 2743200"/>
              <a:gd name="connsiteX75" fmla="*/ 6593833 w 12191993"/>
              <a:gd name="connsiteY75" fmla="*/ 1874739 h 2743200"/>
              <a:gd name="connsiteX76" fmla="*/ 5638794 w 12191993"/>
              <a:gd name="connsiteY76" fmla="*/ 960303 h 2743200"/>
              <a:gd name="connsiteX77" fmla="*/ 6553193 w 12191993"/>
              <a:gd name="connsiteY77" fmla="*/ 960303 h 2743200"/>
              <a:gd name="connsiteX78" fmla="*/ 6553193 w 12191993"/>
              <a:gd name="connsiteY78" fmla="*/ 1874703 h 2743200"/>
              <a:gd name="connsiteX79" fmla="*/ 5638794 w 12191993"/>
              <a:gd name="connsiteY79" fmla="*/ 1874703 h 2743200"/>
              <a:gd name="connsiteX80" fmla="*/ 4683756 w 12191993"/>
              <a:gd name="connsiteY80" fmla="*/ 960267 h 2743200"/>
              <a:gd name="connsiteX81" fmla="*/ 5598154 w 12191993"/>
              <a:gd name="connsiteY81" fmla="*/ 960267 h 2743200"/>
              <a:gd name="connsiteX82" fmla="*/ 5598154 w 12191993"/>
              <a:gd name="connsiteY82" fmla="*/ 1874667 h 2743200"/>
              <a:gd name="connsiteX83" fmla="*/ 4683756 w 12191993"/>
              <a:gd name="connsiteY83" fmla="*/ 1874667 h 2743200"/>
              <a:gd name="connsiteX84" fmla="*/ 3728717 w 12191993"/>
              <a:gd name="connsiteY84" fmla="*/ 960231 h 2743200"/>
              <a:gd name="connsiteX85" fmla="*/ 4643115 w 12191993"/>
              <a:gd name="connsiteY85" fmla="*/ 960231 h 2743200"/>
              <a:gd name="connsiteX86" fmla="*/ 4643115 w 12191993"/>
              <a:gd name="connsiteY86" fmla="*/ 1874631 h 2743200"/>
              <a:gd name="connsiteX87" fmla="*/ 3728717 w 12191993"/>
              <a:gd name="connsiteY87" fmla="*/ 1874631 h 2743200"/>
              <a:gd name="connsiteX88" fmla="*/ 2773678 w 12191993"/>
              <a:gd name="connsiteY88" fmla="*/ 960195 h 2743200"/>
              <a:gd name="connsiteX89" fmla="*/ 3688077 w 12191993"/>
              <a:gd name="connsiteY89" fmla="*/ 960195 h 2743200"/>
              <a:gd name="connsiteX90" fmla="*/ 3688077 w 12191993"/>
              <a:gd name="connsiteY90" fmla="*/ 1874595 h 2743200"/>
              <a:gd name="connsiteX91" fmla="*/ 2773678 w 12191993"/>
              <a:gd name="connsiteY91" fmla="*/ 1874595 h 2743200"/>
              <a:gd name="connsiteX92" fmla="*/ 1818638 w 12191993"/>
              <a:gd name="connsiteY92" fmla="*/ 960159 h 2743200"/>
              <a:gd name="connsiteX93" fmla="*/ 2733039 w 12191993"/>
              <a:gd name="connsiteY93" fmla="*/ 960159 h 2743200"/>
              <a:gd name="connsiteX94" fmla="*/ 2733039 w 12191993"/>
              <a:gd name="connsiteY94" fmla="*/ 1874559 h 2743200"/>
              <a:gd name="connsiteX95" fmla="*/ 1818638 w 12191993"/>
              <a:gd name="connsiteY95" fmla="*/ 1874559 h 2743200"/>
              <a:gd name="connsiteX96" fmla="*/ 863599 w 12191993"/>
              <a:gd name="connsiteY96" fmla="*/ 960123 h 2743200"/>
              <a:gd name="connsiteX97" fmla="*/ 1777998 w 12191993"/>
              <a:gd name="connsiteY97" fmla="*/ 960123 h 2743200"/>
              <a:gd name="connsiteX98" fmla="*/ 1777998 w 12191993"/>
              <a:gd name="connsiteY98" fmla="*/ 1874523 h 2743200"/>
              <a:gd name="connsiteX99" fmla="*/ 863599 w 12191993"/>
              <a:gd name="connsiteY99" fmla="*/ 1874523 h 2743200"/>
              <a:gd name="connsiteX100" fmla="*/ 0 w 12191993"/>
              <a:gd name="connsiteY100" fmla="*/ 960087 h 2743200"/>
              <a:gd name="connsiteX101" fmla="*/ 822959 w 12191993"/>
              <a:gd name="connsiteY101" fmla="*/ 960087 h 2743200"/>
              <a:gd name="connsiteX102" fmla="*/ 822959 w 12191993"/>
              <a:gd name="connsiteY102" fmla="*/ 1874487 h 2743200"/>
              <a:gd name="connsiteX103" fmla="*/ 0 w 12191993"/>
              <a:gd name="connsiteY103" fmla="*/ 1874487 h 2743200"/>
              <a:gd name="connsiteX104" fmla="*/ 11369033 w 12191993"/>
              <a:gd name="connsiteY104" fmla="*/ 396 h 2743200"/>
              <a:gd name="connsiteX105" fmla="*/ 12191993 w 12191993"/>
              <a:gd name="connsiteY105" fmla="*/ 396 h 2743200"/>
              <a:gd name="connsiteX106" fmla="*/ 12191993 w 12191993"/>
              <a:gd name="connsiteY106" fmla="*/ 914796 h 2743200"/>
              <a:gd name="connsiteX107" fmla="*/ 11369033 w 12191993"/>
              <a:gd name="connsiteY107" fmla="*/ 914796 h 2743200"/>
              <a:gd name="connsiteX108" fmla="*/ 10413993 w 12191993"/>
              <a:gd name="connsiteY108" fmla="*/ 360 h 2743200"/>
              <a:gd name="connsiteX109" fmla="*/ 11328393 w 12191993"/>
              <a:gd name="connsiteY109" fmla="*/ 360 h 2743200"/>
              <a:gd name="connsiteX110" fmla="*/ 11328393 w 12191993"/>
              <a:gd name="connsiteY110" fmla="*/ 914760 h 2743200"/>
              <a:gd name="connsiteX111" fmla="*/ 10413993 w 12191993"/>
              <a:gd name="connsiteY111" fmla="*/ 914760 h 2743200"/>
              <a:gd name="connsiteX112" fmla="*/ 9458953 w 12191993"/>
              <a:gd name="connsiteY112" fmla="*/ 324 h 2743200"/>
              <a:gd name="connsiteX113" fmla="*/ 10373353 w 12191993"/>
              <a:gd name="connsiteY113" fmla="*/ 324 h 2743200"/>
              <a:gd name="connsiteX114" fmla="*/ 10373353 w 12191993"/>
              <a:gd name="connsiteY114" fmla="*/ 914724 h 2743200"/>
              <a:gd name="connsiteX115" fmla="*/ 9458953 w 12191993"/>
              <a:gd name="connsiteY115" fmla="*/ 914724 h 2743200"/>
              <a:gd name="connsiteX116" fmla="*/ 8503913 w 12191993"/>
              <a:gd name="connsiteY116" fmla="*/ 288 h 2743200"/>
              <a:gd name="connsiteX117" fmla="*/ 9418313 w 12191993"/>
              <a:gd name="connsiteY117" fmla="*/ 288 h 2743200"/>
              <a:gd name="connsiteX118" fmla="*/ 9418313 w 12191993"/>
              <a:gd name="connsiteY118" fmla="*/ 914688 h 2743200"/>
              <a:gd name="connsiteX119" fmla="*/ 8503913 w 12191993"/>
              <a:gd name="connsiteY119" fmla="*/ 914688 h 2743200"/>
              <a:gd name="connsiteX120" fmla="*/ 7548873 w 12191993"/>
              <a:gd name="connsiteY120" fmla="*/ 252 h 2743200"/>
              <a:gd name="connsiteX121" fmla="*/ 8463273 w 12191993"/>
              <a:gd name="connsiteY121" fmla="*/ 252 h 2743200"/>
              <a:gd name="connsiteX122" fmla="*/ 8463273 w 12191993"/>
              <a:gd name="connsiteY122" fmla="*/ 914652 h 2743200"/>
              <a:gd name="connsiteX123" fmla="*/ 7548873 w 12191993"/>
              <a:gd name="connsiteY123" fmla="*/ 914652 h 2743200"/>
              <a:gd name="connsiteX124" fmla="*/ 6593833 w 12191993"/>
              <a:gd name="connsiteY124" fmla="*/ 216 h 2743200"/>
              <a:gd name="connsiteX125" fmla="*/ 7508233 w 12191993"/>
              <a:gd name="connsiteY125" fmla="*/ 216 h 2743200"/>
              <a:gd name="connsiteX126" fmla="*/ 7508233 w 12191993"/>
              <a:gd name="connsiteY126" fmla="*/ 914616 h 2743200"/>
              <a:gd name="connsiteX127" fmla="*/ 6593833 w 12191993"/>
              <a:gd name="connsiteY127" fmla="*/ 914616 h 2743200"/>
              <a:gd name="connsiteX128" fmla="*/ 5638794 w 12191993"/>
              <a:gd name="connsiteY128" fmla="*/ 180 h 2743200"/>
              <a:gd name="connsiteX129" fmla="*/ 6553193 w 12191993"/>
              <a:gd name="connsiteY129" fmla="*/ 180 h 2743200"/>
              <a:gd name="connsiteX130" fmla="*/ 6553193 w 12191993"/>
              <a:gd name="connsiteY130" fmla="*/ 914580 h 2743200"/>
              <a:gd name="connsiteX131" fmla="*/ 5638794 w 12191993"/>
              <a:gd name="connsiteY131" fmla="*/ 914580 h 2743200"/>
              <a:gd name="connsiteX132" fmla="*/ 4683756 w 12191993"/>
              <a:gd name="connsiteY132" fmla="*/ 144 h 2743200"/>
              <a:gd name="connsiteX133" fmla="*/ 5598154 w 12191993"/>
              <a:gd name="connsiteY133" fmla="*/ 144 h 2743200"/>
              <a:gd name="connsiteX134" fmla="*/ 5598154 w 12191993"/>
              <a:gd name="connsiteY134" fmla="*/ 914544 h 2743200"/>
              <a:gd name="connsiteX135" fmla="*/ 4683756 w 12191993"/>
              <a:gd name="connsiteY135" fmla="*/ 914544 h 2743200"/>
              <a:gd name="connsiteX136" fmla="*/ 3728717 w 12191993"/>
              <a:gd name="connsiteY136" fmla="*/ 108 h 2743200"/>
              <a:gd name="connsiteX137" fmla="*/ 4643115 w 12191993"/>
              <a:gd name="connsiteY137" fmla="*/ 108 h 2743200"/>
              <a:gd name="connsiteX138" fmla="*/ 4643115 w 12191993"/>
              <a:gd name="connsiteY138" fmla="*/ 914508 h 2743200"/>
              <a:gd name="connsiteX139" fmla="*/ 3728717 w 12191993"/>
              <a:gd name="connsiteY139" fmla="*/ 914508 h 2743200"/>
              <a:gd name="connsiteX140" fmla="*/ 2773679 w 12191993"/>
              <a:gd name="connsiteY140" fmla="*/ 72 h 2743200"/>
              <a:gd name="connsiteX141" fmla="*/ 3688077 w 12191993"/>
              <a:gd name="connsiteY141" fmla="*/ 72 h 2743200"/>
              <a:gd name="connsiteX142" fmla="*/ 3688077 w 12191993"/>
              <a:gd name="connsiteY142" fmla="*/ 914472 h 2743200"/>
              <a:gd name="connsiteX143" fmla="*/ 2773679 w 12191993"/>
              <a:gd name="connsiteY143" fmla="*/ 914472 h 2743200"/>
              <a:gd name="connsiteX144" fmla="*/ 1818638 w 12191993"/>
              <a:gd name="connsiteY144" fmla="*/ 36 h 2743200"/>
              <a:gd name="connsiteX145" fmla="*/ 2733039 w 12191993"/>
              <a:gd name="connsiteY145" fmla="*/ 36 h 2743200"/>
              <a:gd name="connsiteX146" fmla="*/ 2733039 w 12191993"/>
              <a:gd name="connsiteY146" fmla="*/ 914436 h 2743200"/>
              <a:gd name="connsiteX147" fmla="*/ 1818638 w 12191993"/>
              <a:gd name="connsiteY147" fmla="*/ 914436 h 2743200"/>
              <a:gd name="connsiteX148" fmla="*/ 863599 w 12191993"/>
              <a:gd name="connsiteY148" fmla="*/ 0 h 2743200"/>
              <a:gd name="connsiteX149" fmla="*/ 1777998 w 12191993"/>
              <a:gd name="connsiteY149" fmla="*/ 0 h 2743200"/>
              <a:gd name="connsiteX150" fmla="*/ 1777998 w 12191993"/>
              <a:gd name="connsiteY150" fmla="*/ 914400 h 2743200"/>
              <a:gd name="connsiteX151" fmla="*/ 863599 w 12191993"/>
              <a:gd name="connsiteY151" fmla="*/ 914400 h 2743200"/>
              <a:gd name="connsiteX152" fmla="*/ 0 w 12191993"/>
              <a:gd name="connsiteY152" fmla="*/ 0 h 2743200"/>
              <a:gd name="connsiteX153" fmla="*/ 822959 w 12191993"/>
              <a:gd name="connsiteY153" fmla="*/ 0 h 2743200"/>
              <a:gd name="connsiteX154" fmla="*/ 822959 w 12191993"/>
              <a:gd name="connsiteY154" fmla="*/ 914364 h 2743200"/>
              <a:gd name="connsiteX155" fmla="*/ 0 w 12191993"/>
              <a:gd name="connsiteY155" fmla="*/ 914364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2191993" h="2743200">
                <a:moveTo>
                  <a:pt x="11369033" y="1920642"/>
                </a:moveTo>
                <a:lnTo>
                  <a:pt x="12191993" y="1920642"/>
                </a:lnTo>
                <a:lnTo>
                  <a:pt x="12191993" y="2743200"/>
                </a:lnTo>
                <a:lnTo>
                  <a:pt x="11369033" y="2743200"/>
                </a:lnTo>
                <a:close/>
                <a:moveTo>
                  <a:pt x="10413993" y="1920606"/>
                </a:moveTo>
                <a:lnTo>
                  <a:pt x="11328393" y="1920606"/>
                </a:lnTo>
                <a:lnTo>
                  <a:pt x="11328393" y="2743200"/>
                </a:lnTo>
                <a:lnTo>
                  <a:pt x="10413993" y="2743200"/>
                </a:lnTo>
                <a:close/>
                <a:moveTo>
                  <a:pt x="9458953" y="1920570"/>
                </a:moveTo>
                <a:lnTo>
                  <a:pt x="10373353" y="1920570"/>
                </a:lnTo>
                <a:lnTo>
                  <a:pt x="10373353" y="2743200"/>
                </a:lnTo>
                <a:lnTo>
                  <a:pt x="9458953" y="2743200"/>
                </a:lnTo>
                <a:close/>
                <a:moveTo>
                  <a:pt x="8503913" y="1920534"/>
                </a:moveTo>
                <a:lnTo>
                  <a:pt x="9418313" y="1920534"/>
                </a:lnTo>
                <a:lnTo>
                  <a:pt x="9418313" y="2743200"/>
                </a:lnTo>
                <a:lnTo>
                  <a:pt x="8503913" y="2743200"/>
                </a:lnTo>
                <a:close/>
                <a:moveTo>
                  <a:pt x="7548873" y="1920498"/>
                </a:moveTo>
                <a:lnTo>
                  <a:pt x="8463273" y="1920498"/>
                </a:lnTo>
                <a:lnTo>
                  <a:pt x="8463273" y="2743200"/>
                </a:lnTo>
                <a:lnTo>
                  <a:pt x="7548873" y="2743200"/>
                </a:lnTo>
                <a:close/>
                <a:moveTo>
                  <a:pt x="6593833" y="1920462"/>
                </a:moveTo>
                <a:lnTo>
                  <a:pt x="7508233" y="1920462"/>
                </a:lnTo>
                <a:lnTo>
                  <a:pt x="7508233" y="2743200"/>
                </a:lnTo>
                <a:lnTo>
                  <a:pt x="6593833" y="2743200"/>
                </a:lnTo>
                <a:close/>
                <a:moveTo>
                  <a:pt x="5638794" y="1920426"/>
                </a:moveTo>
                <a:lnTo>
                  <a:pt x="6553193" y="1920426"/>
                </a:lnTo>
                <a:lnTo>
                  <a:pt x="6553193" y="2743200"/>
                </a:lnTo>
                <a:lnTo>
                  <a:pt x="5638794" y="2743200"/>
                </a:lnTo>
                <a:close/>
                <a:moveTo>
                  <a:pt x="4683756" y="1920390"/>
                </a:moveTo>
                <a:lnTo>
                  <a:pt x="5598154" y="1920390"/>
                </a:lnTo>
                <a:lnTo>
                  <a:pt x="5598154" y="2743200"/>
                </a:lnTo>
                <a:lnTo>
                  <a:pt x="4683756" y="2743200"/>
                </a:lnTo>
                <a:close/>
                <a:moveTo>
                  <a:pt x="3728717" y="1920354"/>
                </a:moveTo>
                <a:lnTo>
                  <a:pt x="4643115" y="1920354"/>
                </a:lnTo>
                <a:lnTo>
                  <a:pt x="4643115" y="2743200"/>
                </a:lnTo>
                <a:lnTo>
                  <a:pt x="3728717" y="2743200"/>
                </a:lnTo>
                <a:close/>
                <a:moveTo>
                  <a:pt x="2773678" y="1920318"/>
                </a:moveTo>
                <a:lnTo>
                  <a:pt x="3688077" y="1920318"/>
                </a:lnTo>
                <a:lnTo>
                  <a:pt x="3688077" y="2743200"/>
                </a:lnTo>
                <a:lnTo>
                  <a:pt x="2773678" y="2743200"/>
                </a:lnTo>
                <a:close/>
                <a:moveTo>
                  <a:pt x="1818638" y="1920282"/>
                </a:moveTo>
                <a:lnTo>
                  <a:pt x="2733039" y="1920282"/>
                </a:lnTo>
                <a:lnTo>
                  <a:pt x="2733039" y="2743200"/>
                </a:lnTo>
                <a:lnTo>
                  <a:pt x="1818638" y="2743200"/>
                </a:lnTo>
                <a:close/>
                <a:moveTo>
                  <a:pt x="863599" y="1920246"/>
                </a:moveTo>
                <a:lnTo>
                  <a:pt x="1777998" y="1920246"/>
                </a:lnTo>
                <a:lnTo>
                  <a:pt x="1777998" y="2743200"/>
                </a:lnTo>
                <a:lnTo>
                  <a:pt x="863599" y="2743200"/>
                </a:lnTo>
                <a:close/>
                <a:moveTo>
                  <a:pt x="0" y="1920210"/>
                </a:moveTo>
                <a:lnTo>
                  <a:pt x="822959" y="1920210"/>
                </a:lnTo>
                <a:lnTo>
                  <a:pt x="822959" y="2743200"/>
                </a:lnTo>
                <a:lnTo>
                  <a:pt x="0" y="2743200"/>
                </a:lnTo>
                <a:close/>
                <a:moveTo>
                  <a:pt x="11369033" y="960519"/>
                </a:moveTo>
                <a:lnTo>
                  <a:pt x="12191993" y="960519"/>
                </a:lnTo>
                <a:lnTo>
                  <a:pt x="12191993" y="1874919"/>
                </a:lnTo>
                <a:lnTo>
                  <a:pt x="11369033" y="1874919"/>
                </a:lnTo>
                <a:close/>
                <a:moveTo>
                  <a:pt x="10413993" y="960483"/>
                </a:moveTo>
                <a:lnTo>
                  <a:pt x="11328393" y="960483"/>
                </a:lnTo>
                <a:lnTo>
                  <a:pt x="11328393" y="1874883"/>
                </a:lnTo>
                <a:lnTo>
                  <a:pt x="10413993" y="1874883"/>
                </a:lnTo>
                <a:close/>
                <a:moveTo>
                  <a:pt x="9458953" y="960447"/>
                </a:moveTo>
                <a:lnTo>
                  <a:pt x="10373353" y="960447"/>
                </a:lnTo>
                <a:lnTo>
                  <a:pt x="10373353" y="1874847"/>
                </a:lnTo>
                <a:lnTo>
                  <a:pt x="9458953" y="1874847"/>
                </a:lnTo>
                <a:close/>
                <a:moveTo>
                  <a:pt x="8503913" y="960411"/>
                </a:moveTo>
                <a:lnTo>
                  <a:pt x="9418313" y="960411"/>
                </a:lnTo>
                <a:lnTo>
                  <a:pt x="9418313" y="1874811"/>
                </a:lnTo>
                <a:lnTo>
                  <a:pt x="8503913" y="1874811"/>
                </a:lnTo>
                <a:close/>
                <a:moveTo>
                  <a:pt x="7548873" y="960375"/>
                </a:moveTo>
                <a:lnTo>
                  <a:pt x="8463273" y="960375"/>
                </a:lnTo>
                <a:lnTo>
                  <a:pt x="8463273" y="1874775"/>
                </a:lnTo>
                <a:lnTo>
                  <a:pt x="7548873" y="1874775"/>
                </a:lnTo>
                <a:close/>
                <a:moveTo>
                  <a:pt x="6593833" y="960339"/>
                </a:moveTo>
                <a:lnTo>
                  <a:pt x="7508233" y="960339"/>
                </a:lnTo>
                <a:lnTo>
                  <a:pt x="7508233" y="1874739"/>
                </a:lnTo>
                <a:lnTo>
                  <a:pt x="6593833" y="1874739"/>
                </a:lnTo>
                <a:close/>
                <a:moveTo>
                  <a:pt x="5638794" y="960303"/>
                </a:moveTo>
                <a:lnTo>
                  <a:pt x="6553193" y="960303"/>
                </a:lnTo>
                <a:lnTo>
                  <a:pt x="6553193" y="1874703"/>
                </a:lnTo>
                <a:lnTo>
                  <a:pt x="5638794" y="1874703"/>
                </a:lnTo>
                <a:close/>
                <a:moveTo>
                  <a:pt x="4683756" y="960267"/>
                </a:moveTo>
                <a:lnTo>
                  <a:pt x="5598154" y="960267"/>
                </a:lnTo>
                <a:lnTo>
                  <a:pt x="5598154" y="1874667"/>
                </a:lnTo>
                <a:lnTo>
                  <a:pt x="4683756" y="1874667"/>
                </a:lnTo>
                <a:close/>
                <a:moveTo>
                  <a:pt x="3728717" y="960231"/>
                </a:moveTo>
                <a:lnTo>
                  <a:pt x="4643115" y="960231"/>
                </a:lnTo>
                <a:lnTo>
                  <a:pt x="4643115" y="1874631"/>
                </a:lnTo>
                <a:lnTo>
                  <a:pt x="3728717" y="1874631"/>
                </a:lnTo>
                <a:close/>
                <a:moveTo>
                  <a:pt x="2773678" y="960195"/>
                </a:moveTo>
                <a:lnTo>
                  <a:pt x="3688077" y="960195"/>
                </a:lnTo>
                <a:lnTo>
                  <a:pt x="3688077" y="1874595"/>
                </a:lnTo>
                <a:lnTo>
                  <a:pt x="2773678" y="1874595"/>
                </a:lnTo>
                <a:close/>
                <a:moveTo>
                  <a:pt x="1818638" y="960159"/>
                </a:moveTo>
                <a:lnTo>
                  <a:pt x="2733039" y="960159"/>
                </a:lnTo>
                <a:lnTo>
                  <a:pt x="2733039" y="1874559"/>
                </a:lnTo>
                <a:lnTo>
                  <a:pt x="1818638" y="1874559"/>
                </a:lnTo>
                <a:close/>
                <a:moveTo>
                  <a:pt x="863599" y="960123"/>
                </a:moveTo>
                <a:lnTo>
                  <a:pt x="1777998" y="960123"/>
                </a:lnTo>
                <a:lnTo>
                  <a:pt x="1777998" y="1874523"/>
                </a:lnTo>
                <a:lnTo>
                  <a:pt x="863599" y="1874523"/>
                </a:lnTo>
                <a:close/>
                <a:moveTo>
                  <a:pt x="0" y="960087"/>
                </a:moveTo>
                <a:lnTo>
                  <a:pt x="822959" y="960087"/>
                </a:lnTo>
                <a:lnTo>
                  <a:pt x="822959" y="1874487"/>
                </a:lnTo>
                <a:lnTo>
                  <a:pt x="0" y="1874487"/>
                </a:lnTo>
                <a:close/>
                <a:moveTo>
                  <a:pt x="11369033" y="396"/>
                </a:moveTo>
                <a:lnTo>
                  <a:pt x="12191993" y="396"/>
                </a:lnTo>
                <a:lnTo>
                  <a:pt x="12191993" y="914796"/>
                </a:lnTo>
                <a:lnTo>
                  <a:pt x="11369033" y="914796"/>
                </a:lnTo>
                <a:close/>
                <a:moveTo>
                  <a:pt x="10413993" y="360"/>
                </a:moveTo>
                <a:lnTo>
                  <a:pt x="11328393" y="360"/>
                </a:lnTo>
                <a:lnTo>
                  <a:pt x="11328393" y="914760"/>
                </a:lnTo>
                <a:lnTo>
                  <a:pt x="10413993" y="914760"/>
                </a:lnTo>
                <a:close/>
                <a:moveTo>
                  <a:pt x="9458953" y="324"/>
                </a:moveTo>
                <a:lnTo>
                  <a:pt x="10373353" y="324"/>
                </a:lnTo>
                <a:lnTo>
                  <a:pt x="10373353" y="914724"/>
                </a:lnTo>
                <a:lnTo>
                  <a:pt x="9458953" y="914724"/>
                </a:lnTo>
                <a:close/>
                <a:moveTo>
                  <a:pt x="8503913" y="288"/>
                </a:moveTo>
                <a:lnTo>
                  <a:pt x="9418313" y="288"/>
                </a:lnTo>
                <a:lnTo>
                  <a:pt x="9418313" y="914688"/>
                </a:lnTo>
                <a:lnTo>
                  <a:pt x="8503913" y="914688"/>
                </a:lnTo>
                <a:close/>
                <a:moveTo>
                  <a:pt x="7548873" y="252"/>
                </a:moveTo>
                <a:lnTo>
                  <a:pt x="8463273" y="252"/>
                </a:lnTo>
                <a:lnTo>
                  <a:pt x="8463273" y="914652"/>
                </a:lnTo>
                <a:lnTo>
                  <a:pt x="7548873" y="914652"/>
                </a:lnTo>
                <a:close/>
                <a:moveTo>
                  <a:pt x="6593833" y="216"/>
                </a:moveTo>
                <a:lnTo>
                  <a:pt x="7508233" y="216"/>
                </a:lnTo>
                <a:lnTo>
                  <a:pt x="7508233" y="914616"/>
                </a:lnTo>
                <a:lnTo>
                  <a:pt x="6593833" y="914616"/>
                </a:lnTo>
                <a:close/>
                <a:moveTo>
                  <a:pt x="5638794" y="180"/>
                </a:moveTo>
                <a:lnTo>
                  <a:pt x="6553193" y="180"/>
                </a:lnTo>
                <a:lnTo>
                  <a:pt x="6553193" y="914580"/>
                </a:lnTo>
                <a:lnTo>
                  <a:pt x="5638794" y="914580"/>
                </a:lnTo>
                <a:close/>
                <a:moveTo>
                  <a:pt x="4683756" y="144"/>
                </a:moveTo>
                <a:lnTo>
                  <a:pt x="5598154" y="144"/>
                </a:lnTo>
                <a:lnTo>
                  <a:pt x="5598154" y="914544"/>
                </a:lnTo>
                <a:lnTo>
                  <a:pt x="4683756" y="914544"/>
                </a:lnTo>
                <a:close/>
                <a:moveTo>
                  <a:pt x="3728717" y="108"/>
                </a:moveTo>
                <a:lnTo>
                  <a:pt x="4643115" y="108"/>
                </a:lnTo>
                <a:lnTo>
                  <a:pt x="4643115" y="914508"/>
                </a:lnTo>
                <a:lnTo>
                  <a:pt x="3728717" y="914508"/>
                </a:lnTo>
                <a:close/>
                <a:moveTo>
                  <a:pt x="2773679" y="72"/>
                </a:moveTo>
                <a:lnTo>
                  <a:pt x="3688077" y="72"/>
                </a:lnTo>
                <a:lnTo>
                  <a:pt x="3688077" y="914472"/>
                </a:lnTo>
                <a:lnTo>
                  <a:pt x="2773679" y="914472"/>
                </a:lnTo>
                <a:close/>
                <a:moveTo>
                  <a:pt x="1818638" y="36"/>
                </a:moveTo>
                <a:lnTo>
                  <a:pt x="2733039" y="36"/>
                </a:lnTo>
                <a:lnTo>
                  <a:pt x="2733039" y="914436"/>
                </a:lnTo>
                <a:lnTo>
                  <a:pt x="1818638" y="914436"/>
                </a:lnTo>
                <a:close/>
                <a:moveTo>
                  <a:pt x="863599" y="0"/>
                </a:moveTo>
                <a:lnTo>
                  <a:pt x="1777998" y="0"/>
                </a:lnTo>
                <a:lnTo>
                  <a:pt x="1777998" y="914400"/>
                </a:lnTo>
                <a:lnTo>
                  <a:pt x="863599" y="914400"/>
                </a:lnTo>
                <a:close/>
                <a:moveTo>
                  <a:pt x="0" y="0"/>
                </a:moveTo>
                <a:lnTo>
                  <a:pt x="822959" y="0"/>
                </a:lnTo>
                <a:lnTo>
                  <a:pt x="822959" y="914364"/>
                </a:lnTo>
                <a:lnTo>
                  <a:pt x="0" y="914364"/>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697266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checkerboard(across)">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Why U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1" name="Picture Placeholder 3"/>
          <p:cNvSpPr>
            <a:spLocks noGrp="1"/>
          </p:cNvSpPr>
          <p:nvPr>
            <p:ph type="pic" sz="quarter" idx="10"/>
          </p:nvPr>
        </p:nvSpPr>
        <p:spPr>
          <a:xfrm>
            <a:off x="0" y="0"/>
            <a:ext cx="4114800" cy="5143500"/>
          </a:xfrm>
          <a:noFill/>
        </p:spPr>
        <p:txBody>
          <a:bodyPr anchor="ctr" anchorCtr="0"/>
          <a:lstStyle>
            <a:lvl1pPr algn="ctr">
              <a:defRPr/>
            </a:lvl1pPr>
          </a:lstStyle>
          <a:p>
            <a:endParaRPr lang="en-US" dirty="0"/>
          </a:p>
        </p:txBody>
      </p:sp>
    </p:spTree>
    <p:extLst>
      <p:ext uri="{BB962C8B-B14F-4D97-AF65-F5344CB8AC3E}">
        <p14:creationId xmlns:p14="http://schemas.microsoft.com/office/powerpoint/2010/main" val="667619183"/>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Company Structur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30" name="Picture Placeholder 3"/>
          <p:cNvSpPr>
            <a:spLocks noGrp="1"/>
          </p:cNvSpPr>
          <p:nvPr>
            <p:ph type="pic" sz="quarter" idx="11"/>
          </p:nvPr>
        </p:nvSpPr>
        <p:spPr>
          <a:xfrm>
            <a:off x="3749049" y="1954531"/>
            <a:ext cx="548640" cy="548640"/>
          </a:xfrm>
          <a:solidFill>
            <a:schemeClr val="tx2">
              <a:lumMod val="85000"/>
            </a:schemeClr>
          </a:solidFill>
        </p:spPr>
        <p:txBody>
          <a:bodyPr anchor="ctr" anchorCtr="0"/>
          <a:lstStyle>
            <a:lvl1pPr algn="ctr">
              <a:defRPr/>
            </a:lvl1pPr>
          </a:lstStyle>
          <a:p>
            <a:endParaRPr lang="en-US" dirty="0"/>
          </a:p>
        </p:txBody>
      </p:sp>
      <p:sp>
        <p:nvSpPr>
          <p:cNvPr id="31" name="Picture Placeholder 3"/>
          <p:cNvSpPr>
            <a:spLocks noGrp="1"/>
          </p:cNvSpPr>
          <p:nvPr>
            <p:ph type="pic" sz="quarter" idx="12"/>
          </p:nvPr>
        </p:nvSpPr>
        <p:spPr>
          <a:xfrm>
            <a:off x="1211617" y="3051799"/>
            <a:ext cx="548640" cy="548640"/>
          </a:xfrm>
          <a:solidFill>
            <a:schemeClr val="tx2">
              <a:lumMod val="85000"/>
            </a:schemeClr>
          </a:solidFill>
        </p:spPr>
        <p:txBody>
          <a:bodyPr anchor="ctr" anchorCtr="0"/>
          <a:lstStyle>
            <a:lvl1pPr algn="ctr">
              <a:defRPr/>
            </a:lvl1pPr>
          </a:lstStyle>
          <a:p>
            <a:endParaRPr lang="en-US" dirty="0"/>
          </a:p>
        </p:txBody>
      </p:sp>
      <p:sp>
        <p:nvSpPr>
          <p:cNvPr id="32" name="Picture Placeholder 3"/>
          <p:cNvSpPr>
            <a:spLocks noGrp="1"/>
          </p:cNvSpPr>
          <p:nvPr>
            <p:ph type="pic" sz="quarter" idx="13"/>
          </p:nvPr>
        </p:nvSpPr>
        <p:spPr>
          <a:xfrm>
            <a:off x="3749043" y="3051799"/>
            <a:ext cx="548640" cy="548640"/>
          </a:xfrm>
          <a:solidFill>
            <a:schemeClr val="tx2">
              <a:lumMod val="85000"/>
            </a:schemeClr>
          </a:solidFill>
        </p:spPr>
        <p:txBody>
          <a:bodyPr anchor="ctr" anchorCtr="0"/>
          <a:lstStyle>
            <a:lvl1pPr algn="ctr">
              <a:defRPr/>
            </a:lvl1pPr>
          </a:lstStyle>
          <a:p>
            <a:endParaRPr lang="en-US" dirty="0"/>
          </a:p>
        </p:txBody>
      </p:sp>
      <p:sp>
        <p:nvSpPr>
          <p:cNvPr id="33" name="Picture Placeholder 3"/>
          <p:cNvSpPr>
            <a:spLocks noGrp="1"/>
          </p:cNvSpPr>
          <p:nvPr>
            <p:ph type="pic" sz="quarter" idx="14"/>
          </p:nvPr>
        </p:nvSpPr>
        <p:spPr>
          <a:xfrm>
            <a:off x="6286469" y="3051799"/>
            <a:ext cx="548640" cy="548640"/>
          </a:xfrm>
          <a:solidFill>
            <a:schemeClr val="tx2">
              <a:lumMod val="85000"/>
            </a:schemeClr>
          </a:solidFill>
        </p:spPr>
        <p:txBody>
          <a:bodyPr anchor="ctr" anchorCtr="0"/>
          <a:lstStyle>
            <a:lvl1pPr algn="ctr">
              <a:defRPr/>
            </a:lvl1pPr>
          </a:lstStyle>
          <a:p>
            <a:endParaRPr lang="en-US" dirty="0"/>
          </a:p>
        </p:txBody>
      </p:sp>
      <p:sp>
        <p:nvSpPr>
          <p:cNvPr id="34" name="Picture Placeholder 3"/>
          <p:cNvSpPr>
            <a:spLocks noGrp="1"/>
          </p:cNvSpPr>
          <p:nvPr>
            <p:ph type="pic" sz="quarter" idx="15"/>
          </p:nvPr>
        </p:nvSpPr>
        <p:spPr>
          <a:xfrm>
            <a:off x="731556" y="4149073"/>
            <a:ext cx="548640" cy="548640"/>
          </a:xfrm>
          <a:solidFill>
            <a:schemeClr val="tx2">
              <a:lumMod val="85000"/>
            </a:schemeClr>
          </a:solidFill>
        </p:spPr>
        <p:txBody>
          <a:bodyPr anchor="ctr" anchorCtr="0"/>
          <a:lstStyle>
            <a:lvl1pPr algn="ctr">
              <a:defRPr/>
            </a:lvl1pPr>
          </a:lstStyle>
          <a:p>
            <a:endParaRPr lang="en-US" dirty="0"/>
          </a:p>
        </p:txBody>
      </p:sp>
      <p:sp>
        <p:nvSpPr>
          <p:cNvPr id="35" name="Picture Placeholder 3"/>
          <p:cNvSpPr>
            <a:spLocks noGrp="1"/>
          </p:cNvSpPr>
          <p:nvPr>
            <p:ph type="pic" sz="quarter" idx="16"/>
          </p:nvPr>
        </p:nvSpPr>
        <p:spPr>
          <a:xfrm>
            <a:off x="2742482" y="4149073"/>
            <a:ext cx="548640" cy="548640"/>
          </a:xfrm>
          <a:solidFill>
            <a:schemeClr val="tx2">
              <a:lumMod val="85000"/>
            </a:schemeClr>
          </a:solidFill>
        </p:spPr>
        <p:txBody>
          <a:bodyPr anchor="ctr" anchorCtr="0"/>
          <a:lstStyle>
            <a:lvl1pPr algn="ctr">
              <a:defRPr/>
            </a:lvl1pPr>
          </a:lstStyle>
          <a:p>
            <a:endParaRPr lang="en-US" dirty="0"/>
          </a:p>
        </p:txBody>
      </p:sp>
      <p:sp>
        <p:nvSpPr>
          <p:cNvPr id="36" name="Picture Placeholder 3"/>
          <p:cNvSpPr>
            <a:spLocks noGrp="1"/>
          </p:cNvSpPr>
          <p:nvPr>
            <p:ph type="pic" sz="quarter" idx="17"/>
          </p:nvPr>
        </p:nvSpPr>
        <p:spPr>
          <a:xfrm>
            <a:off x="4755610" y="4149073"/>
            <a:ext cx="548640" cy="548640"/>
          </a:xfrm>
          <a:solidFill>
            <a:schemeClr val="tx2">
              <a:lumMod val="85000"/>
            </a:schemeClr>
          </a:solidFill>
        </p:spPr>
        <p:txBody>
          <a:bodyPr anchor="ctr" anchorCtr="0"/>
          <a:lstStyle>
            <a:lvl1pPr algn="ctr">
              <a:defRPr/>
            </a:lvl1pPr>
          </a:lstStyle>
          <a:p>
            <a:endParaRPr lang="en-US" dirty="0"/>
          </a:p>
        </p:txBody>
      </p:sp>
      <p:sp>
        <p:nvSpPr>
          <p:cNvPr id="37" name="Picture Placeholder 3"/>
          <p:cNvSpPr>
            <a:spLocks noGrp="1"/>
          </p:cNvSpPr>
          <p:nvPr>
            <p:ph type="pic" sz="quarter" idx="18"/>
          </p:nvPr>
        </p:nvSpPr>
        <p:spPr>
          <a:xfrm>
            <a:off x="6766530" y="4149073"/>
            <a:ext cx="548640" cy="548640"/>
          </a:xfrm>
          <a:solidFill>
            <a:schemeClr val="tx2">
              <a:lumMod val="85000"/>
            </a:schemeClr>
          </a:solidFill>
        </p:spPr>
        <p:txBody>
          <a:bodyPr anchor="ctr" anchorCtr="0"/>
          <a:lstStyle>
            <a:lvl1pPr algn="ctr">
              <a:defRPr/>
            </a:lvl1pPr>
          </a:lstStyle>
          <a:p>
            <a:endParaRPr lang="en-US" dirty="0"/>
          </a:p>
        </p:txBody>
      </p:sp>
      <p:sp>
        <p:nvSpPr>
          <p:cNvPr id="29" name="Picture Placeholder 3"/>
          <p:cNvSpPr>
            <a:spLocks noGrp="1"/>
          </p:cNvSpPr>
          <p:nvPr>
            <p:ph type="pic" sz="quarter" idx="10"/>
          </p:nvPr>
        </p:nvSpPr>
        <p:spPr>
          <a:xfrm>
            <a:off x="3749043" y="1069249"/>
            <a:ext cx="548640" cy="548640"/>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4129797557"/>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Client List">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20" name="Rectangle 19"/>
          <p:cNvSpPr/>
          <p:nvPr userDrawn="1"/>
        </p:nvSpPr>
        <p:spPr>
          <a:xfrm>
            <a:off x="731538" y="1363815"/>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1" name="Rectangle 20"/>
          <p:cNvSpPr/>
          <p:nvPr userDrawn="1"/>
        </p:nvSpPr>
        <p:spPr>
          <a:xfrm>
            <a:off x="731538" y="2392511"/>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2" name="Rectangle 21"/>
          <p:cNvSpPr/>
          <p:nvPr userDrawn="1"/>
        </p:nvSpPr>
        <p:spPr>
          <a:xfrm>
            <a:off x="3406141" y="1363815"/>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3" name="Rectangle 22"/>
          <p:cNvSpPr/>
          <p:nvPr userDrawn="1"/>
        </p:nvSpPr>
        <p:spPr>
          <a:xfrm>
            <a:off x="3406141" y="2392511"/>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4" name="Rectangle 23"/>
          <p:cNvSpPr/>
          <p:nvPr userDrawn="1"/>
        </p:nvSpPr>
        <p:spPr>
          <a:xfrm>
            <a:off x="6080744" y="1363815"/>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5" name="Rectangle 24"/>
          <p:cNvSpPr/>
          <p:nvPr userDrawn="1"/>
        </p:nvSpPr>
        <p:spPr>
          <a:xfrm>
            <a:off x="6080744" y="2392511"/>
            <a:ext cx="2331720" cy="685800"/>
          </a:xfrm>
          <a:prstGeom prst="rect">
            <a:avLst/>
          </a:prstGeom>
          <a:solidFill>
            <a:schemeClr val="tx2">
              <a:lumMod val="85000"/>
            </a:schemeClr>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6" name="Picture Placeholder 3"/>
          <p:cNvSpPr>
            <a:spLocks noGrp="1"/>
          </p:cNvSpPr>
          <p:nvPr>
            <p:ph type="pic" sz="quarter" idx="10"/>
          </p:nvPr>
        </p:nvSpPr>
        <p:spPr>
          <a:xfrm>
            <a:off x="800141" y="1432395"/>
            <a:ext cx="2194536" cy="548640"/>
          </a:xfrm>
          <a:solidFill>
            <a:schemeClr val="tx2">
              <a:lumMod val="95000"/>
            </a:schemeClr>
          </a:solidFill>
        </p:spPr>
        <p:txBody>
          <a:bodyPr anchor="ctr" anchorCtr="0"/>
          <a:lstStyle>
            <a:lvl1pPr algn="ctr">
              <a:defRPr/>
            </a:lvl1pPr>
          </a:lstStyle>
          <a:p>
            <a:endParaRPr lang="en-US" dirty="0"/>
          </a:p>
        </p:txBody>
      </p:sp>
      <p:sp>
        <p:nvSpPr>
          <p:cNvPr id="27" name="Picture Placeholder 3"/>
          <p:cNvSpPr>
            <a:spLocks noGrp="1"/>
          </p:cNvSpPr>
          <p:nvPr>
            <p:ph type="pic" sz="quarter" idx="11"/>
          </p:nvPr>
        </p:nvSpPr>
        <p:spPr>
          <a:xfrm>
            <a:off x="3474732" y="1432395"/>
            <a:ext cx="2194536" cy="548640"/>
          </a:xfrm>
          <a:solidFill>
            <a:schemeClr val="tx2">
              <a:lumMod val="95000"/>
            </a:schemeClr>
          </a:solidFill>
        </p:spPr>
        <p:txBody>
          <a:bodyPr anchor="ctr" anchorCtr="0"/>
          <a:lstStyle>
            <a:lvl1pPr algn="ctr">
              <a:defRPr/>
            </a:lvl1pPr>
          </a:lstStyle>
          <a:p>
            <a:endParaRPr lang="en-US" dirty="0"/>
          </a:p>
        </p:txBody>
      </p:sp>
      <p:sp>
        <p:nvSpPr>
          <p:cNvPr id="28" name="Picture Placeholder 3"/>
          <p:cNvSpPr>
            <a:spLocks noGrp="1"/>
          </p:cNvSpPr>
          <p:nvPr>
            <p:ph type="pic" sz="quarter" idx="12"/>
          </p:nvPr>
        </p:nvSpPr>
        <p:spPr>
          <a:xfrm>
            <a:off x="6149323" y="1432395"/>
            <a:ext cx="2194536" cy="548640"/>
          </a:xfrm>
          <a:solidFill>
            <a:schemeClr val="tx2">
              <a:lumMod val="95000"/>
            </a:schemeClr>
          </a:solidFill>
        </p:spPr>
        <p:txBody>
          <a:bodyPr anchor="ctr" anchorCtr="0"/>
          <a:lstStyle>
            <a:lvl1pPr algn="ctr">
              <a:defRPr/>
            </a:lvl1pPr>
          </a:lstStyle>
          <a:p>
            <a:endParaRPr lang="en-US" dirty="0"/>
          </a:p>
        </p:txBody>
      </p:sp>
      <p:sp>
        <p:nvSpPr>
          <p:cNvPr id="29" name="Picture Placeholder 3"/>
          <p:cNvSpPr>
            <a:spLocks noGrp="1"/>
          </p:cNvSpPr>
          <p:nvPr>
            <p:ph type="pic" sz="quarter" idx="13"/>
          </p:nvPr>
        </p:nvSpPr>
        <p:spPr>
          <a:xfrm>
            <a:off x="800141" y="2461091"/>
            <a:ext cx="2194536" cy="548640"/>
          </a:xfrm>
          <a:solidFill>
            <a:schemeClr val="tx2">
              <a:lumMod val="95000"/>
            </a:schemeClr>
          </a:solidFill>
        </p:spPr>
        <p:txBody>
          <a:bodyPr anchor="ctr" anchorCtr="0"/>
          <a:lstStyle>
            <a:lvl1pPr algn="ctr">
              <a:defRPr/>
            </a:lvl1pPr>
          </a:lstStyle>
          <a:p>
            <a:endParaRPr lang="en-US" dirty="0"/>
          </a:p>
        </p:txBody>
      </p:sp>
      <p:sp>
        <p:nvSpPr>
          <p:cNvPr id="30" name="Picture Placeholder 3"/>
          <p:cNvSpPr>
            <a:spLocks noGrp="1"/>
          </p:cNvSpPr>
          <p:nvPr>
            <p:ph type="pic" sz="quarter" idx="14"/>
          </p:nvPr>
        </p:nvSpPr>
        <p:spPr>
          <a:xfrm>
            <a:off x="3474732" y="2461091"/>
            <a:ext cx="2194536" cy="548640"/>
          </a:xfrm>
          <a:solidFill>
            <a:schemeClr val="tx2">
              <a:lumMod val="95000"/>
            </a:schemeClr>
          </a:solidFill>
        </p:spPr>
        <p:txBody>
          <a:bodyPr anchor="ctr" anchorCtr="0"/>
          <a:lstStyle>
            <a:lvl1pPr algn="ctr">
              <a:defRPr/>
            </a:lvl1pPr>
          </a:lstStyle>
          <a:p>
            <a:endParaRPr lang="en-US" dirty="0"/>
          </a:p>
        </p:txBody>
      </p:sp>
      <p:sp>
        <p:nvSpPr>
          <p:cNvPr id="31" name="Picture Placeholder 3"/>
          <p:cNvSpPr>
            <a:spLocks noGrp="1"/>
          </p:cNvSpPr>
          <p:nvPr>
            <p:ph type="pic" sz="quarter" idx="15"/>
          </p:nvPr>
        </p:nvSpPr>
        <p:spPr>
          <a:xfrm>
            <a:off x="6149323" y="2461091"/>
            <a:ext cx="2194536" cy="548640"/>
          </a:xfrm>
          <a:solidFill>
            <a:schemeClr val="tx2">
              <a:lumMod val="9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2734717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anim calcmode="lin" valueType="num">
                                      <p:cBhvr>
                                        <p:cTn id="10" dur="500" fill="hold"/>
                                        <p:tgtEl>
                                          <p:spTgt spid="20"/>
                                        </p:tgtEl>
                                        <p:attrNameLst>
                                          <p:attrName>ppt_x</p:attrName>
                                        </p:attrNameLst>
                                      </p:cBhvr>
                                      <p:tavLst>
                                        <p:tav tm="0">
                                          <p:val>
                                            <p:fltVal val="0.5"/>
                                          </p:val>
                                        </p:tav>
                                        <p:tav tm="100000">
                                          <p:val>
                                            <p:strVal val="#ppt_x"/>
                                          </p:val>
                                        </p:tav>
                                      </p:tavLst>
                                    </p:anim>
                                    <p:anim calcmode="lin" valueType="num">
                                      <p:cBhvr>
                                        <p:cTn id="11" dur="500" fill="hold"/>
                                        <p:tgtEl>
                                          <p:spTgt spid="20"/>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26"/>
                                        </p:tgtEl>
                                        <p:attrNameLst>
                                          <p:attrName>style.visibility</p:attrName>
                                        </p:attrNameLst>
                                      </p:cBhvr>
                                      <p:to>
                                        <p:strVal val="visible"/>
                                      </p:to>
                                    </p:set>
                                    <p:anim calcmode="lin" valueType="num">
                                      <p:cBhvr>
                                        <p:cTn id="14" dur="500" fill="hold"/>
                                        <p:tgtEl>
                                          <p:spTgt spid="26"/>
                                        </p:tgtEl>
                                        <p:attrNameLst>
                                          <p:attrName>ppt_w</p:attrName>
                                        </p:attrNameLst>
                                      </p:cBhvr>
                                      <p:tavLst>
                                        <p:tav tm="0">
                                          <p:val>
                                            <p:fltVal val="0"/>
                                          </p:val>
                                        </p:tav>
                                        <p:tav tm="100000">
                                          <p:val>
                                            <p:strVal val="#ppt_w"/>
                                          </p:val>
                                        </p:tav>
                                      </p:tavLst>
                                    </p:anim>
                                    <p:anim calcmode="lin" valueType="num">
                                      <p:cBhvr>
                                        <p:cTn id="15" dur="500" fill="hold"/>
                                        <p:tgtEl>
                                          <p:spTgt spid="26"/>
                                        </p:tgtEl>
                                        <p:attrNameLst>
                                          <p:attrName>ppt_h</p:attrName>
                                        </p:attrNameLst>
                                      </p:cBhvr>
                                      <p:tavLst>
                                        <p:tav tm="0">
                                          <p:val>
                                            <p:fltVal val="0"/>
                                          </p:val>
                                        </p:tav>
                                        <p:tav tm="100000">
                                          <p:val>
                                            <p:strVal val="#ppt_h"/>
                                          </p:val>
                                        </p:tav>
                                      </p:tavLst>
                                    </p:anim>
                                    <p:animEffect transition="in" filter="fade">
                                      <p:cBhvr>
                                        <p:cTn id="16" dur="500"/>
                                        <p:tgtEl>
                                          <p:spTgt spid="26"/>
                                        </p:tgtEl>
                                      </p:cBhvr>
                                    </p:animEffect>
                                    <p:anim calcmode="lin" valueType="num">
                                      <p:cBhvr>
                                        <p:cTn id="17" dur="500" fill="hold"/>
                                        <p:tgtEl>
                                          <p:spTgt spid="26"/>
                                        </p:tgtEl>
                                        <p:attrNameLst>
                                          <p:attrName>ppt_x</p:attrName>
                                        </p:attrNameLst>
                                      </p:cBhvr>
                                      <p:tavLst>
                                        <p:tav tm="0">
                                          <p:val>
                                            <p:fltVal val="0.5"/>
                                          </p:val>
                                        </p:tav>
                                        <p:tav tm="100000">
                                          <p:val>
                                            <p:strVal val="#ppt_x"/>
                                          </p:val>
                                        </p:tav>
                                      </p:tavLst>
                                    </p:anim>
                                    <p:anim calcmode="lin" valueType="num">
                                      <p:cBhvr>
                                        <p:cTn id="18" dur="500" fill="hold"/>
                                        <p:tgtEl>
                                          <p:spTgt spid="26"/>
                                        </p:tgtEl>
                                        <p:attrNameLst>
                                          <p:attrName>ppt_y</p:attrName>
                                        </p:attrNameLst>
                                      </p:cBhvr>
                                      <p:tavLst>
                                        <p:tav tm="0">
                                          <p:val>
                                            <p:fltVal val="0.5"/>
                                          </p:val>
                                        </p:tav>
                                        <p:tav tm="100000">
                                          <p:val>
                                            <p:strVal val="#ppt_y"/>
                                          </p:val>
                                        </p:tav>
                                      </p:tavLst>
                                    </p:anim>
                                  </p:childTnLst>
                                </p:cTn>
                              </p:par>
                            </p:childTnLst>
                          </p:cTn>
                        </p:par>
                        <p:par>
                          <p:cTn id="19" fill="hold">
                            <p:stCondLst>
                              <p:cond delay="500"/>
                            </p:stCondLst>
                            <p:childTnLst>
                              <p:par>
                                <p:cTn id="20" presetID="53" presetClass="entr" presetSubtype="52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p:cTn id="22" dur="500" fill="hold"/>
                                        <p:tgtEl>
                                          <p:spTgt spid="22"/>
                                        </p:tgtEl>
                                        <p:attrNameLst>
                                          <p:attrName>ppt_w</p:attrName>
                                        </p:attrNameLst>
                                      </p:cBhvr>
                                      <p:tavLst>
                                        <p:tav tm="0">
                                          <p:val>
                                            <p:fltVal val="0"/>
                                          </p:val>
                                        </p:tav>
                                        <p:tav tm="100000">
                                          <p:val>
                                            <p:strVal val="#ppt_w"/>
                                          </p:val>
                                        </p:tav>
                                      </p:tavLst>
                                    </p:anim>
                                    <p:anim calcmode="lin" valueType="num">
                                      <p:cBhvr>
                                        <p:cTn id="23" dur="500" fill="hold"/>
                                        <p:tgtEl>
                                          <p:spTgt spid="22"/>
                                        </p:tgtEl>
                                        <p:attrNameLst>
                                          <p:attrName>ppt_h</p:attrName>
                                        </p:attrNameLst>
                                      </p:cBhvr>
                                      <p:tavLst>
                                        <p:tav tm="0">
                                          <p:val>
                                            <p:fltVal val="0"/>
                                          </p:val>
                                        </p:tav>
                                        <p:tav tm="100000">
                                          <p:val>
                                            <p:strVal val="#ppt_h"/>
                                          </p:val>
                                        </p:tav>
                                      </p:tavLst>
                                    </p:anim>
                                    <p:animEffect transition="in" filter="fade">
                                      <p:cBhvr>
                                        <p:cTn id="24" dur="500"/>
                                        <p:tgtEl>
                                          <p:spTgt spid="22"/>
                                        </p:tgtEl>
                                      </p:cBhvr>
                                    </p:animEffect>
                                    <p:anim calcmode="lin" valueType="num">
                                      <p:cBhvr>
                                        <p:cTn id="25" dur="500" fill="hold"/>
                                        <p:tgtEl>
                                          <p:spTgt spid="22"/>
                                        </p:tgtEl>
                                        <p:attrNameLst>
                                          <p:attrName>ppt_x</p:attrName>
                                        </p:attrNameLst>
                                      </p:cBhvr>
                                      <p:tavLst>
                                        <p:tav tm="0">
                                          <p:val>
                                            <p:fltVal val="0.5"/>
                                          </p:val>
                                        </p:tav>
                                        <p:tav tm="100000">
                                          <p:val>
                                            <p:strVal val="#ppt_x"/>
                                          </p:val>
                                        </p:tav>
                                      </p:tavLst>
                                    </p:anim>
                                    <p:anim calcmode="lin" valueType="num">
                                      <p:cBhvr>
                                        <p:cTn id="26" dur="500" fill="hold"/>
                                        <p:tgtEl>
                                          <p:spTgt spid="22"/>
                                        </p:tgtEl>
                                        <p:attrNameLst>
                                          <p:attrName>ppt_y</p:attrName>
                                        </p:attrNameLst>
                                      </p:cBhvr>
                                      <p:tavLst>
                                        <p:tav tm="0">
                                          <p:val>
                                            <p:fltVal val="0.5"/>
                                          </p:val>
                                        </p:tav>
                                        <p:tav tm="100000">
                                          <p:val>
                                            <p:strVal val="#ppt_y"/>
                                          </p:val>
                                        </p:tav>
                                      </p:tavLst>
                                    </p:anim>
                                  </p:childTnLst>
                                </p:cTn>
                              </p:par>
                              <p:par>
                                <p:cTn id="27" presetID="53" presetClass="entr" presetSubtype="528"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anim calcmode="lin" valueType="num">
                                      <p:cBhvr>
                                        <p:cTn id="29" dur="500" fill="hold"/>
                                        <p:tgtEl>
                                          <p:spTgt spid="27"/>
                                        </p:tgtEl>
                                        <p:attrNameLst>
                                          <p:attrName>ppt_w</p:attrName>
                                        </p:attrNameLst>
                                      </p:cBhvr>
                                      <p:tavLst>
                                        <p:tav tm="0">
                                          <p:val>
                                            <p:fltVal val="0"/>
                                          </p:val>
                                        </p:tav>
                                        <p:tav tm="100000">
                                          <p:val>
                                            <p:strVal val="#ppt_w"/>
                                          </p:val>
                                        </p:tav>
                                      </p:tavLst>
                                    </p:anim>
                                    <p:anim calcmode="lin" valueType="num">
                                      <p:cBhvr>
                                        <p:cTn id="30" dur="500" fill="hold"/>
                                        <p:tgtEl>
                                          <p:spTgt spid="27"/>
                                        </p:tgtEl>
                                        <p:attrNameLst>
                                          <p:attrName>ppt_h</p:attrName>
                                        </p:attrNameLst>
                                      </p:cBhvr>
                                      <p:tavLst>
                                        <p:tav tm="0">
                                          <p:val>
                                            <p:fltVal val="0"/>
                                          </p:val>
                                        </p:tav>
                                        <p:tav tm="100000">
                                          <p:val>
                                            <p:strVal val="#ppt_h"/>
                                          </p:val>
                                        </p:tav>
                                      </p:tavLst>
                                    </p:anim>
                                    <p:animEffect transition="in" filter="fade">
                                      <p:cBhvr>
                                        <p:cTn id="31" dur="500"/>
                                        <p:tgtEl>
                                          <p:spTgt spid="27"/>
                                        </p:tgtEl>
                                      </p:cBhvr>
                                    </p:animEffect>
                                    <p:anim calcmode="lin" valueType="num">
                                      <p:cBhvr>
                                        <p:cTn id="32" dur="500" fill="hold"/>
                                        <p:tgtEl>
                                          <p:spTgt spid="27"/>
                                        </p:tgtEl>
                                        <p:attrNameLst>
                                          <p:attrName>ppt_x</p:attrName>
                                        </p:attrNameLst>
                                      </p:cBhvr>
                                      <p:tavLst>
                                        <p:tav tm="0">
                                          <p:val>
                                            <p:fltVal val="0.5"/>
                                          </p:val>
                                        </p:tav>
                                        <p:tav tm="100000">
                                          <p:val>
                                            <p:strVal val="#ppt_x"/>
                                          </p:val>
                                        </p:tav>
                                      </p:tavLst>
                                    </p:anim>
                                    <p:anim calcmode="lin" valueType="num">
                                      <p:cBhvr>
                                        <p:cTn id="33" dur="500" fill="hold"/>
                                        <p:tgtEl>
                                          <p:spTgt spid="27"/>
                                        </p:tgtEl>
                                        <p:attrNameLst>
                                          <p:attrName>ppt_y</p:attrName>
                                        </p:attrNameLst>
                                      </p:cBhvr>
                                      <p:tavLst>
                                        <p:tav tm="0">
                                          <p:val>
                                            <p:fltVal val="0.5"/>
                                          </p:val>
                                        </p:tav>
                                        <p:tav tm="100000">
                                          <p:val>
                                            <p:strVal val="#ppt_y"/>
                                          </p:val>
                                        </p:tav>
                                      </p:tavLst>
                                    </p:anim>
                                  </p:childTnLst>
                                </p:cTn>
                              </p:par>
                            </p:childTnLst>
                          </p:cTn>
                        </p:par>
                        <p:par>
                          <p:cTn id="34" fill="hold">
                            <p:stCondLst>
                              <p:cond delay="1000"/>
                            </p:stCondLst>
                            <p:childTnLst>
                              <p:par>
                                <p:cTn id="35" presetID="53" presetClass="entr" presetSubtype="528" fill="hold" grpId="0" nodeType="after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p:cTn id="37" dur="500" fill="hold"/>
                                        <p:tgtEl>
                                          <p:spTgt spid="24"/>
                                        </p:tgtEl>
                                        <p:attrNameLst>
                                          <p:attrName>ppt_w</p:attrName>
                                        </p:attrNameLst>
                                      </p:cBhvr>
                                      <p:tavLst>
                                        <p:tav tm="0">
                                          <p:val>
                                            <p:fltVal val="0"/>
                                          </p:val>
                                        </p:tav>
                                        <p:tav tm="100000">
                                          <p:val>
                                            <p:strVal val="#ppt_w"/>
                                          </p:val>
                                        </p:tav>
                                      </p:tavLst>
                                    </p:anim>
                                    <p:anim calcmode="lin" valueType="num">
                                      <p:cBhvr>
                                        <p:cTn id="38" dur="500" fill="hold"/>
                                        <p:tgtEl>
                                          <p:spTgt spid="24"/>
                                        </p:tgtEl>
                                        <p:attrNameLst>
                                          <p:attrName>ppt_h</p:attrName>
                                        </p:attrNameLst>
                                      </p:cBhvr>
                                      <p:tavLst>
                                        <p:tav tm="0">
                                          <p:val>
                                            <p:fltVal val="0"/>
                                          </p:val>
                                        </p:tav>
                                        <p:tav tm="100000">
                                          <p:val>
                                            <p:strVal val="#ppt_h"/>
                                          </p:val>
                                        </p:tav>
                                      </p:tavLst>
                                    </p:anim>
                                    <p:animEffect transition="in" filter="fade">
                                      <p:cBhvr>
                                        <p:cTn id="39" dur="500"/>
                                        <p:tgtEl>
                                          <p:spTgt spid="24"/>
                                        </p:tgtEl>
                                      </p:cBhvr>
                                    </p:animEffect>
                                    <p:anim calcmode="lin" valueType="num">
                                      <p:cBhvr>
                                        <p:cTn id="40" dur="500" fill="hold"/>
                                        <p:tgtEl>
                                          <p:spTgt spid="24"/>
                                        </p:tgtEl>
                                        <p:attrNameLst>
                                          <p:attrName>ppt_x</p:attrName>
                                        </p:attrNameLst>
                                      </p:cBhvr>
                                      <p:tavLst>
                                        <p:tav tm="0">
                                          <p:val>
                                            <p:fltVal val="0.5"/>
                                          </p:val>
                                        </p:tav>
                                        <p:tav tm="100000">
                                          <p:val>
                                            <p:strVal val="#ppt_x"/>
                                          </p:val>
                                        </p:tav>
                                      </p:tavLst>
                                    </p:anim>
                                    <p:anim calcmode="lin" valueType="num">
                                      <p:cBhvr>
                                        <p:cTn id="41" dur="500" fill="hold"/>
                                        <p:tgtEl>
                                          <p:spTgt spid="24"/>
                                        </p:tgtEl>
                                        <p:attrNameLst>
                                          <p:attrName>ppt_y</p:attrName>
                                        </p:attrNameLst>
                                      </p:cBhvr>
                                      <p:tavLst>
                                        <p:tav tm="0">
                                          <p:val>
                                            <p:fltVal val="0.5"/>
                                          </p:val>
                                        </p:tav>
                                        <p:tav tm="100000">
                                          <p:val>
                                            <p:strVal val="#ppt_y"/>
                                          </p:val>
                                        </p:tav>
                                      </p:tavLst>
                                    </p:anim>
                                  </p:childTnLst>
                                </p:cTn>
                              </p:par>
                              <p:par>
                                <p:cTn id="42" presetID="53" presetClass="entr" presetSubtype="528"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 calcmode="lin" valueType="num">
                                      <p:cBhvr>
                                        <p:cTn id="44" dur="500" fill="hold"/>
                                        <p:tgtEl>
                                          <p:spTgt spid="28"/>
                                        </p:tgtEl>
                                        <p:attrNameLst>
                                          <p:attrName>ppt_w</p:attrName>
                                        </p:attrNameLst>
                                      </p:cBhvr>
                                      <p:tavLst>
                                        <p:tav tm="0">
                                          <p:val>
                                            <p:fltVal val="0"/>
                                          </p:val>
                                        </p:tav>
                                        <p:tav tm="100000">
                                          <p:val>
                                            <p:strVal val="#ppt_w"/>
                                          </p:val>
                                        </p:tav>
                                      </p:tavLst>
                                    </p:anim>
                                    <p:anim calcmode="lin" valueType="num">
                                      <p:cBhvr>
                                        <p:cTn id="45" dur="500" fill="hold"/>
                                        <p:tgtEl>
                                          <p:spTgt spid="28"/>
                                        </p:tgtEl>
                                        <p:attrNameLst>
                                          <p:attrName>ppt_h</p:attrName>
                                        </p:attrNameLst>
                                      </p:cBhvr>
                                      <p:tavLst>
                                        <p:tav tm="0">
                                          <p:val>
                                            <p:fltVal val="0"/>
                                          </p:val>
                                        </p:tav>
                                        <p:tav tm="100000">
                                          <p:val>
                                            <p:strVal val="#ppt_h"/>
                                          </p:val>
                                        </p:tav>
                                      </p:tavLst>
                                    </p:anim>
                                    <p:animEffect transition="in" filter="fade">
                                      <p:cBhvr>
                                        <p:cTn id="46" dur="500"/>
                                        <p:tgtEl>
                                          <p:spTgt spid="28"/>
                                        </p:tgtEl>
                                      </p:cBhvr>
                                    </p:animEffect>
                                    <p:anim calcmode="lin" valueType="num">
                                      <p:cBhvr>
                                        <p:cTn id="47" dur="500" fill="hold"/>
                                        <p:tgtEl>
                                          <p:spTgt spid="28"/>
                                        </p:tgtEl>
                                        <p:attrNameLst>
                                          <p:attrName>ppt_x</p:attrName>
                                        </p:attrNameLst>
                                      </p:cBhvr>
                                      <p:tavLst>
                                        <p:tav tm="0">
                                          <p:val>
                                            <p:fltVal val="0.5"/>
                                          </p:val>
                                        </p:tav>
                                        <p:tav tm="100000">
                                          <p:val>
                                            <p:strVal val="#ppt_x"/>
                                          </p:val>
                                        </p:tav>
                                      </p:tavLst>
                                    </p:anim>
                                    <p:anim calcmode="lin" valueType="num">
                                      <p:cBhvr>
                                        <p:cTn id="48" dur="500" fill="hold"/>
                                        <p:tgtEl>
                                          <p:spTgt spid="28"/>
                                        </p:tgtEl>
                                        <p:attrNameLst>
                                          <p:attrName>ppt_y</p:attrName>
                                        </p:attrNameLst>
                                      </p:cBhvr>
                                      <p:tavLst>
                                        <p:tav tm="0">
                                          <p:val>
                                            <p:fltVal val="0.5"/>
                                          </p:val>
                                        </p:tav>
                                        <p:tav tm="100000">
                                          <p:val>
                                            <p:strVal val="#ppt_y"/>
                                          </p:val>
                                        </p:tav>
                                      </p:tavLst>
                                    </p:anim>
                                  </p:childTnLst>
                                </p:cTn>
                              </p:par>
                            </p:childTnLst>
                          </p:cTn>
                        </p:par>
                        <p:par>
                          <p:cTn id="49" fill="hold">
                            <p:stCondLst>
                              <p:cond delay="1500"/>
                            </p:stCondLst>
                            <p:childTnLst>
                              <p:par>
                                <p:cTn id="50" presetID="53" presetClass="entr" presetSubtype="528" fill="hold" grpId="0" nodeType="after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500" fill="hold"/>
                                        <p:tgtEl>
                                          <p:spTgt spid="21"/>
                                        </p:tgtEl>
                                        <p:attrNameLst>
                                          <p:attrName>ppt_w</p:attrName>
                                        </p:attrNameLst>
                                      </p:cBhvr>
                                      <p:tavLst>
                                        <p:tav tm="0">
                                          <p:val>
                                            <p:fltVal val="0"/>
                                          </p:val>
                                        </p:tav>
                                        <p:tav tm="100000">
                                          <p:val>
                                            <p:strVal val="#ppt_w"/>
                                          </p:val>
                                        </p:tav>
                                      </p:tavLst>
                                    </p:anim>
                                    <p:anim calcmode="lin" valueType="num">
                                      <p:cBhvr>
                                        <p:cTn id="53" dur="500" fill="hold"/>
                                        <p:tgtEl>
                                          <p:spTgt spid="21"/>
                                        </p:tgtEl>
                                        <p:attrNameLst>
                                          <p:attrName>ppt_h</p:attrName>
                                        </p:attrNameLst>
                                      </p:cBhvr>
                                      <p:tavLst>
                                        <p:tav tm="0">
                                          <p:val>
                                            <p:fltVal val="0"/>
                                          </p:val>
                                        </p:tav>
                                        <p:tav tm="100000">
                                          <p:val>
                                            <p:strVal val="#ppt_h"/>
                                          </p:val>
                                        </p:tav>
                                      </p:tavLst>
                                    </p:anim>
                                    <p:animEffect transition="in" filter="fade">
                                      <p:cBhvr>
                                        <p:cTn id="54" dur="500"/>
                                        <p:tgtEl>
                                          <p:spTgt spid="21"/>
                                        </p:tgtEl>
                                      </p:cBhvr>
                                    </p:animEffect>
                                    <p:anim calcmode="lin" valueType="num">
                                      <p:cBhvr>
                                        <p:cTn id="55" dur="500" fill="hold"/>
                                        <p:tgtEl>
                                          <p:spTgt spid="21"/>
                                        </p:tgtEl>
                                        <p:attrNameLst>
                                          <p:attrName>ppt_x</p:attrName>
                                        </p:attrNameLst>
                                      </p:cBhvr>
                                      <p:tavLst>
                                        <p:tav tm="0">
                                          <p:val>
                                            <p:fltVal val="0.5"/>
                                          </p:val>
                                        </p:tav>
                                        <p:tav tm="100000">
                                          <p:val>
                                            <p:strVal val="#ppt_x"/>
                                          </p:val>
                                        </p:tav>
                                      </p:tavLst>
                                    </p:anim>
                                    <p:anim calcmode="lin" valueType="num">
                                      <p:cBhvr>
                                        <p:cTn id="56" dur="500" fill="hold"/>
                                        <p:tgtEl>
                                          <p:spTgt spid="21"/>
                                        </p:tgtEl>
                                        <p:attrNameLst>
                                          <p:attrName>ppt_y</p:attrName>
                                        </p:attrNameLst>
                                      </p:cBhvr>
                                      <p:tavLst>
                                        <p:tav tm="0">
                                          <p:val>
                                            <p:fltVal val="0.5"/>
                                          </p:val>
                                        </p:tav>
                                        <p:tav tm="100000">
                                          <p:val>
                                            <p:strVal val="#ppt_y"/>
                                          </p:val>
                                        </p:tav>
                                      </p:tavLst>
                                    </p:anim>
                                  </p:childTnLst>
                                </p:cTn>
                              </p:par>
                              <p:par>
                                <p:cTn id="57" presetID="53" presetClass="entr" presetSubtype="528" fill="hold" grpId="0" nodeType="withEffect">
                                  <p:stCondLst>
                                    <p:cond delay="0"/>
                                  </p:stCondLst>
                                  <p:childTnLst>
                                    <p:set>
                                      <p:cBhvr>
                                        <p:cTn id="58" dur="1" fill="hold">
                                          <p:stCondLst>
                                            <p:cond delay="0"/>
                                          </p:stCondLst>
                                        </p:cTn>
                                        <p:tgtEl>
                                          <p:spTgt spid="29"/>
                                        </p:tgtEl>
                                        <p:attrNameLst>
                                          <p:attrName>style.visibility</p:attrName>
                                        </p:attrNameLst>
                                      </p:cBhvr>
                                      <p:to>
                                        <p:strVal val="visible"/>
                                      </p:to>
                                    </p:set>
                                    <p:anim calcmode="lin" valueType="num">
                                      <p:cBhvr>
                                        <p:cTn id="59" dur="500" fill="hold"/>
                                        <p:tgtEl>
                                          <p:spTgt spid="29"/>
                                        </p:tgtEl>
                                        <p:attrNameLst>
                                          <p:attrName>ppt_w</p:attrName>
                                        </p:attrNameLst>
                                      </p:cBhvr>
                                      <p:tavLst>
                                        <p:tav tm="0">
                                          <p:val>
                                            <p:fltVal val="0"/>
                                          </p:val>
                                        </p:tav>
                                        <p:tav tm="100000">
                                          <p:val>
                                            <p:strVal val="#ppt_w"/>
                                          </p:val>
                                        </p:tav>
                                      </p:tavLst>
                                    </p:anim>
                                    <p:anim calcmode="lin" valueType="num">
                                      <p:cBhvr>
                                        <p:cTn id="60" dur="500" fill="hold"/>
                                        <p:tgtEl>
                                          <p:spTgt spid="29"/>
                                        </p:tgtEl>
                                        <p:attrNameLst>
                                          <p:attrName>ppt_h</p:attrName>
                                        </p:attrNameLst>
                                      </p:cBhvr>
                                      <p:tavLst>
                                        <p:tav tm="0">
                                          <p:val>
                                            <p:fltVal val="0"/>
                                          </p:val>
                                        </p:tav>
                                        <p:tav tm="100000">
                                          <p:val>
                                            <p:strVal val="#ppt_h"/>
                                          </p:val>
                                        </p:tav>
                                      </p:tavLst>
                                    </p:anim>
                                    <p:animEffect transition="in" filter="fade">
                                      <p:cBhvr>
                                        <p:cTn id="61" dur="500"/>
                                        <p:tgtEl>
                                          <p:spTgt spid="29"/>
                                        </p:tgtEl>
                                      </p:cBhvr>
                                    </p:animEffect>
                                    <p:anim calcmode="lin" valueType="num">
                                      <p:cBhvr>
                                        <p:cTn id="62" dur="500" fill="hold"/>
                                        <p:tgtEl>
                                          <p:spTgt spid="29"/>
                                        </p:tgtEl>
                                        <p:attrNameLst>
                                          <p:attrName>ppt_x</p:attrName>
                                        </p:attrNameLst>
                                      </p:cBhvr>
                                      <p:tavLst>
                                        <p:tav tm="0">
                                          <p:val>
                                            <p:fltVal val="0.5"/>
                                          </p:val>
                                        </p:tav>
                                        <p:tav tm="100000">
                                          <p:val>
                                            <p:strVal val="#ppt_x"/>
                                          </p:val>
                                        </p:tav>
                                      </p:tavLst>
                                    </p:anim>
                                    <p:anim calcmode="lin" valueType="num">
                                      <p:cBhvr>
                                        <p:cTn id="63" dur="500" fill="hold"/>
                                        <p:tgtEl>
                                          <p:spTgt spid="29"/>
                                        </p:tgtEl>
                                        <p:attrNameLst>
                                          <p:attrName>ppt_y</p:attrName>
                                        </p:attrNameLst>
                                      </p:cBhvr>
                                      <p:tavLst>
                                        <p:tav tm="0">
                                          <p:val>
                                            <p:fltVal val="0.5"/>
                                          </p:val>
                                        </p:tav>
                                        <p:tav tm="100000">
                                          <p:val>
                                            <p:strVal val="#ppt_y"/>
                                          </p:val>
                                        </p:tav>
                                      </p:tavLst>
                                    </p:anim>
                                  </p:childTnLst>
                                </p:cTn>
                              </p:par>
                            </p:childTnLst>
                          </p:cTn>
                        </p:par>
                        <p:par>
                          <p:cTn id="64" fill="hold">
                            <p:stCondLst>
                              <p:cond delay="2000"/>
                            </p:stCondLst>
                            <p:childTnLst>
                              <p:par>
                                <p:cTn id="65" presetID="53" presetClass="entr" presetSubtype="528" fill="hold" grpId="0" nodeType="afterEffect">
                                  <p:stCondLst>
                                    <p:cond delay="0"/>
                                  </p:stCondLst>
                                  <p:childTnLst>
                                    <p:set>
                                      <p:cBhvr>
                                        <p:cTn id="66" dur="1" fill="hold">
                                          <p:stCondLst>
                                            <p:cond delay="0"/>
                                          </p:stCondLst>
                                        </p:cTn>
                                        <p:tgtEl>
                                          <p:spTgt spid="23"/>
                                        </p:tgtEl>
                                        <p:attrNameLst>
                                          <p:attrName>style.visibility</p:attrName>
                                        </p:attrNameLst>
                                      </p:cBhvr>
                                      <p:to>
                                        <p:strVal val="visible"/>
                                      </p:to>
                                    </p:set>
                                    <p:anim calcmode="lin" valueType="num">
                                      <p:cBhvr>
                                        <p:cTn id="67" dur="500" fill="hold"/>
                                        <p:tgtEl>
                                          <p:spTgt spid="23"/>
                                        </p:tgtEl>
                                        <p:attrNameLst>
                                          <p:attrName>ppt_w</p:attrName>
                                        </p:attrNameLst>
                                      </p:cBhvr>
                                      <p:tavLst>
                                        <p:tav tm="0">
                                          <p:val>
                                            <p:fltVal val="0"/>
                                          </p:val>
                                        </p:tav>
                                        <p:tav tm="100000">
                                          <p:val>
                                            <p:strVal val="#ppt_w"/>
                                          </p:val>
                                        </p:tav>
                                      </p:tavLst>
                                    </p:anim>
                                    <p:anim calcmode="lin" valueType="num">
                                      <p:cBhvr>
                                        <p:cTn id="68" dur="500" fill="hold"/>
                                        <p:tgtEl>
                                          <p:spTgt spid="23"/>
                                        </p:tgtEl>
                                        <p:attrNameLst>
                                          <p:attrName>ppt_h</p:attrName>
                                        </p:attrNameLst>
                                      </p:cBhvr>
                                      <p:tavLst>
                                        <p:tav tm="0">
                                          <p:val>
                                            <p:fltVal val="0"/>
                                          </p:val>
                                        </p:tav>
                                        <p:tav tm="100000">
                                          <p:val>
                                            <p:strVal val="#ppt_h"/>
                                          </p:val>
                                        </p:tav>
                                      </p:tavLst>
                                    </p:anim>
                                    <p:animEffect transition="in" filter="fade">
                                      <p:cBhvr>
                                        <p:cTn id="69" dur="500"/>
                                        <p:tgtEl>
                                          <p:spTgt spid="23"/>
                                        </p:tgtEl>
                                      </p:cBhvr>
                                    </p:animEffect>
                                    <p:anim calcmode="lin" valueType="num">
                                      <p:cBhvr>
                                        <p:cTn id="70" dur="500" fill="hold"/>
                                        <p:tgtEl>
                                          <p:spTgt spid="23"/>
                                        </p:tgtEl>
                                        <p:attrNameLst>
                                          <p:attrName>ppt_x</p:attrName>
                                        </p:attrNameLst>
                                      </p:cBhvr>
                                      <p:tavLst>
                                        <p:tav tm="0">
                                          <p:val>
                                            <p:fltVal val="0.5"/>
                                          </p:val>
                                        </p:tav>
                                        <p:tav tm="100000">
                                          <p:val>
                                            <p:strVal val="#ppt_x"/>
                                          </p:val>
                                        </p:tav>
                                      </p:tavLst>
                                    </p:anim>
                                    <p:anim calcmode="lin" valueType="num">
                                      <p:cBhvr>
                                        <p:cTn id="71" dur="500" fill="hold"/>
                                        <p:tgtEl>
                                          <p:spTgt spid="23"/>
                                        </p:tgtEl>
                                        <p:attrNameLst>
                                          <p:attrName>ppt_y</p:attrName>
                                        </p:attrNameLst>
                                      </p:cBhvr>
                                      <p:tavLst>
                                        <p:tav tm="0">
                                          <p:val>
                                            <p:fltVal val="0.5"/>
                                          </p:val>
                                        </p:tav>
                                        <p:tav tm="100000">
                                          <p:val>
                                            <p:strVal val="#ppt_y"/>
                                          </p:val>
                                        </p:tav>
                                      </p:tavLst>
                                    </p:anim>
                                  </p:childTnLst>
                                </p:cTn>
                              </p:par>
                              <p:par>
                                <p:cTn id="72" presetID="53" presetClass="entr" presetSubtype="528" fill="hold" grpId="0" nodeType="withEffect">
                                  <p:stCondLst>
                                    <p:cond delay="0"/>
                                  </p:stCondLst>
                                  <p:childTnLst>
                                    <p:set>
                                      <p:cBhvr>
                                        <p:cTn id="73" dur="1" fill="hold">
                                          <p:stCondLst>
                                            <p:cond delay="0"/>
                                          </p:stCondLst>
                                        </p:cTn>
                                        <p:tgtEl>
                                          <p:spTgt spid="30"/>
                                        </p:tgtEl>
                                        <p:attrNameLst>
                                          <p:attrName>style.visibility</p:attrName>
                                        </p:attrNameLst>
                                      </p:cBhvr>
                                      <p:to>
                                        <p:strVal val="visible"/>
                                      </p:to>
                                    </p:set>
                                    <p:anim calcmode="lin" valueType="num">
                                      <p:cBhvr>
                                        <p:cTn id="74" dur="500" fill="hold"/>
                                        <p:tgtEl>
                                          <p:spTgt spid="30"/>
                                        </p:tgtEl>
                                        <p:attrNameLst>
                                          <p:attrName>ppt_w</p:attrName>
                                        </p:attrNameLst>
                                      </p:cBhvr>
                                      <p:tavLst>
                                        <p:tav tm="0">
                                          <p:val>
                                            <p:fltVal val="0"/>
                                          </p:val>
                                        </p:tav>
                                        <p:tav tm="100000">
                                          <p:val>
                                            <p:strVal val="#ppt_w"/>
                                          </p:val>
                                        </p:tav>
                                      </p:tavLst>
                                    </p:anim>
                                    <p:anim calcmode="lin" valueType="num">
                                      <p:cBhvr>
                                        <p:cTn id="75" dur="500" fill="hold"/>
                                        <p:tgtEl>
                                          <p:spTgt spid="30"/>
                                        </p:tgtEl>
                                        <p:attrNameLst>
                                          <p:attrName>ppt_h</p:attrName>
                                        </p:attrNameLst>
                                      </p:cBhvr>
                                      <p:tavLst>
                                        <p:tav tm="0">
                                          <p:val>
                                            <p:fltVal val="0"/>
                                          </p:val>
                                        </p:tav>
                                        <p:tav tm="100000">
                                          <p:val>
                                            <p:strVal val="#ppt_h"/>
                                          </p:val>
                                        </p:tav>
                                      </p:tavLst>
                                    </p:anim>
                                    <p:animEffect transition="in" filter="fade">
                                      <p:cBhvr>
                                        <p:cTn id="76" dur="500"/>
                                        <p:tgtEl>
                                          <p:spTgt spid="30"/>
                                        </p:tgtEl>
                                      </p:cBhvr>
                                    </p:animEffect>
                                    <p:anim calcmode="lin" valueType="num">
                                      <p:cBhvr>
                                        <p:cTn id="77" dur="500" fill="hold"/>
                                        <p:tgtEl>
                                          <p:spTgt spid="30"/>
                                        </p:tgtEl>
                                        <p:attrNameLst>
                                          <p:attrName>ppt_x</p:attrName>
                                        </p:attrNameLst>
                                      </p:cBhvr>
                                      <p:tavLst>
                                        <p:tav tm="0">
                                          <p:val>
                                            <p:fltVal val="0.5"/>
                                          </p:val>
                                        </p:tav>
                                        <p:tav tm="100000">
                                          <p:val>
                                            <p:strVal val="#ppt_x"/>
                                          </p:val>
                                        </p:tav>
                                      </p:tavLst>
                                    </p:anim>
                                    <p:anim calcmode="lin" valueType="num">
                                      <p:cBhvr>
                                        <p:cTn id="78" dur="500" fill="hold"/>
                                        <p:tgtEl>
                                          <p:spTgt spid="30"/>
                                        </p:tgtEl>
                                        <p:attrNameLst>
                                          <p:attrName>ppt_y</p:attrName>
                                        </p:attrNameLst>
                                      </p:cBhvr>
                                      <p:tavLst>
                                        <p:tav tm="0">
                                          <p:val>
                                            <p:fltVal val="0.5"/>
                                          </p:val>
                                        </p:tav>
                                        <p:tav tm="100000">
                                          <p:val>
                                            <p:strVal val="#ppt_y"/>
                                          </p:val>
                                        </p:tav>
                                      </p:tavLst>
                                    </p:anim>
                                  </p:childTnLst>
                                </p:cTn>
                              </p:par>
                            </p:childTnLst>
                          </p:cTn>
                        </p:par>
                        <p:par>
                          <p:cTn id="79" fill="hold">
                            <p:stCondLst>
                              <p:cond delay="2500"/>
                            </p:stCondLst>
                            <p:childTnLst>
                              <p:par>
                                <p:cTn id="80" presetID="53" presetClass="entr" presetSubtype="528" fill="hold" grpId="0" nodeType="afterEffect">
                                  <p:stCondLst>
                                    <p:cond delay="0"/>
                                  </p:stCondLst>
                                  <p:childTnLst>
                                    <p:set>
                                      <p:cBhvr>
                                        <p:cTn id="81" dur="1" fill="hold">
                                          <p:stCondLst>
                                            <p:cond delay="0"/>
                                          </p:stCondLst>
                                        </p:cTn>
                                        <p:tgtEl>
                                          <p:spTgt spid="25"/>
                                        </p:tgtEl>
                                        <p:attrNameLst>
                                          <p:attrName>style.visibility</p:attrName>
                                        </p:attrNameLst>
                                      </p:cBhvr>
                                      <p:to>
                                        <p:strVal val="visible"/>
                                      </p:to>
                                    </p:set>
                                    <p:anim calcmode="lin" valueType="num">
                                      <p:cBhvr>
                                        <p:cTn id="82" dur="500" fill="hold"/>
                                        <p:tgtEl>
                                          <p:spTgt spid="25"/>
                                        </p:tgtEl>
                                        <p:attrNameLst>
                                          <p:attrName>ppt_w</p:attrName>
                                        </p:attrNameLst>
                                      </p:cBhvr>
                                      <p:tavLst>
                                        <p:tav tm="0">
                                          <p:val>
                                            <p:fltVal val="0"/>
                                          </p:val>
                                        </p:tav>
                                        <p:tav tm="100000">
                                          <p:val>
                                            <p:strVal val="#ppt_w"/>
                                          </p:val>
                                        </p:tav>
                                      </p:tavLst>
                                    </p:anim>
                                    <p:anim calcmode="lin" valueType="num">
                                      <p:cBhvr>
                                        <p:cTn id="83" dur="500" fill="hold"/>
                                        <p:tgtEl>
                                          <p:spTgt spid="25"/>
                                        </p:tgtEl>
                                        <p:attrNameLst>
                                          <p:attrName>ppt_h</p:attrName>
                                        </p:attrNameLst>
                                      </p:cBhvr>
                                      <p:tavLst>
                                        <p:tav tm="0">
                                          <p:val>
                                            <p:fltVal val="0"/>
                                          </p:val>
                                        </p:tav>
                                        <p:tav tm="100000">
                                          <p:val>
                                            <p:strVal val="#ppt_h"/>
                                          </p:val>
                                        </p:tav>
                                      </p:tavLst>
                                    </p:anim>
                                    <p:animEffect transition="in" filter="fade">
                                      <p:cBhvr>
                                        <p:cTn id="84" dur="500"/>
                                        <p:tgtEl>
                                          <p:spTgt spid="25"/>
                                        </p:tgtEl>
                                      </p:cBhvr>
                                    </p:animEffect>
                                    <p:anim calcmode="lin" valueType="num">
                                      <p:cBhvr>
                                        <p:cTn id="85" dur="500" fill="hold"/>
                                        <p:tgtEl>
                                          <p:spTgt spid="25"/>
                                        </p:tgtEl>
                                        <p:attrNameLst>
                                          <p:attrName>ppt_x</p:attrName>
                                        </p:attrNameLst>
                                      </p:cBhvr>
                                      <p:tavLst>
                                        <p:tav tm="0">
                                          <p:val>
                                            <p:fltVal val="0.5"/>
                                          </p:val>
                                        </p:tav>
                                        <p:tav tm="100000">
                                          <p:val>
                                            <p:strVal val="#ppt_x"/>
                                          </p:val>
                                        </p:tav>
                                      </p:tavLst>
                                    </p:anim>
                                    <p:anim calcmode="lin" valueType="num">
                                      <p:cBhvr>
                                        <p:cTn id="86" dur="500" fill="hold"/>
                                        <p:tgtEl>
                                          <p:spTgt spid="25"/>
                                        </p:tgtEl>
                                        <p:attrNameLst>
                                          <p:attrName>ppt_y</p:attrName>
                                        </p:attrNameLst>
                                      </p:cBhvr>
                                      <p:tavLst>
                                        <p:tav tm="0">
                                          <p:val>
                                            <p:fltVal val="0.5"/>
                                          </p:val>
                                        </p:tav>
                                        <p:tav tm="100000">
                                          <p:val>
                                            <p:strVal val="#ppt_y"/>
                                          </p:val>
                                        </p:tav>
                                      </p:tavLst>
                                    </p:anim>
                                  </p:childTnLst>
                                </p:cTn>
                              </p:par>
                              <p:par>
                                <p:cTn id="87" presetID="53" presetClass="entr" presetSubtype="528" fill="hold" grpId="0" nodeType="withEffect">
                                  <p:stCondLst>
                                    <p:cond delay="0"/>
                                  </p:stCondLst>
                                  <p:childTnLst>
                                    <p:set>
                                      <p:cBhvr>
                                        <p:cTn id="88" dur="1" fill="hold">
                                          <p:stCondLst>
                                            <p:cond delay="0"/>
                                          </p:stCondLst>
                                        </p:cTn>
                                        <p:tgtEl>
                                          <p:spTgt spid="31"/>
                                        </p:tgtEl>
                                        <p:attrNameLst>
                                          <p:attrName>style.visibility</p:attrName>
                                        </p:attrNameLst>
                                      </p:cBhvr>
                                      <p:to>
                                        <p:strVal val="visible"/>
                                      </p:to>
                                    </p:set>
                                    <p:anim calcmode="lin" valueType="num">
                                      <p:cBhvr>
                                        <p:cTn id="89" dur="500" fill="hold"/>
                                        <p:tgtEl>
                                          <p:spTgt spid="31"/>
                                        </p:tgtEl>
                                        <p:attrNameLst>
                                          <p:attrName>ppt_w</p:attrName>
                                        </p:attrNameLst>
                                      </p:cBhvr>
                                      <p:tavLst>
                                        <p:tav tm="0">
                                          <p:val>
                                            <p:fltVal val="0"/>
                                          </p:val>
                                        </p:tav>
                                        <p:tav tm="100000">
                                          <p:val>
                                            <p:strVal val="#ppt_w"/>
                                          </p:val>
                                        </p:tav>
                                      </p:tavLst>
                                    </p:anim>
                                    <p:anim calcmode="lin" valueType="num">
                                      <p:cBhvr>
                                        <p:cTn id="90" dur="500" fill="hold"/>
                                        <p:tgtEl>
                                          <p:spTgt spid="31"/>
                                        </p:tgtEl>
                                        <p:attrNameLst>
                                          <p:attrName>ppt_h</p:attrName>
                                        </p:attrNameLst>
                                      </p:cBhvr>
                                      <p:tavLst>
                                        <p:tav tm="0">
                                          <p:val>
                                            <p:fltVal val="0"/>
                                          </p:val>
                                        </p:tav>
                                        <p:tav tm="100000">
                                          <p:val>
                                            <p:strVal val="#ppt_h"/>
                                          </p:val>
                                        </p:tav>
                                      </p:tavLst>
                                    </p:anim>
                                    <p:animEffect transition="in" filter="fade">
                                      <p:cBhvr>
                                        <p:cTn id="91" dur="500"/>
                                        <p:tgtEl>
                                          <p:spTgt spid="31"/>
                                        </p:tgtEl>
                                      </p:cBhvr>
                                    </p:animEffect>
                                    <p:anim calcmode="lin" valueType="num">
                                      <p:cBhvr>
                                        <p:cTn id="92" dur="500" fill="hold"/>
                                        <p:tgtEl>
                                          <p:spTgt spid="31"/>
                                        </p:tgtEl>
                                        <p:attrNameLst>
                                          <p:attrName>ppt_x</p:attrName>
                                        </p:attrNameLst>
                                      </p:cBhvr>
                                      <p:tavLst>
                                        <p:tav tm="0">
                                          <p:val>
                                            <p:fltVal val="0.5"/>
                                          </p:val>
                                        </p:tav>
                                        <p:tav tm="100000">
                                          <p:val>
                                            <p:strVal val="#ppt_x"/>
                                          </p:val>
                                        </p:tav>
                                      </p:tavLst>
                                    </p:anim>
                                    <p:anim calcmode="lin" valueType="num">
                                      <p:cBhvr>
                                        <p:cTn id="93" dur="500" fill="hold"/>
                                        <p:tgtEl>
                                          <p:spTgt spid="31"/>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estimonial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6" name="Picture Placeholder 15"/>
          <p:cNvSpPr>
            <a:spLocks noGrp="1"/>
          </p:cNvSpPr>
          <p:nvPr>
            <p:ph type="pic" sz="quarter" idx="11"/>
          </p:nvPr>
        </p:nvSpPr>
        <p:spPr>
          <a:xfrm>
            <a:off x="3337565" y="147448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38100">
            <a:solidFill>
              <a:schemeClr val="tx2">
                <a:lumMod val="90000"/>
                <a:lumOff val="10000"/>
              </a:schemeClr>
            </a:solidFill>
          </a:ln>
        </p:spPr>
        <p:txBody>
          <a:bodyPr wrap="square" anchor="ctr" anchorCtr="0">
            <a:noAutofit/>
          </a:bodyPr>
          <a:lstStyle>
            <a:lvl1pPr algn="ctr">
              <a:defRPr/>
            </a:lvl1pPr>
          </a:lstStyle>
          <a:p>
            <a:endParaRPr lang="en-US" dirty="0"/>
          </a:p>
        </p:txBody>
      </p:sp>
      <p:sp>
        <p:nvSpPr>
          <p:cNvPr id="17" name="Picture Placeholder 16"/>
          <p:cNvSpPr>
            <a:spLocks noGrp="1"/>
          </p:cNvSpPr>
          <p:nvPr>
            <p:ph type="pic" sz="quarter" idx="12"/>
          </p:nvPr>
        </p:nvSpPr>
        <p:spPr>
          <a:xfrm>
            <a:off x="6080726" y="147448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38100">
            <a:solidFill>
              <a:schemeClr val="tx2">
                <a:lumMod val="90000"/>
                <a:lumOff val="10000"/>
              </a:schemeClr>
            </a:solidFill>
          </a:ln>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15" name="Picture Placeholder 14"/>
          <p:cNvSpPr>
            <a:spLocks noGrp="1"/>
          </p:cNvSpPr>
          <p:nvPr>
            <p:ph type="pic" sz="quarter" idx="10"/>
          </p:nvPr>
        </p:nvSpPr>
        <p:spPr>
          <a:xfrm>
            <a:off x="594403" y="147448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38100">
            <a:solidFill>
              <a:schemeClr val="tx2">
                <a:lumMod val="90000"/>
                <a:lumOff val="10000"/>
              </a:schemeClr>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779116936"/>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estimonial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1" name="Picture Placeholder 3"/>
          <p:cNvSpPr>
            <a:spLocks noGrp="1"/>
          </p:cNvSpPr>
          <p:nvPr>
            <p:ph type="pic" sz="quarter" idx="10"/>
          </p:nvPr>
        </p:nvSpPr>
        <p:spPr>
          <a:xfrm>
            <a:off x="5029200" y="0"/>
            <a:ext cx="4114800" cy="514350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220429600"/>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President Profil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1" name="Rectangle 10"/>
          <p:cNvSpPr/>
          <p:nvPr userDrawn="1"/>
        </p:nvSpPr>
        <p:spPr>
          <a:xfrm>
            <a:off x="-2" y="0"/>
            <a:ext cx="4114800" cy="51435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12" name="Picture Placeholder 3"/>
          <p:cNvSpPr>
            <a:spLocks noGrp="1"/>
          </p:cNvSpPr>
          <p:nvPr>
            <p:ph type="pic" sz="quarter" idx="10"/>
          </p:nvPr>
        </p:nvSpPr>
        <p:spPr>
          <a:xfrm>
            <a:off x="-1" y="0"/>
            <a:ext cx="3977640" cy="5143500"/>
          </a:xfrm>
          <a:solidFill>
            <a:schemeClr val="tx2">
              <a:lumMod val="9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4248215049"/>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Management Team">
    <p:bg>
      <p:bgPr>
        <a:solidFill>
          <a:schemeClr val="tx2">
            <a:lumMod val="90000"/>
            <a:lumOff val="10000"/>
          </a:schemeClr>
        </a:solidFill>
        <a:effectLst/>
      </p:bgPr>
    </p:bg>
    <p:spTree>
      <p:nvGrpSpPr>
        <p:cNvPr id="1" name=""/>
        <p:cNvGrpSpPr/>
        <p:nvPr/>
      </p:nvGrpSpPr>
      <p:grpSpPr>
        <a:xfrm>
          <a:off x="0" y="0"/>
          <a:ext cx="0" cy="0"/>
          <a:chOff x="0" y="0"/>
          <a:chExt cx="0" cy="0"/>
        </a:xfrm>
      </p:grpSpPr>
      <p:cxnSp>
        <p:nvCxnSpPr>
          <p:cNvPr id="12" name="Straight Connector 11"/>
          <p:cNvCxnSpPr/>
          <p:nvPr userDrawn="1"/>
        </p:nvCxnSpPr>
        <p:spPr>
          <a:xfrm>
            <a:off x="662965" y="2914664"/>
            <a:ext cx="164592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720342" y="2914646"/>
            <a:ext cx="164592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777720" y="2914629"/>
            <a:ext cx="164592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6835097" y="2914612"/>
            <a:ext cx="1645920" cy="0"/>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20" name="Picture Placeholder 3"/>
          <p:cNvSpPr>
            <a:spLocks noGrp="1"/>
          </p:cNvSpPr>
          <p:nvPr>
            <p:ph type="pic" sz="quarter" idx="10"/>
          </p:nvPr>
        </p:nvSpPr>
        <p:spPr>
          <a:xfrm>
            <a:off x="662984" y="1268750"/>
            <a:ext cx="1645920" cy="1645920"/>
          </a:xfrm>
          <a:solidFill>
            <a:schemeClr val="tx2">
              <a:lumMod val="95000"/>
            </a:schemeClr>
          </a:solidFill>
        </p:spPr>
        <p:txBody>
          <a:bodyPr anchor="ctr" anchorCtr="0"/>
          <a:lstStyle>
            <a:lvl1pPr algn="ctr">
              <a:defRPr/>
            </a:lvl1pPr>
          </a:lstStyle>
          <a:p>
            <a:endParaRPr lang="en-US" dirty="0"/>
          </a:p>
        </p:txBody>
      </p:sp>
      <p:sp>
        <p:nvSpPr>
          <p:cNvPr id="25" name="Picture Placeholder 3"/>
          <p:cNvSpPr>
            <a:spLocks noGrp="1"/>
          </p:cNvSpPr>
          <p:nvPr>
            <p:ph type="pic" sz="quarter" idx="11"/>
          </p:nvPr>
        </p:nvSpPr>
        <p:spPr>
          <a:xfrm>
            <a:off x="2720341" y="1268743"/>
            <a:ext cx="1645920" cy="1645920"/>
          </a:xfrm>
          <a:solidFill>
            <a:schemeClr val="tx2">
              <a:lumMod val="95000"/>
            </a:schemeClr>
          </a:solidFill>
        </p:spPr>
        <p:txBody>
          <a:bodyPr anchor="ctr" anchorCtr="0"/>
          <a:lstStyle>
            <a:lvl1pPr algn="ctr">
              <a:defRPr/>
            </a:lvl1pPr>
          </a:lstStyle>
          <a:p>
            <a:endParaRPr lang="en-US" dirty="0"/>
          </a:p>
        </p:txBody>
      </p:sp>
      <p:sp>
        <p:nvSpPr>
          <p:cNvPr id="30" name="Picture Placeholder 3"/>
          <p:cNvSpPr>
            <a:spLocks noGrp="1"/>
          </p:cNvSpPr>
          <p:nvPr>
            <p:ph type="pic" sz="quarter" idx="12"/>
          </p:nvPr>
        </p:nvSpPr>
        <p:spPr>
          <a:xfrm>
            <a:off x="4777697" y="1268764"/>
            <a:ext cx="1645920" cy="1645920"/>
          </a:xfrm>
          <a:solidFill>
            <a:schemeClr val="tx2">
              <a:lumMod val="95000"/>
            </a:schemeClr>
          </a:solidFill>
        </p:spPr>
        <p:txBody>
          <a:bodyPr anchor="ctr" anchorCtr="0"/>
          <a:lstStyle>
            <a:lvl1pPr algn="ctr">
              <a:defRPr/>
            </a:lvl1pPr>
          </a:lstStyle>
          <a:p>
            <a:endParaRPr lang="en-US" dirty="0"/>
          </a:p>
        </p:txBody>
      </p:sp>
      <p:sp>
        <p:nvSpPr>
          <p:cNvPr id="31" name="Picture Placeholder 3"/>
          <p:cNvSpPr>
            <a:spLocks noGrp="1"/>
          </p:cNvSpPr>
          <p:nvPr>
            <p:ph type="pic" sz="quarter" idx="13"/>
          </p:nvPr>
        </p:nvSpPr>
        <p:spPr>
          <a:xfrm>
            <a:off x="6835054" y="1268748"/>
            <a:ext cx="1645920" cy="1645920"/>
          </a:xfrm>
          <a:solidFill>
            <a:schemeClr val="tx2">
              <a:lumMod val="9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622648967"/>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Financial Team">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4754849" y="1268744"/>
            <a:ext cx="1645938" cy="1645920"/>
            <a:chOff x="975392" y="1691659"/>
            <a:chExt cx="2194584" cy="2194560"/>
          </a:xfrm>
          <a:solidFill>
            <a:schemeClr val="accent4"/>
          </a:solidFill>
        </p:grpSpPr>
        <p:sp>
          <p:nvSpPr>
            <p:cNvPr id="13" name="Pie 12"/>
            <p:cNvSpPr>
              <a:spLocks noChangeAspect="1"/>
            </p:cNvSpPr>
            <p:nvPr/>
          </p:nvSpPr>
          <p:spPr>
            <a:xfrm>
              <a:off x="975416" y="1691659"/>
              <a:ext cx="2194560" cy="2194560"/>
            </a:xfrm>
            <a:prstGeom prst="pie">
              <a:avLst>
                <a:gd name="adj1" fmla="val 6743112"/>
                <a:gd name="adj2" fmla="val 16311251"/>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sp>
          <p:nvSpPr>
            <p:cNvPr id="14" name="Pie 13"/>
            <p:cNvSpPr>
              <a:spLocks noChangeAspect="1"/>
            </p:cNvSpPr>
            <p:nvPr/>
          </p:nvSpPr>
          <p:spPr>
            <a:xfrm>
              <a:off x="975392" y="1691659"/>
              <a:ext cx="2194560" cy="2194560"/>
            </a:xfrm>
            <a:prstGeom prst="pie">
              <a:avLst>
                <a:gd name="adj1" fmla="val 17737651"/>
                <a:gd name="adj2" fmla="val 20552500"/>
              </a:avLst>
            </a:prstGeom>
            <a:grp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grpSp>
      <p:grpSp>
        <p:nvGrpSpPr>
          <p:cNvPr id="15" name="Group 14"/>
          <p:cNvGrpSpPr/>
          <p:nvPr userDrawn="1"/>
        </p:nvGrpSpPr>
        <p:grpSpPr>
          <a:xfrm>
            <a:off x="6766500" y="1268726"/>
            <a:ext cx="1645938" cy="1645920"/>
            <a:chOff x="975392" y="1691659"/>
            <a:chExt cx="2194584" cy="2194560"/>
          </a:xfrm>
          <a:solidFill>
            <a:schemeClr val="accent4">
              <a:lumMod val="60000"/>
              <a:lumOff val="40000"/>
            </a:schemeClr>
          </a:solidFill>
        </p:grpSpPr>
        <p:sp>
          <p:nvSpPr>
            <p:cNvPr id="16" name="Pie 15"/>
            <p:cNvSpPr>
              <a:spLocks noChangeAspect="1"/>
            </p:cNvSpPr>
            <p:nvPr/>
          </p:nvSpPr>
          <p:spPr>
            <a:xfrm>
              <a:off x="975416" y="1691659"/>
              <a:ext cx="2194560" cy="2194560"/>
            </a:xfrm>
            <a:prstGeom prst="pie">
              <a:avLst>
                <a:gd name="adj1" fmla="val 3132410"/>
                <a:gd name="adj2" fmla="val 9405979"/>
              </a:avLst>
            </a:prstGeom>
            <a:grp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sp>
          <p:nvSpPr>
            <p:cNvPr id="17" name="Pie 16"/>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grpSp>
      <p:grpSp>
        <p:nvGrpSpPr>
          <p:cNvPr id="18" name="Group 17"/>
          <p:cNvGrpSpPr/>
          <p:nvPr userDrawn="1"/>
        </p:nvGrpSpPr>
        <p:grpSpPr>
          <a:xfrm>
            <a:off x="2743196" y="1268744"/>
            <a:ext cx="1645938" cy="1645920"/>
            <a:chOff x="975392" y="1691659"/>
            <a:chExt cx="2194584" cy="2194560"/>
          </a:xfrm>
          <a:solidFill>
            <a:schemeClr val="accent3"/>
          </a:solidFill>
        </p:grpSpPr>
        <p:sp>
          <p:nvSpPr>
            <p:cNvPr id="19" name="Pie 18"/>
            <p:cNvSpPr>
              <a:spLocks noChangeAspect="1"/>
            </p:cNvSpPr>
            <p:nvPr/>
          </p:nvSpPr>
          <p:spPr>
            <a:xfrm>
              <a:off x="975416" y="1691659"/>
              <a:ext cx="2194560" cy="2194560"/>
            </a:xfrm>
            <a:prstGeom prst="pie">
              <a:avLst>
                <a:gd name="adj1" fmla="val 21552992"/>
                <a:gd name="adj2" fmla="val 9405979"/>
              </a:avLst>
            </a:prstGeom>
            <a:solidFill>
              <a:schemeClr val="accent3"/>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sp>
          <p:nvSpPr>
            <p:cNvPr id="20" name="Pie 19"/>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grpSp>
      <p:grpSp>
        <p:nvGrpSpPr>
          <p:cNvPr id="21" name="Group 20"/>
          <p:cNvGrpSpPr/>
          <p:nvPr userDrawn="1"/>
        </p:nvGrpSpPr>
        <p:grpSpPr>
          <a:xfrm>
            <a:off x="731544" y="1268744"/>
            <a:ext cx="1645938" cy="1645920"/>
            <a:chOff x="975392" y="1691659"/>
            <a:chExt cx="2194584" cy="2194560"/>
          </a:xfrm>
          <a:solidFill>
            <a:schemeClr val="accent1"/>
          </a:solidFill>
        </p:grpSpPr>
        <p:sp>
          <p:nvSpPr>
            <p:cNvPr id="22" name="Pie 21"/>
            <p:cNvSpPr>
              <a:spLocks noChangeAspect="1"/>
            </p:cNvSpPr>
            <p:nvPr/>
          </p:nvSpPr>
          <p:spPr>
            <a:xfrm>
              <a:off x="975416" y="1691659"/>
              <a:ext cx="2194560" cy="2194560"/>
            </a:xfrm>
            <a:prstGeom prst="pie">
              <a:avLst>
                <a:gd name="adj1" fmla="val 6743112"/>
                <a:gd name="adj2" fmla="val 9405979"/>
              </a:avLst>
            </a:prstGeom>
            <a:grp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sp>
          <p:nvSpPr>
            <p:cNvPr id="23" name="Pie 22"/>
            <p:cNvSpPr>
              <a:spLocks noChangeAspect="1"/>
            </p:cNvSpPr>
            <p:nvPr/>
          </p:nvSpPr>
          <p:spPr>
            <a:xfrm>
              <a:off x="975392" y="1691659"/>
              <a:ext cx="2194560" cy="2194560"/>
            </a:xfrm>
            <a:prstGeom prst="pie">
              <a:avLst>
                <a:gd name="adj1" fmla="val 11372206"/>
                <a:gd name="adj2" fmla="val 5574735"/>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grpSp>
      <p:sp>
        <p:nvSpPr>
          <p:cNvPr id="26" name="Picture Placeholder 25"/>
          <p:cNvSpPr>
            <a:spLocks noGrp="1" noChangeAspect="1"/>
          </p:cNvSpPr>
          <p:nvPr>
            <p:ph type="pic" sz="quarter" idx="10"/>
          </p:nvPr>
        </p:nvSpPr>
        <p:spPr>
          <a:xfrm>
            <a:off x="800125"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7" name="Picture Placeholder 26"/>
          <p:cNvSpPr>
            <a:spLocks noGrp="1" noChangeAspect="1"/>
          </p:cNvSpPr>
          <p:nvPr>
            <p:ph type="pic" sz="quarter" idx="11"/>
          </p:nvPr>
        </p:nvSpPr>
        <p:spPr>
          <a:xfrm>
            <a:off x="2811783"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8" name="Picture Placeholder 27"/>
          <p:cNvSpPr>
            <a:spLocks noGrp="1" noChangeAspect="1"/>
          </p:cNvSpPr>
          <p:nvPr>
            <p:ph type="pic" sz="quarter" idx="12"/>
          </p:nvPr>
        </p:nvSpPr>
        <p:spPr>
          <a:xfrm>
            <a:off x="4823441"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9" name="Picture Placeholder 28"/>
          <p:cNvSpPr>
            <a:spLocks noGrp="1" noChangeAspect="1"/>
          </p:cNvSpPr>
          <p:nvPr>
            <p:ph type="pic" sz="quarter" idx="13"/>
          </p:nvPr>
        </p:nvSpPr>
        <p:spPr>
          <a:xfrm>
            <a:off x="6835099" y="1337323"/>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2753807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9" y="1085850"/>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3846491"/>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Design Team">
    <p:bg>
      <p:bgPr>
        <a:solidFill>
          <a:schemeClr val="tx2">
            <a:lumMod val="90000"/>
            <a:lumOff val="10000"/>
          </a:schemeClr>
        </a:solidFill>
        <a:effectLst/>
      </p:bgPr>
    </p:bg>
    <p:spTree>
      <p:nvGrpSpPr>
        <p:cNvPr id="1" name=""/>
        <p:cNvGrpSpPr/>
        <p:nvPr/>
      </p:nvGrpSpPr>
      <p:grpSpPr>
        <a:xfrm>
          <a:off x="0" y="0"/>
          <a:ext cx="0" cy="0"/>
          <a:chOff x="0" y="0"/>
          <a:chExt cx="0" cy="0"/>
        </a:xfrm>
      </p:grpSpPr>
      <p:cxnSp>
        <p:nvCxnSpPr>
          <p:cNvPr id="18" name="Straight Connector 17"/>
          <p:cNvCxnSpPr/>
          <p:nvPr userDrawn="1"/>
        </p:nvCxnSpPr>
        <p:spPr>
          <a:xfrm>
            <a:off x="4982924" y="1268744"/>
            <a:ext cx="281" cy="1440165"/>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983206" y="3120383"/>
            <a:ext cx="281" cy="1440165"/>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731292" y="1268744"/>
            <a:ext cx="281" cy="1440165"/>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20" name="Picture Placeholder 3"/>
          <p:cNvSpPr>
            <a:spLocks noGrp="1"/>
          </p:cNvSpPr>
          <p:nvPr>
            <p:ph type="pic" sz="quarter" idx="13"/>
          </p:nvPr>
        </p:nvSpPr>
        <p:spPr>
          <a:xfrm>
            <a:off x="731562" y="1268744"/>
            <a:ext cx="1371600" cy="1440180"/>
          </a:xfrm>
          <a:solidFill>
            <a:schemeClr val="tx2">
              <a:lumMod val="95000"/>
            </a:schemeClr>
          </a:solidFill>
        </p:spPr>
        <p:txBody>
          <a:bodyPr anchor="ctr" anchorCtr="0"/>
          <a:lstStyle>
            <a:lvl1pPr algn="ctr">
              <a:defRPr/>
            </a:lvl1pPr>
          </a:lstStyle>
          <a:p>
            <a:endParaRPr lang="en-US" dirty="0"/>
          </a:p>
        </p:txBody>
      </p:sp>
      <p:sp>
        <p:nvSpPr>
          <p:cNvPr id="27" name="Picture Placeholder 3"/>
          <p:cNvSpPr>
            <a:spLocks noGrp="1"/>
          </p:cNvSpPr>
          <p:nvPr>
            <p:ph type="pic" sz="quarter" idx="14"/>
          </p:nvPr>
        </p:nvSpPr>
        <p:spPr>
          <a:xfrm>
            <a:off x="731562" y="3120353"/>
            <a:ext cx="1371600" cy="1440180"/>
          </a:xfrm>
          <a:solidFill>
            <a:schemeClr val="tx2">
              <a:lumMod val="95000"/>
            </a:schemeClr>
          </a:solidFill>
        </p:spPr>
        <p:txBody>
          <a:bodyPr anchor="ctr" anchorCtr="0"/>
          <a:lstStyle>
            <a:lvl1pPr algn="ctr">
              <a:defRPr/>
            </a:lvl1pPr>
          </a:lstStyle>
          <a:p>
            <a:endParaRPr lang="en-US" dirty="0"/>
          </a:p>
        </p:txBody>
      </p:sp>
      <p:sp>
        <p:nvSpPr>
          <p:cNvPr id="28" name="Picture Placeholder 3"/>
          <p:cNvSpPr>
            <a:spLocks noGrp="1"/>
          </p:cNvSpPr>
          <p:nvPr>
            <p:ph type="pic" sz="quarter" idx="15"/>
          </p:nvPr>
        </p:nvSpPr>
        <p:spPr>
          <a:xfrm>
            <a:off x="4983476" y="1268759"/>
            <a:ext cx="1371600" cy="1440180"/>
          </a:xfrm>
          <a:solidFill>
            <a:schemeClr val="tx2">
              <a:lumMod val="95000"/>
            </a:schemeClr>
          </a:solidFill>
        </p:spPr>
        <p:txBody>
          <a:bodyPr anchor="ctr" anchorCtr="0"/>
          <a:lstStyle>
            <a:lvl1pPr algn="ctr">
              <a:defRPr/>
            </a:lvl1pPr>
          </a:lstStyle>
          <a:p>
            <a:endParaRPr lang="en-US" dirty="0"/>
          </a:p>
        </p:txBody>
      </p:sp>
      <p:sp>
        <p:nvSpPr>
          <p:cNvPr id="29" name="Picture Placeholder 3"/>
          <p:cNvSpPr>
            <a:spLocks noGrp="1"/>
          </p:cNvSpPr>
          <p:nvPr>
            <p:ph type="pic" sz="quarter" idx="16"/>
          </p:nvPr>
        </p:nvSpPr>
        <p:spPr>
          <a:xfrm>
            <a:off x="4983476" y="3120368"/>
            <a:ext cx="1371600" cy="1440180"/>
          </a:xfrm>
          <a:solidFill>
            <a:schemeClr val="tx2">
              <a:lumMod val="95000"/>
            </a:schemeClr>
          </a:solidFill>
        </p:spPr>
        <p:txBody>
          <a:bodyPr anchor="ctr" anchorCtr="0"/>
          <a:lstStyle>
            <a:lvl1pPr algn="ctr">
              <a:defRPr/>
            </a:lvl1pPr>
          </a:lstStyle>
          <a:p>
            <a:endParaRPr lang="en-US" dirty="0"/>
          </a:p>
        </p:txBody>
      </p:sp>
      <p:cxnSp>
        <p:nvCxnSpPr>
          <p:cNvPr id="17" name="Straight Connector 16"/>
          <p:cNvCxnSpPr/>
          <p:nvPr userDrawn="1"/>
        </p:nvCxnSpPr>
        <p:spPr>
          <a:xfrm>
            <a:off x="731562" y="3120383"/>
            <a:ext cx="281" cy="1440165"/>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090446"/>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Support Team">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12" name="Group 11"/>
          <p:cNvGrpSpPr>
            <a:grpSpLocks noChangeAspect="1"/>
          </p:cNvGrpSpPr>
          <p:nvPr userDrawn="1"/>
        </p:nvGrpSpPr>
        <p:grpSpPr>
          <a:xfrm>
            <a:off x="4777749" y="1200165"/>
            <a:ext cx="1577357" cy="1577340"/>
            <a:chOff x="975392" y="1691659"/>
            <a:chExt cx="2194584" cy="2194560"/>
          </a:xfrm>
          <a:solidFill>
            <a:schemeClr val="accent3"/>
          </a:solidFill>
        </p:grpSpPr>
        <p:sp>
          <p:nvSpPr>
            <p:cNvPr id="13" name="Pie 12"/>
            <p:cNvSpPr>
              <a:spLocks noChangeAspect="1"/>
            </p:cNvSpPr>
            <p:nvPr/>
          </p:nvSpPr>
          <p:spPr>
            <a:xfrm>
              <a:off x="975416" y="1691659"/>
              <a:ext cx="2194560" cy="2194560"/>
            </a:xfrm>
            <a:prstGeom prst="pie">
              <a:avLst>
                <a:gd name="adj1" fmla="val 21552992"/>
                <a:gd name="adj2" fmla="val 9405979"/>
              </a:avLst>
            </a:prstGeom>
            <a:solidFill>
              <a:schemeClr val="accent3"/>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sp>
          <p:nvSpPr>
            <p:cNvPr id="14" name="Pie 13"/>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grpSp>
      <p:grpSp>
        <p:nvGrpSpPr>
          <p:cNvPr id="15" name="Group 14"/>
          <p:cNvGrpSpPr>
            <a:grpSpLocks noChangeAspect="1"/>
          </p:cNvGrpSpPr>
          <p:nvPr userDrawn="1"/>
        </p:nvGrpSpPr>
        <p:grpSpPr>
          <a:xfrm>
            <a:off x="4777749" y="3120402"/>
            <a:ext cx="1577357" cy="1577340"/>
            <a:chOff x="975392" y="1691659"/>
            <a:chExt cx="2194584" cy="2194560"/>
          </a:xfrm>
          <a:solidFill>
            <a:schemeClr val="accent3"/>
          </a:solidFill>
        </p:grpSpPr>
        <p:sp>
          <p:nvSpPr>
            <p:cNvPr id="16" name="Pie 15"/>
            <p:cNvSpPr>
              <a:spLocks noChangeAspect="1"/>
            </p:cNvSpPr>
            <p:nvPr/>
          </p:nvSpPr>
          <p:spPr>
            <a:xfrm>
              <a:off x="975416" y="1691659"/>
              <a:ext cx="2194560" cy="2194560"/>
            </a:xfrm>
            <a:prstGeom prst="pie">
              <a:avLst>
                <a:gd name="adj1" fmla="val 21552992"/>
                <a:gd name="adj2" fmla="val 9405979"/>
              </a:avLst>
            </a:prstGeom>
            <a:solidFill>
              <a:schemeClr val="accent4">
                <a:lumMod val="60000"/>
                <a:lumOff val="40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sp>
          <p:nvSpPr>
            <p:cNvPr id="17" name="Pie 16"/>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grpSp>
      <p:grpSp>
        <p:nvGrpSpPr>
          <p:cNvPr id="18" name="Group 17"/>
          <p:cNvGrpSpPr>
            <a:grpSpLocks noChangeAspect="1"/>
          </p:cNvGrpSpPr>
          <p:nvPr userDrawn="1"/>
        </p:nvGrpSpPr>
        <p:grpSpPr>
          <a:xfrm>
            <a:off x="662994" y="1200183"/>
            <a:ext cx="1577357" cy="1577340"/>
            <a:chOff x="975392" y="1691659"/>
            <a:chExt cx="2194584" cy="2194560"/>
          </a:xfrm>
          <a:solidFill>
            <a:schemeClr val="accent3"/>
          </a:solidFill>
        </p:grpSpPr>
        <p:sp>
          <p:nvSpPr>
            <p:cNvPr id="19" name="Pie 18"/>
            <p:cNvSpPr>
              <a:spLocks noChangeAspect="1"/>
            </p:cNvSpPr>
            <p:nvPr/>
          </p:nvSpPr>
          <p:spPr>
            <a:xfrm>
              <a:off x="975416" y="1691659"/>
              <a:ext cx="2194560" cy="2194560"/>
            </a:xfrm>
            <a:prstGeom prst="pie">
              <a:avLst>
                <a:gd name="adj1" fmla="val 21552992"/>
                <a:gd name="adj2" fmla="val 9405979"/>
              </a:avLst>
            </a:prstGeom>
            <a:solidFill>
              <a:schemeClr val="accent1"/>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sp>
          <p:nvSpPr>
            <p:cNvPr id="20" name="Pie 19"/>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grpSp>
      <p:grpSp>
        <p:nvGrpSpPr>
          <p:cNvPr id="21" name="Group 20"/>
          <p:cNvGrpSpPr>
            <a:grpSpLocks noChangeAspect="1"/>
          </p:cNvGrpSpPr>
          <p:nvPr userDrawn="1"/>
        </p:nvGrpSpPr>
        <p:grpSpPr>
          <a:xfrm>
            <a:off x="662994" y="3120420"/>
            <a:ext cx="1577357" cy="1577340"/>
            <a:chOff x="975392" y="1691659"/>
            <a:chExt cx="2194584" cy="2194560"/>
          </a:xfrm>
          <a:solidFill>
            <a:schemeClr val="accent3"/>
          </a:solidFill>
        </p:grpSpPr>
        <p:sp>
          <p:nvSpPr>
            <p:cNvPr id="22" name="Pie 21"/>
            <p:cNvSpPr>
              <a:spLocks noChangeAspect="1"/>
            </p:cNvSpPr>
            <p:nvPr/>
          </p:nvSpPr>
          <p:spPr>
            <a:xfrm>
              <a:off x="975416" y="1691659"/>
              <a:ext cx="2194560" cy="2194560"/>
            </a:xfrm>
            <a:prstGeom prst="pie">
              <a:avLst>
                <a:gd name="adj1" fmla="val 21552992"/>
                <a:gd name="adj2" fmla="val 9405979"/>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sp>
          <p:nvSpPr>
            <p:cNvPr id="23" name="Pie 22"/>
            <p:cNvSpPr>
              <a:spLocks noChangeAspect="1"/>
            </p:cNvSpPr>
            <p:nvPr/>
          </p:nvSpPr>
          <p:spPr>
            <a:xfrm>
              <a:off x="975392" y="1691659"/>
              <a:ext cx="2194560" cy="2194560"/>
            </a:xfrm>
            <a:prstGeom prst="pie">
              <a:avLst>
                <a:gd name="adj1" fmla="val 17737651"/>
                <a:gd name="adj2" fmla="val 20552500"/>
              </a:avLst>
            </a:prstGeom>
            <a:solidFill>
              <a:schemeClr val="tx2">
                <a:lumMod val="75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IN" sz="2000" dirty="0">
                <a:solidFill>
                  <a:srgbClr val="4F4F52"/>
                </a:solidFill>
              </a:endParaRPr>
            </a:p>
          </p:txBody>
        </p:sp>
      </p:grpSp>
      <p:sp>
        <p:nvSpPr>
          <p:cNvPr id="26" name="Picture Placeholder 25"/>
          <p:cNvSpPr>
            <a:spLocks noGrp="1" noChangeAspect="1"/>
          </p:cNvSpPr>
          <p:nvPr>
            <p:ph type="pic" sz="quarter" idx="10"/>
          </p:nvPr>
        </p:nvSpPr>
        <p:spPr>
          <a:xfrm>
            <a:off x="809361" y="126874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5" name="Picture Placeholder 24"/>
          <p:cNvSpPr>
            <a:spLocks noGrp="1" noChangeAspect="1"/>
          </p:cNvSpPr>
          <p:nvPr>
            <p:ph type="pic" sz="quarter" idx="11"/>
          </p:nvPr>
        </p:nvSpPr>
        <p:spPr>
          <a:xfrm>
            <a:off x="4914881" y="126874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30" name="Picture Placeholder 29"/>
          <p:cNvSpPr>
            <a:spLocks noGrp="1" noChangeAspect="1"/>
          </p:cNvSpPr>
          <p:nvPr>
            <p:ph type="pic" sz="quarter" idx="12"/>
          </p:nvPr>
        </p:nvSpPr>
        <p:spPr>
          <a:xfrm>
            <a:off x="809361" y="318895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31" name="Picture Placeholder 30"/>
          <p:cNvSpPr>
            <a:spLocks noGrp="1" noChangeAspect="1"/>
          </p:cNvSpPr>
          <p:nvPr>
            <p:ph type="pic" sz="quarter" idx="13"/>
          </p:nvPr>
        </p:nvSpPr>
        <p:spPr>
          <a:xfrm>
            <a:off x="4914881" y="3188955"/>
            <a:ext cx="1371600" cy="137160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05362023"/>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Individual Team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13" name="Picture Placeholder 25"/>
          <p:cNvSpPr>
            <a:spLocks noGrp="1" noChangeAspect="1"/>
          </p:cNvSpPr>
          <p:nvPr>
            <p:ph type="pic" sz="quarter" idx="11"/>
          </p:nvPr>
        </p:nvSpPr>
        <p:spPr>
          <a:xfrm>
            <a:off x="731562" y="1337324"/>
            <a:ext cx="2468880" cy="246888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837865661"/>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Individual Team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14" name="Picture Placeholder 13"/>
          <p:cNvSpPr>
            <a:spLocks noGrp="1"/>
          </p:cNvSpPr>
          <p:nvPr>
            <p:ph type="pic" sz="quarter" idx="10"/>
          </p:nvPr>
        </p:nvSpPr>
        <p:spPr>
          <a:xfrm>
            <a:off x="684416" y="1337324"/>
            <a:ext cx="3544726" cy="3154680"/>
          </a:xfrm>
          <a:custGeom>
            <a:avLst/>
            <a:gdLst>
              <a:gd name="connsiteX0" fmla="*/ 3078836 w 4572000"/>
              <a:gd name="connsiteY0" fmla="*/ 2651731 h 3931877"/>
              <a:gd name="connsiteX1" fmla="*/ 4572000 w 4572000"/>
              <a:gd name="connsiteY1" fmla="*/ 2651731 h 3931877"/>
              <a:gd name="connsiteX2" fmla="*/ 4572000 w 4572000"/>
              <a:gd name="connsiteY2" fmla="*/ 3931877 h 3931877"/>
              <a:gd name="connsiteX3" fmla="*/ 3078836 w 4572000"/>
              <a:gd name="connsiteY3" fmla="*/ 3931877 h 3931877"/>
              <a:gd name="connsiteX4" fmla="*/ 1540184 w 4572000"/>
              <a:gd name="connsiteY4" fmla="*/ 2651731 h 3931877"/>
              <a:gd name="connsiteX5" fmla="*/ 3033348 w 4572000"/>
              <a:gd name="connsiteY5" fmla="*/ 2651731 h 3931877"/>
              <a:gd name="connsiteX6" fmla="*/ 3033348 w 4572000"/>
              <a:gd name="connsiteY6" fmla="*/ 3931877 h 3931877"/>
              <a:gd name="connsiteX7" fmla="*/ 1540184 w 4572000"/>
              <a:gd name="connsiteY7" fmla="*/ 3931877 h 3931877"/>
              <a:gd name="connsiteX8" fmla="*/ 1532 w 4572000"/>
              <a:gd name="connsiteY8" fmla="*/ 2651731 h 3931877"/>
              <a:gd name="connsiteX9" fmla="*/ 1494696 w 4572000"/>
              <a:gd name="connsiteY9" fmla="*/ 2651731 h 3931877"/>
              <a:gd name="connsiteX10" fmla="*/ 1494696 w 4572000"/>
              <a:gd name="connsiteY10" fmla="*/ 3931877 h 3931877"/>
              <a:gd name="connsiteX11" fmla="*/ 1532 w 4572000"/>
              <a:gd name="connsiteY11" fmla="*/ 3931877 h 3931877"/>
              <a:gd name="connsiteX12" fmla="*/ 3078836 w 4572000"/>
              <a:gd name="connsiteY12" fmla="*/ 1325865 h 3931877"/>
              <a:gd name="connsiteX13" fmla="*/ 4572000 w 4572000"/>
              <a:gd name="connsiteY13" fmla="*/ 1325865 h 3931877"/>
              <a:gd name="connsiteX14" fmla="*/ 4572000 w 4572000"/>
              <a:gd name="connsiteY14" fmla="*/ 2606011 h 3931877"/>
              <a:gd name="connsiteX15" fmla="*/ 3078836 w 4572000"/>
              <a:gd name="connsiteY15" fmla="*/ 2606011 h 3931877"/>
              <a:gd name="connsiteX16" fmla="*/ 1539801 w 4572000"/>
              <a:gd name="connsiteY16" fmla="*/ 1325865 h 3931877"/>
              <a:gd name="connsiteX17" fmla="*/ 3032965 w 4572000"/>
              <a:gd name="connsiteY17" fmla="*/ 1325865 h 3931877"/>
              <a:gd name="connsiteX18" fmla="*/ 3032965 w 4572000"/>
              <a:gd name="connsiteY18" fmla="*/ 2606011 h 3931877"/>
              <a:gd name="connsiteX19" fmla="*/ 1539801 w 4572000"/>
              <a:gd name="connsiteY19" fmla="*/ 2606011 h 3931877"/>
              <a:gd name="connsiteX20" fmla="*/ 766 w 4572000"/>
              <a:gd name="connsiteY20" fmla="*/ 1325865 h 3931877"/>
              <a:gd name="connsiteX21" fmla="*/ 1493930 w 4572000"/>
              <a:gd name="connsiteY21" fmla="*/ 1325865 h 3931877"/>
              <a:gd name="connsiteX22" fmla="*/ 1493930 w 4572000"/>
              <a:gd name="connsiteY22" fmla="*/ 2606011 h 3931877"/>
              <a:gd name="connsiteX23" fmla="*/ 766 w 4572000"/>
              <a:gd name="connsiteY23" fmla="*/ 2606011 h 3931877"/>
              <a:gd name="connsiteX24" fmla="*/ 3078836 w 4572000"/>
              <a:gd name="connsiteY24" fmla="*/ 0 h 3931877"/>
              <a:gd name="connsiteX25" fmla="*/ 4572000 w 4572000"/>
              <a:gd name="connsiteY25" fmla="*/ 0 h 3931877"/>
              <a:gd name="connsiteX26" fmla="*/ 4572000 w 4572000"/>
              <a:gd name="connsiteY26" fmla="*/ 1280146 h 3931877"/>
              <a:gd name="connsiteX27" fmla="*/ 3078836 w 4572000"/>
              <a:gd name="connsiteY27" fmla="*/ 1280146 h 3931877"/>
              <a:gd name="connsiteX28" fmla="*/ 1539418 w 4572000"/>
              <a:gd name="connsiteY28" fmla="*/ 0 h 3931877"/>
              <a:gd name="connsiteX29" fmla="*/ 3032582 w 4572000"/>
              <a:gd name="connsiteY29" fmla="*/ 0 h 3931877"/>
              <a:gd name="connsiteX30" fmla="*/ 3032582 w 4572000"/>
              <a:gd name="connsiteY30" fmla="*/ 1280146 h 3931877"/>
              <a:gd name="connsiteX31" fmla="*/ 1539418 w 4572000"/>
              <a:gd name="connsiteY31" fmla="*/ 1280146 h 3931877"/>
              <a:gd name="connsiteX32" fmla="*/ 0 w 4572000"/>
              <a:gd name="connsiteY32" fmla="*/ 0 h 3931877"/>
              <a:gd name="connsiteX33" fmla="*/ 1493164 w 4572000"/>
              <a:gd name="connsiteY33" fmla="*/ 0 h 3931877"/>
              <a:gd name="connsiteX34" fmla="*/ 1493164 w 4572000"/>
              <a:gd name="connsiteY34" fmla="*/ 1280146 h 3931877"/>
              <a:gd name="connsiteX35" fmla="*/ 0 w 4572000"/>
              <a:gd name="connsiteY35" fmla="*/ 1280146 h 393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72000" h="3931877">
                <a:moveTo>
                  <a:pt x="3078836" y="2651731"/>
                </a:moveTo>
                <a:lnTo>
                  <a:pt x="4572000" y="2651731"/>
                </a:lnTo>
                <a:lnTo>
                  <a:pt x="4572000" y="3931877"/>
                </a:lnTo>
                <a:lnTo>
                  <a:pt x="3078836" y="3931877"/>
                </a:lnTo>
                <a:close/>
                <a:moveTo>
                  <a:pt x="1540184" y="2651731"/>
                </a:moveTo>
                <a:lnTo>
                  <a:pt x="3033348" y="2651731"/>
                </a:lnTo>
                <a:lnTo>
                  <a:pt x="3033348" y="3931877"/>
                </a:lnTo>
                <a:lnTo>
                  <a:pt x="1540184" y="3931877"/>
                </a:lnTo>
                <a:close/>
                <a:moveTo>
                  <a:pt x="1532" y="2651731"/>
                </a:moveTo>
                <a:lnTo>
                  <a:pt x="1494696" y="2651731"/>
                </a:lnTo>
                <a:lnTo>
                  <a:pt x="1494696" y="3931877"/>
                </a:lnTo>
                <a:lnTo>
                  <a:pt x="1532" y="3931877"/>
                </a:lnTo>
                <a:close/>
                <a:moveTo>
                  <a:pt x="3078836" y="1325865"/>
                </a:moveTo>
                <a:lnTo>
                  <a:pt x="4572000" y="1325865"/>
                </a:lnTo>
                <a:lnTo>
                  <a:pt x="4572000" y="2606011"/>
                </a:lnTo>
                <a:lnTo>
                  <a:pt x="3078836" y="2606011"/>
                </a:lnTo>
                <a:close/>
                <a:moveTo>
                  <a:pt x="1539801" y="1325865"/>
                </a:moveTo>
                <a:lnTo>
                  <a:pt x="3032965" y="1325865"/>
                </a:lnTo>
                <a:lnTo>
                  <a:pt x="3032965" y="2606011"/>
                </a:lnTo>
                <a:lnTo>
                  <a:pt x="1539801" y="2606011"/>
                </a:lnTo>
                <a:close/>
                <a:moveTo>
                  <a:pt x="766" y="1325865"/>
                </a:moveTo>
                <a:lnTo>
                  <a:pt x="1493930" y="1325865"/>
                </a:lnTo>
                <a:lnTo>
                  <a:pt x="1493930" y="2606011"/>
                </a:lnTo>
                <a:lnTo>
                  <a:pt x="766" y="2606011"/>
                </a:lnTo>
                <a:close/>
                <a:moveTo>
                  <a:pt x="3078836" y="0"/>
                </a:moveTo>
                <a:lnTo>
                  <a:pt x="4572000" y="0"/>
                </a:lnTo>
                <a:lnTo>
                  <a:pt x="4572000" y="1280146"/>
                </a:lnTo>
                <a:lnTo>
                  <a:pt x="3078836" y="1280146"/>
                </a:lnTo>
                <a:close/>
                <a:moveTo>
                  <a:pt x="1539418" y="0"/>
                </a:moveTo>
                <a:lnTo>
                  <a:pt x="3032582" y="0"/>
                </a:lnTo>
                <a:lnTo>
                  <a:pt x="3032582" y="1280146"/>
                </a:lnTo>
                <a:lnTo>
                  <a:pt x="1539418" y="1280146"/>
                </a:lnTo>
                <a:close/>
                <a:moveTo>
                  <a:pt x="0" y="0"/>
                </a:moveTo>
                <a:lnTo>
                  <a:pt x="1493164" y="0"/>
                </a:lnTo>
                <a:lnTo>
                  <a:pt x="1493164" y="1280146"/>
                </a:lnTo>
                <a:lnTo>
                  <a:pt x="0" y="1280146"/>
                </a:lnTo>
                <a:close/>
              </a:path>
            </a:pathLst>
          </a:custGeom>
          <a:solidFill>
            <a:schemeClr val="tx2">
              <a:lumMod val="9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963284863"/>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Partnership">
    <p:spTree>
      <p:nvGrpSpPr>
        <p:cNvPr id="1" name=""/>
        <p:cNvGrpSpPr/>
        <p:nvPr/>
      </p:nvGrpSpPr>
      <p:grpSpPr>
        <a:xfrm>
          <a:off x="0" y="0"/>
          <a:ext cx="0" cy="0"/>
          <a:chOff x="0" y="0"/>
          <a:chExt cx="0" cy="0"/>
        </a:xfrm>
      </p:grpSpPr>
      <p:grpSp>
        <p:nvGrpSpPr>
          <p:cNvPr id="21" name="Group 20"/>
          <p:cNvGrpSpPr/>
          <p:nvPr userDrawn="1"/>
        </p:nvGrpSpPr>
        <p:grpSpPr>
          <a:xfrm>
            <a:off x="5331862" y="-30028"/>
            <a:ext cx="1783064" cy="5340714"/>
            <a:chOff x="6743391" y="-40037"/>
            <a:chExt cx="2377418" cy="7120952"/>
          </a:xfrm>
          <a:solidFill>
            <a:schemeClr val="tx2">
              <a:lumMod val="75000"/>
              <a:lumOff val="25000"/>
            </a:schemeClr>
          </a:solidFill>
        </p:grpSpPr>
        <p:sp>
          <p:nvSpPr>
            <p:cNvPr id="22" name="Freeform 21"/>
            <p:cNvSpPr/>
            <p:nvPr/>
          </p:nvSpPr>
          <p:spPr>
            <a:xfrm rot="1200000">
              <a:off x="8197210" y="5091063"/>
              <a:ext cx="365760" cy="1765207"/>
            </a:xfrm>
            <a:custGeom>
              <a:avLst/>
              <a:gdLst>
                <a:gd name="connsiteX0" fmla="*/ 365760 w 365760"/>
                <a:gd name="connsiteY0" fmla="*/ 0 h 1765207"/>
                <a:gd name="connsiteX1" fmla="*/ 365760 w 365760"/>
                <a:gd name="connsiteY1" fmla="*/ 1632082 h 1765207"/>
                <a:gd name="connsiteX2" fmla="*/ 0 w 365760"/>
                <a:gd name="connsiteY2" fmla="*/ 1765207 h 1765207"/>
                <a:gd name="connsiteX3" fmla="*/ 0 w 365760"/>
                <a:gd name="connsiteY3" fmla="*/ 133126 h 1765207"/>
              </a:gdLst>
              <a:ahLst/>
              <a:cxnLst>
                <a:cxn ang="0">
                  <a:pos x="connsiteX0" y="connsiteY0"/>
                </a:cxn>
                <a:cxn ang="0">
                  <a:pos x="connsiteX1" y="connsiteY1"/>
                </a:cxn>
                <a:cxn ang="0">
                  <a:pos x="connsiteX2" y="connsiteY2"/>
                </a:cxn>
                <a:cxn ang="0">
                  <a:pos x="connsiteX3" y="connsiteY3"/>
                </a:cxn>
              </a:cxnLst>
              <a:rect l="l" t="t" r="r" b="b"/>
              <a:pathLst>
                <a:path w="365760" h="1765207">
                  <a:moveTo>
                    <a:pt x="365760" y="0"/>
                  </a:moveTo>
                  <a:lnTo>
                    <a:pt x="365760" y="1632082"/>
                  </a:lnTo>
                  <a:lnTo>
                    <a:pt x="0" y="176520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23" name="Freeform 22"/>
            <p:cNvSpPr/>
            <p:nvPr/>
          </p:nvSpPr>
          <p:spPr>
            <a:xfrm rot="1200000">
              <a:off x="6743391" y="972631"/>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24" name="Freeform 23"/>
            <p:cNvSpPr/>
            <p:nvPr/>
          </p:nvSpPr>
          <p:spPr>
            <a:xfrm rot="1200000">
              <a:off x="7094507" y="2161338"/>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25" name="Freeform 24"/>
            <p:cNvSpPr/>
            <p:nvPr/>
          </p:nvSpPr>
          <p:spPr>
            <a:xfrm rot="1200000">
              <a:off x="8755049" y="-40037"/>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grpSp>
      <p:sp>
        <p:nvSpPr>
          <p:cNvPr id="20" name="Picture Placeholder 19"/>
          <p:cNvSpPr>
            <a:spLocks noGrp="1"/>
          </p:cNvSpPr>
          <p:nvPr userDrawn="1">
            <p:ph type="pic" sz="quarter" idx="10"/>
          </p:nvPr>
        </p:nvSpPr>
        <p:spPr>
          <a:xfrm>
            <a:off x="4800205" y="128154"/>
            <a:ext cx="3475076" cy="4824859"/>
          </a:xfrm>
          <a:custGeom>
            <a:avLst/>
            <a:gdLst>
              <a:gd name="connsiteX0" fmla="*/ 3375866 w 4633435"/>
              <a:gd name="connsiteY0" fmla="*/ 1948335 h 6433145"/>
              <a:gd name="connsiteX1" fmla="*/ 1743529 w 4633435"/>
              <a:gd name="connsiteY1" fmla="*/ 6433145 h 6433145"/>
              <a:gd name="connsiteX2" fmla="*/ 1354296 w 4633435"/>
              <a:gd name="connsiteY2" fmla="*/ 6433145 h 6433145"/>
              <a:gd name="connsiteX3" fmla="*/ 2986632 w 4633435"/>
              <a:gd name="connsiteY3" fmla="*/ 1948336 h 6433145"/>
              <a:gd name="connsiteX4" fmla="*/ 1927309 w 4633435"/>
              <a:gd name="connsiteY4" fmla="*/ 1085245 h 6433145"/>
              <a:gd name="connsiteX5" fmla="*/ 389233 w 4633435"/>
              <a:gd name="connsiteY5" fmla="*/ 5311073 h 6433145"/>
              <a:gd name="connsiteX6" fmla="*/ 0 w 4633435"/>
              <a:gd name="connsiteY6" fmla="*/ 5311073 h 6433145"/>
              <a:gd name="connsiteX7" fmla="*/ 1538076 w 4633435"/>
              <a:gd name="connsiteY7" fmla="*/ 1085245 h 6433145"/>
              <a:gd name="connsiteX8" fmla="*/ 4144614 w 4633435"/>
              <a:gd name="connsiteY8" fmla="*/ 1054143 h 6433145"/>
              <a:gd name="connsiteX9" fmla="*/ 2240188 w 4633435"/>
              <a:gd name="connsiteY9" fmla="*/ 6286513 h 6433145"/>
              <a:gd name="connsiteX10" fmla="*/ 1850955 w 4633435"/>
              <a:gd name="connsiteY10" fmla="*/ 6286512 h 6433145"/>
              <a:gd name="connsiteX11" fmla="*/ 3755381 w 4633435"/>
              <a:gd name="connsiteY11" fmla="*/ 1054144 h 6433145"/>
              <a:gd name="connsiteX12" fmla="*/ 4633435 w 4633435"/>
              <a:gd name="connsiteY12" fmla="*/ 929046 h 6433145"/>
              <a:gd name="connsiteX13" fmla="*/ 2931731 w 4633435"/>
              <a:gd name="connsiteY13" fmla="*/ 5604439 h 6433145"/>
              <a:gd name="connsiteX14" fmla="*/ 2542497 w 4633435"/>
              <a:gd name="connsiteY14" fmla="*/ 5604441 h 6433145"/>
              <a:gd name="connsiteX15" fmla="*/ 4244201 w 4633435"/>
              <a:gd name="connsiteY15" fmla="*/ 929046 h 6433145"/>
              <a:gd name="connsiteX16" fmla="*/ 2556829 w 4633435"/>
              <a:gd name="connsiteY16" fmla="*/ 693359 h 6433145"/>
              <a:gd name="connsiteX17" fmla="*/ 2946062 w 4633435"/>
              <a:gd name="connsiteY17" fmla="*/ 693360 h 6433145"/>
              <a:gd name="connsiteX18" fmla="*/ 1105166 w 4633435"/>
              <a:gd name="connsiteY18" fmla="*/ 5751182 h 6433145"/>
              <a:gd name="connsiteX19" fmla="*/ 715932 w 4633435"/>
              <a:gd name="connsiteY19" fmla="*/ 5751182 h 6433145"/>
              <a:gd name="connsiteX20" fmla="*/ 3117220 w 4633435"/>
              <a:gd name="connsiteY20" fmla="*/ 371622 h 6433145"/>
              <a:gd name="connsiteX21" fmla="*/ 3506455 w 4633435"/>
              <a:gd name="connsiteY21" fmla="*/ 371623 h 6433145"/>
              <a:gd name="connsiteX22" fmla="*/ 1733179 w 4633435"/>
              <a:gd name="connsiteY22" fmla="*/ 5243655 h 6433145"/>
              <a:gd name="connsiteX23" fmla="*/ 1343944 w 4633435"/>
              <a:gd name="connsiteY23" fmla="*/ 5243655 h 6433145"/>
              <a:gd name="connsiteX24" fmla="*/ 2755136 w 4633435"/>
              <a:gd name="connsiteY24" fmla="*/ 0 h 6433145"/>
              <a:gd name="connsiteX25" fmla="*/ 525012 w 4633435"/>
              <a:gd name="connsiteY25" fmla="*/ 6127216 h 6433145"/>
              <a:gd name="connsiteX26" fmla="*/ 135778 w 4633435"/>
              <a:gd name="connsiteY26" fmla="*/ 6127217 h 6433145"/>
              <a:gd name="connsiteX27" fmla="*/ 2365902 w 4633435"/>
              <a:gd name="connsiteY27" fmla="*/ 1 h 643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33435" h="6433145">
                <a:moveTo>
                  <a:pt x="3375866" y="1948335"/>
                </a:moveTo>
                <a:lnTo>
                  <a:pt x="1743529" y="6433145"/>
                </a:lnTo>
                <a:lnTo>
                  <a:pt x="1354296" y="6433145"/>
                </a:lnTo>
                <a:lnTo>
                  <a:pt x="2986632" y="1948336"/>
                </a:lnTo>
                <a:close/>
                <a:moveTo>
                  <a:pt x="1927309" y="1085245"/>
                </a:moveTo>
                <a:lnTo>
                  <a:pt x="389233" y="5311073"/>
                </a:lnTo>
                <a:lnTo>
                  <a:pt x="0" y="5311073"/>
                </a:lnTo>
                <a:lnTo>
                  <a:pt x="1538076" y="1085245"/>
                </a:lnTo>
                <a:close/>
                <a:moveTo>
                  <a:pt x="4144614" y="1054143"/>
                </a:moveTo>
                <a:lnTo>
                  <a:pt x="2240188" y="6286513"/>
                </a:lnTo>
                <a:lnTo>
                  <a:pt x="1850955" y="6286512"/>
                </a:lnTo>
                <a:lnTo>
                  <a:pt x="3755381" y="1054144"/>
                </a:lnTo>
                <a:close/>
                <a:moveTo>
                  <a:pt x="4633435" y="929046"/>
                </a:moveTo>
                <a:lnTo>
                  <a:pt x="2931731" y="5604439"/>
                </a:lnTo>
                <a:lnTo>
                  <a:pt x="2542497" y="5604441"/>
                </a:lnTo>
                <a:lnTo>
                  <a:pt x="4244201" y="929046"/>
                </a:lnTo>
                <a:close/>
                <a:moveTo>
                  <a:pt x="2556829" y="693359"/>
                </a:moveTo>
                <a:lnTo>
                  <a:pt x="2946062" y="693360"/>
                </a:lnTo>
                <a:lnTo>
                  <a:pt x="1105166" y="5751182"/>
                </a:lnTo>
                <a:lnTo>
                  <a:pt x="715932" y="5751182"/>
                </a:lnTo>
                <a:close/>
                <a:moveTo>
                  <a:pt x="3117220" y="371622"/>
                </a:moveTo>
                <a:lnTo>
                  <a:pt x="3506455" y="371623"/>
                </a:lnTo>
                <a:lnTo>
                  <a:pt x="1733179" y="5243655"/>
                </a:lnTo>
                <a:lnTo>
                  <a:pt x="1343944" y="5243655"/>
                </a:lnTo>
                <a:close/>
                <a:moveTo>
                  <a:pt x="2755136" y="0"/>
                </a:moveTo>
                <a:lnTo>
                  <a:pt x="525012" y="6127216"/>
                </a:lnTo>
                <a:lnTo>
                  <a:pt x="135778" y="6127217"/>
                </a:lnTo>
                <a:lnTo>
                  <a:pt x="2365902" y="1"/>
                </a:lnTo>
                <a:close/>
              </a:path>
            </a:pathLst>
          </a:custGeom>
          <a:solidFill>
            <a:schemeClr val="tx2">
              <a:lumMod val="95000"/>
            </a:schemeClr>
          </a:solidFill>
        </p:spPr>
        <p:txBody>
          <a:bodyPr wrap="square" anchor="ctr" anchorCtr="0">
            <a:noAutofit/>
          </a:bodyPr>
          <a:lstStyle>
            <a:lvl1pPr algn="ctr">
              <a:defRPr/>
            </a:lvl1pPr>
          </a:lstStyle>
          <a:p>
            <a:endParaRPr lang="en-US" dirty="0"/>
          </a:p>
        </p:txBody>
      </p:sp>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243253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outHorizontal)">
                                      <p:cBhvr>
                                        <p:cTn id="7" dur="1000"/>
                                        <p:tgtEl>
                                          <p:spTgt spid="21"/>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barn(outHorizontal)">
                                      <p:cBhvr>
                                        <p:cTn id="10"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Products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21" name="Picture Placeholder 16"/>
          <p:cNvSpPr>
            <a:spLocks noGrp="1"/>
          </p:cNvSpPr>
          <p:nvPr>
            <p:ph type="pic" sz="quarter" idx="17"/>
          </p:nvPr>
        </p:nvSpPr>
        <p:spPr>
          <a:xfrm>
            <a:off x="594404" y="1337324"/>
            <a:ext cx="2468880" cy="1645920"/>
          </a:xfrm>
          <a:solidFill>
            <a:schemeClr val="tx2">
              <a:lumMod val="85000"/>
            </a:schemeClr>
          </a:solidFill>
          <a:ln>
            <a:noFill/>
          </a:ln>
        </p:spPr>
        <p:txBody>
          <a:bodyPr anchor="ctr" anchorCtr="0"/>
          <a:lstStyle>
            <a:lvl1pPr algn="ctr">
              <a:defRPr/>
            </a:lvl1pPr>
          </a:lstStyle>
          <a:p>
            <a:endParaRPr lang="en-US" dirty="0"/>
          </a:p>
        </p:txBody>
      </p:sp>
      <p:sp>
        <p:nvSpPr>
          <p:cNvPr id="22" name="Picture Placeholder 16"/>
          <p:cNvSpPr>
            <a:spLocks noGrp="1"/>
          </p:cNvSpPr>
          <p:nvPr>
            <p:ph type="pic" sz="quarter" idx="18"/>
          </p:nvPr>
        </p:nvSpPr>
        <p:spPr>
          <a:xfrm>
            <a:off x="3337547" y="1337324"/>
            <a:ext cx="2468880" cy="1645920"/>
          </a:xfrm>
          <a:solidFill>
            <a:schemeClr val="tx2">
              <a:lumMod val="85000"/>
            </a:schemeClr>
          </a:solidFill>
          <a:ln>
            <a:noFill/>
          </a:ln>
        </p:spPr>
        <p:txBody>
          <a:bodyPr anchor="ctr" anchorCtr="0"/>
          <a:lstStyle>
            <a:lvl1pPr algn="ctr">
              <a:defRPr/>
            </a:lvl1pPr>
          </a:lstStyle>
          <a:p>
            <a:endParaRPr lang="en-US" dirty="0"/>
          </a:p>
        </p:txBody>
      </p:sp>
      <p:sp>
        <p:nvSpPr>
          <p:cNvPr id="23" name="Picture Placeholder 16"/>
          <p:cNvSpPr>
            <a:spLocks noGrp="1"/>
          </p:cNvSpPr>
          <p:nvPr>
            <p:ph type="pic" sz="quarter" idx="19"/>
          </p:nvPr>
        </p:nvSpPr>
        <p:spPr>
          <a:xfrm>
            <a:off x="6080717" y="1337324"/>
            <a:ext cx="2468880" cy="164592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4253199933"/>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Products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11" name="Picture Placeholder 16"/>
          <p:cNvSpPr>
            <a:spLocks noGrp="1"/>
          </p:cNvSpPr>
          <p:nvPr>
            <p:ph type="pic" sz="quarter" idx="15"/>
          </p:nvPr>
        </p:nvSpPr>
        <p:spPr>
          <a:xfrm>
            <a:off x="594404" y="1268744"/>
            <a:ext cx="1920240" cy="1508760"/>
          </a:xfrm>
          <a:solidFill>
            <a:schemeClr val="tx2">
              <a:lumMod val="85000"/>
            </a:schemeClr>
          </a:solidFill>
          <a:ln>
            <a:noFill/>
          </a:ln>
        </p:spPr>
        <p:txBody>
          <a:bodyPr anchor="ctr" anchorCtr="0"/>
          <a:lstStyle>
            <a:lvl1pPr algn="ctr">
              <a:defRPr/>
            </a:lvl1pPr>
          </a:lstStyle>
          <a:p>
            <a:endParaRPr lang="en-US" dirty="0"/>
          </a:p>
        </p:txBody>
      </p:sp>
      <p:sp>
        <p:nvSpPr>
          <p:cNvPr id="12" name="Picture Placeholder 16"/>
          <p:cNvSpPr>
            <a:spLocks noGrp="1"/>
          </p:cNvSpPr>
          <p:nvPr>
            <p:ph type="pic" sz="quarter" idx="16"/>
          </p:nvPr>
        </p:nvSpPr>
        <p:spPr>
          <a:xfrm>
            <a:off x="4709117" y="1268744"/>
            <a:ext cx="1920240" cy="1508760"/>
          </a:xfrm>
          <a:solidFill>
            <a:schemeClr val="tx2">
              <a:lumMod val="85000"/>
            </a:schemeClr>
          </a:solidFill>
          <a:ln>
            <a:noFill/>
          </a:ln>
        </p:spPr>
        <p:txBody>
          <a:bodyPr anchor="ctr" anchorCtr="0"/>
          <a:lstStyle>
            <a:lvl1pPr algn="ctr">
              <a:defRPr/>
            </a:lvl1pPr>
          </a:lstStyle>
          <a:p>
            <a:endParaRPr lang="en-US" dirty="0"/>
          </a:p>
        </p:txBody>
      </p:sp>
      <p:sp>
        <p:nvSpPr>
          <p:cNvPr id="13" name="Picture Placeholder 16"/>
          <p:cNvSpPr>
            <a:spLocks noGrp="1"/>
          </p:cNvSpPr>
          <p:nvPr>
            <p:ph type="pic" sz="quarter" idx="17"/>
          </p:nvPr>
        </p:nvSpPr>
        <p:spPr>
          <a:xfrm>
            <a:off x="594425" y="3051805"/>
            <a:ext cx="1920240" cy="1508760"/>
          </a:xfrm>
          <a:solidFill>
            <a:schemeClr val="tx2">
              <a:lumMod val="85000"/>
            </a:schemeClr>
          </a:solidFill>
          <a:ln>
            <a:noFill/>
          </a:ln>
        </p:spPr>
        <p:txBody>
          <a:bodyPr anchor="ctr" anchorCtr="0"/>
          <a:lstStyle>
            <a:lvl1pPr algn="ctr">
              <a:defRPr/>
            </a:lvl1pPr>
          </a:lstStyle>
          <a:p>
            <a:endParaRPr lang="en-US" dirty="0"/>
          </a:p>
        </p:txBody>
      </p:sp>
      <p:sp>
        <p:nvSpPr>
          <p:cNvPr id="14" name="Picture Placeholder 16"/>
          <p:cNvSpPr>
            <a:spLocks noGrp="1"/>
          </p:cNvSpPr>
          <p:nvPr>
            <p:ph type="pic" sz="quarter" idx="18"/>
          </p:nvPr>
        </p:nvSpPr>
        <p:spPr>
          <a:xfrm>
            <a:off x="4709138" y="3051805"/>
            <a:ext cx="1920240" cy="1508760"/>
          </a:xfrm>
          <a:solidFill>
            <a:schemeClr val="tx2">
              <a:lumMod val="85000"/>
            </a:schemeClr>
          </a:solidFill>
          <a:ln>
            <a:no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2997784151"/>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Detailed Product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15" name="Picture Placeholder 16"/>
          <p:cNvSpPr>
            <a:spLocks noGrp="1"/>
          </p:cNvSpPr>
          <p:nvPr>
            <p:ph type="pic" sz="quarter" idx="15"/>
          </p:nvPr>
        </p:nvSpPr>
        <p:spPr>
          <a:xfrm>
            <a:off x="662963" y="1337288"/>
            <a:ext cx="4389093" cy="3223260"/>
          </a:xfrm>
          <a:solidFill>
            <a:schemeClr val="tx2">
              <a:lumMod val="85000"/>
            </a:schemeClr>
          </a:solidFill>
          <a:ln>
            <a:noFill/>
          </a:ln>
          <a:effectLst/>
        </p:spPr>
        <p:txBody>
          <a:bodyPr anchor="ctr" anchorCtr="0"/>
          <a:lstStyle>
            <a:lvl1pPr algn="ctr">
              <a:defRPr/>
            </a:lvl1pPr>
          </a:lstStyle>
          <a:p>
            <a:endParaRPr lang="en-US" dirty="0"/>
          </a:p>
        </p:txBody>
      </p:sp>
    </p:spTree>
    <p:extLst>
      <p:ext uri="{BB962C8B-B14F-4D97-AF65-F5344CB8AC3E}">
        <p14:creationId xmlns:p14="http://schemas.microsoft.com/office/powerpoint/2010/main" val="2592851127"/>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Services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14" name="Rectangle 13"/>
          <p:cNvSpPr/>
          <p:nvPr userDrawn="1"/>
        </p:nvSpPr>
        <p:spPr>
          <a:xfrm>
            <a:off x="2185438" y="1268978"/>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15" name="Rectangle 14"/>
          <p:cNvSpPr/>
          <p:nvPr userDrawn="1"/>
        </p:nvSpPr>
        <p:spPr>
          <a:xfrm>
            <a:off x="5367506" y="1268978"/>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16" name="Rectangle 15"/>
          <p:cNvSpPr/>
          <p:nvPr userDrawn="1"/>
        </p:nvSpPr>
        <p:spPr>
          <a:xfrm>
            <a:off x="594404" y="2915018"/>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9" name="Rectangle 28"/>
          <p:cNvSpPr/>
          <p:nvPr userDrawn="1"/>
        </p:nvSpPr>
        <p:spPr>
          <a:xfrm>
            <a:off x="3776472" y="2915018"/>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30" name="Rectangle 29"/>
          <p:cNvSpPr/>
          <p:nvPr userDrawn="1"/>
        </p:nvSpPr>
        <p:spPr>
          <a:xfrm>
            <a:off x="6958541" y="2915018"/>
            <a:ext cx="1591056" cy="1645799"/>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32" name="Picture Placeholder 3"/>
          <p:cNvSpPr>
            <a:spLocks noGrp="1"/>
          </p:cNvSpPr>
          <p:nvPr>
            <p:ph type="pic" sz="quarter" idx="14"/>
          </p:nvPr>
        </p:nvSpPr>
        <p:spPr>
          <a:xfrm>
            <a:off x="2185438" y="1268744"/>
            <a:ext cx="1591056" cy="1645920"/>
          </a:xfrm>
          <a:solidFill>
            <a:schemeClr val="tx2">
              <a:lumMod val="85000"/>
            </a:schemeClr>
          </a:solidFill>
        </p:spPr>
        <p:txBody>
          <a:bodyPr anchor="ctr" anchorCtr="0"/>
          <a:lstStyle>
            <a:lvl1pPr algn="ctr">
              <a:defRPr/>
            </a:lvl1pPr>
          </a:lstStyle>
          <a:p>
            <a:endParaRPr lang="en-US" dirty="0"/>
          </a:p>
        </p:txBody>
      </p:sp>
      <p:sp>
        <p:nvSpPr>
          <p:cNvPr id="34" name="Picture Placeholder 3"/>
          <p:cNvSpPr>
            <a:spLocks noGrp="1"/>
          </p:cNvSpPr>
          <p:nvPr>
            <p:ph type="pic" sz="quarter" idx="16"/>
          </p:nvPr>
        </p:nvSpPr>
        <p:spPr>
          <a:xfrm>
            <a:off x="5367506" y="1268780"/>
            <a:ext cx="1591056" cy="1645920"/>
          </a:xfrm>
          <a:solidFill>
            <a:schemeClr val="tx2">
              <a:lumMod val="85000"/>
            </a:schemeClr>
          </a:solidFill>
        </p:spPr>
        <p:txBody>
          <a:bodyPr anchor="ctr" anchorCtr="0"/>
          <a:lstStyle>
            <a:lvl1pPr algn="ctr">
              <a:defRPr/>
            </a:lvl1pPr>
          </a:lstStyle>
          <a:p>
            <a:endParaRPr lang="en-US" dirty="0"/>
          </a:p>
        </p:txBody>
      </p:sp>
      <p:sp>
        <p:nvSpPr>
          <p:cNvPr id="36" name="Picture Placeholder 3"/>
          <p:cNvSpPr>
            <a:spLocks noGrp="1"/>
          </p:cNvSpPr>
          <p:nvPr>
            <p:ph type="pic" sz="quarter" idx="18"/>
          </p:nvPr>
        </p:nvSpPr>
        <p:spPr>
          <a:xfrm>
            <a:off x="594404" y="2914646"/>
            <a:ext cx="1591056" cy="1645920"/>
          </a:xfrm>
          <a:solidFill>
            <a:schemeClr val="tx2">
              <a:lumMod val="85000"/>
            </a:schemeClr>
          </a:solidFill>
        </p:spPr>
        <p:txBody>
          <a:bodyPr anchor="ctr" anchorCtr="0"/>
          <a:lstStyle>
            <a:lvl1pPr algn="ctr">
              <a:defRPr/>
            </a:lvl1pPr>
          </a:lstStyle>
          <a:p>
            <a:endParaRPr lang="en-US" dirty="0"/>
          </a:p>
        </p:txBody>
      </p:sp>
      <p:sp>
        <p:nvSpPr>
          <p:cNvPr id="38" name="Picture Placeholder 3"/>
          <p:cNvSpPr>
            <a:spLocks noGrp="1"/>
          </p:cNvSpPr>
          <p:nvPr>
            <p:ph type="pic" sz="quarter" idx="20"/>
          </p:nvPr>
        </p:nvSpPr>
        <p:spPr>
          <a:xfrm>
            <a:off x="3776472" y="2914682"/>
            <a:ext cx="1591056" cy="1645920"/>
          </a:xfrm>
          <a:solidFill>
            <a:schemeClr val="tx2">
              <a:lumMod val="85000"/>
            </a:schemeClr>
          </a:solidFill>
        </p:spPr>
        <p:txBody>
          <a:bodyPr anchor="ctr" anchorCtr="0"/>
          <a:lstStyle>
            <a:lvl1pPr algn="ctr">
              <a:defRPr/>
            </a:lvl1pPr>
          </a:lstStyle>
          <a:p>
            <a:endParaRPr lang="en-US" dirty="0"/>
          </a:p>
        </p:txBody>
      </p:sp>
      <p:sp>
        <p:nvSpPr>
          <p:cNvPr id="40" name="Picture Placeholder 3"/>
          <p:cNvSpPr>
            <a:spLocks noGrp="1"/>
          </p:cNvSpPr>
          <p:nvPr>
            <p:ph type="pic" sz="quarter" idx="22"/>
          </p:nvPr>
        </p:nvSpPr>
        <p:spPr>
          <a:xfrm>
            <a:off x="6958541" y="2914718"/>
            <a:ext cx="1591056" cy="164592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1050533411"/>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Services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32" name="Picture Placeholder 3"/>
          <p:cNvSpPr>
            <a:spLocks noGrp="1"/>
          </p:cNvSpPr>
          <p:nvPr>
            <p:ph type="pic" sz="quarter" idx="14"/>
          </p:nvPr>
        </p:nvSpPr>
        <p:spPr>
          <a:xfrm>
            <a:off x="594384" y="1268744"/>
            <a:ext cx="1783080" cy="1645920"/>
          </a:xfrm>
          <a:solidFill>
            <a:schemeClr val="tx2">
              <a:lumMod val="85000"/>
            </a:schemeClr>
          </a:solidFill>
          <a:ln>
            <a:solidFill>
              <a:schemeClr val="tx2">
                <a:lumMod val="90000"/>
                <a:lumOff val="10000"/>
              </a:schemeClr>
            </a:solidFill>
          </a:ln>
        </p:spPr>
        <p:txBody>
          <a:bodyPr anchor="ctr" anchorCtr="0"/>
          <a:lstStyle>
            <a:lvl1pPr algn="ctr">
              <a:defRPr/>
            </a:lvl1pPr>
          </a:lstStyle>
          <a:p>
            <a:endParaRPr lang="en-US" dirty="0"/>
          </a:p>
        </p:txBody>
      </p:sp>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23" name="Picture Placeholder 3"/>
          <p:cNvSpPr>
            <a:spLocks noGrp="1"/>
          </p:cNvSpPr>
          <p:nvPr>
            <p:ph type="pic" sz="quarter" idx="15"/>
          </p:nvPr>
        </p:nvSpPr>
        <p:spPr>
          <a:xfrm>
            <a:off x="2377464" y="1268744"/>
            <a:ext cx="1783080" cy="1645920"/>
          </a:xfrm>
          <a:solidFill>
            <a:schemeClr val="tx2">
              <a:lumMod val="85000"/>
            </a:schemeClr>
          </a:solidFill>
          <a:ln>
            <a:solidFill>
              <a:schemeClr val="tx2">
                <a:lumMod val="90000"/>
                <a:lumOff val="10000"/>
              </a:schemeClr>
            </a:solidFill>
          </a:ln>
        </p:spPr>
        <p:txBody>
          <a:bodyPr anchor="ctr" anchorCtr="0"/>
          <a:lstStyle>
            <a:lvl1pPr algn="ctr">
              <a:defRPr/>
            </a:lvl1pPr>
          </a:lstStyle>
          <a:p>
            <a:endParaRPr lang="en-US" dirty="0"/>
          </a:p>
        </p:txBody>
      </p:sp>
      <p:sp>
        <p:nvSpPr>
          <p:cNvPr id="24" name="Picture Placeholder 3"/>
          <p:cNvSpPr>
            <a:spLocks noGrp="1"/>
          </p:cNvSpPr>
          <p:nvPr>
            <p:ph type="pic" sz="quarter" idx="16"/>
          </p:nvPr>
        </p:nvSpPr>
        <p:spPr>
          <a:xfrm>
            <a:off x="594404" y="2914646"/>
            <a:ext cx="3566160" cy="1645920"/>
          </a:xfrm>
          <a:solidFill>
            <a:schemeClr val="tx2">
              <a:lumMod val="85000"/>
            </a:schemeClr>
          </a:solidFill>
          <a:ln>
            <a:solidFill>
              <a:schemeClr val="tx2">
                <a:lumMod val="90000"/>
                <a:lumOff val="10000"/>
              </a:schemeClr>
            </a:solidFill>
          </a:ln>
        </p:spPr>
        <p:txBody>
          <a:bodyPr anchor="ctr" anchorCtr="0"/>
          <a:lstStyle>
            <a:lvl1pPr algn="ctr">
              <a:defRPr/>
            </a:lvl1pPr>
          </a:lstStyle>
          <a:p>
            <a:endParaRPr lang="en-US" dirty="0"/>
          </a:p>
        </p:txBody>
      </p:sp>
    </p:spTree>
    <p:extLst>
      <p:ext uri="{BB962C8B-B14F-4D97-AF65-F5344CB8AC3E}">
        <p14:creationId xmlns:p14="http://schemas.microsoft.com/office/powerpoint/2010/main" val="9631886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9" y="1085850"/>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38" y="4679166"/>
            <a:ext cx="9144001" cy="464344"/>
          </a:xfrm>
          <a:solidFill>
            <a:srgbClr val="FFFF99"/>
          </a:solidFill>
        </p:spPr>
        <p:txBody>
          <a:bodyPr lIns="152156" tIns="76041" rIns="152156" bIns="76041"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988442781"/>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Services Detail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4" name="Picture Placeholder 3"/>
          <p:cNvSpPr>
            <a:spLocks noGrp="1"/>
          </p:cNvSpPr>
          <p:nvPr>
            <p:ph type="pic" sz="quarter" idx="16"/>
          </p:nvPr>
        </p:nvSpPr>
        <p:spPr>
          <a:xfrm>
            <a:off x="594403" y="1268744"/>
            <a:ext cx="1988840" cy="3291840"/>
          </a:xfrm>
          <a:solidFill>
            <a:schemeClr val="tx2">
              <a:lumMod val="85000"/>
            </a:schemeClr>
          </a:solidFill>
          <a:ln>
            <a:noFill/>
          </a:ln>
        </p:spPr>
        <p:txBody>
          <a:bodyPr anchor="ctr" anchorCtr="0"/>
          <a:lstStyle>
            <a:lvl1pPr algn="ctr">
              <a:defRPr/>
            </a:lvl1pPr>
          </a:lstStyle>
          <a:p>
            <a:endParaRPr lang="en-US" dirty="0"/>
          </a:p>
        </p:txBody>
      </p:sp>
      <p:sp>
        <p:nvSpPr>
          <p:cNvPr id="13" name="Picture Placeholder 3"/>
          <p:cNvSpPr>
            <a:spLocks noGrp="1"/>
          </p:cNvSpPr>
          <p:nvPr>
            <p:ph type="pic" sz="quarter" idx="15"/>
          </p:nvPr>
        </p:nvSpPr>
        <p:spPr>
          <a:xfrm>
            <a:off x="4571959" y="1268744"/>
            <a:ext cx="1988840" cy="3291840"/>
          </a:xfrm>
          <a:solidFill>
            <a:schemeClr val="tx2">
              <a:lumMod val="85000"/>
            </a:schemeClr>
          </a:solidFill>
          <a:ln>
            <a:noFill/>
          </a:ln>
        </p:spPr>
        <p:txBody>
          <a:bodyPr anchor="ctr" anchorCtr="0"/>
          <a:lstStyle>
            <a:lvl1pPr algn="ctr">
              <a:defRPr/>
            </a:lvl1pPr>
          </a:lstStyle>
          <a:p>
            <a:endParaRPr lang="en-US" dirty="0"/>
          </a:p>
        </p:txBody>
      </p:sp>
      <p:sp>
        <p:nvSpPr>
          <p:cNvPr id="17"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18" name="Group 17"/>
          <p:cNvGrpSpPr/>
          <p:nvPr userDrawn="1"/>
        </p:nvGrpSpPr>
        <p:grpSpPr>
          <a:xfrm>
            <a:off x="615835" y="695412"/>
            <a:ext cx="377186" cy="68580"/>
            <a:chOff x="792538" y="868707"/>
            <a:chExt cx="502914" cy="91440"/>
          </a:xfrm>
        </p:grpSpPr>
        <p:sp>
          <p:nvSpPr>
            <p:cNvPr id="19" name="Oval 18"/>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6" name="Oval 2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7" name="Oval 2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8" name="Oval 2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516847521"/>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SWOT Analysis">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383409" y="2846066"/>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20" name="Rectangle 19"/>
          <p:cNvSpPr/>
          <p:nvPr userDrawn="1"/>
        </p:nvSpPr>
        <p:spPr>
          <a:xfrm>
            <a:off x="0" y="3188963"/>
            <a:ext cx="9144000" cy="1954536"/>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Tree>
    <p:extLst>
      <p:ext uri="{BB962C8B-B14F-4D97-AF65-F5344CB8AC3E}">
        <p14:creationId xmlns:p14="http://schemas.microsoft.com/office/powerpoint/2010/main" val="1102761614"/>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Portfolio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3200426" y="1131584"/>
            <a:ext cx="2743171" cy="2057400"/>
          </a:xfrm>
          <a:solidFill>
            <a:schemeClr val="tx2">
              <a:lumMod val="85000"/>
            </a:schemeClr>
          </a:solidFill>
          <a:ln w="6350">
            <a:noFill/>
          </a:ln>
        </p:spPr>
        <p:txBody>
          <a:bodyPr anchor="ctr" anchorCtr="0"/>
          <a:lstStyle>
            <a:lvl1pPr algn="ctr">
              <a:defRPr/>
            </a:lvl1pPr>
          </a:lstStyle>
          <a:p>
            <a:endParaRPr lang="en-US" dirty="0"/>
          </a:p>
        </p:txBody>
      </p:sp>
      <p:sp>
        <p:nvSpPr>
          <p:cNvPr id="21" name="Picture Placeholder 3"/>
          <p:cNvSpPr>
            <a:spLocks noGrp="1"/>
          </p:cNvSpPr>
          <p:nvPr>
            <p:ph type="pic" sz="quarter" idx="11"/>
          </p:nvPr>
        </p:nvSpPr>
        <p:spPr>
          <a:xfrm>
            <a:off x="594131" y="2914406"/>
            <a:ext cx="2606293" cy="1783080"/>
          </a:xfrm>
          <a:solidFill>
            <a:schemeClr val="tx2">
              <a:lumMod val="85000"/>
            </a:schemeClr>
          </a:solidFill>
          <a:ln w="6350">
            <a:noFill/>
          </a:ln>
        </p:spPr>
        <p:txBody>
          <a:bodyPr anchor="ctr" anchorCtr="0"/>
          <a:lstStyle>
            <a:lvl1pPr algn="ctr">
              <a:defRPr/>
            </a:lvl1pPr>
          </a:lstStyle>
          <a:p>
            <a:endParaRPr lang="en-US" dirty="0"/>
          </a:p>
        </p:txBody>
      </p:sp>
      <p:sp>
        <p:nvSpPr>
          <p:cNvPr id="22" name="Picture Placeholder 3"/>
          <p:cNvSpPr>
            <a:spLocks noGrp="1"/>
          </p:cNvSpPr>
          <p:nvPr>
            <p:ph type="pic" sz="quarter" idx="12"/>
          </p:nvPr>
        </p:nvSpPr>
        <p:spPr>
          <a:xfrm>
            <a:off x="5943585" y="2914406"/>
            <a:ext cx="2606296" cy="1782819"/>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712966931"/>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Portfolio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32" name="Picture Placeholder 31"/>
          <p:cNvSpPr>
            <a:spLocks noGrp="1"/>
          </p:cNvSpPr>
          <p:nvPr>
            <p:ph type="pic" sz="quarter" idx="10"/>
          </p:nvPr>
        </p:nvSpPr>
        <p:spPr>
          <a:xfrm>
            <a:off x="594405" y="1131588"/>
            <a:ext cx="1988776" cy="1782820"/>
          </a:xfrm>
          <a:custGeom>
            <a:avLst/>
            <a:gdLst>
              <a:gd name="connsiteX0" fmla="*/ 1371571 w 2651701"/>
              <a:gd name="connsiteY0" fmla="*/ 321 h 2377093"/>
              <a:gd name="connsiteX1" fmla="*/ 2651701 w 2651701"/>
              <a:gd name="connsiteY1" fmla="*/ 321 h 2377093"/>
              <a:gd name="connsiteX2" fmla="*/ 2651701 w 2651701"/>
              <a:gd name="connsiteY2" fmla="*/ 2377093 h 2377093"/>
              <a:gd name="connsiteX3" fmla="*/ 1371571 w 2651701"/>
              <a:gd name="connsiteY3" fmla="*/ 2377093 h 2377093"/>
              <a:gd name="connsiteX4" fmla="*/ 0 w 2651701"/>
              <a:gd name="connsiteY4" fmla="*/ 0 h 2377093"/>
              <a:gd name="connsiteX5" fmla="*/ 1280160 w 2651701"/>
              <a:gd name="connsiteY5" fmla="*/ 0 h 2377093"/>
              <a:gd name="connsiteX6" fmla="*/ 1280160 w 2651701"/>
              <a:gd name="connsiteY6" fmla="*/ 2377093 h 2377093"/>
              <a:gd name="connsiteX7" fmla="*/ 0 w 2651701"/>
              <a:gd name="connsiteY7" fmla="*/ 2377093 h 237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1701" h="2377093">
                <a:moveTo>
                  <a:pt x="1371571" y="321"/>
                </a:moveTo>
                <a:lnTo>
                  <a:pt x="2651701" y="321"/>
                </a:lnTo>
                <a:lnTo>
                  <a:pt x="2651701" y="2377093"/>
                </a:lnTo>
                <a:lnTo>
                  <a:pt x="1371571" y="2377093"/>
                </a:lnTo>
                <a:close/>
                <a:moveTo>
                  <a:pt x="0" y="0"/>
                </a:moveTo>
                <a:lnTo>
                  <a:pt x="1280160" y="0"/>
                </a:lnTo>
                <a:lnTo>
                  <a:pt x="1280160" y="2377093"/>
                </a:lnTo>
                <a:lnTo>
                  <a:pt x="0" y="2377093"/>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58" name="Picture Placeholder 57"/>
          <p:cNvSpPr>
            <a:spLocks noGrp="1"/>
          </p:cNvSpPr>
          <p:nvPr>
            <p:ph type="pic" sz="quarter" idx="11"/>
          </p:nvPr>
        </p:nvSpPr>
        <p:spPr>
          <a:xfrm>
            <a:off x="594404" y="2914647"/>
            <a:ext cx="4046175" cy="1714490"/>
          </a:xfrm>
          <a:custGeom>
            <a:avLst/>
            <a:gdLst>
              <a:gd name="connsiteX0" fmla="*/ 2743168 w 5394900"/>
              <a:gd name="connsiteY0" fmla="*/ 1188707 h 2285987"/>
              <a:gd name="connsiteX1" fmla="*/ 4114754 w 5394900"/>
              <a:gd name="connsiteY1" fmla="*/ 1188707 h 2285987"/>
              <a:gd name="connsiteX2" fmla="*/ 4297631 w 5394900"/>
              <a:gd name="connsiteY2" fmla="*/ 1188707 h 2285987"/>
              <a:gd name="connsiteX3" fmla="*/ 5394900 w 5394900"/>
              <a:gd name="connsiteY3" fmla="*/ 1188707 h 2285987"/>
              <a:gd name="connsiteX4" fmla="*/ 5394900 w 5394900"/>
              <a:gd name="connsiteY4" fmla="*/ 2285987 h 2285987"/>
              <a:gd name="connsiteX5" fmla="*/ 4297631 w 5394900"/>
              <a:gd name="connsiteY5" fmla="*/ 2285987 h 2285987"/>
              <a:gd name="connsiteX6" fmla="*/ 4114754 w 5394900"/>
              <a:gd name="connsiteY6" fmla="*/ 2285987 h 2285987"/>
              <a:gd name="connsiteX7" fmla="*/ 2743168 w 5394900"/>
              <a:gd name="connsiteY7" fmla="*/ 2285987 h 2285987"/>
              <a:gd name="connsiteX8" fmla="*/ 1371585 w 5394900"/>
              <a:gd name="connsiteY8" fmla="*/ 1188707 h 2285987"/>
              <a:gd name="connsiteX9" fmla="*/ 2651731 w 5394900"/>
              <a:gd name="connsiteY9" fmla="*/ 1188707 h 2285987"/>
              <a:gd name="connsiteX10" fmla="*/ 2651731 w 5394900"/>
              <a:gd name="connsiteY10" fmla="*/ 2285987 h 2285987"/>
              <a:gd name="connsiteX11" fmla="*/ 1371585 w 5394900"/>
              <a:gd name="connsiteY11" fmla="*/ 2285987 h 2285987"/>
              <a:gd name="connsiteX12" fmla="*/ 0 w 5394900"/>
              <a:gd name="connsiteY12" fmla="*/ 1188707 h 2285987"/>
              <a:gd name="connsiteX13" fmla="*/ 1280146 w 5394900"/>
              <a:gd name="connsiteY13" fmla="*/ 1188707 h 2285987"/>
              <a:gd name="connsiteX14" fmla="*/ 1280146 w 5394900"/>
              <a:gd name="connsiteY14" fmla="*/ 2285987 h 2285987"/>
              <a:gd name="connsiteX15" fmla="*/ 0 w 5394900"/>
              <a:gd name="connsiteY15" fmla="*/ 2285987 h 2285987"/>
              <a:gd name="connsiteX16" fmla="*/ 1371585 w 5394900"/>
              <a:gd name="connsiteY16" fmla="*/ 0 h 2285987"/>
              <a:gd name="connsiteX17" fmla="*/ 5394900 w 5394900"/>
              <a:gd name="connsiteY17" fmla="*/ 0 h 2285987"/>
              <a:gd name="connsiteX18" fmla="*/ 5394900 w 5394900"/>
              <a:gd name="connsiteY18" fmla="*/ 1097280 h 2285987"/>
              <a:gd name="connsiteX19" fmla="*/ 1371585 w 5394900"/>
              <a:gd name="connsiteY19" fmla="*/ 1097280 h 2285987"/>
              <a:gd name="connsiteX20" fmla="*/ 0 w 5394900"/>
              <a:gd name="connsiteY20" fmla="*/ 0 h 2285987"/>
              <a:gd name="connsiteX21" fmla="*/ 1280146 w 5394900"/>
              <a:gd name="connsiteY21" fmla="*/ 0 h 2285987"/>
              <a:gd name="connsiteX22" fmla="*/ 1280146 w 5394900"/>
              <a:gd name="connsiteY22" fmla="*/ 1097280 h 2285987"/>
              <a:gd name="connsiteX23" fmla="*/ 0 w 5394900"/>
              <a:gd name="connsiteY23" fmla="*/ 1097280 h 22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94900" h="2285987">
                <a:moveTo>
                  <a:pt x="2743168" y="1188707"/>
                </a:moveTo>
                <a:lnTo>
                  <a:pt x="4114754" y="1188707"/>
                </a:lnTo>
                <a:lnTo>
                  <a:pt x="4297631" y="1188707"/>
                </a:lnTo>
                <a:lnTo>
                  <a:pt x="5394900" y="1188707"/>
                </a:lnTo>
                <a:lnTo>
                  <a:pt x="5394900" y="2285987"/>
                </a:lnTo>
                <a:lnTo>
                  <a:pt x="4297631" y="2285987"/>
                </a:lnTo>
                <a:lnTo>
                  <a:pt x="4114754" y="2285987"/>
                </a:lnTo>
                <a:lnTo>
                  <a:pt x="2743168" y="2285987"/>
                </a:lnTo>
                <a:close/>
                <a:moveTo>
                  <a:pt x="1371585" y="1188707"/>
                </a:moveTo>
                <a:lnTo>
                  <a:pt x="2651731" y="1188707"/>
                </a:lnTo>
                <a:lnTo>
                  <a:pt x="2651731" y="2285987"/>
                </a:lnTo>
                <a:lnTo>
                  <a:pt x="1371585" y="2285987"/>
                </a:lnTo>
                <a:close/>
                <a:moveTo>
                  <a:pt x="0" y="1188707"/>
                </a:moveTo>
                <a:lnTo>
                  <a:pt x="1280146" y="1188707"/>
                </a:lnTo>
                <a:lnTo>
                  <a:pt x="1280146" y="2285987"/>
                </a:lnTo>
                <a:lnTo>
                  <a:pt x="0" y="2285987"/>
                </a:lnTo>
                <a:close/>
                <a:moveTo>
                  <a:pt x="1371585" y="0"/>
                </a:moveTo>
                <a:lnTo>
                  <a:pt x="5394900" y="0"/>
                </a:lnTo>
                <a:lnTo>
                  <a:pt x="5394900" y="1097280"/>
                </a:lnTo>
                <a:lnTo>
                  <a:pt x="1371585" y="1097280"/>
                </a:lnTo>
                <a:close/>
                <a:moveTo>
                  <a:pt x="0" y="0"/>
                </a:moveTo>
                <a:lnTo>
                  <a:pt x="1280146" y="0"/>
                </a:lnTo>
                <a:lnTo>
                  <a:pt x="1280146" y="1097280"/>
                </a:lnTo>
                <a:lnTo>
                  <a:pt x="0" y="109728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59" name="Picture Placeholder 58"/>
          <p:cNvSpPr>
            <a:spLocks noGrp="1"/>
          </p:cNvSpPr>
          <p:nvPr>
            <p:ph type="pic" sz="quarter" idx="12"/>
          </p:nvPr>
        </p:nvSpPr>
        <p:spPr>
          <a:xfrm>
            <a:off x="4640590" y="1131598"/>
            <a:ext cx="3909299" cy="3497551"/>
          </a:xfrm>
          <a:custGeom>
            <a:avLst/>
            <a:gdLst>
              <a:gd name="connsiteX0" fmla="*/ 1371583 w 5212398"/>
              <a:gd name="connsiteY0" fmla="*/ 3566121 h 4663401"/>
              <a:gd name="connsiteX1" fmla="*/ 2743168 w 5212398"/>
              <a:gd name="connsiteY1" fmla="*/ 3566121 h 4663401"/>
              <a:gd name="connsiteX2" fmla="*/ 3291802 w 5212398"/>
              <a:gd name="connsiteY2" fmla="*/ 3566121 h 4663401"/>
              <a:gd name="connsiteX3" fmla="*/ 5212397 w 5212398"/>
              <a:gd name="connsiteY3" fmla="*/ 3566121 h 4663401"/>
              <a:gd name="connsiteX4" fmla="*/ 5212397 w 5212398"/>
              <a:gd name="connsiteY4" fmla="*/ 4663401 h 4663401"/>
              <a:gd name="connsiteX5" fmla="*/ 3291802 w 5212398"/>
              <a:gd name="connsiteY5" fmla="*/ 4663401 h 4663401"/>
              <a:gd name="connsiteX6" fmla="*/ 2743168 w 5212398"/>
              <a:gd name="connsiteY6" fmla="*/ 4663401 h 4663401"/>
              <a:gd name="connsiteX7" fmla="*/ 1371583 w 5212398"/>
              <a:gd name="connsiteY7" fmla="*/ 4663401 h 4663401"/>
              <a:gd name="connsiteX8" fmla="*/ 0 w 5212398"/>
              <a:gd name="connsiteY8" fmla="*/ 3566121 h 4663401"/>
              <a:gd name="connsiteX9" fmla="*/ 1280146 w 5212398"/>
              <a:gd name="connsiteY9" fmla="*/ 3566121 h 4663401"/>
              <a:gd name="connsiteX10" fmla="*/ 1280146 w 5212398"/>
              <a:gd name="connsiteY10" fmla="*/ 4663401 h 4663401"/>
              <a:gd name="connsiteX11" fmla="*/ 0 w 5212398"/>
              <a:gd name="connsiteY11" fmla="*/ 4663401 h 4663401"/>
              <a:gd name="connsiteX12" fmla="*/ 1371556 w 5212398"/>
              <a:gd name="connsiteY12" fmla="*/ 0 h 4663401"/>
              <a:gd name="connsiteX13" fmla="*/ 5212398 w 5212398"/>
              <a:gd name="connsiteY13" fmla="*/ 0 h 4663401"/>
              <a:gd name="connsiteX14" fmla="*/ 5212398 w 5212398"/>
              <a:gd name="connsiteY14" fmla="*/ 3474694 h 4663401"/>
              <a:gd name="connsiteX15" fmla="*/ 1371556 w 5212398"/>
              <a:gd name="connsiteY15" fmla="*/ 3474694 h 4663401"/>
              <a:gd name="connsiteX16" fmla="*/ 0 w 5212398"/>
              <a:gd name="connsiteY16" fmla="*/ 0 h 4663401"/>
              <a:gd name="connsiteX17" fmla="*/ 1280146 w 5212398"/>
              <a:gd name="connsiteY17" fmla="*/ 0 h 4663401"/>
              <a:gd name="connsiteX18" fmla="*/ 1280146 w 5212398"/>
              <a:gd name="connsiteY18" fmla="*/ 3474694 h 4663401"/>
              <a:gd name="connsiteX19" fmla="*/ 0 w 5212398"/>
              <a:gd name="connsiteY19" fmla="*/ 3474694 h 466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12398" h="4663401">
                <a:moveTo>
                  <a:pt x="1371583" y="3566121"/>
                </a:moveTo>
                <a:lnTo>
                  <a:pt x="2743168" y="3566121"/>
                </a:lnTo>
                <a:lnTo>
                  <a:pt x="3291802" y="3566121"/>
                </a:lnTo>
                <a:lnTo>
                  <a:pt x="5212397" y="3566121"/>
                </a:lnTo>
                <a:lnTo>
                  <a:pt x="5212397" y="4663401"/>
                </a:lnTo>
                <a:lnTo>
                  <a:pt x="3291802" y="4663401"/>
                </a:lnTo>
                <a:lnTo>
                  <a:pt x="2743168" y="4663401"/>
                </a:lnTo>
                <a:lnTo>
                  <a:pt x="1371583" y="4663401"/>
                </a:lnTo>
                <a:close/>
                <a:moveTo>
                  <a:pt x="0" y="3566121"/>
                </a:moveTo>
                <a:lnTo>
                  <a:pt x="1280146" y="3566121"/>
                </a:lnTo>
                <a:lnTo>
                  <a:pt x="1280146" y="4663401"/>
                </a:lnTo>
                <a:lnTo>
                  <a:pt x="0" y="4663401"/>
                </a:lnTo>
                <a:close/>
                <a:moveTo>
                  <a:pt x="1371556" y="0"/>
                </a:moveTo>
                <a:lnTo>
                  <a:pt x="5212398" y="0"/>
                </a:lnTo>
                <a:lnTo>
                  <a:pt x="5212398" y="3474694"/>
                </a:lnTo>
                <a:lnTo>
                  <a:pt x="1371556" y="3474694"/>
                </a:lnTo>
                <a:close/>
                <a:moveTo>
                  <a:pt x="0" y="0"/>
                </a:moveTo>
                <a:lnTo>
                  <a:pt x="1280146" y="0"/>
                </a:lnTo>
                <a:lnTo>
                  <a:pt x="1280146" y="3474694"/>
                </a:lnTo>
                <a:lnTo>
                  <a:pt x="0" y="3474694"/>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366350067"/>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Portfolio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22" name="Picture Placeholder 21"/>
          <p:cNvSpPr>
            <a:spLocks noGrp="1"/>
          </p:cNvSpPr>
          <p:nvPr>
            <p:ph type="pic" sz="quarter" idx="10"/>
          </p:nvPr>
        </p:nvSpPr>
        <p:spPr>
          <a:xfrm>
            <a:off x="594416" y="1131571"/>
            <a:ext cx="7955279" cy="3497556"/>
          </a:xfrm>
          <a:custGeom>
            <a:avLst/>
            <a:gdLst>
              <a:gd name="connsiteX0" fmla="*/ 5349126 w 10607039"/>
              <a:gd name="connsiteY0" fmla="*/ 2926048 h 4663408"/>
              <a:gd name="connsiteX1" fmla="*/ 10606926 w 10607039"/>
              <a:gd name="connsiteY1" fmla="*/ 2926048 h 4663408"/>
              <a:gd name="connsiteX2" fmla="*/ 10606926 w 10607039"/>
              <a:gd name="connsiteY2" fmla="*/ 4663408 h 4663408"/>
              <a:gd name="connsiteX3" fmla="*/ 5349126 w 10607039"/>
              <a:gd name="connsiteY3" fmla="*/ 4663408 h 4663408"/>
              <a:gd name="connsiteX4" fmla="*/ 0 w 10607039"/>
              <a:gd name="connsiteY4" fmla="*/ 2926048 h 4663408"/>
              <a:gd name="connsiteX5" fmla="*/ 5257800 w 10607039"/>
              <a:gd name="connsiteY5" fmla="*/ 2926048 h 4663408"/>
              <a:gd name="connsiteX6" fmla="*/ 5257800 w 10607039"/>
              <a:gd name="connsiteY6" fmla="*/ 4663408 h 4663408"/>
              <a:gd name="connsiteX7" fmla="*/ 0 w 10607039"/>
              <a:gd name="connsiteY7" fmla="*/ 4663408 h 4663408"/>
              <a:gd name="connsiteX8" fmla="*/ 0 w 10607039"/>
              <a:gd name="connsiteY8" fmla="*/ 1920229 h 4663408"/>
              <a:gd name="connsiteX9" fmla="*/ 10607039 w 10607039"/>
              <a:gd name="connsiteY9" fmla="*/ 1920229 h 4663408"/>
              <a:gd name="connsiteX10" fmla="*/ 10607039 w 10607039"/>
              <a:gd name="connsiteY10" fmla="*/ 2834629 h 4663408"/>
              <a:gd name="connsiteX11" fmla="*/ 0 w 10607039"/>
              <a:gd name="connsiteY11" fmla="*/ 2834629 h 4663408"/>
              <a:gd name="connsiteX12" fmla="*/ 0 w 10607039"/>
              <a:gd name="connsiteY12" fmla="*/ 20 h 4663408"/>
              <a:gd name="connsiteX13" fmla="*/ 5257799 w 10607039"/>
              <a:gd name="connsiteY13" fmla="*/ 20 h 4663408"/>
              <a:gd name="connsiteX14" fmla="*/ 5257799 w 10607039"/>
              <a:gd name="connsiteY14" fmla="*/ 1828820 h 4663408"/>
              <a:gd name="connsiteX15" fmla="*/ 0 w 10607039"/>
              <a:gd name="connsiteY15" fmla="*/ 1828820 h 4663408"/>
              <a:gd name="connsiteX16" fmla="*/ 5349124 w 10607039"/>
              <a:gd name="connsiteY16" fmla="*/ 0 h 4663408"/>
              <a:gd name="connsiteX17" fmla="*/ 10606924 w 10607039"/>
              <a:gd name="connsiteY17" fmla="*/ 0 h 4663408"/>
              <a:gd name="connsiteX18" fmla="*/ 10606924 w 10607039"/>
              <a:gd name="connsiteY18" fmla="*/ 1828800 h 4663408"/>
              <a:gd name="connsiteX19" fmla="*/ 5349124 w 10607039"/>
              <a:gd name="connsiteY19" fmla="*/ 1828800 h 466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607039" h="4663408">
                <a:moveTo>
                  <a:pt x="5349126" y="2926048"/>
                </a:moveTo>
                <a:lnTo>
                  <a:pt x="10606926" y="2926048"/>
                </a:lnTo>
                <a:lnTo>
                  <a:pt x="10606926" y="4663408"/>
                </a:lnTo>
                <a:lnTo>
                  <a:pt x="5349126" y="4663408"/>
                </a:lnTo>
                <a:close/>
                <a:moveTo>
                  <a:pt x="0" y="2926048"/>
                </a:moveTo>
                <a:lnTo>
                  <a:pt x="5257800" y="2926048"/>
                </a:lnTo>
                <a:lnTo>
                  <a:pt x="5257800" y="4663408"/>
                </a:lnTo>
                <a:lnTo>
                  <a:pt x="0" y="4663408"/>
                </a:lnTo>
                <a:close/>
                <a:moveTo>
                  <a:pt x="0" y="1920229"/>
                </a:moveTo>
                <a:lnTo>
                  <a:pt x="10607039" y="1920229"/>
                </a:lnTo>
                <a:lnTo>
                  <a:pt x="10607039" y="2834629"/>
                </a:lnTo>
                <a:lnTo>
                  <a:pt x="0" y="2834629"/>
                </a:lnTo>
                <a:close/>
                <a:moveTo>
                  <a:pt x="0" y="20"/>
                </a:moveTo>
                <a:lnTo>
                  <a:pt x="5257799" y="20"/>
                </a:lnTo>
                <a:lnTo>
                  <a:pt x="5257799" y="1828820"/>
                </a:lnTo>
                <a:lnTo>
                  <a:pt x="0" y="1828820"/>
                </a:lnTo>
                <a:close/>
                <a:moveTo>
                  <a:pt x="5349124" y="0"/>
                </a:moveTo>
                <a:lnTo>
                  <a:pt x="10606924" y="0"/>
                </a:lnTo>
                <a:lnTo>
                  <a:pt x="10606924" y="1828800"/>
                </a:lnTo>
                <a:lnTo>
                  <a:pt x="5349124" y="182880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998112168"/>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Portfolio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22" name="Picture Placeholder 21"/>
          <p:cNvSpPr>
            <a:spLocks noGrp="1"/>
          </p:cNvSpPr>
          <p:nvPr>
            <p:ph type="pic" sz="quarter" idx="10"/>
          </p:nvPr>
        </p:nvSpPr>
        <p:spPr>
          <a:xfrm>
            <a:off x="594404" y="1131595"/>
            <a:ext cx="7955280" cy="3497543"/>
          </a:xfrm>
          <a:custGeom>
            <a:avLst/>
            <a:gdLst>
              <a:gd name="connsiteX0" fmla="*/ 2468763 w 10607040"/>
              <a:gd name="connsiteY0" fmla="*/ 3280301 h 4663390"/>
              <a:gd name="connsiteX1" fmla="*/ 10607040 w 10607040"/>
              <a:gd name="connsiteY1" fmla="*/ 3280301 h 4663390"/>
              <a:gd name="connsiteX2" fmla="*/ 10607040 w 10607040"/>
              <a:gd name="connsiteY2" fmla="*/ 4663390 h 4663390"/>
              <a:gd name="connsiteX3" fmla="*/ 2468763 w 10607040"/>
              <a:gd name="connsiteY3" fmla="*/ 4663390 h 4663390"/>
              <a:gd name="connsiteX4" fmla="*/ 0 w 10607040"/>
              <a:gd name="connsiteY4" fmla="*/ 1565939 h 4663390"/>
              <a:gd name="connsiteX5" fmla="*/ 2377440 w 10607040"/>
              <a:gd name="connsiteY5" fmla="*/ 1565939 h 4663390"/>
              <a:gd name="connsiteX6" fmla="*/ 2377440 w 10607040"/>
              <a:gd name="connsiteY6" fmla="*/ 4663390 h 4663390"/>
              <a:gd name="connsiteX7" fmla="*/ 0 w 10607040"/>
              <a:gd name="connsiteY7" fmla="*/ 4663390 h 4663390"/>
              <a:gd name="connsiteX8" fmla="*/ 2468853 w 10607040"/>
              <a:gd name="connsiteY8" fmla="*/ 1554464 h 4663390"/>
              <a:gd name="connsiteX9" fmla="*/ 8046631 w 10607040"/>
              <a:gd name="connsiteY9" fmla="*/ 1554464 h 4663390"/>
              <a:gd name="connsiteX10" fmla="*/ 8046631 w 10607040"/>
              <a:gd name="connsiteY10" fmla="*/ 3188892 h 4663390"/>
              <a:gd name="connsiteX11" fmla="*/ 2468853 w 10607040"/>
              <a:gd name="connsiteY11" fmla="*/ 3188892 h 4663390"/>
              <a:gd name="connsiteX12" fmla="*/ 8138069 w 10607040"/>
              <a:gd name="connsiteY12" fmla="*/ 0 h 4663390"/>
              <a:gd name="connsiteX13" fmla="*/ 10607040 w 10607040"/>
              <a:gd name="connsiteY13" fmla="*/ 0 h 4663390"/>
              <a:gd name="connsiteX14" fmla="*/ 10607040 w 10607040"/>
              <a:gd name="connsiteY14" fmla="*/ 3188892 h 4663390"/>
              <a:gd name="connsiteX15" fmla="*/ 8138069 w 10607040"/>
              <a:gd name="connsiteY15" fmla="*/ 3188892 h 4663390"/>
              <a:gd name="connsiteX16" fmla="*/ 0 w 10607040"/>
              <a:gd name="connsiteY16" fmla="*/ 0 h 4663390"/>
              <a:gd name="connsiteX17" fmla="*/ 8046719 w 10607040"/>
              <a:gd name="connsiteY17" fmla="*/ 0 h 4663390"/>
              <a:gd name="connsiteX18" fmla="*/ 8046719 w 10607040"/>
              <a:gd name="connsiteY18" fmla="*/ 1463040 h 4663390"/>
              <a:gd name="connsiteX19" fmla="*/ 0 w 10607040"/>
              <a:gd name="connsiteY19" fmla="*/ 1463040 h 46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607040" h="4663390">
                <a:moveTo>
                  <a:pt x="2468763" y="3280301"/>
                </a:moveTo>
                <a:lnTo>
                  <a:pt x="10607040" y="3280301"/>
                </a:lnTo>
                <a:lnTo>
                  <a:pt x="10607040" y="4663390"/>
                </a:lnTo>
                <a:lnTo>
                  <a:pt x="2468763" y="4663390"/>
                </a:lnTo>
                <a:close/>
                <a:moveTo>
                  <a:pt x="0" y="1565939"/>
                </a:moveTo>
                <a:lnTo>
                  <a:pt x="2377440" y="1565939"/>
                </a:lnTo>
                <a:lnTo>
                  <a:pt x="2377440" y="4663390"/>
                </a:lnTo>
                <a:lnTo>
                  <a:pt x="0" y="4663390"/>
                </a:lnTo>
                <a:close/>
                <a:moveTo>
                  <a:pt x="2468853" y="1554464"/>
                </a:moveTo>
                <a:lnTo>
                  <a:pt x="8046631" y="1554464"/>
                </a:lnTo>
                <a:lnTo>
                  <a:pt x="8046631" y="3188892"/>
                </a:lnTo>
                <a:lnTo>
                  <a:pt x="2468853" y="3188892"/>
                </a:lnTo>
                <a:close/>
                <a:moveTo>
                  <a:pt x="8138069" y="0"/>
                </a:moveTo>
                <a:lnTo>
                  <a:pt x="10607040" y="0"/>
                </a:lnTo>
                <a:lnTo>
                  <a:pt x="10607040" y="3188892"/>
                </a:lnTo>
                <a:lnTo>
                  <a:pt x="8138069" y="3188892"/>
                </a:lnTo>
                <a:close/>
                <a:moveTo>
                  <a:pt x="0" y="0"/>
                </a:moveTo>
                <a:lnTo>
                  <a:pt x="8046719" y="0"/>
                </a:lnTo>
                <a:lnTo>
                  <a:pt x="8046719" y="1463040"/>
                </a:lnTo>
                <a:lnTo>
                  <a:pt x="0" y="14630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36467314"/>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Portfolio 5">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32" name="Picture Placeholder 31"/>
          <p:cNvSpPr>
            <a:spLocks noGrp="1"/>
          </p:cNvSpPr>
          <p:nvPr>
            <p:ph type="pic" sz="quarter" idx="10"/>
          </p:nvPr>
        </p:nvSpPr>
        <p:spPr>
          <a:xfrm>
            <a:off x="594404" y="1131595"/>
            <a:ext cx="7955193" cy="3497543"/>
          </a:xfrm>
          <a:custGeom>
            <a:avLst/>
            <a:gdLst>
              <a:gd name="connsiteX0" fmla="*/ 6949324 w 10606924"/>
              <a:gd name="connsiteY0" fmla="*/ 3200366 h 4663390"/>
              <a:gd name="connsiteX1" fmla="*/ 10606924 w 10606924"/>
              <a:gd name="connsiteY1" fmla="*/ 3200366 h 4663390"/>
              <a:gd name="connsiteX2" fmla="*/ 10606924 w 10606924"/>
              <a:gd name="connsiteY2" fmla="*/ 4663390 h 4663390"/>
              <a:gd name="connsiteX3" fmla="*/ 6949324 w 10606924"/>
              <a:gd name="connsiteY3" fmla="*/ 4663390 h 4663390"/>
              <a:gd name="connsiteX4" fmla="*/ 5212023 w 10606924"/>
              <a:gd name="connsiteY4" fmla="*/ 3200366 h 4663390"/>
              <a:gd name="connsiteX5" fmla="*/ 6857925 w 10606924"/>
              <a:gd name="connsiteY5" fmla="*/ 3200366 h 4663390"/>
              <a:gd name="connsiteX6" fmla="*/ 6857925 w 10606924"/>
              <a:gd name="connsiteY6" fmla="*/ 4663390 h 4663390"/>
              <a:gd name="connsiteX7" fmla="*/ 5212023 w 10606924"/>
              <a:gd name="connsiteY7" fmla="*/ 4663390 h 4663390"/>
              <a:gd name="connsiteX8" fmla="*/ 0 w 10606924"/>
              <a:gd name="connsiteY8" fmla="*/ 3200366 h 4663390"/>
              <a:gd name="connsiteX9" fmla="*/ 5120640 w 10606924"/>
              <a:gd name="connsiteY9" fmla="*/ 3200366 h 4663390"/>
              <a:gd name="connsiteX10" fmla="*/ 5120640 w 10606924"/>
              <a:gd name="connsiteY10" fmla="*/ 4663390 h 4663390"/>
              <a:gd name="connsiteX11" fmla="*/ 0 w 10606924"/>
              <a:gd name="connsiteY11" fmla="*/ 4663390 h 4663390"/>
              <a:gd name="connsiteX12" fmla="*/ 1 w 10606924"/>
              <a:gd name="connsiteY12" fmla="*/ 1554447 h 4663390"/>
              <a:gd name="connsiteX13" fmla="*/ 6858000 w 10606924"/>
              <a:gd name="connsiteY13" fmla="*/ 1554447 h 4663390"/>
              <a:gd name="connsiteX14" fmla="*/ 6858000 w 10606924"/>
              <a:gd name="connsiteY14" fmla="*/ 3108927 h 4663390"/>
              <a:gd name="connsiteX15" fmla="*/ 1 w 10606924"/>
              <a:gd name="connsiteY15" fmla="*/ 3108927 h 4663390"/>
              <a:gd name="connsiteX16" fmla="*/ 6949324 w 10606924"/>
              <a:gd name="connsiteY16" fmla="*/ 1554446 h 4663390"/>
              <a:gd name="connsiteX17" fmla="*/ 10606924 w 10606924"/>
              <a:gd name="connsiteY17" fmla="*/ 1554446 h 4663390"/>
              <a:gd name="connsiteX18" fmla="*/ 10606924 w 10606924"/>
              <a:gd name="connsiteY18" fmla="*/ 3108926 h 4663390"/>
              <a:gd name="connsiteX19" fmla="*/ 6949324 w 10606924"/>
              <a:gd name="connsiteY19" fmla="*/ 3108926 h 4663390"/>
              <a:gd name="connsiteX20" fmla="*/ 6949324 w 10606924"/>
              <a:gd name="connsiteY20" fmla="*/ 1 h 4663390"/>
              <a:gd name="connsiteX21" fmla="*/ 10606924 w 10606924"/>
              <a:gd name="connsiteY21" fmla="*/ 1 h 4663390"/>
              <a:gd name="connsiteX22" fmla="*/ 10606924 w 10606924"/>
              <a:gd name="connsiteY22" fmla="*/ 1463041 h 4663390"/>
              <a:gd name="connsiteX23" fmla="*/ 6949324 w 10606924"/>
              <a:gd name="connsiteY23" fmla="*/ 1463041 h 4663390"/>
              <a:gd name="connsiteX24" fmla="*/ 1737286 w 10606924"/>
              <a:gd name="connsiteY24" fmla="*/ 0 h 4663390"/>
              <a:gd name="connsiteX25" fmla="*/ 6857925 w 10606924"/>
              <a:gd name="connsiteY25" fmla="*/ 0 h 4663390"/>
              <a:gd name="connsiteX26" fmla="*/ 6857925 w 10606924"/>
              <a:gd name="connsiteY26" fmla="*/ 1463040 h 4663390"/>
              <a:gd name="connsiteX27" fmla="*/ 1737286 w 10606924"/>
              <a:gd name="connsiteY27" fmla="*/ 1463040 h 4663390"/>
              <a:gd name="connsiteX28" fmla="*/ 2 w 10606924"/>
              <a:gd name="connsiteY28" fmla="*/ 0 h 4663390"/>
              <a:gd name="connsiteX29" fmla="*/ 1645904 w 10606924"/>
              <a:gd name="connsiteY29" fmla="*/ 0 h 4663390"/>
              <a:gd name="connsiteX30" fmla="*/ 1645904 w 10606924"/>
              <a:gd name="connsiteY30" fmla="*/ 1463040 h 4663390"/>
              <a:gd name="connsiteX31" fmla="*/ 2 w 10606924"/>
              <a:gd name="connsiteY31" fmla="*/ 1463040 h 46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606924" h="4663390">
                <a:moveTo>
                  <a:pt x="6949324" y="3200366"/>
                </a:moveTo>
                <a:lnTo>
                  <a:pt x="10606924" y="3200366"/>
                </a:lnTo>
                <a:lnTo>
                  <a:pt x="10606924" y="4663390"/>
                </a:lnTo>
                <a:lnTo>
                  <a:pt x="6949324" y="4663390"/>
                </a:lnTo>
                <a:close/>
                <a:moveTo>
                  <a:pt x="5212023" y="3200366"/>
                </a:moveTo>
                <a:lnTo>
                  <a:pt x="6857925" y="3200366"/>
                </a:lnTo>
                <a:lnTo>
                  <a:pt x="6857925" y="4663390"/>
                </a:lnTo>
                <a:lnTo>
                  <a:pt x="5212023" y="4663390"/>
                </a:lnTo>
                <a:close/>
                <a:moveTo>
                  <a:pt x="0" y="3200366"/>
                </a:moveTo>
                <a:lnTo>
                  <a:pt x="5120640" y="3200366"/>
                </a:lnTo>
                <a:lnTo>
                  <a:pt x="5120640" y="4663390"/>
                </a:lnTo>
                <a:lnTo>
                  <a:pt x="0" y="4663390"/>
                </a:lnTo>
                <a:close/>
                <a:moveTo>
                  <a:pt x="1" y="1554447"/>
                </a:moveTo>
                <a:lnTo>
                  <a:pt x="6858000" y="1554447"/>
                </a:lnTo>
                <a:lnTo>
                  <a:pt x="6858000" y="3108927"/>
                </a:lnTo>
                <a:lnTo>
                  <a:pt x="1" y="3108927"/>
                </a:lnTo>
                <a:close/>
                <a:moveTo>
                  <a:pt x="6949324" y="1554446"/>
                </a:moveTo>
                <a:lnTo>
                  <a:pt x="10606924" y="1554446"/>
                </a:lnTo>
                <a:lnTo>
                  <a:pt x="10606924" y="3108926"/>
                </a:lnTo>
                <a:lnTo>
                  <a:pt x="6949324" y="3108926"/>
                </a:lnTo>
                <a:close/>
                <a:moveTo>
                  <a:pt x="6949324" y="1"/>
                </a:moveTo>
                <a:lnTo>
                  <a:pt x="10606924" y="1"/>
                </a:lnTo>
                <a:lnTo>
                  <a:pt x="10606924" y="1463041"/>
                </a:lnTo>
                <a:lnTo>
                  <a:pt x="6949324" y="1463041"/>
                </a:lnTo>
                <a:close/>
                <a:moveTo>
                  <a:pt x="1737286" y="0"/>
                </a:moveTo>
                <a:lnTo>
                  <a:pt x="6857925" y="0"/>
                </a:lnTo>
                <a:lnTo>
                  <a:pt x="6857925" y="1463040"/>
                </a:lnTo>
                <a:lnTo>
                  <a:pt x="1737286" y="1463040"/>
                </a:lnTo>
                <a:close/>
                <a:moveTo>
                  <a:pt x="2" y="0"/>
                </a:moveTo>
                <a:lnTo>
                  <a:pt x="1645904" y="0"/>
                </a:lnTo>
                <a:lnTo>
                  <a:pt x="1645904" y="1463040"/>
                </a:lnTo>
                <a:lnTo>
                  <a:pt x="2" y="14630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270871231"/>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Portfolio 6">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22" name="Picture Placeholder 21"/>
          <p:cNvSpPr>
            <a:spLocks noGrp="1"/>
          </p:cNvSpPr>
          <p:nvPr>
            <p:ph type="pic" sz="quarter" idx="10"/>
          </p:nvPr>
        </p:nvSpPr>
        <p:spPr>
          <a:xfrm>
            <a:off x="594409" y="1131587"/>
            <a:ext cx="7955234" cy="3497541"/>
          </a:xfrm>
          <a:custGeom>
            <a:avLst/>
            <a:gdLst>
              <a:gd name="connsiteX0" fmla="*/ 0 w 10606979"/>
              <a:gd name="connsiteY0" fmla="*/ 2651739 h 4663388"/>
              <a:gd name="connsiteX1" fmla="*/ 2560291 w 10606979"/>
              <a:gd name="connsiteY1" fmla="*/ 2651739 h 4663388"/>
              <a:gd name="connsiteX2" fmla="*/ 2560291 w 10606979"/>
              <a:gd name="connsiteY2" fmla="*/ 4663388 h 4663388"/>
              <a:gd name="connsiteX3" fmla="*/ 0 w 10606979"/>
              <a:gd name="connsiteY3" fmla="*/ 4663388 h 4663388"/>
              <a:gd name="connsiteX4" fmla="*/ 5303459 w 10606979"/>
              <a:gd name="connsiteY4" fmla="*/ 2651731 h 4663388"/>
              <a:gd name="connsiteX5" fmla="*/ 10606979 w 10606979"/>
              <a:gd name="connsiteY5" fmla="*/ 2651731 h 4663388"/>
              <a:gd name="connsiteX6" fmla="*/ 10606979 w 10606979"/>
              <a:gd name="connsiteY6" fmla="*/ 4663388 h 4663388"/>
              <a:gd name="connsiteX7" fmla="*/ 5303459 w 10606979"/>
              <a:gd name="connsiteY7" fmla="*/ 4663388 h 4663388"/>
              <a:gd name="connsiteX8" fmla="*/ 2651702 w 10606979"/>
              <a:gd name="connsiteY8" fmla="*/ 2651730 h 4663388"/>
              <a:gd name="connsiteX9" fmla="*/ 5212020 w 10606979"/>
              <a:gd name="connsiteY9" fmla="*/ 2651730 h 4663388"/>
              <a:gd name="connsiteX10" fmla="*/ 5212020 w 10606979"/>
              <a:gd name="connsiteY10" fmla="*/ 4663388 h 4663388"/>
              <a:gd name="connsiteX11" fmla="*/ 2651701 w 10606979"/>
              <a:gd name="connsiteY11" fmla="*/ 4663388 h 4663388"/>
              <a:gd name="connsiteX12" fmla="*/ 5303459 w 10606979"/>
              <a:gd name="connsiteY12" fmla="*/ 1371571 h 4663388"/>
              <a:gd name="connsiteX13" fmla="*/ 10606979 w 10606979"/>
              <a:gd name="connsiteY13" fmla="*/ 1371571 h 4663388"/>
              <a:gd name="connsiteX14" fmla="*/ 10606979 w 10606979"/>
              <a:gd name="connsiteY14" fmla="*/ 2560291 h 4663388"/>
              <a:gd name="connsiteX15" fmla="*/ 5303459 w 10606979"/>
              <a:gd name="connsiteY15" fmla="*/ 2560291 h 4663388"/>
              <a:gd name="connsiteX16" fmla="*/ 4561 w 10606979"/>
              <a:gd name="connsiteY16" fmla="*/ 6 h 4663388"/>
              <a:gd name="connsiteX17" fmla="*/ 2560292 w 10606979"/>
              <a:gd name="connsiteY17" fmla="*/ 6 h 4663388"/>
              <a:gd name="connsiteX18" fmla="*/ 2560292 w 10606979"/>
              <a:gd name="connsiteY18" fmla="*/ 2560326 h 4663388"/>
              <a:gd name="connsiteX19" fmla="*/ 4561 w 10606979"/>
              <a:gd name="connsiteY19" fmla="*/ 2560326 h 4663388"/>
              <a:gd name="connsiteX20" fmla="*/ 2651702 w 10606979"/>
              <a:gd name="connsiteY20" fmla="*/ 2 h 4663388"/>
              <a:gd name="connsiteX21" fmla="*/ 5212020 w 10606979"/>
              <a:gd name="connsiteY21" fmla="*/ 2 h 4663388"/>
              <a:gd name="connsiteX22" fmla="*/ 5212020 w 10606979"/>
              <a:gd name="connsiteY22" fmla="*/ 2560326 h 4663388"/>
              <a:gd name="connsiteX23" fmla="*/ 2651702 w 10606979"/>
              <a:gd name="connsiteY23" fmla="*/ 2560326 h 4663388"/>
              <a:gd name="connsiteX24" fmla="*/ 7955162 w 10606979"/>
              <a:gd name="connsiteY24" fmla="*/ 1 h 4663388"/>
              <a:gd name="connsiteX25" fmla="*/ 10606922 w 10606979"/>
              <a:gd name="connsiteY25" fmla="*/ 1 h 4663388"/>
              <a:gd name="connsiteX26" fmla="*/ 10606922 w 10606979"/>
              <a:gd name="connsiteY26" fmla="*/ 1280161 h 4663388"/>
              <a:gd name="connsiteX27" fmla="*/ 7955162 w 10606979"/>
              <a:gd name="connsiteY27" fmla="*/ 1280161 h 4663388"/>
              <a:gd name="connsiteX28" fmla="*/ 5303432 w 10606979"/>
              <a:gd name="connsiteY28" fmla="*/ 0 h 4663388"/>
              <a:gd name="connsiteX29" fmla="*/ 7863752 w 10606979"/>
              <a:gd name="connsiteY29" fmla="*/ 0 h 4663388"/>
              <a:gd name="connsiteX30" fmla="*/ 7863752 w 10606979"/>
              <a:gd name="connsiteY30" fmla="*/ 1280160 h 4663388"/>
              <a:gd name="connsiteX31" fmla="*/ 5303432 w 10606979"/>
              <a:gd name="connsiteY31" fmla="*/ 1280160 h 466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606979" h="4663388">
                <a:moveTo>
                  <a:pt x="0" y="2651739"/>
                </a:moveTo>
                <a:lnTo>
                  <a:pt x="2560291" y="2651739"/>
                </a:lnTo>
                <a:lnTo>
                  <a:pt x="2560291" y="4663388"/>
                </a:lnTo>
                <a:lnTo>
                  <a:pt x="0" y="4663388"/>
                </a:lnTo>
                <a:close/>
                <a:moveTo>
                  <a:pt x="5303459" y="2651731"/>
                </a:moveTo>
                <a:lnTo>
                  <a:pt x="10606979" y="2651731"/>
                </a:lnTo>
                <a:lnTo>
                  <a:pt x="10606979" y="4663388"/>
                </a:lnTo>
                <a:lnTo>
                  <a:pt x="5303459" y="4663388"/>
                </a:lnTo>
                <a:close/>
                <a:moveTo>
                  <a:pt x="2651702" y="2651730"/>
                </a:moveTo>
                <a:lnTo>
                  <a:pt x="5212020" y="2651730"/>
                </a:lnTo>
                <a:lnTo>
                  <a:pt x="5212020" y="4663388"/>
                </a:lnTo>
                <a:lnTo>
                  <a:pt x="2651701" y="4663388"/>
                </a:lnTo>
                <a:close/>
                <a:moveTo>
                  <a:pt x="5303459" y="1371571"/>
                </a:moveTo>
                <a:lnTo>
                  <a:pt x="10606979" y="1371571"/>
                </a:lnTo>
                <a:lnTo>
                  <a:pt x="10606979" y="2560291"/>
                </a:lnTo>
                <a:lnTo>
                  <a:pt x="5303459" y="2560291"/>
                </a:lnTo>
                <a:close/>
                <a:moveTo>
                  <a:pt x="4561" y="6"/>
                </a:moveTo>
                <a:lnTo>
                  <a:pt x="2560292" y="6"/>
                </a:lnTo>
                <a:lnTo>
                  <a:pt x="2560292" y="2560326"/>
                </a:lnTo>
                <a:lnTo>
                  <a:pt x="4561" y="2560326"/>
                </a:lnTo>
                <a:close/>
                <a:moveTo>
                  <a:pt x="2651702" y="2"/>
                </a:moveTo>
                <a:lnTo>
                  <a:pt x="5212020" y="2"/>
                </a:lnTo>
                <a:lnTo>
                  <a:pt x="5212020" y="2560326"/>
                </a:lnTo>
                <a:lnTo>
                  <a:pt x="2651702" y="2560326"/>
                </a:lnTo>
                <a:close/>
                <a:moveTo>
                  <a:pt x="7955162" y="1"/>
                </a:moveTo>
                <a:lnTo>
                  <a:pt x="10606922" y="1"/>
                </a:lnTo>
                <a:lnTo>
                  <a:pt x="10606922" y="1280161"/>
                </a:lnTo>
                <a:lnTo>
                  <a:pt x="7955162" y="1280161"/>
                </a:lnTo>
                <a:close/>
                <a:moveTo>
                  <a:pt x="5303432" y="0"/>
                </a:moveTo>
                <a:lnTo>
                  <a:pt x="7863752" y="0"/>
                </a:lnTo>
                <a:lnTo>
                  <a:pt x="7863752" y="1280160"/>
                </a:lnTo>
                <a:lnTo>
                  <a:pt x="5303432" y="128016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93017192"/>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Portfolio 7">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594404" y="1131547"/>
            <a:ext cx="7955280" cy="3497580"/>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4003973599"/>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Portfolio 8">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23" name="Picture Placeholder 22"/>
          <p:cNvSpPr>
            <a:spLocks noGrp="1"/>
          </p:cNvSpPr>
          <p:nvPr>
            <p:ph type="pic" sz="quarter" idx="10"/>
          </p:nvPr>
        </p:nvSpPr>
        <p:spPr>
          <a:xfrm>
            <a:off x="594404" y="1131588"/>
            <a:ext cx="7955280" cy="3497542"/>
          </a:xfrm>
          <a:custGeom>
            <a:avLst/>
            <a:gdLst>
              <a:gd name="connsiteX0" fmla="*/ 0 w 10607040"/>
              <a:gd name="connsiteY0" fmla="*/ 0 h 4663389"/>
              <a:gd name="connsiteX1" fmla="*/ 10607040 w 10607040"/>
              <a:gd name="connsiteY1" fmla="*/ 0 h 4663389"/>
              <a:gd name="connsiteX2" fmla="*/ 10607040 w 10607040"/>
              <a:gd name="connsiteY2" fmla="*/ 2468852 h 4663389"/>
              <a:gd name="connsiteX3" fmla="*/ 10606958 w 10607040"/>
              <a:gd name="connsiteY3" fmla="*/ 2468852 h 4663389"/>
              <a:gd name="connsiteX4" fmla="*/ 10606958 w 10607040"/>
              <a:gd name="connsiteY4" fmla="*/ 2468829 h 4663389"/>
              <a:gd name="connsiteX5" fmla="*/ 7497998 w 10607040"/>
              <a:gd name="connsiteY5" fmla="*/ 2468829 h 4663389"/>
              <a:gd name="connsiteX6" fmla="*/ 7497998 w 10607040"/>
              <a:gd name="connsiteY6" fmla="*/ 4663389 h 4663389"/>
              <a:gd name="connsiteX7" fmla="*/ 0 w 10607040"/>
              <a:gd name="connsiteY7" fmla="*/ 4663389 h 4663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07040" h="4663389">
                <a:moveTo>
                  <a:pt x="0" y="0"/>
                </a:moveTo>
                <a:lnTo>
                  <a:pt x="10607040" y="0"/>
                </a:lnTo>
                <a:lnTo>
                  <a:pt x="10607040" y="2468852"/>
                </a:lnTo>
                <a:lnTo>
                  <a:pt x="10606958" y="2468852"/>
                </a:lnTo>
                <a:lnTo>
                  <a:pt x="10606958" y="2468829"/>
                </a:lnTo>
                <a:lnTo>
                  <a:pt x="7497998" y="2468829"/>
                </a:lnTo>
                <a:lnTo>
                  <a:pt x="7497998" y="4663389"/>
                </a:lnTo>
                <a:lnTo>
                  <a:pt x="0" y="4663389"/>
                </a:lnTo>
                <a:close/>
              </a:path>
            </a:pathLst>
          </a:custGeom>
          <a:solidFill>
            <a:schemeClr val="tx2">
              <a:lumMod val="85000"/>
            </a:schemeClr>
          </a:solidFill>
          <a:ln w="19050">
            <a:solidFill>
              <a:schemeClr val="tx2">
                <a:lumMod val="75000"/>
              </a:schemeClr>
            </a:solidFill>
          </a:ln>
        </p:spPr>
        <p:txBody>
          <a:bodyPr wrap="square" anchor="ctr" anchorCtr="0">
            <a:noAutofit/>
          </a:bodyPr>
          <a:lstStyle>
            <a:lvl1pPr algn="ctr">
              <a:defRPr/>
            </a:lvl1pPr>
          </a:lstStyle>
          <a:p>
            <a:endParaRPr lang="en-US" dirty="0"/>
          </a:p>
        </p:txBody>
      </p:sp>
      <p:sp>
        <p:nvSpPr>
          <p:cNvPr id="26" name="Picture Placeholder 25"/>
          <p:cNvSpPr>
            <a:spLocks noGrp="1"/>
          </p:cNvSpPr>
          <p:nvPr>
            <p:ph type="pic" sz="quarter" idx="12"/>
          </p:nvPr>
        </p:nvSpPr>
        <p:spPr>
          <a:xfrm>
            <a:off x="6286478" y="3051793"/>
            <a:ext cx="2263217" cy="1577336"/>
          </a:xfrm>
          <a:custGeom>
            <a:avLst/>
            <a:gdLst>
              <a:gd name="connsiteX0" fmla="*/ 0 w 3017623"/>
              <a:gd name="connsiteY0" fmla="*/ 0 h 2103114"/>
              <a:gd name="connsiteX1" fmla="*/ 3017623 w 3017623"/>
              <a:gd name="connsiteY1" fmla="*/ 0 h 2103114"/>
              <a:gd name="connsiteX2" fmla="*/ 3017623 w 3017623"/>
              <a:gd name="connsiteY2" fmla="*/ 2103114 h 2103114"/>
              <a:gd name="connsiteX3" fmla="*/ 0 w 3017623"/>
              <a:gd name="connsiteY3" fmla="*/ 2103114 h 2103114"/>
            </a:gdLst>
            <a:ahLst/>
            <a:cxnLst>
              <a:cxn ang="0">
                <a:pos x="connsiteX0" y="connsiteY0"/>
              </a:cxn>
              <a:cxn ang="0">
                <a:pos x="connsiteX1" y="connsiteY1"/>
              </a:cxn>
              <a:cxn ang="0">
                <a:pos x="connsiteX2" y="connsiteY2"/>
              </a:cxn>
              <a:cxn ang="0">
                <a:pos x="connsiteX3" y="connsiteY3"/>
              </a:cxn>
            </a:cxnLst>
            <a:rect l="l" t="t" r="r" b="b"/>
            <a:pathLst>
              <a:path w="3017623" h="2103114">
                <a:moveTo>
                  <a:pt x="0" y="0"/>
                </a:moveTo>
                <a:lnTo>
                  <a:pt x="3017623" y="0"/>
                </a:lnTo>
                <a:lnTo>
                  <a:pt x="3017623" y="2103114"/>
                </a:lnTo>
                <a:lnTo>
                  <a:pt x="0" y="2103114"/>
                </a:lnTo>
                <a:close/>
              </a:path>
            </a:pathLst>
          </a:custGeom>
          <a:solidFill>
            <a:schemeClr val="tx2">
              <a:lumMod val="85000"/>
            </a:schemeClr>
          </a:solidFill>
          <a:ln w="19050">
            <a:solidFill>
              <a:schemeClr val="tx2">
                <a:lumMod val="75000"/>
              </a:schemeClr>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7329077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Color 1 Layout">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591425" y="4730361"/>
            <a:ext cx="1403350" cy="235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384675" y="1326357"/>
            <a:ext cx="8423524" cy="2437590"/>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a:t>Click to edit Master text styles</a:t>
            </a:r>
          </a:p>
        </p:txBody>
      </p:sp>
      <p:sp>
        <p:nvSpPr>
          <p:cNvPr id="9" name="Text Placeholder 8"/>
          <p:cNvSpPr>
            <a:spLocks noGrp="1"/>
          </p:cNvSpPr>
          <p:nvPr>
            <p:ph type="body" sz="quarter" idx="11"/>
          </p:nvPr>
        </p:nvSpPr>
        <p:spPr>
          <a:xfrm>
            <a:off x="384676" y="2414374"/>
            <a:ext cx="5636696"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a:t>Click to edit Master text styles</a:t>
            </a:r>
          </a:p>
        </p:txBody>
      </p:sp>
    </p:spTree>
    <p:extLst>
      <p:ext uri="{BB962C8B-B14F-4D97-AF65-F5344CB8AC3E}">
        <p14:creationId xmlns:p14="http://schemas.microsoft.com/office/powerpoint/2010/main" val="2272825149"/>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Portfolio 9">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195" name="Picture Placeholder 194"/>
          <p:cNvSpPr>
            <a:spLocks noGrp="1"/>
          </p:cNvSpPr>
          <p:nvPr>
            <p:ph type="pic" sz="quarter" idx="10"/>
          </p:nvPr>
        </p:nvSpPr>
        <p:spPr>
          <a:xfrm>
            <a:off x="594404" y="1131595"/>
            <a:ext cx="7955280" cy="3497543"/>
          </a:xfrm>
          <a:custGeom>
            <a:avLst/>
            <a:gdLst>
              <a:gd name="connsiteX0" fmla="*/ 10060944 w 10607040"/>
              <a:gd name="connsiteY0" fmla="*/ 4114757 h 4663390"/>
              <a:gd name="connsiteX1" fmla="*/ 10607040 w 10607040"/>
              <a:gd name="connsiteY1" fmla="*/ 4114757 h 4663390"/>
              <a:gd name="connsiteX2" fmla="*/ 10607040 w 10607040"/>
              <a:gd name="connsiteY2" fmla="*/ 4663390 h 4663390"/>
              <a:gd name="connsiteX3" fmla="*/ 10060944 w 10607040"/>
              <a:gd name="connsiteY3" fmla="*/ 4663390 h 4663390"/>
              <a:gd name="connsiteX4" fmla="*/ 9469256 w 10607040"/>
              <a:gd name="connsiteY4" fmla="*/ 4114756 h 4663390"/>
              <a:gd name="connsiteX5" fmla="*/ 10017896 w 10607040"/>
              <a:gd name="connsiteY5" fmla="*/ 4114756 h 4663390"/>
              <a:gd name="connsiteX6" fmla="*/ 10017896 w 10607040"/>
              <a:gd name="connsiteY6" fmla="*/ 4663390 h 4663390"/>
              <a:gd name="connsiteX7" fmla="*/ 9469256 w 10607040"/>
              <a:gd name="connsiteY7" fmla="*/ 4663390 h 4663390"/>
              <a:gd name="connsiteX8" fmla="*/ 8877570 w 10607040"/>
              <a:gd name="connsiteY8" fmla="*/ 4114756 h 4663390"/>
              <a:gd name="connsiteX9" fmla="*/ 9426210 w 10607040"/>
              <a:gd name="connsiteY9" fmla="*/ 4114756 h 4663390"/>
              <a:gd name="connsiteX10" fmla="*/ 9426210 w 10607040"/>
              <a:gd name="connsiteY10" fmla="*/ 4663390 h 4663390"/>
              <a:gd name="connsiteX11" fmla="*/ 8877570 w 10607040"/>
              <a:gd name="connsiteY11" fmla="*/ 4663390 h 4663390"/>
              <a:gd name="connsiteX12" fmla="*/ 8285884 w 10607040"/>
              <a:gd name="connsiteY12" fmla="*/ 4114756 h 4663390"/>
              <a:gd name="connsiteX13" fmla="*/ 8834524 w 10607040"/>
              <a:gd name="connsiteY13" fmla="*/ 4114756 h 4663390"/>
              <a:gd name="connsiteX14" fmla="*/ 8834524 w 10607040"/>
              <a:gd name="connsiteY14" fmla="*/ 4663390 h 4663390"/>
              <a:gd name="connsiteX15" fmla="*/ 8285884 w 10607040"/>
              <a:gd name="connsiteY15" fmla="*/ 4663390 h 4663390"/>
              <a:gd name="connsiteX16" fmla="*/ 7694198 w 10607040"/>
              <a:gd name="connsiteY16" fmla="*/ 4114756 h 4663390"/>
              <a:gd name="connsiteX17" fmla="*/ 8242838 w 10607040"/>
              <a:gd name="connsiteY17" fmla="*/ 4114756 h 4663390"/>
              <a:gd name="connsiteX18" fmla="*/ 8242838 w 10607040"/>
              <a:gd name="connsiteY18" fmla="*/ 4663390 h 4663390"/>
              <a:gd name="connsiteX19" fmla="*/ 7694198 w 10607040"/>
              <a:gd name="connsiteY19" fmla="*/ 4663390 h 4663390"/>
              <a:gd name="connsiteX20" fmla="*/ 7102512 w 10607040"/>
              <a:gd name="connsiteY20" fmla="*/ 4114756 h 4663390"/>
              <a:gd name="connsiteX21" fmla="*/ 7651152 w 10607040"/>
              <a:gd name="connsiteY21" fmla="*/ 4114756 h 4663390"/>
              <a:gd name="connsiteX22" fmla="*/ 7651152 w 10607040"/>
              <a:gd name="connsiteY22" fmla="*/ 4663390 h 4663390"/>
              <a:gd name="connsiteX23" fmla="*/ 7102512 w 10607040"/>
              <a:gd name="connsiteY23" fmla="*/ 4663390 h 4663390"/>
              <a:gd name="connsiteX24" fmla="*/ 6510826 w 10607040"/>
              <a:gd name="connsiteY24" fmla="*/ 4114756 h 4663390"/>
              <a:gd name="connsiteX25" fmla="*/ 7059466 w 10607040"/>
              <a:gd name="connsiteY25" fmla="*/ 4114756 h 4663390"/>
              <a:gd name="connsiteX26" fmla="*/ 7059466 w 10607040"/>
              <a:gd name="connsiteY26" fmla="*/ 4663390 h 4663390"/>
              <a:gd name="connsiteX27" fmla="*/ 6510826 w 10607040"/>
              <a:gd name="connsiteY27" fmla="*/ 4663390 h 4663390"/>
              <a:gd name="connsiteX28" fmla="*/ 5919140 w 10607040"/>
              <a:gd name="connsiteY28" fmla="*/ 4114756 h 4663390"/>
              <a:gd name="connsiteX29" fmla="*/ 6467780 w 10607040"/>
              <a:gd name="connsiteY29" fmla="*/ 4114756 h 4663390"/>
              <a:gd name="connsiteX30" fmla="*/ 6467780 w 10607040"/>
              <a:gd name="connsiteY30" fmla="*/ 4663390 h 4663390"/>
              <a:gd name="connsiteX31" fmla="*/ 5919140 w 10607040"/>
              <a:gd name="connsiteY31" fmla="*/ 4663390 h 4663390"/>
              <a:gd name="connsiteX32" fmla="*/ 5327454 w 10607040"/>
              <a:gd name="connsiteY32" fmla="*/ 4114756 h 4663390"/>
              <a:gd name="connsiteX33" fmla="*/ 5876094 w 10607040"/>
              <a:gd name="connsiteY33" fmla="*/ 4114756 h 4663390"/>
              <a:gd name="connsiteX34" fmla="*/ 5876094 w 10607040"/>
              <a:gd name="connsiteY34" fmla="*/ 4663390 h 4663390"/>
              <a:gd name="connsiteX35" fmla="*/ 5327454 w 10607040"/>
              <a:gd name="connsiteY35" fmla="*/ 4663390 h 4663390"/>
              <a:gd name="connsiteX36" fmla="*/ 4735768 w 10607040"/>
              <a:gd name="connsiteY36" fmla="*/ 4114756 h 4663390"/>
              <a:gd name="connsiteX37" fmla="*/ 5284408 w 10607040"/>
              <a:gd name="connsiteY37" fmla="*/ 4114756 h 4663390"/>
              <a:gd name="connsiteX38" fmla="*/ 5284408 w 10607040"/>
              <a:gd name="connsiteY38" fmla="*/ 4663390 h 4663390"/>
              <a:gd name="connsiteX39" fmla="*/ 4735768 w 10607040"/>
              <a:gd name="connsiteY39" fmla="*/ 4663390 h 4663390"/>
              <a:gd name="connsiteX40" fmla="*/ 4144082 w 10607040"/>
              <a:gd name="connsiteY40" fmla="*/ 4114756 h 4663390"/>
              <a:gd name="connsiteX41" fmla="*/ 4692722 w 10607040"/>
              <a:gd name="connsiteY41" fmla="*/ 4114756 h 4663390"/>
              <a:gd name="connsiteX42" fmla="*/ 4692722 w 10607040"/>
              <a:gd name="connsiteY42" fmla="*/ 4663390 h 4663390"/>
              <a:gd name="connsiteX43" fmla="*/ 4144082 w 10607040"/>
              <a:gd name="connsiteY43" fmla="*/ 4663390 h 4663390"/>
              <a:gd name="connsiteX44" fmla="*/ 3552396 w 10607040"/>
              <a:gd name="connsiteY44" fmla="*/ 4114756 h 4663390"/>
              <a:gd name="connsiteX45" fmla="*/ 4101036 w 10607040"/>
              <a:gd name="connsiteY45" fmla="*/ 4114756 h 4663390"/>
              <a:gd name="connsiteX46" fmla="*/ 4101036 w 10607040"/>
              <a:gd name="connsiteY46" fmla="*/ 4663390 h 4663390"/>
              <a:gd name="connsiteX47" fmla="*/ 3552396 w 10607040"/>
              <a:gd name="connsiteY47" fmla="*/ 4663390 h 4663390"/>
              <a:gd name="connsiteX48" fmla="*/ 2960712 w 10607040"/>
              <a:gd name="connsiteY48" fmla="*/ 4114756 h 4663390"/>
              <a:gd name="connsiteX49" fmla="*/ 3509350 w 10607040"/>
              <a:gd name="connsiteY49" fmla="*/ 4114756 h 4663390"/>
              <a:gd name="connsiteX50" fmla="*/ 3509350 w 10607040"/>
              <a:gd name="connsiteY50" fmla="*/ 4663390 h 4663390"/>
              <a:gd name="connsiteX51" fmla="*/ 2960712 w 10607040"/>
              <a:gd name="connsiteY51" fmla="*/ 4663390 h 4663390"/>
              <a:gd name="connsiteX52" fmla="*/ 2369026 w 10607040"/>
              <a:gd name="connsiteY52" fmla="*/ 4114756 h 4663390"/>
              <a:gd name="connsiteX53" fmla="*/ 2917666 w 10607040"/>
              <a:gd name="connsiteY53" fmla="*/ 4114756 h 4663390"/>
              <a:gd name="connsiteX54" fmla="*/ 2917666 w 10607040"/>
              <a:gd name="connsiteY54" fmla="*/ 4663390 h 4663390"/>
              <a:gd name="connsiteX55" fmla="*/ 2369026 w 10607040"/>
              <a:gd name="connsiteY55" fmla="*/ 4663390 h 4663390"/>
              <a:gd name="connsiteX56" fmla="*/ 1777340 w 10607040"/>
              <a:gd name="connsiteY56" fmla="*/ 4114756 h 4663390"/>
              <a:gd name="connsiteX57" fmla="*/ 2325980 w 10607040"/>
              <a:gd name="connsiteY57" fmla="*/ 4114756 h 4663390"/>
              <a:gd name="connsiteX58" fmla="*/ 2325980 w 10607040"/>
              <a:gd name="connsiteY58" fmla="*/ 4663390 h 4663390"/>
              <a:gd name="connsiteX59" fmla="*/ 1777340 w 10607040"/>
              <a:gd name="connsiteY59" fmla="*/ 4663390 h 4663390"/>
              <a:gd name="connsiteX60" fmla="*/ 1185654 w 10607040"/>
              <a:gd name="connsiteY60" fmla="*/ 4114756 h 4663390"/>
              <a:gd name="connsiteX61" fmla="*/ 1734294 w 10607040"/>
              <a:gd name="connsiteY61" fmla="*/ 4114756 h 4663390"/>
              <a:gd name="connsiteX62" fmla="*/ 1734294 w 10607040"/>
              <a:gd name="connsiteY62" fmla="*/ 4663390 h 4663390"/>
              <a:gd name="connsiteX63" fmla="*/ 1185654 w 10607040"/>
              <a:gd name="connsiteY63" fmla="*/ 4663390 h 4663390"/>
              <a:gd name="connsiteX64" fmla="*/ 593968 w 10607040"/>
              <a:gd name="connsiteY64" fmla="*/ 4114756 h 4663390"/>
              <a:gd name="connsiteX65" fmla="*/ 1142608 w 10607040"/>
              <a:gd name="connsiteY65" fmla="*/ 4114756 h 4663390"/>
              <a:gd name="connsiteX66" fmla="*/ 1142608 w 10607040"/>
              <a:gd name="connsiteY66" fmla="*/ 4663390 h 4663390"/>
              <a:gd name="connsiteX67" fmla="*/ 593968 w 10607040"/>
              <a:gd name="connsiteY67" fmla="*/ 4663390 h 4663390"/>
              <a:gd name="connsiteX68" fmla="*/ 2283 w 10607040"/>
              <a:gd name="connsiteY68" fmla="*/ 4114756 h 4663390"/>
              <a:gd name="connsiteX69" fmla="*/ 550922 w 10607040"/>
              <a:gd name="connsiteY69" fmla="*/ 4114756 h 4663390"/>
              <a:gd name="connsiteX70" fmla="*/ 550922 w 10607040"/>
              <a:gd name="connsiteY70" fmla="*/ 4663390 h 4663390"/>
              <a:gd name="connsiteX71" fmla="*/ 2283 w 10607040"/>
              <a:gd name="connsiteY71" fmla="*/ 4663390 h 4663390"/>
              <a:gd name="connsiteX72" fmla="*/ 10060564 w 10607040"/>
              <a:gd name="connsiteY72" fmla="*/ 3526933 h 4663390"/>
              <a:gd name="connsiteX73" fmla="*/ 10607040 w 10607040"/>
              <a:gd name="connsiteY73" fmla="*/ 3526933 h 4663390"/>
              <a:gd name="connsiteX74" fmla="*/ 10607040 w 10607040"/>
              <a:gd name="connsiteY74" fmla="*/ 4075573 h 4663390"/>
              <a:gd name="connsiteX75" fmla="*/ 10060564 w 10607040"/>
              <a:gd name="connsiteY75" fmla="*/ 4075573 h 4663390"/>
              <a:gd name="connsiteX76" fmla="*/ 9468876 w 10607040"/>
              <a:gd name="connsiteY76" fmla="*/ 3526932 h 4663390"/>
              <a:gd name="connsiteX77" fmla="*/ 10017516 w 10607040"/>
              <a:gd name="connsiteY77" fmla="*/ 3526932 h 4663390"/>
              <a:gd name="connsiteX78" fmla="*/ 10017516 w 10607040"/>
              <a:gd name="connsiteY78" fmla="*/ 4075572 h 4663390"/>
              <a:gd name="connsiteX79" fmla="*/ 9468876 w 10607040"/>
              <a:gd name="connsiteY79" fmla="*/ 4075572 h 4663390"/>
              <a:gd name="connsiteX80" fmla="*/ 8877190 w 10607040"/>
              <a:gd name="connsiteY80" fmla="*/ 3526932 h 4663390"/>
              <a:gd name="connsiteX81" fmla="*/ 9425830 w 10607040"/>
              <a:gd name="connsiteY81" fmla="*/ 3526932 h 4663390"/>
              <a:gd name="connsiteX82" fmla="*/ 9425830 w 10607040"/>
              <a:gd name="connsiteY82" fmla="*/ 4075572 h 4663390"/>
              <a:gd name="connsiteX83" fmla="*/ 8877190 w 10607040"/>
              <a:gd name="connsiteY83" fmla="*/ 4075572 h 4663390"/>
              <a:gd name="connsiteX84" fmla="*/ 8285504 w 10607040"/>
              <a:gd name="connsiteY84" fmla="*/ 3526932 h 4663390"/>
              <a:gd name="connsiteX85" fmla="*/ 8834144 w 10607040"/>
              <a:gd name="connsiteY85" fmla="*/ 3526932 h 4663390"/>
              <a:gd name="connsiteX86" fmla="*/ 8834144 w 10607040"/>
              <a:gd name="connsiteY86" fmla="*/ 4075572 h 4663390"/>
              <a:gd name="connsiteX87" fmla="*/ 8285504 w 10607040"/>
              <a:gd name="connsiteY87" fmla="*/ 4075572 h 4663390"/>
              <a:gd name="connsiteX88" fmla="*/ 7693818 w 10607040"/>
              <a:gd name="connsiteY88" fmla="*/ 3526932 h 4663390"/>
              <a:gd name="connsiteX89" fmla="*/ 8242458 w 10607040"/>
              <a:gd name="connsiteY89" fmla="*/ 3526932 h 4663390"/>
              <a:gd name="connsiteX90" fmla="*/ 8242458 w 10607040"/>
              <a:gd name="connsiteY90" fmla="*/ 4075572 h 4663390"/>
              <a:gd name="connsiteX91" fmla="*/ 7693818 w 10607040"/>
              <a:gd name="connsiteY91" fmla="*/ 4075572 h 4663390"/>
              <a:gd name="connsiteX92" fmla="*/ 7102132 w 10607040"/>
              <a:gd name="connsiteY92" fmla="*/ 3526932 h 4663390"/>
              <a:gd name="connsiteX93" fmla="*/ 7650772 w 10607040"/>
              <a:gd name="connsiteY93" fmla="*/ 3526932 h 4663390"/>
              <a:gd name="connsiteX94" fmla="*/ 7650772 w 10607040"/>
              <a:gd name="connsiteY94" fmla="*/ 4075572 h 4663390"/>
              <a:gd name="connsiteX95" fmla="*/ 7102132 w 10607040"/>
              <a:gd name="connsiteY95" fmla="*/ 4075572 h 4663390"/>
              <a:gd name="connsiteX96" fmla="*/ 6510446 w 10607040"/>
              <a:gd name="connsiteY96" fmla="*/ 3526932 h 4663390"/>
              <a:gd name="connsiteX97" fmla="*/ 7059086 w 10607040"/>
              <a:gd name="connsiteY97" fmla="*/ 3526932 h 4663390"/>
              <a:gd name="connsiteX98" fmla="*/ 7059086 w 10607040"/>
              <a:gd name="connsiteY98" fmla="*/ 4075572 h 4663390"/>
              <a:gd name="connsiteX99" fmla="*/ 6510446 w 10607040"/>
              <a:gd name="connsiteY99" fmla="*/ 4075572 h 4663390"/>
              <a:gd name="connsiteX100" fmla="*/ 5918760 w 10607040"/>
              <a:gd name="connsiteY100" fmla="*/ 3526932 h 4663390"/>
              <a:gd name="connsiteX101" fmla="*/ 6467400 w 10607040"/>
              <a:gd name="connsiteY101" fmla="*/ 3526932 h 4663390"/>
              <a:gd name="connsiteX102" fmla="*/ 6467400 w 10607040"/>
              <a:gd name="connsiteY102" fmla="*/ 4075572 h 4663390"/>
              <a:gd name="connsiteX103" fmla="*/ 5918760 w 10607040"/>
              <a:gd name="connsiteY103" fmla="*/ 4075572 h 4663390"/>
              <a:gd name="connsiteX104" fmla="*/ 5327074 w 10607040"/>
              <a:gd name="connsiteY104" fmla="*/ 3526932 h 4663390"/>
              <a:gd name="connsiteX105" fmla="*/ 5875714 w 10607040"/>
              <a:gd name="connsiteY105" fmla="*/ 3526932 h 4663390"/>
              <a:gd name="connsiteX106" fmla="*/ 5875714 w 10607040"/>
              <a:gd name="connsiteY106" fmla="*/ 4075572 h 4663390"/>
              <a:gd name="connsiteX107" fmla="*/ 5327074 w 10607040"/>
              <a:gd name="connsiteY107" fmla="*/ 4075572 h 4663390"/>
              <a:gd name="connsiteX108" fmla="*/ 4735388 w 10607040"/>
              <a:gd name="connsiteY108" fmla="*/ 3526932 h 4663390"/>
              <a:gd name="connsiteX109" fmla="*/ 5284028 w 10607040"/>
              <a:gd name="connsiteY109" fmla="*/ 3526932 h 4663390"/>
              <a:gd name="connsiteX110" fmla="*/ 5284028 w 10607040"/>
              <a:gd name="connsiteY110" fmla="*/ 4075572 h 4663390"/>
              <a:gd name="connsiteX111" fmla="*/ 4735388 w 10607040"/>
              <a:gd name="connsiteY111" fmla="*/ 4075572 h 4663390"/>
              <a:gd name="connsiteX112" fmla="*/ 4143702 w 10607040"/>
              <a:gd name="connsiteY112" fmla="*/ 3526932 h 4663390"/>
              <a:gd name="connsiteX113" fmla="*/ 4692342 w 10607040"/>
              <a:gd name="connsiteY113" fmla="*/ 3526932 h 4663390"/>
              <a:gd name="connsiteX114" fmla="*/ 4692342 w 10607040"/>
              <a:gd name="connsiteY114" fmla="*/ 4075572 h 4663390"/>
              <a:gd name="connsiteX115" fmla="*/ 4143702 w 10607040"/>
              <a:gd name="connsiteY115" fmla="*/ 4075572 h 4663390"/>
              <a:gd name="connsiteX116" fmla="*/ 3552016 w 10607040"/>
              <a:gd name="connsiteY116" fmla="*/ 3526932 h 4663390"/>
              <a:gd name="connsiteX117" fmla="*/ 4100656 w 10607040"/>
              <a:gd name="connsiteY117" fmla="*/ 3526932 h 4663390"/>
              <a:gd name="connsiteX118" fmla="*/ 4100656 w 10607040"/>
              <a:gd name="connsiteY118" fmla="*/ 4075572 h 4663390"/>
              <a:gd name="connsiteX119" fmla="*/ 3552016 w 10607040"/>
              <a:gd name="connsiteY119" fmla="*/ 4075572 h 4663390"/>
              <a:gd name="connsiteX120" fmla="*/ 2960336 w 10607040"/>
              <a:gd name="connsiteY120" fmla="*/ 3526932 h 4663390"/>
              <a:gd name="connsiteX121" fmla="*/ 3508970 w 10607040"/>
              <a:gd name="connsiteY121" fmla="*/ 3526932 h 4663390"/>
              <a:gd name="connsiteX122" fmla="*/ 3508970 w 10607040"/>
              <a:gd name="connsiteY122" fmla="*/ 4075572 h 4663390"/>
              <a:gd name="connsiteX123" fmla="*/ 2960336 w 10607040"/>
              <a:gd name="connsiteY123" fmla="*/ 4075572 h 4663390"/>
              <a:gd name="connsiteX124" fmla="*/ 2368649 w 10607040"/>
              <a:gd name="connsiteY124" fmla="*/ 3526932 h 4663390"/>
              <a:gd name="connsiteX125" fmla="*/ 2917290 w 10607040"/>
              <a:gd name="connsiteY125" fmla="*/ 3526932 h 4663390"/>
              <a:gd name="connsiteX126" fmla="*/ 2917290 w 10607040"/>
              <a:gd name="connsiteY126" fmla="*/ 4075572 h 4663390"/>
              <a:gd name="connsiteX127" fmla="*/ 2368649 w 10607040"/>
              <a:gd name="connsiteY127" fmla="*/ 4075572 h 4663390"/>
              <a:gd name="connsiteX128" fmla="*/ 1776962 w 10607040"/>
              <a:gd name="connsiteY128" fmla="*/ 3526932 h 4663390"/>
              <a:gd name="connsiteX129" fmla="*/ 2325603 w 10607040"/>
              <a:gd name="connsiteY129" fmla="*/ 3526932 h 4663390"/>
              <a:gd name="connsiteX130" fmla="*/ 2325603 w 10607040"/>
              <a:gd name="connsiteY130" fmla="*/ 4075572 h 4663390"/>
              <a:gd name="connsiteX131" fmla="*/ 1776962 w 10607040"/>
              <a:gd name="connsiteY131" fmla="*/ 4075572 h 4663390"/>
              <a:gd name="connsiteX132" fmla="*/ 1185277 w 10607040"/>
              <a:gd name="connsiteY132" fmla="*/ 3526932 h 4663390"/>
              <a:gd name="connsiteX133" fmla="*/ 1733917 w 10607040"/>
              <a:gd name="connsiteY133" fmla="*/ 3526932 h 4663390"/>
              <a:gd name="connsiteX134" fmla="*/ 1733917 w 10607040"/>
              <a:gd name="connsiteY134" fmla="*/ 4075572 h 4663390"/>
              <a:gd name="connsiteX135" fmla="*/ 1185277 w 10607040"/>
              <a:gd name="connsiteY135" fmla="*/ 4075572 h 4663390"/>
              <a:gd name="connsiteX136" fmla="*/ 593591 w 10607040"/>
              <a:gd name="connsiteY136" fmla="*/ 3526932 h 4663390"/>
              <a:gd name="connsiteX137" fmla="*/ 1142231 w 10607040"/>
              <a:gd name="connsiteY137" fmla="*/ 3526932 h 4663390"/>
              <a:gd name="connsiteX138" fmla="*/ 1142231 w 10607040"/>
              <a:gd name="connsiteY138" fmla="*/ 4075572 h 4663390"/>
              <a:gd name="connsiteX139" fmla="*/ 593591 w 10607040"/>
              <a:gd name="connsiteY139" fmla="*/ 4075572 h 4663390"/>
              <a:gd name="connsiteX140" fmla="*/ 1905 w 10607040"/>
              <a:gd name="connsiteY140" fmla="*/ 3526932 h 4663390"/>
              <a:gd name="connsiteX141" fmla="*/ 550545 w 10607040"/>
              <a:gd name="connsiteY141" fmla="*/ 3526932 h 4663390"/>
              <a:gd name="connsiteX142" fmla="*/ 550545 w 10607040"/>
              <a:gd name="connsiteY142" fmla="*/ 4075572 h 4663390"/>
              <a:gd name="connsiteX143" fmla="*/ 1905 w 10607040"/>
              <a:gd name="connsiteY143" fmla="*/ 4075572 h 4663390"/>
              <a:gd name="connsiteX144" fmla="*/ 10060184 w 10607040"/>
              <a:gd name="connsiteY144" fmla="*/ 2939111 h 4663390"/>
              <a:gd name="connsiteX145" fmla="*/ 10607040 w 10607040"/>
              <a:gd name="connsiteY145" fmla="*/ 2939111 h 4663390"/>
              <a:gd name="connsiteX146" fmla="*/ 10607040 w 10607040"/>
              <a:gd name="connsiteY146" fmla="*/ 3487751 h 4663390"/>
              <a:gd name="connsiteX147" fmla="*/ 10060184 w 10607040"/>
              <a:gd name="connsiteY147" fmla="*/ 3487751 h 4663390"/>
              <a:gd name="connsiteX148" fmla="*/ 9468496 w 10607040"/>
              <a:gd name="connsiteY148" fmla="*/ 2939110 h 4663390"/>
              <a:gd name="connsiteX149" fmla="*/ 10017136 w 10607040"/>
              <a:gd name="connsiteY149" fmla="*/ 2939110 h 4663390"/>
              <a:gd name="connsiteX150" fmla="*/ 10017136 w 10607040"/>
              <a:gd name="connsiteY150" fmla="*/ 3487750 h 4663390"/>
              <a:gd name="connsiteX151" fmla="*/ 9468496 w 10607040"/>
              <a:gd name="connsiteY151" fmla="*/ 3487750 h 4663390"/>
              <a:gd name="connsiteX152" fmla="*/ 8876810 w 10607040"/>
              <a:gd name="connsiteY152" fmla="*/ 2939110 h 4663390"/>
              <a:gd name="connsiteX153" fmla="*/ 9425450 w 10607040"/>
              <a:gd name="connsiteY153" fmla="*/ 2939110 h 4663390"/>
              <a:gd name="connsiteX154" fmla="*/ 9425450 w 10607040"/>
              <a:gd name="connsiteY154" fmla="*/ 3487750 h 4663390"/>
              <a:gd name="connsiteX155" fmla="*/ 8876810 w 10607040"/>
              <a:gd name="connsiteY155" fmla="*/ 3487750 h 4663390"/>
              <a:gd name="connsiteX156" fmla="*/ 8285124 w 10607040"/>
              <a:gd name="connsiteY156" fmla="*/ 2939110 h 4663390"/>
              <a:gd name="connsiteX157" fmla="*/ 8833764 w 10607040"/>
              <a:gd name="connsiteY157" fmla="*/ 2939110 h 4663390"/>
              <a:gd name="connsiteX158" fmla="*/ 8833764 w 10607040"/>
              <a:gd name="connsiteY158" fmla="*/ 3487750 h 4663390"/>
              <a:gd name="connsiteX159" fmla="*/ 8285124 w 10607040"/>
              <a:gd name="connsiteY159" fmla="*/ 3487750 h 4663390"/>
              <a:gd name="connsiteX160" fmla="*/ 7693438 w 10607040"/>
              <a:gd name="connsiteY160" fmla="*/ 2939110 h 4663390"/>
              <a:gd name="connsiteX161" fmla="*/ 8242078 w 10607040"/>
              <a:gd name="connsiteY161" fmla="*/ 2939110 h 4663390"/>
              <a:gd name="connsiteX162" fmla="*/ 8242078 w 10607040"/>
              <a:gd name="connsiteY162" fmla="*/ 3487750 h 4663390"/>
              <a:gd name="connsiteX163" fmla="*/ 7693438 w 10607040"/>
              <a:gd name="connsiteY163" fmla="*/ 3487750 h 4663390"/>
              <a:gd name="connsiteX164" fmla="*/ 7101752 w 10607040"/>
              <a:gd name="connsiteY164" fmla="*/ 2939110 h 4663390"/>
              <a:gd name="connsiteX165" fmla="*/ 7650392 w 10607040"/>
              <a:gd name="connsiteY165" fmla="*/ 2939110 h 4663390"/>
              <a:gd name="connsiteX166" fmla="*/ 7650392 w 10607040"/>
              <a:gd name="connsiteY166" fmla="*/ 3487750 h 4663390"/>
              <a:gd name="connsiteX167" fmla="*/ 7101752 w 10607040"/>
              <a:gd name="connsiteY167" fmla="*/ 3487750 h 4663390"/>
              <a:gd name="connsiteX168" fmla="*/ 6510066 w 10607040"/>
              <a:gd name="connsiteY168" fmla="*/ 2939110 h 4663390"/>
              <a:gd name="connsiteX169" fmla="*/ 7058706 w 10607040"/>
              <a:gd name="connsiteY169" fmla="*/ 2939110 h 4663390"/>
              <a:gd name="connsiteX170" fmla="*/ 7058706 w 10607040"/>
              <a:gd name="connsiteY170" fmla="*/ 3487750 h 4663390"/>
              <a:gd name="connsiteX171" fmla="*/ 6510066 w 10607040"/>
              <a:gd name="connsiteY171" fmla="*/ 3487750 h 4663390"/>
              <a:gd name="connsiteX172" fmla="*/ 5918380 w 10607040"/>
              <a:gd name="connsiteY172" fmla="*/ 2939110 h 4663390"/>
              <a:gd name="connsiteX173" fmla="*/ 6467020 w 10607040"/>
              <a:gd name="connsiteY173" fmla="*/ 2939110 h 4663390"/>
              <a:gd name="connsiteX174" fmla="*/ 6467020 w 10607040"/>
              <a:gd name="connsiteY174" fmla="*/ 3487750 h 4663390"/>
              <a:gd name="connsiteX175" fmla="*/ 5918380 w 10607040"/>
              <a:gd name="connsiteY175" fmla="*/ 3487750 h 4663390"/>
              <a:gd name="connsiteX176" fmla="*/ 5326694 w 10607040"/>
              <a:gd name="connsiteY176" fmla="*/ 2939110 h 4663390"/>
              <a:gd name="connsiteX177" fmla="*/ 5875334 w 10607040"/>
              <a:gd name="connsiteY177" fmla="*/ 2939110 h 4663390"/>
              <a:gd name="connsiteX178" fmla="*/ 5875334 w 10607040"/>
              <a:gd name="connsiteY178" fmla="*/ 3487750 h 4663390"/>
              <a:gd name="connsiteX179" fmla="*/ 5326694 w 10607040"/>
              <a:gd name="connsiteY179" fmla="*/ 3487750 h 4663390"/>
              <a:gd name="connsiteX180" fmla="*/ 4735008 w 10607040"/>
              <a:gd name="connsiteY180" fmla="*/ 2939110 h 4663390"/>
              <a:gd name="connsiteX181" fmla="*/ 5283648 w 10607040"/>
              <a:gd name="connsiteY181" fmla="*/ 2939110 h 4663390"/>
              <a:gd name="connsiteX182" fmla="*/ 5283648 w 10607040"/>
              <a:gd name="connsiteY182" fmla="*/ 3487750 h 4663390"/>
              <a:gd name="connsiteX183" fmla="*/ 4735008 w 10607040"/>
              <a:gd name="connsiteY183" fmla="*/ 3487750 h 4663390"/>
              <a:gd name="connsiteX184" fmla="*/ 4143322 w 10607040"/>
              <a:gd name="connsiteY184" fmla="*/ 2939110 h 4663390"/>
              <a:gd name="connsiteX185" fmla="*/ 4691962 w 10607040"/>
              <a:gd name="connsiteY185" fmla="*/ 2939110 h 4663390"/>
              <a:gd name="connsiteX186" fmla="*/ 4691962 w 10607040"/>
              <a:gd name="connsiteY186" fmla="*/ 3487750 h 4663390"/>
              <a:gd name="connsiteX187" fmla="*/ 4143322 w 10607040"/>
              <a:gd name="connsiteY187" fmla="*/ 3487750 h 4663390"/>
              <a:gd name="connsiteX188" fmla="*/ 3551636 w 10607040"/>
              <a:gd name="connsiteY188" fmla="*/ 2939110 h 4663390"/>
              <a:gd name="connsiteX189" fmla="*/ 4100276 w 10607040"/>
              <a:gd name="connsiteY189" fmla="*/ 2939110 h 4663390"/>
              <a:gd name="connsiteX190" fmla="*/ 4100276 w 10607040"/>
              <a:gd name="connsiteY190" fmla="*/ 3487750 h 4663390"/>
              <a:gd name="connsiteX191" fmla="*/ 3551636 w 10607040"/>
              <a:gd name="connsiteY191" fmla="*/ 3487750 h 4663390"/>
              <a:gd name="connsiteX192" fmla="*/ 2959959 w 10607040"/>
              <a:gd name="connsiteY192" fmla="*/ 2939110 h 4663390"/>
              <a:gd name="connsiteX193" fmla="*/ 3508590 w 10607040"/>
              <a:gd name="connsiteY193" fmla="*/ 2939110 h 4663390"/>
              <a:gd name="connsiteX194" fmla="*/ 3508590 w 10607040"/>
              <a:gd name="connsiteY194" fmla="*/ 3487750 h 4663390"/>
              <a:gd name="connsiteX195" fmla="*/ 2959959 w 10607040"/>
              <a:gd name="connsiteY195" fmla="*/ 3487750 h 4663390"/>
              <a:gd name="connsiteX196" fmla="*/ 2368272 w 10607040"/>
              <a:gd name="connsiteY196" fmla="*/ 2939110 h 4663390"/>
              <a:gd name="connsiteX197" fmla="*/ 2916913 w 10607040"/>
              <a:gd name="connsiteY197" fmla="*/ 2939110 h 4663390"/>
              <a:gd name="connsiteX198" fmla="*/ 2916913 w 10607040"/>
              <a:gd name="connsiteY198" fmla="*/ 3487750 h 4663390"/>
              <a:gd name="connsiteX199" fmla="*/ 2368272 w 10607040"/>
              <a:gd name="connsiteY199" fmla="*/ 3487750 h 4663390"/>
              <a:gd name="connsiteX200" fmla="*/ 1776585 w 10607040"/>
              <a:gd name="connsiteY200" fmla="*/ 2939110 h 4663390"/>
              <a:gd name="connsiteX201" fmla="*/ 2325226 w 10607040"/>
              <a:gd name="connsiteY201" fmla="*/ 2939110 h 4663390"/>
              <a:gd name="connsiteX202" fmla="*/ 2325226 w 10607040"/>
              <a:gd name="connsiteY202" fmla="*/ 3487750 h 4663390"/>
              <a:gd name="connsiteX203" fmla="*/ 1776585 w 10607040"/>
              <a:gd name="connsiteY203" fmla="*/ 3487750 h 4663390"/>
              <a:gd name="connsiteX204" fmla="*/ 1184899 w 10607040"/>
              <a:gd name="connsiteY204" fmla="*/ 2939110 h 4663390"/>
              <a:gd name="connsiteX205" fmla="*/ 1733539 w 10607040"/>
              <a:gd name="connsiteY205" fmla="*/ 2939110 h 4663390"/>
              <a:gd name="connsiteX206" fmla="*/ 1733539 w 10607040"/>
              <a:gd name="connsiteY206" fmla="*/ 3487750 h 4663390"/>
              <a:gd name="connsiteX207" fmla="*/ 1184899 w 10607040"/>
              <a:gd name="connsiteY207" fmla="*/ 3487750 h 4663390"/>
              <a:gd name="connsiteX208" fmla="*/ 593213 w 10607040"/>
              <a:gd name="connsiteY208" fmla="*/ 2939110 h 4663390"/>
              <a:gd name="connsiteX209" fmla="*/ 1141853 w 10607040"/>
              <a:gd name="connsiteY209" fmla="*/ 2939110 h 4663390"/>
              <a:gd name="connsiteX210" fmla="*/ 1141853 w 10607040"/>
              <a:gd name="connsiteY210" fmla="*/ 3487750 h 4663390"/>
              <a:gd name="connsiteX211" fmla="*/ 593213 w 10607040"/>
              <a:gd name="connsiteY211" fmla="*/ 3487750 h 4663390"/>
              <a:gd name="connsiteX212" fmla="*/ 1528 w 10607040"/>
              <a:gd name="connsiteY212" fmla="*/ 2939110 h 4663390"/>
              <a:gd name="connsiteX213" fmla="*/ 550168 w 10607040"/>
              <a:gd name="connsiteY213" fmla="*/ 2939110 h 4663390"/>
              <a:gd name="connsiteX214" fmla="*/ 550168 w 10607040"/>
              <a:gd name="connsiteY214" fmla="*/ 3487750 h 4663390"/>
              <a:gd name="connsiteX215" fmla="*/ 1528 w 10607040"/>
              <a:gd name="connsiteY215" fmla="*/ 3487750 h 4663390"/>
              <a:gd name="connsiteX216" fmla="*/ 10059804 w 10607040"/>
              <a:gd name="connsiteY216" fmla="*/ 2351289 h 4663390"/>
              <a:gd name="connsiteX217" fmla="*/ 10607040 w 10607040"/>
              <a:gd name="connsiteY217" fmla="*/ 2351289 h 4663390"/>
              <a:gd name="connsiteX218" fmla="*/ 10607040 w 10607040"/>
              <a:gd name="connsiteY218" fmla="*/ 2899929 h 4663390"/>
              <a:gd name="connsiteX219" fmla="*/ 10059804 w 10607040"/>
              <a:gd name="connsiteY219" fmla="*/ 2899929 h 4663390"/>
              <a:gd name="connsiteX220" fmla="*/ 9468116 w 10607040"/>
              <a:gd name="connsiteY220" fmla="*/ 2351288 h 4663390"/>
              <a:gd name="connsiteX221" fmla="*/ 10016756 w 10607040"/>
              <a:gd name="connsiteY221" fmla="*/ 2351288 h 4663390"/>
              <a:gd name="connsiteX222" fmla="*/ 10016756 w 10607040"/>
              <a:gd name="connsiteY222" fmla="*/ 2899928 h 4663390"/>
              <a:gd name="connsiteX223" fmla="*/ 9468116 w 10607040"/>
              <a:gd name="connsiteY223" fmla="*/ 2899928 h 4663390"/>
              <a:gd name="connsiteX224" fmla="*/ 8876430 w 10607040"/>
              <a:gd name="connsiteY224" fmla="*/ 2351288 h 4663390"/>
              <a:gd name="connsiteX225" fmla="*/ 9425070 w 10607040"/>
              <a:gd name="connsiteY225" fmla="*/ 2351288 h 4663390"/>
              <a:gd name="connsiteX226" fmla="*/ 9425070 w 10607040"/>
              <a:gd name="connsiteY226" fmla="*/ 2899928 h 4663390"/>
              <a:gd name="connsiteX227" fmla="*/ 8876430 w 10607040"/>
              <a:gd name="connsiteY227" fmla="*/ 2899928 h 4663390"/>
              <a:gd name="connsiteX228" fmla="*/ 8284744 w 10607040"/>
              <a:gd name="connsiteY228" fmla="*/ 2351288 h 4663390"/>
              <a:gd name="connsiteX229" fmla="*/ 8833384 w 10607040"/>
              <a:gd name="connsiteY229" fmla="*/ 2351288 h 4663390"/>
              <a:gd name="connsiteX230" fmla="*/ 8833384 w 10607040"/>
              <a:gd name="connsiteY230" fmla="*/ 2899928 h 4663390"/>
              <a:gd name="connsiteX231" fmla="*/ 8284744 w 10607040"/>
              <a:gd name="connsiteY231" fmla="*/ 2899928 h 4663390"/>
              <a:gd name="connsiteX232" fmla="*/ 7693058 w 10607040"/>
              <a:gd name="connsiteY232" fmla="*/ 2351288 h 4663390"/>
              <a:gd name="connsiteX233" fmla="*/ 8241698 w 10607040"/>
              <a:gd name="connsiteY233" fmla="*/ 2351288 h 4663390"/>
              <a:gd name="connsiteX234" fmla="*/ 8241698 w 10607040"/>
              <a:gd name="connsiteY234" fmla="*/ 2899928 h 4663390"/>
              <a:gd name="connsiteX235" fmla="*/ 7693058 w 10607040"/>
              <a:gd name="connsiteY235" fmla="*/ 2899928 h 4663390"/>
              <a:gd name="connsiteX236" fmla="*/ 7101372 w 10607040"/>
              <a:gd name="connsiteY236" fmla="*/ 2351288 h 4663390"/>
              <a:gd name="connsiteX237" fmla="*/ 7650012 w 10607040"/>
              <a:gd name="connsiteY237" fmla="*/ 2351288 h 4663390"/>
              <a:gd name="connsiteX238" fmla="*/ 7650012 w 10607040"/>
              <a:gd name="connsiteY238" fmla="*/ 2899928 h 4663390"/>
              <a:gd name="connsiteX239" fmla="*/ 7101372 w 10607040"/>
              <a:gd name="connsiteY239" fmla="*/ 2899928 h 4663390"/>
              <a:gd name="connsiteX240" fmla="*/ 6509686 w 10607040"/>
              <a:gd name="connsiteY240" fmla="*/ 2351288 h 4663390"/>
              <a:gd name="connsiteX241" fmla="*/ 7058326 w 10607040"/>
              <a:gd name="connsiteY241" fmla="*/ 2351288 h 4663390"/>
              <a:gd name="connsiteX242" fmla="*/ 7058326 w 10607040"/>
              <a:gd name="connsiteY242" fmla="*/ 2899928 h 4663390"/>
              <a:gd name="connsiteX243" fmla="*/ 6509686 w 10607040"/>
              <a:gd name="connsiteY243" fmla="*/ 2899928 h 4663390"/>
              <a:gd name="connsiteX244" fmla="*/ 5918000 w 10607040"/>
              <a:gd name="connsiteY244" fmla="*/ 2351288 h 4663390"/>
              <a:gd name="connsiteX245" fmla="*/ 6466640 w 10607040"/>
              <a:gd name="connsiteY245" fmla="*/ 2351288 h 4663390"/>
              <a:gd name="connsiteX246" fmla="*/ 6466640 w 10607040"/>
              <a:gd name="connsiteY246" fmla="*/ 2899928 h 4663390"/>
              <a:gd name="connsiteX247" fmla="*/ 5918000 w 10607040"/>
              <a:gd name="connsiteY247" fmla="*/ 2899928 h 4663390"/>
              <a:gd name="connsiteX248" fmla="*/ 5326314 w 10607040"/>
              <a:gd name="connsiteY248" fmla="*/ 2351288 h 4663390"/>
              <a:gd name="connsiteX249" fmla="*/ 5874954 w 10607040"/>
              <a:gd name="connsiteY249" fmla="*/ 2351288 h 4663390"/>
              <a:gd name="connsiteX250" fmla="*/ 5874954 w 10607040"/>
              <a:gd name="connsiteY250" fmla="*/ 2899928 h 4663390"/>
              <a:gd name="connsiteX251" fmla="*/ 5326314 w 10607040"/>
              <a:gd name="connsiteY251" fmla="*/ 2899928 h 4663390"/>
              <a:gd name="connsiteX252" fmla="*/ 4734628 w 10607040"/>
              <a:gd name="connsiteY252" fmla="*/ 2351288 h 4663390"/>
              <a:gd name="connsiteX253" fmla="*/ 5283268 w 10607040"/>
              <a:gd name="connsiteY253" fmla="*/ 2351288 h 4663390"/>
              <a:gd name="connsiteX254" fmla="*/ 5283268 w 10607040"/>
              <a:gd name="connsiteY254" fmla="*/ 2899928 h 4663390"/>
              <a:gd name="connsiteX255" fmla="*/ 4734628 w 10607040"/>
              <a:gd name="connsiteY255" fmla="*/ 2899928 h 4663390"/>
              <a:gd name="connsiteX256" fmla="*/ 4142942 w 10607040"/>
              <a:gd name="connsiteY256" fmla="*/ 2351288 h 4663390"/>
              <a:gd name="connsiteX257" fmla="*/ 4691582 w 10607040"/>
              <a:gd name="connsiteY257" fmla="*/ 2351288 h 4663390"/>
              <a:gd name="connsiteX258" fmla="*/ 4691582 w 10607040"/>
              <a:gd name="connsiteY258" fmla="*/ 2899928 h 4663390"/>
              <a:gd name="connsiteX259" fmla="*/ 4142942 w 10607040"/>
              <a:gd name="connsiteY259" fmla="*/ 2899928 h 4663390"/>
              <a:gd name="connsiteX260" fmla="*/ 3551256 w 10607040"/>
              <a:gd name="connsiteY260" fmla="*/ 2351288 h 4663390"/>
              <a:gd name="connsiteX261" fmla="*/ 4099896 w 10607040"/>
              <a:gd name="connsiteY261" fmla="*/ 2351288 h 4663390"/>
              <a:gd name="connsiteX262" fmla="*/ 4099896 w 10607040"/>
              <a:gd name="connsiteY262" fmla="*/ 2899928 h 4663390"/>
              <a:gd name="connsiteX263" fmla="*/ 3551256 w 10607040"/>
              <a:gd name="connsiteY263" fmla="*/ 2899928 h 4663390"/>
              <a:gd name="connsiteX264" fmla="*/ 2959583 w 10607040"/>
              <a:gd name="connsiteY264" fmla="*/ 2351288 h 4663390"/>
              <a:gd name="connsiteX265" fmla="*/ 3508210 w 10607040"/>
              <a:gd name="connsiteY265" fmla="*/ 2351288 h 4663390"/>
              <a:gd name="connsiteX266" fmla="*/ 3508210 w 10607040"/>
              <a:gd name="connsiteY266" fmla="*/ 2899928 h 4663390"/>
              <a:gd name="connsiteX267" fmla="*/ 2959583 w 10607040"/>
              <a:gd name="connsiteY267" fmla="*/ 2899928 h 4663390"/>
              <a:gd name="connsiteX268" fmla="*/ 2367895 w 10607040"/>
              <a:gd name="connsiteY268" fmla="*/ 2351288 h 4663390"/>
              <a:gd name="connsiteX269" fmla="*/ 2916537 w 10607040"/>
              <a:gd name="connsiteY269" fmla="*/ 2351288 h 4663390"/>
              <a:gd name="connsiteX270" fmla="*/ 2916537 w 10607040"/>
              <a:gd name="connsiteY270" fmla="*/ 2899928 h 4663390"/>
              <a:gd name="connsiteX271" fmla="*/ 2367895 w 10607040"/>
              <a:gd name="connsiteY271" fmla="*/ 2899928 h 4663390"/>
              <a:gd name="connsiteX272" fmla="*/ 1776207 w 10607040"/>
              <a:gd name="connsiteY272" fmla="*/ 2351288 h 4663390"/>
              <a:gd name="connsiteX273" fmla="*/ 2324849 w 10607040"/>
              <a:gd name="connsiteY273" fmla="*/ 2351288 h 4663390"/>
              <a:gd name="connsiteX274" fmla="*/ 2324849 w 10607040"/>
              <a:gd name="connsiteY274" fmla="*/ 2899928 h 4663390"/>
              <a:gd name="connsiteX275" fmla="*/ 1776207 w 10607040"/>
              <a:gd name="connsiteY275" fmla="*/ 2899928 h 4663390"/>
              <a:gd name="connsiteX276" fmla="*/ 1184522 w 10607040"/>
              <a:gd name="connsiteY276" fmla="*/ 2351288 h 4663390"/>
              <a:gd name="connsiteX277" fmla="*/ 1733161 w 10607040"/>
              <a:gd name="connsiteY277" fmla="*/ 2351288 h 4663390"/>
              <a:gd name="connsiteX278" fmla="*/ 1733161 w 10607040"/>
              <a:gd name="connsiteY278" fmla="*/ 2899928 h 4663390"/>
              <a:gd name="connsiteX279" fmla="*/ 1184522 w 10607040"/>
              <a:gd name="connsiteY279" fmla="*/ 2899928 h 4663390"/>
              <a:gd name="connsiteX280" fmla="*/ 592836 w 10607040"/>
              <a:gd name="connsiteY280" fmla="*/ 2351288 h 4663390"/>
              <a:gd name="connsiteX281" fmla="*/ 1141476 w 10607040"/>
              <a:gd name="connsiteY281" fmla="*/ 2351288 h 4663390"/>
              <a:gd name="connsiteX282" fmla="*/ 1141476 w 10607040"/>
              <a:gd name="connsiteY282" fmla="*/ 2899928 h 4663390"/>
              <a:gd name="connsiteX283" fmla="*/ 592836 w 10607040"/>
              <a:gd name="connsiteY283" fmla="*/ 2899928 h 4663390"/>
              <a:gd name="connsiteX284" fmla="*/ 1150 w 10607040"/>
              <a:gd name="connsiteY284" fmla="*/ 2351288 h 4663390"/>
              <a:gd name="connsiteX285" fmla="*/ 549790 w 10607040"/>
              <a:gd name="connsiteY285" fmla="*/ 2351288 h 4663390"/>
              <a:gd name="connsiteX286" fmla="*/ 549790 w 10607040"/>
              <a:gd name="connsiteY286" fmla="*/ 2899928 h 4663390"/>
              <a:gd name="connsiteX287" fmla="*/ 1150 w 10607040"/>
              <a:gd name="connsiteY287" fmla="*/ 2899928 h 4663390"/>
              <a:gd name="connsiteX288" fmla="*/ 10059424 w 10607040"/>
              <a:gd name="connsiteY288" fmla="*/ 1763467 h 4663390"/>
              <a:gd name="connsiteX289" fmla="*/ 10607040 w 10607040"/>
              <a:gd name="connsiteY289" fmla="*/ 1763467 h 4663390"/>
              <a:gd name="connsiteX290" fmla="*/ 10607040 w 10607040"/>
              <a:gd name="connsiteY290" fmla="*/ 2312107 h 4663390"/>
              <a:gd name="connsiteX291" fmla="*/ 10059424 w 10607040"/>
              <a:gd name="connsiteY291" fmla="*/ 2312107 h 4663390"/>
              <a:gd name="connsiteX292" fmla="*/ 9467736 w 10607040"/>
              <a:gd name="connsiteY292" fmla="*/ 1763466 h 4663390"/>
              <a:gd name="connsiteX293" fmla="*/ 10016376 w 10607040"/>
              <a:gd name="connsiteY293" fmla="*/ 1763466 h 4663390"/>
              <a:gd name="connsiteX294" fmla="*/ 10016376 w 10607040"/>
              <a:gd name="connsiteY294" fmla="*/ 2312106 h 4663390"/>
              <a:gd name="connsiteX295" fmla="*/ 9467736 w 10607040"/>
              <a:gd name="connsiteY295" fmla="*/ 2312106 h 4663390"/>
              <a:gd name="connsiteX296" fmla="*/ 8876050 w 10607040"/>
              <a:gd name="connsiteY296" fmla="*/ 1763466 h 4663390"/>
              <a:gd name="connsiteX297" fmla="*/ 9424690 w 10607040"/>
              <a:gd name="connsiteY297" fmla="*/ 1763466 h 4663390"/>
              <a:gd name="connsiteX298" fmla="*/ 9424690 w 10607040"/>
              <a:gd name="connsiteY298" fmla="*/ 2312106 h 4663390"/>
              <a:gd name="connsiteX299" fmla="*/ 8876050 w 10607040"/>
              <a:gd name="connsiteY299" fmla="*/ 2312106 h 4663390"/>
              <a:gd name="connsiteX300" fmla="*/ 8284364 w 10607040"/>
              <a:gd name="connsiteY300" fmla="*/ 1763466 h 4663390"/>
              <a:gd name="connsiteX301" fmla="*/ 8833004 w 10607040"/>
              <a:gd name="connsiteY301" fmla="*/ 1763466 h 4663390"/>
              <a:gd name="connsiteX302" fmla="*/ 8833004 w 10607040"/>
              <a:gd name="connsiteY302" fmla="*/ 2312106 h 4663390"/>
              <a:gd name="connsiteX303" fmla="*/ 8284364 w 10607040"/>
              <a:gd name="connsiteY303" fmla="*/ 2312106 h 4663390"/>
              <a:gd name="connsiteX304" fmla="*/ 7692678 w 10607040"/>
              <a:gd name="connsiteY304" fmla="*/ 1763466 h 4663390"/>
              <a:gd name="connsiteX305" fmla="*/ 8241318 w 10607040"/>
              <a:gd name="connsiteY305" fmla="*/ 1763466 h 4663390"/>
              <a:gd name="connsiteX306" fmla="*/ 8241318 w 10607040"/>
              <a:gd name="connsiteY306" fmla="*/ 2312106 h 4663390"/>
              <a:gd name="connsiteX307" fmla="*/ 7692678 w 10607040"/>
              <a:gd name="connsiteY307" fmla="*/ 2312106 h 4663390"/>
              <a:gd name="connsiteX308" fmla="*/ 7100992 w 10607040"/>
              <a:gd name="connsiteY308" fmla="*/ 1763466 h 4663390"/>
              <a:gd name="connsiteX309" fmla="*/ 7649632 w 10607040"/>
              <a:gd name="connsiteY309" fmla="*/ 1763466 h 4663390"/>
              <a:gd name="connsiteX310" fmla="*/ 7649632 w 10607040"/>
              <a:gd name="connsiteY310" fmla="*/ 2312106 h 4663390"/>
              <a:gd name="connsiteX311" fmla="*/ 7100992 w 10607040"/>
              <a:gd name="connsiteY311" fmla="*/ 2312106 h 4663390"/>
              <a:gd name="connsiteX312" fmla="*/ 6509306 w 10607040"/>
              <a:gd name="connsiteY312" fmla="*/ 1763466 h 4663390"/>
              <a:gd name="connsiteX313" fmla="*/ 7057946 w 10607040"/>
              <a:gd name="connsiteY313" fmla="*/ 1763466 h 4663390"/>
              <a:gd name="connsiteX314" fmla="*/ 7057946 w 10607040"/>
              <a:gd name="connsiteY314" fmla="*/ 2312106 h 4663390"/>
              <a:gd name="connsiteX315" fmla="*/ 6509306 w 10607040"/>
              <a:gd name="connsiteY315" fmla="*/ 2312106 h 4663390"/>
              <a:gd name="connsiteX316" fmla="*/ 5917620 w 10607040"/>
              <a:gd name="connsiteY316" fmla="*/ 1763466 h 4663390"/>
              <a:gd name="connsiteX317" fmla="*/ 6466260 w 10607040"/>
              <a:gd name="connsiteY317" fmla="*/ 1763466 h 4663390"/>
              <a:gd name="connsiteX318" fmla="*/ 6466260 w 10607040"/>
              <a:gd name="connsiteY318" fmla="*/ 2312106 h 4663390"/>
              <a:gd name="connsiteX319" fmla="*/ 5917620 w 10607040"/>
              <a:gd name="connsiteY319" fmla="*/ 2312106 h 4663390"/>
              <a:gd name="connsiteX320" fmla="*/ 5325934 w 10607040"/>
              <a:gd name="connsiteY320" fmla="*/ 1763466 h 4663390"/>
              <a:gd name="connsiteX321" fmla="*/ 5874574 w 10607040"/>
              <a:gd name="connsiteY321" fmla="*/ 1763466 h 4663390"/>
              <a:gd name="connsiteX322" fmla="*/ 5874574 w 10607040"/>
              <a:gd name="connsiteY322" fmla="*/ 2312106 h 4663390"/>
              <a:gd name="connsiteX323" fmla="*/ 5325934 w 10607040"/>
              <a:gd name="connsiteY323" fmla="*/ 2312106 h 4663390"/>
              <a:gd name="connsiteX324" fmla="*/ 4734248 w 10607040"/>
              <a:gd name="connsiteY324" fmla="*/ 1763466 h 4663390"/>
              <a:gd name="connsiteX325" fmla="*/ 5282888 w 10607040"/>
              <a:gd name="connsiteY325" fmla="*/ 1763466 h 4663390"/>
              <a:gd name="connsiteX326" fmla="*/ 5282888 w 10607040"/>
              <a:gd name="connsiteY326" fmla="*/ 2312106 h 4663390"/>
              <a:gd name="connsiteX327" fmla="*/ 4734248 w 10607040"/>
              <a:gd name="connsiteY327" fmla="*/ 2312106 h 4663390"/>
              <a:gd name="connsiteX328" fmla="*/ 4142562 w 10607040"/>
              <a:gd name="connsiteY328" fmla="*/ 1763466 h 4663390"/>
              <a:gd name="connsiteX329" fmla="*/ 4691202 w 10607040"/>
              <a:gd name="connsiteY329" fmla="*/ 1763466 h 4663390"/>
              <a:gd name="connsiteX330" fmla="*/ 4691202 w 10607040"/>
              <a:gd name="connsiteY330" fmla="*/ 2312106 h 4663390"/>
              <a:gd name="connsiteX331" fmla="*/ 4142562 w 10607040"/>
              <a:gd name="connsiteY331" fmla="*/ 2312106 h 4663390"/>
              <a:gd name="connsiteX332" fmla="*/ 3550876 w 10607040"/>
              <a:gd name="connsiteY332" fmla="*/ 1763466 h 4663390"/>
              <a:gd name="connsiteX333" fmla="*/ 4099516 w 10607040"/>
              <a:gd name="connsiteY333" fmla="*/ 1763466 h 4663390"/>
              <a:gd name="connsiteX334" fmla="*/ 4099516 w 10607040"/>
              <a:gd name="connsiteY334" fmla="*/ 2312106 h 4663390"/>
              <a:gd name="connsiteX335" fmla="*/ 3550876 w 10607040"/>
              <a:gd name="connsiteY335" fmla="*/ 2312106 h 4663390"/>
              <a:gd name="connsiteX336" fmla="*/ 2959206 w 10607040"/>
              <a:gd name="connsiteY336" fmla="*/ 1763466 h 4663390"/>
              <a:gd name="connsiteX337" fmla="*/ 3507830 w 10607040"/>
              <a:gd name="connsiteY337" fmla="*/ 1763466 h 4663390"/>
              <a:gd name="connsiteX338" fmla="*/ 3507830 w 10607040"/>
              <a:gd name="connsiteY338" fmla="*/ 2312106 h 4663390"/>
              <a:gd name="connsiteX339" fmla="*/ 2959206 w 10607040"/>
              <a:gd name="connsiteY339" fmla="*/ 2312106 h 4663390"/>
              <a:gd name="connsiteX340" fmla="*/ 2367518 w 10607040"/>
              <a:gd name="connsiteY340" fmla="*/ 1763466 h 4663390"/>
              <a:gd name="connsiteX341" fmla="*/ 2916160 w 10607040"/>
              <a:gd name="connsiteY341" fmla="*/ 1763466 h 4663390"/>
              <a:gd name="connsiteX342" fmla="*/ 2916160 w 10607040"/>
              <a:gd name="connsiteY342" fmla="*/ 2312106 h 4663390"/>
              <a:gd name="connsiteX343" fmla="*/ 2367518 w 10607040"/>
              <a:gd name="connsiteY343" fmla="*/ 2312106 h 4663390"/>
              <a:gd name="connsiteX344" fmla="*/ 1775829 w 10607040"/>
              <a:gd name="connsiteY344" fmla="*/ 1763466 h 4663390"/>
              <a:gd name="connsiteX345" fmla="*/ 2324472 w 10607040"/>
              <a:gd name="connsiteY345" fmla="*/ 1763466 h 4663390"/>
              <a:gd name="connsiteX346" fmla="*/ 2324472 w 10607040"/>
              <a:gd name="connsiteY346" fmla="*/ 2312106 h 4663390"/>
              <a:gd name="connsiteX347" fmla="*/ 1775829 w 10607040"/>
              <a:gd name="connsiteY347" fmla="*/ 2312106 h 4663390"/>
              <a:gd name="connsiteX348" fmla="*/ 1184144 w 10607040"/>
              <a:gd name="connsiteY348" fmla="*/ 1763466 h 4663390"/>
              <a:gd name="connsiteX349" fmla="*/ 1732783 w 10607040"/>
              <a:gd name="connsiteY349" fmla="*/ 1763466 h 4663390"/>
              <a:gd name="connsiteX350" fmla="*/ 1732783 w 10607040"/>
              <a:gd name="connsiteY350" fmla="*/ 2312106 h 4663390"/>
              <a:gd name="connsiteX351" fmla="*/ 1184144 w 10607040"/>
              <a:gd name="connsiteY351" fmla="*/ 2312106 h 4663390"/>
              <a:gd name="connsiteX352" fmla="*/ 592459 w 10607040"/>
              <a:gd name="connsiteY352" fmla="*/ 1763466 h 4663390"/>
              <a:gd name="connsiteX353" fmla="*/ 1141098 w 10607040"/>
              <a:gd name="connsiteY353" fmla="*/ 1763466 h 4663390"/>
              <a:gd name="connsiteX354" fmla="*/ 1141098 w 10607040"/>
              <a:gd name="connsiteY354" fmla="*/ 2312106 h 4663390"/>
              <a:gd name="connsiteX355" fmla="*/ 592459 w 10607040"/>
              <a:gd name="connsiteY355" fmla="*/ 2312106 h 4663390"/>
              <a:gd name="connsiteX356" fmla="*/ 773 w 10607040"/>
              <a:gd name="connsiteY356" fmla="*/ 1763466 h 4663390"/>
              <a:gd name="connsiteX357" fmla="*/ 549413 w 10607040"/>
              <a:gd name="connsiteY357" fmla="*/ 1763466 h 4663390"/>
              <a:gd name="connsiteX358" fmla="*/ 549413 w 10607040"/>
              <a:gd name="connsiteY358" fmla="*/ 2312106 h 4663390"/>
              <a:gd name="connsiteX359" fmla="*/ 773 w 10607040"/>
              <a:gd name="connsiteY359" fmla="*/ 2312106 h 4663390"/>
              <a:gd name="connsiteX360" fmla="*/ 10059044 w 10607040"/>
              <a:gd name="connsiteY360" fmla="*/ 1175645 h 4663390"/>
              <a:gd name="connsiteX361" fmla="*/ 10607040 w 10607040"/>
              <a:gd name="connsiteY361" fmla="*/ 1175645 h 4663390"/>
              <a:gd name="connsiteX362" fmla="*/ 10607040 w 10607040"/>
              <a:gd name="connsiteY362" fmla="*/ 1724285 h 4663390"/>
              <a:gd name="connsiteX363" fmla="*/ 10059044 w 10607040"/>
              <a:gd name="connsiteY363" fmla="*/ 1724285 h 4663390"/>
              <a:gd name="connsiteX364" fmla="*/ 9467356 w 10607040"/>
              <a:gd name="connsiteY364" fmla="*/ 1175644 h 4663390"/>
              <a:gd name="connsiteX365" fmla="*/ 10015996 w 10607040"/>
              <a:gd name="connsiteY365" fmla="*/ 1175644 h 4663390"/>
              <a:gd name="connsiteX366" fmla="*/ 10015996 w 10607040"/>
              <a:gd name="connsiteY366" fmla="*/ 1724284 h 4663390"/>
              <a:gd name="connsiteX367" fmla="*/ 9467356 w 10607040"/>
              <a:gd name="connsiteY367" fmla="*/ 1724284 h 4663390"/>
              <a:gd name="connsiteX368" fmla="*/ 8875670 w 10607040"/>
              <a:gd name="connsiteY368" fmla="*/ 1175644 h 4663390"/>
              <a:gd name="connsiteX369" fmla="*/ 9424310 w 10607040"/>
              <a:gd name="connsiteY369" fmla="*/ 1175644 h 4663390"/>
              <a:gd name="connsiteX370" fmla="*/ 9424310 w 10607040"/>
              <a:gd name="connsiteY370" fmla="*/ 1724284 h 4663390"/>
              <a:gd name="connsiteX371" fmla="*/ 8875670 w 10607040"/>
              <a:gd name="connsiteY371" fmla="*/ 1724284 h 4663390"/>
              <a:gd name="connsiteX372" fmla="*/ 8283984 w 10607040"/>
              <a:gd name="connsiteY372" fmla="*/ 1175644 h 4663390"/>
              <a:gd name="connsiteX373" fmla="*/ 8832624 w 10607040"/>
              <a:gd name="connsiteY373" fmla="*/ 1175644 h 4663390"/>
              <a:gd name="connsiteX374" fmla="*/ 8832624 w 10607040"/>
              <a:gd name="connsiteY374" fmla="*/ 1724284 h 4663390"/>
              <a:gd name="connsiteX375" fmla="*/ 8283984 w 10607040"/>
              <a:gd name="connsiteY375" fmla="*/ 1724284 h 4663390"/>
              <a:gd name="connsiteX376" fmla="*/ 7692298 w 10607040"/>
              <a:gd name="connsiteY376" fmla="*/ 1175644 h 4663390"/>
              <a:gd name="connsiteX377" fmla="*/ 8240938 w 10607040"/>
              <a:gd name="connsiteY377" fmla="*/ 1175644 h 4663390"/>
              <a:gd name="connsiteX378" fmla="*/ 8240938 w 10607040"/>
              <a:gd name="connsiteY378" fmla="*/ 1724284 h 4663390"/>
              <a:gd name="connsiteX379" fmla="*/ 7692298 w 10607040"/>
              <a:gd name="connsiteY379" fmla="*/ 1724284 h 4663390"/>
              <a:gd name="connsiteX380" fmla="*/ 7100612 w 10607040"/>
              <a:gd name="connsiteY380" fmla="*/ 1175644 h 4663390"/>
              <a:gd name="connsiteX381" fmla="*/ 7649252 w 10607040"/>
              <a:gd name="connsiteY381" fmla="*/ 1175644 h 4663390"/>
              <a:gd name="connsiteX382" fmla="*/ 7649252 w 10607040"/>
              <a:gd name="connsiteY382" fmla="*/ 1724284 h 4663390"/>
              <a:gd name="connsiteX383" fmla="*/ 7100612 w 10607040"/>
              <a:gd name="connsiteY383" fmla="*/ 1724284 h 4663390"/>
              <a:gd name="connsiteX384" fmla="*/ 6508926 w 10607040"/>
              <a:gd name="connsiteY384" fmla="*/ 1175644 h 4663390"/>
              <a:gd name="connsiteX385" fmla="*/ 7057566 w 10607040"/>
              <a:gd name="connsiteY385" fmla="*/ 1175644 h 4663390"/>
              <a:gd name="connsiteX386" fmla="*/ 7057566 w 10607040"/>
              <a:gd name="connsiteY386" fmla="*/ 1724284 h 4663390"/>
              <a:gd name="connsiteX387" fmla="*/ 6508926 w 10607040"/>
              <a:gd name="connsiteY387" fmla="*/ 1724284 h 4663390"/>
              <a:gd name="connsiteX388" fmla="*/ 5917240 w 10607040"/>
              <a:gd name="connsiteY388" fmla="*/ 1175644 h 4663390"/>
              <a:gd name="connsiteX389" fmla="*/ 6465880 w 10607040"/>
              <a:gd name="connsiteY389" fmla="*/ 1175644 h 4663390"/>
              <a:gd name="connsiteX390" fmla="*/ 6465880 w 10607040"/>
              <a:gd name="connsiteY390" fmla="*/ 1724284 h 4663390"/>
              <a:gd name="connsiteX391" fmla="*/ 5917240 w 10607040"/>
              <a:gd name="connsiteY391" fmla="*/ 1724284 h 4663390"/>
              <a:gd name="connsiteX392" fmla="*/ 5325554 w 10607040"/>
              <a:gd name="connsiteY392" fmla="*/ 1175644 h 4663390"/>
              <a:gd name="connsiteX393" fmla="*/ 5874194 w 10607040"/>
              <a:gd name="connsiteY393" fmla="*/ 1175644 h 4663390"/>
              <a:gd name="connsiteX394" fmla="*/ 5874194 w 10607040"/>
              <a:gd name="connsiteY394" fmla="*/ 1724284 h 4663390"/>
              <a:gd name="connsiteX395" fmla="*/ 5325554 w 10607040"/>
              <a:gd name="connsiteY395" fmla="*/ 1724284 h 4663390"/>
              <a:gd name="connsiteX396" fmla="*/ 4733868 w 10607040"/>
              <a:gd name="connsiteY396" fmla="*/ 1175644 h 4663390"/>
              <a:gd name="connsiteX397" fmla="*/ 5282508 w 10607040"/>
              <a:gd name="connsiteY397" fmla="*/ 1175644 h 4663390"/>
              <a:gd name="connsiteX398" fmla="*/ 5282508 w 10607040"/>
              <a:gd name="connsiteY398" fmla="*/ 1724284 h 4663390"/>
              <a:gd name="connsiteX399" fmla="*/ 4733868 w 10607040"/>
              <a:gd name="connsiteY399" fmla="*/ 1724284 h 4663390"/>
              <a:gd name="connsiteX400" fmla="*/ 4142182 w 10607040"/>
              <a:gd name="connsiteY400" fmla="*/ 1175644 h 4663390"/>
              <a:gd name="connsiteX401" fmla="*/ 4690822 w 10607040"/>
              <a:gd name="connsiteY401" fmla="*/ 1175644 h 4663390"/>
              <a:gd name="connsiteX402" fmla="*/ 4690822 w 10607040"/>
              <a:gd name="connsiteY402" fmla="*/ 1724284 h 4663390"/>
              <a:gd name="connsiteX403" fmla="*/ 4142182 w 10607040"/>
              <a:gd name="connsiteY403" fmla="*/ 1724284 h 4663390"/>
              <a:gd name="connsiteX404" fmla="*/ 3550496 w 10607040"/>
              <a:gd name="connsiteY404" fmla="*/ 1175644 h 4663390"/>
              <a:gd name="connsiteX405" fmla="*/ 4099136 w 10607040"/>
              <a:gd name="connsiteY405" fmla="*/ 1175644 h 4663390"/>
              <a:gd name="connsiteX406" fmla="*/ 4099136 w 10607040"/>
              <a:gd name="connsiteY406" fmla="*/ 1724284 h 4663390"/>
              <a:gd name="connsiteX407" fmla="*/ 3550496 w 10607040"/>
              <a:gd name="connsiteY407" fmla="*/ 1724284 h 4663390"/>
              <a:gd name="connsiteX408" fmla="*/ 2958830 w 10607040"/>
              <a:gd name="connsiteY408" fmla="*/ 1175644 h 4663390"/>
              <a:gd name="connsiteX409" fmla="*/ 3507450 w 10607040"/>
              <a:gd name="connsiteY409" fmla="*/ 1175644 h 4663390"/>
              <a:gd name="connsiteX410" fmla="*/ 3507450 w 10607040"/>
              <a:gd name="connsiteY410" fmla="*/ 1724284 h 4663390"/>
              <a:gd name="connsiteX411" fmla="*/ 2958830 w 10607040"/>
              <a:gd name="connsiteY411" fmla="*/ 1724284 h 4663390"/>
              <a:gd name="connsiteX412" fmla="*/ 2367141 w 10607040"/>
              <a:gd name="connsiteY412" fmla="*/ 1175644 h 4663390"/>
              <a:gd name="connsiteX413" fmla="*/ 2915784 w 10607040"/>
              <a:gd name="connsiteY413" fmla="*/ 1175644 h 4663390"/>
              <a:gd name="connsiteX414" fmla="*/ 2915784 w 10607040"/>
              <a:gd name="connsiteY414" fmla="*/ 1724284 h 4663390"/>
              <a:gd name="connsiteX415" fmla="*/ 2367141 w 10607040"/>
              <a:gd name="connsiteY415" fmla="*/ 1724284 h 4663390"/>
              <a:gd name="connsiteX416" fmla="*/ 1775452 w 10607040"/>
              <a:gd name="connsiteY416" fmla="*/ 1175644 h 4663390"/>
              <a:gd name="connsiteX417" fmla="*/ 2324095 w 10607040"/>
              <a:gd name="connsiteY417" fmla="*/ 1175644 h 4663390"/>
              <a:gd name="connsiteX418" fmla="*/ 2324095 w 10607040"/>
              <a:gd name="connsiteY418" fmla="*/ 1724284 h 4663390"/>
              <a:gd name="connsiteX419" fmla="*/ 1775452 w 10607040"/>
              <a:gd name="connsiteY419" fmla="*/ 1724284 h 4663390"/>
              <a:gd name="connsiteX420" fmla="*/ 1183767 w 10607040"/>
              <a:gd name="connsiteY420" fmla="*/ 1175644 h 4663390"/>
              <a:gd name="connsiteX421" fmla="*/ 1732406 w 10607040"/>
              <a:gd name="connsiteY421" fmla="*/ 1175644 h 4663390"/>
              <a:gd name="connsiteX422" fmla="*/ 1732406 w 10607040"/>
              <a:gd name="connsiteY422" fmla="*/ 1724284 h 4663390"/>
              <a:gd name="connsiteX423" fmla="*/ 1183767 w 10607040"/>
              <a:gd name="connsiteY423" fmla="*/ 1724284 h 4663390"/>
              <a:gd name="connsiteX424" fmla="*/ 592081 w 10607040"/>
              <a:gd name="connsiteY424" fmla="*/ 1175644 h 4663390"/>
              <a:gd name="connsiteX425" fmla="*/ 1140721 w 10607040"/>
              <a:gd name="connsiteY425" fmla="*/ 1175644 h 4663390"/>
              <a:gd name="connsiteX426" fmla="*/ 1140721 w 10607040"/>
              <a:gd name="connsiteY426" fmla="*/ 1724284 h 4663390"/>
              <a:gd name="connsiteX427" fmla="*/ 592081 w 10607040"/>
              <a:gd name="connsiteY427" fmla="*/ 1724284 h 4663390"/>
              <a:gd name="connsiteX428" fmla="*/ 396 w 10607040"/>
              <a:gd name="connsiteY428" fmla="*/ 1175644 h 4663390"/>
              <a:gd name="connsiteX429" fmla="*/ 549036 w 10607040"/>
              <a:gd name="connsiteY429" fmla="*/ 1175644 h 4663390"/>
              <a:gd name="connsiteX430" fmla="*/ 549036 w 10607040"/>
              <a:gd name="connsiteY430" fmla="*/ 1724284 h 4663390"/>
              <a:gd name="connsiteX431" fmla="*/ 396 w 10607040"/>
              <a:gd name="connsiteY431" fmla="*/ 1724284 h 4663390"/>
              <a:gd name="connsiteX432" fmla="*/ 10058664 w 10607040"/>
              <a:gd name="connsiteY432" fmla="*/ 587823 h 4663390"/>
              <a:gd name="connsiteX433" fmla="*/ 10607040 w 10607040"/>
              <a:gd name="connsiteY433" fmla="*/ 587823 h 4663390"/>
              <a:gd name="connsiteX434" fmla="*/ 10607040 w 10607040"/>
              <a:gd name="connsiteY434" fmla="*/ 1136463 h 4663390"/>
              <a:gd name="connsiteX435" fmla="*/ 10058664 w 10607040"/>
              <a:gd name="connsiteY435" fmla="*/ 1136463 h 4663390"/>
              <a:gd name="connsiteX436" fmla="*/ 9466976 w 10607040"/>
              <a:gd name="connsiteY436" fmla="*/ 587822 h 4663390"/>
              <a:gd name="connsiteX437" fmla="*/ 10015616 w 10607040"/>
              <a:gd name="connsiteY437" fmla="*/ 587822 h 4663390"/>
              <a:gd name="connsiteX438" fmla="*/ 10015616 w 10607040"/>
              <a:gd name="connsiteY438" fmla="*/ 1136462 h 4663390"/>
              <a:gd name="connsiteX439" fmla="*/ 9466976 w 10607040"/>
              <a:gd name="connsiteY439" fmla="*/ 1136462 h 4663390"/>
              <a:gd name="connsiteX440" fmla="*/ 8875290 w 10607040"/>
              <a:gd name="connsiteY440" fmla="*/ 587822 h 4663390"/>
              <a:gd name="connsiteX441" fmla="*/ 9423930 w 10607040"/>
              <a:gd name="connsiteY441" fmla="*/ 587822 h 4663390"/>
              <a:gd name="connsiteX442" fmla="*/ 9423930 w 10607040"/>
              <a:gd name="connsiteY442" fmla="*/ 1136462 h 4663390"/>
              <a:gd name="connsiteX443" fmla="*/ 8875290 w 10607040"/>
              <a:gd name="connsiteY443" fmla="*/ 1136462 h 4663390"/>
              <a:gd name="connsiteX444" fmla="*/ 8283604 w 10607040"/>
              <a:gd name="connsiteY444" fmla="*/ 587822 h 4663390"/>
              <a:gd name="connsiteX445" fmla="*/ 8832244 w 10607040"/>
              <a:gd name="connsiteY445" fmla="*/ 587822 h 4663390"/>
              <a:gd name="connsiteX446" fmla="*/ 8832244 w 10607040"/>
              <a:gd name="connsiteY446" fmla="*/ 1136462 h 4663390"/>
              <a:gd name="connsiteX447" fmla="*/ 8283604 w 10607040"/>
              <a:gd name="connsiteY447" fmla="*/ 1136462 h 4663390"/>
              <a:gd name="connsiteX448" fmla="*/ 7691918 w 10607040"/>
              <a:gd name="connsiteY448" fmla="*/ 587822 h 4663390"/>
              <a:gd name="connsiteX449" fmla="*/ 8240558 w 10607040"/>
              <a:gd name="connsiteY449" fmla="*/ 587822 h 4663390"/>
              <a:gd name="connsiteX450" fmla="*/ 8240558 w 10607040"/>
              <a:gd name="connsiteY450" fmla="*/ 1136462 h 4663390"/>
              <a:gd name="connsiteX451" fmla="*/ 7691918 w 10607040"/>
              <a:gd name="connsiteY451" fmla="*/ 1136462 h 4663390"/>
              <a:gd name="connsiteX452" fmla="*/ 7100232 w 10607040"/>
              <a:gd name="connsiteY452" fmla="*/ 587822 h 4663390"/>
              <a:gd name="connsiteX453" fmla="*/ 7648872 w 10607040"/>
              <a:gd name="connsiteY453" fmla="*/ 587822 h 4663390"/>
              <a:gd name="connsiteX454" fmla="*/ 7648872 w 10607040"/>
              <a:gd name="connsiteY454" fmla="*/ 1136462 h 4663390"/>
              <a:gd name="connsiteX455" fmla="*/ 7100232 w 10607040"/>
              <a:gd name="connsiteY455" fmla="*/ 1136462 h 4663390"/>
              <a:gd name="connsiteX456" fmla="*/ 6508546 w 10607040"/>
              <a:gd name="connsiteY456" fmla="*/ 587822 h 4663390"/>
              <a:gd name="connsiteX457" fmla="*/ 7057186 w 10607040"/>
              <a:gd name="connsiteY457" fmla="*/ 587822 h 4663390"/>
              <a:gd name="connsiteX458" fmla="*/ 7057186 w 10607040"/>
              <a:gd name="connsiteY458" fmla="*/ 1136462 h 4663390"/>
              <a:gd name="connsiteX459" fmla="*/ 6508546 w 10607040"/>
              <a:gd name="connsiteY459" fmla="*/ 1136462 h 4663390"/>
              <a:gd name="connsiteX460" fmla="*/ 5916860 w 10607040"/>
              <a:gd name="connsiteY460" fmla="*/ 587822 h 4663390"/>
              <a:gd name="connsiteX461" fmla="*/ 6465500 w 10607040"/>
              <a:gd name="connsiteY461" fmla="*/ 587822 h 4663390"/>
              <a:gd name="connsiteX462" fmla="*/ 6465500 w 10607040"/>
              <a:gd name="connsiteY462" fmla="*/ 1136462 h 4663390"/>
              <a:gd name="connsiteX463" fmla="*/ 5916860 w 10607040"/>
              <a:gd name="connsiteY463" fmla="*/ 1136462 h 4663390"/>
              <a:gd name="connsiteX464" fmla="*/ 5325174 w 10607040"/>
              <a:gd name="connsiteY464" fmla="*/ 587822 h 4663390"/>
              <a:gd name="connsiteX465" fmla="*/ 5873814 w 10607040"/>
              <a:gd name="connsiteY465" fmla="*/ 587822 h 4663390"/>
              <a:gd name="connsiteX466" fmla="*/ 5873814 w 10607040"/>
              <a:gd name="connsiteY466" fmla="*/ 1136462 h 4663390"/>
              <a:gd name="connsiteX467" fmla="*/ 5325174 w 10607040"/>
              <a:gd name="connsiteY467" fmla="*/ 1136462 h 4663390"/>
              <a:gd name="connsiteX468" fmla="*/ 4733488 w 10607040"/>
              <a:gd name="connsiteY468" fmla="*/ 587822 h 4663390"/>
              <a:gd name="connsiteX469" fmla="*/ 5282128 w 10607040"/>
              <a:gd name="connsiteY469" fmla="*/ 587822 h 4663390"/>
              <a:gd name="connsiteX470" fmla="*/ 5282128 w 10607040"/>
              <a:gd name="connsiteY470" fmla="*/ 1136462 h 4663390"/>
              <a:gd name="connsiteX471" fmla="*/ 4733488 w 10607040"/>
              <a:gd name="connsiteY471" fmla="*/ 1136462 h 4663390"/>
              <a:gd name="connsiteX472" fmla="*/ 4141802 w 10607040"/>
              <a:gd name="connsiteY472" fmla="*/ 587822 h 4663390"/>
              <a:gd name="connsiteX473" fmla="*/ 4690442 w 10607040"/>
              <a:gd name="connsiteY473" fmla="*/ 587822 h 4663390"/>
              <a:gd name="connsiteX474" fmla="*/ 4690442 w 10607040"/>
              <a:gd name="connsiteY474" fmla="*/ 1136462 h 4663390"/>
              <a:gd name="connsiteX475" fmla="*/ 4141802 w 10607040"/>
              <a:gd name="connsiteY475" fmla="*/ 1136462 h 4663390"/>
              <a:gd name="connsiteX476" fmla="*/ 3550116 w 10607040"/>
              <a:gd name="connsiteY476" fmla="*/ 587822 h 4663390"/>
              <a:gd name="connsiteX477" fmla="*/ 4098756 w 10607040"/>
              <a:gd name="connsiteY477" fmla="*/ 587822 h 4663390"/>
              <a:gd name="connsiteX478" fmla="*/ 4098756 w 10607040"/>
              <a:gd name="connsiteY478" fmla="*/ 1136462 h 4663390"/>
              <a:gd name="connsiteX479" fmla="*/ 3550116 w 10607040"/>
              <a:gd name="connsiteY479" fmla="*/ 1136462 h 4663390"/>
              <a:gd name="connsiteX480" fmla="*/ 2958453 w 10607040"/>
              <a:gd name="connsiteY480" fmla="*/ 587822 h 4663390"/>
              <a:gd name="connsiteX481" fmla="*/ 3507070 w 10607040"/>
              <a:gd name="connsiteY481" fmla="*/ 587822 h 4663390"/>
              <a:gd name="connsiteX482" fmla="*/ 3507070 w 10607040"/>
              <a:gd name="connsiteY482" fmla="*/ 1136462 h 4663390"/>
              <a:gd name="connsiteX483" fmla="*/ 2958453 w 10607040"/>
              <a:gd name="connsiteY483" fmla="*/ 1136462 h 4663390"/>
              <a:gd name="connsiteX484" fmla="*/ 2366764 w 10607040"/>
              <a:gd name="connsiteY484" fmla="*/ 587822 h 4663390"/>
              <a:gd name="connsiteX485" fmla="*/ 2915408 w 10607040"/>
              <a:gd name="connsiteY485" fmla="*/ 587822 h 4663390"/>
              <a:gd name="connsiteX486" fmla="*/ 2915408 w 10607040"/>
              <a:gd name="connsiteY486" fmla="*/ 1136462 h 4663390"/>
              <a:gd name="connsiteX487" fmla="*/ 2366764 w 10607040"/>
              <a:gd name="connsiteY487" fmla="*/ 1136462 h 4663390"/>
              <a:gd name="connsiteX488" fmla="*/ 1775075 w 10607040"/>
              <a:gd name="connsiteY488" fmla="*/ 587822 h 4663390"/>
              <a:gd name="connsiteX489" fmla="*/ 2323718 w 10607040"/>
              <a:gd name="connsiteY489" fmla="*/ 587822 h 4663390"/>
              <a:gd name="connsiteX490" fmla="*/ 2323718 w 10607040"/>
              <a:gd name="connsiteY490" fmla="*/ 1136462 h 4663390"/>
              <a:gd name="connsiteX491" fmla="*/ 1775075 w 10607040"/>
              <a:gd name="connsiteY491" fmla="*/ 1136462 h 4663390"/>
              <a:gd name="connsiteX492" fmla="*/ 1183389 w 10607040"/>
              <a:gd name="connsiteY492" fmla="*/ 587822 h 4663390"/>
              <a:gd name="connsiteX493" fmla="*/ 1732028 w 10607040"/>
              <a:gd name="connsiteY493" fmla="*/ 587822 h 4663390"/>
              <a:gd name="connsiteX494" fmla="*/ 1732028 w 10607040"/>
              <a:gd name="connsiteY494" fmla="*/ 1136462 h 4663390"/>
              <a:gd name="connsiteX495" fmla="*/ 1183389 w 10607040"/>
              <a:gd name="connsiteY495" fmla="*/ 1136462 h 4663390"/>
              <a:gd name="connsiteX496" fmla="*/ 591704 w 10607040"/>
              <a:gd name="connsiteY496" fmla="*/ 587822 h 4663390"/>
              <a:gd name="connsiteX497" fmla="*/ 1140344 w 10607040"/>
              <a:gd name="connsiteY497" fmla="*/ 587822 h 4663390"/>
              <a:gd name="connsiteX498" fmla="*/ 1140344 w 10607040"/>
              <a:gd name="connsiteY498" fmla="*/ 1136462 h 4663390"/>
              <a:gd name="connsiteX499" fmla="*/ 591704 w 10607040"/>
              <a:gd name="connsiteY499" fmla="*/ 1136462 h 4663390"/>
              <a:gd name="connsiteX500" fmla="*/ 18 w 10607040"/>
              <a:gd name="connsiteY500" fmla="*/ 587822 h 4663390"/>
              <a:gd name="connsiteX501" fmla="*/ 548658 w 10607040"/>
              <a:gd name="connsiteY501" fmla="*/ 587822 h 4663390"/>
              <a:gd name="connsiteX502" fmla="*/ 548658 w 10607040"/>
              <a:gd name="connsiteY502" fmla="*/ 1136462 h 4663390"/>
              <a:gd name="connsiteX503" fmla="*/ 18 w 10607040"/>
              <a:gd name="connsiteY503" fmla="*/ 1136462 h 4663390"/>
              <a:gd name="connsiteX504" fmla="*/ 10058284 w 10607040"/>
              <a:gd name="connsiteY504" fmla="*/ 1 h 4663390"/>
              <a:gd name="connsiteX505" fmla="*/ 10606924 w 10607040"/>
              <a:gd name="connsiteY505" fmla="*/ 1 h 4663390"/>
              <a:gd name="connsiteX506" fmla="*/ 10606924 w 10607040"/>
              <a:gd name="connsiteY506" fmla="*/ 548641 h 4663390"/>
              <a:gd name="connsiteX507" fmla="*/ 10058284 w 10607040"/>
              <a:gd name="connsiteY507" fmla="*/ 548641 h 4663390"/>
              <a:gd name="connsiteX508" fmla="*/ 9466596 w 10607040"/>
              <a:gd name="connsiteY508" fmla="*/ 0 h 4663390"/>
              <a:gd name="connsiteX509" fmla="*/ 10015236 w 10607040"/>
              <a:gd name="connsiteY509" fmla="*/ 0 h 4663390"/>
              <a:gd name="connsiteX510" fmla="*/ 10015236 w 10607040"/>
              <a:gd name="connsiteY510" fmla="*/ 548640 h 4663390"/>
              <a:gd name="connsiteX511" fmla="*/ 9466596 w 10607040"/>
              <a:gd name="connsiteY511" fmla="*/ 548640 h 4663390"/>
              <a:gd name="connsiteX512" fmla="*/ 8874910 w 10607040"/>
              <a:gd name="connsiteY512" fmla="*/ 0 h 4663390"/>
              <a:gd name="connsiteX513" fmla="*/ 9423550 w 10607040"/>
              <a:gd name="connsiteY513" fmla="*/ 0 h 4663390"/>
              <a:gd name="connsiteX514" fmla="*/ 9423550 w 10607040"/>
              <a:gd name="connsiteY514" fmla="*/ 548640 h 4663390"/>
              <a:gd name="connsiteX515" fmla="*/ 8874910 w 10607040"/>
              <a:gd name="connsiteY515" fmla="*/ 548640 h 4663390"/>
              <a:gd name="connsiteX516" fmla="*/ 8283224 w 10607040"/>
              <a:gd name="connsiteY516" fmla="*/ 0 h 4663390"/>
              <a:gd name="connsiteX517" fmla="*/ 8831864 w 10607040"/>
              <a:gd name="connsiteY517" fmla="*/ 0 h 4663390"/>
              <a:gd name="connsiteX518" fmla="*/ 8831864 w 10607040"/>
              <a:gd name="connsiteY518" fmla="*/ 548640 h 4663390"/>
              <a:gd name="connsiteX519" fmla="*/ 8283224 w 10607040"/>
              <a:gd name="connsiteY519" fmla="*/ 548640 h 4663390"/>
              <a:gd name="connsiteX520" fmla="*/ 7691538 w 10607040"/>
              <a:gd name="connsiteY520" fmla="*/ 0 h 4663390"/>
              <a:gd name="connsiteX521" fmla="*/ 8240178 w 10607040"/>
              <a:gd name="connsiteY521" fmla="*/ 0 h 4663390"/>
              <a:gd name="connsiteX522" fmla="*/ 8240178 w 10607040"/>
              <a:gd name="connsiteY522" fmla="*/ 548640 h 4663390"/>
              <a:gd name="connsiteX523" fmla="*/ 7691538 w 10607040"/>
              <a:gd name="connsiteY523" fmla="*/ 548640 h 4663390"/>
              <a:gd name="connsiteX524" fmla="*/ 7099852 w 10607040"/>
              <a:gd name="connsiteY524" fmla="*/ 0 h 4663390"/>
              <a:gd name="connsiteX525" fmla="*/ 7648492 w 10607040"/>
              <a:gd name="connsiteY525" fmla="*/ 0 h 4663390"/>
              <a:gd name="connsiteX526" fmla="*/ 7648492 w 10607040"/>
              <a:gd name="connsiteY526" fmla="*/ 548640 h 4663390"/>
              <a:gd name="connsiteX527" fmla="*/ 7099852 w 10607040"/>
              <a:gd name="connsiteY527" fmla="*/ 548640 h 4663390"/>
              <a:gd name="connsiteX528" fmla="*/ 6508166 w 10607040"/>
              <a:gd name="connsiteY528" fmla="*/ 0 h 4663390"/>
              <a:gd name="connsiteX529" fmla="*/ 7056806 w 10607040"/>
              <a:gd name="connsiteY529" fmla="*/ 0 h 4663390"/>
              <a:gd name="connsiteX530" fmla="*/ 7056806 w 10607040"/>
              <a:gd name="connsiteY530" fmla="*/ 548640 h 4663390"/>
              <a:gd name="connsiteX531" fmla="*/ 6508166 w 10607040"/>
              <a:gd name="connsiteY531" fmla="*/ 548640 h 4663390"/>
              <a:gd name="connsiteX532" fmla="*/ 5916480 w 10607040"/>
              <a:gd name="connsiteY532" fmla="*/ 0 h 4663390"/>
              <a:gd name="connsiteX533" fmla="*/ 6465120 w 10607040"/>
              <a:gd name="connsiteY533" fmla="*/ 0 h 4663390"/>
              <a:gd name="connsiteX534" fmla="*/ 6465120 w 10607040"/>
              <a:gd name="connsiteY534" fmla="*/ 548640 h 4663390"/>
              <a:gd name="connsiteX535" fmla="*/ 5916480 w 10607040"/>
              <a:gd name="connsiteY535" fmla="*/ 548640 h 4663390"/>
              <a:gd name="connsiteX536" fmla="*/ 5324794 w 10607040"/>
              <a:gd name="connsiteY536" fmla="*/ 0 h 4663390"/>
              <a:gd name="connsiteX537" fmla="*/ 5873434 w 10607040"/>
              <a:gd name="connsiteY537" fmla="*/ 0 h 4663390"/>
              <a:gd name="connsiteX538" fmla="*/ 5873434 w 10607040"/>
              <a:gd name="connsiteY538" fmla="*/ 548640 h 4663390"/>
              <a:gd name="connsiteX539" fmla="*/ 5324794 w 10607040"/>
              <a:gd name="connsiteY539" fmla="*/ 548640 h 4663390"/>
              <a:gd name="connsiteX540" fmla="*/ 4733108 w 10607040"/>
              <a:gd name="connsiteY540" fmla="*/ 0 h 4663390"/>
              <a:gd name="connsiteX541" fmla="*/ 5281748 w 10607040"/>
              <a:gd name="connsiteY541" fmla="*/ 0 h 4663390"/>
              <a:gd name="connsiteX542" fmla="*/ 5281748 w 10607040"/>
              <a:gd name="connsiteY542" fmla="*/ 548640 h 4663390"/>
              <a:gd name="connsiteX543" fmla="*/ 4733108 w 10607040"/>
              <a:gd name="connsiteY543" fmla="*/ 548640 h 4663390"/>
              <a:gd name="connsiteX544" fmla="*/ 4141422 w 10607040"/>
              <a:gd name="connsiteY544" fmla="*/ 0 h 4663390"/>
              <a:gd name="connsiteX545" fmla="*/ 4690062 w 10607040"/>
              <a:gd name="connsiteY545" fmla="*/ 0 h 4663390"/>
              <a:gd name="connsiteX546" fmla="*/ 4690062 w 10607040"/>
              <a:gd name="connsiteY546" fmla="*/ 548640 h 4663390"/>
              <a:gd name="connsiteX547" fmla="*/ 4141422 w 10607040"/>
              <a:gd name="connsiteY547" fmla="*/ 548640 h 4663390"/>
              <a:gd name="connsiteX548" fmla="*/ 3549736 w 10607040"/>
              <a:gd name="connsiteY548" fmla="*/ 0 h 4663390"/>
              <a:gd name="connsiteX549" fmla="*/ 4098376 w 10607040"/>
              <a:gd name="connsiteY549" fmla="*/ 0 h 4663390"/>
              <a:gd name="connsiteX550" fmla="*/ 4098376 w 10607040"/>
              <a:gd name="connsiteY550" fmla="*/ 548640 h 4663390"/>
              <a:gd name="connsiteX551" fmla="*/ 3549736 w 10607040"/>
              <a:gd name="connsiteY551" fmla="*/ 548640 h 4663390"/>
              <a:gd name="connsiteX552" fmla="*/ 2958077 w 10607040"/>
              <a:gd name="connsiteY552" fmla="*/ 0 h 4663390"/>
              <a:gd name="connsiteX553" fmla="*/ 3506690 w 10607040"/>
              <a:gd name="connsiteY553" fmla="*/ 0 h 4663390"/>
              <a:gd name="connsiteX554" fmla="*/ 3506690 w 10607040"/>
              <a:gd name="connsiteY554" fmla="*/ 548640 h 4663390"/>
              <a:gd name="connsiteX555" fmla="*/ 2958077 w 10607040"/>
              <a:gd name="connsiteY555" fmla="*/ 548640 h 4663390"/>
              <a:gd name="connsiteX556" fmla="*/ 2366387 w 10607040"/>
              <a:gd name="connsiteY556" fmla="*/ 0 h 4663390"/>
              <a:gd name="connsiteX557" fmla="*/ 2915031 w 10607040"/>
              <a:gd name="connsiteY557" fmla="*/ 0 h 4663390"/>
              <a:gd name="connsiteX558" fmla="*/ 2915031 w 10607040"/>
              <a:gd name="connsiteY558" fmla="*/ 548640 h 4663390"/>
              <a:gd name="connsiteX559" fmla="*/ 2366387 w 10607040"/>
              <a:gd name="connsiteY559" fmla="*/ 548640 h 4663390"/>
              <a:gd name="connsiteX560" fmla="*/ 1774697 w 10607040"/>
              <a:gd name="connsiteY560" fmla="*/ 0 h 4663390"/>
              <a:gd name="connsiteX561" fmla="*/ 2323341 w 10607040"/>
              <a:gd name="connsiteY561" fmla="*/ 0 h 4663390"/>
              <a:gd name="connsiteX562" fmla="*/ 2323341 w 10607040"/>
              <a:gd name="connsiteY562" fmla="*/ 548640 h 4663390"/>
              <a:gd name="connsiteX563" fmla="*/ 1774697 w 10607040"/>
              <a:gd name="connsiteY563" fmla="*/ 548640 h 4663390"/>
              <a:gd name="connsiteX564" fmla="*/ 1183012 w 10607040"/>
              <a:gd name="connsiteY564" fmla="*/ 0 h 4663390"/>
              <a:gd name="connsiteX565" fmla="*/ 1731651 w 10607040"/>
              <a:gd name="connsiteY565" fmla="*/ 0 h 4663390"/>
              <a:gd name="connsiteX566" fmla="*/ 1731651 w 10607040"/>
              <a:gd name="connsiteY566" fmla="*/ 548640 h 4663390"/>
              <a:gd name="connsiteX567" fmla="*/ 1183012 w 10607040"/>
              <a:gd name="connsiteY567" fmla="*/ 548640 h 4663390"/>
              <a:gd name="connsiteX568" fmla="*/ 591326 w 10607040"/>
              <a:gd name="connsiteY568" fmla="*/ 0 h 4663390"/>
              <a:gd name="connsiteX569" fmla="*/ 1139966 w 10607040"/>
              <a:gd name="connsiteY569" fmla="*/ 0 h 4663390"/>
              <a:gd name="connsiteX570" fmla="*/ 1139966 w 10607040"/>
              <a:gd name="connsiteY570" fmla="*/ 548640 h 4663390"/>
              <a:gd name="connsiteX571" fmla="*/ 591326 w 10607040"/>
              <a:gd name="connsiteY571" fmla="*/ 548640 h 4663390"/>
              <a:gd name="connsiteX572" fmla="*/ 0 w 10607040"/>
              <a:gd name="connsiteY572" fmla="*/ 0 h 4663390"/>
              <a:gd name="connsiteX573" fmla="*/ 548280 w 10607040"/>
              <a:gd name="connsiteY573" fmla="*/ 0 h 4663390"/>
              <a:gd name="connsiteX574" fmla="*/ 548280 w 10607040"/>
              <a:gd name="connsiteY574" fmla="*/ 548640 h 4663390"/>
              <a:gd name="connsiteX575" fmla="*/ 0 w 10607040"/>
              <a:gd name="connsiteY575" fmla="*/ 548640 h 46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Lst>
            <a:rect l="l" t="t" r="r" b="b"/>
            <a:pathLst>
              <a:path w="10607040" h="4663390">
                <a:moveTo>
                  <a:pt x="10060944" y="4114757"/>
                </a:moveTo>
                <a:lnTo>
                  <a:pt x="10607040" y="4114757"/>
                </a:lnTo>
                <a:lnTo>
                  <a:pt x="10607040" y="4663390"/>
                </a:lnTo>
                <a:lnTo>
                  <a:pt x="10060944" y="4663390"/>
                </a:lnTo>
                <a:close/>
                <a:moveTo>
                  <a:pt x="9469256" y="4114756"/>
                </a:moveTo>
                <a:lnTo>
                  <a:pt x="10017896" y="4114756"/>
                </a:lnTo>
                <a:lnTo>
                  <a:pt x="10017896" y="4663390"/>
                </a:lnTo>
                <a:lnTo>
                  <a:pt x="9469256" y="4663390"/>
                </a:lnTo>
                <a:close/>
                <a:moveTo>
                  <a:pt x="8877570" y="4114756"/>
                </a:moveTo>
                <a:lnTo>
                  <a:pt x="9426210" y="4114756"/>
                </a:lnTo>
                <a:lnTo>
                  <a:pt x="9426210" y="4663390"/>
                </a:lnTo>
                <a:lnTo>
                  <a:pt x="8877570" y="4663390"/>
                </a:lnTo>
                <a:close/>
                <a:moveTo>
                  <a:pt x="8285884" y="4114756"/>
                </a:moveTo>
                <a:lnTo>
                  <a:pt x="8834524" y="4114756"/>
                </a:lnTo>
                <a:lnTo>
                  <a:pt x="8834524" y="4663390"/>
                </a:lnTo>
                <a:lnTo>
                  <a:pt x="8285884" y="4663390"/>
                </a:lnTo>
                <a:close/>
                <a:moveTo>
                  <a:pt x="7694198" y="4114756"/>
                </a:moveTo>
                <a:lnTo>
                  <a:pt x="8242838" y="4114756"/>
                </a:lnTo>
                <a:lnTo>
                  <a:pt x="8242838" y="4663390"/>
                </a:lnTo>
                <a:lnTo>
                  <a:pt x="7694198" y="4663390"/>
                </a:lnTo>
                <a:close/>
                <a:moveTo>
                  <a:pt x="7102512" y="4114756"/>
                </a:moveTo>
                <a:lnTo>
                  <a:pt x="7651152" y="4114756"/>
                </a:lnTo>
                <a:lnTo>
                  <a:pt x="7651152" y="4663390"/>
                </a:lnTo>
                <a:lnTo>
                  <a:pt x="7102512" y="4663390"/>
                </a:lnTo>
                <a:close/>
                <a:moveTo>
                  <a:pt x="6510826" y="4114756"/>
                </a:moveTo>
                <a:lnTo>
                  <a:pt x="7059466" y="4114756"/>
                </a:lnTo>
                <a:lnTo>
                  <a:pt x="7059466" y="4663390"/>
                </a:lnTo>
                <a:lnTo>
                  <a:pt x="6510826" y="4663390"/>
                </a:lnTo>
                <a:close/>
                <a:moveTo>
                  <a:pt x="5919140" y="4114756"/>
                </a:moveTo>
                <a:lnTo>
                  <a:pt x="6467780" y="4114756"/>
                </a:lnTo>
                <a:lnTo>
                  <a:pt x="6467780" y="4663390"/>
                </a:lnTo>
                <a:lnTo>
                  <a:pt x="5919140" y="4663390"/>
                </a:lnTo>
                <a:close/>
                <a:moveTo>
                  <a:pt x="5327454" y="4114756"/>
                </a:moveTo>
                <a:lnTo>
                  <a:pt x="5876094" y="4114756"/>
                </a:lnTo>
                <a:lnTo>
                  <a:pt x="5876094" y="4663390"/>
                </a:lnTo>
                <a:lnTo>
                  <a:pt x="5327454" y="4663390"/>
                </a:lnTo>
                <a:close/>
                <a:moveTo>
                  <a:pt x="4735768" y="4114756"/>
                </a:moveTo>
                <a:lnTo>
                  <a:pt x="5284408" y="4114756"/>
                </a:lnTo>
                <a:lnTo>
                  <a:pt x="5284408" y="4663390"/>
                </a:lnTo>
                <a:lnTo>
                  <a:pt x="4735768" y="4663390"/>
                </a:lnTo>
                <a:close/>
                <a:moveTo>
                  <a:pt x="4144082" y="4114756"/>
                </a:moveTo>
                <a:lnTo>
                  <a:pt x="4692722" y="4114756"/>
                </a:lnTo>
                <a:lnTo>
                  <a:pt x="4692722" y="4663390"/>
                </a:lnTo>
                <a:lnTo>
                  <a:pt x="4144082" y="4663390"/>
                </a:lnTo>
                <a:close/>
                <a:moveTo>
                  <a:pt x="3552396" y="4114756"/>
                </a:moveTo>
                <a:lnTo>
                  <a:pt x="4101036" y="4114756"/>
                </a:lnTo>
                <a:lnTo>
                  <a:pt x="4101036" y="4663390"/>
                </a:lnTo>
                <a:lnTo>
                  <a:pt x="3552396" y="4663390"/>
                </a:lnTo>
                <a:close/>
                <a:moveTo>
                  <a:pt x="2960712" y="4114756"/>
                </a:moveTo>
                <a:lnTo>
                  <a:pt x="3509350" y="4114756"/>
                </a:lnTo>
                <a:lnTo>
                  <a:pt x="3509350" y="4663390"/>
                </a:lnTo>
                <a:lnTo>
                  <a:pt x="2960712" y="4663390"/>
                </a:lnTo>
                <a:close/>
                <a:moveTo>
                  <a:pt x="2369026" y="4114756"/>
                </a:moveTo>
                <a:lnTo>
                  <a:pt x="2917666" y="4114756"/>
                </a:lnTo>
                <a:lnTo>
                  <a:pt x="2917666" y="4663390"/>
                </a:lnTo>
                <a:lnTo>
                  <a:pt x="2369026" y="4663390"/>
                </a:lnTo>
                <a:close/>
                <a:moveTo>
                  <a:pt x="1777340" y="4114756"/>
                </a:moveTo>
                <a:lnTo>
                  <a:pt x="2325980" y="4114756"/>
                </a:lnTo>
                <a:lnTo>
                  <a:pt x="2325980" y="4663390"/>
                </a:lnTo>
                <a:lnTo>
                  <a:pt x="1777340" y="4663390"/>
                </a:lnTo>
                <a:close/>
                <a:moveTo>
                  <a:pt x="1185654" y="4114756"/>
                </a:moveTo>
                <a:lnTo>
                  <a:pt x="1734294" y="4114756"/>
                </a:lnTo>
                <a:lnTo>
                  <a:pt x="1734294" y="4663390"/>
                </a:lnTo>
                <a:lnTo>
                  <a:pt x="1185654" y="4663390"/>
                </a:lnTo>
                <a:close/>
                <a:moveTo>
                  <a:pt x="593968" y="4114756"/>
                </a:moveTo>
                <a:lnTo>
                  <a:pt x="1142608" y="4114756"/>
                </a:lnTo>
                <a:lnTo>
                  <a:pt x="1142608" y="4663390"/>
                </a:lnTo>
                <a:lnTo>
                  <a:pt x="593968" y="4663390"/>
                </a:lnTo>
                <a:close/>
                <a:moveTo>
                  <a:pt x="2283" y="4114756"/>
                </a:moveTo>
                <a:lnTo>
                  <a:pt x="550922" y="4114756"/>
                </a:lnTo>
                <a:lnTo>
                  <a:pt x="550922" y="4663390"/>
                </a:lnTo>
                <a:lnTo>
                  <a:pt x="2283" y="4663390"/>
                </a:lnTo>
                <a:close/>
                <a:moveTo>
                  <a:pt x="10060564" y="3526933"/>
                </a:moveTo>
                <a:lnTo>
                  <a:pt x="10607040" y="3526933"/>
                </a:lnTo>
                <a:lnTo>
                  <a:pt x="10607040" y="4075573"/>
                </a:lnTo>
                <a:lnTo>
                  <a:pt x="10060564" y="4075573"/>
                </a:lnTo>
                <a:close/>
                <a:moveTo>
                  <a:pt x="9468876" y="3526932"/>
                </a:moveTo>
                <a:lnTo>
                  <a:pt x="10017516" y="3526932"/>
                </a:lnTo>
                <a:lnTo>
                  <a:pt x="10017516" y="4075572"/>
                </a:lnTo>
                <a:lnTo>
                  <a:pt x="9468876" y="4075572"/>
                </a:lnTo>
                <a:close/>
                <a:moveTo>
                  <a:pt x="8877190" y="3526932"/>
                </a:moveTo>
                <a:lnTo>
                  <a:pt x="9425830" y="3526932"/>
                </a:lnTo>
                <a:lnTo>
                  <a:pt x="9425830" y="4075572"/>
                </a:lnTo>
                <a:lnTo>
                  <a:pt x="8877190" y="4075572"/>
                </a:lnTo>
                <a:close/>
                <a:moveTo>
                  <a:pt x="8285504" y="3526932"/>
                </a:moveTo>
                <a:lnTo>
                  <a:pt x="8834144" y="3526932"/>
                </a:lnTo>
                <a:lnTo>
                  <a:pt x="8834144" y="4075572"/>
                </a:lnTo>
                <a:lnTo>
                  <a:pt x="8285504" y="4075572"/>
                </a:lnTo>
                <a:close/>
                <a:moveTo>
                  <a:pt x="7693818" y="3526932"/>
                </a:moveTo>
                <a:lnTo>
                  <a:pt x="8242458" y="3526932"/>
                </a:lnTo>
                <a:lnTo>
                  <a:pt x="8242458" y="4075572"/>
                </a:lnTo>
                <a:lnTo>
                  <a:pt x="7693818" y="4075572"/>
                </a:lnTo>
                <a:close/>
                <a:moveTo>
                  <a:pt x="7102132" y="3526932"/>
                </a:moveTo>
                <a:lnTo>
                  <a:pt x="7650772" y="3526932"/>
                </a:lnTo>
                <a:lnTo>
                  <a:pt x="7650772" y="4075572"/>
                </a:lnTo>
                <a:lnTo>
                  <a:pt x="7102132" y="4075572"/>
                </a:lnTo>
                <a:close/>
                <a:moveTo>
                  <a:pt x="6510446" y="3526932"/>
                </a:moveTo>
                <a:lnTo>
                  <a:pt x="7059086" y="3526932"/>
                </a:lnTo>
                <a:lnTo>
                  <a:pt x="7059086" y="4075572"/>
                </a:lnTo>
                <a:lnTo>
                  <a:pt x="6510446" y="4075572"/>
                </a:lnTo>
                <a:close/>
                <a:moveTo>
                  <a:pt x="5918760" y="3526932"/>
                </a:moveTo>
                <a:lnTo>
                  <a:pt x="6467400" y="3526932"/>
                </a:lnTo>
                <a:lnTo>
                  <a:pt x="6467400" y="4075572"/>
                </a:lnTo>
                <a:lnTo>
                  <a:pt x="5918760" y="4075572"/>
                </a:lnTo>
                <a:close/>
                <a:moveTo>
                  <a:pt x="5327074" y="3526932"/>
                </a:moveTo>
                <a:lnTo>
                  <a:pt x="5875714" y="3526932"/>
                </a:lnTo>
                <a:lnTo>
                  <a:pt x="5875714" y="4075572"/>
                </a:lnTo>
                <a:lnTo>
                  <a:pt x="5327074" y="4075572"/>
                </a:lnTo>
                <a:close/>
                <a:moveTo>
                  <a:pt x="4735388" y="3526932"/>
                </a:moveTo>
                <a:lnTo>
                  <a:pt x="5284028" y="3526932"/>
                </a:lnTo>
                <a:lnTo>
                  <a:pt x="5284028" y="4075572"/>
                </a:lnTo>
                <a:lnTo>
                  <a:pt x="4735388" y="4075572"/>
                </a:lnTo>
                <a:close/>
                <a:moveTo>
                  <a:pt x="4143702" y="3526932"/>
                </a:moveTo>
                <a:lnTo>
                  <a:pt x="4692342" y="3526932"/>
                </a:lnTo>
                <a:lnTo>
                  <a:pt x="4692342" y="4075572"/>
                </a:lnTo>
                <a:lnTo>
                  <a:pt x="4143702" y="4075572"/>
                </a:lnTo>
                <a:close/>
                <a:moveTo>
                  <a:pt x="3552016" y="3526932"/>
                </a:moveTo>
                <a:lnTo>
                  <a:pt x="4100656" y="3526932"/>
                </a:lnTo>
                <a:lnTo>
                  <a:pt x="4100656" y="4075572"/>
                </a:lnTo>
                <a:lnTo>
                  <a:pt x="3552016" y="4075572"/>
                </a:lnTo>
                <a:close/>
                <a:moveTo>
                  <a:pt x="2960336" y="3526932"/>
                </a:moveTo>
                <a:lnTo>
                  <a:pt x="3508970" y="3526932"/>
                </a:lnTo>
                <a:lnTo>
                  <a:pt x="3508970" y="4075572"/>
                </a:lnTo>
                <a:lnTo>
                  <a:pt x="2960336" y="4075572"/>
                </a:lnTo>
                <a:close/>
                <a:moveTo>
                  <a:pt x="2368649" y="3526932"/>
                </a:moveTo>
                <a:lnTo>
                  <a:pt x="2917290" y="3526932"/>
                </a:lnTo>
                <a:lnTo>
                  <a:pt x="2917290" y="4075572"/>
                </a:lnTo>
                <a:lnTo>
                  <a:pt x="2368649" y="4075572"/>
                </a:lnTo>
                <a:close/>
                <a:moveTo>
                  <a:pt x="1776962" y="3526932"/>
                </a:moveTo>
                <a:lnTo>
                  <a:pt x="2325603" y="3526932"/>
                </a:lnTo>
                <a:lnTo>
                  <a:pt x="2325603" y="4075572"/>
                </a:lnTo>
                <a:lnTo>
                  <a:pt x="1776962" y="4075572"/>
                </a:lnTo>
                <a:close/>
                <a:moveTo>
                  <a:pt x="1185277" y="3526932"/>
                </a:moveTo>
                <a:lnTo>
                  <a:pt x="1733917" y="3526932"/>
                </a:lnTo>
                <a:lnTo>
                  <a:pt x="1733917" y="4075572"/>
                </a:lnTo>
                <a:lnTo>
                  <a:pt x="1185277" y="4075572"/>
                </a:lnTo>
                <a:close/>
                <a:moveTo>
                  <a:pt x="593591" y="3526932"/>
                </a:moveTo>
                <a:lnTo>
                  <a:pt x="1142231" y="3526932"/>
                </a:lnTo>
                <a:lnTo>
                  <a:pt x="1142231" y="4075572"/>
                </a:lnTo>
                <a:lnTo>
                  <a:pt x="593591" y="4075572"/>
                </a:lnTo>
                <a:close/>
                <a:moveTo>
                  <a:pt x="1905" y="3526932"/>
                </a:moveTo>
                <a:lnTo>
                  <a:pt x="550545" y="3526932"/>
                </a:lnTo>
                <a:lnTo>
                  <a:pt x="550545" y="4075572"/>
                </a:lnTo>
                <a:lnTo>
                  <a:pt x="1905" y="4075572"/>
                </a:lnTo>
                <a:close/>
                <a:moveTo>
                  <a:pt x="10060184" y="2939111"/>
                </a:moveTo>
                <a:lnTo>
                  <a:pt x="10607040" y="2939111"/>
                </a:lnTo>
                <a:lnTo>
                  <a:pt x="10607040" y="3487751"/>
                </a:lnTo>
                <a:lnTo>
                  <a:pt x="10060184" y="3487751"/>
                </a:lnTo>
                <a:close/>
                <a:moveTo>
                  <a:pt x="9468496" y="2939110"/>
                </a:moveTo>
                <a:lnTo>
                  <a:pt x="10017136" y="2939110"/>
                </a:lnTo>
                <a:lnTo>
                  <a:pt x="10017136" y="3487750"/>
                </a:lnTo>
                <a:lnTo>
                  <a:pt x="9468496" y="3487750"/>
                </a:lnTo>
                <a:close/>
                <a:moveTo>
                  <a:pt x="8876810" y="2939110"/>
                </a:moveTo>
                <a:lnTo>
                  <a:pt x="9425450" y="2939110"/>
                </a:lnTo>
                <a:lnTo>
                  <a:pt x="9425450" y="3487750"/>
                </a:lnTo>
                <a:lnTo>
                  <a:pt x="8876810" y="3487750"/>
                </a:lnTo>
                <a:close/>
                <a:moveTo>
                  <a:pt x="8285124" y="2939110"/>
                </a:moveTo>
                <a:lnTo>
                  <a:pt x="8833764" y="2939110"/>
                </a:lnTo>
                <a:lnTo>
                  <a:pt x="8833764" y="3487750"/>
                </a:lnTo>
                <a:lnTo>
                  <a:pt x="8285124" y="3487750"/>
                </a:lnTo>
                <a:close/>
                <a:moveTo>
                  <a:pt x="7693438" y="2939110"/>
                </a:moveTo>
                <a:lnTo>
                  <a:pt x="8242078" y="2939110"/>
                </a:lnTo>
                <a:lnTo>
                  <a:pt x="8242078" y="3487750"/>
                </a:lnTo>
                <a:lnTo>
                  <a:pt x="7693438" y="3487750"/>
                </a:lnTo>
                <a:close/>
                <a:moveTo>
                  <a:pt x="7101752" y="2939110"/>
                </a:moveTo>
                <a:lnTo>
                  <a:pt x="7650392" y="2939110"/>
                </a:lnTo>
                <a:lnTo>
                  <a:pt x="7650392" y="3487750"/>
                </a:lnTo>
                <a:lnTo>
                  <a:pt x="7101752" y="3487750"/>
                </a:lnTo>
                <a:close/>
                <a:moveTo>
                  <a:pt x="6510066" y="2939110"/>
                </a:moveTo>
                <a:lnTo>
                  <a:pt x="7058706" y="2939110"/>
                </a:lnTo>
                <a:lnTo>
                  <a:pt x="7058706" y="3487750"/>
                </a:lnTo>
                <a:lnTo>
                  <a:pt x="6510066" y="3487750"/>
                </a:lnTo>
                <a:close/>
                <a:moveTo>
                  <a:pt x="5918380" y="2939110"/>
                </a:moveTo>
                <a:lnTo>
                  <a:pt x="6467020" y="2939110"/>
                </a:lnTo>
                <a:lnTo>
                  <a:pt x="6467020" y="3487750"/>
                </a:lnTo>
                <a:lnTo>
                  <a:pt x="5918380" y="3487750"/>
                </a:lnTo>
                <a:close/>
                <a:moveTo>
                  <a:pt x="5326694" y="2939110"/>
                </a:moveTo>
                <a:lnTo>
                  <a:pt x="5875334" y="2939110"/>
                </a:lnTo>
                <a:lnTo>
                  <a:pt x="5875334" y="3487750"/>
                </a:lnTo>
                <a:lnTo>
                  <a:pt x="5326694" y="3487750"/>
                </a:lnTo>
                <a:close/>
                <a:moveTo>
                  <a:pt x="4735008" y="2939110"/>
                </a:moveTo>
                <a:lnTo>
                  <a:pt x="5283648" y="2939110"/>
                </a:lnTo>
                <a:lnTo>
                  <a:pt x="5283648" y="3487750"/>
                </a:lnTo>
                <a:lnTo>
                  <a:pt x="4735008" y="3487750"/>
                </a:lnTo>
                <a:close/>
                <a:moveTo>
                  <a:pt x="4143322" y="2939110"/>
                </a:moveTo>
                <a:lnTo>
                  <a:pt x="4691962" y="2939110"/>
                </a:lnTo>
                <a:lnTo>
                  <a:pt x="4691962" y="3487750"/>
                </a:lnTo>
                <a:lnTo>
                  <a:pt x="4143322" y="3487750"/>
                </a:lnTo>
                <a:close/>
                <a:moveTo>
                  <a:pt x="3551636" y="2939110"/>
                </a:moveTo>
                <a:lnTo>
                  <a:pt x="4100276" y="2939110"/>
                </a:lnTo>
                <a:lnTo>
                  <a:pt x="4100276" y="3487750"/>
                </a:lnTo>
                <a:lnTo>
                  <a:pt x="3551636" y="3487750"/>
                </a:lnTo>
                <a:close/>
                <a:moveTo>
                  <a:pt x="2959959" y="2939110"/>
                </a:moveTo>
                <a:lnTo>
                  <a:pt x="3508590" y="2939110"/>
                </a:lnTo>
                <a:lnTo>
                  <a:pt x="3508590" y="3487750"/>
                </a:lnTo>
                <a:lnTo>
                  <a:pt x="2959959" y="3487750"/>
                </a:lnTo>
                <a:close/>
                <a:moveTo>
                  <a:pt x="2368272" y="2939110"/>
                </a:moveTo>
                <a:lnTo>
                  <a:pt x="2916913" y="2939110"/>
                </a:lnTo>
                <a:lnTo>
                  <a:pt x="2916913" y="3487750"/>
                </a:lnTo>
                <a:lnTo>
                  <a:pt x="2368272" y="3487750"/>
                </a:lnTo>
                <a:close/>
                <a:moveTo>
                  <a:pt x="1776585" y="2939110"/>
                </a:moveTo>
                <a:lnTo>
                  <a:pt x="2325226" y="2939110"/>
                </a:lnTo>
                <a:lnTo>
                  <a:pt x="2325226" y="3487750"/>
                </a:lnTo>
                <a:lnTo>
                  <a:pt x="1776585" y="3487750"/>
                </a:lnTo>
                <a:close/>
                <a:moveTo>
                  <a:pt x="1184899" y="2939110"/>
                </a:moveTo>
                <a:lnTo>
                  <a:pt x="1733539" y="2939110"/>
                </a:lnTo>
                <a:lnTo>
                  <a:pt x="1733539" y="3487750"/>
                </a:lnTo>
                <a:lnTo>
                  <a:pt x="1184899" y="3487750"/>
                </a:lnTo>
                <a:close/>
                <a:moveTo>
                  <a:pt x="593213" y="2939110"/>
                </a:moveTo>
                <a:lnTo>
                  <a:pt x="1141853" y="2939110"/>
                </a:lnTo>
                <a:lnTo>
                  <a:pt x="1141853" y="3487750"/>
                </a:lnTo>
                <a:lnTo>
                  <a:pt x="593213" y="3487750"/>
                </a:lnTo>
                <a:close/>
                <a:moveTo>
                  <a:pt x="1528" y="2939110"/>
                </a:moveTo>
                <a:lnTo>
                  <a:pt x="550168" y="2939110"/>
                </a:lnTo>
                <a:lnTo>
                  <a:pt x="550168" y="3487750"/>
                </a:lnTo>
                <a:lnTo>
                  <a:pt x="1528" y="3487750"/>
                </a:lnTo>
                <a:close/>
                <a:moveTo>
                  <a:pt x="10059804" y="2351289"/>
                </a:moveTo>
                <a:lnTo>
                  <a:pt x="10607040" y="2351289"/>
                </a:lnTo>
                <a:lnTo>
                  <a:pt x="10607040" y="2899929"/>
                </a:lnTo>
                <a:lnTo>
                  <a:pt x="10059804" y="2899929"/>
                </a:lnTo>
                <a:close/>
                <a:moveTo>
                  <a:pt x="9468116" y="2351288"/>
                </a:moveTo>
                <a:lnTo>
                  <a:pt x="10016756" y="2351288"/>
                </a:lnTo>
                <a:lnTo>
                  <a:pt x="10016756" y="2899928"/>
                </a:lnTo>
                <a:lnTo>
                  <a:pt x="9468116" y="2899928"/>
                </a:lnTo>
                <a:close/>
                <a:moveTo>
                  <a:pt x="8876430" y="2351288"/>
                </a:moveTo>
                <a:lnTo>
                  <a:pt x="9425070" y="2351288"/>
                </a:lnTo>
                <a:lnTo>
                  <a:pt x="9425070" y="2899928"/>
                </a:lnTo>
                <a:lnTo>
                  <a:pt x="8876430" y="2899928"/>
                </a:lnTo>
                <a:close/>
                <a:moveTo>
                  <a:pt x="8284744" y="2351288"/>
                </a:moveTo>
                <a:lnTo>
                  <a:pt x="8833384" y="2351288"/>
                </a:lnTo>
                <a:lnTo>
                  <a:pt x="8833384" y="2899928"/>
                </a:lnTo>
                <a:lnTo>
                  <a:pt x="8284744" y="2899928"/>
                </a:lnTo>
                <a:close/>
                <a:moveTo>
                  <a:pt x="7693058" y="2351288"/>
                </a:moveTo>
                <a:lnTo>
                  <a:pt x="8241698" y="2351288"/>
                </a:lnTo>
                <a:lnTo>
                  <a:pt x="8241698" y="2899928"/>
                </a:lnTo>
                <a:lnTo>
                  <a:pt x="7693058" y="2899928"/>
                </a:lnTo>
                <a:close/>
                <a:moveTo>
                  <a:pt x="7101372" y="2351288"/>
                </a:moveTo>
                <a:lnTo>
                  <a:pt x="7650012" y="2351288"/>
                </a:lnTo>
                <a:lnTo>
                  <a:pt x="7650012" y="2899928"/>
                </a:lnTo>
                <a:lnTo>
                  <a:pt x="7101372" y="2899928"/>
                </a:lnTo>
                <a:close/>
                <a:moveTo>
                  <a:pt x="6509686" y="2351288"/>
                </a:moveTo>
                <a:lnTo>
                  <a:pt x="7058326" y="2351288"/>
                </a:lnTo>
                <a:lnTo>
                  <a:pt x="7058326" y="2899928"/>
                </a:lnTo>
                <a:lnTo>
                  <a:pt x="6509686" y="2899928"/>
                </a:lnTo>
                <a:close/>
                <a:moveTo>
                  <a:pt x="5918000" y="2351288"/>
                </a:moveTo>
                <a:lnTo>
                  <a:pt x="6466640" y="2351288"/>
                </a:lnTo>
                <a:lnTo>
                  <a:pt x="6466640" y="2899928"/>
                </a:lnTo>
                <a:lnTo>
                  <a:pt x="5918000" y="2899928"/>
                </a:lnTo>
                <a:close/>
                <a:moveTo>
                  <a:pt x="5326314" y="2351288"/>
                </a:moveTo>
                <a:lnTo>
                  <a:pt x="5874954" y="2351288"/>
                </a:lnTo>
                <a:lnTo>
                  <a:pt x="5874954" y="2899928"/>
                </a:lnTo>
                <a:lnTo>
                  <a:pt x="5326314" y="2899928"/>
                </a:lnTo>
                <a:close/>
                <a:moveTo>
                  <a:pt x="4734628" y="2351288"/>
                </a:moveTo>
                <a:lnTo>
                  <a:pt x="5283268" y="2351288"/>
                </a:lnTo>
                <a:lnTo>
                  <a:pt x="5283268" y="2899928"/>
                </a:lnTo>
                <a:lnTo>
                  <a:pt x="4734628" y="2899928"/>
                </a:lnTo>
                <a:close/>
                <a:moveTo>
                  <a:pt x="4142942" y="2351288"/>
                </a:moveTo>
                <a:lnTo>
                  <a:pt x="4691582" y="2351288"/>
                </a:lnTo>
                <a:lnTo>
                  <a:pt x="4691582" y="2899928"/>
                </a:lnTo>
                <a:lnTo>
                  <a:pt x="4142942" y="2899928"/>
                </a:lnTo>
                <a:close/>
                <a:moveTo>
                  <a:pt x="3551256" y="2351288"/>
                </a:moveTo>
                <a:lnTo>
                  <a:pt x="4099896" y="2351288"/>
                </a:lnTo>
                <a:lnTo>
                  <a:pt x="4099896" y="2899928"/>
                </a:lnTo>
                <a:lnTo>
                  <a:pt x="3551256" y="2899928"/>
                </a:lnTo>
                <a:close/>
                <a:moveTo>
                  <a:pt x="2959583" y="2351288"/>
                </a:moveTo>
                <a:lnTo>
                  <a:pt x="3508210" y="2351288"/>
                </a:lnTo>
                <a:lnTo>
                  <a:pt x="3508210" y="2899928"/>
                </a:lnTo>
                <a:lnTo>
                  <a:pt x="2959583" y="2899928"/>
                </a:lnTo>
                <a:close/>
                <a:moveTo>
                  <a:pt x="2367895" y="2351288"/>
                </a:moveTo>
                <a:lnTo>
                  <a:pt x="2916537" y="2351288"/>
                </a:lnTo>
                <a:lnTo>
                  <a:pt x="2916537" y="2899928"/>
                </a:lnTo>
                <a:lnTo>
                  <a:pt x="2367895" y="2899928"/>
                </a:lnTo>
                <a:close/>
                <a:moveTo>
                  <a:pt x="1776207" y="2351288"/>
                </a:moveTo>
                <a:lnTo>
                  <a:pt x="2324849" y="2351288"/>
                </a:lnTo>
                <a:lnTo>
                  <a:pt x="2324849" y="2899928"/>
                </a:lnTo>
                <a:lnTo>
                  <a:pt x="1776207" y="2899928"/>
                </a:lnTo>
                <a:close/>
                <a:moveTo>
                  <a:pt x="1184522" y="2351288"/>
                </a:moveTo>
                <a:lnTo>
                  <a:pt x="1733161" y="2351288"/>
                </a:lnTo>
                <a:lnTo>
                  <a:pt x="1733161" y="2899928"/>
                </a:lnTo>
                <a:lnTo>
                  <a:pt x="1184522" y="2899928"/>
                </a:lnTo>
                <a:close/>
                <a:moveTo>
                  <a:pt x="592836" y="2351288"/>
                </a:moveTo>
                <a:lnTo>
                  <a:pt x="1141476" y="2351288"/>
                </a:lnTo>
                <a:lnTo>
                  <a:pt x="1141476" y="2899928"/>
                </a:lnTo>
                <a:lnTo>
                  <a:pt x="592836" y="2899928"/>
                </a:lnTo>
                <a:close/>
                <a:moveTo>
                  <a:pt x="1150" y="2351288"/>
                </a:moveTo>
                <a:lnTo>
                  <a:pt x="549790" y="2351288"/>
                </a:lnTo>
                <a:lnTo>
                  <a:pt x="549790" y="2899928"/>
                </a:lnTo>
                <a:lnTo>
                  <a:pt x="1150" y="2899928"/>
                </a:lnTo>
                <a:close/>
                <a:moveTo>
                  <a:pt x="10059424" y="1763467"/>
                </a:moveTo>
                <a:lnTo>
                  <a:pt x="10607040" y="1763467"/>
                </a:lnTo>
                <a:lnTo>
                  <a:pt x="10607040" y="2312107"/>
                </a:lnTo>
                <a:lnTo>
                  <a:pt x="10059424" y="2312107"/>
                </a:lnTo>
                <a:close/>
                <a:moveTo>
                  <a:pt x="9467736" y="1763466"/>
                </a:moveTo>
                <a:lnTo>
                  <a:pt x="10016376" y="1763466"/>
                </a:lnTo>
                <a:lnTo>
                  <a:pt x="10016376" y="2312106"/>
                </a:lnTo>
                <a:lnTo>
                  <a:pt x="9467736" y="2312106"/>
                </a:lnTo>
                <a:close/>
                <a:moveTo>
                  <a:pt x="8876050" y="1763466"/>
                </a:moveTo>
                <a:lnTo>
                  <a:pt x="9424690" y="1763466"/>
                </a:lnTo>
                <a:lnTo>
                  <a:pt x="9424690" y="2312106"/>
                </a:lnTo>
                <a:lnTo>
                  <a:pt x="8876050" y="2312106"/>
                </a:lnTo>
                <a:close/>
                <a:moveTo>
                  <a:pt x="8284364" y="1763466"/>
                </a:moveTo>
                <a:lnTo>
                  <a:pt x="8833004" y="1763466"/>
                </a:lnTo>
                <a:lnTo>
                  <a:pt x="8833004" y="2312106"/>
                </a:lnTo>
                <a:lnTo>
                  <a:pt x="8284364" y="2312106"/>
                </a:lnTo>
                <a:close/>
                <a:moveTo>
                  <a:pt x="7692678" y="1763466"/>
                </a:moveTo>
                <a:lnTo>
                  <a:pt x="8241318" y="1763466"/>
                </a:lnTo>
                <a:lnTo>
                  <a:pt x="8241318" y="2312106"/>
                </a:lnTo>
                <a:lnTo>
                  <a:pt x="7692678" y="2312106"/>
                </a:lnTo>
                <a:close/>
                <a:moveTo>
                  <a:pt x="7100992" y="1763466"/>
                </a:moveTo>
                <a:lnTo>
                  <a:pt x="7649632" y="1763466"/>
                </a:lnTo>
                <a:lnTo>
                  <a:pt x="7649632" y="2312106"/>
                </a:lnTo>
                <a:lnTo>
                  <a:pt x="7100992" y="2312106"/>
                </a:lnTo>
                <a:close/>
                <a:moveTo>
                  <a:pt x="6509306" y="1763466"/>
                </a:moveTo>
                <a:lnTo>
                  <a:pt x="7057946" y="1763466"/>
                </a:lnTo>
                <a:lnTo>
                  <a:pt x="7057946" y="2312106"/>
                </a:lnTo>
                <a:lnTo>
                  <a:pt x="6509306" y="2312106"/>
                </a:lnTo>
                <a:close/>
                <a:moveTo>
                  <a:pt x="5917620" y="1763466"/>
                </a:moveTo>
                <a:lnTo>
                  <a:pt x="6466260" y="1763466"/>
                </a:lnTo>
                <a:lnTo>
                  <a:pt x="6466260" y="2312106"/>
                </a:lnTo>
                <a:lnTo>
                  <a:pt x="5917620" y="2312106"/>
                </a:lnTo>
                <a:close/>
                <a:moveTo>
                  <a:pt x="5325934" y="1763466"/>
                </a:moveTo>
                <a:lnTo>
                  <a:pt x="5874574" y="1763466"/>
                </a:lnTo>
                <a:lnTo>
                  <a:pt x="5874574" y="2312106"/>
                </a:lnTo>
                <a:lnTo>
                  <a:pt x="5325934" y="2312106"/>
                </a:lnTo>
                <a:close/>
                <a:moveTo>
                  <a:pt x="4734248" y="1763466"/>
                </a:moveTo>
                <a:lnTo>
                  <a:pt x="5282888" y="1763466"/>
                </a:lnTo>
                <a:lnTo>
                  <a:pt x="5282888" y="2312106"/>
                </a:lnTo>
                <a:lnTo>
                  <a:pt x="4734248" y="2312106"/>
                </a:lnTo>
                <a:close/>
                <a:moveTo>
                  <a:pt x="4142562" y="1763466"/>
                </a:moveTo>
                <a:lnTo>
                  <a:pt x="4691202" y="1763466"/>
                </a:lnTo>
                <a:lnTo>
                  <a:pt x="4691202" y="2312106"/>
                </a:lnTo>
                <a:lnTo>
                  <a:pt x="4142562" y="2312106"/>
                </a:lnTo>
                <a:close/>
                <a:moveTo>
                  <a:pt x="3550876" y="1763466"/>
                </a:moveTo>
                <a:lnTo>
                  <a:pt x="4099516" y="1763466"/>
                </a:lnTo>
                <a:lnTo>
                  <a:pt x="4099516" y="2312106"/>
                </a:lnTo>
                <a:lnTo>
                  <a:pt x="3550876" y="2312106"/>
                </a:lnTo>
                <a:close/>
                <a:moveTo>
                  <a:pt x="2959206" y="1763466"/>
                </a:moveTo>
                <a:lnTo>
                  <a:pt x="3507830" y="1763466"/>
                </a:lnTo>
                <a:lnTo>
                  <a:pt x="3507830" y="2312106"/>
                </a:lnTo>
                <a:lnTo>
                  <a:pt x="2959206" y="2312106"/>
                </a:lnTo>
                <a:close/>
                <a:moveTo>
                  <a:pt x="2367518" y="1763466"/>
                </a:moveTo>
                <a:lnTo>
                  <a:pt x="2916160" y="1763466"/>
                </a:lnTo>
                <a:lnTo>
                  <a:pt x="2916160" y="2312106"/>
                </a:lnTo>
                <a:lnTo>
                  <a:pt x="2367518" y="2312106"/>
                </a:lnTo>
                <a:close/>
                <a:moveTo>
                  <a:pt x="1775829" y="1763466"/>
                </a:moveTo>
                <a:lnTo>
                  <a:pt x="2324472" y="1763466"/>
                </a:lnTo>
                <a:lnTo>
                  <a:pt x="2324472" y="2312106"/>
                </a:lnTo>
                <a:lnTo>
                  <a:pt x="1775829" y="2312106"/>
                </a:lnTo>
                <a:close/>
                <a:moveTo>
                  <a:pt x="1184144" y="1763466"/>
                </a:moveTo>
                <a:lnTo>
                  <a:pt x="1732783" y="1763466"/>
                </a:lnTo>
                <a:lnTo>
                  <a:pt x="1732783" y="2312106"/>
                </a:lnTo>
                <a:lnTo>
                  <a:pt x="1184144" y="2312106"/>
                </a:lnTo>
                <a:close/>
                <a:moveTo>
                  <a:pt x="592459" y="1763466"/>
                </a:moveTo>
                <a:lnTo>
                  <a:pt x="1141098" y="1763466"/>
                </a:lnTo>
                <a:lnTo>
                  <a:pt x="1141098" y="2312106"/>
                </a:lnTo>
                <a:lnTo>
                  <a:pt x="592459" y="2312106"/>
                </a:lnTo>
                <a:close/>
                <a:moveTo>
                  <a:pt x="773" y="1763466"/>
                </a:moveTo>
                <a:lnTo>
                  <a:pt x="549413" y="1763466"/>
                </a:lnTo>
                <a:lnTo>
                  <a:pt x="549413" y="2312106"/>
                </a:lnTo>
                <a:lnTo>
                  <a:pt x="773" y="2312106"/>
                </a:lnTo>
                <a:close/>
                <a:moveTo>
                  <a:pt x="10059044" y="1175645"/>
                </a:moveTo>
                <a:lnTo>
                  <a:pt x="10607040" y="1175645"/>
                </a:lnTo>
                <a:lnTo>
                  <a:pt x="10607040" y="1724285"/>
                </a:lnTo>
                <a:lnTo>
                  <a:pt x="10059044" y="1724285"/>
                </a:lnTo>
                <a:close/>
                <a:moveTo>
                  <a:pt x="9467356" y="1175644"/>
                </a:moveTo>
                <a:lnTo>
                  <a:pt x="10015996" y="1175644"/>
                </a:lnTo>
                <a:lnTo>
                  <a:pt x="10015996" y="1724284"/>
                </a:lnTo>
                <a:lnTo>
                  <a:pt x="9467356" y="1724284"/>
                </a:lnTo>
                <a:close/>
                <a:moveTo>
                  <a:pt x="8875670" y="1175644"/>
                </a:moveTo>
                <a:lnTo>
                  <a:pt x="9424310" y="1175644"/>
                </a:lnTo>
                <a:lnTo>
                  <a:pt x="9424310" y="1724284"/>
                </a:lnTo>
                <a:lnTo>
                  <a:pt x="8875670" y="1724284"/>
                </a:lnTo>
                <a:close/>
                <a:moveTo>
                  <a:pt x="8283984" y="1175644"/>
                </a:moveTo>
                <a:lnTo>
                  <a:pt x="8832624" y="1175644"/>
                </a:lnTo>
                <a:lnTo>
                  <a:pt x="8832624" y="1724284"/>
                </a:lnTo>
                <a:lnTo>
                  <a:pt x="8283984" y="1724284"/>
                </a:lnTo>
                <a:close/>
                <a:moveTo>
                  <a:pt x="7692298" y="1175644"/>
                </a:moveTo>
                <a:lnTo>
                  <a:pt x="8240938" y="1175644"/>
                </a:lnTo>
                <a:lnTo>
                  <a:pt x="8240938" y="1724284"/>
                </a:lnTo>
                <a:lnTo>
                  <a:pt x="7692298" y="1724284"/>
                </a:lnTo>
                <a:close/>
                <a:moveTo>
                  <a:pt x="7100612" y="1175644"/>
                </a:moveTo>
                <a:lnTo>
                  <a:pt x="7649252" y="1175644"/>
                </a:lnTo>
                <a:lnTo>
                  <a:pt x="7649252" y="1724284"/>
                </a:lnTo>
                <a:lnTo>
                  <a:pt x="7100612" y="1724284"/>
                </a:lnTo>
                <a:close/>
                <a:moveTo>
                  <a:pt x="6508926" y="1175644"/>
                </a:moveTo>
                <a:lnTo>
                  <a:pt x="7057566" y="1175644"/>
                </a:lnTo>
                <a:lnTo>
                  <a:pt x="7057566" y="1724284"/>
                </a:lnTo>
                <a:lnTo>
                  <a:pt x="6508926" y="1724284"/>
                </a:lnTo>
                <a:close/>
                <a:moveTo>
                  <a:pt x="5917240" y="1175644"/>
                </a:moveTo>
                <a:lnTo>
                  <a:pt x="6465880" y="1175644"/>
                </a:lnTo>
                <a:lnTo>
                  <a:pt x="6465880" y="1724284"/>
                </a:lnTo>
                <a:lnTo>
                  <a:pt x="5917240" y="1724284"/>
                </a:lnTo>
                <a:close/>
                <a:moveTo>
                  <a:pt x="5325554" y="1175644"/>
                </a:moveTo>
                <a:lnTo>
                  <a:pt x="5874194" y="1175644"/>
                </a:lnTo>
                <a:lnTo>
                  <a:pt x="5874194" y="1724284"/>
                </a:lnTo>
                <a:lnTo>
                  <a:pt x="5325554" y="1724284"/>
                </a:lnTo>
                <a:close/>
                <a:moveTo>
                  <a:pt x="4733868" y="1175644"/>
                </a:moveTo>
                <a:lnTo>
                  <a:pt x="5282508" y="1175644"/>
                </a:lnTo>
                <a:lnTo>
                  <a:pt x="5282508" y="1724284"/>
                </a:lnTo>
                <a:lnTo>
                  <a:pt x="4733868" y="1724284"/>
                </a:lnTo>
                <a:close/>
                <a:moveTo>
                  <a:pt x="4142182" y="1175644"/>
                </a:moveTo>
                <a:lnTo>
                  <a:pt x="4690822" y="1175644"/>
                </a:lnTo>
                <a:lnTo>
                  <a:pt x="4690822" y="1724284"/>
                </a:lnTo>
                <a:lnTo>
                  <a:pt x="4142182" y="1724284"/>
                </a:lnTo>
                <a:close/>
                <a:moveTo>
                  <a:pt x="3550496" y="1175644"/>
                </a:moveTo>
                <a:lnTo>
                  <a:pt x="4099136" y="1175644"/>
                </a:lnTo>
                <a:lnTo>
                  <a:pt x="4099136" y="1724284"/>
                </a:lnTo>
                <a:lnTo>
                  <a:pt x="3550496" y="1724284"/>
                </a:lnTo>
                <a:close/>
                <a:moveTo>
                  <a:pt x="2958830" y="1175644"/>
                </a:moveTo>
                <a:lnTo>
                  <a:pt x="3507450" y="1175644"/>
                </a:lnTo>
                <a:lnTo>
                  <a:pt x="3507450" y="1724284"/>
                </a:lnTo>
                <a:lnTo>
                  <a:pt x="2958830" y="1724284"/>
                </a:lnTo>
                <a:close/>
                <a:moveTo>
                  <a:pt x="2367141" y="1175644"/>
                </a:moveTo>
                <a:lnTo>
                  <a:pt x="2915784" y="1175644"/>
                </a:lnTo>
                <a:lnTo>
                  <a:pt x="2915784" y="1724284"/>
                </a:lnTo>
                <a:lnTo>
                  <a:pt x="2367141" y="1724284"/>
                </a:lnTo>
                <a:close/>
                <a:moveTo>
                  <a:pt x="1775452" y="1175644"/>
                </a:moveTo>
                <a:lnTo>
                  <a:pt x="2324095" y="1175644"/>
                </a:lnTo>
                <a:lnTo>
                  <a:pt x="2324095" y="1724284"/>
                </a:lnTo>
                <a:lnTo>
                  <a:pt x="1775452" y="1724284"/>
                </a:lnTo>
                <a:close/>
                <a:moveTo>
                  <a:pt x="1183767" y="1175644"/>
                </a:moveTo>
                <a:lnTo>
                  <a:pt x="1732406" y="1175644"/>
                </a:lnTo>
                <a:lnTo>
                  <a:pt x="1732406" y="1724284"/>
                </a:lnTo>
                <a:lnTo>
                  <a:pt x="1183767" y="1724284"/>
                </a:lnTo>
                <a:close/>
                <a:moveTo>
                  <a:pt x="592081" y="1175644"/>
                </a:moveTo>
                <a:lnTo>
                  <a:pt x="1140721" y="1175644"/>
                </a:lnTo>
                <a:lnTo>
                  <a:pt x="1140721" y="1724284"/>
                </a:lnTo>
                <a:lnTo>
                  <a:pt x="592081" y="1724284"/>
                </a:lnTo>
                <a:close/>
                <a:moveTo>
                  <a:pt x="396" y="1175644"/>
                </a:moveTo>
                <a:lnTo>
                  <a:pt x="549036" y="1175644"/>
                </a:lnTo>
                <a:lnTo>
                  <a:pt x="549036" y="1724284"/>
                </a:lnTo>
                <a:lnTo>
                  <a:pt x="396" y="1724284"/>
                </a:lnTo>
                <a:close/>
                <a:moveTo>
                  <a:pt x="10058664" y="587823"/>
                </a:moveTo>
                <a:lnTo>
                  <a:pt x="10607040" y="587823"/>
                </a:lnTo>
                <a:lnTo>
                  <a:pt x="10607040" y="1136463"/>
                </a:lnTo>
                <a:lnTo>
                  <a:pt x="10058664" y="1136463"/>
                </a:lnTo>
                <a:close/>
                <a:moveTo>
                  <a:pt x="9466976" y="587822"/>
                </a:moveTo>
                <a:lnTo>
                  <a:pt x="10015616" y="587822"/>
                </a:lnTo>
                <a:lnTo>
                  <a:pt x="10015616" y="1136462"/>
                </a:lnTo>
                <a:lnTo>
                  <a:pt x="9466976" y="1136462"/>
                </a:lnTo>
                <a:close/>
                <a:moveTo>
                  <a:pt x="8875290" y="587822"/>
                </a:moveTo>
                <a:lnTo>
                  <a:pt x="9423930" y="587822"/>
                </a:lnTo>
                <a:lnTo>
                  <a:pt x="9423930" y="1136462"/>
                </a:lnTo>
                <a:lnTo>
                  <a:pt x="8875290" y="1136462"/>
                </a:lnTo>
                <a:close/>
                <a:moveTo>
                  <a:pt x="8283604" y="587822"/>
                </a:moveTo>
                <a:lnTo>
                  <a:pt x="8832244" y="587822"/>
                </a:lnTo>
                <a:lnTo>
                  <a:pt x="8832244" y="1136462"/>
                </a:lnTo>
                <a:lnTo>
                  <a:pt x="8283604" y="1136462"/>
                </a:lnTo>
                <a:close/>
                <a:moveTo>
                  <a:pt x="7691918" y="587822"/>
                </a:moveTo>
                <a:lnTo>
                  <a:pt x="8240558" y="587822"/>
                </a:lnTo>
                <a:lnTo>
                  <a:pt x="8240558" y="1136462"/>
                </a:lnTo>
                <a:lnTo>
                  <a:pt x="7691918" y="1136462"/>
                </a:lnTo>
                <a:close/>
                <a:moveTo>
                  <a:pt x="7100232" y="587822"/>
                </a:moveTo>
                <a:lnTo>
                  <a:pt x="7648872" y="587822"/>
                </a:lnTo>
                <a:lnTo>
                  <a:pt x="7648872" y="1136462"/>
                </a:lnTo>
                <a:lnTo>
                  <a:pt x="7100232" y="1136462"/>
                </a:lnTo>
                <a:close/>
                <a:moveTo>
                  <a:pt x="6508546" y="587822"/>
                </a:moveTo>
                <a:lnTo>
                  <a:pt x="7057186" y="587822"/>
                </a:lnTo>
                <a:lnTo>
                  <a:pt x="7057186" y="1136462"/>
                </a:lnTo>
                <a:lnTo>
                  <a:pt x="6508546" y="1136462"/>
                </a:lnTo>
                <a:close/>
                <a:moveTo>
                  <a:pt x="5916860" y="587822"/>
                </a:moveTo>
                <a:lnTo>
                  <a:pt x="6465500" y="587822"/>
                </a:lnTo>
                <a:lnTo>
                  <a:pt x="6465500" y="1136462"/>
                </a:lnTo>
                <a:lnTo>
                  <a:pt x="5916860" y="1136462"/>
                </a:lnTo>
                <a:close/>
                <a:moveTo>
                  <a:pt x="5325174" y="587822"/>
                </a:moveTo>
                <a:lnTo>
                  <a:pt x="5873814" y="587822"/>
                </a:lnTo>
                <a:lnTo>
                  <a:pt x="5873814" y="1136462"/>
                </a:lnTo>
                <a:lnTo>
                  <a:pt x="5325174" y="1136462"/>
                </a:lnTo>
                <a:close/>
                <a:moveTo>
                  <a:pt x="4733488" y="587822"/>
                </a:moveTo>
                <a:lnTo>
                  <a:pt x="5282128" y="587822"/>
                </a:lnTo>
                <a:lnTo>
                  <a:pt x="5282128" y="1136462"/>
                </a:lnTo>
                <a:lnTo>
                  <a:pt x="4733488" y="1136462"/>
                </a:lnTo>
                <a:close/>
                <a:moveTo>
                  <a:pt x="4141802" y="587822"/>
                </a:moveTo>
                <a:lnTo>
                  <a:pt x="4690442" y="587822"/>
                </a:lnTo>
                <a:lnTo>
                  <a:pt x="4690442" y="1136462"/>
                </a:lnTo>
                <a:lnTo>
                  <a:pt x="4141802" y="1136462"/>
                </a:lnTo>
                <a:close/>
                <a:moveTo>
                  <a:pt x="3550116" y="587822"/>
                </a:moveTo>
                <a:lnTo>
                  <a:pt x="4098756" y="587822"/>
                </a:lnTo>
                <a:lnTo>
                  <a:pt x="4098756" y="1136462"/>
                </a:lnTo>
                <a:lnTo>
                  <a:pt x="3550116" y="1136462"/>
                </a:lnTo>
                <a:close/>
                <a:moveTo>
                  <a:pt x="2958453" y="587822"/>
                </a:moveTo>
                <a:lnTo>
                  <a:pt x="3507070" y="587822"/>
                </a:lnTo>
                <a:lnTo>
                  <a:pt x="3507070" y="1136462"/>
                </a:lnTo>
                <a:lnTo>
                  <a:pt x="2958453" y="1136462"/>
                </a:lnTo>
                <a:close/>
                <a:moveTo>
                  <a:pt x="2366764" y="587822"/>
                </a:moveTo>
                <a:lnTo>
                  <a:pt x="2915408" y="587822"/>
                </a:lnTo>
                <a:lnTo>
                  <a:pt x="2915408" y="1136462"/>
                </a:lnTo>
                <a:lnTo>
                  <a:pt x="2366764" y="1136462"/>
                </a:lnTo>
                <a:close/>
                <a:moveTo>
                  <a:pt x="1775075" y="587822"/>
                </a:moveTo>
                <a:lnTo>
                  <a:pt x="2323718" y="587822"/>
                </a:lnTo>
                <a:lnTo>
                  <a:pt x="2323718" y="1136462"/>
                </a:lnTo>
                <a:lnTo>
                  <a:pt x="1775075" y="1136462"/>
                </a:lnTo>
                <a:close/>
                <a:moveTo>
                  <a:pt x="1183389" y="587822"/>
                </a:moveTo>
                <a:lnTo>
                  <a:pt x="1732028" y="587822"/>
                </a:lnTo>
                <a:lnTo>
                  <a:pt x="1732028" y="1136462"/>
                </a:lnTo>
                <a:lnTo>
                  <a:pt x="1183389" y="1136462"/>
                </a:lnTo>
                <a:close/>
                <a:moveTo>
                  <a:pt x="591704" y="587822"/>
                </a:moveTo>
                <a:lnTo>
                  <a:pt x="1140344" y="587822"/>
                </a:lnTo>
                <a:lnTo>
                  <a:pt x="1140344" y="1136462"/>
                </a:lnTo>
                <a:lnTo>
                  <a:pt x="591704" y="1136462"/>
                </a:lnTo>
                <a:close/>
                <a:moveTo>
                  <a:pt x="18" y="587822"/>
                </a:moveTo>
                <a:lnTo>
                  <a:pt x="548658" y="587822"/>
                </a:lnTo>
                <a:lnTo>
                  <a:pt x="548658" y="1136462"/>
                </a:lnTo>
                <a:lnTo>
                  <a:pt x="18" y="1136462"/>
                </a:lnTo>
                <a:close/>
                <a:moveTo>
                  <a:pt x="10058284" y="1"/>
                </a:moveTo>
                <a:lnTo>
                  <a:pt x="10606924" y="1"/>
                </a:lnTo>
                <a:lnTo>
                  <a:pt x="10606924" y="548641"/>
                </a:lnTo>
                <a:lnTo>
                  <a:pt x="10058284" y="548641"/>
                </a:lnTo>
                <a:close/>
                <a:moveTo>
                  <a:pt x="9466596" y="0"/>
                </a:moveTo>
                <a:lnTo>
                  <a:pt x="10015236" y="0"/>
                </a:lnTo>
                <a:lnTo>
                  <a:pt x="10015236" y="548640"/>
                </a:lnTo>
                <a:lnTo>
                  <a:pt x="9466596" y="548640"/>
                </a:lnTo>
                <a:close/>
                <a:moveTo>
                  <a:pt x="8874910" y="0"/>
                </a:moveTo>
                <a:lnTo>
                  <a:pt x="9423550" y="0"/>
                </a:lnTo>
                <a:lnTo>
                  <a:pt x="9423550" y="548640"/>
                </a:lnTo>
                <a:lnTo>
                  <a:pt x="8874910" y="548640"/>
                </a:lnTo>
                <a:close/>
                <a:moveTo>
                  <a:pt x="8283224" y="0"/>
                </a:moveTo>
                <a:lnTo>
                  <a:pt x="8831864" y="0"/>
                </a:lnTo>
                <a:lnTo>
                  <a:pt x="8831864" y="548640"/>
                </a:lnTo>
                <a:lnTo>
                  <a:pt x="8283224" y="548640"/>
                </a:lnTo>
                <a:close/>
                <a:moveTo>
                  <a:pt x="7691538" y="0"/>
                </a:moveTo>
                <a:lnTo>
                  <a:pt x="8240178" y="0"/>
                </a:lnTo>
                <a:lnTo>
                  <a:pt x="8240178" y="548640"/>
                </a:lnTo>
                <a:lnTo>
                  <a:pt x="7691538" y="548640"/>
                </a:lnTo>
                <a:close/>
                <a:moveTo>
                  <a:pt x="7099852" y="0"/>
                </a:moveTo>
                <a:lnTo>
                  <a:pt x="7648492" y="0"/>
                </a:lnTo>
                <a:lnTo>
                  <a:pt x="7648492" y="548640"/>
                </a:lnTo>
                <a:lnTo>
                  <a:pt x="7099852" y="548640"/>
                </a:lnTo>
                <a:close/>
                <a:moveTo>
                  <a:pt x="6508166" y="0"/>
                </a:moveTo>
                <a:lnTo>
                  <a:pt x="7056806" y="0"/>
                </a:lnTo>
                <a:lnTo>
                  <a:pt x="7056806" y="548640"/>
                </a:lnTo>
                <a:lnTo>
                  <a:pt x="6508166" y="548640"/>
                </a:lnTo>
                <a:close/>
                <a:moveTo>
                  <a:pt x="5916480" y="0"/>
                </a:moveTo>
                <a:lnTo>
                  <a:pt x="6465120" y="0"/>
                </a:lnTo>
                <a:lnTo>
                  <a:pt x="6465120" y="548640"/>
                </a:lnTo>
                <a:lnTo>
                  <a:pt x="5916480" y="548640"/>
                </a:lnTo>
                <a:close/>
                <a:moveTo>
                  <a:pt x="5324794" y="0"/>
                </a:moveTo>
                <a:lnTo>
                  <a:pt x="5873434" y="0"/>
                </a:lnTo>
                <a:lnTo>
                  <a:pt x="5873434" y="548640"/>
                </a:lnTo>
                <a:lnTo>
                  <a:pt x="5324794" y="548640"/>
                </a:lnTo>
                <a:close/>
                <a:moveTo>
                  <a:pt x="4733108" y="0"/>
                </a:moveTo>
                <a:lnTo>
                  <a:pt x="5281748" y="0"/>
                </a:lnTo>
                <a:lnTo>
                  <a:pt x="5281748" y="548640"/>
                </a:lnTo>
                <a:lnTo>
                  <a:pt x="4733108" y="548640"/>
                </a:lnTo>
                <a:close/>
                <a:moveTo>
                  <a:pt x="4141422" y="0"/>
                </a:moveTo>
                <a:lnTo>
                  <a:pt x="4690062" y="0"/>
                </a:lnTo>
                <a:lnTo>
                  <a:pt x="4690062" y="548640"/>
                </a:lnTo>
                <a:lnTo>
                  <a:pt x="4141422" y="548640"/>
                </a:lnTo>
                <a:close/>
                <a:moveTo>
                  <a:pt x="3549736" y="0"/>
                </a:moveTo>
                <a:lnTo>
                  <a:pt x="4098376" y="0"/>
                </a:lnTo>
                <a:lnTo>
                  <a:pt x="4098376" y="548640"/>
                </a:lnTo>
                <a:lnTo>
                  <a:pt x="3549736" y="548640"/>
                </a:lnTo>
                <a:close/>
                <a:moveTo>
                  <a:pt x="2958077" y="0"/>
                </a:moveTo>
                <a:lnTo>
                  <a:pt x="3506690" y="0"/>
                </a:lnTo>
                <a:lnTo>
                  <a:pt x="3506690" y="548640"/>
                </a:lnTo>
                <a:lnTo>
                  <a:pt x="2958077" y="548640"/>
                </a:lnTo>
                <a:close/>
                <a:moveTo>
                  <a:pt x="2366387" y="0"/>
                </a:moveTo>
                <a:lnTo>
                  <a:pt x="2915031" y="0"/>
                </a:lnTo>
                <a:lnTo>
                  <a:pt x="2915031" y="548640"/>
                </a:lnTo>
                <a:lnTo>
                  <a:pt x="2366387" y="548640"/>
                </a:lnTo>
                <a:close/>
                <a:moveTo>
                  <a:pt x="1774697" y="0"/>
                </a:moveTo>
                <a:lnTo>
                  <a:pt x="2323341" y="0"/>
                </a:lnTo>
                <a:lnTo>
                  <a:pt x="2323341" y="548640"/>
                </a:lnTo>
                <a:lnTo>
                  <a:pt x="1774697" y="548640"/>
                </a:lnTo>
                <a:close/>
                <a:moveTo>
                  <a:pt x="1183012" y="0"/>
                </a:moveTo>
                <a:lnTo>
                  <a:pt x="1731651" y="0"/>
                </a:lnTo>
                <a:lnTo>
                  <a:pt x="1731651" y="548640"/>
                </a:lnTo>
                <a:lnTo>
                  <a:pt x="1183012" y="548640"/>
                </a:lnTo>
                <a:close/>
                <a:moveTo>
                  <a:pt x="591326" y="0"/>
                </a:moveTo>
                <a:lnTo>
                  <a:pt x="1139966" y="0"/>
                </a:lnTo>
                <a:lnTo>
                  <a:pt x="1139966" y="548640"/>
                </a:lnTo>
                <a:lnTo>
                  <a:pt x="591326" y="548640"/>
                </a:lnTo>
                <a:close/>
                <a:moveTo>
                  <a:pt x="0" y="0"/>
                </a:moveTo>
                <a:lnTo>
                  <a:pt x="548280" y="0"/>
                </a:lnTo>
                <a:lnTo>
                  <a:pt x="548280" y="548640"/>
                </a:lnTo>
                <a:lnTo>
                  <a:pt x="0" y="5486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244968019"/>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Portfolio 10">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43" name="Picture Placeholder 42"/>
          <p:cNvSpPr>
            <a:spLocks noGrp="1"/>
          </p:cNvSpPr>
          <p:nvPr>
            <p:ph type="pic" sz="quarter" idx="10"/>
          </p:nvPr>
        </p:nvSpPr>
        <p:spPr>
          <a:xfrm>
            <a:off x="594124" y="1131586"/>
            <a:ext cx="7955756" cy="3497580"/>
          </a:xfrm>
          <a:custGeom>
            <a:avLst/>
            <a:gdLst>
              <a:gd name="connsiteX0" fmla="*/ 9328931 w 10607674"/>
              <a:gd name="connsiteY0" fmla="*/ 3108926 h 4571966"/>
              <a:gd name="connsiteX1" fmla="*/ 10607674 w 10607674"/>
              <a:gd name="connsiteY1" fmla="*/ 3108926 h 4571966"/>
              <a:gd name="connsiteX2" fmla="*/ 10607674 w 10607674"/>
              <a:gd name="connsiteY2" fmla="*/ 4571966 h 4571966"/>
              <a:gd name="connsiteX3" fmla="*/ 9328931 w 10607674"/>
              <a:gd name="connsiteY3" fmla="*/ 4571966 h 4571966"/>
              <a:gd name="connsiteX4" fmla="*/ 7774109 w 10607674"/>
              <a:gd name="connsiteY4" fmla="*/ 3108926 h 4571966"/>
              <a:gd name="connsiteX5" fmla="*/ 9237149 w 10607674"/>
              <a:gd name="connsiteY5" fmla="*/ 3108926 h 4571966"/>
              <a:gd name="connsiteX6" fmla="*/ 9237149 w 10607674"/>
              <a:gd name="connsiteY6" fmla="*/ 4571966 h 4571966"/>
              <a:gd name="connsiteX7" fmla="*/ 7774109 w 10607674"/>
              <a:gd name="connsiteY7" fmla="*/ 4571966 h 4571966"/>
              <a:gd name="connsiteX8" fmla="*/ 6219287 w 10607674"/>
              <a:gd name="connsiteY8" fmla="*/ 3108926 h 4571966"/>
              <a:gd name="connsiteX9" fmla="*/ 7682327 w 10607674"/>
              <a:gd name="connsiteY9" fmla="*/ 3108926 h 4571966"/>
              <a:gd name="connsiteX10" fmla="*/ 7682327 w 10607674"/>
              <a:gd name="connsiteY10" fmla="*/ 4571966 h 4571966"/>
              <a:gd name="connsiteX11" fmla="*/ 6219287 w 10607674"/>
              <a:gd name="connsiteY11" fmla="*/ 4571966 h 4571966"/>
              <a:gd name="connsiteX12" fmla="*/ 4480886 w 10607674"/>
              <a:gd name="connsiteY12" fmla="*/ 3108926 h 4571966"/>
              <a:gd name="connsiteX13" fmla="*/ 6126806 w 10607674"/>
              <a:gd name="connsiteY13" fmla="*/ 3108926 h 4571966"/>
              <a:gd name="connsiteX14" fmla="*/ 6126806 w 10607674"/>
              <a:gd name="connsiteY14" fmla="*/ 4571966 h 4571966"/>
              <a:gd name="connsiteX15" fmla="*/ 4480886 w 10607674"/>
              <a:gd name="connsiteY15" fmla="*/ 4571966 h 4571966"/>
              <a:gd name="connsiteX16" fmla="*/ 2926784 w 10607674"/>
              <a:gd name="connsiteY16" fmla="*/ 3108926 h 4571966"/>
              <a:gd name="connsiteX17" fmla="*/ 4389822 w 10607674"/>
              <a:gd name="connsiteY17" fmla="*/ 3108926 h 4571966"/>
              <a:gd name="connsiteX18" fmla="*/ 4389822 w 10607674"/>
              <a:gd name="connsiteY18" fmla="*/ 4571966 h 4571966"/>
              <a:gd name="connsiteX19" fmla="*/ 2926784 w 10607674"/>
              <a:gd name="connsiteY19" fmla="*/ 4571966 h 4571966"/>
              <a:gd name="connsiteX20" fmla="*/ 1371961 w 10607674"/>
              <a:gd name="connsiteY20" fmla="*/ 3108926 h 4571966"/>
              <a:gd name="connsiteX21" fmla="*/ 2835002 w 10607674"/>
              <a:gd name="connsiteY21" fmla="*/ 3108926 h 4571966"/>
              <a:gd name="connsiteX22" fmla="*/ 2835002 w 10607674"/>
              <a:gd name="connsiteY22" fmla="*/ 4571966 h 4571966"/>
              <a:gd name="connsiteX23" fmla="*/ 1371961 w 10607674"/>
              <a:gd name="connsiteY23" fmla="*/ 4571966 h 4571966"/>
              <a:gd name="connsiteX24" fmla="*/ 1 w 10607674"/>
              <a:gd name="connsiteY24" fmla="*/ 3108926 h 4571966"/>
              <a:gd name="connsiteX25" fmla="*/ 1280161 w 10607674"/>
              <a:gd name="connsiteY25" fmla="*/ 3108926 h 4571966"/>
              <a:gd name="connsiteX26" fmla="*/ 1280161 w 10607674"/>
              <a:gd name="connsiteY26" fmla="*/ 4571966 h 4571966"/>
              <a:gd name="connsiteX27" fmla="*/ 1 w 10607674"/>
              <a:gd name="connsiteY27" fmla="*/ 4571966 h 4571966"/>
              <a:gd name="connsiteX28" fmla="*/ 9328930 w 10607674"/>
              <a:gd name="connsiteY28" fmla="*/ 1554447 h 4571966"/>
              <a:gd name="connsiteX29" fmla="*/ 10607674 w 10607674"/>
              <a:gd name="connsiteY29" fmla="*/ 1554447 h 4571966"/>
              <a:gd name="connsiteX30" fmla="*/ 10607674 w 10607674"/>
              <a:gd name="connsiteY30" fmla="*/ 3017487 h 4571966"/>
              <a:gd name="connsiteX31" fmla="*/ 9328930 w 10607674"/>
              <a:gd name="connsiteY31" fmla="*/ 3017487 h 4571966"/>
              <a:gd name="connsiteX32" fmla="*/ 7774108 w 10607674"/>
              <a:gd name="connsiteY32" fmla="*/ 1554447 h 4571966"/>
              <a:gd name="connsiteX33" fmla="*/ 9237148 w 10607674"/>
              <a:gd name="connsiteY33" fmla="*/ 1554447 h 4571966"/>
              <a:gd name="connsiteX34" fmla="*/ 9237148 w 10607674"/>
              <a:gd name="connsiteY34" fmla="*/ 3017487 h 4571966"/>
              <a:gd name="connsiteX35" fmla="*/ 7774108 w 10607674"/>
              <a:gd name="connsiteY35" fmla="*/ 3017487 h 4571966"/>
              <a:gd name="connsiteX36" fmla="*/ 6219286 w 10607674"/>
              <a:gd name="connsiteY36" fmla="*/ 1554447 h 4571966"/>
              <a:gd name="connsiteX37" fmla="*/ 7682326 w 10607674"/>
              <a:gd name="connsiteY37" fmla="*/ 1554447 h 4571966"/>
              <a:gd name="connsiteX38" fmla="*/ 7682326 w 10607674"/>
              <a:gd name="connsiteY38" fmla="*/ 3017487 h 4571966"/>
              <a:gd name="connsiteX39" fmla="*/ 6219286 w 10607674"/>
              <a:gd name="connsiteY39" fmla="*/ 3017487 h 4571966"/>
              <a:gd name="connsiteX40" fmla="*/ 4480885 w 10607674"/>
              <a:gd name="connsiteY40" fmla="*/ 1554447 h 4571966"/>
              <a:gd name="connsiteX41" fmla="*/ 6126805 w 10607674"/>
              <a:gd name="connsiteY41" fmla="*/ 1554447 h 4571966"/>
              <a:gd name="connsiteX42" fmla="*/ 6126805 w 10607674"/>
              <a:gd name="connsiteY42" fmla="*/ 3017487 h 4571966"/>
              <a:gd name="connsiteX43" fmla="*/ 4480885 w 10607674"/>
              <a:gd name="connsiteY43" fmla="*/ 3017487 h 4571966"/>
              <a:gd name="connsiteX44" fmla="*/ 2926783 w 10607674"/>
              <a:gd name="connsiteY44" fmla="*/ 1554447 h 4571966"/>
              <a:gd name="connsiteX45" fmla="*/ 4389821 w 10607674"/>
              <a:gd name="connsiteY45" fmla="*/ 1554447 h 4571966"/>
              <a:gd name="connsiteX46" fmla="*/ 4389821 w 10607674"/>
              <a:gd name="connsiteY46" fmla="*/ 3017487 h 4571966"/>
              <a:gd name="connsiteX47" fmla="*/ 2926783 w 10607674"/>
              <a:gd name="connsiteY47" fmla="*/ 3017487 h 4571966"/>
              <a:gd name="connsiteX48" fmla="*/ 1371960 w 10607674"/>
              <a:gd name="connsiteY48" fmla="*/ 1554447 h 4571966"/>
              <a:gd name="connsiteX49" fmla="*/ 2835001 w 10607674"/>
              <a:gd name="connsiteY49" fmla="*/ 1554447 h 4571966"/>
              <a:gd name="connsiteX50" fmla="*/ 2835001 w 10607674"/>
              <a:gd name="connsiteY50" fmla="*/ 3017487 h 4571966"/>
              <a:gd name="connsiteX51" fmla="*/ 1371960 w 10607674"/>
              <a:gd name="connsiteY51" fmla="*/ 3017487 h 4571966"/>
              <a:gd name="connsiteX52" fmla="*/ 0 w 10607674"/>
              <a:gd name="connsiteY52" fmla="*/ 1554447 h 4571966"/>
              <a:gd name="connsiteX53" fmla="*/ 1280160 w 10607674"/>
              <a:gd name="connsiteY53" fmla="*/ 1554447 h 4571966"/>
              <a:gd name="connsiteX54" fmla="*/ 1280160 w 10607674"/>
              <a:gd name="connsiteY54" fmla="*/ 3017487 h 4571966"/>
              <a:gd name="connsiteX55" fmla="*/ 0 w 10607674"/>
              <a:gd name="connsiteY55" fmla="*/ 3017487 h 4571966"/>
              <a:gd name="connsiteX56" fmla="*/ 9328931 w 10607674"/>
              <a:gd name="connsiteY56" fmla="*/ 0 h 4571966"/>
              <a:gd name="connsiteX57" fmla="*/ 10607674 w 10607674"/>
              <a:gd name="connsiteY57" fmla="*/ 0 h 4571966"/>
              <a:gd name="connsiteX58" fmla="*/ 10607674 w 10607674"/>
              <a:gd name="connsiteY58" fmla="*/ 1463040 h 4571966"/>
              <a:gd name="connsiteX59" fmla="*/ 9328931 w 10607674"/>
              <a:gd name="connsiteY59" fmla="*/ 1463040 h 4571966"/>
              <a:gd name="connsiteX60" fmla="*/ 7774109 w 10607674"/>
              <a:gd name="connsiteY60" fmla="*/ 0 h 4571966"/>
              <a:gd name="connsiteX61" fmla="*/ 9237149 w 10607674"/>
              <a:gd name="connsiteY61" fmla="*/ 0 h 4571966"/>
              <a:gd name="connsiteX62" fmla="*/ 9237149 w 10607674"/>
              <a:gd name="connsiteY62" fmla="*/ 1463040 h 4571966"/>
              <a:gd name="connsiteX63" fmla="*/ 7774109 w 10607674"/>
              <a:gd name="connsiteY63" fmla="*/ 1463040 h 4571966"/>
              <a:gd name="connsiteX64" fmla="*/ 6219287 w 10607674"/>
              <a:gd name="connsiteY64" fmla="*/ 0 h 4571966"/>
              <a:gd name="connsiteX65" fmla="*/ 7682327 w 10607674"/>
              <a:gd name="connsiteY65" fmla="*/ 0 h 4571966"/>
              <a:gd name="connsiteX66" fmla="*/ 7682327 w 10607674"/>
              <a:gd name="connsiteY66" fmla="*/ 1463040 h 4571966"/>
              <a:gd name="connsiteX67" fmla="*/ 6219287 w 10607674"/>
              <a:gd name="connsiteY67" fmla="*/ 1463040 h 4571966"/>
              <a:gd name="connsiteX68" fmla="*/ 4480886 w 10607674"/>
              <a:gd name="connsiteY68" fmla="*/ 0 h 4571966"/>
              <a:gd name="connsiteX69" fmla="*/ 6126806 w 10607674"/>
              <a:gd name="connsiteY69" fmla="*/ 0 h 4571966"/>
              <a:gd name="connsiteX70" fmla="*/ 6126806 w 10607674"/>
              <a:gd name="connsiteY70" fmla="*/ 1463040 h 4571966"/>
              <a:gd name="connsiteX71" fmla="*/ 4480886 w 10607674"/>
              <a:gd name="connsiteY71" fmla="*/ 1463040 h 4571966"/>
              <a:gd name="connsiteX72" fmla="*/ 2926784 w 10607674"/>
              <a:gd name="connsiteY72" fmla="*/ 0 h 4571966"/>
              <a:gd name="connsiteX73" fmla="*/ 4389822 w 10607674"/>
              <a:gd name="connsiteY73" fmla="*/ 0 h 4571966"/>
              <a:gd name="connsiteX74" fmla="*/ 4389822 w 10607674"/>
              <a:gd name="connsiteY74" fmla="*/ 1463040 h 4571966"/>
              <a:gd name="connsiteX75" fmla="*/ 2926784 w 10607674"/>
              <a:gd name="connsiteY75" fmla="*/ 1463040 h 4571966"/>
              <a:gd name="connsiteX76" fmla="*/ 1371961 w 10607674"/>
              <a:gd name="connsiteY76" fmla="*/ 0 h 4571966"/>
              <a:gd name="connsiteX77" fmla="*/ 2835002 w 10607674"/>
              <a:gd name="connsiteY77" fmla="*/ 0 h 4571966"/>
              <a:gd name="connsiteX78" fmla="*/ 2835002 w 10607674"/>
              <a:gd name="connsiteY78" fmla="*/ 1463040 h 4571966"/>
              <a:gd name="connsiteX79" fmla="*/ 1371961 w 10607674"/>
              <a:gd name="connsiteY79" fmla="*/ 1463040 h 4571966"/>
              <a:gd name="connsiteX80" fmla="*/ 1 w 10607674"/>
              <a:gd name="connsiteY80" fmla="*/ 0 h 4571966"/>
              <a:gd name="connsiteX81" fmla="*/ 1280161 w 10607674"/>
              <a:gd name="connsiteY81" fmla="*/ 0 h 4571966"/>
              <a:gd name="connsiteX82" fmla="*/ 1280161 w 10607674"/>
              <a:gd name="connsiteY82" fmla="*/ 1463040 h 4571966"/>
              <a:gd name="connsiteX83" fmla="*/ 1 w 10607674"/>
              <a:gd name="connsiteY83" fmla="*/ 1463040 h 457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607674" h="4571966">
                <a:moveTo>
                  <a:pt x="9328931" y="3108926"/>
                </a:moveTo>
                <a:lnTo>
                  <a:pt x="10607674" y="3108926"/>
                </a:lnTo>
                <a:lnTo>
                  <a:pt x="10607674" y="4571966"/>
                </a:lnTo>
                <a:lnTo>
                  <a:pt x="9328931" y="4571966"/>
                </a:lnTo>
                <a:close/>
                <a:moveTo>
                  <a:pt x="7774109" y="3108926"/>
                </a:moveTo>
                <a:lnTo>
                  <a:pt x="9237149" y="3108926"/>
                </a:lnTo>
                <a:lnTo>
                  <a:pt x="9237149" y="4571966"/>
                </a:lnTo>
                <a:lnTo>
                  <a:pt x="7774109" y="4571966"/>
                </a:lnTo>
                <a:close/>
                <a:moveTo>
                  <a:pt x="6219287" y="3108926"/>
                </a:moveTo>
                <a:lnTo>
                  <a:pt x="7682327" y="3108926"/>
                </a:lnTo>
                <a:lnTo>
                  <a:pt x="7682327" y="4571966"/>
                </a:lnTo>
                <a:lnTo>
                  <a:pt x="6219287" y="4571966"/>
                </a:lnTo>
                <a:close/>
                <a:moveTo>
                  <a:pt x="4480886" y="3108926"/>
                </a:moveTo>
                <a:lnTo>
                  <a:pt x="6126806" y="3108926"/>
                </a:lnTo>
                <a:lnTo>
                  <a:pt x="6126806" y="4571966"/>
                </a:lnTo>
                <a:lnTo>
                  <a:pt x="4480886" y="4571966"/>
                </a:lnTo>
                <a:close/>
                <a:moveTo>
                  <a:pt x="2926784" y="3108926"/>
                </a:moveTo>
                <a:lnTo>
                  <a:pt x="4389822" y="3108926"/>
                </a:lnTo>
                <a:lnTo>
                  <a:pt x="4389822" y="4571966"/>
                </a:lnTo>
                <a:lnTo>
                  <a:pt x="2926784" y="4571966"/>
                </a:lnTo>
                <a:close/>
                <a:moveTo>
                  <a:pt x="1371961" y="3108926"/>
                </a:moveTo>
                <a:lnTo>
                  <a:pt x="2835002" y="3108926"/>
                </a:lnTo>
                <a:lnTo>
                  <a:pt x="2835002" y="4571966"/>
                </a:lnTo>
                <a:lnTo>
                  <a:pt x="1371961" y="4571966"/>
                </a:lnTo>
                <a:close/>
                <a:moveTo>
                  <a:pt x="1" y="3108926"/>
                </a:moveTo>
                <a:lnTo>
                  <a:pt x="1280161" y="3108926"/>
                </a:lnTo>
                <a:lnTo>
                  <a:pt x="1280161" y="4571966"/>
                </a:lnTo>
                <a:lnTo>
                  <a:pt x="1" y="4571966"/>
                </a:lnTo>
                <a:close/>
                <a:moveTo>
                  <a:pt x="9328930" y="1554447"/>
                </a:moveTo>
                <a:lnTo>
                  <a:pt x="10607674" y="1554447"/>
                </a:lnTo>
                <a:lnTo>
                  <a:pt x="10607674" y="3017487"/>
                </a:lnTo>
                <a:lnTo>
                  <a:pt x="9328930" y="3017487"/>
                </a:lnTo>
                <a:close/>
                <a:moveTo>
                  <a:pt x="7774108" y="1554447"/>
                </a:moveTo>
                <a:lnTo>
                  <a:pt x="9237148" y="1554447"/>
                </a:lnTo>
                <a:lnTo>
                  <a:pt x="9237148" y="3017487"/>
                </a:lnTo>
                <a:lnTo>
                  <a:pt x="7774108" y="3017487"/>
                </a:lnTo>
                <a:close/>
                <a:moveTo>
                  <a:pt x="6219286" y="1554447"/>
                </a:moveTo>
                <a:lnTo>
                  <a:pt x="7682326" y="1554447"/>
                </a:lnTo>
                <a:lnTo>
                  <a:pt x="7682326" y="3017487"/>
                </a:lnTo>
                <a:lnTo>
                  <a:pt x="6219286" y="3017487"/>
                </a:lnTo>
                <a:close/>
                <a:moveTo>
                  <a:pt x="4480885" y="1554447"/>
                </a:moveTo>
                <a:lnTo>
                  <a:pt x="6126805" y="1554447"/>
                </a:lnTo>
                <a:lnTo>
                  <a:pt x="6126805" y="3017487"/>
                </a:lnTo>
                <a:lnTo>
                  <a:pt x="4480885" y="3017487"/>
                </a:lnTo>
                <a:close/>
                <a:moveTo>
                  <a:pt x="2926783" y="1554447"/>
                </a:moveTo>
                <a:lnTo>
                  <a:pt x="4389821" y="1554447"/>
                </a:lnTo>
                <a:lnTo>
                  <a:pt x="4389821" y="3017487"/>
                </a:lnTo>
                <a:lnTo>
                  <a:pt x="2926783" y="3017487"/>
                </a:lnTo>
                <a:close/>
                <a:moveTo>
                  <a:pt x="1371960" y="1554447"/>
                </a:moveTo>
                <a:lnTo>
                  <a:pt x="2835001" y="1554447"/>
                </a:lnTo>
                <a:lnTo>
                  <a:pt x="2835001" y="3017487"/>
                </a:lnTo>
                <a:lnTo>
                  <a:pt x="1371960" y="3017487"/>
                </a:lnTo>
                <a:close/>
                <a:moveTo>
                  <a:pt x="0" y="1554447"/>
                </a:moveTo>
                <a:lnTo>
                  <a:pt x="1280160" y="1554447"/>
                </a:lnTo>
                <a:lnTo>
                  <a:pt x="1280160" y="3017487"/>
                </a:lnTo>
                <a:lnTo>
                  <a:pt x="0" y="3017487"/>
                </a:lnTo>
                <a:close/>
                <a:moveTo>
                  <a:pt x="9328931" y="0"/>
                </a:moveTo>
                <a:lnTo>
                  <a:pt x="10607674" y="0"/>
                </a:lnTo>
                <a:lnTo>
                  <a:pt x="10607674" y="1463040"/>
                </a:lnTo>
                <a:lnTo>
                  <a:pt x="9328931" y="1463040"/>
                </a:lnTo>
                <a:close/>
                <a:moveTo>
                  <a:pt x="7774109" y="0"/>
                </a:moveTo>
                <a:lnTo>
                  <a:pt x="9237149" y="0"/>
                </a:lnTo>
                <a:lnTo>
                  <a:pt x="9237149" y="1463040"/>
                </a:lnTo>
                <a:lnTo>
                  <a:pt x="7774109" y="1463040"/>
                </a:lnTo>
                <a:close/>
                <a:moveTo>
                  <a:pt x="6219287" y="0"/>
                </a:moveTo>
                <a:lnTo>
                  <a:pt x="7682327" y="0"/>
                </a:lnTo>
                <a:lnTo>
                  <a:pt x="7682327" y="1463040"/>
                </a:lnTo>
                <a:lnTo>
                  <a:pt x="6219287" y="1463040"/>
                </a:lnTo>
                <a:close/>
                <a:moveTo>
                  <a:pt x="4480886" y="0"/>
                </a:moveTo>
                <a:lnTo>
                  <a:pt x="6126806" y="0"/>
                </a:lnTo>
                <a:lnTo>
                  <a:pt x="6126806" y="1463040"/>
                </a:lnTo>
                <a:lnTo>
                  <a:pt x="4480886" y="1463040"/>
                </a:lnTo>
                <a:close/>
                <a:moveTo>
                  <a:pt x="2926784" y="0"/>
                </a:moveTo>
                <a:lnTo>
                  <a:pt x="4389822" y="0"/>
                </a:lnTo>
                <a:lnTo>
                  <a:pt x="4389822" y="1463040"/>
                </a:lnTo>
                <a:lnTo>
                  <a:pt x="2926784" y="1463040"/>
                </a:lnTo>
                <a:close/>
                <a:moveTo>
                  <a:pt x="1371961" y="0"/>
                </a:moveTo>
                <a:lnTo>
                  <a:pt x="2835002" y="0"/>
                </a:lnTo>
                <a:lnTo>
                  <a:pt x="2835002" y="1463040"/>
                </a:lnTo>
                <a:lnTo>
                  <a:pt x="1371961" y="1463040"/>
                </a:lnTo>
                <a:close/>
                <a:moveTo>
                  <a:pt x="1" y="0"/>
                </a:moveTo>
                <a:lnTo>
                  <a:pt x="1280161" y="0"/>
                </a:lnTo>
                <a:lnTo>
                  <a:pt x="1280161" y="1463040"/>
                </a:lnTo>
                <a:lnTo>
                  <a:pt x="1" y="146304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430610076"/>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Portfolio 1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66" name="Rectangle 65"/>
          <p:cNvSpPr>
            <a:spLocks/>
          </p:cNvSpPr>
          <p:nvPr userDrawn="1"/>
        </p:nvSpPr>
        <p:spPr>
          <a:xfrm>
            <a:off x="604206" y="1131589"/>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1" name="Rectangle 20"/>
          <p:cNvSpPr>
            <a:spLocks/>
          </p:cNvSpPr>
          <p:nvPr userDrawn="1"/>
        </p:nvSpPr>
        <p:spPr>
          <a:xfrm>
            <a:off x="594404" y="2983208"/>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2" name="Rectangle 21"/>
          <p:cNvSpPr>
            <a:spLocks/>
          </p:cNvSpPr>
          <p:nvPr userDrawn="1"/>
        </p:nvSpPr>
        <p:spPr>
          <a:xfrm>
            <a:off x="3268967" y="1131586"/>
            <a:ext cx="260604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3" name="Rectangle 22"/>
          <p:cNvSpPr>
            <a:spLocks/>
          </p:cNvSpPr>
          <p:nvPr userDrawn="1"/>
        </p:nvSpPr>
        <p:spPr>
          <a:xfrm>
            <a:off x="3259165" y="2983205"/>
            <a:ext cx="260604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4" name="Rectangle 23"/>
          <p:cNvSpPr>
            <a:spLocks/>
          </p:cNvSpPr>
          <p:nvPr userDrawn="1"/>
        </p:nvSpPr>
        <p:spPr>
          <a:xfrm>
            <a:off x="6080717" y="1131583"/>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5" name="Rectangle 24"/>
          <p:cNvSpPr>
            <a:spLocks/>
          </p:cNvSpPr>
          <p:nvPr userDrawn="1"/>
        </p:nvSpPr>
        <p:spPr>
          <a:xfrm>
            <a:off x="6070914" y="2983202"/>
            <a:ext cx="2468880" cy="1645920"/>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90" name="Picture Placeholder 89"/>
          <p:cNvSpPr>
            <a:spLocks noGrp="1"/>
          </p:cNvSpPr>
          <p:nvPr>
            <p:ph type="pic" sz="quarter" idx="11"/>
          </p:nvPr>
        </p:nvSpPr>
        <p:spPr>
          <a:xfrm>
            <a:off x="662983" y="1200171"/>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6" name="Picture Placeholder 25"/>
          <p:cNvSpPr>
            <a:spLocks noGrp="1"/>
          </p:cNvSpPr>
          <p:nvPr>
            <p:ph type="pic" sz="quarter" idx="12"/>
          </p:nvPr>
        </p:nvSpPr>
        <p:spPr>
          <a:xfrm>
            <a:off x="662983" y="3051790"/>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7" name="Picture Placeholder 26"/>
          <p:cNvSpPr>
            <a:spLocks noGrp="1"/>
          </p:cNvSpPr>
          <p:nvPr>
            <p:ph type="pic" sz="quarter" idx="13"/>
          </p:nvPr>
        </p:nvSpPr>
        <p:spPr>
          <a:xfrm>
            <a:off x="6149297" y="1200165"/>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8" name="Picture Placeholder 27"/>
          <p:cNvSpPr>
            <a:spLocks noGrp="1"/>
          </p:cNvSpPr>
          <p:nvPr>
            <p:ph type="pic" sz="quarter" idx="14"/>
          </p:nvPr>
        </p:nvSpPr>
        <p:spPr>
          <a:xfrm>
            <a:off x="6149297" y="3051784"/>
            <a:ext cx="233172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29" name="Picture Placeholder 28"/>
          <p:cNvSpPr>
            <a:spLocks noGrp="1"/>
          </p:cNvSpPr>
          <p:nvPr>
            <p:ph type="pic" sz="quarter" idx="15"/>
          </p:nvPr>
        </p:nvSpPr>
        <p:spPr>
          <a:xfrm>
            <a:off x="3337574" y="1200159"/>
            <a:ext cx="246888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30" name="Picture Placeholder 29"/>
          <p:cNvSpPr>
            <a:spLocks noGrp="1"/>
          </p:cNvSpPr>
          <p:nvPr>
            <p:ph type="pic" sz="quarter" idx="16"/>
          </p:nvPr>
        </p:nvSpPr>
        <p:spPr>
          <a:xfrm>
            <a:off x="3337574" y="3051778"/>
            <a:ext cx="2468880" cy="1371600"/>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069067503"/>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Portfolio 1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66" name="Rectangle 65"/>
          <p:cNvSpPr/>
          <p:nvPr userDrawn="1"/>
        </p:nvSpPr>
        <p:spPr>
          <a:xfrm>
            <a:off x="604206" y="1131589"/>
            <a:ext cx="3703320" cy="3497564"/>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88" name="Picture Placeholder 87"/>
          <p:cNvSpPr>
            <a:spLocks noGrp="1"/>
          </p:cNvSpPr>
          <p:nvPr>
            <p:ph type="pic" sz="quarter" idx="10"/>
          </p:nvPr>
        </p:nvSpPr>
        <p:spPr>
          <a:xfrm>
            <a:off x="672806" y="1200171"/>
            <a:ext cx="3566121" cy="2811749"/>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
        <p:nvSpPr>
          <p:cNvPr id="89" name="Rectangle 88"/>
          <p:cNvSpPr/>
          <p:nvPr userDrawn="1"/>
        </p:nvSpPr>
        <p:spPr>
          <a:xfrm>
            <a:off x="4846277" y="1131589"/>
            <a:ext cx="3703320" cy="3497564"/>
          </a:xfrm>
          <a:prstGeom prst="rect">
            <a:avLst/>
          </a:prstGeom>
          <a:solidFill>
            <a:schemeClr val="tx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90" name="Picture Placeholder 89"/>
          <p:cNvSpPr>
            <a:spLocks noGrp="1"/>
          </p:cNvSpPr>
          <p:nvPr>
            <p:ph type="pic" sz="quarter" idx="11"/>
          </p:nvPr>
        </p:nvSpPr>
        <p:spPr>
          <a:xfrm>
            <a:off x="4914878" y="1200171"/>
            <a:ext cx="3566121" cy="2811749"/>
          </a:xfrm>
          <a:custGeom>
            <a:avLst/>
            <a:gdLst>
              <a:gd name="connsiteX0" fmla="*/ 3840438 w 4754828"/>
              <a:gd name="connsiteY0" fmla="*/ 2834599 h 3748999"/>
              <a:gd name="connsiteX1" fmla="*/ 4754828 w 4754828"/>
              <a:gd name="connsiteY1" fmla="*/ 2834599 h 3748999"/>
              <a:gd name="connsiteX2" fmla="*/ 4754828 w 4754828"/>
              <a:gd name="connsiteY2" fmla="*/ 3748999 h 3748999"/>
              <a:gd name="connsiteX3" fmla="*/ 3840438 w 4754828"/>
              <a:gd name="connsiteY3" fmla="*/ 3748999 h 3748999"/>
              <a:gd name="connsiteX4" fmla="*/ 2880330 w 4754828"/>
              <a:gd name="connsiteY4" fmla="*/ 2834599 h 3748999"/>
              <a:gd name="connsiteX5" fmla="*/ 3794720 w 4754828"/>
              <a:gd name="connsiteY5" fmla="*/ 2834599 h 3748999"/>
              <a:gd name="connsiteX6" fmla="*/ 3794720 w 4754828"/>
              <a:gd name="connsiteY6" fmla="*/ 3748999 h 3748999"/>
              <a:gd name="connsiteX7" fmla="*/ 2880330 w 4754828"/>
              <a:gd name="connsiteY7" fmla="*/ 3748999 h 3748999"/>
              <a:gd name="connsiteX8" fmla="*/ 1920220 w 4754828"/>
              <a:gd name="connsiteY8" fmla="*/ 2834599 h 3748999"/>
              <a:gd name="connsiteX9" fmla="*/ 2834610 w 4754828"/>
              <a:gd name="connsiteY9" fmla="*/ 2834599 h 3748999"/>
              <a:gd name="connsiteX10" fmla="*/ 2834610 w 4754828"/>
              <a:gd name="connsiteY10" fmla="*/ 3748999 h 3748999"/>
              <a:gd name="connsiteX11" fmla="*/ 1920220 w 4754828"/>
              <a:gd name="connsiteY11" fmla="*/ 3748999 h 3748999"/>
              <a:gd name="connsiteX12" fmla="*/ 960110 w 4754828"/>
              <a:gd name="connsiteY12" fmla="*/ 2834599 h 3748999"/>
              <a:gd name="connsiteX13" fmla="*/ 1874500 w 4754828"/>
              <a:gd name="connsiteY13" fmla="*/ 2834599 h 3748999"/>
              <a:gd name="connsiteX14" fmla="*/ 1874500 w 4754828"/>
              <a:gd name="connsiteY14" fmla="*/ 3748999 h 3748999"/>
              <a:gd name="connsiteX15" fmla="*/ 960110 w 4754828"/>
              <a:gd name="connsiteY15" fmla="*/ 3748999 h 3748999"/>
              <a:gd name="connsiteX16" fmla="*/ 0 w 4754828"/>
              <a:gd name="connsiteY16" fmla="*/ 2834599 h 3748999"/>
              <a:gd name="connsiteX17" fmla="*/ 914390 w 4754828"/>
              <a:gd name="connsiteY17" fmla="*/ 2834599 h 3748999"/>
              <a:gd name="connsiteX18" fmla="*/ 914390 w 4754828"/>
              <a:gd name="connsiteY18" fmla="*/ 3748999 h 3748999"/>
              <a:gd name="connsiteX19" fmla="*/ 0 w 4754828"/>
              <a:gd name="connsiteY19" fmla="*/ 3748999 h 3748999"/>
              <a:gd name="connsiteX20" fmla="*/ 3840438 w 4754828"/>
              <a:gd name="connsiteY20" fmla="*/ 1889732 h 3748999"/>
              <a:gd name="connsiteX21" fmla="*/ 4754828 w 4754828"/>
              <a:gd name="connsiteY21" fmla="*/ 1889732 h 3748999"/>
              <a:gd name="connsiteX22" fmla="*/ 4754828 w 4754828"/>
              <a:gd name="connsiteY22" fmla="*/ 2804132 h 3748999"/>
              <a:gd name="connsiteX23" fmla="*/ 3840438 w 4754828"/>
              <a:gd name="connsiteY23" fmla="*/ 2804132 h 3748999"/>
              <a:gd name="connsiteX24" fmla="*/ 2880330 w 4754828"/>
              <a:gd name="connsiteY24" fmla="*/ 1889732 h 3748999"/>
              <a:gd name="connsiteX25" fmla="*/ 3794720 w 4754828"/>
              <a:gd name="connsiteY25" fmla="*/ 1889732 h 3748999"/>
              <a:gd name="connsiteX26" fmla="*/ 3794720 w 4754828"/>
              <a:gd name="connsiteY26" fmla="*/ 2804132 h 3748999"/>
              <a:gd name="connsiteX27" fmla="*/ 2880330 w 4754828"/>
              <a:gd name="connsiteY27" fmla="*/ 2804132 h 3748999"/>
              <a:gd name="connsiteX28" fmla="*/ 1920220 w 4754828"/>
              <a:gd name="connsiteY28" fmla="*/ 1889732 h 3748999"/>
              <a:gd name="connsiteX29" fmla="*/ 2834610 w 4754828"/>
              <a:gd name="connsiteY29" fmla="*/ 1889732 h 3748999"/>
              <a:gd name="connsiteX30" fmla="*/ 2834610 w 4754828"/>
              <a:gd name="connsiteY30" fmla="*/ 2804132 h 3748999"/>
              <a:gd name="connsiteX31" fmla="*/ 1920220 w 4754828"/>
              <a:gd name="connsiteY31" fmla="*/ 2804132 h 3748999"/>
              <a:gd name="connsiteX32" fmla="*/ 960110 w 4754828"/>
              <a:gd name="connsiteY32" fmla="*/ 1889732 h 3748999"/>
              <a:gd name="connsiteX33" fmla="*/ 1874500 w 4754828"/>
              <a:gd name="connsiteY33" fmla="*/ 1889732 h 3748999"/>
              <a:gd name="connsiteX34" fmla="*/ 1874500 w 4754828"/>
              <a:gd name="connsiteY34" fmla="*/ 2804132 h 3748999"/>
              <a:gd name="connsiteX35" fmla="*/ 960110 w 4754828"/>
              <a:gd name="connsiteY35" fmla="*/ 2804132 h 3748999"/>
              <a:gd name="connsiteX36" fmla="*/ 0 w 4754828"/>
              <a:gd name="connsiteY36" fmla="*/ 1889732 h 3748999"/>
              <a:gd name="connsiteX37" fmla="*/ 914390 w 4754828"/>
              <a:gd name="connsiteY37" fmla="*/ 1889732 h 3748999"/>
              <a:gd name="connsiteX38" fmla="*/ 914390 w 4754828"/>
              <a:gd name="connsiteY38" fmla="*/ 2804132 h 3748999"/>
              <a:gd name="connsiteX39" fmla="*/ 0 w 4754828"/>
              <a:gd name="connsiteY39" fmla="*/ 2804132 h 3748999"/>
              <a:gd name="connsiteX40" fmla="*/ 3840438 w 4754828"/>
              <a:gd name="connsiteY40" fmla="*/ 944866 h 3748999"/>
              <a:gd name="connsiteX41" fmla="*/ 4754828 w 4754828"/>
              <a:gd name="connsiteY41" fmla="*/ 944866 h 3748999"/>
              <a:gd name="connsiteX42" fmla="*/ 4754828 w 4754828"/>
              <a:gd name="connsiteY42" fmla="*/ 1859266 h 3748999"/>
              <a:gd name="connsiteX43" fmla="*/ 3840438 w 4754828"/>
              <a:gd name="connsiteY43" fmla="*/ 1859266 h 3748999"/>
              <a:gd name="connsiteX44" fmla="*/ 2880330 w 4754828"/>
              <a:gd name="connsiteY44" fmla="*/ 944866 h 3748999"/>
              <a:gd name="connsiteX45" fmla="*/ 3794720 w 4754828"/>
              <a:gd name="connsiteY45" fmla="*/ 944866 h 3748999"/>
              <a:gd name="connsiteX46" fmla="*/ 3794720 w 4754828"/>
              <a:gd name="connsiteY46" fmla="*/ 1859266 h 3748999"/>
              <a:gd name="connsiteX47" fmla="*/ 2880330 w 4754828"/>
              <a:gd name="connsiteY47" fmla="*/ 1859266 h 3748999"/>
              <a:gd name="connsiteX48" fmla="*/ 1920220 w 4754828"/>
              <a:gd name="connsiteY48" fmla="*/ 944866 h 3748999"/>
              <a:gd name="connsiteX49" fmla="*/ 2834610 w 4754828"/>
              <a:gd name="connsiteY49" fmla="*/ 944866 h 3748999"/>
              <a:gd name="connsiteX50" fmla="*/ 2834610 w 4754828"/>
              <a:gd name="connsiteY50" fmla="*/ 1859266 h 3748999"/>
              <a:gd name="connsiteX51" fmla="*/ 1920220 w 4754828"/>
              <a:gd name="connsiteY51" fmla="*/ 1859266 h 3748999"/>
              <a:gd name="connsiteX52" fmla="*/ 960110 w 4754828"/>
              <a:gd name="connsiteY52" fmla="*/ 944866 h 3748999"/>
              <a:gd name="connsiteX53" fmla="*/ 1874500 w 4754828"/>
              <a:gd name="connsiteY53" fmla="*/ 944866 h 3748999"/>
              <a:gd name="connsiteX54" fmla="*/ 1874500 w 4754828"/>
              <a:gd name="connsiteY54" fmla="*/ 1859266 h 3748999"/>
              <a:gd name="connsiteX55" fmla="*/ 960110 w 4754828"/>
              <a:gd name="connsiteY55" fmla="*/ 1859266 h 3748999"/>
              <a:gd name="connsiteX56" fmla="*/ 0 w 4754828"/>
              <a:gd name="connsiteY56" fmla="*/ 944866 h 3748999"/>
              <a:gd name="connsiteX57" fmla="*/ 914390 w 4754828"/>
              <a:gd name="connsiteY57" fmla="*/ 944866 h 3748999"/>
              <a:gd name="connsiteX58" fmla="*/ 914390 w 4754828"/>
              <a:gd name="connsiteY58" fmla="*/ 1859266 h 3748999"/>
              <a:gd name="connsiteX59" fmla="*/ 0 w 4754828"/>
              <a:gd name="connsiteY59" fmla="*/ 1859266 h 3748999"/>
              <a:gd name="connsiteX60" fmla="*/ 3840438 w 4754828"/>
              <a:gd name="connsiteY60" fmla="*/ 0 h 3748999"/>
              <a:gd name="connsiteX61" fmla="*/ 4754828 w 4754828"/>
              <a:gd name="connsiteY61" fmla="*/ 0 h 3748999"/>
              <a:gd name="connsiteX62" fmla="*/ 4754828 w 4754828"/>
              <a:gd name="connsiteY62" fmla="*/ 914400 h 3748999"/>
              <a:gd name="connsiteX63" fmla="*/ 3840438 w 4754828"/>
              <a:gd name="connsiteY63" fmla="*/ 914400 h 3748999"/>
              <a:gd name="connsiteX64" fmla="*/ 2880330 w 4754828"/>
              <a:gd name="connsiteY64" fmla="*/ 0 h 3748999"/>
              <a:gd name="connsiteX65" fmla="*/ 3794720 w 4754828"/>
              <a:gd name="connsiteY65" fmla="*/ 0 h 3748999"/>
              <a:gd name="connsiteX66" fmla="*/ 3794720 w 4754828"/>
              <a:gd name="connsiteY66" fmla="*/ 914400 h 3748999"/>
              <a:gd name="connsiteX67" fmla="*/ 2880330 w 4754828"/>
              <a:gd name="connsiteY67" fmla="*/ 914400 h 3748999"/>
              <a:gd name="connsiteX68" fmla="*/ 1920220 w 4754828"/>
              <a:gd name="connsiteY68" fmla="*/ 0 h 3748999"/>
              <a:gd name="connsiteX69" fmla="*/ 2834610 w 4754828"/>
              <a:gd name="connsiteY69" fmla="*/ 0 h 3748999"/>
              <a:gd name="connsiteX70" fmla="*/ 2834610 w 4754828"/>
              <a:gd name="connsiteY70" fmla="*/ 914400 h 3748999"/>
              <a:gd name="connsiteX71" fmla="*/ 1920220 w 4754828"/>
              <a:gd name="connsiteY71" fmla="*/ 914400 h 3748999"/>
              <a:gd name="connsiteX72" fmla="*/ 960110 w 4754828"/>
              <a:gd name="connsiteY72" fmla="*/ 0 h 3748999"/>
              <a:gd name="connsiteX73" fmla="*/ 1874500 w 4754828"/>
              <a:gd name="connsiteY73" fmla="*/ 0 h 3748999"/>
              <a:gd name="connsiteX74" fmla="*/ 1874500 w 4754828"/>
              <a:gd name="connsiteY74" fmla="*/ 914400 h 3748999"/>
              <a:gd name="connsiteX75" fmla="*/ 960110 w 4754828"/>
              <a:gd name="connsiteY75" fmla="*/ 914400 h 3748999"/>
              <a:gd name="connsiteX76" fmla="*/ 0 w 4754828"/>
              <a:gd name="connsiteY76" fmla="*/ 0 h 3748999"/>
              <a:gd name="connsiteX77" fmla="*/ 914390 w 4754828"/>
              <a:gd name="connsiteY77" fmla="*/ 0 h 3748999"/>
              <a:gd name="connsiteX78" fmla="*/ 914390 w 4754828"/>
              <a:gd name="connsiteY78" fmla="*/ 914400 h 3748999"/>
              <a:gd name="connsiteX79" fmla="*/ 0 w 4754828"/>
              <a:gd name="connsiteY79" fmla="*/ 914400 h 374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28" h="3748999">
                <a:moveTo>
                  <a:pt x="3840438" y="2834599"/>
                </a:moveTo>
                <a:lnTo>
                  <a:pt x="4754828" y="2834599"/>
                </a:lnTo>
                <a:lnTo>
                  <a:pt x="4754828" y="3748999"/>
                </a:lnTo>
                <a:lnTo>
                  <a:pt x="3840438" y="3748999"/>
                </a:lnTo>
                <a:close/>
                <a:moveTo>
                  <a:pt x="2880330" y="2834599"/>
                </a:moveTo>
                <a:lnTo>
                  <a:pt x="3794720" y="2834599"/>
                </a:lnTo>
                <a:lnTo>
                  <a:pt x="3794720" y="3748999"/>
                </a:lnTo>
                <a:lnTo>
                  <a:pt x="2880330" y="3748999"/>
                </a:lnTo>
                <a:close/>
                <a:moveTo>
                  <a:pt x="1920220" y="2834599"/>
                </a:moveTo>
                <a:lnTo>
                  <a:pt x="2834610" y="2834599"/>
                </a:lnTo>
                <a:lnTo>
                  <a:pt x="2834610" y="3748999"/>
                </a:lnTo>
                <a:lnTo>
                  <a:pt x="1920220" y="3748999"/>
                </a:lnTo>
                <a:close/>
                <a:moveTo>
                  <a:pt x="960110" y="2834599"/>
                </a:moveTo>
                <a:lnTo>
                  <a:pt x="1874500" y="2834599"/>
                </a:lnTo>
                <a:lnTo>
                  <a:pt x="1874500" y="3748999"/>
                </a:lnTo>
                <a:lnTo>
                  <a:pt x="960110" y="3748999"/>
                </a:lnTo>
                <a:close/>
                <a:moveTo>
                  <a:pt x="0" y="2834599"/>
                </a:moveTo>
                <a:lnTo>
                  <a:pt x="914390" y="2834599"/>
                </a:lnTo>
                <a:lnTo>
                  <a:pt x="914390" y="3748999"/>
                </a:lnTo>
                <a:lnTo>
                  <a:pt x="0" y="3748999"/>
                </a:lnTo>
                <a:close/>
                <a:moveTo>
                  <a:pt x="3840438" y="1889732"/>
                </a:moveTo>
                <a:lnTo>
                  <a:pt x="4754828" y="1889732"/>
                </a:lnTo>
                <a:lnTo>
                  <a:pt x="4754828" y="2804132"/>
                </a:lnTo>
                <a:lnTo>
                  <a:pt x="3840438" y="2804132"/>
                </a:lnTo>
                <a:close/>
                <a:moveTo>
                  <a:pt x="2880330" y="1889732"/>
                </a:moveTo>
                <a:lnTo>
                  <a:pt x="3794720" y="1889732"/>
                </a:lnTo>
                <a:lnTo>
                  <a:pt x="3794720" y="2804132"/>
                </a:lnTo>
                <a:lnTo>
                  <a:pt x="2880330" y="2804132"/>
                </a:lnTo>
                <a:close/>
                <a:moveTo>
                  <a:pt x="1920220" y="1889732"/>
                </a:moveTo>
                <a:lnTo>
                  <a:pt x="2834610" y="1889732"/>
                </a:lnTo>
                <a:lnTo>
                  <a:pt x="2834610" y="2804132"/>
                </a:lnTo>
                <a:lnTo>
                  <a:pt x="1920220" y="2804132"/>
                </a:lnTo>
                <a:close/>
                <a:moveTo>
                  <a:pt x="960110" y="1889732"/>
                </a:moveTo>
                <a:lnTo>
                  <a:pt x="1874500" y="1889732"/>
                </a:lnTo>
                <a:lnTo>
                  <a:pt x="1874500" y="2804132"/>
                </a:lnTo>
                <a:lnTo>
                  <a:pt x="960110" y="2804132"/>
                </a:lnTo>
                <a:close/>
                <a:moveTo>
                  <a:pt x="0" y="1889732"/>
                </a:moveTo>
                <a:lnTo>
                  <a:pt x="914390" y="1889732"/>
                </a:lnTo>
                <a:lnTo>
                  <a:pt x="914390" y="2804132"/>
                </a:lnTo>
                <a:lnTo>
                  <a:pt x="0" y="2804132"/>
                </a:lnTo>
                <a:close/>
                <a:moveTo>
                  <a:pt x="3840438" y="944866"/>
                </a:moveTo>
                <a:lnTo>
                  <a:pt x="4754828" y="944866"/>
                </a:lnTo>
                <a:lnTo>
                  <a:pt x="4754828" y="1859266"/>
                </a:lnTo>
                <a:lnTo>
                  <a:pt x="3840438" y="1859266"/>
                </a:lnTo>
                <a:close/>
                <a:moveTo>
                  <a:pt x="2880330" y="944866"/>
                </a:moveTo>
                <a:lnTo>
                  <a:pt x="3794720" y="944866"/>
                </a:lnTo>
                <a:lnTo>
                  <a:pt x="3794720" y="1859266"/>
                </a:lnTo>
                <a:lnTo>
                  <a:pt x="2880330" y="1859266"/>
                </a:lnTo>
                <a:close/>
                <a:moveTo>
                  <a:pt x="1920220" y="944866"/>
                </a:moveTo>
                <a:lnTo>
                  <a:pt x="2834610" y="944866"/>
                </a:lnTo>
                <a:lnTo>
                  <a:pt x="2834610" y="1859266"/>
                </a:lnTo>
                <a:lnTo>
                  <a:pt x="1920220" y="1859266"/>
                </a:lnTo>
                <a:close/>
                <a:moveTo>
                  <a:pt x="960110" y="944866"/>
                </a:moveTo>
                <a:lnTo>
                  <a:pt x="1874500" y="944866"/>
                </a:lnTo>
                <a:lnTo>
                  <a:pt x="1874500" y="1859266"/>
                </a:lnTo>
                <a:lnTo>
                  <a:pt x="960110" y="1859266"/>
                </a:lnTo>
                <a:close/>
                <a:moveTo>
                  <a:pt x="0" y="944866"/>
                </a:moveTo>
                <a:lnTo>
                  <a:pt x="914390" y="944866"/>
                </a:lnTo>
                <a:lnTo>
                  <a:pt x="914390" y="1859266"/>
                </a:lnTo>
                <a:lnTo>
                  <a:pt x="0" y="1859266"/>
                </a:lnTo>
                <a:close/>
                <a:moveTo>
                  <a:pt x="3840438" y="0"/>
                </a:moveTo>
                <a:lnTo>
                  <a:pt x="4754828" y="0"/>
                </a:lnTo>
                <a:lnTo>
                  <a:pt x="4754828" y="914400"/>
                </a:lnTo>
                <a:lnTo>
                  <a:pt x="3840438" y="914400"/>
                </a:lnTo>
                <a:close/>
                <a:moveTo>
                  <a:pt x="2880330" y="0"/>
                </a:moveTo>
                <a:lnTo>
                  <a:pt x="3794720" y="0"/>
                </a:lnTo>
                <a:lnTo>
                  <a:pt x="3794720" y="914400"/>
                </a:lnTo>
                <a:lnTo>
                  <a:pt x="2880330" y="914400"/>
                </a:lnTo>
                <a:close/>
                <a:moveTo>
                  <a:pt x="1920220" y="0"/>
                </a:moveTo>
                <a:lnTo>
                  <a:pt x="2834610" y="0"/>
                </a:lnTo>
                <a:lnTo>
                  <a:pt x="2834610" y="914400"/>
                </a:lnTo>
                <a:lnTo>
                  <a:pt x="1920220" y="914400"/>
                </a:lnTo>
                <a:close/>
                <a:moveTo>
                  <a:pt x="960110" y="0"/>
                </a:moveTo>
                <a:lnTo>
                  <a:pt x="1874500" y="0"/>
                </a:lnTo>
                <a:lnTo>
                  <a:pt x="1874500" y="914400"/>
                </a:lnTo>
                <a:lnTo>
                  <a:pt x="960110" y="914400"/>
                </a:lnTo>
                <a:close/>
                <a:moveTo>
                  <a:pt x="0" y="0"/>
                </a:moveTo>
                <a:lnTo>
                  <a:pt x="914390" y="0"/>
                </a:lnTo>
                <a:lnTo>
                  <a:pt x="914390" y="914400"/>
                </a:lnTo>
                <a:lnTo>
                  <a:pt x="0" y="914400"/>
                </a:lnTo>
                <a:close/>
              </a:path>
            </a:pathLst>
          </a:custGeom>
          <a:solidFill>
            <a:schemeClr val="tx2">
              <a:lumMod val="9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89744525"/>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Portfolio 1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2" y="0"/>
            <a:ext cx="5600775" cy="5143500"/>
          </a:xfrm>
          <a:custGeom>
            <a:avLst/>
            <a:gdLst>
              <a:gd name="connsiteX0" fmla="*/ 4527576 w 7467700"/>
              <a:gd name="connsiteY0" fmla="*/ 3899633 h 6858000"/>
              <a:gd name="connsiteX1" fmla="*/ 6799533 w 7467700"/>
              <a:gd name="connsiteY1" fmla="*/ 6858000 h 6858000"/>
              <a:gd name="connsiteX2" fmla="*/ 2255618 w 7467700"/>
              <a:gd name="connsiteY2" fmla="*/ 6858000 h 6858000"/>
              <a:gd name="connsiteX3" fmla="*/ 0 w 7467700"/>
              <a:gd name="connsiteY3" fmla="*/ 42 h 6858000"/>
              <a:gd name="connsiteX4" fmla="*/ 2255617 w 7467700"/>
              <a:gd name="connsiteY4" fmla="*/ 42 h 6858000"/>
              <a:gd name="connsiteX5" fmla="*/ 0 w 7467700"/>
              <a:gd name="connsiteY5" fmla="*/ 2937131 h 6858000"/>
              <a:gd name="connsiteX6" fmla="*/ 2417194 w 7467700"/>
              <a:gd name="connsiteY6" fmla="*/ 0 h 6858000"/>
              <a:gd name="connsiteX7" fmla="*/ 7467700 w 7467700"/>
              <a:gd name="connsiteY7" fmla="*/ 0 h 6858000"/>
              <a:gd name="connsiteX8" fmla="*/ 2094046 w 7467700"/>
              <a:gd name="connsiteY8" fmla="*/ 6858000 h 6858000"/>
              <a:gd name="connsiteX9" fmla="*/ 1 w 7467700"/>
              <a:gd name="connsiteY9" fmla="*/ 6858000 h 6858000"/>
              <a:gd name="connsiteX10" fmla="*/ 1 w 7467700"/>
              <a:gd name="connsiteY10" fmla="*/ 30848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67700" h="6858000">
                <a:moveTo>
                  <a:pt x="4527576" y="3899633"/>
                </a:moveTo>
                <a:lnTo>
                  <a:pt x="6799533" y="6858000"/>
                </a:lnTo>
                <a:lnTo>
                  <a:pt x="2255618" y="6858000"/>
                </a:lnTo>
                <a:close/>
                <a:moveTo>
                  <a:pt x="0" y="42"/>
                </a:moveTo>
                <a:lnTo>
                  <a:pt x="2255617" y="42"/>
                </a:lnTo>
                <a:lnTo>
                  <a:pt x="0" y="2937131"/>
                </a:lnTo>
                <a:close/>
                <a:moveTo>
                  <a:pt x="2417194" y="0"/>
                </a:moveTo>
                <a:lnTo>
                  <a:pt x="7467700" y="0"/>
                </a:lnTo>
                <a:lnTo>
                  <a:pt x="2094046" y="6858000"/>
                </a:lnTo>
                <a:lnTo>
                  <a:pt x="1" y="6858000"/>
                </a:lnTo>
                <a:lnTo>
                  <a:pt x="1" y="3084886"/>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753985646"/>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Portfolio 14">
    <p:spTree>
      <p:nvGrpSpPr>
        <p:cNvPr id="1" name=""/>
        <p:cNvGrpSpPr/>
        <p:nvPr/>
      </p:nvGrpSpPr>
      <p:grpSpPr>
        <a:xfrm>
          <a:off x="0" y="0"/>
          <a:ext cx="0" cy="0"/>
          <a:chOff x="0" y="0"/>
          <a:chExt cx="0" cy="0"/>
        </a:xfrm>
      </p:grpSpPr>
      <p:grpSp>
        <p:nvGrpSpPr>
          <p:cNvPr id="34" name="Group 33"/>
          <p:cNvGrpSpPr/>
          <p:nvPr userDrawn="1"/>
        </p:nvGrpSpPr>
        <p:grpSpPr>
          <a:xfrm>
            <a:off x="4777698" y="0"/>
            <a:ext cx="3767944" cy="5143500"/>
            <a:chOff x="6201147" y="0"/>
            <a:chExt cx="5023925" cy="6858000"/>
          </a:xfrm>
        </p:grpSpPr>
        <p:sp>
          <p:nvSpPr>
            <p:cNvPr id="16" name="Rectangle 15"/>
            <p:cNvSpPr/>
            <p:nvPr/>
          </p:nvSpPr>
          <p:spPr>
            <a:xfrm>
              <a:off x="6201147" y="0"/>
              <a:ext cx="67665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17" name="Rectangle 16"/>
            <p:cNvSpPr/>
            <p:nvPr/>
          </p:nvSpPr>
          <p:spPr>
            <a:xfrm>
              <a:off x="6925692" y="0"/>
              <a:ext cx="676656" cy="5810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18" name="Rectangle 17"/>
            <p:cNvSpPr/>
            <p:nvPr/>
          </p:nvSpPr>
          <p:spPr>
            <a:xfrm>
              <a:off x="7650237" y="0"/>
              <a:ext cx="676656" cy="65722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19" name="Rectangle 18"/>
            <p:cNvSpPr/>
            <p:nvPr/>
          </p:nvSpPr>
          <p:spPr>
            <a:xfrm>
              <a:off x="8374782" y="0"/>
              <a:ext cx="676656" cy="523875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20" name="Rectangle 19"/>
            <p:cNvSpPr/>
            <p:nvPr/>
          </p:nvSpPr>
          <p:spPr>
            <a:xfrm>
              <a:off x="9099327" y="0"/>
              <a:ext cx="667512" cy="619125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21" name="Rectangle 20"/>
            <p:cNvSpPr/>
            <p:nvPr/>
          </p:nvSpPr>
          <p:spPr>
            <a:xfrm>
              <a:off x="9823872" y="0"/>
              <a:ext cx="676656" cy="561975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22" name="Rectangle 21"/>
            <p:cNvSpPr/>
            <p:nvPr/>
          </p:nvSpPr>
          <p:spPr>
            <a:xfrm>
              <a:off x="10548416" y="0"/>
              <a:ext cx="676656" cy="6381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grpSp>
      <p:sp>
        <p:nvSpPr>
          <p:cNvPr id="33" name="Picture Placeholder 32"/>
          <p:cNvSpPr>
            <a:spLocks noGrp="1"/>
          </p:cNvSpPr>
          <p:nvPr userDrawn="1">
            <p:ph type="pic" sz="quarter" idx="10"/>
          </p:nvPr>
        </p:nvSpPr>
        <p:spPr>
          <a:xfrm>
            <a:off x="4777697" y="102898"/>
            <a:ext cx="3771900" cy="4929188"/>
          </a:xfrm>
          <a:custGeom>
            <a:avLst/>
            <a:gdLst>
              <a:gd name="connsiteX0" fmla="*/ 1449076 w 5029152"/>
              <a:gd name="connsiteY0" fmla="*/ 1 h 6572250"/>
              <a:gd name="connsiteX1" fmla="*/ 2131000 w 5029152"/>
              <a:gd name="connsiteY1" fmla="*/ 1 h 6572250"/>
              <a:gd name="connsiteX2" fmla="*/ 2131000 w 5029152"/>
              <a:gd name="connsiteY2" fmla="*/ 6309291 h 6572250"/>
              <a:gd name="connsiteX3" fmla="*/ 1449076 w 5029152"/>
              <a:gd name="connsiteY3" fmla="*/ 6309291 h 6572250"/>
              <a:gd name="connsiteX4" fmla="*/ 724538 w 5029152"/>
              <a:gd name="connsiteY4" fmla="*/ 1 h 6572250"/>
              <a:gd name="connsiteX5" fmla="*/ 1406462 w 5029152"/>
              <a:gd name="connsiteY5" fmla="*/ 1 h 6572250"/>
              <a:gd name="connsiteX6" fmla="*/ 1406462 w 5029152"/>
              <a:gd name="connsiteY6" fmla="*/ 5577779 h 6572250"/>
              <a:gd name="connsiteX7" fmla="*/ 724538 w 5029152"/>
              <a:gd name="connsiteY7" fmla="*/ 5577779 h 6572250"/>
              <a:gd name="connsiteX8" fmla="*/ 0 w 5029152"/>
              <a:gd name="connsiteY8" fmla="*/ 1 h 6572250"/>
              <a:gd name="connsiteX9" fmla="*/ 681924 w 5029152"/>
              <a:gd name="connsiteY9" fmla="*/ 1 h 6572250"/>
              <a:gd name="connsiteX10" fmla="*/ 681924 w 5029152"/>
              <a:gd name="connsiteY10" fmla="*/ 6572250 h 6572250"/>
              <a:gd name="connsiteX11" fmla="*/ 0 w 5029152"/>
              <a:gd name="connsiteY11" fmla="*/ 6572250 h 6572250"/>
              <a:gd name="connsiteX12" fmla="*/ 4347229 w 5029152"/>
              <a:gd name="connsiteY12" fmla="*/ 0 h 6572250"/>
              <a:gd name="connsiteX13" fmla="*/ 5029152 w 5029152"/>
              <a:gd name="connsiteY13" fmla="*/ 0 h 6572250"/>
              <a:gd name="connsiteX14" fmla="*/ 5029152 w 5029152"/>
              <a:gd name="connsiteY14" fmla="*/ 6126413 h 6572250"/>
              <a:gd name="connsiteX15" fmla="*/ 4347229 w 5029152"/>
              <a:gd name="connsiteY15" fmla="*/ 6126413 h 6572250"/>
              <a:gd name="connsiteX16" fmla="*/ 3622691 w 5029152"/>
              <a:gd name="connsiteY16" fmla="*/ 0 h 6572250"/>
              <a:gd name="connsiteX17" fmla="*/ 4304615 w 5029152"/>
              <a:gd name="connsiteY17" fmla="*/ 0 h 6572250"/>
              <a:gd name="connsiteX18" fmla="*/ 4304615 w 5029152"/>
              <a:gd name="connsiteY18" fmla="*/ 5394901 h 6572250"/>
              <a:gd name="connsiteX19" fmla="*/ 3622691 w 5029152"/>
              <a:gd name="connsiteY19" fmla="*/ 5394901 h 6572250"/>
              <a:gd name="connsiteX20" fmla="*/ 2898153 w 5029152"/>
              <a:gd name="connsiteY20" fmla="*/ 0 h 6572250"/>
              <a:gd name="connsiteX21" fmla="*/ 3580077 w 5029152"/>
              <a:gd name="connsiteY21" fmla="*/ 0 h 6572250"/>
              <a:gd name="connsiteX22" fmla="*/ 3580077 w 5029152"/>
              <a:gd name="connsiteY22" fmla="*/ 5943535 h 6572250"/>
              <a:gd name="connsiteX23" fmla="*/ 2898153 w 5029152"/>
              <a:gd name="connsiteY23" fmla="*/ 5943535 h 6572250"/>
              <a:gd name="connsiteX24" fmla="*/ 2173615 w 5029152"/>
              <a:gd name="connsiteY24" fmla="*/ 0 h 6572250"/>
              <a:gd name="connsiteX25" fmla="*/ 2855539 w 5029152"/>
              <a:gd name="connsiteY25" fmla="*/ 0 h 6572250"/>
              <a:gd name="connsiteX26" fmla="*/ 2855539 w 5029152"/>
              <a:gd name="connsiteY26" fmla="*/ 5029145 h 6572250"/>
              <a:gd name="connsiteX27" fmla="*/ 2173615 w 5029152"/>
              <a:gd name="connsiteY27" fmla="*/ 5029145 h 65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9152" h="6572250">
                <a:moveTo>
                  <a:pt x="1449076" y="1"/>
                </a:moveTo>
                <a:lnTo>
                  <a:pt x="2131000" y="1"/>
                </a:lnTo>
                <a:lnTo>
                  <a:pt x="2131000" y="6309291"/>
                </a:lnTo>
                <a:lnTo>
                  <a:pt x="1449076" y="6309291"/>
                </a:lnTo>
                <a:close/>
                <a:moveTo>
                  <a:pt x="724538" y="1"/>
                </a:moveTo>
                <a:lnTo>
                  <a:pt x="1406462" y="1"/>
                </a:lnTo>
                <a:lnTo>
                  <a:pt x="1406462" y="5577779"/>
                </a:lnTo>
                <a:lnTo>
                  <a:pt x="724538" y="5577779"/>
                </a:lnTo>
                <a:close/>
                <a:moveTo>
                  <a:pt x="0" y="1"/>
                </a:moveTo>
                <a:lnTo>
                  <a:pt x="681924" y="1"/>
                </a:lnTo>
                <a:lnTo>
                  <a:pt x="681924" y="6572250"/>
                </a:lnTo>
                <a:lnTo>
                  <a:pt x="0" y="6572250"/>
                </a:lnTo>
                <a:close/>
                <a:moveTo>
                  <a:pt x="4347229" y="0"/>
                </a:moveTo>
                <a:lnTo>
                  <a:pt x="5029152" y="0"/>
                </a:lnTo>
                <a:lnTo>
                  <a:pt x="5029152" y="6126413"/>
                </a:lnTo>
                <a:lnTo>
                  <a:pt x="4347229" y="6126413"/>
                </a:lnTo>
                <a:close/>
                <a:moveTo>
                  <a:pt x="3622691" y="0"/>
                </a:moveTo>
                <a:lnTo>
                  <a:pt x="4304615" y="0"/>
                </a:lnTo>
                <a:lnTo>
                  <a:pt x="4304615" y="5394901"/>
                </a:lnTo>
                <a:lnTo>
                  <a:pt x="3622691" y="5394901"/>
                </a:lnTo>
                <a:close/>
                <a:moveTo>
                  <a:pt x="2898153" y="0"/>
                </a:moveTo>
                <a:lnTo>
                  <a:pt x="3580077" y="0"/>
                </a:lnTo>
                <a:lnTo>
                  <a:pt x="3580077" y="5943535"/>
                </a:lnTo>
                <a:lnTo>
                  <a:pt x="2898153" y="5943535"/>
                </a:lnTo>
                <a:close/>
                <a:moveTo>
                  <a:pt x="2173615" y="0"/>
                </a:moveTo>
                <a:lnTo>
                  <a:pt x="2855539" y="0"/>
                </a:lnTo>
                <a:lnTo>
                  <a:pt x="2855539" y="5029145"/>
                </a:lnTo>
                <a:lnTo>
                  <a:pt x="2173615" y="502914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678493912"/>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Portfolio 15">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3" name="Picture Placeholder 22"/>
          <p:cNvSpPr>
            <a:spLocks noGrp="1" noChangeAspect="1"/>
          </p:cNvSpPr>
          <p:nvPr>
            <p:ph type="pic" sz="quarter" idx="10"/>
          </p:nvPr>
        </p:nvSpPr>
        <p:spPr>
          <a:xfrm>
            <a:off x="731572" y="582930"/>
            <a:ext cx="3892739" cy="3977640"/>
          </a:xfrm>
          <a:custGeom>
            <a:avLst/>
            <a:gdLst>
              <a:gd name="connsiteX0" fmla="*/ 1989152 w 4928993"/>
              <a:gd name="connsiteY0" fmla="*/ 3395553 h 5036495"/>
              <a:gd name="connsiteX1" fmla="*/ 2951693 w 4928993"/>
              <a:gd name="connsiteY1" fmla="*/ 3395553 h 5036495"/>
              <a:gd name="connsiteX2" fmla="*/ 3433422 w 4928993"/>
              <a:gd name="connsiteY2" fmla="*/ 4216024 h 5036495"/>
              <a:gd name="connsiteX3" fmla="*/ 2951693 w 4928993"/>
              <a:gd name="connsiteY3" fmla="*/ 5036495 h 5036495"/>
              <a:gd name="connsiteX4" fmla="*/ 1989152 w 4928993"/>
              <a:gd name="connsiteY4" fmla="*/ 5036495 h 5036495"/>
              <a:gd name="connsiteX5" fmla="*/ 1506509 w 4928993"/>
              <a:gd name="connsiteY5" fmla="*/ 4216024 h 5036495"/>
              <a:gd name="connsiteX6" fmla="*/ 3493489 w 4928993"/>
              <a:gd name="connsiteY6" fmla="*/ 2546666 h 5036495"/>
              <a:gd name="connsiteX7" fmla="*/ 4456032 w 4928993"/>
              <a:gd name="connsiteY7" fmla="*/ 2546666 h 5036495"/>
              <a:gd name="connsiteX8" fmla="*/ 4928993 w 4928993"/>
              <a:gd name="connsiteY8" fmla="*/ 3352206 h 5036495"/>
              <a:gd name="connsiteX9" fmla="*/ 4928993 w 4928993"/>
              <a:gd name="connsiteY9" fmla="*/ 3382068 h 5036495"/>
              <a:gd name="connsiteX10" fmla="*/ 4456032 w 4928993"/>
              <a:gd name="connsiteY10" fmla="*/ 4187608 h 5036495"/>
              <a:gd name="connsiteX11" fmla="*/ 3493489 w 4928993"/>
              <a:gd name="connsiteY11" fmla="*/ 4187608 h 5036495"/>
              <a:gd name="connsiteX12" fmla="*/ 3010847 w 4928993"/>
              <a:gd name="connsiteY12" fmla="*/ 3367137 h 5036495"/>
              <a:gd name="connsiteX13" fmla="*/ 482642 w 4928993"/>
              <a:gd name="connsiteY13" fmla="*/ 2546665 h 5036495"/>
              <a:gd name="connsiteX14" fmla="*/ 1445184 w 4928993"/>
              <a:gd name="connsiteY14" fmla="*/ 2546665 h 5036495"/>
              <a:gd name="connsiteX15" fmla="*/ 1926912 w 4928993"/>
              <a:gd name="connsiteY15" fmla="*/ 3367136 h 5036495"/>
              <a:gd name="connsiteX16" fmla="*/ 1445184 w 4928993"/>
              <a:gd name="connsiteY16" fmla="*/ 4187607 h 5036495"/>
              <a:gd name="connsiteX17" fmla="*/ 482642 w 4928993"/>
              <a:gd name="connsiteY17" fmla="*/ 4187607 h 5036495"/>
              <a:gd name="connsiteX18" fmla="*/ 0 w 4928993"/>
              <a:gd name="connsiteY18" fmla="*/ 3367136 h 5036495"/>
              <a:gd name="connsiteX19" fmla="*/ 1989152 w 4928993"/>
              <a:gd name="connsiteY19" fmla="*/ 1697776 h 5036495"/>
              <a:gd name="connsiteX20" fmla="*/ 2951693 w 4928993"/>
              <a:gd name="connsiteY20" fmla="*/ 1697776 h 5036495"/>
              <a:gd name="connsiteX21" fmla="*/ 3433422 w 4928993"/>
              <a:gd name="connsiteY21" fmla="*/ 2518247 h 5036495"/>
              <a:gd name="connsiteX22" fmla="*/ 2951693 w 4928993"/>
              <a:gd name="connsiteY22" fmla="*/ 3338718 h 5036495"/>
              <a:gd name="connsiteX23" fmla="*/ 1989152 w 4928993"/>
              <a:gd name="connsiteY23" fmla="*/ 3338718 h 5036495"/>
              <a:gd name="connsiteX24" fmla="*/ 1506509 w 4928993"/>
              <a:gd name="connsiteY24" fmla="*/ 2518247 h 5036495"/>
              <a:gd name="connsiteX25" fmla="*/ 3493489 w 4928993"/>
              <a:gd name="connsiteY25" fmla="*/ 848888 h 5036495"/>
              <a:gd name="connsiteX26" fmla="*/ 4456032 w 4928993"/>
              <a:gd name="connsiteY26" fmla="*/ 848888 h 5036495"/>
              <a:gd name="connsiteX27" fmla="*/ 4928993 w 4928993"/>
              <a:gd name="connsiteY27" fmla="*/ 1654428 h 5036495"/>
              <a:gd name="connsiteX28" fmla="*/ 4928993 w 4928993"/>
              <a:gd name="connsiteY28" fmla="*/ 1684290 h 5036495"/>
              <a:gd name="connsiteX29" fmla="*/ 4456032 w 4928993"/>
              <a:gd name="connsiteY29" fmla="*/ 2489830 h 5036495"/>
              <a:gd name="connsiteX30" fmla="*/ 3493489 w 4928993"/>
              <a:gd name="connsiteY30" fmla="*/ 2489830 h 5036495"/>
              <a:gd name="connsiteX31" fmla="*/ 3010847 w 4928993"/>
              <a:gd name="connsiteY31" fmla="*/ 1669359 h 5036495"/>
              <a:gd name="connsiteX32" fmla="*/ 482642 w 4928993"/>
              <a:gd name="connsiteY32" fmla="*/ 848886 h 5036495"/>
              <a:gd name="connsiteX33" fmla="*/ 1445184 w 4928993"/>
              <a:gd name="connsiteY33" fmla="*/ 848886 h 5036495"/>
              <a:gd name="connsiteX34" fmla="*/ 1926912 w 4928993"/>
              <a:gd name="connsiteY34" fmla="*/ 1669358 h 5036495"/>
              <a:gd name="connsiteX35" fmla="*/ 1445184 w 4928993"/>
              <a:gd name="connsiteY35" fmla="*/ 2489829 h 5036495"/>
              <a:gd name="connsiteX36" fmla="*/ 482642 w 4928993"/>
              <a:gd name="connsiteY36" fmla="*/ 2489829 h 5036495"/>
              <a:gd name="connsiteX37" fmla="*/ 0 w 4928993"/>
              <a:gd name="connsiteY37" fmla="*/ 1669358 h 5036495"/>
              <a:gd name="connsiteX38" fmla="*/ 1989152 w 4928993"/>
              <a:gd name="connsiteY38" fmla="*/ 0 h 5036495"/>
              <a:gd name="connsiteX39" fmla="*/ 2951693 w 4928993"/>
              <a:gd name="connsiteY39" fmla="*/ 0 h 5036495"/>
              <a:gd name="connsiteX40" fmla="*/ 3433422 w 4928993"/>
              <a:gd name="connsiteY40" fmla="*/ 820471 h 5036495"/>
              <a:gd name="connsiteX41" fmla="*/ 2951693 w 4928993"/>
              <a:gd name="connsiteY41" fmla="*/ 1640942 h 5036495"/>
              <a:gd name="connsiteX42" fmla="*/ 1989152 w 4928993"/>
              <a:gd name="connsiteY42" fmla="*/ 1640942 h 5036495"/>
              <a:gd name="connsiteX43" fmla="*/ 1506509 w 4928993"/>
              <a:gd name="connsiteY43" fmla="*/ 820471 h 5036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28993" h="5036495">
                <a:moveTo>
                  <a:pt x="1989152" y="3395553"/>
                </a:moveTo>
                <a:lnTo>
                  <a:pt x="2951693" y="3395553"/>
                </a:lnTo>
                <a:lnTo>
                  <a:pt x="3433422" y="4216024"/>
                </a:lnTo>
                <a:lnTo>
                  <a:pt x="2951693" y="5036495"/>
                </a:lnTo>
                <a:lnTo>
                  <a:pt x="1989152" y="5036495"/>
                </a:lnTo>
                <a:lnTo>
                  <a:pt x="1506509" y="4216024"/>
                </a:lnTo>
                <a:close/>
                <a:moveTo>
                  <a:pt x="3493489" y="2546666"/>
                </a:moveTo>
                <a:lnTo>
                  <a:pt x="4456032" y="2546666"/>
                </a:lnTo>
                <a:lnTo>
                  <a:pt x="4928993" y="3352206"/>
                </a:lnTo>
                <a:lnTo>
                  <a:pt x="4928993" y="3382068"/>
                </a:lnTo>
                <a:lnTo>
                  <a:pt x="4456032" y="4187608"/>
                </a:lnTo>
                <a:lnTo>
                  <a:pt x="3493489" y="4187608"/>
                </a:lnTo>
                <a:lnTo>
                  <a:pt x="3010847" y="3367137"/>
                </a:lnTo>
                <a:close/>
                <a:moveTo>
                  <a:pt x="482642" y="2546665"/>
                </a:moveTo>
                <a:lnTo>
                  <a:pt x="1445184" y="2546665"/>
                </a:lnTo>
                <a:lnTo>
                  <a:pt x="1926912" y="3367136"/>
                </a:lnTo>
                <a:lnTo>
                  <a:pt x="1445184" y="4187607"/>
                </a:lnTo>
                <a:lnTo>
                  <a:pt x="482642" y="4187607"/>
                </a:lnTo>
                <a:lnTo>
                  <a:pt x="0" y="3367136"/>
                </a:lnTo>
                <a:close/>
                <a:moveTo>
                  <a:pt x="1989152" y="1697776"/>
                </a:moveTo>
                <a:lnTo>
                  <a:pt x="2951693" y="1697776"/>
                </a:lnTo>
                <a:lnTo>
                  <a:pt x="3433422" y="2518247"/>
                </a:lnTo>
                <a:lnTo>
                  <a:pt x="2951693" y="3338718"/>
                </a:lnTo>
                <a:lnTo>
                  <a:pt x="1989152" y="3338718"/>
                </a:lnTo>
                <a:lnTo>
                  <a:pt x="1506509" y="2518247"/>
                </a:lnTo>
                <a:close/>
                <a:moveTo>
                  <a:pt x="3493489" y="848888"/>
                </a:moveTo>
                <a:lnTo>
                  <a:pt x="4456032" y="848888"/>
                </a:lnTo>
                <a:lnTo>
                  <a:pt x="4928993" y="1654428"/>
                </a:lnTo>
                <a:lnTo>
                  <a:pt x="4928993" y="1684290"/>
                </a:lnTo>
                <a:lnTo>
                  <a:pt x="4456032" y="2489830"/>
                </a:lnTo>
                <a:lnTo>
                  <a:pt x="3493489" y="2489830"/>
                </a:lnTo>
                <a:lnTo>
                  <a:pt x="3010847" y="1669359"/>
                </a:lnTo>
                <a:close/>
                <a:moveTo>
                  <a:pt x="482642" y="848886"/>
                </a:moveTo>
                <a:lnTo>
                  <a:pt x="1445184" y="848886"/>
                </a:lnTo>
                <a:lnTo>
                  <a:pt x="1926912" y="1669358"/>
                </a:lnTo>
                <a:lnTo>
                  <a:pt x="1445184" y="2489829"/>
                </a:lnTo>
                <a:lnTo>
                  <a:pt x="482642" y="2489829"/>
                </a:lnTo>
                <a:lnTo>
                  <a:pt x="0" y="1669358"/>
                </a:lnTo>
                <a:close/>
                <a:moveTo>
                  <a:pt x="1989152" y="0"/>
                </a:moveTo>
                <a:lnTo>
                  <a:pt x="2951693" y="0"/>
                </a:lnTo>
                <a:lnTo>
                  <a:pt x="3433422" y="820471"/>
                </a:lnTo>
                <a:lnTo>
                  <a:pt x="2951693" y="1640942"/>
                </a:lnTo>
                <a:lnTo>
                  <a:pt x="1989152" y="1640942"/>
                </a:lnTo>
                <a:lnTo>
                  <a:pt x="1506509" y="820471"/>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866206952"/>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Portfolio 16">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60583" y="754380"/>
            <a:ext cx="4434379" cy="3634740"/>
          </a:xfrm>
          <a:custGeom>
            <a:avLst/>
            <a:gdLst>
              <a:gd name="connsiteX0" fmla="*/ 3004699 w 5912505"/>
              <a:gd name="connsiteY0" fmla="*/ 3295445 h 4846320"/>
              <a:gd name="connsiteX1" fmla="*/ 4167821 w 5912505"/>
              <a:gd name="connsiteY1" fmla="*/ 3295445 h 4846320"/>
              <a:gd name="connsiteX2" fmla="*/ 4167821 w 5912505"/>
              <a:gd name="connsiteY2" fmla="*/ 4070883 h 4846320"/>
              <a:gd name="connsiteX3" fmla="*/ 3004699 w 5912505"/>
              <a:gd name="connsiteY3" fmla="*/ 4070883 h 4846320"/>
              <a:gd name="connsiteX4" fmla="*/ 0 w 5912505"/>
              <a:gd name="connsiteY4" fmla="*/ 2423144 h 4846320"/>
              <a:gd name="connsiteX5" fmla="*/ 2907805 w 5912505"/>
              <a:gd name="connsiteY5" fmla="*/ 2423144 h 4846320"/>
              <a:gd name="connsiteX6" fmla="*/ 2907805 w 5912505"/>
              <a:gd name="connsiteY6" fmla="*/ 4846320 h 4846320"/>
              <a:gd name="connsiteX7" fmla="*/ 0 w 5912505"/>
              <a:gd name="connsiteY7" fmla="*/ 4846320 h 4846320"/>
              <a:gd name="connsiteX8" fmla="*/ 3004699 w 5912505"/>
              <a:gd name="connsiteY8" fmla="*/ 1647738 h 4846320"/>
              <a:gd name="connsiteX9" fmla="*/ 5912505 w 5912505"/>
              <a:gd name="connsiteY9" fmla="*/ 1647738 h 4846320"/>
              <a:gd name="connsiteX10" fmla="*/ 5912505 w 5912505"/>
              <a:gd name="connsiteY10" fmla="*/ 3198568 h 4846320"/>
              <a:gd name="connsiteX11" fmla="*/ 3004699 w 5912505"/>
              <a:gd name="connsiteY11" fmla="*/ 3198568 h 4846320"/>
              <a:gd name="connsiteX12" fmla="*/ 1938515 w 5912505"/>
              <a:gd name="connsiteY12" fmla="*/ 1163109 h 4846320"/>
              <a:gd name="connsiteX13" fmla="*/ 2907773 w 5912505"/>
              <a:gd name="connsiteY13" fmla="*/ 1163109 h 4846320"/>
              <a:gd name="connsiteX14" fmla="*/ 2907773 w 5912505"/>
              <a:gd name="connsiteY14" fmla="*/ 2326250 h 4846320"/>
              <a:gd name="connsiteX15" fmla="*/ 1938515 w 5912505"/>
              <a:gd name="connsiteY15" fmla="*/ 2326250 h 4846320"/>
              <a:gd name="connsiteX16" fmla="*/ 3004699 w 5912505"/>
              <a:gd name="connsiteY16" fmla="*/ 0 h 4846320"/>
              <a:gd name="connsiteX17" fmla="*/ 4943236 w 5912505"/>
              <a:gd name="connsiteY17" fmla="*/ 0 h 4846320"/>
              <a:gd name="connsiteX18" fmla="*/ 4943236 w 5912505"/>
              <a:gd name="connsiteY18" fmla="*/ 1550830 h 4846320"/>
              <a:gd name="connsiteX19" fmla="*/ 3004699 w 5912505"/>
              <a:gd name="connsiteY19" fmla="*/ 1550830 h 484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12505" h="4846320">
                <a:moveTo>
                  <a:pt x="3004699" y="3295445"/>
                </a:moveTo>
                <a:lnTo>
                  <a:pt x="4167821" y="3295445"/>
                </a:lnTo>
                <a:lnTo>
                  <a:pt x="4167821" y="4070883"/>
                </a:lnTo>
                <a:lnTo>
                  <a:pt x="3004699" y="4070883"/>
                </a:lnTo>
                <a:close/>
                <a:moveTo>
                  <a:pt x="0" y="2423144"/>
                </a:moveTo>
                <a:lnTo>
                  <a:pt x="2907805" y="2423144"/>
                </a:lnTo>
                <a:lnTo>
                  <a:pt x="2907805" y="4846320"/>
                </a:lnTo>
                <a:lnTo>
                  <a:pt x="0" y="4846320"/>
                </a:lnTo>
                <a:close/>
                <a:moveTo>
                  <a:pt x="3004699" y="1647738"/>
                </a:moveTo>
                <a:lnTo>
                  <a:pt x="5912505" y="1647738"/>
                </a:lnTo>
                <a:lnTo>
                  <a:pt x="5912505" y="3198568"/>
                </a:lnTo>
                <a:lnTo>
                  <a:pt x="3004699" y="3198568"/>
                </a:lnTo>
                <a:close/>
                <a:moveTo>
                  <a:pt x="1938515" y="1163109"/>
                </a:moveTo>
                <a:lnTo>
                  <a:pt x="2907773" y="1163109"/>
                </a:lnTo>
                <a:lnTo>
                  <a:pt x="2907773" y="2326250"/>
                </a:lnTo>
                <a:lnTo>
                  <a:pt x="1938515" y="2326250"/>
                </a:lnTo>
                <a:close/>
                <a:moveTo>
                  <a:pt x="3004699" y="0"/>
                </a:moveTo>
                <a:lnTo>
                  <a:pt x="4943236" y="0"/>
                </a:lnTo>
                <a:lnTo>
                  <a:pt x="4943236" y="1550830"/>
                </a:lnTo>
                <a:lnTo>
                  <a:pt x="3004699" y="155083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816460659"/>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Portfolio 17">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3" name="Picture Placeholder 22"/>
          <p:cNvSpPr>
            <a:spLocks noGrp="1" noChangeAspect="1"/>
          </p:cNvSpPr>
          <p:nvPr>
            <p:ph type="pic" sz="quarter" idx="10"/>
          </p:nvPr>
        </p:nvSpPr>
        <p:spPr>
          <a:xfrm>
            <a:off x="4640581" y="582930"/>
            <a:ext cx="3811904" cy="3977640"/>
          </a:xfrm>
          <a:custGeom>
            <a:avLst/>
            <a:gdLst>
              <a:gd name="connsiteX0" fmla="*/ 0 w 4206240"/>
              <a:gd name="connsiteY0" fmla="*/ 2363381 h 4389120"/>
              <a:gd name="connsiteX1" fmla="*/ 1051558 w 4206240"/>
              <a:gd name="connsiteY1" fmla="*/ 2363381 h 4389120"/>
              <a:gd name="connsiteX2" fmla="*/ 2103120 w 4206240"/>
              <a:gd name="connsiteY2" fmla="*/ 3376251 h 4389120"/>
              <a:gd name="connsiteX3" fmla="*/ 3154682 w 4206240"/>
              <a:gd name="connsiteY3" fmla="*/ 2363381 h 4389120"/>
              <a:gd name="connsiteX4" fmla="*/ 4206240 w 4206240"/>
              <a:gd name="connsiteY4" fmla="*/ 2363381 h 4389120"/>
              <a:gd name="connsiteX5" fmla="*/ 2103120 w 4206240"/>
              <a:gd name="connsiteY5" fmla="*/ 4389120 h 4389120"/>
              <a:gd name="connsiteX6" fmla="*/ 0 w 4206240"/>
              <a:gd name="connsiteY6" fmla="*/ 2363381 h 4389120"/>
              <a:gd name="connsiteX7" fmla="*/ 2103120 w 4206240"/>
              <a:gd name="connsiteY7" fmla="*/ 1135662 h 4389120"/>
              <a:gd name="connsiteX8" fmla="*/ 3059073 w 4206240"/>
              <a:gd name="connsiteY8" fmla="*/ 2194561 h 4389120"/>
              <a:gd name="connsiteX9" fmla="*/ 2103120 w 4206240"/>
              <a:gd name="connsiteY9" fmla="*/ 3253461 h 4389120"/>
              <a:gd name="connsiteX10" fmla="*/ 1147167 w 4206240"/>
              <a:gd name="connsiteY10" fmla="*/ 2194561 h 4389120"/>
              <a:gd name="connsiteX11" fmla="*/ 2103120 w 4206240"/>
              <a:gd name="connsiteY11" fmla="*/ 1135662 h 4389120"/>
              <a:gd name="connsiteX12" fmla="*/ 2103120 w 4206240"/>
              <a:gd name="connsiteY12" fmla="*/ 0 h 4389120"/>
              <a:gd name="connsiteX13" fmla="*/ 4206240 w 4206240"/>
              <a:gd name="connsiteY13" fmla="*/ 2025739 h 4389120"/>
              <a:gd name="connsiteX14" fmla="*/ 3154682 w 4206240"/>
              <a:gd name="connsiteY14" fmla="*/ 2025739 h 4389120"/>
              <a:gd name="connsiteX15" fmla="*/ 2103120 w 4206240"/>
              <a:gd name="connsiteY15" fmla="*/ 1012869 h 4389120"/>
              <a:gd name="connsiteX16" fmla="*/ 1051558 w 4206240"/>
              <a:gd name="connsiteY16" fmla="*/ 2025739 h 4389120"/>
              <a:gd name="connsiteX17" fmla="*/ 0 w 4206240"/>
              <a:gd name="connsiteY17" fmla="*/ 2025739 h 4389120"/>
              <a:gd name="connsiteX18" fmla="*/ 2103120 w 4206240"/>
              <a:gd name="connsiteY18" fmla="*/ 0 h 438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6240" h="4389120">
                <a:moveTo>
                  <a:pt x="0" y="2363381"/>
                </a:moveTo>
                <a:lnTo>
                  <a:pt x="1051558" y="2363381"/>
                </a:lnTo>
                <a:cubicBezTo>
                  <a:pt x="1051558" y="2922774"/>
                  <a:pt x="1522359" y="3376251"/>
                  <a:pt x="2103120" y="3376251"/>
                </a:cubicBezTo>
                <a:cubicBezTo>
                  <a:pt x="2683882" y="3376251"/>
                  <a:pt x="3154682" y="2922774"/>
                  <a:pt x="3154682" y="2363381"/>
                </a:cubicBezTo>
                <a:lnTo>
                  <a:pt x="4206240" y="2363381"/>
                </a:lnTo>
                <a:cubicBezTo>
                  <a:pt x="4206240" y="3482166"/>
                  <a:pt x="3264641" y="4389120"/>
                  <a:pt x="2103120" y="4389120"/>
                </a:cubicBezTo>
                <a:cubicBezTo>
                  <a:pt x="941599" y="4389120"/>
                  <a:pt x="0" y="3482166"/>
                  <a:pt x="0" y="2363381"/>
                </a:cubicBezTo>
                <a:close/>
                <a:moveTo>
                  <a:pt x="2103120" y="1135662"/>
                </a:moveTo>
                <a:cubicBezTo>
                  <a:pt x="2631079" y="1135662"/>
                  <a:pt x="3059073" y="1609748"/>
                  <a:pt x="3059073" y="2194561"/>
                </a:cubicBezTo>
                <a:cubicBezTo>
                  <a:pt x="3059073" y="2779375"/>
                  <a:pt x="2631079" y="3253461"/>
                  <a:pt x="2103120" y="3253461"/>
                </a:cubicBezTo>
                <a:cubicBezTo>
                  <a:pt x="1575161" y="3253461"/>
                  <a:pt x="1147167" y="2779375"/>
                  <a:pt x="1147167" y="2194561"/>
                </a:cubicBezTo>
                <a:cubicBezTo>
                  <a:pt x="1147167" y="1609748"/>
                  <a:pt x="1575161" y="1135662"/>
                  <a:pt x="2103120" y="1135662"/>
                </a:cubicBezTo>
                <a:close/>
                <a:moveTo>
                  <a:pt x="2103120" y="0"/>
                </a:moveTo>
                <a:cubicBezTo>
                  <a:pt x="3264641" y="0"/>
                  <a:pt x="4206240" y="906954"/>
                  <a:pt x="4206240" y="2025739"/>
                </a:cubicBezTo>
                <a:lnTo>
                  <a:pt x="3154682" y="2025739"/>
                </a:lnTo>
                <a:cubicBezTo>
                  <a:pt x="3154682" y="1466346"/>
                  <a:pt x="2683882" y="1012869"/>
                  <a:pt x="2103120" y="1012869"/>
                </a:cubicBezTo>
                <a:cubicBezTo>
                  <a:pt x="1522359" y="1012869"/>
                  <a:pt x="1051558" y="1466346"/>
                  <a:pt x="1051558" y="2025739"/>
                </a:cubicBezTo>
                <a:lnTo>
                  <a:pt x="0" y="2025739"/>
                </a:lnTo>
                <a:cubicBezTo>
                  <a:pt x="0" y="906954"/>
                  <a:pt x="941599" y="0"/>
                  <a:pt x="2103120" y="0"/>
                </a:cubicBez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983804989"/>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Portfolio 18">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670118" y="0"/>
            <a:ext cx="4473882" cy="5143500"/>
          </a:xfrm>
          <a:custGeom>
            <a:avLst/>
            <a:gdLst>
              <a:gd name="connsiteX0" fmla="*/ 5093814 w 5965176"/>
              <a:gd name="connsiteY0" fmla="*/ 0 h 6858000"/>
              <a:gd name="connsiteX1" fmla="*/ 5965176 w 5965176"/>
              <a:gd name="connsiteY1" fmla="*/ 0 h 6858000"/>
              <a:gd name="connsiteX2" fmla="*/ 5965176 w 5965176"/>
              <a:gd name="connsiteY2" fmla="*/ 6858000 h 6858000"/>
              <a:gd name="connsiteX3" fmla="*/ 5093814 w 5965176"/>
              <a:gd name="connsiteY3" fmla="*/ 6858000 h 6858000"/>
              <a:gd name="connsiteX4" fmla="*/ 3395876 w 5965176"/>
              <a:gd name="connsiteY4" fmla="*/ 0 h 6858000"/>
              <a:gd name="connsiteX5" fmla="*/ 5041796 w 5965176"/>
              <a:gd name="connsiteY5" fmla="*/ 0 h 6858000"/>
              <a:gd name="connsiteX6" fmla="*/ 5041796 w 5965176"/>
              <a:gd name="connsiteY6" fmla="*/ 6858000 h 6858000"/>
              <a:gd name="connsiteX7" fmla="*/ 3395876 w 5965176"/>
              <a:gd name="connsiteY7" fmla="*/ 6858000 h 6858000"/>
              <a:gd name="connsiteX8" fmla="*/ 1697938 w 5965176"/>
              <a:gd name="connsiteY8" fmla="*/ 0 h 6858000"/>
              <a:gd name="connsiteX9" fmla="*/ 3343858 w 5965176"/>
              <a:gd name="connsiteY9" fmla="*/ 0 h 6858000"/>
              <a:gd name="connsiteX10" fmla="*/ 3343858 w 5965176"/>
              <a:gd name="connsiteY10" fmla="*/ 6858000 h 6858000"/>
              <a:gd name="connsiteX11" fmla="*/ 1697938 w 5965176"/>
              <a:gd name="connsiteY11" fmla="*/ 6858000 h 6858000"/>
              <a:gd name="connsiteX12" fmla="*/ 0 w 5965176"/>
              <a:gd name="connsiteY12" fmla="*/ 0 h 6858000"/>
              <a:gd name="connsiteX13" fmla="*/ 1645920 w 5965176"/>
              <a:gd name="connsiteY13" fmla="*/ 0 h 6858000"/>
              <a:gd name="connsiteX14" fmla="*/ 1645920 w 5965176"/>
              <a:gd name="connsiteY14" fmla="*/ 6858000 h 6858000"/>
              <a:gd name="connsiteX15" fmla="*/ 0 w 5965176"/>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65176" h="6858000">
                <a:moveTo>
                  <a:pt x="5093814" y="0"/>
                </a:moveTo>
                <a:lnTo>
                  <a:pt x="5965176" y="0"/>
                </a:lnTo>
                <a:lnTo>
                  <a:pt x="5965176" y="6858000"/>
                </a:lnTo>
                <a:lnTo>
                  <a:pt x="5093814" y="6858000"/>
                </a:lnTo>
                <a:close/>
                <a:moveTo>
                  <a:pt x="3395876" y="0"/>
                </a:moveTo>
                <a:lnTo>
                  <a:pt x="5041796" y="0"/>
                </a:lnTo>
                <a:lnTo>
                  <a:pt x="5041796" y="6858000"/>
                </a:lnTo>
                <a:lnTo>
                  <a:pt x="3395876" y="6858000"/>
                </a:lnTo>
                <a:close/>
                <a:moveTo>
                  <a:pt x="1697938" y="0"/>
                </a:moveTo>
                <a:lnTo>
                  <a:pt x="3343858" y="0"/>
                </a:lnTo>
                <a:lnTo>
                  <a:pt x="3343858" y="6858000"/>
                </a:lnTo>
                <a:lnTo>
                  <a:pt x="1697938" y="6858000"/>
                </a:lnTo>
                <a:close/>
                <a:moveTo>
                  <a:pt x="0" y="0"/>
                </a:moveTo>
                <a:lnTo>
                  <a:pt x="1645920" y="0"/>
                </a:lnTo>
                <a:lnTo>
                  <a:pt x="1645920" y="6858000"/>
                </a:lnTo>
                <a:lnTo>
                  <a:pt x="0" y="685800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535923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2"/>
        </a:solidFill>
        <a:effectLst/>
      </p:bgPr>
    </p:bg>
    <p:spTree>
      <p:nvGrpSpPr>
        <p:cNvPr id="1" name=""/>
        <p:cNvGrpSpPr/>
        <p:nvPr/>
      </p:nvGrpSpPr>
      <p:grpSpPr>
        <a:xfrm>
          <a:off x="0" y="0"/>
          <a:ext cx="0" cy="0"/>
          <a:chOff x="0" y="0"/>
          <a:chExt cx="0" cy="0"/>
        </a:xfrm>
      </p:grpSpPr>
      <p:pic>
        <p:nvPicPr>
          <p:cNvPr id="5" name="Picture 3" descr="Microsoft logo and tag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591425" y="4730361"/>
            <a:ext cx="1403350" cy="235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384675" y="1326357"/>
            <a:ext cx="8423524" cy="2437590"/>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a:t>Click to edit Master text styles</a:t>
            </a:r>
          </a:p>
        </p:txBody>
      </p:sp>
      <p:sp>
        <p:nvSpPr>
          <p:cNvPr id="4" name="Text Placeholder 8"/>
          <p:cNvSpPr>
            <a:spLocks noGrp="1"/>
          </p:cNvSpPr>
          <p:nvPr>
            <p:ph type="body" sz="quarter" idx="11"/>
          </p:nvPr>
        </p:nvSpPr>
        <p:spPr>
          <a:xfrm>
            <a:off x="384676" y="2414374"/>
            <a:ext cx="5636696"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78200227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Portfolio 19">
    <p:spTree>
      <p:nvGrpSpPr>
        <p:cNvPr id="1" name=""/>
        <p:cNvGrpSpPr/>
        <p:nvPr/>
      </p:nvGrpSpPr>
      <p:grpSpPr>
        <a:xfrm>
          <a:off x="0" y="0"/>
          <a:ext cx="0" cy="0"/>
          <a:chOff x="0" y="0"/>
          <a:chExt cx="0" cy="0"/>
        </a:xfrm>
      </p:grpSpPr>
      <p:sp>
        <p:nvSpPr>
          <p:cNvPr id="24" name="Picture Placeholder 3"/>
          <p:cNvSpPr>
            <a:spLocks noGrp="1"/>
          </p:cNvSpPr>
          <p:nvPr>
            <p:ph type="pic" sz="quarter" idx="10"/>
          </p:nvPr>
        </p:nvSpPr>
        <p:spPr>
          <a:xfrm>
            <a:off x="2944083" y="11"/>
            <a:ext cx="6199919" cy="5143499"/>
          </a:xfrm>
          <a:custGeom>
            <a:avLst/>
            <a:gdLst>
              <a:gd name="connsiteX0" fmla="*/ 964929 w 8266558"/>
              <a:gd name="connsiteY0" fmla="*/ 0 h 6857999"/>
              <a:gd name="connsiteX1" fmla="*/ 8266558 w 8266558"/>
              <a:gd name="connsiteY1" fmla="*/ 0 h 6857999"/>
              <a:gd name="connsiteX2" fmla="*/ 8266558 w 8266558"/>
              <a:gd name="connsiteY2" fmla="*/ 4516266 h 6857999"/>
              <a:gd name="connsiteX3" fmla="*/ 4869410 w 8266558"/>
              <a:gd name="connsiteY3" fmla="*/ 6605288 h 6857999"/>
              <a:gd name="connsiteX4" fmla="*/ 0 w 8266558"/>
              <a:gd name="connsiteY4" fmla="*/ 0 h 6857999"/>
              <a:gd name="connsiteX5" fmla="*/ 964929 w 8266558"/>
              <a:gd name="connsiteY5" fmla="*/ 0 h 6857999"/>
              <a:gd name="connsiteX6" fmla="*/ 4808965 w 8266558"/>
              <a:gd name="connsiteY6" fmla="*/ 6857999 h 6857999"/>
              <a:gd name="connsiteX7" fmla="*/ 4802575 w 8266558"/>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66558" h="6857999">
                <a:moveTo>
                  <a:pt x="964929" y="0"/>
                </a:moveTo>
                <a:lnTo>
                  <a:pt x="8266558" y="0"/>
                </a:lnTo>
                <a:lnTo>
                  <a:pt x="8266558" y="4516266"/>
                </a:lnTo>
                <a:lnTo>
                  <a:pt x="4869410" y="6605288"/>
                </a:lnTo>
                <a:close/>
                <a:moveTo>
                  <a:pt x="0" y="0"/>
                </a:moveTo>
                <a:lnTo>
                  <a:pt x="964929" y="0"/>
                </a:lnTo>
                <a:lnTo>
                  <a:pt x="4808965" y="6857999"/>
                </a:lnTo>
                <a:lnTo>
                  <a:pt x="4802575" y="6857999"/>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965619244"/>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Device Mockups">
    <p:bg>
      <p:bgPr>
        <a:pattFill prst="openDmnd">
          <a:fgClr>
            <a:schemeClr val="bg1"/>
          </a:fgClr>
          <a:bgClr>
            <a:srgbClr val="00B0F0"/>
          </a:bgClr>
        </a:pattFill>
        <a:effectLst/>
      </p:bgPr>
    </p:bg>
    <p:spTree>
      <p:nvGrpSpPr>
        <p:cNvPr id="1" name=""/>
        <p:cNvGrpSpPr/>
        <p:nvPr/>
      </p:nvGrpSpPr>
      <p:grpSpPr>
        <a:xfrm>
          <a:off x="0" y="0"/>
          <a:ext cx="0" cy="0"/>
          <a:chOff x="0" y="0"/>
          <a:chExt cx="0" cy="0"/>
        </a:xfrm>
      </p:grpSpPr>
      <p:sp>
        <p:nvSpPr>
          <p:cNvPr id="22" name="Rectangle 21"/>
          <p:cNvSpPr/>
          <p:nvPr userDrawn="1"/>
        </p:nvSpPr>
        <p:spPr>
          <a:xfrm>
            <a:off x="0" y="0"/>
            <a:ext cx="9144000" cy="5143500"/>
          </a:xfrm>
          <a:prstGeom prst="rect">
            <a:avLst/>
          </a:prstGeom>
          <a:solidFill>
            <a:schemeClr val="tx2">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17" name="Picture Placeholder 16"/>
          <p:cNvSpPr>
            <a:spLocks noGrp="1"/>
          </p:cNvSpPr>
          <p:nvPr>
            <p:ph type="pic" sz="quarter" idx="11"/>
          </p:nvPr>
        </p:nvSpPr>
        <p:spPr>
          <a:xfrm>
            <a:off x="3351278" y="941483"/>
            <a:ext cx="2180843" cy="2324757"/>
          </a:xfrm>
          <a:custGeom>
            <a:avLst/>
            <a:gdLst>
              <a:gd name="connsiteX0" fmla="*/ 0 w 2907791"/>
              <a:gd name="connsiteY0" fmla="*/ 0 h 3099676"/>
              <a:gd name="connsiteX1" fmla="*/ 2155508 w 2907791"/>
              <a:gd name="connsiteY1" fmla="*/ 741397 h 3099676"/>
              <a:gd name="connsiteX2" fmla="*/ 2907791 w 2907791"/>
              <a:gd name="connsiteY2" fmla="*/ 3099673 h 3099676"/>
              <a:gd name="connsiteX3" fmla="*/ 2907791 w 2907791"/>
              <a:gd name="connsiteY3" fmla="*/ 3099676 h 3099676"/>
              <a:gd name="connsiteX4" fmla="*/ 905859 w 2907791"/>
              <a:gd name="connsiteY4" fmla="*/ 3025614 h 3099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7791" h="3099676">
                <a:moveTo>
                  <a:pt x="0" y="0"/>
                </a:moveTo>
                <a:lnTo>
                  <a:pt x="2155508" y="741397"/>
                </a:lnTo>
                <a:lnTo>
                  <a:pt x="2907791" y="3099673"/>
                </a:lnTo>
                <a:lnTo>
                  <a:pt x="2907791" y="3099676"/>
                </a:lnTo>
                <a:lnTo>
                  <a:pt x="905859" y="3025614"/>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16" name="Picture Placeholder 15"/>
          <p:cNvSpPr>
            <a:spLocks noGrp="1"/>
          </p:cNvSpPr>
          <p:nvPr>
            <p:ph type="pic" sz="quarter" idx="12"/>
          </p:nvPr>
        </p:nvSpPr>
        <p:spPr>
          <a:xfrm>
            <a:off x="5102755" y="3432631"/>
            <a:ext cx="1604772" cy="994100"/>
          </a:xfrm>
          <a:custGeom>
            <a:avLst/>
            <a:gdLst>
              <a:gd name="connsiteX0" fmla="*/ 1370156 w 2139696"/>
              <a:gd name="connsiteY0" fmla="*/ 0 h 1325466"/>
              <a:gd name="connsiteX1" fmla="*/ 2139696 w 2139696"/>
              <a:gd name="connsiteY1" fmla="*/ 463869 h 1325466"/>
              <a:gd name="connsiteX2" fmla="*/ 777584 w 2139696"/>
              <a:gd name="connsiteY2" fmla="*/ 1325466 h 1325466"/>
              <a:gd name="connsiteX3" fmla="*/ 0 w 2139696"/>
              <a:gd name="connsiteY3" fmla="*/ 809759 h 1325466"/>
            </a:gdLst>
            <a:ahLst/>
            <a:cxnLst>
              <a:cxn ang="0">
                <a:pos x="connsiteX0" y="connsiteY0"/>
              </a:cxn>
              <a:cxn ang="0">
                <a:pos x="connsiteX1" y="connsiteY1"/>
              </a:cxn>
              <a:cxn ang="0">
                <a:pos x="connsiteX2" y="connsiteY2"/>
              </a:cxn>
              <a:cxn ang="0">
                <a:pos x="connsiteX3" y="connsiteY3"/>
              </a:cxn>
            </a:cxnLst>
            <a:rect l="l" t="t" r="r" b="b"/>
            <a:pathLst>
              <a:path w="2139696" h="1325466">
                <a:moveTo>
                  <a:pt x="1370156" y="0"/>
                </a:moveTo>
                <a:lnTo>
                  <a:pt x="2139696" y="463869"/>
                </a:lnTo>
                <a:lnTo>
                  <a:pt x="777584" y="1325466"/>
                </a:lnTo>
                <a:lnTo>
                  <a:pt x="0" y="809759"/>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19" name="Picture Placeholder 18"/>
          <p:cNvSpPr>
            <a:spLocks noGrp="1"/>
          </p:cNvSpPr>
          <p:nvPr>
            <p:ph type="pic" sz="quarter" idx="10"/>
          </p:nvPr>
        </p:nvSpPr>
        <p:spPr>
          <a:xfrm>
            <a:off x="1732958" y="2821699"/>
            <a:ext cx="2016252" cy="1440720"/>
          </a:xfrm>
          <a:custGeom>
            <a:avLst/>
            <a:gdLst>
              <a:gd name="connsiteX0" fmla="*/ 2688336 w 2688336"/>
              <a:gd name="connsiteY0" fmla="*/ 0 h 1920960"/>
              <a:gd name="connsiteX1" fmla="*/ 2359100 w 2688336"/>
              <a:gd name="connsiteY1" fmla="*/ 1920960 h 1920960"/>
              <a:gd name="connsiteX2" fmla="*/ 0 w 2688336"/>
              <a:gd name="connsiteY2" fmla="*/ 1840551 h 1920960"/>
              <a:gd name="connsiteX3" fmla="*/ 374189 w 2688336"/>
              <a:gd name="connsiteY3" fmla="*/ 67747 h 1920960"/>
            </a:gdLst>
            <a:ahLst/>
            <a:cxnLst>
              <a:cxn ang="0">
                <a:pos x="connsiteX0" y="connsiteY0"/>
              </a:cxn>
              <a:cxn ang="0">
                <a:pos x="connsiteX1" y="connsiteY1"/>
              </a:cxn>
              <a:cxn ang="0">
                <a:pos x="connsiteX2" y="connsiteY2"/>
              </a:cxn>
              <a:cxn ang="0">
                <a:pos x="connsiteX3" y="connsiteY3"/>
              </a:cxn>
            </a:cxnLst>
            <a:rect l="l" t="t" r="r" b="b"/>
            <a:pathLst>
              <a:path w="2688336" h="1920960">
                <a:moveTo>
                  <a:pt x="2688336" y="0"/>
                </a:moveTo>
                <a:lnTo>
                  <a:pt x="2359100" y="1920960"/>
                </a:lnTo>
                <a:lnTo>
                  <a:pt x="0" y="1840551"/>
                </a:lnTo>
                <a:lnTo>
                  <a:pt x="374189" y="67747"/>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39036623"/>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ablet 1">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9" name="Picture Placeholder 28"/>
          <p:cNvSpPr>
            <a:spLocks noGrp="1"/>
          </p:cNvSpPr>
          <p:nvPr>
            <p:ph type="pic" sz="quarter" idx="10"/>
          </p:nvPr>
        </p:nvSpPr>
        <p:spPr>
          <a:xfrm>
            <a:off x="5268719" y="721672"/>
            <a:ext cx="2512818" cy="3713192"/>
          </a:xfrm>
          <a:custGeom>
            <a:avLst/>
            <a:gdLst>
              <a:gd name="connsiteX0" fmla="*/ 3350424 w 3350424"/>
              <a:gd name="connsiteY0" fmla="*/ 0 h 4950923"/>
              <a:gd name="connsiteX1" fmla="*/ 3350424 w 3350424"/>
              <a:gd name="connsiteY1" fmla="*/ 281222 h 4950923"/>
              <a:gd name="connsiteX2" fmla="*/ 3049588 w 3350424"/>
              <a:gd name="connsiteY2" fmla="*/ 4950923 h 4950923"/>
              <a:gd name="connsiteX3" fmla="*/ 0 w 3350424"/>
              <a:gd name="connsiteY3" fmla="*/ 4669936 h 4950923"/>
              <a:gd name="connsiteX4" fmla="*/ 425450 w 3350424"/>
              <a:gd name="connsiteY4" fmla="*/ 332886 h 4950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424" h="4950923">
                <a:moveTo>
                  <a:pt x="3350424" y="0"/>
                </a:moveTo>
                <a:lnTo>
                  <a:pt x="3350424" y="281222"/>
                </a:lnTo>
                <a:lnTo>
                  <a:pt x="3049588" y="4950923"/>
                </a:lnTo>
                <a:lnTo>
                  <a:pt x="0" y="4669936"/>
                </a:lnTo>
                <a:lnTo>
                  <a:pt x="425450" y="332886"/>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5120349"/>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Tablet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1015886" y="1425892"/>
            <a:ext cx="3374136" cy="2544318"/>
          </a:xfrm>
          <a:solidFill>
            <a:schemeClr val="tx2">
              <a:lumMod val="85000"/>
            </a:schemeClr>
          </a:solidFill>
          <a:ln w="6350">
            <a:noFill/>
          </a:ln>
        </p:spPr>
        <p:txBody>
          <a:bodyPr anchor="ctr" anchorCtr="0"/>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334152093"/>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ablet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1" name="Rectangle 10"/>
          <p:cNvSpPr/>
          <p:nvPr userDrawn="1"/>
        </p:nvSpPr>
        <p:spPr>
          <a:xfrm>
            <a:off x="0" y="3086100"/>
            <a:ext cx="9144000" cy="20574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10" name="Picture Placeholder 3"/>
          <p:cNvSpPr>
            <a:spLocks noGrp="1"/>
          </p:cNvSpPr>
          <p:nvPr>
            <p:ph type="pic" sz="quarter" idx="10"/>
          </p:nvPr>
        </p:nvSpPr>
        <p:spPr>
          <a:xfrm>
            <a:off x="3426041" y="1391480"/>
            <a:ext cx="2331695" cy="3100491"/>
          </a:xfrm>
          <a:solidFill>
            <a:schemeClr val="tx2">
              <a:lumMod val="85000"/>
            </a:schemeClr>
          </a:solidFill>
          <a:ln w="6350">
            <a:noFill/>
          </a:ln>
        </p:spPr>
        <p:txBody>
          <a:bodyPr anchor="ctr" anchorCtr="0"/>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4218350108"/>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Tablet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1120141" y="1543060"/>
            <a:ext cx="2125980" cy="2811761"/>
          </a:xfrm>
          <a:solidFill>
            <a:schemeClr val="tx2">
              <a:lumMod val="85000"/>
            </a:schemeClr>
          </a:solidFill>
          <a:ln w="6350">
            <a:noFill/>
          </a:ln>
        </p:spPr>
        <p:txBody>
          <a:bodyPr anchor="ctr" anchorCtr="0"/>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586764833"/>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Desktop 1">
    <p:bg>
      <p:bgPr>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11" name="Picture Placeholder 10"/>
          <p:cNvSpPr>
            <a:spLocks noGrp="1"/>
          </p:cNvSpPr>
          <p:nvPr>
            <p:ph type="pic" sz="quarter" idx="10"/>
          </p:nvPr>
        </p:nvSpPr>
        <p:spPr>
          <a:xfrm>
            <a:off x="936428" y="590096"/>
            <a:ext cx="2702052" cy="2880360"/>
          </a:xfrm>
          <a:custGeom>
            <a:avLst/>
            <a:gdLst>
              <a:gd name="connsiteX0" fmla="*/ 0 w 3602736"/>
              <a:gd name="connsiteY0" fmla="*/ 0 h 3840480"/>
              <a:gd name="connsiteX1" fmla="*/ 2670661 w 3602736"/>
              <a:gd name="connsiteY1" fmla="*/ 918586 h 3840480"/>
              <a:gd name="connsiteX2" fmla="*/ 3602736 w 3602736"/>
              <a:gd name="connsiteY2" fmla="*/ 3840480 h 3840480"/>
              <a:gd name="connsiteX3" fmla="*/ 1122354 w 3602736"/>
              <a:gd name="connsiteY3" fmla="*/ 3748718 h 3840480"/>
            </a:gdLst>
            <a:ahLst/>
            <a:cxnLst>
              <a:cxn ang="0">
                <a:pos x="connsiteX0" y="connsiteY0"/>
              </a:cxn>
              <a:cxn ang="0">
                <a:pos x="connsiteX1" y="connsiteY1"/>
              </a:cxn>
              <a:cxn ang="0">
                <a:pos x="connsiteX2" y="connsiteY2"/>
              </a:cxn>
              <a:cxn ang="0">
                <a:pos x="connsiteX3" y="connsiteY3"/>
              </a:cxn>
            </a:cxnLst>
            <a:rect l="l" t="t" r="r" b="b"/>
            <a:pathLst>
              <a:path w="3602736" h="3840480">
                <a:moveTo>
                  <a:pt x="0" y="0"/>
                </a:moveTo>
                <a:lnTo>
                  <a:pt x="2670661" y="918586"/>
                </a:lnTo>
                <a:lnTo>
                  <a:pt x="3602736" y="3840480"/>
                </a:lnTo>
                <a:lnTo>
                  <a:pt x="1122354" y="3748718"/>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729419084"/>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Desktop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4686272" y="1200179"/>
            <a:ext cx="3360419" cy="2269997"/>
          </a:xfrm>
          <a:custGeom>
            <a:avLst/>
            <a:gdLst>
              <a:gd name="connsiteX0" fmla="*/ 4480553 w 4480559"/>
              <a:gd name="connsiteY0" fmla="*/ 0 h 3026663"/>
              <a:gd name="connsiteX1" fmla="*/ 4480559 w 4480559"/>
              <a:gd name="connsiteY1" fmla="*/ 0 h 3026663"/>
              <a:gd name="connsiteX2" fmla="*/ 4480559 w 4480559"/>
              <a:gd name="connsiteY2" fmla="*/ 4 h 3026663"/>
              <a:gd name="connsiteX3" fmla="*/ 3890180 w 4480559"/>
              <a:gd name="connsiteY3" fmla="*/ 2968795 h 3026663"/>
              <a:gd name="connsiteX4" fmla="*/ 0 w 4480559"/>
              <a:gd name="connsiteY4" fmla="*/ 3026663 h 3026663"/>
              <a:gd name="connsiteX5" fmla="*/ 645728 w 4480559"/>
              <a:gd name="connsiteY5" fmla="*/ 554128 h 302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0559" h="3026663">
                <a:moveTo>
                  <a:pt x="4480553" y="0"/>
                </a:moveTo>
                <a:lnTo>
                  <a:pt x="4480559" y="0"/>
                </a:lnTo>
                <a:lnTo>
                  <a:pt x="4480559" y="4"/>
                </a:lnTo>
                <a:lnTo>
                  <a:pt x="3890180" y="2968795"/>
                </a:lnTo>
                <a:lnTo>
                  <a:pt x="0" y="3026663"/>
                </a:lnTo>
                <a:lnTo>
                  <a:pt x="645728" y="554128"/>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
        <p:nvSpPr>
          <p:cNvPr id="3" name="Title 1"/>
          <p:cNvSpPr>
            <a:spLocks noGrp="1"/>
          </p:cNvSpPr>
          <p:nvPr>
            <p:ph type="title"/>
          </p:nvPr>
        </p:nvSpPr>
        <p:spPr>
          <a:xfrm>
            <a:off x="594404" y="355439"/>
            <a:ext cx="6034974" cy="342900"/>
          </a:xfrm>
        </p:spPr>
        <p:txBody>
          <a:bodyPr/>
          <a:lstStyle>
            <a:lvl1pPr>
              <a:defRPr>
                <a:solidFill>
                  <a:schemeClr val="bg1"/>
                </a:solidFill>
              </a:defRPr>
            </a:lvl1pPr>
          </a:lstStyle>
          <a:p>
            <a:r>
              <a:rPr lang="en-US"/>
              <a:t>Click to edit Master title style</a:t>
            </a:r>
          </a:p>
        </p:txBody>
      </p:sp>
      <p:grpSp>
        <p:nvGrpSpPr>
          <p:cNvPr id="4" name="Group 3"/>
          <p:cNvGrpSpPr/>
          <p:nvPr userDrawn="1"/>
        </p:nvGrpSpPr>
        <p:grpSpPr>
          <a:xfrm>
            <a:off x="615835" y="695412"/>
            <a:ext cx="377186" cy="68580"/>
            <a:chOff x="792538" y="868707"/>
            <a:chExt cx="502914" cy="91440"/>
          </a:xfrm>
        </p:grpSpPr>
        <p:sp>
          <p:nvSpPr>
            <p:cNvPr id="5" name="Oval 4"/>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6" name="Oval 5"/>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7" name="Oval 6"/>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946026952"/>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Desktop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764593" y="1571503"/>
            <a:ext cx="3700067" cy="2105542"/>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653893738"/>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Desktop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13" name="Picture Placeholder 12"/>
          <p:cNvSpPr>
            <a:spLocks noGrp="1"/>
          </p:cNvSpPr>
          <p:nvPr>
            <p:ph type="pic" sz="quarter" idx="10"/>
          </p:nvPr>
        </p:nvSpPr>
        <p:spPr>
          <a:xfrm>
            <a:off x="849683" y="1450079"/>
            <a:ext cx="3307729" cy="2221992"/>
          </a:xfrm>
          <a:custGeom>
            <a:avLst/>
            <a:gdLst>
              <a:gd name="connsiteX0" fmla="*/ 0 w 4410305"/>
              <a:gd name="connsiteY0" fmla="*/ 0 h 2962656"/>
              <a:gd name="connsiteX1" fmla="*/ 3774585 w 4410305"/>
              <a:gd name="connsiteY1" fmla="*/ 527750 h 2962656"/>
              <a:gd name="connsiteX2" fmla="*/ 4410305 w 4410305"/>
              <a:gd name="connsiteY2" fmla="*/ 2962656 h 2962656"/>
              <a:gd name="connsiteX3" fmla="*/ 564028 w 4410305"/>
              <a:gd name="connsiteY3" fmla="*/ 2909104 h 2962656"/>
              <a:gd name="connsiteX4" fmla="*/ 0 w 4410305"/>
              <a:gd name="connsiteY4" fmla="*/ 6 h 2962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0305" h="2962656">
                <a:moveTo>
                  <a:pt x="0" y="0"/>
                </a:moveTo>
                <a:lnTo>
                  <a:pt x="3774585" y="527750"/>
                </a:lnTo>
                <a:lnTo>
                  <a:pt x="4410305" y="2962656"/>
                </a:lnTo>
                <a:lnTo>
                  <a:pt x="564028" y="2909104"/>
                </a:lnTo>
                <a:lnTo>
                  <a:pt x="0" y="6"/>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711164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Blank Color 1 Layout">
    <p:bg>
      <p:bgPr>
        <a:solidFill>
          <a:schemeClr val="accent3"/>
        </a:solidFill>
        <a:effectLst/>
      </p:bgPr>
    </p:bg>
    <p:spTree>
      <p:nvGrpSpPr>
        <p:cNvPr id="1" name=""/>
        <p:cNvGrpSpPr/>
        <p:nvPr/>
      </p:nvGrpSpPr>
      <p:grpSpPr>
        <a:xfrm>
          <a:off x="0" y="0"/>
          <a:ext cx="0" cy="0"/>
          <a:chOff x="0" y="0"/>
          <a:chExt cx="0" cy="0"/>
        </a:xfrm>
      </p:grpSpPr>
      <p:pic>
        <p:nvPicPr>
          <p:cNvPr id="5" name="Picture 3" descr="Microsoft logo and tag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591425" y="4730361"/>
            <a:ext cx="1403350" cy="235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384675" y="1326357"/>
            <a:ext cx="8423524" cy="2437590"/>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lvl="0"/>
            <a:r>
              <a:rPr lang="en-US"/>
              <a:t>Click to edit Master text styles</a:t>
            </a:r>
          </a:p>
        </p:txBody>
      </p:sp>
      <p:sp>
        <p:nvSpPr>
          <p:cNvPr id="4" name="Text Placeholder 8"/>
          <p:cNvSpPr>
            <a:spLocks noGrp="1"/>
          </p:cNvSpPr>
          <p:nvPr>
            <p:ph type="body" sz="quarter" idx="11"/>
          </p:nvPr>
        </p:nvSpPr>
        <p:spPr>
          <a:xfrm>
            <a:off x="384676" y="2414374"/>
            <a:ext cx="5636696"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1593833661"/>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Laprop 1">
    <p:bg>
      <p:bgPr>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3" name="Picture Placeholder 22"/>
          <p:cNvSpPr>
            <a:spLocks noGrp="1"/>
          </p:cNvSpPr>
          <p:nvPr>
            <p:ph type="pic" sz="quarter" idx="10"/>
          </p:nvPr>
        </p:nvSpPr>
        <p:spPr>
          <a:xfrm>
            <a:off x="4733448" y="1220061"/>
            <a:ext cx="3662172" cy="2616822"/>
          </a:xfrm>
          <a:custGeom>
            <a:avLst/>
            <a:gdLst>
              <a:gd name="connsiteX0" fmla="*/ 4882896 w 4882896"/>
              <a:gd name="connsiteY0" fmla="*/ 0 h 3489096"/>
              <a:gd name="connsiteX1" fmla="*/ 4284896 w 4882896"/>
              <a:gd name="connsiteY1" fmla="*/ 3489096 h 3489096"/>
              <a:gd name="connsiteX2" fmla="*/ 0 w 4882896"/>
              <a:gd name="connsiteY2" fmla="*/ 3343046 h 3489096"/>
              <a:gd name="connsiteX3" fmla="*/ 679650 w 4882896"/>
              <a:gd name="connsiteY3" fmla="*/ 123050 h 3489096"/>
            </a:gdLst>
            <a:ahLst/>
            <a:cxnLst>
              <a:cxn ang="0">
                <a:pos x="connsiteX0" y="connsiteY0"/>
              </a:cxn>
              <a:cxn ang="0">
                <a:pos x="connsiteX1" y="connsiteY1"/>
              </a:cxn>
              <a:cxn ang="0">
                <a:pos x="connsiteX2" y="connsiteY2"/>
              </a:cxn>
              <a:cxn ang="0">
                <a:pos x="connsiteX3" y="connsiteY3"/>
              </a:cxn>
            </a:cxnLst>
            <a:rect l="l" t="t" r="r" b="b"/>
            <a:pathLst>
              <a:path w="4882896" h="3489096">
                <a:moveTo>
                  <a:pt x="4882896" y="0"/>
                </a:moveTo>
                <a:lnTo>
                  <a:pt x="4284896" y="3489096"/>
                </a:lnTo>
                <a:lnTo>
                  <a:pt x="0" y="3343046"/>
                </a:lnTo>
                <a:lnTo>
                  <a:pt x="679650" y="123050"/>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283058866"/>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Laptop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2" name="Rectangle 11"/>
          <p:cNvSpPr/>
          <p:nvPr userDrawn="1"/>
        </p:nvSpPr>
        <p:spPr>
          <a:xfrm flipV="1">
            <a:off x="0" y="0"/>
            <a:ext cx="9144000" cy="3086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20" name="Picture Placeholder 3"/>
          <p:cNvSpPr>
            <a:spLocks noGrp="1"/>
          </p:cNvSpPr>
          <p:nvPr>
            <p:ph type="pic" sz="quarter" idx="10"/>
          </p:nvPr>
        </p:nvSpPr>
        <p:spPr>
          <a:xfrm>
            <a:off x="1163539" y="1292392"/>
            <a:ext cx="3539906" cy="2205806"/>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093542015"/>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Laptop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2703216" y="1292401"/>
            <a:ext cx="3743306" cy="2353781"/>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76337499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iPhone 1">
    <p:bg>
      <p:bgPr>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rgbClr val="00206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12" name="Picture Placeholder 11"/>
          <p:cNvSpPr>
            <a:spLocks noGrp="1"/>
          </p:cNvSpPr>
          <p:nvPr>
            <p:ph type="pic" sz="quarter" idx="10"/>
          </p:nvPr>
        </p:nvSpPr>
        <p:spPr>
          <a:xfrm>
            <a:off x="3937619" y="1383043"/>
            <a:ext cx="4183380" cy="2591460"/>
          </a:xfrm>
          <a:custGeom>
            <a:avLst/>
            <a:gdLst>
              <a:gd name="connsiteX0" fmla="*/ 3571775 w 5577840"/>
              <a:gd name="connsiteY0" fmla="*/ 0 h 3455280"/>
              <a:gd name="connsiteX1" fmla="*/ 5577840 w 5577840"/>
              <a:gd name="connsiteY1" fmla="*/ 1209232 h 3455280"/>
              <a:gd name="connsiteX2" fmla="*/ 2027035 w 5577840"/>
              <a:gd name="connsiteY2" fmla="*/ 3455280 h 3455280"/>
              <a:gd name="connsiteX3" fmla="*/ 0 w 5577840"/>
              <a:gd name="connsiteY3" fmla="*/ 2110913 h 3455280"/>
            </a:gdLst>
            <a:ahLst/>
            <a:cxnLst>
              <a:cxn ang="0">
                <a:pos x="connsiteX0" y="connsiteY0"/>
              </a:cxn>
              <a:cxn ang="0">
                <a:pos x="connsiteX1" y="connsiteY1"/>
              </a:cxn>
              <a:cxn ang="0">
                <a:pos x="connsiteX2" y="connsiteY2"/>
              </a:cxn>
              <a:cxn ang="0">
                <a:pos x="connsiteX3" y="connsiteY3"/>
              </a:cxn>
            </a:cxnLst>
            <a:rect l="l" t="t" r="r" b="b"/>
            <a:pathLst>
              <a:path w="5577840" h="3455280">
                <a:moveTo>
                  <a:pt x="3571775" y="0"/>
                </a:moveTo>
                <a:lnTo>
                  <a:pt x="5577840" y="1209232"/>
                </a:lnTo>
                <a:lnTo>
                  <a:pt x="2027035" y="3455280"/>
                </a:lnTo>
                <a:lnTo>
                  <a:pt x="0" y="2110913"/>
                </a:lnTo>
                <a:close/>
              </a:path>
            </a:pathLst>
          </a:custGeom>
          <a:solidFill>
            <a:schemeClr val="tx2">
              <a:lumMod val="85000"/>
            </a:schemeClr>
          </a:solidFill>
          <a:ln w="6350">
            <a:no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276071624"/>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iPhone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1945300" y="1611642"/>
            <a:ext cx="1508744" cy="2400274"/>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535697625"/>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iPhone 3">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0" name="Picture Placeholder 3"/>
          <p:cNvSpPr>
            <a:spLocks noGrp="1"/>
          </p:cNvSpPr>
          <p:nvPr>
            <p:ph type="pic" sz="quarter" idx="10"/>
          </p:nvPr>
        </p:nvSpPr>
        <p:spPr>
          <a:xfrm>
            <a:off x="5349231" y="1531621"/>
            <a:ext cx="1503054" cy="2446020"/>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573409181"/>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iPhone 4">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3" name="Picture Placeholder 3"/>
          <p:cNvSpPr>
            <a:spLocks noGrp="1"/>
          </p:cNvSpPr>
          <p:nvPr>
            <p:ph type="pic" sz="quarter" idx="11"/>
          </p:nvPr>
        </p:nvSpPr>
        <p:spPr>
          <a:xfrm>
            <a:off x="2663192" y="2708919"/>
            <a:ext cx="965835" cy="1697357"/>
          </a:xfrm>
          <a:solidFill>
            <a:schemeClr val="tx2">
              <a:lumMod val="85000"/>
            </a:schemeClr>
          </a:solidFill>
          <a:ln w="6350">
            <a:noFill/>
          </a:ln>
        </p:spPr>
        <p:txBody>
          <a:bodyPr anchor="ctr" anchorCtr="0"/>
          <a:lstStyle>
            <a:lvl1pPr algn="ctr">
              <a:defRPr/>
            </a:lvl1pPr>
          </a:lstStyle>
          <a:p>
            <a:endParaRPr lang="en-US" dirty="0"/>
          </a:p>
        </p:txBody>
      </p:sp>
      <p:sp>
        <p:nvSpPr>
          <p:cNvPr id="20" name="Picture Placeholder 3"/>
          <p:cNvSpPr>
            <a:spLocks noGrp="1"/>
          </p:cNvSpPr>
          <p:nvPr>
            <p:ph type="pic" sz="quarter" idx="10"/>
          </p:nvPr>
        </p:nvSpPr>
        <p:spPr>
          <a:xfrm>
            <a:off x="890162" y="1703070"/>
            <a:ext cx="1458713" cy="2548890"/>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032852426"/>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Project on Device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3" name="Picture Placeholder 3"/>
          <p:cNvSpPr>
            <a:spLocks noGrp="1"/>
          </p:cNvSpPr>
          <p:nvPr>
            <p:ph type="pic" sz="quarter" idx="11"/>
          </p:nvPr>
        </p:nvSpPr>
        <p:spPr>
          <a:xfrm>
            <a:off x="7852767" y="1493054"/>
            <a:ext cx="584002" cy="1025129"/>
          </a:xfrm>
          <a:solidFill>
            <a:schemeClr val="tx2">
              <a:lumMod val="85000"/>
            </a:schemeClr>
          </a:solidFill>
          <a:ln w="6350">
            <a:noFill/>
          </a:ln>
        </p:spPr>
        <p:txBody>
          <a:bodyPr anchor="ctr" anchorCtr="0"/>
          <a:lstStyle>
            <a:lvl1pPr algn="ctr">
              <a:defRPr/>
            </a:lvl1pPr>
          </a:lstStyle>
          <a:p>
            <a:endParaRPr lang="en-US" dirty="0"/>
          </a:p>
        </p:txBody>
      </p:sp>
      <p:sp>
        <p:nvSpPr>
          <p:cNvPr id="20" name="Picture Placeholder 3"/>
          <p:cNvSpPr>
            <a:spLocks noGrp="1"/>
          </p:cNvSpPr>
          <p:nvPr>
            <p:ph type="pic" sz="quarter" idx="10"/>
          </p:nvPr>
        </p:nvSpPr>
        <p:spPr>
          <a:xfrm>
            <a:off x="5189216" y="2975383"/>
            <a:ext cx="1158009" cy="1550909"/>
          </a:xfrm>
          <a:solidFill>
            <a:schemeClr val="tx2">
              <a:lumMod val="85000"/>
            </a:schemeClr>
          </a:solidFill>
          <a:ln w="6350">
            <a:noFill/>
          </a:ln>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447034683"/>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Image Left">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94123" y="1200167"/>
            <a:ext cx="3977878" cy="3428985"/>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408920004"/>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Image Right">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20" name="Picture Placeholder 3"/>
          <p:cNvSpPr>
            <a:spLocks noGrp="1"/>
          </p:cNvSpPr>
          <p:nvPr>
            <p:ph type="pic" sz="quarter" idx="10"/>
          </p:nvPr>
        </p:nvSpPr>
        <p:spPr>
          <a:xfrm>
            <a:off x="4571721" y="1200167"/>
            <a:ext cx="3977878" cy="3428985"/>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24562968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pic>
        <p:nvPicPr>
          <p:cNvPr id="5" name="Picture 3" descr="Microsoft logo and tag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591425" y="4730361"/>
            <a:ext cx="1403350" cy="235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384675" y="1326357"/>
            <a:ext cx="8423524" cy="2437590"/>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lvl="0"/>
            <a:r>
              <a:rPr lang="en-US"/>
              <a:t>Click to edit Master text styles</a:t>
            </a:r>
          </a:p>
        </p:txBody>
      </p:sp>
      <p:sp>
        <p:nvSpPr>
          <p:cNvPr id="4" name="Text Placeholder 8"/>
          <p:cNvSpPr>
            <a:spLocks noGrp="1"/>
          </p:cNvSpPr>
          <p:nvPr>
            <p:ph type="body" sz="quarter" idx="11"/>
          </p:nvPr>
        </p:nvSpPr>
        <p:spPr>
          <a:xfrm>
            <a:off x="384676" y="2414374"/>
            <a:ext cx="5636696"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2401284131"/>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Text with Image 1">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94123" y="2571750"/>
            <a:ext cx="3977878" cy="2057400"/>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971842558"/>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Text with Image 2">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571721" y="1405905"/>
            <a:ext cx="3977878" cy="2331694"/>
          </a:xfrm>
          <a:solidFill>
            <a:schemeClr val="tx2">
              <a:lumMod val="85000"/>
            </a:schemeClr>
          </a:solidFill>
        </p:spPr>
        <p:txBody>
          <a:bodyPr anchor="ctr" anchorCtr="0"/>
          <a:lstStyle>
            <a:lvl1pPr algn="ctr">
              <a:defRPr/>
            </a:lvl1pPr>
          </a:lstStyle>
          <a:p>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1959375934"/>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Instagram">
    <p:bg>
      <p:bgPr>
        <a:solidFill>
          <a:schemeClr val="tx2">
            <a:lumMod val="90000"/>
            <a:lumOff val="10000"/>
          </a:schemeClr>
        </a:solidFill>
        <a:effectLst/>
      </p:bgPr>
    </p:bg>
    <p:spTree>
      <p:nvGrpSpPr>
        <p:cNvPr id="1" name=""/>
        <p:cNvGrpSpPr/>
        <p:nvPr/>
      </p:nvGrpSpPr>
      <p:grpSpPr>
        <a:xfrm>
          <a:off x="0" y="0"/>
          <a:ext cx="0" cy="0"/>
          <a:chOff x="0" y="0"/>
          <a:chExt cx="0" cy="0"/>
        </a:xfrm>
      </p:grpSpPr>
      <p:grpSp>
        <p:nvGrpSpPr>
          <p:cNvPr id="2" name="Group 1"/>
          <p:cNvGrpSpPr>
            <a:grpSpLocks noChangeAspect="1"/>
          </p:cNvGrpSpPr>
          <p:nvPr userDrawn="1"/>
        </p:nvGrpSpPr>
        <p:grpSpPr>
          <a:xfrm>
            <a:off x="182880" y="968119"/>
            <a:ext cx="8778240" cy="3072690"/>
            <a:chOff x="2719388" y="2247900"/>
            <a:chExt cx="6748462" cy="2362200"/>
          </a:xfrm>
          <a:solidFill>
            <a:schemeClr val="tx2">
              <a:lumMod val="85000"/>
            </a:schemeClr>
          </a:solidFill>
        </p:grpSpPr>
        <p:sp>
          <p:nvSpPr>
            <p:cNvPr id="3" name="Freeform 5"/>
            <p:cNvSpPr>
              <a:spLocks/>
            </p:cNvSpPr>
            <p:nvPr/>
          </p:nvSpPr>
          <p:spPr bwMode="auto">
            <a:xfrm>
              <a:off x="5416550" y="3241675"/>
              <a:ext cx="74613" cy="4763"/>
            </a:xfrm>
            <a:custGeom>
              <a:avLst/>
              <a:gdLst>
                <a:gd name="T0" fmla="*/ 20 w 20"/>
                <a:gd name="T1" fmla="*/ 0 h 1"/>
                <a:gd name="T2" fmla="*/ 0 w 20"/>
                <a:gd name="T3" fmla="*/ 1 h 1"/>
                <a:gd name="T4" fmla="*/ 20 w 20"/>
                <a:gd name="T5" fmla="*/ 0 h 1"/>
              </a:gdLst>
              <a:ahLst/>
              <a:cxnLst>
                <a:cxn ang="0">
                  <a:pos x="T0" y="T1"/>
                </a:cxn>
                <a:cxn ang="0">
                  <a:pos x="T2" y="T3"/>
                </a:cxn>
                <a:cxn ang="0">
                  <a:pos x="T4" y="T5"/>
                </a:cxn>
              </a:cxnLst>
              <a:rect l="0" t="0" r="r" b="b"/>
              <a:pathLst>
                <a:path w="20" h="1">
                  <a:moveTo>
                    <a:pt x="20" y="0"/>
                  </a:moveTo>
                  <a:cubicBezTo>
                    <a:pt x="14" y="0"/>
                    <a:pt x="6" y="0"/>
                    <a:pt x="0" y="1"/>
                  </a:cubicBezTo>
                  <a:cubicBezTo>
                    <a:pt x="6" y="1"/>
                    <a:pt x="14" y="0"/>
                    <a:pt x="2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 name="Freeform 6"/>
            <p:cNvSpPr>
              <a:spLocks/>
            </p:cNvSpPr>
            <p:nvPr/>
          </p:nvSpPr>
          <p:spPr bwMode="auto">
            <a:xfrm>
              <a:off x="5311775" y="3389313"/>
              <a:ext cx="44450" cy="46038"/>
            </a:xfrm>
            <a:custGeom>
              <a:avLst/>
              <a:gdLst>
                <a:gd name="T0" fmla="*/ 0 w 12"/>
                <a:gd name="T1" fmla="*/ 0 h 12"/>
                <a:gd name="T2" fmla="*/ 12 w 12"/>
                <a:gd name="T3" fmla="*/ 12 h 12"/>
                <a:gd name="T4" fmla="*/ 0 w 12"/>
                <a:gd name="T5" fmla="*/ 0 h 12"/>
              </a:gdLst>
              <a:ahLst/>
              <a:cxnLst>
                <a:cxn ang="0">
                  <a:pos x="T0" y="T1"/>
                </a:cxn>
                <a:cxn ang="0">
                  <a:pos x="T2" y="T3"/>
                </a:cxn>
                <a:cxn ang="0">
                  <a:pos x="T4" y="T5"/>
                </a:cxn>
              </a:cxnLst>
              <a:rect l="0" t="0" r="r" b="b"/>
              <a:pathLst>
                <a:path w="12" h="12">
                  <a:moveTo>
                    <a:pt x="0" y="0"/>
                  </a:moveTo>
                  <a:cubicBezTo>
                    <a:pt x="4" y="4"/>
                    <a:pt x="8" y="8"/>
                    <a:pt x="12" y="12"/>
                  </a:cubicBezTo>
                  <a:cubicBezTo>
                    <a:pt x="8" y="8"/>
                    <a:pt x="4"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 name="Oval 7"/>
            <p:cNvSpPr>
              <a:spLocks noChangeArrowheads="1"/>
            </p:cNvSpPr>
            <p:nvPr/>
          </p:nvSpPr>
          <p:spPr bwMode="auto">
            <a:xfrm>
              <a:off x="4608513" y="3027363"/>
              <a:ext cx="117475" cy="112713"/>
            </a:xfrm>
            <a:prstGeom prst="ellipse">
              <a:avLst/>
            </a:pr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 name="Freeform 8"/>
            <p:cNvSpPr>
              <a:spLocks noEditPoints="1"/>
            </p:cNvSpPr>
            <p:nvPr/>
          </p:nvSpPr>
          <p:spPr bwMode="auto">
            <a:xfrm>
              <a:off x="7437438" y="3773488"/>
              <a:ext cx="720725" cy="381000"/>
            </a:xfrm>
            <a:custGeom>
              <a:avLst/>
              <a:gdLst>
                <a:gd name="T0" fmla="*/ 78 w 192"/>
                <a:gd name="T1" fmla="*/ 24 h 101"/>
                <a:gd name="T2" fmla="*/ 80 w 192"/>
                <a:gd name="T3" fmla="*/ 24 h 101"/>
                <a:gd name="T4" fmla="*/ 86 w 192"/>
                <a:gd name="T5" fmla="*/ 32 h 101"/>
                <a:gd name="T6" fmla="*/ 65 w 192"/>
                <a:gd name="T7" fmla="*/ 74 h 101"/>
                <a:gd name="T8" fmla="*/ 65 w 192"/>
                <a:gd name="T9" fmla="*/ 74 h 101"/>
                <a:gd name="T10" fmla="*/ 54 w 192"/>
                <a:gd name="T11" fmla="*/ 75 h 101"/>
                <a:gd name="T12" fmla="*/ 52 w 192"/>
                <a:gd name="T13" fmla="*/ 77 h 101"/>
                <a:gd name="T14" fmla="*/ 14 w 192"/>
                <a:gd name="T15" fmla="*/ 43 h 101"/>
                <a:gd name="T16" fmla="*/ 15 w 192"/>
                <a:gd name="T17" fmla="*/ 39 h 101"/>
                <a:gd name="T18" fmla="*/ 96 w 192"/>
                <a:gd name="T19" fmla="*/ 0 h 101"/>
                <a:gd name="T20" fmla="*/ 78 w 192"/>
                <a:gd name="T21" fmla="*/ 19 h 101"/>
                <a:gd name="T22" fmla="*/ 15 w 192"/>
                <a:gd name="T23" fmla="*/ 37 h 101"/>
                <a:gd name="T24" fmla="*/ 15 w 192"/>
                <a:gd name="T25" fmla="*/ 37 h 101"/>
                <a:gd name="T26" fmla="*/ 10 w 192"/>
                <a:gd name="T27" fmla="*/ 33 h 101"/>
                <a:gd name="T28" fmla="*/ 13 w 192"/>
                <a:gd name="T29" fmla="*/ 9 h 101"/>
                <a:gd name="T30" fmla="*/ 8 w 192"/>
                <a:gd name="T31" fmla="*/ 33 h 101"/>
                <a:gd name="T32" fmla="*/ 2 w 192"/>
                <a:gd name="T33" fmla="*/ 42 h 101"/>
                <a:gd name="T34" fmla="*/ 11 w 192"/>
                <a:gd name="T35" fmla="*/ 45 h 101"/>
                <a:gd name="T36" fmla="*/ 12 w 192"/>
                <a:gd name="T37" fmla="*/ 45 h 101"/>
                <a:gd name="T38" fmla="*/ 49 w 192"/>
                <a:gd name="T39" fmla="*/ 79 h 101"/>
                <a:gd name="T40" fmla="*/ 48 w 192"/>
                <a:gd name="T41" fmla="*/ 93 h 101"/>
                <a:gd name="T42" fmla="*/ 66 w 192"/>
                <a:gd name="T43" fmla="*/ 99 h 101"/>
                <a:gd name="T44" fmla="*/ 69 w 192"/>
                <a:gd name="T45" fmla="*/ 76 h 101"/>
                <a:gd name="T46" fmla="*/ 91 w 192"/>
                <a:gd name="T47" fmla="*/ 34 h 101"/>
                <a:gd name="T48" fmla="*/ 91 w 192"/>
                <a:gd name="T49" fmla="*/ 34 h 101"/>
                <a:gd name="T50" fmla="*/ 104 w 192"/>
                <a:gd name="T51" fmla="*/ 33 h 101"/>
                <a:gd name="T52" fmla="*/ 109 w 192"/>
                <a:gd name="T53" fmla="*/ 30 h 101"/>
                <a:gd name="T54" fmla="*/ 178 w 192"/>
                <a:gd name="T55" fmla="*/ 78 h 101"/>
                <a:gd name="T56" fmla="*/ 178 w 192"/>
                <a:gd name="T57" fmla="*/ 83 h 101"/>
                <a:gd name="T58" fmla="*/ 187 w 192"/>
                <a:gd name="T59" fmla="*/ 87 h 101"/>
                <a:gd name="T60" fmla="*/ 184 w 192"/>
                <a:gd name="T61" fmla="*/ 74 h 101"/>
                <a:gd name="T62" fmla="*/ 179 w 192"/>
                <a:gd name="T63" fmla="*/ 76 h 101"/>
                <a:gd name="T64" fmla="*/ 179 w 192"/>
                <a:gd name="T65" fmla="*/ 76 h 101"/>
                <a:gd name="T66" fmla="*/ 112 w 192"/>
                <a:gd name="T67" fmla="*/ 26 h 101"/>
                <a:gd name="T68" fmla="*/ 96 w 192"/>
                <a:gd name="T6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01">
                  <a:moveTo>
                    <a:pt x="15" y="39"/>
                  </a:moveTo>
                  <a:cubicBezTo>
                    <a:pt x="15" y="38"/>
                    <a:pt x="68" y="24"/>
                    <a:pt x="78" y="24"/>
                  </a:cubicBezTo>
                  <a:cubicBezTo>
                    <a:pt x="79" y="24"/>
                    <a:pt x="80" y="24"/>
                    <a:pt x="80" y="24"/>
                  </a:cubicBezTo>
                  <a:cubicBezTo>
                    <a:pt x="80" y="24"/>
                    <a:pt x="80" y="24"/>
                    <a:pt x="80" y="24"/>
                  </a:cubicBezTo>
                  <a:cubicBezTo>
                    <a:pt x="80" y="25"/>
                    <a:pt x="80" y="25"/>
                    <a:pt x="80" y="25"/>
                  </a:cubicBezTo>
                  <a:cubicBezTo>
                    <a:pt x="81" y="28"/>
                    <a:pt x="84" y="30"/>
                    <a:pt x="86" y="32"/>
                  </a:cubicBezTo>
                  <a:cubicBezTo>
                    <a:pt x="86" y="31"/>
                    <a:pt x="86" y="31"/>
                    <a:pt x="86" y="31"/>
                  </a:cubicBezTo>
                  <a:cubicBezTo>
                    <a:pt x="89" y="33"/>
                    <a:pt x="68" y="74"/>
                    <a:pt x="65" y="74"/>
                  </a:cubicBezTo>
                  <a:cubicBezTo>
                    <a:pt x="65" y="74"/>
                    <a:pt x="65" y="74"/>
                    <a:pt x="65" y="74"/>
                  </a:cubicBezTo>
                  <a:cubicBezTo>
                    <a:pt x="65" y="74"/>
                    <a:pt x="65" y="74"/>
                    <a:pt x="65" y="74"/>
                  </a:cubicBezTo>
                  <a:cubicBezTo>
                    <a:pt x="63" y="74"/>
                    <a:pt x="62" y="74"/>
                    <a:pt x="60" y="74"/>
                  </a:cubicBezTo>
                  <a:cubicBezTo>
                    <a:pt x="58" y="74"/>
                    <a:pt x="56" y="74"/>
                    <a:pt x="54" y="75"/>
                  </a:cubicBezTo>
                  <a:cubicBezTo>
                    <a:pt x="53" y="76"/>
                    <a:pt x="53" y="76"/>
                    <a:pt x="52" y="77"/>
                  </a:cubicBezTo>
                  <a:cubicBezTo>
                    <a:pt x="52" y="77"/>
                    <a:pt x="52" y="77"/>
                    <a:pt x="52" y="77"/>
                  </a:cubicBezTo>
                  <a:cubicBezTo>
                    <a:pt x="52" y="77"/>
                    <a:pt x="52" y="77"/>
                    <a:pt x="52" y="77"/>
                  </a:cubicBezTo>
                  <a:cubicBezTo>
                    <a:pt x="48" y="77"/>
                    <a:pt x="13" y="44"/>
                    <a:pt x="14" y="43"/>
                  </a:cubicBezTo>
                  <a:cubicBezTo>
                    <a:pt x="14" y="43"/>
                    <a:pt x="14" y="43"/>
                    <a:pt x="14" y="43"/>
                  </a:cubicBezTo>
                  <a:cubicBezTo>
                    <a:pt x="15" y="42"/>
                    <a:pt x="15" y="40"/>
                    <a:pt x="15" y="39"/>
                  </a:cubicBezTo>
                  <a:cubicBezTo>
                    <a:pt x="15" y="39"/>
                    <a:pt x="15" y="39"/>
                    <a:pt x="15" y="39"/>
                  </a:cubicBezTo>
                  <a:moveTo>
                    <a:pt x="96" y="0"/>
                  </a:moveTo>
                  <a:cubicBezTo>
                    <a:pt x="94" y="0"/>
                    <a:pt x="91" y="1"/>
                    <a:pt x="89" y="2"/>
                  </a:cubicBezTo>
                  <a:cubicBezTo>
                    <a:pt x="81" y="5"/>
                    <a:pt x="78" y="12"/>
                    <a:pt x="78" y="19"/>
                  </a:cubicBezTo>
                  <a:cubicBezTo>
                    <a:pt x="78" y="19"/>
                    <a:pt x="78" y="19"/>
                    <a:pt x="78" y="19"/>
                  </a:cubicBezTo>
                  <a:cubicBezTo>
                    <a:pt x="79" y="23"/>
                    <a:pt x="20" y="37"/>
                    <a:pt x="15" y="37"/>
                  </a:cubicBezTo>
                  <a:cubicBezTo>
                    <a:pt x="15" y="37"/>
                    <a:pt x="15" y="37"/>
                    <a:pt x="15" y="37"/>
                  </a:cubicBezTo>
                  <a:cubicBezTo>
                    <a:pt x="15" y="37"/>
                    <a:pt x="15" y="37"/>
                    <a:pt x="15" y="37"/>
                  </a:cubicBezTo>
                  <a:cubicBezTo>
                    <a:pt x="14" y="37"/>
                    <a:pt x="14" y="37"/>
                    <a:pt x="14" y="37"/>
                  </a:cubicBezTo>
                  <a:cubicBezTo>
                    <a:pt x="14" y="35"/>
                    <a:pt x="12" y="34"/>
                    <a:pt x="10" y="33"/>
                  </a:cubicBezTo>
                  <a:cubicBezTo>
                    <a:pt x="10" y="33"/>
                    <a:pt x="10" y="33"/>
                    <a:pt x="10" y="33"/>
                  </a:cubicBezTo>
                  <a:cubicBezTo>
                    <a:pt x="10" y="33"/>
                    <a:pt x="11" y="22"/>
                    <a:pt x="13" y="9"/>
                  </a:cubicBezTo>
                  <a:cubicBezTo>
                    <a:pt x="11" y="22"/>
                    <a:pt x="9" y="33"/>
                    <a:pt x="8" y="33"/>
                  </a:cubicBezTo>
                  <a:cubicBezTo>
                    <a:pt x="8" y="33"/>
                    <a:pt x="8" y="33"/>
                    <a:pt x="8" y="33"/>
                  </a:cubicBezTo>
                  <a:cubicBezTo>
                    <a:pt x="7" y="33"/>
                    <a:pt x="6" y="33"/>
                    <a:pt x="5" y="34"/>
                  </a:cubicBezTo>
                  <a:cubicBezTo>
                    <a:pt x="2" y="35"/>
                    <a:pt x="0" y="39"/>
                    <a:pt x="2" y="42"/>
                  </a:cubicBezTo>
                  <a:cubicBezTo>
                    <a:pt x="3" y="45"/>
                    <a:pt x="6" y="46"/>
                    <a:pt x="8" y="46"/>
                  </a:cubicBezTo>
                  <a:cubicBezTo>
                    <a:pt x="9" y="46"/>
                    <a:pt x="10" y="46"/>
                    <a:pt x="11" y="45"/>
                  </a:cubicBezTo>
                  <a:cubicBezTo>
                    <a:pt x="12" y="45"/>
                    <a:pt x="12" y="45"/>
                    <a:pt x="12" y="45"/>
                  </a:cubicBezTo>
                  <a:cubicBezTo>
                    <a:pt x="12" y="45"/>
                    <a:pt x="12" y="45"/>
                    <a:pt x="12" y="45"/>
                  </a:cubicBezTo>
                  <a:cubicBezTo>
                    <a:pt x="12" y="45"/>
                    <a:pt x="12" y="45"/>
                    <a:pt x="12" y="45"/>
                  </a:cubicBezTo>
                  <a:cubicBezTo>
                    <a:pt x="14" y="45"/>
                    <a:pt x="51" y="77"/>
                    <a:pt x="49" y="79"/>
                  </a:cubicBezTo>
                  <a:cubicBezTo>
                    <a:pt x="49" y="79"/>
                    <a:pt x="49" y="79"/>
                    <a:pt x="49" y="79"/>
                  </a:cubicBezTo>
                  <a:cubicBezTo>
                    <a:pt x="46" y="83"/>
                    <a:pt x="46" y="88"/>
                    <a:pt x="48" y="93"/>
                  </a:cubicBezTo>
                  <a:cubicBezTo>
                    <a:pt x="50" y="98"/>
                    <a:pt x="55" y="101"/>
                    <a:pt x="60" y="101"/>
                  </a:cubicBezTo>
                  <a:cubicBezTo>
                    <a:pt x="62" y="101"/>
                    <a:pt x="65" y="100"/>
                    <a:pt x="66" y="99"/>
                  </a:cubicBezTo>
                  <a:cubicBezTo>
                    <a:pt x="73" y="96"/>
                    <a:pt x="76" y="88"/>
                    <a:pt x="73" y="81"/>
                  </a:cubicBezTo>
                  <a:cubicBezTo>
                    <a:pt x="72" y="79"/>
                    <a:pt x="70" y="78"/>
                    <a:pt x="69" y="76"/>
                  </a:cubicBezTo>
                  <a:cubicBezTo>
                    <a:pt x="69" y="76"/>
                    <a:pt x="69" y="76"/>
                    <a:pt x="69" y="76"/>
                  </a:cubicBezTo>
                  <a:cubicBezTo>
                    <a:pt x="66" y="75"/>
                    <a:pt x="87" y="34"/>
                    <a:pt x="91" y="34"/>
                  </a:cubicBezTo>
                  <a:cubicBezTo>
                    <a:pt x="91" y="34"/>
                    <a:pt x="91" y="34"/>
                    <a:pt x="91" y="34"/>
                  </a:cubicBezTo>
                  <a:cubicBezTo>
                    <a:pt x="91" y="34"/>
                    <a:pt x="91" y="34"/>
                    <a:pt x="91" y="34"/>
                  </a:cubicBezTo>
                  <a:cubicBezTo>
                    <a:pt x="92" y="34"/>
                    <a:pt x="94" y="35"/>
                    <a:pt x="96" y="35"/>
                  </a:cubicBezTo>
                  <a:cubicBezTo>
                    <a:pt x="99" y="35"/>
                    <a:pt x="101" y="34"/>
                    <a:pt x="104" y="33"/>
                  </a:cubicBezTo>
                  <a:cubicBezTo>
                    <a:pt x="106" y="32"/>
                    <a:pt x="107" y="31"/>
                    <a:pt x="109" y="29"/>
                  </a:cubicBezTo>
                  <a:cubicBezTo>
                    <a:pt x="109" y="30"/>
                    <a:pt x="109" y="30"/>
                    <a:pt x="109" y="30"/>
                  </a:cubicBezTo>
                  <a:cubicBezTo>
                    <a:pt x="109" y="30"/>
                    <a:pt x="109" y="29"/>
                    <a:pt x="109" y="29"/>
                  </a:cubicBezTo>
                  <a:cubicBezTo>
                    <a:pt x="115" y="29"/>
                    <a:pt x="179" y="76"/>
                    <a:pt x="178" y="78"/>
                  </a:cubicBezTo>
                  <a:cubicBezTo>
                    <a:pt x="178" y="78"/>
                    <a:pt x="178" y="78"/>
                    <a:pt x="178" y="78"/>
                  </a:cubicBezTo>
                  <a:cubicBezTo>
                    <a:pt x="177" y="79"/>
                    <a:pt x="177" y="82"/>
                    <a:pt x="178" y="83"/>
                  </a:cubicBezTo>
                  <a:cubicBezTo>
                    <a:pt x="179" y="86"/>
                    <a:pt x="182" y="87"/>
                    <a:pt x="184" y="87"/>
                  </a:cubicBezTo>
                  <a:cubicBezTo>
                    <a:pt x="185" y="87"/>
                    <a:pt x="186" y="87"/>
                    <a:pt x="187" y="87"/>
                  </a:cubicBezTo>
                  <a:cubicBezTo>
                    <a:pt x="191" y="85"/>
                    <a:pt x="192" y="81"/>
                    <a:pt x="190" y="78"/>
                  </a:cubicBezTo>
                  <a:cubicBezTo>
                    <a:pt x="189" y="75"/>
                    <a:pt x="187" y="74"/>
                    <a:pt x="184" y="74"/>
                  </a:cubicBezTo>
                  <a:cubicBezTo>
                    <a:pt x="183" y="74"/>
                    <a:pt x="182" y="74"/>
                    <a:pt x="181" y="75"/>
                  </a:cubicBezTo>
                  <a:cubicBezTo>
                    <a:pt x="181" y="75"/>
                    <a:pt x="180" y="75"/>
                    <a:pt x="179" y="76"/>
                  </a:cubicBezTo>
                  <a:cubicBezTo>
                    <a:pt x="179" y="76"/>
                    <a:pt x="179" y="76"/>
                    <a:pt x="179" y="76"/>
                  </a:cubicBezTo>
                  <a:cubicBezTo>
                    <a:pt x="179" y="76"/>
                    <a:pt x="179" y="76"/>
                    <a:pt x="179" y="76"/>
                  </a:cubicBezTo>
                  <a:cubicBezTo>
                    <a:pt x="177" y="76"/>
                    <a:pt x="110" y="29"/>
                    <a:pt x="112" y="26"/>
                  </a:cubicBezTo>
                  <a:cubicBezTo>
                    <a:pt x="112" y="26"/>
                    <a:pt x="112" y="26"/>
                    <a:pt x="112" y="26"/>
                  </a:cubicBezTo>
                  <a:cubicBezTo>
                    <a:pt x="115" y="21"/>
                    <a:pt x="115" y="15"/>
                    <a:pt x="112" y="10"/>
                  </a:cubicBezTo>
                  <a:cubicBezTo>
                    <a:pt x="109" y="4"/>
                    <a:pt x="103" y="0"/>
                    <a:pt x="96"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 name="Freeform 9"/>
            <p:cNvSpPr>
              <a:spLocks noEditPoints="1"/>
            </p:cNvSpPr>
            <p:nvPr/>
          </p:nvSpPr>
          <p:spPr bwMode="auto">
            <a:xfrm>
              <a:off x="6915150" y="2703513"/>
              <a:ext cx="2552700" cy="1103313"/>
            </a:xfrm>
            <a:custGeom>
              <a:avLst/>
              <a:gdLst>
                <a:gd name="T0" fmla="*/ 305 w 680"/>
                <a:gd name="T1" fmla="*/ 180 h 293"/>
                <a:gd name="T2" fmla="*/ 476 w 680"/>
                <a:gd name="T3" fmla="*/ 198 h 293"/>
                <a:gd name="T4" fmla="*/ 671 w 680"/>
                <a:gd name="T5" fmla="*/ 164 h 293"/>
                <a:gd name="T6" fmla="*/ 639 w 680"/>
                <a:gd name="T7" fmla="*/ 163 h 293"/>
                <a:gd name="T8" fmla="*/ 176 w 680"/>
                <a:gd name="T9" fmla="*/ 124 h 293"/>
                <a:gd name="T10" fmla="*/ 137 w 680"/>
                <a:gd name="T11" fmla="*/ 142 h 293"/>
                <a:gd name="T12" fmla="*/ 210 w 680"/>
                <a:gd name="T13" fmla="*/ 112 h 293"/>
                <a:gd name="T14" fmla="*/ 209 w 680"/>
                <a:gd name="T15" fmla="*/ 112 h 293"/>
                <a:gd name="T16" fmla="*/ 302 w 680"/>
                <a:gd name="T17" fmla="*/ 177 h 293"/>
                <a:gd name="T18" fmla="*/ 501 w 680"/>
                <a:gd name="T19" fmla="*/ 103 h 293"/>
                <a:gd name="T20" fmla="*/ 447 w 680"/>
                <a:gd name="T21" fmla="*/ 82 h 293"/>
                <a:gd name="T22" fmla="*/ 431 w 680"/>
                <a:gd name="T23" fmla="*/ 75 h 293"/>
                <a:gd name="T24" fmla="*/ 272 w 680"/>
                <a:gd name="T25" fmla="*/ 100 h 293"/>
                <a:gd name="T26" fmla="*/ 176 w 680"/>
                <a:gd name="T27" fmla="*/ 124 h 293"/>
                <a:gd name="T28" fmla="*/ 165 w 680"/>
                <a:gd name="T29" fmla="*/ 74 h 293"/>
                <a:gd name="T30" fmla="*/ 209 w 680"/>
                <a:gd name="T31" fmla="*/ 110 h 293"/>
                <a:gd name="T32" fmla="*/ 1 w 680"/>
                <a:gd name="T33" fmla="*/ 9 h 293"/>
                <a:gd name="T34" fmla="*/ 112 w 680"/>
                <a:gd name="T35" fmla="*/ 136 h 293"/>
                <a:gd name="T36" fmla="*/ 172 w 680"/>
                <a:gd name="T37" fmla="*/ 142 h 293"/>
                <a:gd name="T38" fmla="*/ 187 w 680"/>
                <a:gd name="T39" fmla="*/ 142 h 293"/>
                <a:gd name="T40" fmla="*/ 251 w 680"/>
                <a:gd name="T41" fmla="*/ 143 h 293"/>
                <a:gd name="T42" fmla="*/ 266 w 680"/>
                <a:gd name="T43" fmla="*/ 103 h 293"/>
                <a:gd name="T44" fmla="*/ 298 w 680"/>
                <a:gd name="T45" fmla="*/ 202 h 293"/>
                <a:gd name="T46" fmla="*/ 361 w 680"/>
                <a:gd name="T47" fmla="*/ 264 h 293"/>
                <a:gd name="T48" fmla="*/ 313 w 680"/>
                <a:gd name="T49" fmla="*/ 172 h 293"/>
                <a:gd name="T50" fmla="*/ 443 w 680"/>
                <a:gd name="T51" fmla="*/ 83 h 293"/>
                <a:gd name="T52" fmla="*/ 364 w 680"/>
                <a:gd name="T53" fmla="*/ 184 h 293"/>
                <a:gd name="T54" fmla="*/ 399 w 680"/>
                <a:gd name="T55" fmla="*/ 155 h 293"/>
                <a:gd name="T56" fmla="*/ 358 w 680"/>
                <a:gd name="T57" fmla="*/ 180 h 293"/>
                <a:gd name="T58" fmla="*/ 430 w 680"/>
                <a:gd name="T59" fmla="*/ 184 h 293"/>
                <a:gd name="T60" fmla="*/ 436 w 680"/>
                <a:gd name="T61" fmla="*/ 180 h 293"/>
                <a:gd name="T62" fmla="*/ 469 w 680"/>
                <a:gd name="T63" fmla="*/ 199 h 293"/>
                <a:gd name="T64" fmla="*/ 518 w 680"/>
                <a:gd name="T65" fmla="*/ 271 h 293"/>
                <a:gd name="T66" fmla="*/ 522 w 680"/>
                <a:gd name="T67" fmla="*/ 268 h 293"/>
                <a:gd name="T68" fmla="*/ 480 w 680"/>
                <a:gd name="T69" fmla="*/ 199 h 293"/>
                <a:gd name="T70" fmla="*/ 548 w 680"/>
                <a:gd name="T71" fmla="*/ 166 h 293"/>
                <a:gd name="T72" fmla="*/ 585 w 680"/>
                <a:gd name="T73" fmla="*/ 189 h 293"/>
                <a:gd name="T74" fmla="*/ 586 w 680"/>
                <a:gd name="T75" fmla="*/ 184 h 293"/>
                <a:gd name="T76" fmla="*/ 586 w 680"/>
                <a:gd name="T77" fmla="*/ 135 h 293"/>
                <a:gd name="T78" fmla="*/ 593 w 680"/>
                <a:gd name="T79" fmla="*/ 135 h 293"/>
                <a:gd name="T80" fmla="*/ 639 w 680"/>
                <a:gd name="T81" fmla="*/ 165 h 293"/>
                <a:gd name="T82" fmla="*/ 593 w 680"/>
                <a:gd name="T83" fmla="*/ 258 h 293"/>
                <a:gd name="T84" fmla="*/ 592 w 680"/>
                <a:gd name="T85" fmla="*/ 270 h 293"/>
                <a:gd name="T86" fmla="*/ 675 w 680"/>
                <a:gd name="T87" fmla="*/ 169 h 293"/>
                <a:gd name="T88" fmla="*/ 671 w 680"/>
                <a:gd name="T89" fmla="*/ 163 h 293"/>
                <a:gd name="T90" fmla="*/ 585 w 680"/>
                <a:gd name="T91" fmla="*/ 134 h 293"/>
                <a:gd name="T92" fmla="*/ 541 w 680"/>
                <a:gd name="T93" fmla="*/ 159 h 293"/>
                <a:gd name="T94" fmla="*/ 519 w 680"/>
                <a:gd name="T95" fmla="*/ 102 h 293"/>
                <a:gd name="T96" fmla="*/ 454 w 680"/>
                <a:gd name="T97" fmla="*/ 75 h 293"/>
                <a:gd name="T98" fmla="*/ 277 w 680"/>
                <a:gd name="T99" fmla="*/ 88 h 293"/>
                <a:gd name="T100" fmla="*/ 260 w 680"/>
                <a:gd name="T101" fmla="*/ 102 h 293"/>
                <a:gd name="T102" fmla="*/ 245 w 680"/>
                <a:gd name="T103" fmla="*/ 146 h 293"/>
                <a:gd name="T104" fmla="*/ 211 w 680"/>
                <a:gd name="T105" fmla="*/ 113 h 293"/>
                <a:gd name="T106" fmla="*/ 211 w 680"/>
                <a:gd name="T107" fmla="*/ 105 h 293"/>
                <a:gd name="T108" fmla="*/ 168 w 680"/>
                <a:gd name="T109" fmla="*/ 55 h 293"/>
                <a:gd name="T110" fmla="*/ 122 w 680"/>
                <a:gd name="T111" fmla="*/ 132 h 293"/>
                <a:gd name="T112" fmla="*/ 115 w 680"/>
                <a:gd name="T113" fmla="*/ 133 h 293"/>
                <a:gd name="T114" fmla="*/ 98 w 680"/>
                <a:gd name="T115" fmla="*/ 90 h 293"/>
                <a:gd name="T116" fmla="*/ 102 w 680"/>
                <a:gd name="T117" fmla="*/ 84 h 293"/>
                <a:gd name="T118" fmla="*/ 13 w 680"/>
                <a:gd name="T119" fmla="*/ 1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0" h="293">
                  <a:moveTo>
                    <a:pt x="305" y="180"/>
                  </a:moveTo>
                  <a:cubicBezTo>
                    <a:pt x="304" y="180"/>
                    <a:pt x="307" y="177"/>
                    <a:pt x="313" y="173"/>
                  </a:cubicBezTo>
                  <a:cubicBezTo>
                    <a:pt x="333" y="207"/>
                    <a:pt x="354" y="243"/>
                    <a:pt x="355" y="247"/>
                  </a:cubicBezTo>
                  <a:cubicBezTo>
                    <a:pt x="350" y="244"/>
                    <a:pt x="302" y="199"/>
                    <a:pt x="304" y="197"/>
                  </a:cubicBezTo>
                  <a:cubicBezTo>
                    <a:pt x="304" y="197"/>
                    <a:pt x="304" y="197"/>
                    <a:pt x="304" y="197"/>
                  </a:cubicBezTo>
                  <a:cubicBezTo>
                    <a:pt x="307" y="193"/>
                    <a:pt x="308" y="187"/>
                    <a:pt x="305" y="182"/>
                  </a:cubicBezTo>
                  <a:cubicBezTo>
                    <a:pt x="305" y="181"/>
                    <a:pt x="305" y="181"/>
                    <a:pt x="305" y="180"/>
                  </a:cubicBezTo>
                  <a:cubicBezTo>
                    <a:pt x="305" y="180"/>
                    <a:pt x="305" y="180"/>
                    <a:pt x="305" y="180"/>
                  </a:cubicBezTo>
                  <a:moveTo>
                    <a:pt x="473" y="198"/>
                  </a:moveTo>
                  <a:cubicBezTo>
                    <a:pt x="472" y="198"/>
                    <a:pt x="469" y="187"/>
                    <a:pt x="465" y="171"/>
                  </a:cubicBezTo>
                  <a:cubicBezTo>
                    <a:pt x="473" y="170"/>
                    <a:pt x="481" y="169"/>
                    <a:pt x="489" y="168"/>
                  </a:cubicBezTo>
                  <a:cubicBezTo>
                    <a:pt x="483" y="184"/>
                    <a:pt x="477" y="198"/>
                    <a:pt x="476" y="198"/>
                  </a:cubicBezTo>
                  <a:cubicBezTo>
                    <a:pt x="476" y="198"/>
                    <a:pt x="476" y="198"/>
                    <a:pt x="476" y="198"/>
                  </a:cubicBezTo>
                  <a:cubicBezTo>
                    <a:pt x="476" y="198"/>
                    <a:pt x="476" y="198"/>
                    <a:pt x="476" y="198"/>
                  </a:cubicBezTo>
                  <a:cubicBezTo>
                    <a:pt x="475" y="198"/>
                    <a:pt x="475" y="198"/>
                    <a:pt x="474" y="198"/>
                  </a:cubicBezTo>
                  <a:cubicBezTo>
                    <a:pt x="473" y="198"/>
                    <a:pt x="473" y="198"/>
                    <a:pt x="473" y="198"/>
                  </a:cubicBezTo>
                  <a:cubicBezTo>
                    <a:pt x="473" y="198"/>
                    <a:pt x="473" y="198"/>
                    <a:pt x="473" y="198"/>
                  </a:cubicBezTo>
                  <a:cubicBezTo>
                    <a:pt x="473" y="198"/>
                    <a:pt x="473" y="198"/>
                    <a:pt x="473" y="198"/>
                  </a:cubicBezTo>
                  <a:moveTo>
                    <a:pt x="632" y="162"/>
                  </a:moveTo>
                  <a:cubicBezTo>
                    <a:pt x="631" y="162"/>
                    <a:pt x="596" y="137"/>
                    <a:pt x="594" y="134"/>
                  </a:cubicBezTo>
                  <a:cubicBezTo>
                    <a:pt x="598" y="135"/>
                    <a:pt x="671" y="163"/>
                    <a:pt x="671" y="164"/>
                  </a:cubicBezTo>
                  <a:cubicBezTo>
                    <a:pt x="671" y="164"/>
                    <a:pt x="671" y="164"/>
                    <a:pt x="671" y="164"/>
                  </a:cubicBezTo>
                  <a:cubicBezTo>
                    <a:pt x="671" y="164"/>
                    <a:pt x="671" y="164"/>
                    <a:pt x="671" y="164"/>
                  </a:cubicBezTo>
                  <a:cubicBezTo>
                    <a:pt x="671" y="164"/>
                    <a:pt x="671" y="164"/>
                    <a:pt x="671" y="164"/>
                  </a:cubicBezTo>
                  <a:cubicBezTo>
                    <a:pt x="671" y="164"/>
                    <a:pt x="663" y="165"/>
                    <a:pt x="655" y="165"/>
                  </a:cubicBezTo>
                  <a:cubicBezTo>
                    <a:pt x="647" y="165"/>
                    <a:pt x="639" y="164"/>
                    <a:pt x="639" y="164"/>
                  </a:cubicBezTo>
                  <a:cubicBezTo>
                    <a:pt x="639" y="164"/>
                    <a:pt x="639" y="164"/>
                    <a:pt x="639" y="164"/>
                  </a:cubicBezTo>
                  <a:cubicBezTo>
                    <a:pt x="639" y="164"/>
                    <a:pt x="639" y="163"/>
                    <a:pt x="639" y="163"/>
                  </a:cubicBezTo>
                  <a:cubicBezTo>
                    <a:pt x="638" y="162"/>
                    <a:pt x="636" y="161"/>
                    <a:pt x="635" y="161"/>
                  </a:cubicBezTo>
                  <a:cubicBezTo>
                    <a:pt x="634" y="161"/>
                    <a:pt x="634" y="161"/>
                    <a:pt x="633" y="161"/>
                  </a:cubicBezTo>
                  <a:cubicBezTo>
                    <a:pt x="633" y="161"/>
                    <a:pt x="632" y="162"/>
                    <a:pt x="632" y="162"/>
                  </a:cubicBezTo>
                  <a:cubicBezTo>
                    <a:pt x="632" y="162"/>
                    <a:pt x="632" y="162"/>
                    <a:pt x="632" y="162"/>
                  </a:cubicBezTo>
                  <a:cubicBezTo>
                    <a:pt x="632" y="162"/>
                    <a:pt x="632" y="162"/>
                    <a:pt x="632" y="162"/>
                  </a:cubicBezTo>
                  <a:moveTo>
                    <a:pt x="137" y="142"/>
                  </a:moveTo>
                  <a:cubicBezTo>
                    <a:pt x="136" y="141"/>
                    <a:pt x="157" y="132"/>
                    <a:pt x="176" y="124"/>
                  </a:cubicBezTo>
                  <a:cubicBezTo>
                    <a:pt x="176" y="130"/>
                    <a:pt x="177" y="134"/>
                    <a:pt x="176" y="134"/>
                  </a:cubicBezTo>
                  <a:cubicBezTo>
                    <a:pt x="176" y="134"/>
                    <a:pt x="176" y="134"/>
                    <a:pt x="176" y="134"/>
                  </a:cubicBezTo>
                  <a:cubicBezTo>
                    <a:pt x="175" y="134"/>
                    <a:pt x="175" y="134"/>
                    <a:pt x="175" y="134"/>
                  </a:cubicBezTo>
                  <a:cubicBezTo>
                    <a:pt x="173" y="136"/>
                    <a:pt x="172" y="138"/>
                    <a:pt x="171" y="140"/>
                  </a:cubicBezTo>
                  <a:cubicBezTo>
                    <a:pt x="171" y="140"/>
                    <a:pt x="171" y="140"/>
                    <a:pt x="171" y="140"/>
                  </a:cubicBezTo>
                  <a:cubicBezTo>
                    <a:pt x="171" y="141"/>
                    <a:pt x="152" y="143"/>
                    <a:pt x="143" y="143"/>
                  </a:cubicBezTo>
                  <a:cubicBezTo>
                    <a:pt x="139" y="143"/>
                    <a:pt x="137" y="143"/>
                    <a:pt x="137" y="142"/>
                  </a:cubicBezTo>
                  <a:cubicBezTo>
                    <a:pt x="137" y="142"/>
                    <a:pt x="137" y="142"/>
                    <a:pt x="137" y="142"/>
                  </a:cubicBezTo>
                  <a:cubicBezTo>
                    <a:pt x="137" y="142"/>
                    <a:pt x="137" y="142"/>
                    <a:pt x="137" y="142"/>
                  </a:cubicBezTo>
                  <a:cubicBezTo>
                    <a:pt x="137" y="142"/>
                    <a:pt x="137" y="142"/>
                    <a:pt x="137" y="142"/>
                  </a:cubicBezTo>
                  <a:moveTo>
                    <a:pt x="209" y="112"/>
                  </a:moveTo>
                  <a:cubicBezTo>
                    <a:pt x="209" y="112"/>
                    <a:pt x="209" y="112"/>
                    <a:pt x="209" y="112"/>
                  </a:cubicBezTo>
                  <a:cubicBezTo>
                    <a:pt x="210" y="112"/>
                    <a:pt x="210" y="112"/>
                    <a:pt x="210" y="112"/>
                  </a:cubicBezTo>
                  <a:cubicBezTo>
                    <a:pt x="210" y="112"/>
                    <a:pt x="210" y="112"/>
                    <a:pt x="210" y="112"/>
                  </a:cubicBezTo>
                  <a:cubicBezTo>
                    <a:pt x="210" y="113"/>
                    <a:pt x="185" y="135"/>
                    <a:pt x="183" y="135"/>
                  </a:cubicBezTo>
                  <a:cubicBezTo>
                    <a:pt x="183" y="135"/>
                    <a:pt x="183" y="135"/>
                    <a:pt x="183" y="135"/>
                  </a:cubicBezTo>
                  <a:cubicBezTo>
                    <a:pt x="183" y="135"/>
                    <a:pt x="183" y="135"/>
                    <a:pt x="183" y="135"/>
                  </a:cubicBezTo>
                  <a:cubicBezTo>
                    <a:pt x="181" y="134"/>
                    <a:pt x="180" y="134"/>
                    <a:pt x="178" y="134"/>
                  </a:cubicBezTo>
                  <a:cubicBezTo>
                    <a:pt x="178" y="134"/>
                    <a:pt x="178" y="134"/>
                    <a:pt x="178" y="134"/>
                  </a:cubicBezTo>
                  <a:cubicBezTo>
                    <a:pt x="178" y="134"/>
                    <a:pt x="177" y="130"/>
                    <a:pt x="176" y="124"/>
                  </a:cubicBezTo>
                  <a:cubicBezTo>
                    <a:pt x="193" y="118"/>
                    <a:pt x="208" y="112"/>
                    <a:pt x="209" y="112"/>
                  </a:cubicBezTo>
                  <a:cubicBezTo>
                    <a:pt x="209" y="112"/>
                    <a:pt x="209" y="112"/>
                    <a:pt x="209" y="112"/>
                  </a:cubicBezTo>
                  <a:moveTo>
                    <a:pt x="289" y="173"/>
                  </a:moveTo>
                  <a:cubicBezTo>
                    <a:pt x="286" y="173"/>
                    <a:pt x="269" y="109"/>
                    <a:pt x="270" y="102"/>
                  </a:cubicBezTo>
                  <a:cubicBezTo>
                    <a:pt x="273" y="106"/>
                    <a:pt x="292" y="138"/>
                    <a:pt x="312" y="171"/>
                  </a:cubicBezTo>
                  <a:cubicBezTo>
                    <a:pt x="306" y="174"/>
                    <a:pt x="302" y="177"/>
                    <a:pt x="302" y="177"/>
                  </a:cubicBezTo>
                  <a:cubicBezTo>
                    <a:pt x="302" y="177"/>
                    <a:pt x="302" y="177"/>
                    <a:pt x="302" y="177"/>
                  </a:cubicBezTo>
                  <a:cubicBezTo>
                    <a:pt x="302" y="177"/>
                    <a:pt x="302" y="177"/>
                    <a:pt x="302" y="177"/>
                  </a:cubicBezTo>
                  <a:cubicBezTo>
                    <a:pt x="299" y="174"/>
                    <a:pt x="295" y="173"/>
                    <a:pt x="291" y="173"/>
                  </a:cubicBezTo>
                  <a:cubicBezTo>
                    <a:pt x="290" y="173"/>
                    <a:pt x="290" y="173"/>
                    <a:pt x="289" y="173"/>
                  </a:cubicBezTo>
                  <a:cubicBezTo>
                    <a:pt x="289" y="173"/>
                    <a:pt x="289" y="173"/>
                    <a:pt x="289" y="173"/>
                  </a:cubicBezTo>
                  <a:cubicBezTo>
                    <a:pt x="289" y="173"/>
                    <a:pt x="289" y="173"/>
                    <a:pt x="289" y="173"/>
                  </a:cubicBezTo>
                  <a:moveTo>
                    <a:pt x="452" y="78"/>
                  </a:moveTo>
                  <a:cubicBezTo>
                    <a:pt x="452" y="78"/>
                    <a:pt x="452" y="78"/>
                    <a:pt x="453" y="78"/>
                  </a:cubicBezTo>
                  <a:cubicBezTo>
                    <a:pt x="457" y="78"/>
                    <a:pt x="501" y="101"/>
                    <a:pt x="501" y="103"/>
                  </a:cubicBezTo>
                  <a:cubicBezTo>
                    <a:pt x="501" y="103"/>
                    <a:pt x="501" y="103"/>
                    <a:pt x="501" y="103"/>
                  </a:cubicBezTo>
                  <a:cubicBezTo>
                    <a:pt x="500" y="105"/>
                    <a:pt x="500" y="108"/>
                    <a:pt x="501" y="110"/>
                  </a:cubicBezTo>
                  <a:cubicBezTo>
                    <a:pt x="502" y="112"/>
                    <a:pt x="504" y="113"/>
                    <a:pt x="506" y="114"/>
                  </a:cubicBezTo>
                  <a:cubicBezTo>
                    <a:pt x="506" y="114"/>
                    <a:pt x="506" y="114"/>
                    <a:pt x="506" y="114"/>
                  </a:cubicBezTo>
                  <a:cubicBezTo>
                    <a:pt x="507" y="115"/>
                    <a:pt x="497" y="144"/>
                    <a:pt x="489" y="168"/>
                  </a:cubicBezTo>
                  <a:cubicBezTo>
                    <a:pt x="481" y="169"/>
                    <a:pt x="473" y="170"/>
                    <a:pt x="465" y="171"/>
                  </a:cubicBezTo>
                  <a:cubicBezTo>
                    <a:pt x="457" y="137"/>
                    <a:pt x="445" y="83"/>
                    <a:pt x="447" y="82"/>
                  </a:cubicBezTo>
                  <a:cubicBezTo>
                    <a:pt x="447" y="82"/>
                    <a:pt x="447" y="82"/>
                    <a:pt x="447" y="82"/>
                  </a:cubicBezTo>
                  <a:cubicBezTo>
                    <a:pt x="448" y="82"/>
                    <a:pt x="448" y="82"/>
                    <a:pt x="448" y="82"/>
                  </a:cubicBezTo>
                  <a:cubicBezTo>
                    <a:pt x="450" y="81"/>
                    <a:pt x="451" y="80"/>
                    <a:pt x="452" y="78"/>
                  </a:cubicBezTo>
                  <a:cubicBezTo>
                    <a:pt x="452" y="78"/>
                    <a:pt x="452" y="78"/>
                    <a:pt x="452" y="78"/>
                  </a:cubicBezTo>
                  <a:moveTo>
                    <a:pt x="277" y="92"/>
                  </a:moveTo>
                  <a:cubicBezTo>
                    <a:pt x="277" y="90"/>
                    <a:pt x="413" y="74"/>
                    <a:pt x="429" y="74"/>
                  </a:cubicBezTo>
                  <a:cubicBezTo>
                    <a:pt x="431" y="74"/>
                    <a:pt x="431" y="74"/>
                    <a:pt x="431" y="75"/>
                  </a:cubicBezTo>
                  <a:cubicBezTo>
                    <a:pt x="431" y="75"/>
                    <a:pt x="431" y="75"/>
                    <a:pt x="431" y="75"/>
                  </a:cubicBezTo>
                  <a:cubicBezTo>
                    <a:pt x="431" y="75"/>
                    <a:pt x="432" y="76"/>
                    <a:pt x="432" y="76"/>
                  </a:cubicBezTo>
                  <a:cubicBezTo>
                    <a:pt x="432" y="77"/>
                    <a:pt x="432" y="77"/>
                    <a:pt x="432" y="77"/>
                  </a:cubicBezTo>
                  <a:cubicBezTo>
                    <a:pt x="432" y="77"/>
                    <a:pt x="432" y="77"/>
                    <a:pt x="432" y="77"/>
                  </a:cubicBezTo>
                  <a:cubicBezTo>
                    <a:pt x="433" y="79"/>
                    <a:pt x="343" y="149"/>
                    <a:pt x="312" y="170"/>
                  </a:cubicBezTo>
                  <a:cubicBezTo>
                    <a:pt x="291" y="135"/>
                    <a:pt x="272" y="101"/>
                    <a:pt x="272" y="100"/>
                  </a:cubicBezTo>
                  <a:cubicBezTo>
                    <a:pt x="272" y="100"/>
                    <a:pt x="272" y="100"/>
                    <a:pt x="272" y="100"/>
                  </a:cubicBezTo>
                  <a:cubicBezTo>
                    <a:pt x="275" y="98"/>
                    <a:pt x="277" y="95"/>
                    <a:pt x="277" y="92"/>
                  </a:cubicBezTo>
                  <a:cubicBezTo>
                    <a:pt x="277" y="92"/>
                    <a:pt x="277" y="92"/>
                    <a:pt x="277" y="92"/>
                  </a:cubicBezTo>
                  <a:moveTo>
                    <a:pt x="165" y="74"/>
                  </a:moveTo>
                  <a:cubicBezTo>
                    <a:pt x="165" y="74"/>
                    <a:pt x="165" y="74"/>
                    <a:pt x="165" y="74"/>
                  </a:cubicBezTo>
                  <a:cubicBezTo>
                    <a:pt x="166" y="74"/>
                    <a:pt x="167" y="74"/>
                    <a:pt x="168" y="74"/>
                  </a:cubicBezTo>
                  <a:cubicBezTo>
                    <a:pt x="168" y="74"/>
                    <a:pt x="168" y="74"/>
                    <a:pt x="168" y="74"/>
                  </a:cubicBezTo>
                  <a:cubicBezTo>
                    <a:pt x="169" y="74"/>
                    <a:pt x="174" y="107"/>
                    <a:pt x="176" y="124"/>
                  </a:cubicBezTo>
                  <a:cubicBezTo>
                    <a:pt x="158" y="131"/>
                    <a:pt x="139" y="139"/>
                    <a:pt x="135" y="139"/>
                  </a:cubicBezTo>
                  <a:cubicBezTo>
                    <a:pt x="135" y="139"/>
                    <a:pt x="135" y="138"/>
                    <a:pt x="135" y="138"/>
                  </a:cubicBezTo>
                  <a:cubicBezTo>
                    <a:pt x="135" y="138"/>
                    <a:pt x="135" y="138"/>
                    <a:pt x="135" y="138"/>
                  </a:cubicBezTo>
                  <a:cubicBezTo>
                    <a:pt x="134" y="137"/>
                    <a:pt x="133" y="135"/>
                    <a:pt x="131" y="134"/>
                  </a:cubicBezTo>
                  <a:cubicBezTo>
                    <a:pt x="131" y="134"/>
                    <a:pt x="131" y="134"/>
                    <a:pt x="131" y="134"/>
                  </a:cubicBezTo>
                  <a:cubicBezTo>
                    <a:pt x="129" y="133"/>
                    <a:pt x="163" y="74"/>
                    <a:pt x="165" y="74"/>
                  </a:cubicBezTo>
                  <a:cubicBezTo>
                    <a:pt x="165" y="74"/>
                    <a:pt x="165" y="74"/>
                    <a:pt x="165" y="74"/>
                  </a:cubicBezTo>
                  <a:moveTo>
                    <a:pt x="171" y="74"/>
                  </a:moveTo>
                  <a:cubicBezTo>
                    <a:pt x="172" y="74"/>
                    <a:pt x="173" y="73"/>
                    <a:pt x="174" y="72"/>
                  </a:cubicBezTo>
                  <a:cubicBezTo>
                    <a:pt x="174" y="72"/>
                    <a:pt x="174" y="72"/>
                    <a:pt x="174" y="72"/>
                  </a:cubicBezTo>
                  <a:cubicBezTo>
                    <a:pt x="174" y="72"/>
                    <a:pt x="174" y="72"/>
                    <a:pt x="174" y="72"/>
                  </a:cubicBezTo>
                  <a:cubicBezTo>
                    <a:pt x="177" y="72"/>
                    <a:pt x="210" y="106"/>
                    <a:pt x="210" y="107"/>
                  </a:cubicBezTo>
                  <a:cubicBezTo>
                    <a:pt x="210" y="107"/>
                    <a:pt x="210" y="107"/>
                    <a:pt x="210" y="107"/>
                  </a:cubicBezTo>
                  <a:cubicBezTo>
                    <a:pt x="209" y="108"/>
                    <a:pt x="209" y="109"/>
                    <a:pt x="209" y="110"/>
                  </a:cubicBezTo>
                  <a:cubicBezTo>
                    <a:pt x="209" y="110"/>
                    <a:pt x="209" y="110"/>
                    <a:pt x="209" y="110"/>
                  </a:cubicBezTo>
                  <a:cubicBezTo>
                    <a:pt x="209" y="111"/>
                    <a:pt x="193" y="117"/>
                    <a:pt x="176" y="124"/>
                  </a:cubicBezTo>
                  <a:cubicBezTo>
                    <a:pt x="174" y="107"/>
                    <a:pt x="170" y="74"/>
                    <a:pt x="171" y="74"/>
                  </a:cubicBezTo>
                  <a:cubicBezTo>
                    <a:pt x="171" y="74"/>
                    <a:pt x="171" y="74"/>
                    <a:pt x="171" y="74"/>
                  </a:cubicBezTo>
                  <a:moveTo>
                    <a:pt x="8" y="0"/>
                  </a:moveTo>
                  <a:cubicBezTo>
                    <a:pt x="7" y="0"/>
                    <a:pt x="6" y="0"/>
                    <a:pt x="5" y="0"/>
                  </a:cubicBezTo>
                  <a:cubicBezTo>
                    <a:pt x="1" y="2"/>
                    <a:pt x="0" y="6"/>
                    <a:pt x="1" y="9"/>
                  </a:cubicBezTo>
                  <a:cubicBezTo>
                    <a:pt x="3" y="12"/>
                    <a:pt x="5" y="13"/>
                    <a:pt x="8" y="13"/>
                  </a:cubicBezTo>
                  <a:cubicBezTo>
                    <a:pt x="9" y="13"/>
                    <a:pt x="10" y="13"/>
                    <a:pt x="11" y="12"/>
                  </a:cubicBezTo>
                  <a:cubicBezTo>
                    <a:pt x="11" y="12"/>
                    <a:pt x="11" y="12"/>
                    <a:pt x="11" y="12"/>
                  </a:cubicBezTo>
                  <a:cubicBezTo>
                    <a:pt x="11" y="12"/>
                    <a:pt x="11" y="12"/>
                    <a:pt x="11" y="12"/>
                  </a:cubicBezTo>
                  <a:cubicBezTo>
                    <a:pt x="11" y="12"/>
                    <a:pt x="11" y="12"/>
                    <a:pt x="11" y="12"/>
                  </a:cubicBezTo>
                  <a:cubicBezTo>
                    <a:pt x="13" y="12"/>
                    <a:pt x="114" y="134"/>
                    <a:pt x="112" y="136"/>
                  </a:cubicBezTo>
                  <a:cubicBezTo>
                    <a:pt x="112" y="136"/>
                    <a:pt x="112" y="136"/>
                    <a:pt x="112" y="136"/>
                  </a:cubicBezTo>
                  <a:cubicBezTo>
                    <a:pt x="108" y="140"/>
                    <a:pt x="107" y="146"/>
                    <a:pt x="109" y="152"/>
                  </a:cubicBezTo>
                  <a:cubicBezTo>
                    <a:pt x="112" y="157"/>
                    <a:pt x="117" y="160"/>
                    <a:pt x="122" y="160"/>
                  </a:cubicBezTo>
                  <a:cubicBezTo>
                    <a:pt x="125" y="160"/>
                    <a:pt x="127" y="159"/>
                    <a:pt x="129" y="158"/>
                  </a:cubicBezTo>
                  <a:cubicBezTo>
                    <a:pt x="134" y="156"/>
                    <a:pt x="137" y="151"/>
                    <a:pt x="137" y="146"/>
                  </a:cubicBezTo>
                  <a:cubicBezTo>
                    <a:pt x="137" y="146"/>
                    <a:pt x="137" y="146"/>
                    <a:pt x="137" y="146"/>
                  </a:cubicBezTo>
                  <a:cubicBezTo>
                    <a:pt x="137" y="144"/>
                    <a:pt x="160" y="142"/>
                    <a:pt x="168" y="142"/>
                  </a:cubicBezTo>
                  <a:cubicBezTo>
                    <a:pt x="170" y="142"/>
                    <a:pt x="172" y="142"/>
                    <a:pt x="172" y="142"/>
                  </a:cubicBezTo>
                  <a:cubicBezTo>
                    <a:pt x="172" y="142"/>
                    <a:pt x="172" y="142"/>
                    <a:pt x="172" y="142"/>
                  </a:cubicBezTo>
                  <a:cubicBezTo>
                    <a:pt x="172" y="143"/>
                    <a:pt x="172" y="143"/>
                    <a:pt x="172" y="143"/>
                  </a:cubicBezTo>
                  <a:cubicBezTo>
                    <a:pt x="173" y="146"/>
                    <a:pt x="176" y="147"/>
                    <a:pt x="178" y="147"/>
                  </a:cubicBezTo>
                  <a:cubicBezTo>
                    <a:pt x="179" y="147"/>
                    <a:pt x="180" y="147"/>
                    <a:pt x="181" y="146"/>
                  </a:cubicBezTo>
                  <a:cubicBezTo>
                    <a:pt x="183" y="146"/>
                    <a:pt x="184" y="144"/>
                    <a:pt x="185" y="142"/>
                  </a:cubicBezTo>
                  <a:cubicBezTo>
                    <a:pt x="185" y="142"/>
                    <a:pt x="185" y="142"/>
                    <a:pt x="185" y="142"/>
                  </a:cubicBezTo>
                  <a:cubicBezTo>
                    <a:pt x="185" y="142"/>
                    <a:pt x="186" y="142"/>
                    <a:pt x="187" y="142"/>
                  </a:cubicBezTo>
                  <a:cubicBezTo>
                    <a:pt x="197" y="142"/>
                    <a:pt x="245" y="147"/>
                    <a:pt x="245" y="147"/>
                  </a:cubicBezTo>
                  <a:cubicBezTo>
                    <a:pt x="245" y="147"/>
                    <a:pt x="245" y="147"/>
                    <a:pt x="245" y="147"/>
                  </a:cubicBezTo>
                  <a:cubicBezTo>
                    <a:pt x="245" y="148"/>
                    <a:pt x="245" y="148"/>
                    <a:pt x="245" y="149"/>
                  </a:cubicBezTo>
                  <a:cubicBezTo>
                    <a:pt x="246" y="150"/>
                    <a:pt x="247" y="151"/>
                    <a:pt x="249" y="151"/>
                  </a:cubicBezTo>
                  <a:cubicBezTo>
                    <a:pt x="250" y="151"/>
                    <a:pt x="250" y="151"/>
                    <a:pt x="251" y="151"/>
                  </a:cubicBezTo>
                  <a:cubicBezTo>
                    <a:pt x="253" y="150"/>
                    <a:pt x="254" y="147"/>
                    <a:pt x="253" y="145"/>
                  </a:cubicBezTo>
                  <a:cubicBezTo>
                    <a:pt x="252" y="144"/>
                    <a:pt x="251" y="144"/>
                    <a:pt x="251" y="143"/>
                  </a:cubicBezTo>
                  <a:cubicBezTo>
                    <a:pt x="251" y="143"/>
                    <a:pt x="251" y="143"/>
                    <a:pt x="251" y="143"/>
                  </a:cubicBezTo>
                  <a:cubicBezTo>
                    <a:pt x="250" y="143"/>
                    <a:pt x="261" y="103"/>
                    <a:pt x="264" y="103"/>
                  </a:cubicBezTo>
                  <a:cubicBezTo>
                    <a:pt x="264" y="103"/>
                    <a:pt x="264" y="103"/>
                    <a:pt x="264" y="103"/>
                  </a:cubicBezTo>
                  <a:cubicBezTo>
                    <a:pt x="263" y="103"/>
                    <a:pt x="263" y="103"/>
                    <a:pt x="263" y="103"/>
                  </a:cubicBezTo>
                  <a:cubicBezTo>
                    <a:pt x="264" y="103"/>
                    <a:pt x="265" y="103"/>
                    <a:pt x="265" y="103"/>
                  </a:cubicBezTo>
                  <a:cubicBezTo>
                    <a:pt x="265" y="103"/>
                    <a:pt x="266" y="103"/>
                    <a:pt x="266" y="103"/>
                  </a:cubicBezTo>
                  <a:cubicBezTo>
                    <a:pt x="266" y="103"/>
                    <a:pt x="266" y="103"/>
                    <a:pt x="266" y="103"/>
                  </a:cubicBezTo>
                  <a:cubicBezTo>
                    <a:pt x="266" y="103"/>
                    <a:pt x="266" y="103"/>
                    <a:pt x="266" y="103"/>
                  </a:cubicBezTo>
                  <a:cubicBezTo>
                    <a:pt x="269" y="103"/>
                    <a:pt x="288" y="173"/>
                    <a:pt x="285" y="174"/>
                  </a:cubicBezTo>
                  <a:cubicBezTo>
                    <a:pt x="285" y="174"/>
                    <a:pt x="285" y="174"/>
                    <a:pt x="285" y="174"/>
                  </a:cubicBezTo>
                  <a:cubicBezTo>
                    <a:pt x="284" y="174"/>
                    <a:pt x="284" y="174"/>
                    <a:pt x="284" y="174"/>
                  </a:cubicBezTo>
                  <a:cubicBezTo>
                    <a:pt x="276" y="178"/>
                    <a:pt x="273" y="187"/>
                    <a:pt x="277" y="194"/>
                  </a:cubicBezTo>
                  <a:cubicBezTo>
                    <a:pt x="279" y="200"/>
                    <a:pt x="285" y="203"/>
                    <a:pt x="291" y="203"/>
                  </a:cubicBezTo>
                  <a:cubicBezTo>
                    <a:pt x="293" y="203"/>
                    <a:pt x="295" y="203"/>
                    <a:pt x="298" y="202"/>
                  </a:cubicBezTo>
                  <a:cubicBezTo>
                    <a:pt x="299" y="201"/>
                    <a:pt x="300" y="201"/>
                    <a:pt x="300" y="200"/>
                  </a:cubicBezTo>
                  <a:cubicBezTo>
                    <a:pt x="300" y="200"/>
                    <a:pt x="300" y="200"/>
                    <a:pt x="300" y="200"/>
                  </a:cubicBezTo>
                  <a:cubicBezTo>
                    <a:pt x="300" y="200"/>
                    <a:pt x="300" y="200"/>
                    <a:pt x="301" y="200"/>
                  </a:cubicBezTo>
                  <a:cubicBezTo>
                    <a:pt x="305" y="200"/>
                    <a:pt x="354" y="247"/>
                    <a:pt x="353" y="249"/>
                  </a:cubicBezTo>
                  <a:cubicBezTo>
                    <a:pt x="353" y="249"/>
                    <a:pt x="353" y="249"/>
                    <a:pt x="353" y="249"/>
                  </a:cubicBezTo>
                  <a:cubicBezTo>
                    <a:pt x="351" y="252"/>
                    <a:pt x="351" y="255"/>
                    <a:pt x="352" y="258"/>
                  </a:cubicBezTo>
                  <a:cubicBezTo>
                    <a:pt x="354" y="262"/>
                    <a:pt x="357" y="264"/>
                    <a:pt x="361" y="264"/>
                  </a:cubicBezTo>
                  <a:cubicBezTo>
                    <a:pt x="363" y="264"/>
                    <a:pt x="364" y="264"/>
                    <a:pt x="366" y="263"/>
                  </a:cubicBezTo>
                  <a:cubicBezTo>
                    <a:pt x="371" y="261"/>
                    <a:pt x="373" y="255"/>
                    <a:pt x="370" y="250"/>
                  </a:cubicBezTo>
                  <a:cubicBezTo>
                    <a:pt x="369" y="247"/>
                    <a:pt x="365" y="245"/>
                    <a:pt x="361" y="245"/>
                  </a:cubicBezTo>
                  <a:cubicBezTo>
                    <a:pt x="360" y="245"/>
                    <a:pt x="359" y="245"/>
                    <a:pt x="358" y="245"/>
                  </a:cubicBezTo>
                  <a:cubicBezTo>
                    <a:pt x="358" y="245"/>
                    <a:pt x="358" y="245"/>
                    <a:pt x="358" y="245"/>
                  </a:cubicBezTo>
                  <a:cubicBezTo>
                    <a:pt x="358" y="245"/>
                    <a:pt x="358" y="245"/>
                    <a:pt x="358" y="245"/>
                  </a:cubicBezTo>
                  <a:cubicBezTo>
                    <a:pt x="357" y="245"/>
                    <a:pt x="334" y="209"/>
                    <a:pt x="313" y="172"/>
                  </a:cubicBezTo>
                  <a:cubicBezTo>
                    <a:pt x="341" y="149"/>
                    <a:pt x="431" y="80"/>
                    <a:pt x="435" y="80"/>
                  </a:cubicBezTo>
                  <a:cubicBezTo>
                    <a:pt x="435" y="80"/>
                    <a:pt x="435" y="80"/>
                    <a:pt x="435" y="80"/>
                  </a:cubicBezTo>
                  <a:cubicBezTo>
                    <a:pt x="435" y="80"/>
                    <a:pt x="435" y="80"/>
                    <a:pt x="435" y="80"/>
                  </a:cubicBezTo>
                  <a:cubicBezTo>
                    <a:pt x="437" y="82"/>
                    <a:pt x="440" y="83"/>
                    <a:pt x="443" y="83"/>
                  </a:cubicBezTo>
                  <a:cubicBezTo>
                    <a:pt x="443" y="83"/>
                    <a:pt x="443" y="83"/>
                    <a:pt x="443" y="83"/>
                  </a:cubicBezTo>
                  <a:cubicBezTo>
                    <a:pt x="443" y="83"/>
                    <a:pt x="443" y="83"/>
                    <a:pt x="443" y="83"/>
                  </a:cubicBezTo>
                  <a:cubicBezTo>
                    <a:pt x="443" y="83"/>
                    <a:pt x="443" y="83"/>
                    <a:pt x="443" y="83"/>
                  </a:cubicBezTo>
                  <a:cubicBezTo>
                    <a:pt x="445" y="83"/>
                    <a:pt x="458" y="137"/>
                    <a:pt x="465" y="171"/>
                  </a:cubicBezTo>
                  <a:cubicBezTo>
                    <a:pt x="419" y="178"/>
                    <a:pt x="369" y="185"/>
                    <a:pt x="365" y="185"/>
                  </a:cubicBezTo>
                  <a:cubicBezTo>
                    <a:pt x="365" y="185"/>
                    <a:pt x="365" y="185"/>
                    <a:pt x="365" y="185"/>
                  </a:cubicBezTo>
                  <a:cubicBezTo>
                    <a:pt x="365" y="185"/>
                    <a:pt x="365" y="185"/>
                    <a:pt x="365" y="185"/>
                  </a:cubicBezTo>
                  <a:cubicBezTo>
                    <a:pt x="364" y="184"/>
                    <a:pt x="364" y="184"/>
                    <a:pt x="364" y="184"/>
                  </a:cubicBezTo>
                  <a:cubicBezTo>
                    <a:pt x="364" y="184"/>
                    <a:pt x="364" y="184"/>
                    <a:pt x="364" y="184"/>
                  </a:cubicBezTo>
                  <a:cubicBezTo>
                    <a:pt x="364" y="184"/>
                    <a:pt x="364" y="184"/>
                    <a:pt x="364" y="184"/>
                  </a:cubicBezTo>
                  <a:cubicBezTo>
                    <a:pt x="364" y="183"/>
                    <a:pt x="394" y="163"/>
                    <a:pt x="396" y="163"/>
                  </a:cubicBezTo>
                  <a:cubicBezTo>
                    <a:pt x="396" y="163"/>
                    <a:pt x="396" y="163"/>
                    <a:pt x="396" y="163"/>
                  </a:cubicBezTo>
                  <a:cubicBezTo>
                    <a:pt x="396" y="163"/>
                    <a:pt x="396" y="163"/>
                    <a:pt x="396" y="163"/>
                  </a:cubicBezTo>
                  <a:cubicBezTo>
                    <a:pt x="397" y="164"/>
                    <a:pt x="398" y="165"/>
                    <a:pt x="399" y="165"/>
                  </a:cubicBezTo>
                  <a:cubicBezTo>
                    <a:pt x="400" y="165"/>
                    <a:pt x="401" y="164"/>
                    <a:pt x="401" y="164"/>
                  </a:cubicBezTo>
                  <a:cubicBezTo>
                    <a:pt x="404" y="163"/>
                    <a:pt x="405" y="160"/>
                    <a:pt x="404" y="158"/>
                  </a:cubicBezTo>
                  <a:cubicBezTo>
                    <a:pt x="403" y="156"/>
                    <a:pt x="401" y="155"/>
                    <a:pt x="399" y="155"/>
                  </a:cubicBezTo>
                  <a:cubicBezTo>
                    <a:pt x="398" y="155"/>
                    <a:pt x="398" y="156"/>
                    <a:pt x="397" y="156"/>
                  </a:cubicBezTo>
                  <a:cubicBezTo>
                    <a:pt x="395" y="157"/>
                    <a:pt x="394" y="160"/>
                    <a:pt x="395" y="162"/>
                  </a:cubicBezTo>
                  <a:cubicBezTo>
                    <a:pt x="395" y="162"/>
                    <a:pt x="395" y="162"/>
                    <a:pt x="395" y="162"/>
                  </a:cubicBezTo>
                  <a:cubicBezTo>
                    <a:pt x="395" y="163"/>
                    <a:pt x="365" y="182"/>
                    <a:pt x="363" y="182"/>
                  </a:cubicBezTo>
                  <a:cubicBezTo>
                    <a:pt x="363" y="182"/>
                    <a:pt x="363" y="182"/>
                    <a:pt x="363" y="182"/>
                  </a:cubicBezTo>
                  <a:cubicBezTo>
                    <a:pt x="363" y="182"/>
                    <a:pt x="363" y="182"/>
                    <a:pt x="363" y="182"/>
                  </a:cubicBezTo>
                  <a:cubicBezTo>
                    <a:pt x="362" y="181"/>
                    <a:pt x="360" y="180"/>
                    <a:pt x="358" y="180"/>
                  </a:cubicBezTo>
                  <a:cubicBezTo>
                    <a:pt x="357" y="180"/>
                    <a:pt x="356" y="180"/>
                    <a:pt x="355" y="181"/>
                  </a:cubicBezTo>
                  <a:cubicBezTo>
                    <a:pt x="352" y="182"/>
                    <a:pt x="350" y="186"/>
                    <a:pt x="352" y="190"/>
                  </a:cubicBezTo>
                  <a:cubicBezTo>
                    <a:pt x="353" y="192"/>
                    <a:pt x="356" y="193"/>
                    <a:pt x="358" y="193"/>
                  </a:cubicBezTo>
                  <a:cubicBezTo>
                    <a:pt x="359" y="193"/>
                    <a:pt x="360" y="193"/>
                    <a:pt x="361" y="193"/>
                  </a:cubicBezTo>
                  <a:cubicBezTo>
                    <a:pt x="363" y="192"/>
                    <a:pt x="365" y="190"/>
                    <a:pt x="365" y="187"/>
                  </a:cubicBezTo>
                  <a:cubicBezTo>
                    <a:pt x="365" y="188"/>
                    <a:pt x="365" y="188"/>
                    <a:pt x="365" y="188"/>
                  </a:cubicBezTo>
                  <a:cubicBezTo>
                    <a:pt x="365" y="186"/>
                    <a:pt x="417" y="184"/>
                    <a:pt x="430" y="184"/>
                  </a:cubicBezTo>
                  <a:cubicBezTo>
                    <a:pt x="431" y="184"/>
                    <a:pt x="432" y="184"/>
                    <a:pt x="432" y="184"/>
                  </a:cubicBezTo>
                  <a:cubicBezTo>
                    <a:pt x="432" y="184"/>
                    <a:pt x="432" y="184"/>
                    <a:pt x="432" y="184"/>
                  </a:cubicBezTo>
                  <a:cubicBezTo>
                    <a:pt x="433" y="185"/>
                    <a:pt x="433" y="185"/>
                    <a:pt x="433" y="185"/>
                  </a:cubicBezTo>
                  <a:cubicBezTo>
                    <a:pt x="433" y="187"/>
                    <a:pt x="435" y="187"/>
                    <a:pt x="436" y="187"/>
                  </a:cubicBezTo>
                  <a:cubicBezTo>
                    <a:pt x="437" y="187"/>
                    <a:pt x="438" y="187"/>
                    <a:pt x="438" y="187"/>
                  </a:cubicBezTo>
                  <a:cubicBezTo>
                    <a:pt x="440" y="186"/>
                    <a:pt x="441" y="184"/>
                    <a:pt x="440" y="182"/>
                  </a:cubicBezTo>
                  <a:cubicBezTo>
                    <a:pt x="439" y="180"/>
                    <a:pt x="438" y="180"/>
                    <a:pt x="436" y="180"/>
                  </a:cubicBezTo>
                  <a:cubicBezTo>
                    <a:pt x="436" y="180"/>
                    <a:pt x="435" y="180"/>
                    <a:pt x="435" y="180"/>
                  </a:cubicBezTo>
                  <a:cubicBezTo>
                    <a:pt x="433" y="181"/>
                    <a:pt x="432" y="182"/>
                    <a:pt x="432" y="183"/>
                  </a:cubicBezTo>
                  <a:cubicBezTo>
                    <a:pt x="432" y="183"/>
                    <a:pt x="432" y="183"/>
                    <a:pt x="432" y="183"/>
                  </a:cubicBezTo>
                  <a:cubicBezTo>
                    <a:pt x="432" y="184"/>
                    <a:pt x="387" y="186"/>
                    <a:pt x="370" y="186"/>
                  </a:cubicBezTo>
                  <a:cubicBezTo>
                    <a:pt x="370" y="186"/>
                    <a:pt x="370" y="186"/>
                    <a:pt x="370" y="186"/>
                  </a:cubicBezTo>
                  <a:cubicBezTo>
                    <a:pt x="383" y="183"/>
                    <a:pt x="425" y="177"/>
                    <a:pt x="465" y="171"/>
                  </a:cubicBezTo>
                  <a:cubicBezTo>
                    <a:pt x="468" y="187"/>
                    <a:pt x="470" y="198"/>
                    <a:pt x="469" y="199"/>
                  </a:cubicBezTo>
                  <a:cubicBezTo>
                    <a:pt x="469" y="199"/>
                    <a:pt x="469" y="199"/>
                    <a:pt x="469" y="199"/>
                  </a:cubicBezTo>
                  <a:cubicBezTo>
                    <a:pt x="464" y="201"/>
                    <a:pt x="460" y="205"/>
                    <a:pt x="460" y="211"/>
                  </a:cubicBezTo>
                  <a:cubicBezTo>
                    <a:pt x="460" y="218"/>
                    <a:pt x="466" y="224"/>
                    <a:pt x="474" y="224"/>
                  </a:cubicBezTo>
                  <a:cubicBezTo>
                    <a:pt x="476" y="224"/>
                    <a:pt x="478" y="223"/>
                    <a:pt x="480" y="222"/>
                  </a:cubicBezTo>
                  <a:cubicBezTo>
                    <a:pt x="480" y="222"/>
                    <a:pt x="480" y="222"/>
                    <a:pt x="480" y="222"/>
                  </a:cubicBezTo>
                  <a:cubicBezTo>
                    <a:pt x="480" y="222"/>
                    <a:pt x="480" y="222"/>
                    <a:pt x="480" y="222"/>
                  </a:cubicBezTo>
                  <a:cubicBezTo>
                    <a:pt x="483" y="222"/>
                    <a:pt x="520" y="269"/>
                    <a:pt x="518" y="271"/>
                  </a:cubicBezTo>
                  <a:cubicBezTo>
                    <a:pt x="518" y="271"/>
                    <a:pt x="518" y="271"/>
                    <a:pt x="518" y="271"/>
                  </a:cubicBezTo>
                  <a:cubicBezTo>
                    <a:pt x="514" y="275"/>
                    <a:pt x="513" y="281"/>
                    <a:pt x="516" y="286"/>
                  </a:cubicBezTo>
                  <a:cubicBezTo>
                    <a:pt x="518" y="290"/>
                    <a:pt x="523" y="293"/>
                    <a:pt x="528" y="293"/>
                  </a:cubicBezTo>
                  <a:cubicBezTo>
                    <a:pt x="530" y="293"/>
                    <a:pt x="532" y="293"/>
                    <a:pt x="534" y="292"/>
                  </a:cubicBezTo>
                  <a:cubicBezTo>
                    <a:pt x="540" y="289"/>
                    <a:pt x="543" y="281"/>
                    <a:pt x="540" y="275"/>
                  </a:cubicBezTo>
                  <a:cubicBezTo>
                    <a:pt x="538" y="270"/>
                    <a:pt x="533" y="267"/>
                    <a:pt x="528" y="267"/>
                  </a:cubicBezTo>
                  <a:cubicBezTo>
                    <a:pt x="526" y="267"/>
                    <a:pt x="524" y="268"/>
                    <a:pt x="522" y="268"/>
                  </a:cubicBezTo>
                  <a:cubicBezTo>
                    <a:pt x="521" y="269"/>
                    <a:pt x="521" y="269"/>
                    <a:pt x="521" y="269"/>
                  </a:cubicBezTo>
                  <a:cubicBezTo>
                    <a:pt x="522" y="269"/>
                    <a:pt x="522" y="269"/>
                    <a:pt x="522" y="269"/>
                  </a:cubicBezTo>
                  <a:cubicBezTo>
                    <a:pt x="522" y="269"/>
                    <a:pt x="522" y="269"/>
                    <a:pt x="521" y="269"/>
                  </a:cubicBezTo>
                  <a:cubicBezTo>
                    <a:pt x="518" y="269"/>
                    <a:pt x="482" y="222"/>
                    <a:pt x="484" y="220"/>
                  </a:cubicBezTo>
                  <a:cubicBezTo>
                    <a:pt x="483" y="220"/>
                    <a:pt x="483" y="220"/>
                    <a:pt x="483" y="220"/>
                  </a:cubicBezTo>
                  <a:cubicBezTo>
                    <a:pt x="486" y="218"/>
                    <a:pt x="487" y="214"/>
                    <a:pt x="487" y="211"/>
                  </a:cubicBezTo>
                  <a:cubicBezTo>
                    <a:pt x="487" y="206"/>
                    <a:pt x="484" y="201"/>
                    <a:pt x="480" y="199"/>
                  </a:cubicBezTo>
                  <a:cubicBezTo>
                    <a:pt x="480" y="199"/>
                    <a:pt x="480" y="199"/>
                    <a:pt x="480" y="199"/>
                  </a:cubicBezTo>
                  <a:cubicBezTo>
                    <a:pt x="479" y="199"/>
                    <a:pt x="483" y="184"/>
                    <a:pt x="489" y="168"/>
                  </a:cubicBezTo>
                  <a:cubicBezTo>
                    <a:pt x="516" y="164"/>
                    <a:pt x="539" y="161"/>
                    <a:pt x="541" y="161"/>
                  </a:cubicBezTo>
                  <a:cubicBezTo>
                    <a:pt x="542" y="161"/>
                    <a:pt x="542" y="161"/>
                    <a:pt x="542" y="161"/>
                  </a:cubicBezTo>
                  <a:cubicBezTo>
                    <a:pt x="542" y="161"/>
                    <a:pt x="542" y="161"/>
                    <a:pt x="542" y="161"/>
                  </a:cubicBezTo>
                  <a:cubicBezTo>
                    <a:pt x="542" y="162"/>
                    <a:pt x="542" y="162"/>
                    <a:pt x="542" y="162"/>
                  </a:cubicBezTo>
                  <a:cubicBezTo>
                    <a:pt x="543" y="164"/>
                    <a:pt x="546" y="166"/>
                    <a:pt x="548" y="166"/>
                  </a:cubicBezTo>
                  <a:cubicBezTo>
                    <a:pt x="549" y="166"/>
                    <a:pt x="550" y="165"/>
                    <a:pt x="551" y="165"/>
                  </a:cubicBezTo>
                  <a:cubicBezTo>
                    <a:pt x="552" y="165"/>
                    <a:pt x="553" y="164"/>
                    <a:pt x="553" y="164"/>
                  </a:cubicBezTo>
                  <a:cubicBezTo>
                    <a:pt x="553" y="164"/>
                    <a:pt x="553" y="164"/>
                    <a:pt x="553" y="164"/>
                  </a:cubicBezTo>
                  <a:cubicBezTo>
                    <a:pt x="553" y="164"/>
                    <a:pt x="553" y="164"/>
                    <a:pt x="553" y="164"/>
                  </a:cubicBezTo>
                  <a:cubicBezTo>
                    <a:pt x="555" y="164"/>
                    <a:pt x="586" y="185"/>
                    <a:pt x="585" y="185"/>
                  </a:cubicBezTo>
                  <a:cubicBezTo>
                    <a:pt x="585" y="185"/>
                    <a:pt x="585" y="185"/>
                    <a:pt x="585" y="185"/>
                  </a:cubicBezTo>
                  <a:cubicBezTo>
                    <a:pt x="584" y="187"/>
                    <a:pt x="584" y="188"/>
                    <a:pt x="585" y="189"/>
                  </a:cubicBezTo>
                  <a:cubicBezTo>
                    <a:pt x="586" y="191"/>
                    <a:pt x="588" y="192"/>
                    <a:pt x="589" y="192"/>
                  </a:cubicBezTo>
                  <a:cubicBezTo>
                    <a:pt x="590" y="192"/>
                    <a:pt x="591" y="192"/>
                    <a:pt x="591" y="192"/>
                  </a:cubicBezTo>
                  <a:cubicBezTo>
                    <a:pt x="594" y="191"/>
                    <a:pt x="595" y="188"/>
                    <a:pt x="594" y="186"/>
                  </a:cubicBezTo>
                  <a:cubicBezTo>
                    <a:pt x="593" y="184"/>
                    <a:pt x="591" y="183"/>
                    <a:pt x="589" y="183"/>
                  </a:cubicBezTo>
                  <a:cubicBezTo>
                    <a:pt x="589" y="183"/>
                    <a:pt x="588" y="183"/>
                    <a:pt x="587" y="183"/>
                  </a:cubicBezTo>
                  <a:cubicBezTo>
                    <a:pt x="587" y="184"/>
                    <a:pt x="586" y="184"/>
                    <a:pt x="586" y="184"/>
                  </a:cubicBezTo>
                  <a:cubicBezTo>
                    <a:pt x="586" y="184"/>
                    <a:pt x="586" y="184"/>
                    <a:pt x="586" y="184"/>
                  </a:cubicBezTo>
                  <a:cubicBezTo>
                    <a:pt x="586" y="184"/>
                    <a:pt x="586" y="184"/>
                    <a:pt x="586" y="184"/>
                  </a:cubicBezTo>
                  <a:cubicBezTo>
                    <a:pt x="584" y="184"/>
                    <a:pt x="554" y="163"/>
                    <a:pt x="554" y="162"/>
                  </a:cubicBezTo>
                  <a:cubicBezTo>
                    <a:pt x="554" y="162"/>
                    <a:pt x="554" y="162"/>
                    <a:pt x="554" y="162"/>
                  </a:cubicBezTo>
                  <a:cubicBezTo>
                    <a:pt x="555" y="160"/>
                    <a:pt x="556" y="158"/>
                    <a:pt x="555" y="156"/>
                  </a:cubicBezTo>
                  <a:cubicBezTo>
                    <a:pt x="555" y="156"/>
                    <a:pt x="555" y="156"/>
                    <a:pt x="555" y="156"/>
                  </a:cubicBezTo>
                  <a:cubicBezTo>
                    <a:pt x="555" y="156"/>
                    <a:pt x="555" y="156"/>
                    <a:pt x="555" y="156"/>
                  </a:cubicBezTo>
                  <a:cubicBezTo>
                    <a:pt x="554" y="155"/>
                    <a:pt x="584" y="135"/>
                    <a:pt x="586" y="135"/>
                  </a:cubicBezTo>
                  <a:cubicBezTo>
                    <a:pt x="586" y="135"/>
                    <a:pt x="586" y="135"/>
                    <a:pt x="586" y="135"/>
                  </a:cubicBezTo>
                  <a:cubicBezTo>
                    <a:pt x="586" y="135"/>
                    <a:pt x="586" y="135"/>
                    <a:pt x="586" y="135"/>
                  </a:cubicBezTo>
                  <a:cubicBezTo>
                    <a:pt x="587" y="136"/>
                    <a:pt x="588" y="137"/>
                    <a:pt x="589" y="137"/>
                  </a:cubicBezTo>
                  <a:cubicBezTo>
                    <a:pt x="590" y="137"/>
                    <a:pt x="591" y="137"/>
                    <a:pt x="591" y="136"/>
                  </a:cubicBezTo>
                  <a:cubicBezTo>
                    <a:pt x="592" y="136"/>
                    <a:pt x="592" y="136"/>
                    <a:pt x="593" y="135"/>
                  </a:cubicBezTo>
                  <a:cubicBezTo>
                    <a:pt x="593" y="135"/>
                    <a:pt x="593" y="135"/>
                    <a:pt x="593" y="135"/>
                  </a:cubicBezTo>
                  <a:cubicBezTo>
                    <a:pt x="593" y="135"/>
                    <a:pt x="593" y="135"/>
                    <a:pt x="593" y="135"/>
                  </a:cubicBezTo>
                  <a:cubicBezTo>
                    <a:pt x="594" y="135"/>
                    <a:pt x="632" y="162"/>
                    <a:pt x="631" y="163"/>
                  </a:cubicBezTo>
                  <a:cubicBezTo>
                    <a:pt x="631" y="163"/>
                    <a:pt x="631" y="163"/>
                    <a:pt x="631" y="163"/>
                  </a:cubicBezTo>
                  <a:cubicBezTo>
                    <a:pt x="631" y="164"/>
                    <a:pt x="631" y="165"/>
                    <a:pt x="631" y="166"/>
                  </a:cubicBezTo>
                  <a:cubicBezTo>
                    <a:pt x="632" y="168"/>
                    <a:pt x="633" y="169"/>
                    <a:pt x="635" y="169"/>
                  </a:cubicBezTo>
                  <a:cubicBezTo>
                    <a:pt x="635" y="169"/>
                    <a:pt x="636" y="168"/>
                    <a:pt x="637" y="168"/>
                  </a:cubicBezTo>
                  <a:cubicBezTo>
                    <a:pt x="638" y="168"/>
                    <a:pt x="639" y="166"/>
                    <a:pt x="639" y="165"/>
                  </a:cubicBezTo>
                  <a:cubicBezTo>
                    <a:pt x="639" y="165"/>
                    <a:pt x="639" y="165"/>
                    <a:pt x="639" y="165"/>
                  </a:cubicBezTo>
                  <a:cubicBezTo>
                    <a:pt x="639" y="165"/>
                    <a:pt x="647" y="165"/>
                    <a:pt x="655" y="165"/>
                  </a:cubicBezTo>
                  <a:cubicBezTo>
                    <a:pt x="663" y="165"/>
                    <a:pt x="671" y="165"/>
                    <a:pt x="671" y="165"/>
                  </a:cubicBezTo>
                  <a:cubicBezTo>
                    <a:pt x="671" y="165"/>
                    <a:pt x="671" y="165"/>
                    <a:pt x="671" y="165"/>
                  </a:cubicBezTo>
                  <a:cubicBezTo>
                    <a:pt x="671" y="166"/>
                    <a:pt x="671" y="166"/>
                    <a:pt x="671" y="166"/>
                  </a:cubicBezTo>
                  <a:cubicBezTo>
                    <a:pt x="671" y="167"/>
                    <a:pt x="672" y="167"/>
                    <a:pt x="672" y="167"/>
                  </a:cubicBezTo>
                  <a:cubicBezTo>
                    <a:pt x="672" y="167"/>
                    <a:pt x="672" y="167"/>
                    <a:pt x="672" y="167"/>
                  </a:cubicBezTo>
                  <a:cubicBezTo>
                    <a:pt x="672" y="168"/>
                    <a:pt x="595" y="258"/>
                    <a:pt x="593" y="258"/>
                  </a:cubicBezTo>
                  <a:cubicBezTo>
                    <a:pt x="593" y="258"/>
                    <a:pt x="593" y="258"/>
                    <a:pt x="593" y="258"/>
                  </a:cubicBezTo>
                  <a:cubicBezTo>
                    <a:pt x="593" y="258"/>
                    <a:pt x="593" y="258"/>
                    <a:pt x="593" y="258"/>
                  </a:cubicBezTo>
                  <a:cubicBezTo>
                    <a:pt x="592" y="258"/>
                    <a:pt x="591" y="257"/>
                    <a:pt x="589" y="257"/>
                  </a:cubicBezTo>
                  <a:cubicBezTo>
                    <a:pt x="588" y="257"/>
                    <a:pt x="587" y="258"/>
                    <a:pt x="586" y="258"/>
                  </a:cubicBezTo>
                  <a:cubicBezTo>
                    <a:pt x="583" y="260"/>
                    <a:pt x="582" y="264"/>
                    <a:pt x="583" y="267"/>
                  </a:cubicBezTo>
                  <a:cubicBezTo>
                    <a:pt x="584" y="269"/>
                    <a:pt x="587" y="271"/>
                    <a:pt x="589" y="271"/>
                  </a:cubicBezTo>
                  <a:cubicBezTo>
                    <a:pt x="590" y="271"/>
                    <a:pt x="591" y="270"/>
                    <a:pt x="592" y="270"/>
                  </a:cubicBezTo>
                  <a:cubicBezTo>
                    <a:pt x="596" y="268"/>
                    <a:pt x="597" y="264"/>
                    <a:pt x="596" y="261"/>
                  </a:cubicBezTo>
                  <a:cubicBezTo>
                    <a:pt x="595" y="261"/>
                    <a:pt x="595" y="260"/>
                    <a:pt x="595" y="260"/>
                  </a:cubicBezTo>
                  <a:cubicBezTo>
                    <a:pt x="595" y="260"/>
                    <a:pt x="595" y="260"/>
                    <a:pt x="595" y="260"/>
                  </a:cubicBezTo>
                  <a:cubicBezTo>
                    <a:pt x="594" y="259"/>
                    <a:pt x="672" y="168"/>
                    <a:pt x="673" y="168"/>
                  </a:cubicBezTo>
                  <a:cubicBezTo>
                    <a:pt x="673" y="168"/>
                    <a:pt x="673" y="168"/>
                    <a:pt x="673" y="168"/>
                  </a:cubicBezTo>
                  <a:cubicBezTo>
                    <a:pt x="673" y="168"/>
                    <a:pt x="673" y="168"/>
                    <a:pt x="673" y="168"/>
                  </a:cubicBezTo>
                  <a:cubicBezTo>
                    <a:pt x="673" y="168"/>
                    <a:pt x="674" y="169"/>
                    <a:pt x="675" y="169"/>
                  </a:cubicBezTo>
                  <a:cubicBezTo>
                    <a:pt x="675" y="169"/>
                    <a:pt x="676" y="168"/>
                    <a:pt x="677" y="168"/>
                  </a:cubicBezTo>
                  <a:cubicBezTo>
                    <a:pt x="679" y="167"/>
                    <a:pt x="680" y="165"/>
                    <a:pt x="679" y="163"/>
                  </a:cubicBezTo>
                  <a:cubicBezTo>
                    <a:pt x="678" y="162"/>
                    <a:pt x="676" y="161"/>
                    <a:pt x="675" y="161"/>
                  </a:cubicBezTo>
                  <a:cubicBezTo>
                    <a:pt x="674" y="161"/>
                    <a:pt x="674" y="161"/>
                    <a:pt x="673" y="161"/>
                  </a:cubicBezTo>
                  <a:cubicBezTo>
                    <a:pt x="672" y="161"/>
                    <a:pt x="672" y="162"/>
                    <a:pt x="671" y="163"/>
                  </a:cubicBezTo>
                  <a:cubicBezTo>
                    <a:pt x="671" y="163"/>
                    <a:pt x="671" y="163"/>
                    <a:pt x="671" y="163"/>
                  </a:cubicBezTo>
                  <a:cubicBezTo>
                    <a:pt x="671" y="163"/>
                    <a:pt x="671" y="163"/>
                    <a:pt x="671" y="163"/>
                  </a:cubicBezTo>
                  <a:cubicBezTo>
                    <a:pt x="669" y="163"/>
                    <a:pt x="594" y="134"/>
                    <a:pt x="594" y="133"/>
                  </a:cubicBezTo>
                  <a:cubicBezTo>
                    <a:pt x="594" y="133"/>
                    <a:pt x="594" y="133"/>
                    <a:pt x="594" y="133"/>
                  </a:cubicBezTo>
                  <a:cubicBezTo>
                    <a:pt x="594" y="132"/>
                    <a:pt x="594" y="131"/>
                    <a:pt x="594" y="130"/>
                  </a:cubicBezTo>
                  <a:cubicBezTo>
                    <a:pt x="593" y="129"/>
                    <a:pt x="591" y="128"/>
                    <a:pt x="589" y="128"/>
                  </a:cubicBezTo>
                  <a:cubicBezTo>
                    <a:pt x="589" y="128"/>
                    <a:pt x="588" y="128"/>
                    <a:pt x="587" y="128"/>
                  </a:cubicBezTo>
                  <a:cubicBezTo>
                    <a:pt x="585" y="129"/>
                    <a:pt x="584" y="132"/>
                    <a:pt x="585" y="134"/>
                  </a:cubicBezTo>
                  <a:cubicBezTo>
                    <a:pt x="585" y="134"/>
                    <a:pt x="585" y="134"/>
                    <a:pt x="585" y="134"/>
                  </a:cubicBezTo>
                  <a:cubicBezTo>
                    <a:pt x="585" y="135"/>
                    <a:pt x="556" y="154"/>
                    <a:pt x="553" y="154"/>
                  </a:cubicBezTo>
                  <a:cubicBezTo>
                    <a:pt x="553" y="154"/>
                    <a:pt x="553" y="154"/>
                    <a:pt x="553" y="154"/>
                  </a:cubicBezTo>
                  <a:cubicBezTo>
                    <a:pt x="553" y="154"/>
                    <a:pt x="553" y="154"/>
                    <a:pt x="553" y="154"/>
                  </a:cubicBezTo>
                  <a:cubicBezTo>
                    <a:pt x="552" y="153"/>
                    <a:pt x="550" y="152"/>
                    <a:pt x="548" y="152"/>
                  </a:cubicBezTo>
                  <a:cubicBezTo>
                    <a:pt x="547" y="152"/>
                    <a:pt x="546" y="153"/>
                    <a:pt x="545" y="153"/>
                  </a:cubicBezTo>
                  <a:cubicBezTo>
                    <a:pt x="543" y="154"/>
                    <a:pt x="541" y="156"/>
                    <a:pt x="541" y="159"/>
                  </a:cubicBezTo>
                  <a:cubicBezTo>
                    <a:pt x="541" y="159"/>
                    <a:pt x="541" y="159"/>
                    <a:pt x="541" y="159"/>
                  </a:cubicBezTo>
                  <a:cubicBezTo>
                    <a:pt x="541" y="159"/>
                    <a:pt x="518" y="163"/>
                    <a:pt x="489" y="167"/>
                  </a:cubicBezTo>
                  <a:cubicBezTo>
                    <a:pt x="497" y="144"/>
                    <a:pt x="507" y="115"/>
                    <a:pt x="509" y="115"/>
                  </a:cubicBezTo>
                  <a:cubicBezTo>
                    <a:pt x="509" y="115"/>
                    <a:pt x="509" y="115"/>
                    <a:pt x="509" y="115"/>
                  </a:cubicBezTo>
                  <a:cubicBezTo>
                    <a:pt x="509" y="115"/>
                    <a:pt x="509" y="115"/>
                    <a:pt x="509" y="115"/>
                  </a:cubicBezTo>
                  <a:cubicBezTo>
                    <a:pt x="509" y="115"/>
                    <a:pt x="510" y="115"/>
                    <a:pt x="510" y="115"/>
                  </a:cubicBezTo>
                  <a:cubicBezTo>
                    <a:pt x="512" y="115"/>
                    <a:pt x="513" y="115"/>
                    <a:pt x="515" y="115"/>
                  </a:cubicBezTo>
                  <a:cubicBezTo>
                    <a:pt x="520" y="112"/>
                    <a:pt x="522" y="107"/>
                    <a:pt x="519" y="102"/>
                  </a:cubicBezTo>
                  <a:cubicBezTo>
                    <a:pt x="518" y="98"/>
                    <a:pt x="514" y="96"/>
                    <a:pt x="510" y="96"/>
                  </a:cubicBezTo>
                  <a:cubicBezTo>
                    <a:pt x="509" y="96"/>
                    <a:pt x="507" y="97"/>
                    <a:pt x="506" y="97"/>
                  </a:cubicBezTo>
                  <a:cubicBezTo>
                    <a:pt x="504" y="98"/>
                    <a:pt x="503" y="99"/>
                    <a:pt x="502" y="100"/>
                  </a:cubicBezTo>
                  <a:cubicBezTo>
                    <a:pt x="502" y="100"/>
                    <a:pt x="502" y="100"/>
                    <a:pt x="502" y="100"/>
                  </a:cubicBezTo>
                  <a:cubicBezTo>
                    <a:pt x="502" y="100"/>
                    <a:pt x="502" y="100"/>
                    <a:pt x="502" y="100"/>
                  </a:cubicBezTo>
                  <a:cubicBezTo>
                    <a:pt x="498" y="100"/>
                    <a:pt x="453" y="77"/>
                    <a:pt x="454" y="75"/>
                  </a:cubicBezTo>
                  <a:cubicBezTo>
                    <a:pt x="454" y="75"/>
                    <a:pt x="454" y="75"/>
                    <a:pt x="454" y="75"/>
                  </a:cubicBezTo>
                  <a:cubicBezTo>
                    <a:pt x="455" y="73"/>
                    <a:pt x="455" y="69"/>
                    <a:pt x="453" y="67"/>
                  </a:cubicBezTo>
                  <a:cubicBezTo>
                    <a:pt x="451" y="62"/>
                    <a:pt x="447" y="60"/>
                    <a:pt x="443" y="60"/>
                  </a:cubicBezTo>
                  <a:cubicBezTo>
                    <a:pt x="441" y="60"/>
                    <a:pt x="439" y="60"/>
                    <a:pt x="438" y="61"/>
                  </a:cubicBezTo>
                  <a:cubicBezTo>
                    <a:pt x="433" y="63"/>
                    <a:pt x="431" y="67"/>
                    <a:pt x="431" y="71"/>
                  </a:cubicBezTo>
                  <a:cubicBezTo>
                    <a:pt x="431" y="71"/>
                    <a:pt x="431" y="71"/>
                    <a:pt x="431" y="71"/>
                  </a:cubicBezTo>
                  <a:cubicBezTo>
                    <a:pt x="431" y="73"/>
                    <a:pt x="295" y="88"/>
                    <a:pt x="278" y="88"/>
                  </a:cubicBezTo>
                  <a:cubicBezTo>
                    <a:pt x="277" y="88"/>
                    <a:pt x="277" y="88"/>
                    <a:pt x="277" y="88"/>
                  </a:cubicBezTo>
                  <a:cubicBezTo>
                    <a:pt x="277" y="88"/>
                    <a:pt x="277" y="88"/>
                    <a:pt x="277" y="88"/>
                  </a:cubicBezTo>
                  <a:cubicBezTo>
                    <a:pt x="276" y="88"/>
                    <a:pt x="276" y="87"/>
                    <a:pt x="276" y="86"/>
                  </a:cubicBezTo>
                  <a:cubicBezTo>
                    <a:pt x="274" y="82"/>
                    <a:pt x="270" y="80"/>
                    <a:pt x="265" y="80"/>
                  </a:cubicBezTo>
                  <a:cubicBezTo>
                    <a:pt x="263" y="80"/>
                    <a:pt x="262" y="80"/>
                    <a:pt x="260" y="81"/>
                  </a:cubicBezTo>
                  <a:cubicBezTo>
                    <a:pt x="254" y="84"/>
                    <a:pt x="251" y="90"/>
                    <a:pt x="254" y="96"/>
                  </a:cubicBezTo>
                  <a:cubicBezTo>
                    <a:pt x="256" y="99"/>
                    <a:pt x="258" y="101"/>
                    <a:pt x="260" y="102"/>
                  </a:cubicBezTo>
                  <a:cubicBezTo>
                    <a:pt x="260" y="102"/>
                    <a:pt x="260" y="102"/>
                    <a:pt x="260" y="102"/>
                  </a:cubicBezTo>
                  <a:cubicBezTo>
                    <a:pt x="262" y="103"/>
                    <a:pt x="250" y="143"/>
                    <a:pt x="249" y="143"/>
                  </a:cubicBezTo>
                  <a:cubicBezTo>
                    <a:pt x="249" y="143"/>
                    <a:pt x="249" y="143"/>
                    <a:pt x="249" y="143"/>
                  </a:cubicBezTo>
                  <a:cubicBezTo>
                    <a:pt x="249" y="143"/>
                    <a:pt x="249" y="143"/>
                    <a:pt x="249" y="143"/>
                  </a:cubicBezTo>
                  <a:cubicBezTo>
                    <a:pt x="249" y="143"/>
                    <a:pt x="249" y="143"/>
                    <a:pt x="249" y="143"/>
                  </a:cubicBezTo>
                  <a:cubicBezTo>
                    <a:pt x="248" y="143"/>
                    <a:pt x="248" y="143"/>
                    <a:pt x="247" y="143"/>
                  </a:cubicBezTo>
                  <a:cubicBezTo>
                    <a:pt x="246" y="144"/>
                    <a:pt x="245" y="145"/>
                    <a:pt x="245" y="146"/>
                  </a:cubicBezTo>
                  <a:cubicBezTo>
                    <a:pt x="245" y="146"/>
                    <a:pt x="245" y="146"/>
                    <a:pt x="245" y="146"/>
                  </a:cubicBezTo>
                  <a:cubicBezTo>
                    <a:pt x="245" y="146"/>
                    <a:pt x="245" y="146"/>
                    <a:pt x="244" y="146"/>
                  </a:cubicBezTo>
                  <a:cubicBezTo>
                    <a:pt x="237" y="146"/>
                    <a:pt x="185" y="141"/>
                    <a:pt x="185" y="140"/>
                  </a:cubicBezTo>
                  <a:cubicBezTo>
                    <a:pt x="185" y="140"/>
                    <a:pt x="185" y="140"/>
                    <a:pt x="185" y="140"/>
                  </a:cubicBezTo>
                  <a:cubicBezTo>
                    <a:pt x="185" y="139"/>
                    <a:pt x="185" y="138"/>
                    <a:pt x="184" y="138"/>
                  </a:cubicBezTo>
                  <a:cubicBezTo>
                    <a:pt x="184" y="137"/>
                    <a:pt x="184" y="137"/>
                    <a:pt x="184" y="137"/>
                  </a:cubicBezTo>
                  <a:cubicBezTo>
                    <a:pt x="184" y="137"/>
                    <a:pt x="184" y="137"/>
                    <a:pt x="184" y="137"/>
                  </a:cubicBezTo>
                  <a:cubicBezTo>
                    <a:pt x="183" y="136"/>
                    <a:pt x="209" y="113"/>
                    <a:pt x="211" y="113"/>
                  </a:cubicBezTo>
                  <a:cubicBezTo>
                    <a:pt x="211" y="113"/>
                    <a:pt x="211" y="113"/>
                    <a:pt x="211" y="113"/>
                  </a:cubicBezTo>
                  <a:cubicBezTo>
                    <a:pt x="210" y="113"/>
                    <a:pt x="210" y="113"/>
                    <a:pt x="210" y="113"/>
                  </a:cubicBezTo>
                  <a:cubicBezTo>
                    <a:pt x="211" y="114"/>
                    <a:pt x="212" y="114"/>
                    <a:pt x="214" y="114"/>
                  </a:cubicBezTo>
                  <a:cubicBezTo>
                    <a:pt x="214" y="114"/>
                    <a:pt x="215" y="114"/>
                    <a:pt x="216" y="114"/>
                  </a:cubicBezTo>
                  <a:cubicBezTo>
                    <a:pt x="218" y="113"/>
                    <a:pt x="219" y="110"/>
                    <a:pt x="218" y="107"/>
                  </a:cubicBezTo>
                  <a:cubicBezTo>
                    <a:pt x="217" y="106"/>
                    <a:pt x="215" y="105"/>
                    <a:pt x="214" y="105"/>
                  </a:cubicBezTo>
                  <a:cubicBezTo>
                    <a:pt x="213" y="105"/>
                    <a:pt x="212" y="105"/>
                    <a:pt x="211" y="105"/>
                  </a:cubicBezTo>
                  <a:cubicBezTo>
                    <a:pt x="211" y="106"/>
                    <a:pt x="211" y="106"/>
                    <a:pt x="211" y="106"/>
                  </a:cubicBezTo>
                  <a:cubicBezTo>
                    <a:pt x="211" y="106"/>
                    <a:pt x="211" y="106"/>
                    <a:pt x="211" y="106"/>
                  </a:cubicBezTo>
                  <a:cubicBezTo>
                    <a:pt x="211" y="106"/>
                    <a:pt x="211" y="106"/>
                    <a:pt x="211" y="106"/>
                  </a:cubicBezTo>
                  <a:cubicBezTo>
                    <a:pt x="209" y="106"/>
                    <a:pt x="175" y="72"/>
                    <a:pt x="176" y="70"/>
                  </a:cubicBezTo>
                  <a:cubicBezTo>
                    <a:pt x="176" y="70"/>
                    <a:pt x="176" y="70"/>
                    <a:pt x="176" y="70"/>
                  </a:cubicBezTo>
                  <a:cubicBezTo>
                    <a:pt x="177" y="69"/>
                    <a:pt x="178" y="67"/>
                    <a:pt x="178" y="65"/>
                  </a:cubicBezTo>
                  <a:cubicBezTo>
                    <a:pt x="178" y="59"/>
                    <a:pt x="174" y="55"/>
                    <a:pt x="168" y="55"/>
                  </a:cubicBezTo>
                  <a:cubicBezTo>
                    <a:pt x="163" y="55"/>
                    <a:pt x="158" y="59"/>
                    <a:pt x="158" y="65"/>
                  </a:cubicBezTo>
                  <a:cubicBezTo>
                    <a:pt x="158" y="68"/>
                    <a:pt x="160" y="70"/>
                    <a:pt x="162" y="72"/>
                  </a:cubicBezTo>
                  <a:cubicBezTo>
                    <a:pt x="162" y="72"/>
                    <a:pt x="162" y="72"/>
                    <a:pt x="162" y="72"/>
                  </a:cubicBezTo>
                  <a:cubicBezTo>
                    <a:pt x="164" y="73"/>
                    <a:pt x="131" y="132"/>
                    <a:pt x="127" y="132"/>
                  </a:cubicBezTo>
                  <a:cubicBezTo>
                    <a:pt x="127" y="132"/>
                    <a:pt x="127" y="132"/>
                    <a:pt x="127" y="132"/>
                  </a:cubicBezTo>
                  <a:cubicBezTo>
                    <a:pt x="127" y="132"/>
                    <a:pt x="127" y="132"/>
                    <a:pt x="127" y="132"/>
                  </a:cubicBezTo>
                  <a:cubicBezTo>
                    <a:pt x="126" y="132"/>
                    <a:pt x="124" y="132"/>
                    <a:pt x="122" y="132"/>
                  </a:cubicBezTo>
                  <a:cubicBezTo>
                    <a:pt x="121" y="132"/>
                    <a:pt x="120" y="132"/>
                    <a:pt x="119" y="132"/>
                  </a:cubicBezTo>
                  <a:cubicBezTo>
                    <a:pt x="119" y="132"/>
                    <a:pt x="119" y="132"/>
                    <a:pt x="119" y="132"/>
                  </a:cubicBezTo>
                  <a:cubicBezTo>
                    <a:pt x="119" y="132"/>
                    <a:pt x="119" y="132"/>
                    <a:pt x="119" y="132"/>
                  </a:cubicBezTo>
                  <a:cubicBezTo>
                    <a:pt x="118" y="132"/>
                    <a:pt x="113" y="122"/>
                    <a:pt x="109" y="112"/>
                  </a:cubicBezTo>
                  <a:cubicBezTo>
                    <a:pt x="113" y="122"/>
                    <a:pt x="117" y="133"/>
                    <a:pt x="115" y="133"/>
                  </a:cubicBezTo>
                  <a:cubicBezTo>
                    <a:pt x="116" y="133"/>
                    <a:pt x="116" y="133"/>
                    <a:pt x="116" y="133"/>
                  </a:cubicBezTo>
                  <a:cubicBezTo>
                    <a:pt x="115" y="133"/>
                    <a:pt x="115" y="133"/>
                    <a:pt x="115" y="133"/>
                  </a:cubicBezTo>
                  <a:cubicBezTo>
                    <a:pt x="115" y="133"/>
                    <a:pt x="115" y="133"/>
                    <a:pt x="115" y="133"/>
                  </a:cubicBezTo>
                  <a:cubicBezTo>
                    <a:pt x="115" y="133"/>
                    <a:pt x="115" y="133"/>
                    <a:pt x="115" y="133"/>
                  </a:cubicBezTo>
                  <a:cubicBezTo>
                    <a:pt x="112" y="133"/>
                    <a:pt x="26" y="30"/>
                    <a:pt x="14" y="13"/>
                  </a:cubicBezTo>
                  <a:cubicBezTo>
                    <a:pt x="28" y="23"/>
                    <a:pt x="95" y="83"/>
                    <a:pt x="95" y="84"/>
                  </a:cubicBezTo>
                  <a:cubicBezTo>
                    <a:pt x="95" y="84"/>
                    <a:pt x="95" y="84"/>
                    <a:pt x="95" y="84"/>
                  </a:cubicBezTo>
                  <a:cubicBezTo>
                    <a:pt x="94" y="85"/>
                    <a:pt x="94" y="86"/>
                    <a:pt x="95" y="88"/>
                  </a:cubicBezTo>
                  <a:cubicBezTo>
                    <a:pt x="95" y="89"/>
                    <a:pt x="97" y="90"/>
                    <a:pt x="98" y="90"/>
                  </a:cubicBezTo>
                  <a:cubicBezTo>
                    <a:pt x="99" y="90"/>
                    <a:pt x="99" y="90"/>
                    <a:pt x="99" y="90"/>
                  </a:cubicBezTo>
                  <a:cubicBezTo>
                    <a:pt x="99" y="90"/>
                    <a:pt x="99" y="90"/>
                    <a:pt x="99" y="90"/>
                  </a:cubicBezTo>
                  <a:cubicBezTo>
                    <a:pt x="99" y="90"/>
                    <a:pt x="99" y="90"/>
                    <a:pt x="99" y="90"/>
                  </a:cubicBezTo>
                  <a:cubicBezTo>
                    <a:pt x="100" y="90"/>
                    <a:pt x="103" y="97"/>
                    <a:pt x="106" y="105"/>
                  </a:cubicBezTo>
                  <a:cubicBezTo>
                    <a:pt x="103" y="97"/>
                    <a:pt x="100" y="90"/>
                    <a:pt x="101" y="90"/>
                  </a:cubicBezTo>
                  <a:cubicBezTo>
                    <a:pt x="100" y="90"/>
                    <a:pt x="100" y="90"/>
                    <a:pt x="100" y="90"/>
                  </a:cubicBezTo>
                  <a:cubicBezTo>
                    <a:pt x="102" y="89"/>
                    <a:pt x="103" y="86"/>
                    <a:pt x="102" y="84"/>
                  </a:cubicBezTo>
                  <a:cubicBezTo>
                    <a:pt x="102" y="83"/>
                    <a:pt x="100" y="82"/>
                    <a:pt x="98" y="82"/>
                  </a:cubicBezTo>
                  <a:cubicBezTo>
                    <a:pt x="98" y="82"/>
                    <a:pt x="97" y="82"/>
                    <a:pt x="97" y="83"/>
                  </a:cubicBezTo>
                  <a:cubicBezTo>
                    <a:pt x="96" y="83"/>
                    <a:pt x="96" y="83"/>
                    <a:pt x="96" y="83"/>
                  </a:cubicBezTo>
                  <a:cubicBezTo>
                    <a:pt x="96" y="83"/>
                    <a:pt x="96" y="83"/>
                    <a:pt x="96" y="83"/>
                  </a:cubicBezTo>
                  <a:cubicBezTo>
                    <a:pt x="96" y="83"/>
                    <a:pt x="96" y="83"/>
                    <a:pt x="96" y="83"/>
                  </a:cubicBezTo>
                  <a:cubicBezTo>
                    <a:pt x="95" y="83"/>
                    <a:pt x="13" y="11"/>
                    <a:pt x="13" y="10"/>
                  </a:cubicBezTo>
                  <a:cubicBezTo>
                    <a:pt x="13" y="10"/>
                    <a:pt x="13" y="10"/>
                    <a:pt x="13" y="10"/>
                  </a:cubicBezTo>
                  <a:cubicBezTo>
                    <a:pt x="15" y="8"/>
                    <a:pt x="15" y="6"/>
                    <a:pt x="14" y="3"/>
                  </a:cubicBezTo>
                  <a:cubicBezTo>
                    <a:pt x="13" y="1"/>
                    <a:pt x="10" y="0"/>
                    <a:pt x="8"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8" name="Freeform 10"/>
            <p:cNvSpPr>
              <a:spLocks noEditPoints="1"/>
            </p:cNvSpPr>
            <p:nvPr/>
          </p:nvSpPr>
          <p:spPr bwMode="auto">
            <a:xfrm>
              <a:off x="6415088" y="4025900"/>
              <a:ext cx="315913" cy="323850"/>
            </a:xfrm>
            <a:custGeom>
              <a:avLst/>
              <a:gdLst>
                <a:gd name="T0" fmla="*/ 14 w 84"/>
                <a:gd name="T1" fmla="*/ 43 h 86"/>
                <a:gd name="T2" fmla="*/ 45 w 84"/>
                <a:gd name="T3" fmla="*/ 13 h 86"/>
                <a:gd name="T4" fmla="*/ 45 w 84"/>
                <a:gd name="T5" fmla="*/ 13 h 86"/>
                <a:gd name="T6" fmla="*/ 45 w 84"/>
                <a:gd name="T7" fmla="*/ 13 h 86"/>
                <a:gd name="T8" fmla="*/ 49 w 84"/>
                <a:gd name="T9" fmla="*/ 14 h 86"/>
                <a:gd name="T10" fmla="*/ 52 w 84"/>
                <a:gd name="T11" fmla="*/ 14 h 86"/>
                <a:gd name="T12" fmla="*/ 52 w 84"/>
                <a:gd name="T13" fmla="*/ 14 h 86"/>
                <a:gd name="T14" fmla="*/ 52 w 84"/>
                <a:gd name="T15" fmla="*/ 14 h 86"/>
                <a:gd name="T16" fmla="*/ 76 w 84"/>
                <a:gd name="T17" fmla="*/ 49 h 86"/>
                <a:gd name="T18" fmla="*/ 76 w 84"/>
                <a:gd name="T19" fmla="*/ 49 h 86"/>
                <a:gd name="T20" fmla="*/ 74 w 84"/>
                <a:gd name="T21" fmla="*/ 53 h 86"/>
                <a:gd name="T22" fmla="*/ 74 w 84"/>
                <a:gd name="T23" fmla="*/ 55 h 86"/>
                <a:gd name="T24" fmla="*/ 74 w 84"/>
                <a:gd name="T25" fmla="*/ 55 h 86"/>
                <a:gd name="T26" fmla="*/ 42 w 84"/>
                <a:gd name="T27" fmla="*/ 80 h 86"/>
                <a:gd name="T28" fmla="*/ 42 w 84"/>
                <a:gd name="T29" fmla="*/ 80 h 86"/>
                <a:gd name="T30" fmla="*/ 42 w 84"/>
                <a:gd name="T31" fmla="*/ 80 h 86"/>
                <a:gd name="T32" fmla="*/ 39 w 84"/>
                <a:gd name="T33" fmla="*/ 79 h 86"/>
                <a:gd name="T34" fmla="*/ 37 w 84"/>
                <a:gd name="T35" fmla="*/ 79 h 86"/>
                <a:gd name="T36" fmla="*/ 37 w 84"/>
                <a:gd name="T37" fmla="*/ 79 h 86"/>
                <a:gd name="T38" fmla="*/ 37 w 84"/>
                <a:gd name="T39" fmla="*/ 79 h 86"/>
                <a:gd name="T40" fmla="*/ 37 w 84"/>
                <a:gd name="T41" fmla="*/ 79 h 86"/>
                <a:gd name="T42" fmla="*/ 14 w 84"/>
                <a:gd name="T43" fmla="*/ 52 h 86"/>
                <a:gd name="T44" fmla="*/ 14 w 84"/>
                <a:gd name="T45" fmla="*/ 52 h 86"/>
                <a:gd name="T46" fmla="*/ 15 w 84"/>
                <a:gd name="T47" fmla="*/ 48 h 86"/>
                <a:gd name="T48" fmla="*/ 14 w 84"/>
                <a:gd name="T49" fmla="*/ 43 h 86"/>
                <a:gd name="T50" fmla="*/ 14 w 84"/>
                <a:gd name="T51" fmla="*/ 43 h 86"/>
                <a:gd name="T52" fmla="*/ 49 w 84"/>
                <a:gd name="T53" fmla="*/ 0 h 86"/>
                <a:gd name="T54" fmla="*/ 46 w 84"/>
                <a:gd name="T55" fmla="*/ 0 h 86"/>
                <a:gd name="T56" fmla="*/ 42 w 84"/>
                <a:gd name="T57" fmla="*/ 10 h 86"/>
                <a:gd name="T58" fmla="*/ 43 w 84"/>
                <a:gd name="T59" fmla="*/ 11 h 86"/>
                <a:gd name="T60" fmla="*/ 43 w 84"/>
                <a:gd name="T61" fmla="*/ 11 h 86"/>
                <a:gd name="T62" fmla="*/ 12 w 84"/>
                <a:gd name="T63" fmla="*/ 42 h 86"/>
                <a:gd name="T64" fmla="*/ 12 w 84"/>
                <a:gd name="T65" fmla="*/ 42 h 86"/>
                <a:gd name="T66" fmla="*/ 12 w 84"/>
                <a:gd name="T67" fmla="*/ 42 h 86"/>
                <a:gd name="T68" fmla="*/ 8 w 84"/>
                <a:gd name="T69" fmla="*/ 40 h 86"/>
                <a:gd name="T70" fmla="*/ 0 w 84"/>
                <a:gd name="T71" fmla="*/ 48 h 86"/>
                <a:gd name="T72" fmla="*/ 8 w 84"/>
                <a:gd name="T73" fmla="*/ 55 h 86"/>
                <a:gd name="T74" fmla="*/ 12 w 84"/>
                <a:gd name="T75" fmla="*/ 54 h 86"/>
                <a:gd name="T76" fmla="*/ 12 w 84"/>
                <a:gd name="T77" fmla="*/ 54 h 86"/>
                <a:gd name="T78" fmla="*/ 12 w 84"/>
                <a:gd name="T79" fmla="*/ 54 h 86"/>
                <a:gd name="T80" fmla="*/ 36 w 84"/>
                <a:gd name="T81" fmla="*/ 80 h 86"/>
                <a:gd name="T82" fmla="*/ 36 w 84"/>
                <a:gd name="T83" fmla="*/ 80 h 86"/>
                <a:gd name="T84" fmla="*/ 35 w 84"/>
                <a:gd name="T85" fmla="*/ 84 h 86"/>
                <a:gd name="T86" fmla="*/ 39 w 84"/>
                <a:gd name="T87" fmla="*/ 86 h 86"/>
                <a:gd name="T88" fmla="*/ 41 w 84"/>
                <a:gd name="T89" fmla="*/ 86 h 86"/>
                <a:gd name="T90" fmla="*/ 43 w 84"/>
                <a:gd name="T91" fmla="*/ 81 h 86"/>
                <a:gd name="T92" fmla="*/ 42 w 84"/>
                <a:gd name="T93" fmla="*/ 81 h 86"/>
                <a:gd name="T94" fmla="*/ 42 w 84"/>
                <a:gd name="T95" fmla="*/ 81 h 86"/>
                <a:gd name="T96" fmla="*/ 75 w 84"/>
                <a:gd name="T97" fmla="*/ 56 h 86"/>
                <a:gd name="T98" fmla="*/ 75 w 84"/>
                <a:gd name="T99" fmla="*/ 56 h 86"/>
                <a:gd name="T100" fmla="*/ 75 w 84"/>
                <a:gd name="T101" fmla="*/ 56 h 86"/>
                <a:gd name="T102" fmla="*/ 79 w 84"/>
                <a:gd name="T103" fmla="*/ 58 h 86"/>
                <a:gd name="T104" fmla="*/ 84 w 84"/>
                <a:gd name="T105" fmla="*/ 53 h 86"/>
                <a:gd name="T106" fmla="*/ 79 w 84"/>
                <a:gd name="T107" fmla="*/ 48 h 86"/>
                <a:gd name="T108" fmla="*/ 77 w 84"/>
                <a:gd name="T109" fmla="*/ 48 h 86"/>
                <a:gd name="T110" fmla="*/ 77 w 84"/>
                <a:gd name="T111" fmla="*/ 48 h 86"/>
                <a:gd name="T112" fmla="*/ 54 w 84"/>
                <a:gd name="T113" fmla="*/ 13 h 86"/>
                <a:gd name="T114" fmla="*/ 54 w 84"/>
                <a:gd name="T115" fmla="*/ 13 h 86"/>
                <a:gd name="T116" fmla="*/ 56 w 84"/>
                <a:gd name="T117" fmla="*/ 4 h 86"/>
                <a:gd name="T118" fmla="*/ 49 w 84"/>
                <a:gd name="T11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6">
                  <a:moveTo>
                    <a:pt x="14" y="43"/>
                  </a:moveTo>
                  <a:cubicBezTo>
                    <a:pt x="13" y="42"/>
                    <a:pt x="43" y="13"/>
                    <a:pt x="45" y="13"/>
                  </a:cubicBezTo>
                  <a:cubicBezTo>
                    <a:pt x="45" y="13"/>
                    <a:pt x="45" y="13"/>
                    <a:pt x="45" y="13"/>
                  </a:cubicBezTo>
                  <a:cubicBezTo>
                    <a:pt x="45" y="13"/>
                    <a:pt x="45" y="13"/>
                    <a:pt x="45" y="13"/>
                  </a:cubicBezTo>
                  <a:cubicBezTo>
                    <a:pt x="46" y="14"/>
                    <a:pt x="48" y="14"/>
                    <a:pt x="49" y="14"/>
                  </a:cubicBezTo>
                  <a:cubicBezTo>
                    <a:pt x="50" y="14"/>
                    <a:pt x="51" y="14"/>
                    <a:pt x="52" y="14"/>
                  </a:cubicBezTo>
                  <a:cubicBezTo>
                    <a:pt x="52" y="14"/>
                    <a:pt x="52" y="14"/>
                    <a:pt x="52" y="14"/>
                  </a:cubicBezTo>
                  <a:cubicBezTo>
                    <a:pt x="52" y="14"/>
                    <a:pt x="52" y="14"/>
                    <a:pt x="52" y="14"/>
                  </a:cubicBezTo>
                  <a:cubicBezTo>
                    <a:pt x="54" y="14"/>
                    <a:pt x="76" y="48"/>
                    <a:pt x="76" y="49"/>
                  </a:cubicBezTo>
                  <a:cubicBezTo>
                    <a:pt x="76" y="49"/>
                    <a:pt x="76" y="49"/>
                    <a:pt x="76" y="49"/>
                  </a:cubicBezTo>
                  <a:cubicBezTo>
                    <a:pt x="75" y="50"/>
                    <a:pt x="74" y="51"/>
                    <a:pt x="74" y="53"/>
                  </a:cubicBezTo>
                  <a:cubicBezTo>
                    <a:pt x="74" y="54"/>
                    <a:pt x="74" y="54"/>
                    <a:pt x="74" y="55"/>
                  </a:cubicBezTo>
                  <a:cubicBezTo>
                    <a:pt x="74" y="55"/>
                    <a:pt x="74" y="55"/>
                    <a:pt x="74" y="55"/>
                  </a:cubicBezTo>
                  <a:cubicBezTo>
                    <a:pt x="75" y="56"/>
                    <a:pt x="43" y="80"/>
                    <a:pt x="42" y="80"/>
                  </a:cubicBezTo>
                  <a:cubicBezTo>
                    <a:pt x="42" y="80"/>
                    <a:pt x="42" y="80"/>
                    <a:pt x="42" y="80"/>
                  </a:cubicBezTo>
                  <a:cubicBezTo>
                    <a:pt x="42" y="80"/>
                    <a:pt x="42" y="80"/>
                    <a:pt x="42" y="80"/>
                  </a:cubicBezTo>
                  <a:cubicBezTo>
                    <a:pt x="41" y="79"/>
                    <a:pt x="40" y="79"/>
                    <a:pt x="39" y="79"/>
                  </a:cubicBezTo>
                  <a:cubicBezTo>
                    <a:pt x="38" y="79"/>
                    <a:pt x="38" y="79"/>
                    <a:pt x="37" y="79"/>
                  </a:cubicBezTo>
                  <a:cubicBezTo>
                    <a:pt x="37" y="79"/>
                    <a:pt x="37" y="79"/>
                    <a:pt x="37" y="79"/>
                  </a:cubicBezTo>
                  <a:cubicBezTo>
                    <a:pt x="37" y="79"/>
                    <a:pt x="37" y="79"/>
                    <a:pt x="37" y="79"/>
                  </a:cubicBezTo>
                  <a:cubicBezTo>
                    <a:pt x="37" y="79"/>
                    <a:pt x="37" y="79"/>
                    <a:pt x="37" y="79"/>
                  </a:cubicBezTo>
                  <a:cubicBezTo>
                    <a:pt x="36" y="79"/>
                    <a:pt x="13" y="54"/>
                    <a:pt x="14" y="52"/>
                  </a:cubicBezTo>
                  <a:cubicBezTo>
                    <a:pt x="14" y="52"/>
                    <a:pt x="14" y="52"/>
                    <a:pt x="14" y="52"/>
                  </a:cubicBezTo>
                  <a:cubicBezTo>
                    <a:pt x="15" y="51"/>
                    <a:pt x="15" y="49"/>
                    <a:pt x="15" y="48"/>
                  </a:cubicBezTo>
                  <a:cubicBezTo>
                    <a:pt x="15" y="46"/>
                    <a:pt x="15" y="44"/>
                    <a:pt x="14" y="43"/>
                  </a:cubicBezTo>
                  <a:cubicBezTo>
                    <a:pt x="14" y="43"/>
                    <a:pt x="14" y="43"/>
                    <a:pt x="14" y="43"/>
                  </a:cubicBezTo>
                  <a:moveTo>
                    <a:pt x="49" y="0"/>
                  </a:moveTo>
                  <a:cubicBezTo>
                    <a:pt x="48" y="0"/>
                    <a:pt x="47" y="0"/>
                    <a:pt x="46" y="0"/>
                  </a:cubicBezTo>
                  <a:cubicBezTo>
                    <a:pt x="42" y="2"/>
                    <a:pt x="41" y="7"/>
                    <a:pt x="42" y="10"/>
                  </a:cubicBezTo>
                  <a:cubicBezTo>
                    <a:pt x="43" y="11"/>
                    <a:pt x="43" y="11"/>
                    <a:pt x="43" y="11"/>
                  </a:cubicBezTo>
                  <a:cubicBezTo>
                    <a:pt x="43" y="11"/>
                    <a:pt x="43" y="11"/>
                    <a:pt x="43" y="11"/>
                  </a:cubicBezTo>
                  <a:cubicBezTo>
                    <a:pt x="44" y="13"/>
                    <a:pt x="14" y="42"/>
                    <a:pt x="12" y="42"/>
                  </a:cubicBezTo>
                  <a:cubicBezTo>
                    <a:pt x="12" y="42"/>
                    <a:pt x="12" y="42"/>
                    <a:pt x="12" y="42"/>
                  </a:cubicBezTo>
                  <a:cubicBezTo>
                    <a:pt x="12" y="42"/>
                    <a:pt x="12" y="42"/>
                    <a:pt x="12" y="42"/>
                  </a:cubicBezTo>
                  <a:cubicBezTo>
                    <a:pt x="11" y="41"/>
                    <a:pt x="9" y="40"/>
                    <a:pt x="8" y="40"/>
                  </a:cubicBezTo>
                  <a:cubicBezTo>
                    <a:pt x="4" y="40"/>
                    <a:pt x="0" y="44"/>
                    <a:pt x="0" y="48"/>
                  </a:cubicBezTo>
                  <a:cubicBezTo>
                    <a:pt x="0" y="52"/>
                    <a:pt x="4" y="55"/>
                    <a:pt x="8" y="55"/>
                  </a:cubicBezTo>
                  <a:cubicBezTo>
                    <a:pt x="9" y="55"/>
                    <a:pt x="11" y="55"/>
                    <a:pt x="12" y="54"/>
                  </a:cubicBezTo>
                  <a:cubicBezTo>
                    <a:pt x="12" y="54"/>
                    <a:pt x="12" y="54"/>
                    <a:pt x="12" y="54"/>
                  </a:cubicBezTo>
                  <a:cubicBezTo>
                    <a:pt x="12" y="54"/>
                    <a:pt x="12" y="54"/>
                    <a:pt x="12" y="54"/>
                  </a:cubicBezTo>
                  <a:cubicBezTo>
                    <a:pt x="14" y="54"/>
                    <a:pt x="36" y="79"/>
                    <a:pt x="36" y="80"/>
                  </a:cubicBezTo>
                  <a:cubicBezTo>
                    <a:pt x="36" y="80"/>
                    <a:pt x="36" y="80"/>
                    <a:pt x="36" y="80"/>
                  </a:cubicBezTo>
                  <a:cubicBezTo>
                    <a:pt x="35" y="81"/>
                    <a:pt x="35" y="83"/>
                    <a:pt x="35" y="84"/>
                  </a:cubicBezTo>
                  <a:cubicBezTo>
                    <a:pt x="36" y="85"/>
                    <a:pt x="37" y="86"/>
                    <a:pt x="39" y="86"/>
                  </a:cubicBezTo>
                  <a:cubicBezTo>
                    <a:pt x="40" y="86"/>
                    <a:pt x="40" y="86"/>
                    <a:pt x="41" y="86"/>
                  </a:cubicBezTo>
                  <a:cubicBezTo>
                    <a:pt x="43" y="85"/>
                    <a:pt x="44" y="83"/>
                    <a:pt x="43" y="81"/>
                  </a:cubicBezTo>
                  <a:cubicBezTo>
                    <a:pt x="42" y="81"/>
                    <a:pt x="42" y="81"/>
                    <a:pt x="42" y="81"/>
                  </a:cubicBezTo>
                  <a:cubicBezTo>
                    <a:pt x="42" y="81"/>
                    <a:pt x="42" y="81"/>
                    <a:pt x="42" y="81"/>
                  </a:cubicBezTo>
                  <a:cubicBezTo>
                    <a:pt x="42" y="80"/>
                    <a:pt x="74" y="56"/>
                    <a:pt x="75" y="56"/>
                  </a:cubicBezTo>
                  <a:cubicBezTo>
                    <a:pt x="75" y="56"/>
                    <a:pt x="75" y="56"/>
                    <a:pt x="75" y="56"/>
                  </a:cubicBezTo>
                  <a:cubicBezTo>
                    <a:pt x="75" y="56"/>
                    <a:pt x="75" y="56"/>
                    <a:pt x="75" y="56"/>
                  </a:cubicBezTo>
                  <a:cubicBezTo>
                    <a:pt x="76" y="57"/>
                    <a:pt x="78" y="58"/>
                    <a:pt x="79" y="58"/>
                  </a:cubicBezTo>
                  <a:cubicBezTo>
                    <a:pt x="82" y="58"/>
                    <a:pt x="84" y="55"/>
                    <a:pt x="84" y="53"/>
                  </a:cubicBezTo>
                  <a:cubicBezTo>
                    <a:pt x="84" y="50"/>
                    <a:pt x="82" y="48"/>
                    <a:pt x="79" y="48"/>
                  </a:cubicBezTo>
                  <a:cubicBezTo>
                    <a:pt x="78" y="48"/>
                    <a:pt x="78" y="48"/>
                    <a:pt x="77" y="48"/>
                  </a:cubicBezTo>
                  <a:cubicBezTo>
                    <a:pt x="77" y="48"/>
                    <a:pt x="77" y="48"/>
                    <a:pt x="77" y="48"/>
                  </a:cubicBezTo>
                  <a:cubicBezTo>
                    <a:pt x="76" y="48"/>
                    <a:pt x="53" y="14"/>
                    <a:pt x="54" y="13"/>
                  </a:cubicBezTo>
                  <a:cubicBezTo>
                    <a:pt x="54" y="13"/>
                    <a:pt x="54" y="13"/>
                    <a:pt x="54" y="13"/>
                  </a:cubicBezTo>
                  <a:cubicBezTo>
                    <a:pt x="57" y="11"/>
                    <a:pt x="58" y="7"/>
                    <a:pt x="56" y="4"/>
                  </a:cubicBezTo>
                  <a:cubicBezTo>
                    <a:pt x="55" y="1"/>
                    <a:pt x="52" y="0"/>
                    <a:pt x="49"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 name="Freeform 11"/>
            <p:cNvSpPr>
              <a:spLocks/>
            </p:cNvSpPr>
            <p:nvPr/>
          </p:nvSpPr>
          <p:spPr bwMode="auto">
            <a:xfrm>
              <a:off x="4856163" y="2439988"/>
              <a:ext cx="87313" cy="74613"/>
            </a:xfrm>
            <a:custGeom>
              <a:avLst/>
              <a:gdLst>
                <a:gd name="T0" fmla="*/ 12 w 23"/>
                <a:gd name="T1" fmla="*/ 0 h 20"/>
                <a:gd name="T2" fmla="*/ 7 w 23"/>
                <a:gd name="T3" fmla="*/ 1 h 20"/>
                <a:gd name="T4" fmla="*/ 3 w 23"/>
                <a:gd name="T5" fmla="*/ 14 h 20"/>
                <a:gd name="T6" fmla="*/ 12 w 23"/>
                <a:gd name="T7" fmla="*/ 20 h 20"/>
                <a:gd name="T8" fmla="*/ 16 w 23"/>
                <a:gd name="T9" fmla="*/ 19 h 20"/>
                <a:gd name="T10" fmla="*/ 21 w 23"/>
                <a:gd name="T11" fmla="*/ 6 h 20"/>
                <a:gd name="T12" fmla="*/ 12 w 2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3" h="20">
                  <a:moveTo>
                    <a:pt x="12" y="0"/>
                  </a:moveTo>
                  <a:cubicBezTo>
                    <a:pt x="10" y="0"/>
                    <a:pt x="9" y="1"/>
                    <a:pt x="7" y="1"/>
                  </a:cubicBezTo>
                  <a:cubicBezTo>
                    <a:pt x="2" y="4"/>
                    <a:pt x="0" y="9"/>
                    <a:pt x="3" y="14"/>
                  </a:cubicBezTo>
                  <a:cubicBezTo>
                    <a:pt x="4" y="18"/>
                    <a:pt x="8" y="20"/>
                    <a:pt x="12" y="20"/>
                  </a:cubicBezTo>
                  <a:cubicBezTo>
                    <a:pt x="13" y="20"/>
                    <a:pt x="15" y="19"/>
                    <a:pt x="16" y="19"/>
                  </a:cubicBezTo>
                  <a:cubicBezTo>
                    <a:pt x="21" y="16"/>
                    <a:pt x="23" y="11"/>
                    <a:pt x="21" y="6"/>
                  </a:cubicBezTo>
                  <a:cubicBezTo>
                    <a:pt x="19" y="2"/>
                    <a:pt x="15" y="0"/>
                    <a:pt x="12"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0" name="Freeform 12"/>
            <p:cNvSpPr>
              <a:spLocks noEditPoints="1"/>
            </p:cNvSpPr>
            <p:nvPr/>
          </p:nvSpPr>
          <p:spPr bwMode="auto">
            <a:xfrm>
              <a:off x="3411538" y="2424113"/>
              <a:ext cx="1062038" cy="1203325"/>
            </a:xfrm>
            <a:custGeom>
              <a:avLst/>
              <a:gdLst>
                <a:gd name="T0" fmla="*/ 138 w 283"/>
                <a:gd name="T1" fmla="*/ 81 h 319"/>
                <a:gd name="T2" fmla="*/ 141 w 283"/>
                <a:gd name="T3" fmla="*/ 80 h 319"/>
                <a:gd name="T4" fmla="*/ 180 w 283"/>
                <a:gd name="T5" fmla="*/ 107 h 319"/>
                <a:gd name="T6" fmla="*/ 178 w 283"/>
                <a:gd name="T7" fmla="*/ 108 h 319"/>
                <a:gd name="T8" fmla="*/ 103 w 283"/>
                <a:gd name="T9" fmla="*/ 101 h 319"/>
                <a:gd name="T10" fmla="*/ 135 w 283"/>
                <a:gd name="T11" fmla="*/ 80 h 319"/>
                <a:gd name="T12" fmla="*/ 199 w 283"/>
                <a:gd name="T13" fmla="*/ 2 h 319"/>
                <a:gd name="T14" fmla="*/ 202 w 283"/>
                <a:gd name="T15" fmla="*/ 34 h 319"/>
                <a:gd name="T16" fmla="*/ 187 w 283"/>
                <a:gd name="T17" fmla="*/ 108 h 319"/>
                <a:gd name="T18" fmla="*/ 184 w 283"/>
                <a:gd name="T19" fmla="*/ 105 h 319"/>
                <a:gd name="T20" fmla="*/ 181 w 283"/>
                <a:gd name="T21" fmla="*/ 106 h 319"/>
                <a:gd name="T22" fmla="*/ 142 w 283"/>
                <a:gd name="T23" fmla="*/ 79 h 319"/>
                <a:gd name="T24" fmla="*/ 136 w 283"/>
                <a:gd name="T25" fmla="*/ 72 h 319"/>
                <a:gd name="T26" fmla="*/ 102 w 283"/>
                <a:gd name="T27" fmla="*/ 99 h 319"/>
                <a:gd name="T28" fmla="*/ 97 w 283"/>
                <a:gd name="T29" fmla="*/ 97 h 319"/>
                <a:gd name="T30" fmla="*/ 97 w 283"/>
                <a:gd name="T31" fmla="*/ 110 h 319"/>
                <a:gd name="T32" fmla="*/ 98 w 283"/>
                <a:gd name="T33" fmla="*/ 110 h 319"/>
                <a:gd name="T34" fmla="*/ 132 w 283"/>
                <a:gd name="T35" fmla="*/ 211 h 319"/>
                <a:gd name="T36" fmla="*/ 144 w 283"/>
                <a:gd name="T37" fmla="*/ 206 h 319"/>
                <a:gd name="T38" fmla="*/ 137 w 283"/>
                <a:gd name="T39" fmla="*/ 202 h 319"/>
                <a:gd name="T40" fmla="*/ 100 w 283"/>
                <a:gd name="T41" fmla="*/ 109 h 319"/>
                <a:gd name="T42" fmla="*/ 102 w 283"/>
                <a:gd name="T43" fmla="*/ 108 h 319"/>
                <a:gd name="T44" fmla="*/ 134 w 283"/>
                <a:gd name="T45" fmla="*/ 134 h 319"/>
                <a:gd name="T46" fmla="*/ 142 w 283"/>
                <a:gd name="T47" fmla="*/ 130 h 319"/>
                <a:gd name="T48" fmla="*/ 135 w 283"/>
                <a:gd name="T49" fmla="*/ 129 h 319"/>
                <a:gd name="T50" fmla="*/ 103 w 283"/>
                <a:gd name="T51" fmla="*/ 106 h 319"/>
                <a:gd name="T52" fmla="*/ 104 w 283"/>
                <a:gd name="T53" fmla="*/ 105 h 319"/>
                <a:gd name="T54" fmla="*/ 179 w 283"/>
                <a:gd name="T55" fmla="*/ 109 h 319"/>
                <a:gd name="T56" fmla="*/ 185 w 283"/>
                <a:gd name="T57" fmla="*/ 113 h 319"/>
                <a:gd name="T58" fmla="*/ 195 w 283"/>
                <a:gd name="T59" fmla="*/ 107 h 319"/>
                <a:gd name="T60" fmla="*/ 164 w 283"/>
                <a:gd name="T61" fmla="*/ 256 h 319"/>
                <a:gd name="T62" fmla="*/ 70 w 283"/>
                <a:gd name="T63" fmla="*/ 189 h 319"/>
                <a:gd name="T64" fmla="*/ 51 w 283"/>
                <a:gd name="T65" fmla="*/ 160 h 319"/>
                <a:gd name="T66" fmla="*/ 41 w 283"/>
                <a:gd name="T67" fmla="*/ 197 h 319"/>
                <a:gd name="T68" fmla="*/ 13 w 283"/>
                <a:gd name="T69" fmla="*/ 269 h 319"/>
                <a:gd name="T70" fmla="*/ 7 w 283"/>
                <a:gd name="T71" fmla="*/ 269 h 319"/>
                <a:gd name="T72" fmla="*/ 15 w 283"/>
                <a:gd name="T73" fmla="*/ 285 h 319"/>
                <a:gd name="T74" fmla="*/ 18 w 283"/>
                <a:gd name="T75" fmla="*/ 282 h 319"/>
                <a:gd name="T76" fmla="*/ 66 w 283"/>
                <a:gd name="T77" fmla="*/ 317 h 319"/>
                <a:gd name="T78" fmla="*/ 79 w 283"/>
                <a:gd name="T79" fmla="*/ 302 h 319"/>
                <a:gd name="T80" fmla="*/ 64 w 283"/>
                <a:gd name="T81" fmla="*/ 304 h 319"/>
                <a:gd name="T82" fmla="*/ 19 w 283"/>
                <a:gd name="T83" fmla="*/ 280 h 319"/>
                <a:gd name="T84" fmla="*/ 15 w 283"/>
                <a:gd name="T85" fmla="*/ 270 h 319"/>
                <a:gd name="T86" fmla="*/ 46 w 283"/>
                <a:gd name="T87" fmla="*/ 200 h 319"/>
                <a:gd name="T88" fmla="*/ 66 w 283"/>
                <a:gd name="T89" fmla="*/ 194 h 319"/>
                <a:gd name="T90" fmla="*/ 161 w 283"/>
                <a:gd name="T91" fmla="*/ 259 h 319"/>
                <a:gd name="T92" fmla="*/ 174 w 283"/>
                <a:gd name="T93" fmla="*/ 280 h 319"/>
                <a:gd name="T94" fmla="*/ 178 w 283"/>
                <a:gd name="T95" fmla="*/ 252 h 319"/>
                <a:gd name="T96" fmla="*/ 263 w 283"/>
                <a:gd name="T97" fmla="*/ 97 h 319"/>
                <a:gd name="T98" fmla="*/ 283 w 283"/>
                <a:gd name="T99" fmla="*/ 94 h 319"/>
                <a:gd name="T100" fmla="*/ 262 w 283"/>
                <a:gd name="T101" fmla="*/ 94 h 319"/>
                <a:gd name="T102" fmla="*/ 207 w 283"/>
                <a:gd name="T103" fmla="*/ 35 h 319"/>
                <a:gd name="T104" fmla="*/ 223 w 283"/>
                <a:gd name="T105" fmla="*/ 1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3" h="319">
                  <a:moveTo>
                    <a:pt x="135" y="80"/>
                  </a:moveTo>
                  <a:cubicBezTo>
                    <a:pt x="135" y="80"/>
                    <a:pt x="135" y="80"/>
                    <a:pt x="135" y="80"/>
                  </a:cubicBezTo>
                  <a:cubicBezTo>
                    <a:pt x="135" y="81"/>
                    <a:pt x="137" y="81"/>
                    <a:pt x="138" y="81"/>
                  </a:cubicBezTo>
                  <a:cubicBezTo>
                    <a:pt x="139" y="81"/>
                    <a:pt x="139" y="81"/>
                    <a:pt x="140" y="81"/>
                  </a:cubicBezTo>
                  <a:cubicBezTo>
                    <a:pt x="141" y="81"/>
                    <a:pt x="141" y="80"/>
                    <a:pt x="142" y="80"/>
                  </a:cubicBezTo>
                  <a:cubicBezTo>
                    <a:pt x="141" y="80"/>
                    <a:pt x="141" y="80"/>
                    <a:pt x="141" y="80"/>
                  </a:cubicBezTo>
                  <a:cubicBezTo>
                    <a:pt x="141" y="80"/>
                    <a:pt x="141" y="80"/>
                    <a:pt x="141" y="80"/>
                  </a:cubicBezTo>
                  <a:cubicBezTo>
                    <a:pt x="143" y="80"/>
                    <a:pt x="180" y="107"/>
                    <a:pt x="180" y="107"/>
                  </a:cubicBezTo>
                  <a:cubicBezTo>
                    <a:pt x="180" y="107"/>
                    <a:pt x="180" y="107"/>
                    <a:pt x="180" y="107"/>
                  </a:cubicBezTo>
                  <a:cubicBezTo>
                    <a:pt x="180" y="108"/>
                    <a:pt x="180" y="108"/>
                    <a:pt x="180" y="108"/>
                  </a:cubicBezTo>
                  <a:cubicBezTo>
                    <a:pt x="180" y="108"/>
                    <a:pt x="180" y="108"/>
                    <a:pt x="180" y="108"/>
                  </a:cubicBezTo>
                  <a:cubicBezTo>
                    <a:pt x="180" y="108"/>
                    <a:pt x="179" y="108"/>
                    <a:pt x="178" y="108"/>
                  </a:cubicBezTo>
                  <a:cubicBezTo>
                    <a:pt x="169" y="108"/>
                    <a:pt x="104" y="104"/>
                    <a:pt x="104" y="103"/>
                  </a:cubicBezTo>
                  <a:cubicBezTo>
                    <a:pt x="104" y="103"/>
                    <a:pt x="104" y="103"/>
                    <a:pt x="104" y="103"/>
                  </a:cubicBezTo>
                  <a:cubicBezTo>
                    <a:pt x="104" y="102"/>
                    <a:pt x="104" y="101"/>
                    <a:pt x="103" y="101"/>
                  </a:cubicBezTo>
                  <a:cubicBezTo>
                    <a:pt x="103" y="101"/>
                    <a:pt x="103" y="101"/>
                    <a:pt x="103" y="101"/>
                  </a:cubicBezTo>
                  <a:cubicBezTo>
                    <a:pt x="103" y="101"/>
                    <a:pt x="103" y="101"/>
                    <a:pt x="103" y="101"/>
                  </a:cubicBezTo>
                  <a:cubicBezTo>
                    <a:pt x="103" y="99"/>
                    <a:pt x="133" y="80"/>
                    <a:pt x="135" y="80"/>
                  </a:cubicBezTo>
                  <a:cubicBezTo>
                    <a:pt x="135" y="80"/>
                    <a:pt x="135" y="80"/>
                    <a:pt x="135" y="80"/>
                  </a:cubicBezTo>
                  <a:moveTo>
                    <a:pt x="207" y="0"/>
                  </a:moveTo>
                  <a:cubicBezTo>
                    <a:pt x="204" y="0"/>
                    <a:pt x="202" y="1"/>
                    <a:pt x="199" y="2"/>
                  </a:cubicBezTo>
                  <a:cubicBezTo>
                    <a:pt x="190" y="6"/>
                    <a:pt x="186" y="16"/>
                    <a:pt x="191" y="25"/>
                  </a:cubicBezTo>
                  <a:cubicBezTo>
                    <a:pt x="193" y="30"/>
                    <a:pt x="197" y="33"/>
                    <a:pt x="202" y="34"/>
                  </a:cubicBezTo>
                  <a:cubicBezTo>
                    <a:pt x="202" y="34"/>
                    <a:pt x="202" y="34"/>
                    <a:pt x="202" y="34"/>
                  </a:cubicBezTo>
                  <a:cubicBezTo>
                    <a:pt x="203" y="34"/>
                    <a:pt x="200" y="67"/>
                    <a:pt x="195" y="107"/>
                  </a:cubicBezTo>
                  <a:cubicBezTo>
                    <a:pt x="191" y="107"/>
                    <a:pt x="188" y="108"/>
                    <a:pt x="188" y="108"/>
                  </a:cubicBezTo>
                  <a:cubicBezTo>
                    <a:pt x="187" y="108"/>
                    <a:pt x="187" y="108"/>
                    <a:pt x="187" y="108"/>
                  </a:cubicBezTo>
                  <a:cubicBezTo>
                    <a:pt x="187" y="108"/>
                    <a:pt x="187" y="108"/>
                    <a:pt x="187" y="108"/>
                  </a:cubicBezTo>
                  <a:cubicBezTo>
                    <a:pt x="187" y="107"/>
                    <a:pt x="187" y="107"/>
                    <a:pt x="187" y="107"/>
                  </a:cubicBezTo>
                  <a:cubicBezTo>
                    <a:pt x="187" y="106"/>
                    <a:pt x="185" y="105"/>
                    <a:pt x="184" y="105"/>
                  </a:cubicBezTo>
                  <a:cubicBezTo>
                    <a:pt x="183" y="105"/>
                    <a:pt x="182" y="105"/>
                    <a:pt x="182" y="106"/>
                  </a:cubicBezTo>
                  <a:cubicBezTo>
                    <a:pt x="181" y="106"/>
                    <a:pt x="181" y="106"/>
                    <a:pt x="181" y="106"/>
                  </a:cubicBezTo>
                  <a:cubicBezTo>
                    <a:pt x="181" y="106"/>
                    <a:pt x="181" y="106"/>
                    <a:pt x="181" y="106"/>
                  </a:cubicBezTo>
                  <a:cubicBezTo>
                    <a:pt x="181" y="106"/>
                    <a:pt x="181" y="106"/>
                    <a:pt x="181" y="106"/>
                  </a:cubicBezTo>
                  <a:cubicBezTo>
                    <a:pt x="179" y="106"/>
                    <a:pt x="142" y="80"/>
                    <a:pt x="142" y="79"/>
                  </a:cubicBezTo>
                  <a:cubicBezTo>
                    <a:pt x="142" y="79"/>
                    <a:pt x="142" y="79"/>
                    <a:pt x="142" y="79"/>
                  </a:cubicBezTo>
                  <a:cubicBezTo>
                    <a:pt x="143" y="78"/>
                    <a:pt x="143" y="76"/>
                    <a:pt x="142" y="75"/>
                  </a:cubicBezTo>
                  <a:cubicBezTo>
                    <a:pt x="142" y="73"/>
                    <a:pt x="140" y="72"/>
                    <a:pt x="138" y="72"/>
                  </a:cubicBezTo>
                  <a:cubicBezTo>
                    <a:pt x="137" y="72"/>
                    <a:pt x="137" y="72"/>
                    <a:pt x="136" y="72"/>
                  </a:cubicBezTo>
                  <a:cubicBezTo>
                    <a:pt x="134" y="74"/>
                    <a:pt x="133" y="76"/>
                    <a:pt x="134" y="79"/>
                  </a:cubicBezTo>
                  <a:cubicBezTo>
                    <a:pt x="134" y="79"/>
                    <a:pt x="134" y="79"/>
                    <a:pt x="134" y="79"/>
                  </a:cubicBezTo>
                  <a:cubicBezTo>
                    <a:pt x="134" y="79"/>
                    <a:pt x="104" y="99"/>
                    <a:pt x="102" y="99"/>
                  </a:cubicBezTo>
                  <a:cubicBezTo>
                    <a:pt x="102" y="99"/>
                    <a:pt x="102" y="99"/>
                    <a:pt x="102" y="99"/>
                  </a:cubicBezTo>
                  <a:cubicBezTo>
                    <a:pt x="102" y="99"/>
                    <a:pt x="102" y="99"/>
                    <a:pt x="102" y="99"/>
                  </a:cubicBezTo>
                  <a:cubicBezTo>
                    <a:pt x="101" y="98"/>
                    <a:pt x="99" y="97"/>
                    <a:pt x="97" y="97"/>
                  </a:cubicBezTo>
                  <a:cubicBezTo>
                    <a:pt x="96" y="97"/>
                    <a:pt x="95" y="97"/>
                    <a:pt x="94" y="97"/>
                  </a:cubicBezTo>
                  <a:cubicBezTo>
                    <a:pt x="91" y="99"/>
                    <a:pt x="89" y="103"/>
                    <a:pt x="91" y="106"/>
                  </a:cubicBezTo>
                  <a:cubicBezTo>
                    <a:pt x="92" y="109"/>
                    <a:pt x="94" y="110"/>
                    <a:pt x="97" y="110"/>
                  </a:cubicBezTo>
                  <a:cubicBezTo>
                    <a:pt x="97" y="110"/>
                    <a:pt x="98" y="110"/>
                    <a:pt x="98" y="110"/>
                  </a:cubicBezTo>
                  <a:cubicBezTo>
                    <a:pt x="98" y="110"/>
                    <a:pt x="98" y="110"/>
                    <a:pt x="98" y="110"/>
                  </a:cubicBezTo>
                  <a:cubicBezTo>
                    <a:pt x="98" y="110"/>
                    <a:pt x="98" y="110"/>
                    <a:pt x="98" y="110"/>
                  </a:cubicBezTo>
                  <a:cubicBezTo>
                    <a:pt x="100" y="110"/>
                    <a:pt x="136" y="202"/>
                    <a:pt x="135" y="203"/>
                  </a:cubicBezTo>
                  <a:cubicBezTo>
                    <a:pt x="135" y="203"/>
                    <a:pt x="135" y="203"/>
                    <a:pt x="135" y="203"/>
                  </a:cubicBezTo>
                  <a:cubicBezTo>
                    <a:pt x="132" y="204"/>
                    <a:pt x="130" y="208"/>
                    <a:pt x="132" y="211"/>
                  </a:cubicBezTo>
                  <a:cubicBezTo>
                    <a:pt x="133" y="214"/>
                    <a:pt x="136" y="215"/>
                    <a:pt x="138" y="215"/>
                  </a:cubicBezTo>
                  <a:cubicBezTo>
                    <a:pt x="139" y="215"/>
                    <a:pt x="140" y="215"/>
                    <a:pt x="141" y="214"/>
                  </a:cubicBezTo>
                  <a:cubicBezTo>
                    <a:pt x="144" y="213"/>
                    <a:pt x="146" y="209"/>
                    <a:pt x="144" y="206"/>
                  </a:cubicBezTo>
                  <a:cubicBezTo>
                    <a:pt x="143" y="203"/>
                    <a:pt x="141" y="202"/>
                    <a:pt x="138" y="202"/>
                  </a:cubicBezTo>
                  <a:cubicBezTo>
                    <a:pt x="138" y="202"/>
                    <a:pt x="137" y="202"/>
                    <a:pt x="137" y="202"/>
                  </a:cubicBezTo>
                  <a:cubicBezTo>
                    <a:pt x="137" y="202"/>
                    <a:pt x="137" y="202"/>
                    <a:pt x="137" y="202"/>
                  </a:cubicBezTo>
                  <a:cubicBezTo>
                    <a:pt x="137" y="202"/>
                    <a:pt x="137" y="202"/>
                    <a:pt x="137" y="202"/>
                  </a:cubicBezTo>
                  <a:cubicBezTo>
                    <a:pt x="135" y="202"/>
                    <a:pt x="99" y="110"/>
                    <a:pt x="100" y="109"/>
                  </a:cubicBezTo>
                  <a:cubicBezTo>
                    <a:pt x="100" y="109"/>
                    <a:pt x="100" y="109"/>
                    <a:pt x="100" y="109"/>
                  </a:cubicBezTo>
                  <a:cubicBezTo>
                    <a:pt x="101" y="109"/>
                    <a:pt x="101" y="108"/>
                    <a:pt x="102" y="108"/>
                  </a:cubicBezTo>
                  <a:cubicBezTo>
                    <a:pt x="102" y="108"/>
                    <a:pt x="102" y="108"/>
                    <a:pt x="102" y="108"/>
                  </a:cubicBezTo>
                  <a:cubicBezTo>
                    <a:pt x="102" y="108"/>
                    <a:pt x="102" y="108"/>
                    <a:pt x="102" y="108"/>
                  </a:cubicBezTo>
                  <a:cubicBezTo>
                    <a:pt x="104" y="108"/>
                    <a:pt x="134" y="129"/>
                    <a:pt x="134" y="130"/>
                  </a:cubicBezTo>
                  <a:cubicBezTo>
                    <a:pt x="134" y="130"/>
                    <a:pt x="134" y="130"/>
                    <a:pt x="134" y="130"/>
                  </a:cubicBezTo>
                  <a:cubicBezTo>
                    <a:pt x="133" y="131"/>
                    <a:pt x="133" y="133"/>
                    <a:pt x="134" y="134"/>
                  </a:cubicBezTo>
                  <a:cubicBezTo>
                    <a:pt x="135" y="136"/>
                    <a:pt x="136" y="137"/>
                    <a:pt x="138" y="137"/>
                  </a:cubicBezTo>
                  <a:cubicBezTo>
                    <a:pt x="139" y="137"/>
                    <a:pt x="139" y="136"/>
                    <a:pt x="140" y="136"/>
                  </a:cubicBezTo>
                  <a:cubicBezTo>
                    <a:pt x="143" y="135"/>
                    <a:pt x="144" y="132"/>
                    <a:pt x="142" y="130"/>
                  </a:cubicBezTo>
                  <a:cubicBezTo>
                    <a:pt x="142" y="128"/>
                    <a:pt x="140" y="127"/>
                    <a:pt x="138" y="127"/>
                  </a:cubicBezTo>
                  <a:cubicBezTo>
                    <a:pt x="137" y="127"/>
                    <a:pt x="137" y="127"/>
                    <a:pt x="136" y="128"/>
                  </a:cubicBezTo>
                  <a:cubicBezTo>
                    <a:pt x="136" y="128"/>
                    <a:pt x="135" y="128"/>
                    <a:pt x="135" y="129"/>
                  </a:cubicBezTo>
                  <a:cubicBezTo>
                    <a:pt x="135" y="129"/>
                    <a:pt x="135" y="129"/>
                    <a:pt x="135" y="129"/>
                  </a:cubicBezTo>
                  <a:cubicBezTo>
                    <a:pt x="135" y="129"/>
                    <a:pt x="135" y="129"/>
                    <a:pt x="135" y="129"/>
                  </a:cubicBezTo>
                  <a:cubicBezTo>
                    <a:pt x="133" y="129"/>
                    <a:pt x="103" y="108"/>
                    <a:pt x="103" y="106"/>
                  </a:cubicBezTo>
                  <a:cubicBezTo>
                    <a:pt x="103" y="106"/>
                    <a:pt x="103" y="106"/>
                    <a:pt x="103" y="106"/>
                  </a:cubicBezTo>
                  <a:cubicBezTo>
                    <a:pt x="103" y="106"/>
                    <a:pt x="104" y="105"/>
                    <a:pt x="104" y="105"/>
                  </a:cubicBezTo>
                  <a:cubicBezTo>
                    <a:pt x="104" y="105"/>
                    <a:pt x="104" y="105"/>
                    <a:pt x="104" y="105"/>
                  </a:cubicBezTo>
                  <a:cubicBezTo>
                    <a:pt x="104" y="105"/>
                    <a:pt x="105" y="105"/>
                    <a:pt x="106" y="105"/>
                  </a:cubicBezTo>
                  <a:cubicBezTo>
                    <a:pt x="120" y="105"/>
                    <a:pt x="179" y="109"/>
                    <a:pt x="179" y="109"/>
                  </a:cubicBezTo>
                  <a:cubicBezTo>
                    <a:pt x="179" y="109"/>
                    <a:pt x="179" y="109"/>
                    <a:pt x="179" y="109"/>
                  </a:cubicBezTo>
                  <a:cubicBezTo>
                    <a:pt x="180" y="110"/>
                    <a:pt x="180" y="110"/>
                    <a:pt x="180" y="111"/>
                  </a:cubicBezTo>
                  <a:cubicBezTo>
                    <a:pt x="181" y="112"/>
                    <a:pt x="182" y="113"/>
                    <a:pt x="184" y="113"/>
                  </a:cubicBezTo>
                  <a:cubicBezTo>
                    <a:pt x="184" y="113"/>
                    <a:pt x="185" y="113"/>
                    <a:pt x="185" y="113"/>
                  </a:cubicBezTo>
                  <a:cubicBezTo>
                    <a:pt x="187" y="112"/>
                    <a:pt x="188" y="110"/>
                    <a:pt x="188" y="109"/>
                  </a:cubicBezTo>
                  <a:cubicBezTo>
                    <a:pt x="188" y="109"/>
                    <a:pt x="188" y="109"/>
                    <a:pt x="188" y="109"/>
                  </a:cubicBezTo>
                  <a:cubicBezTo>
                    <a:pt x="188" y="109"/>
                    <a:pt x="190" y="108"/>
                    <a:pt x="195" y="107"/>
                  </a:cubicBezTo>
                  <a:cubicBezTo>
                    <a:pt x="187" y="171"/>
                    <a:pt x="176" y="252"/>
                    <a:pt x="174" y="252"/>
                  </a:cubicBezTo>
                  <a:cubicBezTo>
                    <a:pt x="174" y="252"/>
                    <a:pt x="174" y="252"/>
                    <a:pt x="174" y="252"/>
                  </a:cubicBezTo>
                  <a:cubicBezTo>
                    <a:pt x="170" y="252"/>
                    <a:pt x="167" y="253"/>
                    <a:pt x="164" y="256"/>
                  </a:cubicBezTo>
                  <a:cubicBezTo>
                    <a:pt x="164" y="256"/>
                    <a:pt x="164" y="256"/>
                    <a:pt x="164" y="256"/>
                  </a:cubicBezTo>
                  <a:cubicBezTo>
                    <a:pt x="164" y="256"/>
                    <a:pt x="164" y="256"/>
                    <a:pt x="164" y="256"/>
                  </a:cubicBezTo>
                  <a:cubicBezTo>
                    <a:pt x="159" y="256"/>
                    <a:pt x="68" y="193"/>
                    <a:pt x="70" y="189"/>
                  </a:cubicBezTo>
                  <a:cubicBezTo>
                    <a:pt x="70" y="189"/>
                    <a:pt x="70" y="189"/>
                    <a:pt x="70" y="189"/>
                  </a:cubicBezTo>
                  <a:cubicBezTo>
                    <a:pt x="74" y="181"/>
                    <a:pt x="72" y="170"/>
                    <a:pt x="64" y="164"/>
                  </a:cubicBezTo>
                  <a:cubicBezTo>
                    <a:pt x="61" y="161"/>
                    <a:pt x="56" y="160"/>
                    <a:pt x="51" y="160"/>
                  </a:cubicBezTo>
                  <a:cubicBezTo>
                    <a:pt x="45" y="160"/>
                    <a:pt x="39" y="162"/>
                    <a:pt x="35" y="167"/>
                  </a:cubicBezTo>
                  <a:cubicBezTo>
                    <a:pt x="27" y="176"/>
                    <a:pt x="29" y="188"/>
                    <a:pt x="38" y="195"/>
                  </a:cubicBezTo>
                  <a:cubicBezTo>
                    <a:pt x="39" y="196"/>
                    <a:pt x="40" y="197"/>
                    <a:pt x="41" y="197"/>
                  </a:cubicBezTo>
                  <a:cubicBezTo>
                    <a:pt x="40" y="197"/>
                    <a:pt x="40" y="197"/>
                    <a:pt x="40" y="197"/>
                  </a:cubicBezTo>
                  <a:cubicBezTo>
                    <a:pt x="44" y="199"/>
                    <a:pt x="15" y="269"/>
                    <a:pt x="13" y="269"/>
                  </a:cubicBezTo>
                  <a:cubicBezTo>
                    <a:pt x="13" y="269"/>
                    <a:pt x="13" y="269"/>
                    <a:pt x="13" y="269"/>
                  </a:cubicBezTo>
                  <a:cubicBezTo>
                    <a:pt x="13" y="269"/>
                    <a:pt x="13" y="269"/>
                    <a:pt x="13" y="269"/>
                  </a:cubicBezTo>
                  <a:cubicBezTo>
                    <a:pt x="12" y="269"/>
                    <a:pt x="11" y="268"/>
                    <a:pt x="11" y="268"/>
                  </a:cubicBezTo>
                  <a:cubicBezTo>
                    <a:pt x="9" y="268"/>
                    <a:pt x="8" y="269"/>
                    <a:pt x="7" y="269"/>
                  </a:cubicBezTo>
                  <a:cubicBezTo>
                    <a:pt x="2" y="271"/>
                    <a:pt x="0" y="277"/>
                    <a:pt x="2" y="281"/>
                  </a:cubicBezTo>
                  <a:cubicBezTo>
                    <a:pt x="4" y="284"/>
                    <a:pt x="7" y="286"/>
                    <a:pt x="11" y="286"/>
                  </a:cubicBezTo>
                  <a:cubicBezTo>
                    <a:pt x="12" y="286"/>
                    <a:pt x="13" y="286"/>
                    <a:pt x="15" y="285"/>
                  </a:cubicBezTo>
                  <a:cubicBezTo>
                    <a:pt x="16" y="284"/>
                    <a:pt x="17" y="284"/>
                    <a:pt x="18" y="282"/>
                  </a:cubicBezTo>
                  <a:cubicBezTo>
                    <a:pt x="18" y="283"/>
                    <a:pt x="18" y="283"/>
                    <a:pt x="18" y="283"/>
                  </a:cubicBezTo>
                  <a:cubicBezTo>
                    <a:pt x="18" y="282"/>
                    <a:pt x="18" y="282"/>
                    <a:pt x="18" y="282"/>
                  </a:cubicBezTo>
                  <a:cubicBezTo>
                    <a:pt x="21" y="282"/>
                    <a:pt x="63" y="305"/>
                    <a:pt x="63" y="306"/>
                  </a:cubicBezTo>
                  <a:cubicBezTo>
                    <a:pt x="63" y="306"/>
                    <a:pt x="63" y="306"/>
                    <a:pt x="63" y="306"/>
                  </a:cubicBezTo>
                  <a:cubicBezTo>
                    <a:pt x="61" y="310"/>
                    <a:pt x="62" y="314"/>
                    <a:pt x="66" y="317"/>
                  </a:cubicBezTo>
                  <a:cubicBezTo>
                    <a:pt x="68" y="319"/>
                    <a:pt x="70" y="319"/>
                    <a:pt x="72" y="319"/>
                  </a:cubicBezTo>
                  <a:cubicBezTo>
                    <a:pt x="75" y="319"/>
                    <a:pt x="78" y="318"/>
                    <a:pt x="80" y="316"/>
                  </a:cubicBezTo>
                  <a:cubicBezTo>
                    <a:pt x="83" y="312"/>
                    <a:pt x="83" y="306"/>
                    <a:pt x="79" y="302"/>
                  </a:cubicBezTo>
                  <a:cubicBezTo>
                    <a:pt x="77" y="301"/>
                    <a:pt x="74" y="300"/>
                    <a:pt x="72" y="300"/>
                  </a:cubicBezTo>
                  <a:cubicBezTo>
                    <a:pt x="69" y="300"/>
                    <a:pt x="66" y="301"/>
                    <a:pt x="64" y="304"/>
                  </a:cubicBezTo>
                  <a:cubicBezTo>
                    <a:pt x="64" y="304"/>
                    <a:pt x="64" y="304"/>
                    <a:pt x="64" y="304"/>
                  </a:cubicBezTo>
                  <a:cubicBezTo>
                    <a:pt x="64" y="304"/>
                    <a:pt x="64" y="304"/>
                    <a:pt x="64" y="304"/>
                  </a:cubicBezTo>
                  <a:cubicBezTo>
                    <a:pt x="64" y="304"/>
                    <a:pt x="64" y="304"/>
                    <a:pt x="64" y="304"/>
                  </a:cubicBezTo>
                  <a:cubicBezTo>
                    <a:pt x="60" y="304"/>
                    <a:pt x="19" y="282"/>
                    <a:pt x="19" y="280"/>
                  </a:cubicBezTo>
                  <a:cubicBezTo>
                    <a:pt x="19" y="280"/>
                    <a:pt x="19" y="280"/>
                    <a:pt x="19" y="280"/>
                  </a:cubicBezTo>
                  <a:cubicBezTo>
                    <a:pt x="20" y="278"/>
                    <a:pt x="20" y="276"/>
                    <a:pt x="19" y="273"/>
                  </a:cubicBezTo>
                  <a:cubicBezTo>
                    <a:pt x="18" y="272"/>
                    <a:pt x="17" y="271"/>
                    <a:pt x="15" y="270"/>
                  </a:cubicBezTo>
                  <a:cubicBezTo>
                    <a:pt x="15" y="270"/>
                    <a:pt x="15" y="270"/>
                    <a:pt x="15" y="270"/>
                  </a:cubicBezTo>
                  <a:cubicBezTo>
                    <a:pt x="14" y="269"/>
                    <a:pt x="42" y="200"/>
                    <a:pt x="46" y="200"/>
                  </a:cubicBezTo>
                  <a:cubicBezTo>
                    <a:pt x="46" y="200"/>
                    <a:pt x="46" y="200"/>
                    <a:pt x="46" y="200"/>
                  </a:cubicBezTo>
                  <a:cubicBezTo>
                    <a:pt x="46" y="199"/>
                    <a:pt x="46" y="199"/>
                    <a:pt x="46" y="199"/>
                  </a:cubicBezTo>
                  <a:cubicBezTo>
                    <a:pt x="48" y="200"/>
                    <a:pt x="49" y="200"/>
                    <a:pt x="51" y="200"/>
                  </a:cubicBezTo>
                  <a:cubicBezTo>
                    <a:pt x="57" y="200"/>
                    <a:pt x="62" y="198"/>
                    <a:pt x="66" y="194"/>
                  </a:cubicBezTo>
                  <a:cubicBezTo>
                    <a:pt x="66" y="194"/>
                    <a:pt x="66" y="194"/>
                    <a:pt x="66" y="194"/>
                  </a:cubicBezTo>
                  <a:cubicBezTo>
                    <a:pt x="66" y="194"/>
                    <a:pt x="66" y="194"/>
                    <a:pt x="66" y="194"/>
                  </a:cubicBezTo>
                  <a:cubicBezTo>
                    <a:pt x="73" y="194"/>
                    <a:pt x="163" y="257"/>
                    <a:pt x="161" y="259"/>
                  </a:cubicBezTo>
                  <a:cubicBezTo>
                    <a:pt x="161" y="259"/>
                    <a:pt x="161" y="259"/>
                    <a:pt x="161" y="259"/>
                  </a:cubicBezTo>
                  <a:cubicBezTo>
                    <a:pt x="160" y="261"/>
                    <a:pt x="160" y="263"/>
                    <a:pt x="160" y="266"/>
                  </a:cubicBezTo>
                  <a:cubicBezTo>
                    <a:pt x="160" y="273"/>
                    <a:pt x="166" y="280"/>
                    <a:pt x="174" y="280"/>
                  </a:cubicBezTo>
                  <a:cubicBezTo>
                    <a:pt x="182" y="280"/>
                    <a:pt x="189" y="273"/>
                    <a:pt x="189" y="266"/>
                  </a:cubicBezTo>
                  <a:cubicBezTo>
                    <a:pt x="189" y="259"/>
                    <a:pt x="184" y="254"/>
                    <a:pt x="178" y="252"/>
                  </a:cubicBezTo>
                  <a:cubicBezTo>
                    <a:pt x="178" y="252"/>
                    <a:pt x="178" y="252"/>
                    <a:pt x="178" y="252"/>
                  </a:cubicBezTo>
                  <a:cubicBezTo>
                    <a:pt x="177" y="252"/>
                    <a:pt x="187" y="170"/>
                    <a:pt x="195" y="107"/>
                  </a:cubicBezTo>
                  <a:cubicBezTo>
                    <a:pt x="213" y="104"/>
                    <a:pt x="255" y="97"/>
                    <a:pt x="262" y="97"/>
                  </a:cubicBezTo>
                  <a:cubicBezTo>
                    <a:pt x="263" y="97"/>
                    <a:pt x="263" y="97"/>
                    <a:pt x="263" y="97"/>
                  </a:cubicBezTo>
                  <a:cubicBezTo>
                    <a:pt x="263" y="97"/>
                    <a:pt x="263" y="97"/>
                    <a:pt x="263" y="97"/>
                  </a:cubicBezTo>
                  <a:cubicBezTo>
                    <a:pt x="264" y="101"/>
                    <a:pt x="268" y="103"/>
                    <a:pt x="273" y="103"/>
                  </a:cubicBezTo>
                  <a:cubicBezTo>
                    <a:pt x="278" y="103"/>
                    <a:pt x="283" y="99"/>
                    <a:pt x="283" y="94"/>
                  </a:cubicBezTo>
                  <a:cubicBezTo>
                    <a:pt x="283" y="88"/>
                    <a:pt x="278" y="84"/>
                    <a:pt x="273" y="84"/>
                  </a:cubicBezTo>
                  <a:cubicBezTo>
                    <a:pt x="267" y="84"/>
                    <a:pt x="262" y="88"/>
                    <a:pt x="262" y="94"/>
                  </a:cubicBezTo>
                  <a:cubicBezTo>
                    <a:pt x="262" y="94"/>
                    <a:pt x="262" y="94"/>
                    <a:pt x="262" y="94"/>
                  </a:cubicBezTo>
                  <a:cubicBezTo>
                    <a:pt x="262" y="94"/>
                    <a:pt x="262" y="94"/>
                    <a:pt x="262" y="94"/>
                  </a:cubicBezTo>
                  <a:cubicBezTo>
                    <a:pt x="263" y="96"/>
                    <a:pt x="215" y="104"/>
                    <a:pt x="195" y="107"/>
                  </a:cubicBezTo>
                  <a:cubicBezTo>
                    <a:pt x="201" y="67"/>
                    <a:pt x="206" y="35"/>
                    <a:pt x="207" y="35"/>
                  </a:cubicBezTo>
                  <a:cubicBezTo>
                    <a:pt x="207" y="35"/>
                    <a:pt x="207" y="35"/>
                    <a:pt x="207" y="35"/>
                  </a:cubicBezTo>
                  <a:cubicBezTo>
                    <a:pt x="210" y="35"/>
                    <a:pt x="212" y="34"/>
                    <a:pt x="214" y="33"/>
                  </a:cubicBezTo>
                  <a:cubicBezTo>
                    <a:pt x="223" y="29"/>
                    <a:pt x="227" y="19"/>
                    <a:pt x="223" y="10"/>
                  </a:cubicBezTo>
                  <a:cubicBezTo>
                    <a:pt x="220" y="4"/>
                    <a:pt x="214" y="0"/>
                    <a:pt x="207"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1" name="Freeform 13"/>
            <p:cNvSpPr>
              <a:spLocks/>
            </p:cNvSpPr>
            <p:nvPr/>
          </p:nvSpPr>
          <p:spPr bwMode="auto">
            <a:xfrm>
              <a:off x="5762625" y="2805113"/>
              <a:ext cx="36513" cy="30163"/>
            </a:xfrm>
            <a:custGeom>
              <a:avLst/>
              <a:gdLst>
                <a:gd name="T0" fmla="*/ 0 w 10"/>
                <a:gd name="T1" fmla="*/ 0 h 8"/>
                <a:gd name="T2" fmla="*/ 10 w 10"/>
                <a:gd name="T3" fmla="*/ 8 h 8"/>
                <a:gd name="T4" fmla="*/ 0 w 10"/>
                <a:gd name="T5" fmla="*/ 0 h 8"/>
              </a:gdLst>
              <a:ahLst/>
              <a:cxnLst>
                <a:cxn ang="0">
                  <a:pos x="T0" y="T1"/>
                </a:cxn>
                <a:cxn ang="0">
                  <a:pos x="T2" y="T3"/>
                </a:cxn>
                <a:cxn ang="0">
                  <a:pos x="T4" y="T5"/>
                </a:cxn>
              </a:cxnLst>
              <a:rect l="0" t="0" r="r" b="b"/>
              <a:pathLst>
                <a:path w="10" h="8">
                  <a:moveTo>
                    <a:pt x="0" y="0"/>
                  </a:moveTo>
                  <a:cubicBezTo>
                    <a:pt x="3" y="3"/>
                    <a:pt x="6" y="6"/>
                    <a:pt x="10" y="8"/>
                  </a:cubicBezTo>
                  <a:cubicBezTo>
                    <a:pt x="6" y="6"/>
                    <a:pt x="3" y="3"/>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 name="Freeform 14"/>
            <p:cNvSpPr>
              <a:spLocks noEditPoints="1"/>
            </p:cNvSpPr>
            <p:nvPr/>
          </p:nvSpPr>
          <p:spPr bwMode="auto">
            <a:xfrm>
              <a:off x="5799138" y="2613025"/>
              <a:ext cx="241300" cy="293688"/>
            </a:xfrm>
            <a:custGeom>
              <a:avLst/>
              <a:gdLst>
                <a:gd name="T0" fmla="*/ 28 w 64"/>
                <a:gd name="T1" fmla="*/ 13 h 78"/>
                <a:gd name="T2" fmla="*/ 31 w 64"/>
                <a:gd name="T3" fmla="*/ 12 h 78"/>
                <a:gd name="T4" fmla="*/ 31 w 64"/>
                <a:gd name="T5" fmla="*/ 12 h 78"/>
                <a:gd name="T6" fmla="*/ 31 w 64"/>
                <a:gd name="T7" fmla="*/ 12 h 78"/>
                <a:gd name="T8" fmla="*/ 48 w 64"/>
                <a:gd name="T9" fmla="*/ 38 h 78"/>
                <a:gd name="T10" fmla="*/ 48 w 64"/>
                <a:gd name="T11" fmla="*/ 38 h 78"/>
                <a:gd name="T12" fmla="*/ 46 w 64"/>
                <a:gd name="T13" fmla="*/ 49 h 78"/>
                <a:gd name="T14" fmla="*/ 46 w 64"/>
                <a:gd name="T15" fmla="*/ 49 h 78"/>
                <a:gd name="T16" fmla="*/ 46 w 64"/>
                <a:gd name="T17" fmla="*/ 49 h 78"/>
                <a:gd name="T18" fmla="*/ 20 w 64"/>
                <a:gd name="T19" fmla="*/ 70 h 78"/>
                <a:gd name="T20" fmla="*/ 20 w 64"/>
                <a:gd name="T21" fmla="*/ 70 h 78"/>
                <a:gd name="T22" fmla="*/ 20 w 64"/>
                <a:gd name="T23" fmla="*/ 70 h 78"/>
                <a:gd name="T24" fmla="*/ 18 w 64"/>
                <a:gd name="T25" fmla="*/ 69 h 78"/>
                <a:gd name="T26" fmla="*/ 18 w 64"/>
                <a:gd name="T27" fmla="*/ 69 h 78"/>
                <a:gd name="T28" fmla="*/ 28 w 64"/>
                <a:gd name="T29" fmla="*/ 13 h 78"/>
                <a:gd name="T30" fmla="*/ 28 w 64"/>
                <a:gd name="T31" fmla="*/ 13 h 78"/>
                <a:gd name="T32" fmla="*/ 28 w 64"/>
                <a:gd name="T33" fmla="*/ 13 h 78"/>
                <a:gd name="T34" fmla="*/ 28 w 64"/>
                <a:gd name="T35" fmla="*/ 0 h 78"/>
                <a:gd name="T36" fmla="*/ 25 w 64"/>
                <a:gd name="T37" fmla="*/ 0 h 78"/>
                <a:gd name="T38" fmla="*/ 22 w 64"/>
                <a:gd name="T39" fmla="*/ 9 h 78"/>
                <a:gd name="T40" fmla="*/ 26 w 64"/>
                <a:gd name="T41" fmla="*/ 13 h 78"/>
                <a:gd name="T42" fmla="*/ 26 w 64"/>
                <a:gd name="T43" fmla="*/ 13 h 78"/>
                <a:gd name="T44" fmla="*/ 17 w 64"/>
                <a:gd name="T45" fmla="*/ 69 h 78"/>
                <a:gd name="T46" fmla="*/ 17 w 64"/>
                <a:gd name="T47" fmla="*/ 69 h 78"/>
                <a:gd name="T48" fmla="*/ 17 w 64"/>
                <a:gd name="T49" fmla="*/ 69 h 78"/>
                <a:gd name="T50" fmla="*/ 15 w 64"/>
                <a:gd name="T51" fmla="*/ 69 h 78"/>
                <a:gd name="T52" fmla="*/ 13 w 64"/>
                <a:gd name="T53" fmla="*/ 70 h 78"/>
                <a:gd name="T54" fmla="*/ 14 w 64"/>
                <a:gd name="T55" fmla="*/ 70 h 78"/>
                <a:gd name="T56" fmla="*/ 14 w 64"/>
                <a:gd name="T57" fmla="*/ 70 h 78"/>
                <a:gd name="T58" fmla="*/ 0 w 64"/>
                <a:gd name="T59" fmla="*/ 59 h 78"/>
                <a:gd name="T60" fmla="*/ 12 w 64"/>
                <a:gd name="T61" fmla="*/ 71 h 78"/>
                <a:gd name="T62" fmla="*/ 12 w 64"/>
                <a:gd name="T63" fmla="*/ 71 h 78"/>
                <a:gd name="T64" fmla="*/ 12 w 64"/>
                <a:gd name="T65" fmla="*/ 75 h 78"/>
                <a:gd name="T66" fmla="*/ 17 w 64"/>
                <a:gd name="T67" fmla="*/ 78 h 78"/>
                <a:gd name="T68" fmla="*/ 19 w 64"/>
                <a:gd name="T69" fmla="*/ 78 h 78"/>
                <a:gd name="T70" fmla="*/ 21 w 64"/>
                <a:gd name="T71" fmla="*/ 72 h 78"/>
                <a:gd name="T72" fmla="*/ 21 w 64"/>
                <a:gd name="T73" fmla="*/ 71 h 78"/>
                <a:gd name="T74" fmla="*/ 21 w 64"/>
                <a:gd name="T75" fmla="*/ 71 h 78"/>
                <a:gd name="T76" fmla="*/ 48 w 64"/>
                <a:gd name="T77" fmla="*/ 51 h 78"/>
                <a:gd name="T78" fmla="*/ 48 w 64"/>
                <a:gd name="T79" fmla="*/ 51 h 78"/>
                <a:gd name="T80" fmla="*/ 48 w 64"/>
                <a:gd name="T81" fmla="*/ 51 h 78"/>
                <a:gd name="T82" fmla="*/ 54 w 64"/>
                <a:gd name="T83" fmla="*/ 54 h 78"/>
                <a:gd name="T84" fmla="*/ 58 w 64"/>
                <a:gd name="T85" fmla="*/ 53 h 78"/>
                <a:gd name="T86" fmla="*/ 62 w 64"/>
                <a:gd name="T87" fmla="*/ 41 h 78"/>
                <a:gd name="T88" fmla="*/ 54 w 64"/>
                <a:gd name="T89" fmla="*/ 36 h 78"/>
                <a:gd name="T90" fmla="*/ 50 w 64"/>
                <a:gd name="T91" fmla="*/ 37 h 78"/>
                <a:gd name="T92" fmla="*/ 50 w 64"/>
                <a:gd name="T93" fmla="*/ 37 h 78"/>
                <a:gd name="T94" fmla="*/ 50 w 64"/>
                <a:gd name="T95" fmla="*/ 37 h 78"/>
                <a:gd name="T96" fmla="*/ 33 w 64"/>
                <a:gd name="T97" fmla="*/ 11 h 78"/>
                <a:gd name="T98" fmla="*/ 33 w 64"/>
                <a:gd name="T99" fmla="*/ 11 h 78"/>
                <a:gd name="T100" fmla="*/ 34 w 64"/>
                <a:gd name="T101" fmla="*/ 4 h 78"/>
                <a:gd name="T102" fmla="*/ 28 w 64"/>
                <a:gd name="T10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78">
                  <a:moveTo>
                    <a:pt x="28" y="13"/>
                  </a:moveTo>
                  <a:cubicBezTo>
                    <a:pt x="29" y="13"/>
                    <a:pt x="30" y="13"/>
                    <a:pt x="31" y="12"/>
                  </a:cubicBezTo>
                  <a:cubicBezTo>
                    <a:pt x="31" y="12"/>
                    <a:pt x="31" y="12"/>
                    <a:pt x="31" y="12"/>
                  </a:cubicBezTo>
                  <a:cubicBezTo>
                    <a:pt x="31" y="12"/>
                    <a:pt x="31" y="12"/>
                    <a:pt x="31" y="12"/>
                  </a:cubicBezTo>
                  <a:cubicBezTo>
                    <a:pt x="32" y="12"/>
                    <a:pt x="49" y="37"/>
                    <a:pt x="48" y="38"/>
                  </a:cubicBezTo>
                  <a:cubicBezTo>
                    <a:pt x="48" y="38"/>
                    <a:pt x="48" y="38"/>
                    <a:pt x="48" y="38"/>
                  </a:cubicBezTo>
                  <a:cubicBezTo>
                    <a:pt x="45" y="41"/>
                    <a:pt x="44" y="45"/>
                    <a:pt x="46" y="49"/>
                  </a:cubicBezTo>
                  <a:cubicBezTo>
                    <a:pt x="46" y="49"/>
                    <a:pt x="46" y="49"/>
                    <a:pt x="46" y="49"/>
                  </a:cubicBezTo>
                  <a:cubicBezTo>
                    <a:pt x="46" y="49"/>
                    <a:pt x="46" y="49"/>
                    <a:pt x="46" y="49"/>
                  </a:cubicBezTo>
                  <a:cubicBezTo>
                    <a:pt x="47" y="51"/>
                    <a:pt x="21" y="70"/>
                    <a:pt x="20" y="70"/>
                  </a:cubicBezTo>
                  <a:cubicBezTo>
                    <a:pt x="20" y="70"/>
                    <a:pt x="20" y="70"/>
                    <a:pt x="20" y="70"/>
                  </a:cubicBezTo>
                  <a:cubicBezTo>
                    <a:pt x="20" y="70"/>
                    <a:pt x="20" y="70"/>
                    <a:pt x="20" y="70"/>
                  </a:cubicBezTo>
                  <a:cubicBezTo>
                    <a:pt x="19" y="70"/>
                    <a:pt x="19" y="69"/>
                    <a:pt x="18" y="69"/>
                  </a:cubicBezTo>
                  <a:cubicBezTo>
                    <a:pt x="18" y="69"/>
                    <a:pt x="18" y="69"/>
                    <a:pt x="18" y="69"/>
                  </a:cubicBezTo>
                  <a:cubicBezTo>
                    <a:pt x="17" y="69"/>
                    <a:pt x="26" y="13"/>
                    <a:pt x="28" y="13"/>
                  </a:cubicBezTo>
                  <a:cubicBezTo>
                    <a:pt x="28" y="13"/>
                    <a:pt x="28" y="13"/>
                    <a:pt x="28" y="13"/>
                  </a:cubicBezTo>
                  <a:cubicBezTo>
                    <a:pt x="28" y="13"/>
                    <a:pt x="28" y="13"/>
                    <a:pt x="28" y="13"/>
                  </a:cubicBezTo>
                  <a:moveTo>
                    <a:pt x="28" y="0"/>
                  </a:moveTo>
                  <a:cubicBezTo>
                    <a:pt x="27" y="0"/>
                    <a:pt x="26" y="0"/>
                    <a:pt x="25" y="0"/>
                  </a:cubicBezTo>
                  <a:cubicBezTo>
                    <a:pt x="21" y="2"/>
                    <a:pt x="20" y="6"/>
                    <a:pt x="22" y="9"/>
                  </a:cubicBezTo>
                  <a:cubicBezTo>
                    <a:pt x="22" y="11"/>
                    <a:pt x="24" y="12"/>
                    <a:pt x="26" y="13"/>
                  </a:cubicBezTo>
                  <a:cubicBezTo>
                    <a:pt x="26" y="13"/>
                    <a:pt x="26" y="13"/>
                    <a:pt x="26" y="13"/>
                  </a:cubicBezTo>
                  <a:cubicBezTo>
                    <a:pt x="27" y="13"/>
                    <a:pt x="18" y="69"/>
                    <a:pt x="17" y="69"/>
                  </a:cubicBezTo>
                  <a:cubicBezTo>
                    <a:pt x="17" y="69"/>
                    <a:pt x="17" y="69"/>
                    <a:pt x="17" y="69"/>
                  </a:cubicBezTo>
                  <a:cubicBezTo>
                    <a:pt x="17" y="69"/>
                    <a:pt x="17" y="69"/>
                    <a:pt x="17" y="69"/>
                  </a:cubicBezTo>
                  <a:cubicBezTo>
                    <a:pt x="16" y="69"/>
                    <a:pt x="15" y="69"/>
                    <a:pt x="15" y="69"/>
                  </a:cubicBezTo>
                  <a:cubicBezTo>
                    <a:pt x="14" y="70"/>
                    <a:pt x="14" y="70"/>
                    <a:pt x="13" y="70"/>
                  </a:cubicBezTo>
                  <a:cubicBezTo>
                    <a:pt x="14" y="70"/>
                    <a:pt x="14" y="70"/>
                    <a:pt x="14" y="70"/>
                  </a:cubicBezTo>
                  <a:cubicBezTo>
                    <a:pt x="14" y="70"/>
                    <a:pt x="14" y="70"/>
                    <a:pt x="14" y="70"/>
                  </a:cubicBezTo>
                  <a:cubicBezTo>
                    <a:pt x="13" y="70"/>
                    <a:pt x="7" y="65"/>
                    <a:pt x="0" y="59"/>
                  </a:cubicBezTo>
                  <a:cubicBezTo>
                    <a:pt x="7" y="66"/>
                    <a:pt x="13" y="71"/>
                    <a:pt x="12" y="71"/>
                  </a:cubicBezTo>
                  <a:cubicBezTo>
                    <a:pt x="12" y="71"/>
                    <a:pt x="12" y="71"/>
                    <a:pt x="12" y="71"/>
                  </a:cubicBezTo>
                  <a:cubicBezTo>
                    <a:pt x="12" y="72"/>
                    <a:pt x="12" y="74"/>
                    <a:pt x="12" y="75"/>
                  </a:cubicBezTo>
                  <a:cubicBezTo>
                    <a:pt x="13" y="77"/>
                    <a:pt x="15" y="78"/>
                    <a:pt x="17" y="78"/>
                  </a:cubicBezTo>
                  <a:cubicBezTo>
                    <a:pt x="17" y="78"/>
                    <a:pt x="18" y="78"/>
                    <a:pt x="19" y="78"/>
                  </a:cubicBezTo>
                  <a:cubicBezTo>
                    <a:pt x="21" y="77"/>
                    <a:pt x="22" y="74"/>
                    <a:pt x="21" y="72"/>
                  </a:cubicBezTo>
                  <a:cubicBezTo>
                    <a:pt x="21" y="71"/>
                    <a:pt x="21" y="71"/>
                    <a:pt x="21" y="71"/>
                  </a:cubicBezTo>
                  <a:cubicBezTo>
                    <a:pt x="21" y="71"/>
                    <a:pt x="21" y="71"/>
                    <a:pt x="21" y="71"/>
                  </a:cubicBezTo>
                  <a:cubicBezTo>
                    <a:pt x="20" y="70"/>
                    <a:pt x="45" y="51"/>
                    <a:pt x="48" y="51"/>
                  </a:cubicBezTo>
                  <a:cubicBezTo>
                    <a:pt x="48" y="51"/>
                    <a:pt x="48" y="51"/>
                    <a:pt x="48" y="51"/>
                  </a:cubicBezTo>
                  <a:cubicBezTo>
                    <a:pt x="48" y="51"/>
                    <a:pt x="48" y="51"/>
                    <a:pt x="48" y="51"/>
                  </a:cubicBezTo>
                  <a:cubicBezTo>
                    <a:pt x="49" y="53"/>
                    <a:pt x="52" y="54"/>
                    <a:pt x="54" y="54"/>
                  </a:cubicBezTo>
                  <a:cubicBezTo>
                    <a:pt x="55" y="54"/>
                    <a:pt x="57" y="53"/>
                    <a:pt x="58" y="53"/>
                  </a:cubicBezTo>
                  <a:cubicBezTo>
                    <a:pt x="63" y="51"/>
                    <a:pt x="64" y="46"/>
                    <a:pt x="62" y="41"/>
                  </a:cubicBezTo>
                  <a:cubicBezTo>
                    <a:pt x="61" y="38"/>
                    <a:pt x="57" y="36"/>
                    <a:pt x="54" y="36"/>
                  </a:cubicBezTo>
                  <a:cubicBezTo>
                    <a:pt x="53" y="36"/>
                    <a:pt x="51" y="36"/>
                    <a:pt x="50" y="37"/>
                  </a:cubicBezTo>
                  <a:cubicBezTo>
                    <a:pt x="50" y="37"/>
                    <a:pt x="50" y="37"/>
                    <a:pt x="50" y="37"/>
                  </a:cubicBezTo>
                  <a:cubicBezTo>
                    <a:pt x="50" y="37"/>
                    <a:pt x="50" y="37"/>
                    <a:pt x="50" y="37"/>
                  </a:cubicBezTo>
                  <a:cubicBezTo>
                    <a:pt x="48" y="37"/>
                    <a:pt x="32" y="12"/>
                    <a:pt x="33" y="11"/>
                  </a:cubicBezTo>
                  <a:cubicBezTo>
                    <a:pt x="33" y="11"/>
                    <a:pt x="33" y="11"/>
                    <a:pt x="33" y="11"/>
                  </a:cubicBezTo>
                  <a:cubicBezTo>
                    <a:pt x="35" y="9"/>
                    <a:pt x="35" y="6"/>
                    <a:pt x="34" y="4"/>
                  </a:cubicBezTo>
                  <a:cubicBezTo>
                    <a:pt x="33" y="1"/>
                    <a:pt x="30" y="0"/>
                    <a:pt x="28"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 name="Freeform 15"/>
            <p:cNvSpPr>
              <a:spLocks/>
            </p:cNvSpPr>
            <p:nvPr/>
          </p:nvSpPr>
          <p:spPr bwMode="auto">
            <a:xfrm>
              <a:off x="6832600" y="3729038"/>
              <a:ext cx="30163" cy="63500"/>
            </a:xfrm>
            <a:custGeom>
              <a:avLst/>
              <a:gdLst>
                <a:gd name="T0" fmla="*/ 0 w 8"/>
                <a:gd name="T1" fmla="*/ 0 h 17"/>
                <a:gd name="T2" fmla="*/ 8 w 8"/>
                <a:gd name="T3" fmla="*/ 17 h 17"/>
                <a:gd name="T4" fmla="*/ 0 w 8"/>
                <a:gd name="T5" fmla="*/ 0 h 17"/>
              </a:gdLst>
              <a:ahLst/>
              <a:cxnLst>
                <a:cxn ang="0">
                  <a:pos x="T0" y="T1"/>
                </a:cxn>
                <a:cxn ang="0">
                  <a:pos x="T2" y="T3"/>
                </a:cxn>
                <a:cxn ang="0">
                  <a:pos x="T4" y="T5"/>
                </a:cxn>
              </a:cxnLst>
              <a:rect l="0" t="0" r="r" b="b"/>
              <a:pathLst>
                <a:path w="8" h="17">
                  <a:moveTo>
                    <a:pt x="0" y="0"/>
                  </a:moveTo>
                  <a:cubicBezTo>
                    <a:pt x="3" y="5"/>
                    <a:pt x="6" y="11"/>
                    <a:pt x="8" y="17"/>
                  </a:cubicBezTo>
                  <a:cubicBezTo>
                    <a:pt x="6" y="11"/>
                    <a:pt x="3" y="5"/>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 name="Freeform 16"/>
            <p:cNvSpPr>
              <a:spLocks/>
            </p:cNvSpPr>
            <p:nvPr/>
          </p:nvSpPr>
          <p:spPr bwMode="auto">
            <a:xfrm>
              <a:off x="6656388" y="3328988"/>
              <a:ext cx="17463" cy="3175"/>
            </a:xfrm>
            <a:custGeom>
              <a:avLst/>
              <a:gdLst>
                <a:gd name="T0" fmla="*/ 0 w 5"/>
                <a:gd name="T1" fmla="*/ 0 h 1"/>
                <a:gd name="T2" fmla="*/ 5 w 5"/>
                <a:gd name="T3" fmla="*/ 1 h 1"/>
                <a:gd name="T4" fmla="*/ 0 w 5"/>
                <a:gd name="T5" fmla="*/ 0 h 1"/>
              </a:gdLst>
              <a:ahLst/>
              <a:cxnLst>
                <a:cxn ang="0">
                  <a:pos x="T0" y="T1"/>
                </a:cxn>
                <a:cxn ang="0">
                  <a:pos x="T2" y="T3"/>
                </a:cxn>
                <a:cxn ang="0">
                  <a:pos x="T4" y="T5"/>
                </a:cxn>
              </a:cxnLst>
              <a:rect l="0" t="0" r="r" b="b"/>
              <a:pathLst>
                <a:path w="5" h="1">
                  <a:moveTo>
                    <a:pt x="0" y="0"/>
                  </a:moveTo>
                  <a:cubicBezTo>
                    <a:pt x="2" y="0"/>
                    <a:pt x="4" y="1"/>
                    <a:pt x="5" y="1"/>
                  </a:cubicBezTo>
                  <a:cubicBezTo>
                    <a:pt x="4" y="0"/>
                    <a:pt x="2" y="0"/>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 name="Freeform 17"/>
            <p:cNvSpPr>
              <a:spLocks/>
            </p:cNvSpPr>
            <p:nvPr/>
          </p:nvSpPr>
          <p:spPr bwMode="auto">
            <a:xfrm>
              <a:off x="6040438" y="3951288"/>
              <a:ext cx="44450" cy="19050"/>
            </a:xfrm>
            <a:custGeom>
              <a:avLst/>
              <a:gdLst>
                <a:gd name="T0" fmla="*/ 0 w 12"/>
                <a:gd name="T1" fmla="*/ 0 h 5"/>
                <a:gd name="T2" fmla="*/ 12 w 12"/>
                <a:gd name="T3" fmla="*/ 5 h 5"/>
                <a:gd name="T4" fmla="*/ 0 w 12"/>
                <a:gd name="T5" fmla="*/ 0 h 5"/>
              </a:gdLst>
              <a:ahLst/>
              <a:cxnLst>
                <a:cxn ang="0">
                  <a:pos x="T0" y="T1"/>
                </a:cxn>
                <a:cxn ang="0">
                  <a:pos x="T2" y="T3"/>
                </a:cxn>
                <a:cxn ang="0">
                  <a:pos x="T4" y="T5"/>
                </a:cxn>
              </a:cxnLst>
              <a:rect l="0" t="0" r="r" b="b"/>
              <a:pathLst>
                <a:path w="12" h="5">
                  <a:moveTo>
                    <a:pt x="0" y="0"/>
                  </a:moveTo>
                  <a:cubicBezTo>
                    <a:pt x="4" y="1"/>
                    <a:pt x="8" y="3"/>
                    <a:pt x="12" y="5"/>
                  </a:cubicBezTo>
                  <a:cubicBezTo>
                    <a:pt x="8" y="3"/>
                    <a:pt x="4"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 name="Freeform 18"/>
            <p:cNvSpPr>
              <a:spLocks/>
            </p:cNvSpPr>
            <p:nvPr/>
          </p:nvSpPr>
          <p:spPr bwMode="auto">
            <a:xfrm>
              <a:off x="7485063" y="3729038"/>
              <a:ext cx="11113" cy="77788"/>
            </a:xfrm>
            <a:custGeom>
              <a:avLst/>
              <a:gdLst>
                <a:gd name="T0" fmla="*/ 3 w 3"/>
                <a:gd name="T1" fmla="*/ 0 h 21"/>
                <a:gd name="T2" fmla="*/ 0 w 3"/>
                <a:gd name="T3" fmla="*/ 21 h 21"/>
                <a:gd name="T4" fmla="*/ 3 w 3"/>
                <a:gd name="T5" fmla="*/ 0 h 21"/>
              </a:gdLst>
              <a:ahLst/>
              <a:cxnLst>
                <a:cxn ang="0">
                  <a:pos x="T0" y="T1"/>
                </a:cxn>
                <a:cxn ang="0">
                  <a:pos x="T2" y="T3"/>
                </a:cxn>
                <a:cxn ang="0">
                  <a:pos x="T4" y="T5"/>
                </a:cxn>
              </a:cxnLst>
              <a:rect l="0" t="0" r="r" b="b"/>
              <a:pathLst>
                <a:path w="3" h="21">
                  <a:moveTo>
                    <a:pt x="3" y="0"/>
                  </a:moveTo>
                  <a:cubicBezTo>
                    <a:pt x="2" y="7"/>
                    <a:pt x="1" y="15"/>
                    <a:pt x="0" y="21"/>
                  </a:cubicBezTo>
                  <a:cubicBezTo>
                    <a:pt x="1" y="15"/>
                    <a:pt x="2" y="7"/>
                    <a:pt x="3"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 name="Freeform 19"/>
            <p:cNvSpPr>
              <a:spLocks noEditPoints="1"/>
            </p:cNvSpPr>
            <p:nvPr/>
          </p:nvSpPr>
          <p:spPr bwMode="auto">
            <a:xfrm>
              <a:off x="2719388" y="2635250"/>
              <a:ext cx="4916488" cy="1974850"/>
            </a:xfrm>
            <a:custGeom>
              <a:avLst/>
              <a:gdLst>
                <a:gd name="T0" fmla="*/ 893 w 1309"/>
                <a:gd name="T1" fmla="*/ 437 h 524"/>
                <a:gd name="T2" fmla="*/ 374 w 1309"/>
                <a:gd name="T3" fmla="*/ 407 h 524"/>
                <a:gd name="T4" fmla="*/ 109 w 1309"/>
                <a:gd name="T5" fmla="*/ 335 h 524"/>
                <a:gd name="T6" fmla="*/ 711 w 1309"/>
                <a:gd name="T7" fmla="*/ 231 h 524"/>
                <a:gd name="T8" fmla="*/ 511 w 1309"/>
                <a:gd name="T9" fmla="*/ 291 h 524"/>
                <a:gd name="T10" fmla="*/ 1098 w 1309"/>
                <a:gd name="T11" fmla="*/ 219 h 524"/>
                <a:gd name="T12" fmla="*/ 125 w 1309"/>
                <a:gd name="T13" fmla="*/ 212 h 524"/>
                <a:gd name="T14" fmla="*/ 774 w 1309"/>
                <a:gd name="T15" fmla="*/ 164 h 524"/>
                <a:gd name="T16" fmla="*/ 772 w 1309"/>
                <a:gd name="T17" fmla="*/ 166 h 524"/>
                <a:gd name="T18" fmla="*/ 994 w 1309"/>
                <a:gd name="T19" fmla="*/ 178 h 524"/>
                <a:gd name="T20" fmla="*/ 776 w 1309"/>
                <a:gd name="T21" fmla="*/ 159 h 524"/>
                <a:gd name="T22" fmla="*/ 776 w 1309"/>
                <a:gd name="T23" fmla="*/ 159 h 524"/>
                <a:gd name="T24" fmla="*/ 40 w 1309"/>
                <a:gd name="T25" fmla="*/ 153 h 524"/>
                <a:gd name="T26" fmla="*/ 41 w 1309"/>
                <a:gd name="T27" fmla="*/ 138 h 524"/>
                <a:gd name="T28" fmla="*/ 625 w 1309"/>
                <a:gd name="T29" fmla="*/ 165 h 524"/>
                <a:gd name="T30" fmla="*/ 523 w 1309"/>
                <a:gd name="T31" fmla="*/ 211 h 524"/>
                <a:gd name="T32" fmla="*/ 784 w 1309"/>
                <a:gd name="T33" fmla="*/ 34 h 524"/>
                <a:gd name="T34" fmla="*/ 738 w 1309"/>
                <a:gd name="T35" fmla="*/ 161 h 524"/>
                <a:gd name="T36" fmla="*/ 645 w 1309"/>
                <a:gd name="T37" fmla="*/ 268 h 524"/>
                <a:gd name="T38" fmla="*/ 686 w 1309"/>
                <a:gd name="T39" fmla="*/ 160 h 524"/>
                <a:gd name="T40" fmla="*/ 656 w 1309"/>
                <a:gd name="T41" fmla="*/ 136 h 524"/>
                <a:gd name="T42" fmla="*/ 505 w 1309"/>
                <a:gd name="T43" fmla="*/ 214 h 524"/>
                <a:gd name="T44" fmla="*/ 320 w 1309"/>
                <a:gd name="T45" fmla="*/ 318 h 524"/>
                <a:gd name="T46" fmla="*/ 85 w 1309"/>
                <a:gd name="T47" fmla="*/ 202 h 524"/>
                <a:gd name="T48" fmla="*/ 106 w 1309"/>
                <a:gd name="T49" fmla="*/ 162 h 524"/>
                <a:gd name="T50" fmla="*/ 48 w 1309"/>
                <a:gd name="T51" fmla="*/ 132 h 524"/>
                <a:gd name="T52" fmla="*/ 15 w 1309"/>
                <a:gd name="T53" fmla="*/ 168 h 524"/>
                <a:gd name="T54" fmla="*/ 55 w 1309"/>
                <a:gd name="T55" fmla="*/ 246 h 524"/>
                <a:gd name="T56" fmla="*/ 66 w 1309"/>
                <a:gd name="T57" fmla="*/ 318 h 524"/>
                <a:gd name="T58" fmla="*/ 113 w 1309"/>
                <a:gd name="T59" fmla="*/ 332 h 524"/>
                <a:gd name="T60" fmla="*/ 165 w 1309"/>
                <a:gd name="T61" fmla="*/ 300 h 524"/>
                <a:gd name="T62" fmla="*/ 375 w 1309"/>
                <a:gd name="T63" fmla="*/ 342 h 524"/>
                <a:gd name="T64" fmla="*/ 401 w 1309"/>
                <a:gd name="T65" fmla="*/ 388 h 524"/>
                <a:gd name="T66" fmla="*/ 379 w 1309"/>
                <a:gd name="T67" fmla="*/ 337 h 524"/>
                <a:gd name="T68" fmla="*/ 519 w 1309"/>
                <a:gd name="T69" fmla="*/ 309 h 524"/>
                <a:gd name="T70" fmla="*/ 641 w 1309"/>
                <a:gd name="T71" fmla="*/ 298 h 524"/>
                <a:gd name="T72" fmla="*/ 552 w 1309"/>
                <a:gd name="T73" fmla="*/ 435 h 524"/>
                <a:gd name="T74" fmla="*/ 681 w 1309"/>
                <a:gd name="T75" fmla="*/ 478 h 524"/>
                <a:gd name="T76" fmla="*/ 675 w 1309"/>
                <a:gd name="T77" fmla="*/ 489 h 524"/>
                <a:gd name="T78" fmla="*/ 758 w 1309"/>
                <a:gd name="T79" fmla="*/ 416 h 524"/>
                <a:gd name="T80" fmla="*/ 741 w 1309"/>
                <a:gd name="T81" fmla="*/ 317 h 524"/>
                <a:gd name="T82" fmla="*/ 889 w 1309"/>
                <a:gd name="T83" fmla="*/ 439 h 524"/>
                <a:gd name="T84" fmla="*/ 926 w 1309"/>
                <a:gd name="T85" fmla="*/ 363 h 524"/>
                <a:gd name="T86" fmla="*/ 871 w 1309"/>
                <a:gd name="T87" fmla="*/ 413 h 524"/>
                <a:gd name="T88" fmla="*/ 712 w 1309"/>
                <a:gd name="T89" fmla="*/ 233 h 524"/>
                <a:gd name="T90" fmla="*/ 764 w 1309"/>
                <a:gd name="T91" fmla="*/ 165 h 524"/>
                <a:gd name="T92" fmla="*/ 845 w 1309"/>
                <a:gd name="T93" fmla="*/ 209 h 524"/>
                <a:gd name="T94" fmla="*/ 912 w 1309"/>
                <a:gd name="T95" fmla="*/ 234 h 524"/>
                <a:gd name="T96" fmla="*/ 884 w 1309"/>
                <a:gd name="T97" fmla="*/ 349 h 524"/>
                <a:gd name="T98" fmla="*/ 1000 w 1309"/>
                <a:gd name="T99" fmla="*/ 192 h 524"/>
                <a:gd name="T100" fmla="*/ 1083 w 1309"/>
                <a:gd name="T101" fmla="*/ 271 h 524"/>
                <a:gd name="T102" fmla="*/ 1023 w 1309"/>
                <a:gd name="T103" fmla="*/ 286 h 524"/>
                <a:gd name="T104" fmla="*/ 1067 w 1309"/>
                <a:gd name="T105" fmla="*/ 180 h 524"/>
                <a:gd name="T106" fmla="*/ 1069 w 1309"/>
                <a:gd name="T107" fmla="*/ 194 h 524"/>
                <a:gd name="T108" fmla="*/ 1138 w 1309"/>
                <a:gd name="T109" fmla="*/ 197 h 524"/>
                <a:gd name="T110" fmla="*/ 1141 w 1309"/>
                <a:gd name="T111" fmla="*/ 192 h 524"/>
                <a:gd name="T112" fmla="*/ 1130 w 1309"/>
                <a:gd name="T113" fmla="*/ 80 h 524"/>
                <a:gd name="T114" fmla="*/ 1257 w 1309"/>
                <a:gd name="T115" fmla="*/ 243 h 524"/>
                <a:gd name="T116" fmla="*/ 1273 w 1309"/>
                <a:gd name="T117" fmla="*/ 254 h 524"/>
                <a:gd name="T118" fmla="*/ 1148 w 1309"/>
                <a:gd name="T119" fmla="*/ 135 h 524"/>
                <a:gd name="T120" fmla="*/ 1023 w 1309"/>
                <a:gd name="T121" fmla="*/ 153 h 524"/>
                <a:gd name="T122" fmla="*/ 1011 w 1309"/>
                <a:gd name="T123" fmla="*/ 101 h 524"/>
                <a:gd name="T124" fmla="*/ 848 w 1309"/>
                <a:gd name="T125" fmla="*/ 12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9" h="524">
                  <a:moveTo>
                    <a:pt x="897" y="418"/>
                  </a:moveTo>
                  <a:cubicBezTo>
                    <a:pt x="895" y="415"/>
                    <a:pt x="923" y="393"/>
                    <a:pt x="929" y="393"/>
                  </a:cubicBezTo>
                  <a:cubicBezTo>
                    <a:pt x="930" y="393"/>
                    <a:pt x="930" y="394"/>
                    <a:pt x="930" y="394"/>
                  </a:cubicBezTo>
                  <a:cubicBezTo>
                    <a:pt x="930" y="394"/>
                    <a:pt x="930" y="394"/>
                    <a:pt x="930" y="394"/>
                  </a:cubicBezTo>
                  <a:cubicBezTo>
                    <a:pt x="932" y="395"/>
                    <a:pt x="934" y="397"/>
                    <a:pt x="936" y="398"/>
                  </a:cubicBezTo>
                  <a:cubicBezTo>
                    <a:pt x="938" y="399"/>
                    <a:pt x="941" y="400"/>
                    <a:pt x="943" y="400"/>
                  </a:cubicBezTo>
                  <a:cubicBezTo>
                    <a:pt x="943" y="400"/>
                    <a:pt x="943" y="400"/>
                    <a:pt x="943" y="400"/>
                  </a:cubicBezTo>
                  <a:cubicBezTo>
                    <a:pt x="948" y="401"/>
                    <a:pt x="942" y="495"/>
                    <a:pt x="939" y="496"/>
                  </a:cubicBezTo>
                  <a:cubicBezTo>
                    <a:pt x="939" y="496"/>
                    <a:pt x="939" y="496"/>
                    <a:pt x="939" y="496"/>
                  </a:cubicBezTo>
                  <a:cubicBezTo>
                    <a:pt x="938" y="496"/>
                    <a:pt x="936" y="496"/>
                    <a:pt x="935" y="497"/>
                  </a:cubicBezTo>
                  <a:cubicBezTo>
                    <a:pt x="935" y="497"/>
                    <a:pt x="935" y="497"/>
                    <a:pt x="935" y="497"/>
                  </a:cubicBezTo>
                  <a:cubicBezTo>
                    <a:pt x="935" y="497"/>
                    <a:pt x="935" y="497"/>
                    <a:pt x="935" y="497"/>
                  </a:cubicBezTo>
                  <a:cubicBezTo>
                    <a:pt x="932" y="497"/>
                    <a:pt x="891" y="439"/>
                    <a:pt x="893" y="437"/>
                  </a:cubicBezTo>
                  <a:cubicBezTo>
                    <a:pt x="893" y="437"/>
                    <a:pt x="893" y="437"/>
                    <a:pt x="893" y="437"/>
                  </a:cubicBezTo>
                  <a:cubicBezTo>
                    <a:pt x="896" y="434"/>
                    <a:pt x="898" y="430"/>
                    <a:pt x="898" y="426"/>
                  </a:cubicBezTo>
                  <a:cubicBezTo>
                    <a:pt x="899" y="423"/>
                    <a:pt x="898" y="420"/>
                    <a:pt x="896" y="418"/>
                  </a:cubicBezTo>
                  <a:cubicBezTo>
                    <a:pt x="897" y="418"/>
                    <a:pt x="897" y="418"/>
                    <a:pt x="897" y="418"/>
                  </a:cubicBezTo>
                  <a:moveTo>
                    <a:pt x="382" y="350"/>
                  </a:moveTo>
                  <a:cubicBezTo>
                    <a:pt x="383" y="350"/>
                    <a:pt x="384" y="350"/>
                    <a:pt x="385" y="349"/>
                  </a:cubicBezTo>
                  <a:cubicBezTo>
                    <a:pt x="385" y="349"/>
                    <a:pt x="385" y="349"/>
                    <a:pt x="385" y="349"/>
                  </a:cubicBezTo>
                  <a:cubicBezTo>
                    <a:pt x="385" y="349"/>
                    <a:pt x="385" y="349"/>
                    <a:pt x="385" y="349"/>
                  </a:cubicBezTo>
                  <a:cubicBezTo>
                    <a:pt x="386" y="349"/>
                    <a:pt x="403" y="374"/>
                    <a:pt x="402" y="375"/>
                  </a:cubicBezTo>
                  <a:cubicBezTo>
                    <a:pt x="402" y="375"/>
                    <a:pt x="402" y="375"/>
                    <a:pt x="402" y="375"/>
                  </a:cubicBezTo>
                  <a:cubicBezTo>
                    <a:pt x="399" y="378"/>
                    <a:pt x="398" y="382"/>
                    <a:pt x="400" y="385"/>
                  </a:cubicBezTo>
                  <a:cubicBezTo>
                    <a:pt x="400" y="386"/>
                    <a:pt x="400" y="386"/>
                    <a:pt x="400" y="386"/>
                  </a:cubicBezTo>
                  <a:cubicBezTo>
                    <a:pt x="400" y="386"/>
                    <a:pt x="400" y="386"/>
                    <a:pt x="400" y="386"/>
                  </a:cubicBezTo>
                  <a:cubicBezTo>
                    <a:pt x="401" y="388"/>
                    <a:pt x="375" y="407"/>
                    <a:pt x="374" y="407"/>
                  </a:cubicBezTo>
                  <a:cubicBezTo>
                    <a:pt x="374" y="407"/>
                    <a:pt x="374" y="407"/>
                    <a:pt x="374" y="407"/>
                  </a:cubicBezTo>
                  <a:cubicBezTo>
                    <a:pt x="374" y="407"/>
                    <a:pt x="374" y="407"/>
                    <a:pt x="374" y="407"/>
                  </a:cubicBezTo>
                  <a:cubicBezTo>
                    <a:pt x="373" y="406"/>
                    <a:pt x="373" y="406"/>
                    <a:pt x="372" y="406"/>
                  </a:cubicBezTo>
                  <a:cubicBezTo>
                    <a:pt x="372" y="406"/>
                    <a:pt x="372" y="406"/>
                    <a:pt x="372" y="406"/>
                  </a:cubicBezTo>
                  <a:cubicBezTo>
                    <a:pt x="371" y="406"/>
                    <a:pt x="380" y="350"/>
                    <a:pt x="382" y="350"/>
                  </a:cubicBezTo>
                  <a:cubicBezTo>
                    <a:pt x="382" y="350"/>
                    <a:pt x="382" y="350"/>
                    <a:pt x="382" y="350"/>
                  </a:cubicBezTo>
                  <a:cubicBezTo>
                    <a:pt x="382" y="350"/>
                    <a:pt x="382" y="350"/>
                    <a:pt x="382" y="350"/>
                  </a:cubicBezTo>
                  <a:moveTo>
                    <a:pt x="110" y="294"/>
                  </a:moveTo>
                  <a:cubicBezTo>
                    <a:pt x="110" y="294"/>
                    <a:pt x="110" y="294"/>
                    <a:pt x="110" y="294"/>
                  </a:cubicBezTo>
                  <a:cubicBezTo>
                    <a:pt x="110" y="294"/>
                    <a:pt x="111" y="295"/>
                    <a:pt x="112" y="295"/>
                  </a:cubicBezTo>
                  <a:cubicBezTo>
                    <a:pt x="112" y="295"/>
                    <a:pt x="112" y="295"/>
                    <a:pt x="112" y="295"/>
                  </a:cubicBezTo>
                  <a:cubicBezTo>
                    <a:pt x="113" y="295"/>
                    <a:pt x="113" y="332"/>
                    <a:pt x="112" y="332"/>
                  </a:cubicBezTo>
                  <a:cubicBezTo>
                    <a:pt x="112" y="332"/>
                    <a:pt x="112" y="332"/>
                    <a:pt x="112" y="332"/>
                  </a:cubicBezTo>
                  <a:cubicBezTo>
                    <a:pt x="112" y="333"/>
                    <a:pt x="111" y="333"/>
                    <a:pt x="111" y="333"/>
                  </a:cubicBezTo>
                  <a:cubicBezTo>
                    <a:pt x="110" y="333"/>
                    <a:pt x="109" y="334"/>
                    <a:pt x="109" y="335"/>
                  </a:cubicBezTo>
                  <a:cubicBezTo>
                    <a:pt x="109" y="334"/>
                    <a:pt x="109" y="334"/>
                    <a:pt x="109" y="334"/>
                  </a:cubicBezTo>
                  <a:cubicBezTo>
                    <a:pt x="109" y="334"/>
                    <a:pt x="109" y="334"/>
                    <a:pt x="109" y="334"/>
                  </a:cubicBezTo>
                  <a:cubicBezTo>
                    <a:pt x="107" y="334"/>
                    <a:pt x="70" y="323"/>
                    <a:pt x="70" y="322"/>
                  </a:cubicBezTo>
                  <a:cubicBezTo>
                    <a:pt x="70" y="322"/>
                    <a:pt x="70" y="322"/>
                    <a:pt x="70" y="322"/>
                  </a:cubicBezTo>
                  <a:cubicBezTo>
                    <a:pt x="70" y="321"/>
                    <a:pt x="70" y="321"/>
                    <a:pt x="70" y="320"/>
                  </a:cubicBezTo>
                  <a:cubicBezTo>
                    <a:pt x="70" y="320"/>
                    <a:pt x="70" y="320"/>
                    <a:pt x="70" y="320"/>
                  </a:cubicBezTo>
                  <a:cubicBezTo>
                    <a:pt x="70" y="320"/>
                    <a:pt x="70" y="320"/>
                    <a:pt x="70" y="320"/>
                  </a:cubicBezTo>
                  <a:cubicBezTo>
                    <a:pt x="69" y="319"/>
                    <a:pt x="108" y="294"/>
                    <a:pt x="110" y="294"/>
                  </a:cubicBezTo>
                  <a:cubicBezTo>
                    <a:pt x="110" y="294"/>
                    <a:pt x="110" y="294"/>
                    <a:pt x="110" y="294"/>
                  </a:cubicBezTo>
                  <a:moveTo>
                    <a:pt x="656" y="271"/>
                  </a:moveTo>
                  <a:cubicBezTo>
                    <a:pt x="663" y="262"/>
                    <a:pt x="685" y="240"/>
                    <a:pt x="708" y="218"/>
                  </a:cubicBezTo>
                  <a:cubicBezTo>
                    <a:pt x="710" y="221"/>
                    <a:pt x="712" y="223"/>
                    <a:pt x="711" y="223"/>
                  </a:cubicBezTo>
                  <a:cubicBezTo>
                    <a:pt x="711" y="223"/>
                    <a:pt x="711" y="223"/>
                    <a:pt x="711" y="223"/>
                  </a:cubicBezTo>
                  <a:cubicBezTo>
                    <a:pt x="710" y="225"/>
                    <a:pt x="709" y="228"/>
                    <a:pt x="711" y="231"/>
                  </a:cubicBezTo>
                  <a:cubicBezTo>
                    <a:pt x="711" y="231"/>
                    <a:pt x="711" y="231"/>
                    <a:pt x="711" y="231"/>
                  </a:cubicBezTo>
                  <a:cubicBezTo>
                    <a:pt x="711" y="231"/>
                    <a:pt x="711" y="231"/>
                    <a:pt x="711" y="231"/>
                  </a:cubicBezTo>
                  <a:cubicBezTo>
                    <a:pt x="711" y="232"/>
                    <a:pt x="669" y="263"/>
                    <a:pt x="656" y="271"/>
                  </a:cubicBezTo>
                  <a:moveTo>
                    <a:pt x="516" y="214"/>
                  </a:moveTo>
                  <a:cubicBezTo>
                    <a:pt x="516" y="214"/>
                    <a:pt x="516" y="214"/>
                    <a:pt x="516" y="214"/>
                  </a:cubicBezTo>
                  <a:cubicBezTo>
                    <a:pt x="521" y="214"/>
                    <a:pt x="573" y="327"/>
                    <a:pt x="571" y="328"/>
                  </a:cubicBezTo>
                  <a:cubicBezTo>
                    <a:pt x="571" y="328"/>
                    <a:pt x="571" y="328"/>
                    <a:pt x="571" y="328"/>
                  </a:cubicBezTo>
                  <a:cubicBezTo>
                    <a:pt x="570" y="329"/>
                    <a:pt x="569" y="330"/>
                    <a:pt x="568" y="331"/>
                  </a:cubicBezTo>
                  <a:cubicBezTo>
                    <a:pt x="568" y="331"/>
                    <a:pt x="568" y="331"/>
                    <a:pt x="568" y="331"/>
                  </a:cubicBezTo>
                  <a:cubicBezTo>
                    <a:pt x="568" y="331"/>
                    <a:pt x="568" y="331"/>
                    <a:pt x="568" y="331"/>
                  </a:cubicBezTo>
                  <a:cubicBezTo>
                    <a:pt x="564" y="331"/>
                    <a:pt x="519" y="308"/>
                    <a:pt x="520" y="306"/>
                  </a:cubicBezTo>
                  <a:cubicBezTo>
                    <a:pt x="520" y="306"/>
                    <a:pt x="520" y="306"/>
                    <a:pt x="520" y="306"/>
                  </a:cubicBezTo>
                  <a:cubicBezTo>
                    <a:pt x="521" y="303"/>
                    <a:pt x="521" y="300"/>
                    <a:pt x="520" y="297"/>
                  </a:cubicBezTo>
                  <a:cubicBezTo>
                    <a:pt x="518" y="294"/>
                    <a:pt x="515" y="292"/>
                    <a:pt x="511" y="291"/>
                  </a:cubicBezTo>
                  <a:cubicBezTo>
                    <a:pt x="511" y="291"/>
                    <a:pt x="511" y="291"/>
                    <a:pt x="511" y="291"/>
                  </a:cubicBezTo>
                  <a:cubicBezTo>
                    <a:pt x="509" y="291"/>
                    <a:pt x="508" y="215"/>
                    <a:pt x="513" y="214"/>
                  </a:cubicBezTo>
                  <a:cubicBezTo>
                    <a:pt x="513" y="214"/>
                    <a:pt x="513" y="214"/>
                    <a:pt x="513" y="214"/>
                  </a:cubicBezTo>
                  <a:cubicBezTo>
                    <a:pt x="514" y="214"/>
                    <a:pt x="515" y="214"/>
                    <a:pt x="516" y="214"/>
                  </a:cubicBezTo>
                  <a:cubicBezTo>
                    <a:pt x="516" y="214"/>
                    <a:pt x="516" y="214"/>
                    <a:pt x="516" y="214"/>
                  </a:cubicBezTo>
                  <a:moveTo>
                    <a:pt x="1072" y="189"/>
                  </a:moveTo>
                  <a:cubicBezTo>
                    <a:pt x="1072" y="189"/>
                    <a:pt x="1073" y="189"/>
                    <a:pt x="1075" y="189"/>
                  </a:cubicBezTo>
                  <a:cubicBezTo>
                    <a:pt x="1088" y="189"/>
                    <a:pt x="1130" y="192"/>
                    <a:pt x="1130" y="193"/>
                  </a:cubicBezTo>
                  <a:cubicBezTo>
                    <a:pt x="1130" y="193"/>
                    <a:pt x="1130" y="193"/>
                    <a:pt x="1130" y="193"/>
                  </a:cubicBezTo>
                  <a:cubicBezTo>
                    <a:pt x="1131" y="194"/>
                    <a:pt x="1131" y="194"/>
                    <a:pt x="1131" y="195"/>
                  </a:cubicBezTo>
                  <a:cubicBezTo>
                    <a:pt x="1131" y="195"/>
                    <a:pt x="1131" y="195"/>
                    <a:pt x="1131" y="195"/>
                  </a:cubicBezTo>
                  <a:cubicBezTo>
                    <a:pt x="1132" y="196"/>
                    <a:pt x="1100" y="219"/>
                    <a:pt x="1098" y="219"/>
                  </a:cubicBezTo>
                  <a:cubicBezTo>
                    <a:pt x="1098" y="219"/>
                    <a:pt x="1098" y="219"/>
                    <a:pt x="1098" y="219"/>
                  </a:cubicBezTo>
                  <a:cubicBezTo>
                    <a:pt x="1098" y="219"/>
                    <a:pt x="1098" y="219"/>
                    <a:pt x="1098" y="219"/>
                  </a:cubicBezTo>
                  <a:cubicBezTo>
                    <a:pt x="1098" y="219"/>
                    <a:pt x="1097" y="218"/>
                    <a:pt x="1096" y="218"/>
                  </a:cubicBezTo>
                  <a:cubicBezTo>
                    <a:pt x="1095" y="218"/>
                    <a:pt x="1095" y="219"/>
                    <a:pt x="1094" y="219"/>
                  </a:cubicBezTo>
                  <a:cubicBezTo>
                    <a:pt x="1094" y="219"/>
                    <a:pt x="1094" y="219"/>
                    <a:pt x="1094" y="219"/>
                  </a:cubicBezTo>
                  <a:cubicBezTo>
                    <a:pt x="1094" y="219"/>
                    <a:pt x="1094" y="219"/>
                    <a:pt x="1094" y="219"/>
                  </a:cubicBezTo>
                  <a:cubicBezTo>
                    <a:pt x="1094" y="219"/>
                    <a:pt x="1094" y="219"/>
                    <a:pt x="1094" y="219"/>
                  </a:cubicBezTo>
                  <a:cubicBezTo>
                    <a:pt x="1093" y="219"/>
                    <a:pt x="1069" y="193"/>
                    <a:pt x="1070" y="192"/>
                  </a:cubicBezTo>
                  <a:cubicBezTo>
                    <a:pt x="1070" y="192"/>
                    <a:pt x="1070" y="192"/>
                    <a:pt x="1070" y="192"/>
                  </a:cubicBezTo>
                  <a:cubicBezTo>
                    <a:pt x="1071" y="191"/>
                    <a:pt x="1072" y="190"/>
                    <a:pt x="1072" y="189"/>
                  </a:cubicBezTo>
                  <a:cubicBezTo>
                    <a:pt x="1072" y="189"/>
                    <a:pt x="1072" y="189"/>
                    <a:pt x="1072" y="189"/>
                  </a:cubicBezTo>
                  <a:moveTo>
                    <a:pt x="76" y="193"/>
                  </a:moveTo>
                  <a:cubicBezTo>
                    <a:pt x="75" y="193"/>
                    <a:pt x="62" y="176"/>
                    <a:pt x="54" y="165"/>
                  </a:cubicBezTo>
                  <a:cubicBezTo>
                    <a:pt x="56" y="165"/>
                    <a:pt x="58" y="164"/>
                    <a:pt x="61" y="164"/>
                  </a:cubicBezTo>
                  <a:cubicBezTo>
                    <a:pt x="83" y="181"/>
                    <a:pt x="126" y="212"/>
                    <a:pt x="125" y="212"/>
                  </a:cubicBezTo>
                  <a:cubicBezTo>
                    <a:pt x="125" y="212"/>
                    <a:pt x="125" y="212"/>
                    <a:pt x="125" y="212"/>
                  </a:cubicBezTo>
                  <a:cubicBezTo>
                    <a:pt x="125" y="213"/>
                    <a:pt x="125" y="213"/>
                    <a:pt x="125" y="213"/>
                  </a:cubicBezTo>
                  <a:cubicBezTo>
                    <a:pt x="125" y="213"/>
                    <a:pt x="125" y="213"/>
                    <a:pt x="125" y="213"/>
                  </a:cubicBezTo>
                  <a:cubicBezTo>
                    <a:pt x="125" y="213"/>
                    <a:pt x="125" y="213"/>
                    <a:pt x="125" y="213"/>
                  </a:cubicBezTo>
                  <a:cubicBezTo>
                    <a:pt x="122" y="213"/>
                    <a:pt x="86" y="201"/>
                    <a:pt x="86" y="200"/>
                  </a:cubicBezTo>
                  <a:cubicBezTo>
                    <a:pt x="86" y="200"/>
                    <a:pt x="86" y="200"/>
                    <a:pt x="86" y="200"/>
                  </a:cubicBezTo>
                  <a:cubicBezTo>
                    <a:pt x="86" y="199"/>
                    <a:pt x="86" y="197"/>
                    <a:pt x="86" y="196"/>
                  </a:cubicBezTo>
                  <a:cubicBezTo>
                    <a:pt x="84" y="194"/>
                    <a:pt x="82" y="192"/>
                    <a:pt x="79" y="192"/>
                  </a:cubicBezTo>
                  <a:cubicBezTo>
                    <a:pt x="78" y="192"/>
                    <a:pt x="77" y="193"/>
                    <a:pt x="76" y="193"/>
                  </a:cubicBezTo>
                  <a:cubicBezTo>
                    <a:pt x="76" y="193"/>
                    <a:pt x="76" y="193"/>
                    <a:pt x="76" y="193"/>
                  </a:cubicBezTo>
                  <a:cubicBezTo>
                    <a:pt x="76" y="193"/>
                    <a:pt x="76" y="193"/>
                    <a:pt x="76" y="193"/>
                  </a:cubicBezTo>
                  <a:cubicBezTo>
                    <a:pt x="76" y="193"/>
                    <a:pt x="76" y="193"/>
                    <a:pt x="76" y="193"/>
                  </a:cubicBezTo>
                  <a:moveTo>
                    <a:pt x="772" y="166"/>
                  </a:moveTo>
                  <a:cubicBezTo>
                    <a:pt x="773" y="165"/>
                    <a:pt x="774" y="165"/>
                    <a:pt x="774" y="164"/>
                  </a:cubicBezTo>
                  <a:cubicBezTo>
                    <a:pt x="774" y="164"/>
                    <a:pt x="774" y="164"/>
                    <a:pt x="774" y="164"/>
                  </a:cubicBezTo>
                  <a:cubicBezTo>
                    <a:pt x="774" y="164"/>
                    <a:pt x="775" y="164"/>
                    <a:pt x="775" y="164"/>
                  </a:cubicBezTo>
                  <a:cubicBezTo>
                    <a:pt x="778" y="164"/>
                    <a:pt x="841" y="198"/>
                    <a:pt x="841" y="199"/>
                  </a:cubicBezTo>
                  <a:cubicBezTo>
                    <a:pt x="841" y="199"/>
                    <a:pt x="841" y="199"/>
                    <a:pt x="841" y="199"/>
                  </a:cubicBezTo>
                  <a:cubicBezTo>
                    <a:pt x="840" y="201"/>
                    <a:pt x="840" y="203"/>
                    <a:pt x="841" y="205"/>
                  </a:cubicBezTo>
                  <a:cubicBezTo>
                    <a:pt x="842" y="206"/>
                    <a:pt x="842" y="207"/>
                    <a:pt x="843" y="208"/>
                  </a:cubicBezTo>
                  <a:cubicBezTo>
                    <a:pt x="843" y="208"/>
                    <a:pt x="843" y="208"/>
                    <a:pt x="843" y="208"/>
                  </a:cubicBezTo>
                  <a:cubicBezTo>
                    <a:pt x="844" y="208"/>
                    <a:pt x="822" y="249"/>
                    <a:pt x="818" y="249"/>
                  </a:cubicBezTo>
                  <a:cubicBezTo>
                    <a:pt x="818" y="249"/>
                    <a:pt x="818" y="249"/>
                    <a:pt x="818" y="249"/>
                  </a:cubicBezTo>
                  <a:cubicBezTo>
                    <a:pt x="818" y="249"/>
                    <a:pt x="818" y="249"/>
                    <a:pt x="818" y="249"/>
                  </a:cubicBezTo>
                  <a:cubicBezTo>
                    <a:pt x="816" y="248"/>
                    <a:pt x="813" y="247"/>
                    <a:pt x="811" y="247"/>
                  </a:cubicBezTo>
                  <a:cubicBezTo>
                    <a:pt x="810" y="247"/>
                    <a:pt x="808" y="247"/>
                    <a:pt x="807" y="248"/>
                  </a:cubicBezTo>
                  <a:cubicBezTo>
                    <a:pt x="807" y="248"/>
                    <a:pt x="807" y="248"/>
                    <a:pt x="807" y="248"/>
                  </a:cubicBezTo>
                  <a:cubicBezTo>
                    <a:pt x="807" y="248"/>
                    <a:pt x="807" y="248"/>
                    <a:pt x="807" y="248"/>
                  </a:cubicBezTo>
                  <a:cubicBezTo>
                    <a:pt x="803" y="248"/>
                    <a:pt x="771" y="166"/>
                    <a:pt x="772" y="166"/>
                  </a:cubicBezTo>
                  <a:cubicBezTo>
                    <a:pt x="772" y="166"/>
                    <a:pt x="772" y="166"/>
                    <a:pt x="772" y="166"/>
                  </a:cubicBezTo>
                  <a:moveTo>
                    <a:pt x="54" y="165"/>
                  </a:moveTo>
                  <a:cubicBezTo>
                    <a:pt x="50" y="159"/>
                    <a:pt x="47" y="155"/>
                    <a:pt x="47" y="155"/>
                  </a:cubicBezTo>
                  <a:cubicBezTo>
                    <a:pt x="48" y="155"/>
                    <a:pt x="53" y="159"/>
                    <a:pt x="61" y="164"/>
                  </a:cubicBezTo>
                  <a:cubicBezTo>
                    <a:pt x="58" y="164"/>
                    <a:pt x="56" y="164"/>
                    <a:pt x="54" y="165"/>
                  </a:cubicBezTo>
                  <a:moveTo>
                    <a:pt x="47" y="155"/>
                  </a:moveTo>
                  <a:cubicBezTo>
                    <a:pt x="47" y="155"/>
                    <a:pt x="47" y="155"/>
                    <a:pt x="47" y="155"/>
                  </a:cubicBezTo>
                  <a:cubicBezTo>
                    <a:pt x="47" y="155"/>
                    <a:pt x="47" y="155"/>
                    <a:pt x="47" y="155"/>
                  </a:cubicBezTo>
                  <a:cubicBezTo>
                    <a:pt x="47" y="155"/>
                    <a:pt x="47" y="155"/>
                    <a:pt x="47" y="155"/>
                  </a:cubicBezTo>
                  <a:moveTo>
                    <a:pt x="872" y="144"/>
                  </a:moveTo>
                  <a:cubicBezTo>
                    <a:pt x="873" y="144"/>
                    <a:pt x="873" y="144"/>
                    <a:pt x="874" y="144"/>
                  </a:cubicBezTo>
                  <a:cubicBezTo>
                    <a:pt x="886" y="144"/>
                    <a:pt x="995" y="171"/>
                    <a:pt x="995" y="175"/>
                  </a:cubicBezTo>
                  <a:cubicBezTo>
                    <a:pt x="995" y="175"/>
                    <a:pt x="995" y="175"/>
                    <a:pt x="995" y="175"/>
                  </a:cubicBezTo>
                  <a:cubicBezTo>
                    <a:pt x="994" y="176"/>
                    <a:pt x="994" y="177"/>
                    <a:pt x="994" y="178"/>
                  </a:cubicBezTo>
                  <a:cubicBezTo>
                    <a:pt x="994" y="181"/>
                    <a:pt x="995" y="183"/>
                    <a:pt x="996" y="186"/>
                  </a:cubicBezTo>
                  <a:cubicBezTo>
                    <a:pt x="998" y="190"/>
                    <a:pt x="943" y="219"/>
                    <a:pt x="938" y="219"/>
                  </a:cubicBezTo>
                  <a:cubicBezTo>
                    <a:pt x="938" y="219"/>
                    <a:pt x="937" y="219"/>
                    <a:pt x="937" y="219"/>
                  </a:cubicBezTo>
                  <a:cubicBezTo>
                    <a:pt x="937" y="219"/>
                    <a:pt x="937" y="219"/>
                    <a:pt x="937" y="219"/>
                  </a:cubicBezTo>
                  <a:cubicBezTo>
                    <a:pt x="934" y="215"/>
                    <a:pt x="930" y="213"/>
                    <a:pt x="925" y="213"/>
                  </a:cubicBezTo>
                  <a:cubicBezTo>
                    <a:pt x="923" y="213"/>
                    <a:pt x="921" y="213"/>
                    <a:pt x="919" y="214"/>
                  </a:cubicBezTo>
                  <a:cubicBezTo>
                    <a:pt x="918" y="215"/>
                    <a:pt x="918" y="215"/>
                    <a:pt x="918" y="215"/>
                  </a:cubicBezTo>
                  <a:cubicBezTo>
                    <a:pt x="918" y="215"/>
                    <a:pt x="918" y="215"/>
                    <a:pt x="918" y="215"/>
                  </a:cubicBezTo>
                  <a:cubicBezTo>
                    <a:pt x="918" y="215"/>
                    <a:pt x="918" y="215"/>
                    <a:pt x="918" y="215"/>
                  </a:cubicBezTo>
                  <a:cubicBezTo>
                    <a:pt x="915" y="215"/>
                    <a:pt x="866" y="152"/>
                    <a:pt x="869" y="150"/>
                  </a:cubicBezTo>
                  <a:cubicBezTo>
                    <a:pt x="869" y="150"/>
                    <a:pt x="869" y="150"/>
                    <a:pt x="869" y="150"/>
                  </a:cubicBezTo>
                  <a:cubicBezTo>
                    <a:pt x="870" y="148"/>
                    <a:pt x="872" y="146"/>
                    <a:pt x="872" y="144"/>
                  </a:cubicBezTo>
                  <a:cubicBezTo>
                    <a:pt x="872" y="144"/>
                    <a:pt x="872" y="144"/>
                    <a:pt x="872" y="144"/>
                  </a:cubicBezTo>
                  <a:moveTo>
                    <a:pt x="776" y="159"/>
                  </a:moveTo>
                  <a:cubicBezTo>
                    <a:pt x="776" y="157"/>
                    <a:pt x="826" y="144"/>
                    <a:pt x="836" y="144"/>
                  </a:cubicBezTo>
                  <a:cubicBezTo>
                    <a:pt x="837" y="144"/>
                    <a:pt x="838" y="144"/>
                    <a:pt x="838" y="144"/>
                  </a:cubicBezTo>
                  <a:cubicBezTo>
                    <a:pt x="838" y="144"/>
                    <a:pt x="838" y="144"/>
                    <a:pt x="838" y="144"/>
                  </a:cubicBezTo>
                  <a:cubicBezTo>
                    <a:pt x="840" y="149"/>
                    <a:pt x="845" y="153"/>
                    <a:pt x="851" y="154"/>
                  </a:cubicBezTo>
                  <a:cubicBezTo>
                    <a:pt x="851" y="154"/>
                    <a:pt x="851" y="154"/>
                    <a:pt x="851" y="154"/>
                  </a:cubicBezTo>
                  <a:cubicBezTo>
                    <a:pt x="854" y="155"/>
                    <a:pt x="849" y="194"/>
                    <a:pt x="847" y="195"/>
                  </a:cubicBezTo>
                  <a:cubicBezTo>
                    <a:pt x="847" y="195"/>
                    <a:pt x="847" y="195"/>
                    <a:pt x="847" y="195"/>
                  </a:cubicBezTo>
                  <a:cubicBezTo>
                    <a:pt x="846" y="195"/>
                    <a:pt x="846" y="195"/>
                    <a:pt x="845" y="195"/>
                  </a:cubicBezTo>
                  <a:cubicBezTo>
                    <a:pt x="844" y="196"/>
                    <a:pt x="843" y="196"/>
                    <a:pt x="842" y="197"/>
                  </a:cubicBezTo>
                  <a:cubicBezTo>
                    <a:pt x="842" y="197"/>
                    <a:pt x="842" y="197"/>
                    <a:pt x="842" y="197"/>
                  </a:cubicBezTo>
                  <a:cubicBezTo>
                    <a:pt x="842" y="197"/>
                    <a:pt x="842" y="197"/>
                    <a:pt x="842" y="197"/>
                  </a:cubicBezTo>
                  <a:cubicBezTo>
                    <a:pt x="839" y="197"/>
                    <a:pt x="775" y="163"/>
                    <a:pt x="776" y="162"/>
                  </a:cubicBezTo>
                  <a:cubicBezTo>
                    <a:pt x="776" y="162"/>
                    <a:pt x="776" y="162"/>
                    <a:pt x="776" y="162"/>
                  </a:cubicBezTo>
                  <a:cubicBezTo>
                    <a:pt x="776" y="161"/>
                    <a:pt x="776" y="160"/>
                    <a:pt x="776" y="159"/>
                  </a:cubicBezTo>
                  <a:cubicBezTo>
                    <a:pt x="776" y="159"/>
                    <a:pt x="776" y="159"/>
                    <a:pt x="776" y="159"/>
                  </a:cubicBezTo>
                  <a:moveTo>
                    <a:pt x="48" y="137"/>
                  </a:moveTo>
                  <a:cubicBezTo>
                    <a:pt x="48" y="137"/>
                    <a:pt x="48" y="137"/>
                    <a:pt x="48" y="137"/>
                  </a:cubicBezTo>
                  <a:cubicBezTo>
                    <a:pt x="51" y="137"/>
                    <a:pt x="108" y="159"/>
                    <a:pt x="108" y="160"/>
                  </a:cubicBezTo>
                  <a:cubicBezTo>
                    <a:pt x="108" y="160"/>
                    <a:pt x="108" y="160"/>
                    <a:pt x="108" y="160"/>
                  </a:cubicBezTo>
                  <a:cubicBezTo>
                    <a:pt x="108" y="161"/>
                    <a:pt x="108" y="161"/>
                    <a:pt x="108" y="161"/>
                  </a:cubicBezTo>
                  <a:cubicBezTo>
                    <a:pt x="108" y="161"/>
                    <a:pt x="108" y="161"/>
                    <a:pt x="108" y="161"/>
                  </a:cubicBezTo>
                  <a:cubicBezTo>
                    <a:pt x="107" y="161"/>
                    <a:pt x="84" y="163"/>
                    <a:pt x="61" y="164"/>
                  </a:cubicBezTo>
                  <a:cubicBezTo>
                    <a:pt x="53" y="158"/>
                    <a:pt x="47" y="154"/>
                    <a:pt x="48" y="154"/>
                  </a:cubicBezTo>
                  <a:cubicBezTo>
                    <a:pt x="48" y="154"/>
                    <a:pt x="48" y="154"/>
                    <a:pt x="48" y="154"/>
                  </a:cubicBezTo>
                  <a:cubicBezTo>
                    <a:pt x="48" y="153"/>
                    <a:pt x="48" y="151"/>
                    <a:pt x="48" y="150"/>
                  </a:cubicBezTo>
                  <a:cubicBezTo>
                    <a:pt x="47" y="149"/>
                    <a:pt x="45" y="148"/>
                    <a:pt x="44" y="148"/>
                  </a:cubicBezTo>
                  <a:cubicBezTo>
                    <a:pt x="43" y="148"/>
                    <a:pt x="43" y="148"/>
                    <a:pt x="42" y="148"/>
                  </a:cubicBezTo>
                  <a:cubicBezTo>
                    <a:pt x="40" y="149"/>
                    <a:pt x="39" y="152"/>
                    <a:pt x="40" y="153"/>
                  </a:cubicBezTo>
                  <a:cubicBezTo>
                    <a:pt x="41" y="155"/>
                    <a:pt x="42" y="156"/>
                    <a:pt x="44" y="156"/>
                  </a:cubicBezTo>
                  <a:cubicBezTo>
                    <a:pt x="45" y="156"/>
                    <a:pt x="45" y="156"/>
                    <a:pt x="46" y="155"/>
                  </a:cubicBezTo>
                  <a:cubicBezTo>
                    <a:pt x="46" y="155"/>
                    <a:pt x="46" y="155"/>
                    <a:pt x="46" y="155"/>
                  </a:cubicBezTo>
                  <a:cubicBezTo>
                    <a:pt x="46" y="155"/>
                    <a:pt x="46" y="155"/>
                    <a:pt x="46" y="155"/>
                  </a:cubicBezTo>
                  <a:cubicBezTo>
                    <a:pt x="46" y="155"/>
                    <a:pt x="46" y="155"/>
                    <a:pt x="46" y="155"/>
                  </a:cubicBezTo>
                  <a:cubicBezTo>
                    <a:pt x="46" y="155"/>
                    <a:pt x="49" y="159"/>
                    <a:pt x="53" y="165"/>
                  </a:cubicBezTo>
                  <a:cubicBezTo>
                    <a:pt x="38" y="165"/>
                    <a:pt x="24" y="166"/>
                    <a:pt x="18" y="166"/>
                  </a:cubicBezTo>
                  <a:cubicBezTo>
                    <a:pt x="16" y="166"/>
                    <a:pt x="15" y="166"/>
                    <a:pt x="15" y="166"/>
                  </a:cubicBezTo>
                  <a:cubicBezTo>
                    <a:pt x="15" y="166"/>
                    <a:pt x="15" y="166"/>
                    <a:pt x="15" y="166"/>
                  </a:cubicBezTo>
                  <a:cubicBezTo>
                    <a:pt x="14" y="165"/>
                    <a:pt x="14" y="165"/>
                    <a:pt x="14" y="164"/>
                  </a:cubicBezTo>
                  <a:cubicBezTo>
                    <a:pt x="13" y="163"/>
                    <a:pt x="13" y="163"/>
                    <a:pt x="13" y="163"/>
                  </a:cubicBezTo>
                  <a:cubicBezTo>
                    <a:pt x="13" y="163"/>
                    <a:pt x="13" y="163"/>
                    <a:pt x="13" y="163"/>
                  </a:cubicBezTo>
                  <a:cubicBezTo>
                    <a:pt x="13" y="162"/>
                    <a:pt x="40" y="138"/>
                    <a:pt x="41" y="138"/>
                  </a:cubicBezTo>
                  <a:cubicBezTo>
                    <a:pt x="41" y="138"/>
                    <a:pt x="41" y="138"/>
                    <a:pt x="41" y="138"/>
                  </a:cubicBezTo>
                  <a:cubicBezTo>
                    <a:pt x="41" y="138"/>
                    <a:pt x="41" y="138"/>
                    <a:pt x="41" y="138"/>
                  </a:cubicBezTo>
                  <a:cubicBezTo>
                    <a:pt x="42" y="139"/>
                    <a:pt x="43" y="139"/>
                    <a:pt x="44" y="139"/>
                  </a:cubicBezTo>
                  <a:cubicBezTo>
                    <a:pt x="45" y="139"/>
                    <a:pt x="45" y="139"/>
                    <a:pt x="46" y="139"/>
                  </a:cubicBezTo>
                  <a:cubicBezTo>
                    <a:pt x="47" y="138"/>
                    <a:pt x="48" y="138"/>
                    <a:pt x="48" y="137"/>
                  </a:cubicBezTo>
                  <a:cubicBezTo>
                    <a:pt x="48" y="137"/>
                    <a:pt x="48" y="137"/>
                    <a:pt x="48" y="137"/>
                  </a:cubicBezTo>
                  <a:moveTo>
                    <a:pt x="586" y="70"/>
                  </a:moveTo>
                  <a:cubicBezTo>
                    <a:pt x="586" y="70"/>
                    <a:pt x="586" y="70"/>
                    <a:pt x="586" y="70"/>
                  </a:cubicBezTo>
                  <a:cubicBezTo>
                    <a:pt x="588" y="70"/>
                    <a:pt x="590" y="71"/>
                    <a:pt x="592" y="71"/>
                  </a:cubicBezTo>
                  <a:cubicBezTo>
                    <a:pt x="594" y="71"/>
                    <a:pt x="596" y="70"/>
                    <a:pt x="598" y="70"/>
                  </a:cubicBezTo>
                  <a:cubicBezTo>
                    <a:pt x="597" y="70"/>
                    <a:pt x="597" y="70"/>
                    <a:pt x="597" y="70"/>
                  </a:cubicBezTo>
                  <a:cubicBezTo>
                    <a:pt x="597" y="70"/>
                    <a:pt x="597" y="70"/>
                    <a:pt x="598" y="70"/>
                  </a:cubicBezTo>
                  <a:cubicBezTo>
                    <a:pt x="601" y="70"/>
                    <a:pt x="642" y="138"/>
                    <a:pt x="637" y="142"/>
                  </a:cubicBezTo>
                  <a:cubicBezTo>
                    <a:pt x="637" y="142"/>
                    <a:pt x="637" y="142"/>
                    <a:pt x="637" y="142"/>
                  </a:cubicBezTo>
                  <a:cubicBezTo>
                    <a:pt x="630" y="147"/>
                    <a:pt x="625" y="156"/>
                    <a:pt x="625" y="165"/>
                  </a:cubicBezTo>
                  <a:cubicBezTo>
                    <a:pt x="625" y="179"/>
                    <a:pt x="634" y="190"/>
                    <a:pt x="648" y="194"/>
                  </a:cubicBezTo>
                  <a:cubicBezTo>
                    <a:pt x="653" y="195"/>
                    <a:pt x="643" y="267"/>
                    <a:pt x="640" y="268"/>
                  </a:cubicBezTo>
                  <a:cubicBezTo>
                    <a:pt x="640" y="268"/>
                    <a:pt x="640" y="268"/>
                    <a:pt x="640" y="268"/>
                  </a:cubicBezTo>
                  <a:cubicBezTo>
                    <a:pt x="632" y="268"/>
                    <a:pt x="625" y="274"/>
                    <a:pt x="625" y="283"/>
                  </a:cubicBezTo>
                  <a:cubicBezTo>
                    <a:pt x="625" y="286"/>
                    <a:pt x="626" y="288"/>
                    <a:pt x="628" y="291"/>
                  </a:cubicBezTo>
                  <a:cubicBezTo>
                    <a:pt x="628" y="291"/>
                    <a:pt x="628" y="291"/>
                    <a:pt x="628" y="291"/>
                  </a:cubicBezTo>
                  <a:cubicBezTo>
                    <a:pt x="629" y="293"/>
                    <a:pt x="586" y="329"/>
                    <a:pt x="583" y="329"/>
                  </a:cubicBezTo>
                  <a:cubicBezTo>
                    <a:pt x="583" y="329"/>
                    <a:pt x="583" y="329"/>
                    <a:pt x="583" y="329"/>
                  </a:cubicBezTo>
                  <a:cubicBezTo>
                    <a:pt x="583" y="329"/>
                    <a:pt x="583" y="329"/>
                    <a:pt x="583" y="329"/>
                  </a:cubicBezTo>
                  <a:cubicBezTo>
                    <a:pt x="581" y="328"/>
                    <a:pt x="579" y="327"/>
                    <a:pt x="576" y="327"/>
                  </a:cubicBezTo>
                  <a:cubicBezTo>
                    <a:pt x="576" y="327"/>
                    <a:pt x="575" y="327"/>
                    <a:pt x="574" y="327"/>
                  </a:cubicBezTo>
                  <a:cubicBezTo>
                    <a:pt x="574" y="327"/>
                    <a:pt x="574" y="327"/>
                    <a:pt x="574" y="327"/>
                  </a:cubicBezTo>
                  <a:cubicBezTo>
                    <a:pt x="574" y="327"/>
                    <a:pt x="574" y="327"/>
                    <a:pt x="574" y="327"/>
                  </a:cubicBezTo>
                  <a:cubicBezTo>
                    <a:pt x="572" y="327"/>
                    <a:pt x="518" y="213"/>
                    <a:pt x="523" y="211"/>
                  </a:cubicBezTo>
                  <a:cubicBezTo>
                    <a:pt x="523" y="211"/>
                    <a:pt x="523" y="211"/>
                    <a:pt x="523" y="211"/>
                  </a:cubicBezTo>
                  <a:cubicBezTo>
                    <a:pt x="530" y="206"/>
                    <a:pt x="535" y="199"/>
                    <a:pt x="535" y="190"/>
                  </a:cubicBezTo>
                  <a:cubicBezTo>
                    <a:pt x="535" y="182"/>
                    <a:pt x="531" y="175"/>
                    <a:pt x="525" y="171"/>
                  </a:cubicBezTo>
                  <a:cubicBezTo>
                    <a:pt x="525" y="171"/>
                    <a:pt x="525" y="171"/>
                    <a:pt x="525" y="171"/>
                  </a:cubicBezTo>
                  <a:cubicBezTo>
                    <a:pt x="521" y="168"/>
                    <a:pt x="583" y="70"/>
                    <a:pt x="586" y="70"/>
                  </a:cubicBezTo>
                  <a:cubicBezTo>
                    <a:pt x="586" y="70"/>
                    <a:pt x="586" y="70"/>
                    <a:pt x="586" y="70"/>
                  </a:cubicBezTo>
                  <a:moveTo>
                    <a:pt x="678" y="145"/>
                  </a:moveTo>
                  <a:cubicBezTo>
                    <a:pt x="674" y="141"/>
                    <a:pt x="762" y="34"/>
                    <a:pt x="767" y="34"/>
                  </a:cubicBezTo>
                  <a:cubicBezTo>
                    <a:pt x="767" y="34"/>
                    <a:pt x="767" y="34"/>
                    <a:pt x="767" y="34"/>
                  </a:cubicBezTo>
                  <a:cubicBezTo>
                    <a:pt x="767" y="34"/>
                    <a:pt x="767" y="34"/>
                    <a:pt x="767" y="34"/>
                  </a:cubicBezTo>
                  <a:cubicBezTo>
                    <a:pt x="770" y="35"/>
                    <a:pt x="773" y="36"/>
                    <a:pt x="776" y="36"/>
                  </a:cubicBezTo>
                  <a:cubicBezTo>
                    <a:pt x="779" y="36"/>
                    <a:pt x="781" y="35"/>
                    <a:pt x="784" y="34"/>
                  </a:cubicBezTo>
                  <a:cubicBezTo>
                    <a:pt x="784" y="34"/>
                    <a:pt x="784" y="34"/>
                    <a:pt x="784" y="34"/>
                  </a:cubicBezTo>
                  <a:cubicBezTo>
                    <a:pt x="784" y="34"/>
                    <a:pt x="784" y="34"/>
                    <a:pt x="784" y="34"/>
                  </a:cubicBezTo>
                  <a:cubicBezTo>
                    <a:pt x="788" y="34"/>
                    <a:pt x="846" y="121"/>
                    <a:pt x="843" y="124"/>
                  </a:cubicBezTo>
                  <a:cubicBezTo>
                    <a:pt x="843" y="123"/>
                    <a:pt x="843" y="123"/>
                    <a:pt x="843" y="123"/>
                  </a:cubicBezTo>
                  <a:cubicBezTo>
                    <a:pt x="839" y="127"/>
                    <a:pt x="837" y="132"/>
                    <a:pt x="837" y="137"/>
                  </a:cubicBezTo>
                  <a:cubicBezTo>
                    <a:pt x="837" y="138"/>
                    <a:pt x="837" y="138"/>
                    <a:pt x="837" y="139"/>
                  </a:cubicBezTo>
                  <a:cubicBezTo>
                    <a:pt x="837" y="139"/>
                    <a:pt x="837" y="139"/>
                    <a:pt x="837" y="139"/>
                  </a:cubicBezTo>
                  <a:cubicBezTo>
                    <a:pt x="837" y="142"/>
                    <a:pt x="781" y="156"/>
                    <a:pt x="776" y="156"/>
                  </a:cubicBezTo>
                  <a:cubicBezTo>
                    <a:pt x="776" y="156"/>
                    <a:pt x="775" y="156"/>
                    <a:pt x="775" y="156"/>
                  </a:cubicBezTo>
                  <a:cubicBezTo>
                    <a:pt x="775" y="156"/>
                    <a:pt x="775" y="156"/>
                    <a:pt x="775" y="156"/>
                  </a:cubicBezTo>
                  <a:cubicBezTo>
                    <a:pt x="775" y="156"/>
                    <a:pt x="775" y="156"/>
                    <a:pt x="775" y="156"/>
                  </a:cubicBezTo>
                  <a:cubicBezTo>
                    <a:pt x="774" y="153"/>
                    <a:pt x="771" y="152"/>
                    <a:pt x="768" y="152"/>
                  </a:cubicBezTo>
                  <a:cubicBezTo>
                    <a:pt x="767" y="152"/>
                    <a:pt x="766" y="152"/>
                    <a:pt x="765" y="153"/>
                  </a:cubicBezTo>
                  <a:cubicBezTo>
                    <a:pt x="763" y="154"/>
                    <a:pt x="761" y="156"/>
                    <a:pt x="761" y="158"/>
                  </a:cubicBezTo>
                  <a:cubicBezTo>
                    <a:pt x="761" y="158"/>
                    <a:pt x="761" y="158"/>
                    <a:pt x="761" y="158"/>
                  </a:cubicBezTo>
                  <a:cubicBezTo>
                    <a:pt x="761" y="159"/>
                    <a:pt x="751" y="160"/>
                    <a:pt x="738" y="161"/>
                  </a:cubicBezTo>
                  <a:cubicBezTo>
                    <a:pt x="744" y="161"/>
                    <a:pt x="749" y="161"/>
                    <a:pt x="753" y="161"/>
                  </a:cubicBezTo>
                  <a:cubicBezTo>
                    <a:pt x="758" y="161"/>
                    <a:pt x="761" y="161"/>
                    <a:pt x="761" y="161"/>
                  </a:cubicBezTo>
                  <a:cubicBezTo>
                    <a:pt x="761" y="161"/>
                    <a:pt x="761" y="161"/>
                    <a:pt x="761" y="161"/>
                  </a:cubicBezTo>
                  <a:cubicBezTo>
                    <a:pt x="761" y="161"/>
                    <a:pt x="761" y="162"/>
                    <a:pt x="761" y="162"/>
                  </a:cubicBezTo>
                  <a:cubicBezTo>
                    <a:pt x="762" y="163"/>
                    <a:pt x="762" y="163"/>
                    <a:pt x="762" y="164"/>
                  </a:cubicBezTo>
                  <a:cubicBezTo>
                    <a:pt x="762" y="164"/>
                    <a:pt x="762" y="164"/>
                    <a:pt x="762" y="164"/>
                  </a:cubicBezTo>
                  <a:cubicBezTo>
                    <a:pt x="763" y="164"/>
                    <a:pt x="736" y="191"/>
                    <a:pt x="708" y="218"/>
                  </a:cubicBezTo>
                  <a:cubicBezTo>
                    <a:pt x="706" y="216"/>
                    <a:pt x="704" y="214"/>
                    <a:pt x="702" y="212"/>
                  </a:cubicBezTo>
                  <a:cubicBezTo>
                    <a:pt x="704" y="214"/>
                    <a:pt x="706" y="216"/>
                    <a:pt x="707" y="218"/>
                  </a:cubicBezTo>
                  <a:cubicBezTo>
                    <a:pt x="680" y="244"/>
                    <a:pt x="652" y="270"/>
                    <a:pt x="650" y="270"/>
                  </a:cubicBezTo>
                  <a:cubicBezTo>
                    <a:pt x="650" y="270"/>
                    <a:pt x="650" y="270"/>
                    <a:pt x="650" y="270"/>
                  </a:cubicBezTo>
                  <a:cubicBezTo>
                    <a:pt x="650" y="270"/>
                    <a:pt x="650" y="270"/>
                    <a:pt x="650" y="270"/>
                  </a:cubicBezTo>
                  <a:cubicBezTo>
                    <a:pt x="649" y="269"/>
                    <a:pt x="647" y="269"/>
                    <a:pt x="645" y="268"/>
                  </a:cubicBezTo>
                  <a:cubicBezTo>
                    <a:pt x="645" y="268"/>
                    <a:pt x="645" y="268"/>
                    <a:pt x="645" y="268"/>
                  </a:cubicBezTo>
                  <a:cubicBezTo>
                    <a:pt x="642" y="267"/>
                    <a:pt x="650" y="195"/>
                    <a:pt x="656" y="195"/>
                  </a:cubicBezTo>
                  <a:cubicBezTo>
                    <a:pt x="656" y="195"/>
                    <a:pt x="656" y="195"/>
                    <a:pt x="656" y="195"/>
                  </a:cubicBezTo>
                  <a:cubicBezTo>
                    <a:pt x="663" y="194"/>
                    <a:pt x="669" y="192"/>
                    <a:pt x="674" y="189"/>
                  </a:cubicBezTo>
                  <a:cubicBezTo>
                    <a:pt x="674" y="189"/>
                    <a:pt x="674" y="189"/>
                    <a:pt x="674" y="189"/>
                  </a:cubicBezTo>
                  <a:cubicBezTo>
                    <a:pt x="674" y="189"/>
                    <a:pt x="674" y="189"/>
                    <a:pt x="674" y="189"/>
                  </a:cubicBezTo>
                  <a:cubicBezTo>
                    <a:pt x="677" y="189"/>
                    <a:pt x="683" y="194"/>
                    <a:pt x="690" y="200"/>
                  </a:cubicBezTo>
                  <a:cubicBezTo>
                    <a:pt x="683" y="192"/>
                    <a:pt x="678" y="186"/>
                    <a:pt x="679" y="184"/>
                  </a:cubicBezTo>
                  <a:cubicBezTo>
                    <a:pt x="679" y="184"/>
                    <a:pt x="679" y="184"/>
                    <a:pt x="679" y="184"/>
                  </a:cubicBezTo>
                  <a:cubicBezTo>
                    <a:pt x="683" y="179"/>
                    <a:pt x="686" y="174"/>
                    <a:pt x="686" y="168"/>
                  </a:cubicBezTo>
                  <a:cubicBezTo>
                    <a:pt x="686" y="168"/>
                    <a:pt x="686" y="168"/>
                    <a:pt x="686" y="168"/>
                  </a:cubicBezTo>
                  <a:cubicBezTo>
                    <a:pt x="686" y="165"/>
                    <a:pt x="701" y="163"/>
                    <a:pt x="718" y="162"/>
                  </a:cubicBezTo>
                  <a:cubicBezTo>
                    <a:pt x="713" y="162"/>
                    <a:pt x="709" y="162"/>
                    <a:pt x="705" y="162"/>
                  </a:cubicBezTo>
                  <a:cubicBezTo>
                    <a:pt x="694" y="162"/>
                    <a:pt x="686" y="161"/>
                    <a:pt x="686" y="160"/>
                  </a:cubicBezTo>
                  <a:cubicBezTo>
                    <a:pt x="686" y="160"/>
                    <a:pt x="686" y="160"/>
                    <a:pt x="686" y="160"/>
                  </a:cubicBezTo>
                  <a:cubicBezTo>
                    <a:pt x="685" y="154"/>
                    <a:pt x="682" y="149"/>
                    <a:pt x="678" y="145"/>
                  </a:cubicBezTo>
                  <a:cubicBezTo>
                    <a:pt x="678" y="145"/>
                    <a:pt x="678" y="145"/>
                    <a:pt x="678" y="145"/>
                  </a:cubicBezTo>
                  <a:moveTo>
                    <a:pt x="789" y="31"/>
                  </a:moveTo>
                  <a:cubicBezTo>
                    <a:pt x="789" y="31"/>
                    <a:pt x="789" y="31"/>
                    <a:pt x="789" y="31"/>
                  </a:cubicBezTo>
                  <a:cubicBezTo>
                    <a:pt x="789" y="31"/>
                    <a:pt x="789" y="31"/>
                    <a:pt x="789" y="31"/>
                  </a:cubicBezTo>
                  <a:cubicBezTo>
                    <a:pt x="789" y="31"/>
                    <a:pt x="789" y="31"/>
                    <a:pt x="789" y="31"/>
                  </a:cubicBezTo>
                  <a:moveTo>
                    <a:pt x="776" y="0"/>
                  </a:moveTo>
                  <a:cubicBezTo>
                    <a:pt x="766" y="0"/>
                    <a:pt x="757" y="8"/>
                    <a:pt x="757" y="18"/>
                  </a:cubicBezTo>
                  <a:cubicBezTo>
                    <a:pt x="757" y="23"/>
                    <a:pt x="759" y="27"/>
                    <a:pt x="763" y="30"/>
                  </a:cubicBezTo>
                  <a:cubicBezTo>
                    <a:pt x="762" y="30"/>
                    <a:pt x="762" y="30"/>
                    <a:pt x="762" y="30"/>
                  </a:cubicBezTo>
                  <a:cubicBezTo>
                    <a:pt x="765" y="33"/>
                    <a:pt x="678" y="140"/>
                    <a:pt x="671" y="140"/>
                  </a:cubicBezTo>
                  <a:cubicBezTo>
                    <a:pt x="671" y="140"/>
                    <a:pt x="671" y="140"/>
                    <a:pt x="671" y="140"/>
                  </a:cubicBezTo>
                  <a:cubicBezTo>
                    <a:pt x="671" y="140"/>
                    <a:pt x="671" y="140"/>
                    <a:pt x="671" y="140"/>
                  </a:cubicBezTo>
                  <a:cubicBezTo>
                    <a:pt x="666" y="137"/>
                    <a:pt x="661" y="136"/>
                    <a:pt x="656" y="136"/>
                  </a:cubicBezTo>
                  <a:cubicBezTo>
                    <a:pt x="652" y="136"/>
                    <a:pt x="648" y="136"/>
                    <a:pt x="645" y="138"/>
                  </a:cubicBezTo>
                  <a:cubicBezTo>
                    <a:pt x="645" y="138"/>
                    <a:pt x="645" y="138"/>
                    <a:pt x="644" y="138"/>
                  </a:cubicBezTo>
                  <a:cubicBezTo>
                    <a:pt x="638" y="138"/>
                    <a:pt x="600" y="69"/>
                    <a:pt x="602" y="67"/>
                  </a:cubicBezTo>
                  <a:cubicBezTo>
                    <a:pt x="602" y="68"/>
                    <a:pt x="602" y="68"/>
                    <a:pt x="602" y="68"/>
                  </a:cubicBezTo>
                  <a:cubicBezTo>
                    <a:pt x="606" y="65"/>
                    <a:pt x="608" y="60"/>
                    <a:pt x="608" y="56"/>
                  </a:cubicBezTo>
                  <a:cubicBezTo>
                    <a:pt x="608" y="47"/>
                    <a:pt x="601" y="41"/>
                    <a:pt x="592" y="41"/>
                  </a:cubicBezTo>
                  <a:cubicBezTo>
                    <a:pt x="584" y="41"/>
                    <a:pt x="576" y="47"/>
                    <a:pt x="576" y="56"/>
                  </a:cubicBezTo>
                  <a:cubicBezTo>
                    <a:pt x="576" y="60"/>
                    <a:pt x="579" y="64"/>
                    <a:pt x="582" y="67"/>
                  </a:cubicBezTo>
                  <a:cubicBezTo>
                    <a:pt x="582" y="67"/>
                    <a:pt x="582" y="67"/>
                    <a:pt x="582" y="67"/>
                  </a:cubicBezTo>
                  <a:cubicBezTo>
                    <a:pt x="584" y="69"/>
                    <a:pt x="525" y="167"/>
                    <a:pt x="519" y="167"/>
                  </a:cubicBezTo>
                  <a:cubicBezTo>
                    <a:pt x="519" y="167"/>
                    <a:pt x="519" y="167"/>
                    <a:pt x="519" y="167"/>
                  </a:cubicBezTo>
                  <a:cubicBezTo>
                    <a:pt x="516" y="166"/>
                    <a:pt x="512" y="165"/>
                    <a:pt x="509" y="165"/>
                  </a:cubicBezTo>
                  <a:cubicBezTo>
                    <a:pt x="495" y="165"/>
                    <a:pt x="483" y="176"/>
                    <a:pt x="483" y="190"/>
                  </a:cubicBezTo>
                  <a:cubicBezTo>
                    <a:pt x="483" y="202"/>
                    <a:pt x="493" y="213"/>
                    <a:pt x="505" y="214"/>
                  </a:cubicBezTo>
                  <a:cubicBezTo>
                    <a:pt x="505" y="214"/>
                    <a:pt x="505" y="214"/>
                    <a:pt x="505" y="214"/>
                  </a:cubicBezTo>
                  <a:cubicBezTo>
                    <a:pt x="510" y="215"/>
                    <a:pt x="509" y="291"/>
                    <a:pt x="507" y="291"/>
                  </a:cubicBezTo>
                  <a:cubicBezTo>
                    <a:pt x="507" y="291"/>
                    <a:pt x="507" y="291"/>
                    <a:pt x="507" y="291"/>
                  </a:cubicBezTo>
                  <a:cubicBezTo>
                    <a:pt x="506" y="291"/>
                    <a:pt x="505" y="291"/>
                    <a:pt x="504" y="292"/>
                  </a:cubicBezTo>
                  <a:cubicBezTo>
                    <a:pt x="500" y="294"/>
                    <a:pt x="497" y="298"/>
                    <a:pt x="497" y="302"/>
                  </a:cubicBezTo>
                  <a:cubicBezTo>
                    <a:pt x="497" y="302"/>
                    <a:pt x="497" y="302"/>
                    <a:pt x="497" y="302"/>
                  </a:cubicBezTo>
                  <a:cubicBezTo>
                    <a:pt x="497" y="304"/>
                    <a:pt x="361" y="319"/>
                    <a:pt x="345" y="319"/>
                  </a:cubicBezTo>
                  <a:cubicBezTo>
                    <a:pt x="343" y="319"/>
                    <a:pt x="343" y="319"/>
                    <a:pt x="343" y="319"/>
                  </a:cubicBezTo>
                  <a:cubicBezTo>
                    <a:pt x="343" y="319"/>
                    <a:pt x="343" y="319"/>
                    <a:pt x="343" y="319"/>
                  </a:cubicBezTo>
                  <a:cubicBezTo>
                    <a:pt x="343" y="318"/>
                    <a:pt x="342" y="318"/>
                    <a:pt x="342" y="317"/>
                  </a:cubicBezTo>
                  <a:cubicBezTo>
                    <a:pt x="340" y="313"/>
                    <a:pt x="336" y="311"/>
                    <a:pt x="331" y="311"/>
                  </a:cubicBezTo>
                  <a:cubicBezTo>
                    <a:pt x="330" y="311"/>
                    <a:pt x="328" y="311"/>
                    <a:pt x="326" y="312"/>
                  </a:cubicBezTo>
                  <a:cubicBezTo>
                    <a:pt x="323" y="313"/>
                    <a:pt x="321" y="315"/>
                    <a:pt x="320" y="318"/>
                  </a:cubicBezTo>
                  <a:cubicBezTo>
                    <a:pt x="320" y="318"/>
                    <a:pt x="320" y="318"/>
                    <a:pt x="320" y="318"/>
                  </a:cubicBezTo>
                  <a:cubicBezTo>
                    <a:pt x="320" y="318"/>
                    <a:pt x="320" y="318"/>
                    <a:pt x="320" y="318"/>
                  </a:cubicBezTo>
                  <a:cubicBezTo>
                    <a:pt x="310" y="318"/>
                    <a:pt x="180" y="290"/>
                    <a:pt x="180" y="287"/>
                  </a:cubicBezTo>
                  <a:cubicBezTo>
                    <a:pt x="180" y="287"/>
                    <a:pt x="180" y="287"/>
                    <a:pt x="180" y="287"/>
                  </a:cubicBezTo>
                  <a:cubicBezTo>
                    <a:pt x="180" y="283"/>
                    <a:pt x="178" y="279"/>
                    <a:pt x="175" y="276"/>
                  </a:cubicBezTo>
                  <a:cubicBezTo>
                    <a:pt x="172" y="273"/>
                    <a:pt x="169" y="272"/>
                    <a:pt x="165" y="272"/>
                  </a:cubicBezTo>
                  <a:cubicBezTo>
                    <a:pt x="161" y="272"/>
                    <a:pt x="157" y="274"/>
                    <a:pt x="154" y="277"/>
                  </a:cubicBezTo>
                  <a:cubicBezTo>
                    <a:pt x="154" y="278"/>
                    <a:pt x="153" y="279"/>
                    <a:pt x="153" y="280"/>
                  </a:cubicBezTo>
                  <a:cubicBezTo>
                    <a:pt x="153" y="280"/>
                    <a:pt x="153" y="280"/>
                    <a:pt x="153" y="280"/>
                  </a:cubicBezTo>
                  <a:cubicBezTo>
                    <a:pt x="153" y="280"/>
                    <a:pt x="152" y="280"/>
                    <a:pt x="152" y="280"/>
                  </a:cubicBezTo>
                  <a:cubicBezTo>
                    <a:pt x="148" y="280"/>
                    <a:pt x="124" y="272"/>
                    <a:pt x="103" y="265"/>
                  </a:cubicBezTo>
                  <a:cubicBezTo>
                    <a:pt x="94" y="241"/>
                    <a:pt x="82" y="205"/>
                    <a:pt x="83" y="205"/>
                  </a:cubicBezTo>
                  <a:cubicBezTo>
                    <a:pt x="82" y="205"/>
                    <a:pt x="82" y="205"/>
                    <a:pt x="82" y="205"/>
                  </a:cubicBezTo>
                  <a:cubicBezTo>
                    <a:pt x="84" y="204"/>
                    <a:pt x="85" y="203"/>
                    <a:pt x="85" y="202"/>
                  </a:cubicBezTo>
                  <a:cubicBezTo>
                    <a:pt x="85" y="202"/>
                    <a:pt x="85" y="202"/>
                    <a:pt x="85" y="202"/>
                  </a:cubicBezTo>
                  <a:cubicBezTo>
                    <a:pt x="85" y="202"/>
                    <a:pt x="86" y="202"/>
                    <a:pt x="86" y="202"/>
                  </a:cubicBezTo>
                  <a:cubicBezTo>
                    <a:pt x="90" y="202"/>
                    <a:pt x="125" y="213"/>
                    <a:pt x="125" y="214"/>
                  </a:cubicBezTo>
                  <a:cubicBezTo>
                    <a:pt x="125" y="214"/>
                    <a:pt x="125" y="214"/>
                    <a:pt x="125" y="214"/>
                  </a:cubicBezTo>
                  <a:cubicBezTo>
                    <a:pt x="125" y="215"/>
                    <a:pt x="125" y="216"/>
                    <a:pt x="125" y="217"/>
                  </a:cubicBezTo>
                  <a:cubicBezTo>
                    <a:pt x="126" y="218"/>
                    <a:pt x="128" y="219"/>
                    <a:pt x="130" y="219"/>
                  </a:cubicBezTo>
                  <a:cubicBezTo>
                    <a:pt x="130" y="219"/>
                    <a:pt x="131" y="219"/>
                    <a:pt x="132" y="219"/>
                  </a:cubicBezTo>
                  <a:cubicBezTo>
                    <a:pt x="134" y="218"/>
                    <a:pt x="135" y="215"/>
                    <a:pt x="134" y="213"/>
                  </a:cubicBezTo>
                  <a:cubicBezTo>
                    <a:pt x="133" y="211"/>
                    <a:pt x="131" y="210"/>
                    <a:pt x="130" y="210"/>
                  </a:cubicBezTo>
                  <a:cubicBezTo>
                    <a:pt x="129" y="210"/>
                    <a:pt x="128" y="210"/>
                    <a:pt x="128" y="210"/>
                  </a:cubicBezTo>
                  <a:cubicBezTo>
                    <a:pt x="127" y="211"/>
                    <a:pt x="127" y="211"/>
                    <a:pt x="126" y="211"/>
                  </a:cubicBezTo>
                  <a:cubicBezTo>
                    <a:pt x="126" y="211"/>
                    <a:pt x="126" y="211"/>
                    <a:pt x="126" y="211"/>
                  </a:cubicBezTo>
                  <a:cubicBezTo>
                    <a:pt x="126" y="211"/>
                    <a:pt x="126" y="211"/>
                    <a:pt x="126" y="211"/>
                  </a:cubicBezTo>
                  <a:cubicBezTo>
                    <a:pt x="125" y="211"/>
                    <a:pt x="83" y="181"/>
                    <a:pt x="61" y="164"/>
                  </a:cubicBezTo>
                  <a:cubicBezTo>
                    <a:pt x="81" y="163"/>
                    <a:pt x="100" y="162"/>
                    <a:pt x="106" y="162"/>
                  </a:cubicBezTo>
                  <a:cubicBezTo>
                    <a:pt x="107" y="162"/>
                    <a:pt x="108" y="162"/>
                    <a:pt x="108" y="162"/>
                  </a:cubicBezTo>
                  <a:cubicBezTo>
                    <a:pt x="108" y="162"/>
                    <a:pt x="108" y="162"/>
                    <a:pt x="108" y="162"/>
                  </a:cubicBezTo>
                  <a:cubicBezTo>
                    <a:pt x="108" y="163"/>
                    <a:pt x="108" y="163"/>
                    <a:pt x="108" y="163"/>
                  </a:cubicBezTo>
                  <a:cubicBezTo>
                    <a:pt x="109" y="165"/>
                    <a:pt x="111" y="166"/>
                    <a:pt x="112" y="166"/>
                  </a:cubicBezTo>
                  <a:cubicBezTo>
                    <a:pt x="113" y="166"/>
                    <a:pt x="114" y="166"/>
                    <a:pt x="114" y="165"/>
                  </a:cubicBezTo>
                  <a:cubicBezTo>
                    <a:pt x="117" y="164"/>
                    <a:pt x="118" y="162"/>
                    <a:pt x="117" y="159"/>
                  </a:cubicBezTo>
                  <a:cubicBezTo>
                    <a:pt x="116" y="158"/>
                    <a:pt x="114" y="157"/>
                    <a:pt x="112" y="157"/>
                  </a:cubicBezTo>
                  <a:cubicBezTo>
                    <a:pt x="112" y="157"/>
                    <a:pt x="111" y="157"/>
                    <a:pt x="110" y="157"/>
                  </a:cubicBezTo>
                  <a:cubicBezTo>
                    <a:pt x="109" y="158"/>
                    <a:pt x="109" y="158"/>
                    <a:pt x="108" y="159"/>
                  </a:cubicBezTo>
                  <a:cubicBezTo>
                    <a:pt x="108" y="159"/>
                    <a:pt x="108" y="159"/>
                    <a:pt x="108" y="159"/>
                  </a:cubicBezTo>
                  <a:cubicBezTo>
                    <a:pt x="108" y="159"/>
                    <a:pt x="108" y="159"/>
                    <a:pt x="108" y="159"/>
                  </a:cubicBezTo>
                  <a:cubicBezTo>
                    <a:pt x="106" y="159"/>
                    <a:pt x="49" y="136"/>
                    <a:pt x="49" y="135"/>
                  </a:cubicBezTo>
                  <a:cubicBezTo>
                    <a:pt x="49" y="136"/>
                    <a:pt x="49" y="136"/>
                    <a:pt x="49" y="136"/>
                  </a:cubicBezTo>
                  <a:cubicBezTo>
                    <a:pt x="49" y="135"/>
                    <a:pt x="49" y="133"/>
                    <a:pt x="48" y="132"/>
                  </a:cubicBezTo>
                  <a:cubicBezTo>
                    <a:pt x="48" y="131"/>
                    <a:pt x="46" y="130"/>
                    <a:pt x="44" y="130"/>
                  </a:cubicBezTo>
                  <a:cubicBezTo>
                    <a:pt x="43" y="130"/>
                    <a:pt x="43" y="130"/>
                    <a:pt x="42" y="130"/>
                  </a:cubicBezTo>
                  <a:cubicBezTo>
                    <a:pt x="40" y="131"/>
                    <a:pt x="39" y="134"/>
                    <a:pt x="40" y="136"/>
                  </a:cubicBezTo>
                  <a:cubicBezTo>
                    <a:pt x="40" y="137"/>
                    <a:pt x="40" y="137"/>
                    <a:pt x="40" y="137"/>
                  </a:cubicBezTo>
                  <a:cubicBezTo>
                    <a:pt x="40" y="137"/>
                    <a:pt x="40" y="137"/>
                    <a:pt x="40" y="137"/>
                  </a:cubicBezTo>
                  <a:cubicBezTo>
                    <a:pt x="41" y="138"/>
                    <a:pt x="14" y="162"/>
                    <a:pt x="12" y="162"/>
                  </a:cubicBezTo>
                  <a:cubicBezTo>
                    <a:pt x="12" y="162"/>
                    <a:pt x="12" y="162"/>
                    <a:pt x="12" y="162"/>
                  </a:cubicBezTo>
                  <a:cubicBezTo>
                    <a:pt x="12" y="162"/>
                    <a:pt x="12" y="162"/>
                    <a:pt x="12" y="162"/>
                  </a:cubicBezTo>
                  <a:cubicBezTo>
                    <a:pt x="11" y="161"/>
                    <a:pt x="9" y="161"/>
                    <a:pt x="8" y="161"/>
                  </a:cubicBezTo>
                  <a:cubicBezTo>
                    <a:pt x="7" y="161"/>
                    <a:pt x="6" y="161"/>
                    <a:pt x="5" y="161"/>
                  </a:cubicBezTo>
                  <a:cubicBezTo>
                    <a:pt x="1" y="163"/>
                    <a:pt x="0" y="167"/>
                    <a:pt x="2" y="170"/>
                  </a:cubicBezTo>
                  <a:cubicBezTo>
                    <a:pt x="3" y="172"/>
                    <a:pt x="5" y="174"/>
                    <a:pt x="8" y="174"/>
                  </a:cubicBezTo>
                  <a:cubicBezTo>
                    <a:pt x="9" y="174"/>
                    <a:pt x="10" y="174"/>
                    <a:pt x="11" y="173"/>
                  </a:cubicBezTo>
                  <a:cubicBezTo>
                    <a:pt x="13" y="172"/>
                    <a:pt x="14" y="170"/>
                    <a:pt x="15" y="168"/>
                  </a:cubicBezTo>
                  <a:cubicBezTo>
                    <a:pt x="15" y="168"/>
                    <a:pt x="15" y="168"/>
                    <a:pt x="15" y="168"/>
                  </a:cubicBezTo>
                  <a:cubicBezTo>
                    <a:pt x="15" y="167"/>
                    <a:pt x="33" y="166"/>
                    <a:pt x="53" y="165"/>
                  </a:cubicBezTo>
                  <a:cubicBezTo>
                    <a:pt x="62" y="176"/>
                    <a:pt x="75" y="194"/>
                    <a:pt x="74" y="194"/>
                  </a:cubicBezTo>
                  <a:cubicBezTo>
                    <a:pt x="75" y="194"/>
                    <a:pt x="75" y="194"/>
                    <a:pt x="75" y="194"/>
                  </a:cubicBezTo>
                  <a:cubicBezTo>
                    <a:pt x="72" y="196"/>
                    <a:pt x="72" y="199"/>
                    <a:pt x="73" y="202"/>
                  </a:cubicBezTo>
                  <a:cubicBezTo>
                    <a:pt x="74" y="204"/>
                    <a:pt x="77" y="206"/>
                    <a:pt x="79" y="206"/>
                  </a:cubicBezTo>
                  <a:cubicBezTo>
                    <a:pt x="80" y="206"/>
                    <a:pt x="80" y="206"/>
                    <a:pt x="81" y="206"/>
                  </a:cubicBezTo>
                  <a:cubicBezTo>
                    <a:pt x="81" y="206"/>
                    <a:pt x="81" y="206"/>
                    <a:pt x="81" y="206"/>
                  </a:cubicBezTo>
                  <a:cubicBezTo>
                    <a:pt x="81" y="206"/>
                    <a:pt x="81" y="206"/>
                    <a:pt x="81" y="206"/>
                  </a:cubicBezTo>
                  <a:cubicBezTo>
                    <a:pt x="81" y="206"/>
                    <a:pt x="94" y="241"/>
                    <a:pt x="103" y="265"/>
                  </a:cubicBezTo>
                  <a:cubicBezTo>
                    <a:pt x="91" y="261"/>
                    <a:pt x="79" y="257"/>
                    <a:pt x="73" y="254"/>
                  </a:cubicBezTo>
                  <a:cubicBezTo>
                    <a:pt x="74" y="251"/>
                    <a:pt x="72" y="247"/>
                    <a:pt x="70" y="245"/>
                  </a:cubicBezTo>
                  <a:cubicBezTo>
                    <a:pt x="68" y="244"/>
                    <a:pt x="65" y="243"/>
                    <a:pt x="63" y="243"/>
                  </a:cubicBezTo>
                  <a:cubicBezTo>
                    <a:pt x="60" y="243"/>
                    <a:pt x="57" y="244"/>
                    <a:pt x="55" y="246"/>
                  </a:cubicBezTo>
                  <a:cubicBezTo>
                    <a:pt x="52" y="251"/>
                    <a:pt x="52" y="257"/>
                    <a:pt x="57" y="260"/>
                  </a:cubicBezTo>
                  <a:cubicBezTo>
                    <a:pt x="59" y="262"/>
                    <a:pt x="61" y="262"/>
                    <a:pt x="63" y="262"/>
                  </a:cubicBezTo>
                  <a:cubicBezTo>
                    <a:pt x="66" y="262"/>
                    <a:pt x="69" y="261"/>
                    <a:pt x="71" y="259"/>
                  </a:cubicBezTo>
                  <a:cubicBezTo>
                    <a:pt x="72" y="258"/>
                    <a:pt x="72" y="257"/>
                    <a:pt x="73" y="256"/>
                  </a:cubicBezTo>
                  <a:cubicBezTo>
                    <a:pt x="79" y="258"/>
                    <a:pt x="91" y="261"/>
                    <a:pt x="103" y="265"/>
                  </a:cubicBezTo>
                  <a:cubicBezTo>
                    <a:pt x="108" y="278"/>
                    <a:pt x="111" y="288"/>
                    <a:pt x="111" y="288"/>
                  </a:cubicBezTo>
                  <a:cubicBezTo>
                    <a:pt x="111" y="288"/>
                    <a:pt x="111" y="288"/>
                    <a:pt x="111" y="288"/>
                  </a:cubicBezTo>
                  <a:cubicBezTo>
                    <a:pt x="109" y="289"/>
                    <a:pt x="108" y="291"/>
                    <a:pt x="109" y="293"/>
                  </a:cubicBezTo>
                  <a:cubicBezTo>
                    <a:pt x="109" y="293"/>
                    <a:pt x="109" y="293"/>
                    <a:pt x="109" y="293"/>
                  </a:cubicBezTo>
                  <a:cubicBezTo>
                    <a:pt x="109" y="293"/>
                    <a:pt x="109" y="293"/>
                    <a:pt x="109" y="293"/>
                  </a:cubicBezTo>
                  <a:cubicBezTo>
                    <a:pt x="109" y="293"/>
                    <a:pt x="70" y="319"/>
                    <a:pt x="69" y="319"/>
                  </a:cubicBezTo>
                  <a:cubicBezTo>
                    <a:pt x="69" y="319"/>
                    <a:pt x="69" y="319"/>
                    <a:pt x="69" y="319"/>
                  </a:cubicBezTo>
                  <a:cubicBezTo>
                    <a:pt x="69" y="319"/>
                    <a:pt x="69" y="319"/>
                    <a:pt x="69" y="319"/>
                  </a:cubicBezTo>
                  <a:cubicBezTo>
                    <a:pt x="68" y="319"/>
                    <a:pt x="67" y="318"/>
                    <a:pt x="66" y="318"/>
                  </a:cubicBezTo>
                  <a:cubicBezTo>
                    <a:pt x="66" y="318"/>
                    <a:pt x="66" y="318"/>
                    <a:pt x="65" y="318"/>
                  </a:cubicBezTo>
                  <a:cubicBezTo>
                    <a:pt x="63" y="319"/>
                    <a:pt x="63" y="321"/>
                    <a:pt x="63" y="323"/>
                  </a:cubicBezTo>
                  <a:cubicBezTo>
                    <a:pt x="64" y="324"/>
                    <a:pt x="65" y="325"/>
                    <a:pt x="67" y="325"/>
                  </a:cubicBezTo>
                  <a:cubicBezTo>
                    <a:pt x="67" y="325"/>
                    <a:pt x="67" y="324"/>
                    <a:pt x="68" y="324"/>
                  </a:cubicBezTo>
                  <a:cubicBezTo>
                    <a:pt x="69" y="324"/>
                    <a:pt x="69" y="323"/>
                    <a:pt x="69" y="323"/>
                  </a:cubicBezTo>
                  <a:cubicBezTo>
                    <a:pt x="69" y="323"/>
                    <a:pt x="69" y="323"/>
                    <a:pt x="69" y="323"/>
                  </a:cubicBezTo>
                  <a:cubicBezTo>
                    <a:pt x="69" y="323"/>
                    <a:pt x="69" y="323"/>
                    <a:pt x="70" y="323"/>
                  </a:cubicBezTo>
                  <a:cubicBezTo>
                    <a:pt x="71" y="323"/>
                    <a:pt x="109" y="335"/>
                    <a:pt x="109" y="336"/>
                  </a:cubicBezTo>
                  <a:cubicBezTo>
                    <a:pt x="109" y="335"/>
                    <a:pt x="109" y="335"/>
                    <a:pt x="109" y="335"/>
                  </a:cubicBezTo>
                  <a:cubicBezTo>
                    <a:pt x="108" y="336"/>
                    <a:pt x="109" y="337"/>
                    <a:pt x="109" y="338"/>
                  </a:cubicBezTo>
                  <a:cubicBezTo>
                    <a:pt x="110" y="339"/>
                    <a:pt x="111" y="340"/>
                    <a:pt x="112" y="340"/>
                  </a:cubicBezTo>
                  <a:cubicBezTo>
                    <a:pt x="113" y="340"/>
                    <a:pt x="114" y="340"/>
                    <a:pt x="114" y="340"/>
                  </a:cubicBezTo>
                  <a:cubicBezTo>
                    <a:pt x="116" y="339"/>
                    <a:pt x="117" y="336"/>
                    <a:pt x="116" y="335"/>
                  </a:cubicBezTo>
                  <a:cubicBezTo>
                    <a:pt x="115" y="333"/>
                    <a:pt x="114" y="333"/>
                    <a:pt x="113" y="332"/>
                  </a:cubicBezTo>
                  <a:cubicBezTo>
                    <a:pt x="113" y="332"/>
                    <a:pt x="113" y="332"/>
                    <a:pt x="113" y="332"/>
                  </a:cubicBezTo>
                  <a:cubicBezTo>
                    <a:pt x="112" y="332"/>
                    <a:pt x="112" y="295"/>
                    <a:pt x="113" y="295"/>
                  </a:cubicBezTo>
                  <a:cubicBezTo>
                    <a:pt x="113" y="295"/>
                    <a:pt x="113" y="295"/>
                    <a:pt x="113" y="295"/>
                  </a:cubicBezTo>
                  <a:cubicBezTo>
                    <a:pt x="113" y="295"/>
                    <a:pt x="114" y="295"/>
                    <a:pt x="114" y="295"/>
                  </a:cubicBezTo>
                  <a:cubicBezTo>
                    <a:pt x="116" y="294"/>
                    <a:pt x="117" y="291"/>
                    <a:pt x="116" y="290"/>
                  </a:cubicBezTo>
                  <a:cubicBezTo>
                    <a:pt x="115" y="288"/>
                    <a:pt x="114" y="287"/>
                    <a:pt x="112" y="287"/>
                  </a:cubicBezTo>
                  <a:cubicBezTo>
                    <a:pt x="112" y="287"/>
                    <a:pt x="112" y="287"/>
                    <a:pt x="112" y="287"/>
                  </a:cubicBezTo>
                  <a:cubicBezTo>
                    <a:pt x="112" y="287"/>
                    <a:pt x="112" y="287"/>
                    <a:pt x="112" y="287"/>
                  </a:cubicBezTo>
                  <a:cubicBezTo>
                    <a:pt x="112" y="287"/>
                    <a:pt x="112" y="287"/>
                    <a:pt x="112" y="287"/>
                  </a:cubicBezTo>
                  <a:cubicBezTo>
                    <a:pt x="112" y="287"/>
                    <a:pt x="108" y="278"/>
                    <a:pt x="103" y="265"/>
                  </a:cubicBezTo>
                  <a:cubicBezTo>
                    <a:pt x="126" y="273"/>
                    <a:pt x="151" y="282"/>
                    <a:pt x="151" y="284"/>
                  </a:cubicBezTo>
                  <a:cubicBezTo>
                    <a:pt x="151" y="284"/>
                    <a:pt x="151" y="284"/>
                    <a:pt x="151" y="284"/>
                  </a:cubicBezTo>
                  <a:cubicBezTo>
                    <a:pt x="150" y="289"/>
                    <a:pt x="152" y="294"/>
                    <a:pt x="156" y="297"/>
                  </a:cubicBezTo>
                  <a:cubicBezTo>
                    <a:pt x="159" y="299"/>
                    <a:pt x="162" y="300"/>
                    <a:pt x="165" y="300"/>
                  </a:cubicBezTo>
                  <a:cubicBezTo>
                    <a:pt x="170" y="300"/>
                    <a:pt x="174" y="299"/>
                    <a:pt x="177" y="295"/>
                  </a:cubicBezTo>
                  <a:cubicBezTo>
                    <a:pt x="178" y="294"/>
                    <a:pt x="178" y="293"/>
                    <a:pt x="179" y="291"/>
                  </a:cubicBezTo>
                  <a:cubicBezTo>
                    <a:pt x="179" y="291"/>
                    <a:pt x="179" y="291"/>
                    <a:pt x="179" y="291"/>
                  </a:cubicBezTo>
                  <a:cubicBezTo>
                    <a:pt x="179" y="291"/>
                    <a:pt x="179" y="291"/>
                    <a:pt x="180" y="291"/>
                  </a:cubicBezTo>
                  <a:cubicBezTo>
                    <a:pt x="191" y="291"/>
                    <a:pt x="320" y="319"/>
                    <a:pt x="319" y="321"/>
                  </a:cubicBezTo>
                  <a:cubicBezTo>
                    <a:pt x="319" y="321"/>
                    <a:pt x="319" y="321"/>
                    <a:pt x="319" y="321"/>
                  </a:cubicBezTo>
                  <a:cubicBezTo>
                    <a:pt x="319" y="323"/>
                    <a:pt x="320" y="325"/>
                    <a:pt x="321" y="327"/>
                  </a:cubicBezTo>
                  <a:cubicBezTo>
                    <a:pt x="323" y="331"/>
                    <a:pt x="327" y="333"/>
                    <a:pt x="331" y="333"/>
                  </a:cubicBezTo>
                  <a:cubicBezTo>
                    <a:pt x="333" y="333"/>
                    <a:pt x="335" y="333"/>
                    <a:pt x="336" y="332"/>
                  </a:cubicBezTo>
                  <a:cubicBezTo>
                    <a:pt x="339" y="331"/>
                    <a:pt x="340" y="330"/>
                    <a:pt x="341" y="328"/>
                  </a:cubicBezTo>
                  <a:cubicBezTo>
                    <a:pt x="341" y="328"/>
                    <a:pt x="341" y="328"/>
                    <a:pt x="341" y="328"/>
                  </a:cubicBezTo>
                  <a:cubicBezTo>
                    <a:pt x="342" y="328"/>
                    <a:pt x="342" y="328"/>
                    <a:pt x="342" y="328"/>
                  </a:cubicBezTo>
                  <a:cubicBezTo>
                    <a:pt x="347" y="328"/>
                    <a:pt x="375" y="340"/>
                    <a:pt x="375" y="342"/>
                  </a:cubicBezTo>
                  <a:cubicBezTo>
                    <a:pt x="375" y="342"/>
                    <a:pt x="375" y="342"/>
                    <a:pt x="375" y="342"/>
                  </a:cubicBezTo>
                  <a:cubicBezTo>
                    <a:pt x="375" y="343"/>
                    <a:pt x="375" y="345"/>
                    <a:pt x="375" y="346"/>
                  </a:cubicBezTo>
                  <a:cubicBezTo>
                    <a:pt x="376" y="348"/>
                    <a:pt x="378" y="349"/>
                    <a:pt x="380" y="350"/>
                  </a:cubicBezTo>
                  <a:cubicBezTo>
                    <a:pt x="380" y="350"/>
                    <a:pt x="380" y="350"/>
                    <a:pt x="380" y="350"/>
                  </a:cubicBezTo>
                  <a:cubicBezTo>
                    <a:pt x="381" y="350"/>
                    <a:pt x="371" y="406"/>
                    <a:pt x="370" y="406"/>
                  </a:cubicBezTo>
                  <a:cubicBezTo>
                    <a:pt x="371" y="406"/>
                    <a:pt x="371" y="406"/>
                    <a:pt x="371" y="406"/>
                  </a:cubicBezTo>
                  <a:cubicBezTo>
                    <a:pt x="371" y="406"/>
                    <a:pt x="371" y="406"/>
                    <a:pt x="370" y="406"/>
                  </a:cubicBezTo>
                  <a:cubicBezTo>
                    <a:pt x="370" y="406"/>
                    <a:pt x="369" y="406"/>
                    <a:pt x="368" y="406"/>
                  </a:cubicBezTo>
                  <a:cubicBezTo>
                    <a:pt x="366" y="407"/>
                    <a:pt x="365" y="410"/>
                    <a:pt x="366" y="412"/>
                  </a:cubicBezTo>
                  <a:cubicBezTo>
                    <a:pt x="367" y="414"/>
                    <a:pt x="369" y="415"/>
                    <a:pt x="370" y="415"/>
                  </a:cubicBezTo>
                  <a:cubicBezTo>
                    <a:pt x="371" y="415"/>
                    <a:pt x="372" y="415"/>
                    <a:pt x="373" y="414"/>
                  </a:cubicBezTo>
                  <a:cubicBezTo>
                    <a:pt x="375" y="413"/>
                    <a:pt x="376" y="411"/>
                    <a:pt x="375" y="408"/>
                  </a:cubicBezTo>
                  <a:cubicBezTo>
                    <a:pt x="375" y="408"/>
                    <a:pt x="375" y="408"/>
                    <a:pt x="375" y="408"/>
                  </a:cubicBezTo>
                  <a:cubicBezTo>
                    <a:pt x="375" y="408"/>
                    <a:pt x="375" y="408"/>
                    <a:pt x="375" y="408"/>
                  </a:cubicBezTo>
                  <a:cubicBezTo>
                    <a:pt x="374" y="407"/>
                    <a:pt x="399" y="388"/>
                    <a:pt x="401" y="388"/>
                  </a:cubicBezTo>
                  <a:cubicBezTo>
                    <a:pt x="402" y="388"/>
                    <a:pt x="402" y="388"/>
                    <a:pt x="402" y="388"/>
                  </a:cubicBezTo>
                  <a:cubicBezTo>
                    <a:pt x="402" y="388"/>
                    <a:pt x="402" y="388"/>
                    <a:pt x="402" y="388"/>
                  </a:cubicBezTo>
                  <a:cubicBezTo>
                    <a:pt x="403" y="390"/>
                    <a:pt x="406" y="390"/>
                    <a:pt x="408" y="390"/>
                  </a:cubicBezTo>
                  <a:cubicBezTo>
                    <a:pt x="409" y="390"/>
                    <a:pt x="411" y="390"/>
                    <a:pt x="412" y="390"/>
                  </a:cubicBezTo>
                  <a:cubicBezTo>
                    <a:pt x="416" y="388"/>
                    <a:pt x="418" y="382"/>
                    <a:pt x="416" y="378"/>
                  </a:cubicBezTo>
                  <a:cubicBezTo>
                    <a:pt x="415" y="375"/>
                    <a:pt x="411" y="373"/>
                    <a:pt x="408" y="373"/>
                  </a:cubicBezTo>
                  <a:cubicBezTo>
                    <a:pt x="407" y="373"/>
                    <a:pt x="405" y="373"/>
                    <a:pt x="404" y="374"/>
                  </a:cubicBezTo>
                  <a:cubicBezTo>
                    <a:pt x="404" y="374"/>
                    <a:pt x="404" y="374"/>
                    <a:pt x="404" y="374"/>
                  </a:cubicBezTo>
                  <a:cubicBezTo>
                    <a:pt x="404" y="374"/>
                    <a:pt x="404" y="374"/>
                    <a:pt x="404" y="374"/>
                  </a:cubicBezTo>
                  <a:cubicBezTo>
                    <a:pt x="402" y="374"/>
                    <a:pt x="385" y="349"/>
                    <a:pt x="386" y="348"/>
                  </a:cubicBezTo>
                  <a:cubicBezTo>
                    <a:pt x="386" y="348"/>
                    <a:pt x="386" y="348"/>
                    <a:pt x="386" y="348"/>
                  </a:cubicBezTo>
                  <a:cubicBezTo>
                    <a:pt x="389" y="346"/>
                    <a:pt x="389" y="343"/>
                    <a:pt x="388" y="340"/>
                  </a:cubicBezTo>
                  <a:cubicBezTo>
                    <a:pt x="387" y="338"/>
                    <a:pt x="384" y="337"/>
                    <a:pt x="382" y="337"/>
                  </a:cubicBezTo>
                  <a:cubicBezTo>
                    <a:pt x="381" y="337"/>
                    <a:pt x="380" y="337"/>
                    <a:pt x="379" y="337"/>
                  </a:cubicBezTo>
                  <a:cubicBezTo>
                    <a:pt x="378" y="338"/>
                    <a:pt x="377" y="339"/>
                    <a:pt x="376" y="340"/>
                  </a:cubicBezTo>
                  <a:cubicBezTo>
                    <a:pt x="376" y="340"/>
                    <a:pt x="376" y="340"/>
                    <a:pt x="376" y="340"/>
                  </a:cubicBezTo>
                  <a:cubicBezTo>
                    <a:pt x="376" y="340"/>
                    <a:pt x="376" y="340"/>
                    <a:pt x="376" y="340"/>
                  </a:cubicBezTo>
                  <a:cubicBezTo>
                    <a:pt x="373" y="340"/>
                    <a:pt x="342" y="327"/>
                    <a:pt x="343" y="325"/>
                  </a:cubicBezTo>
                  <a:cubicBezTo>
                    <a:pt x="343" y="325"/>
                    <a:pt x="343" y="325"/>
                    <a:pt x="343" y="325"/>
                  </a:cubicBezTo>
                  <a:cubicBezTo>
                    <a:pt x="343" y="324"/>
                    <a:pt x="343" y="323"/>
                    <a:pt x="343" y="322"/>
                  </a:cubicBezTo>
                  <a:cubicBezTo>
                    <a:pt x="343" y="322"/>
                    <a:pt x="343" y="322"/>
                    <a:pt x="343" y="322"/>
                  </a:cubicBezTo>
                  <a:cubicBezTo>
                    <a:pt x="343" y="320"/>
                    <a:pt x="479" y="305"/>
                    <a:pt x="496" y="305"/>
                  </a:cubicBezTo>
                  <a:cubicBezTo>
                    <a:pt x="497" y="305"/>
                    <a:pt x="497" y="305"/>
                    <a:pt x="497" y="305"/>
                  </a:cubicBezTo>
                  <a:cubicBezTo>
                    <a:pt x="497" y="305"/>
                    <a:pt x="497" y="305"/>
                    <a:pt x="497" y="305"/>
                  </a:cubicBezTo>
                  <a:cubicBezTo>
                    <a:pt x="498" y="306"/>
                    <a:pt x="498" y="306"/>
                    <a:pt x="498" y="307"/>
                  </a:cubicBezTo>
                  <a:cubicBezTo>
                    <a:pt x="500" y="311"/>
                    <a:pt x="504" y="314"/>
                    <a:pt x="509" y="314"/>
                  </a:cubicBezTo>
                  <a:cubicBezTo>
                    <a:pt x="511" y="314"/>
                    <a:pt x="512" y="313"/>
                    <a:pt x="514" y="313"/>
                  </a:cubicBezTo>
                  <a:cubicBezTo>
                    <a:pt x="516" y="312"/>
                    <a:pt x="517" y="311"/>
                    <a:pt x="519" y="309"/>
                  </a:cubicBezTo>
                  <a:cubicBezTo>
                    <a:pt x="519" y="309"/>
                    <a:pt x="519" y="309"/>
                    <a:pt x="519" y="309"/>
                  </a:cubicBezTo>
                  <a:cubicBezTo>
                    <a:pt x="519" y="309"/>
                    <a:pt x="519" y="309"/>
                    <a:pt x="519" y="309"/>
                  </a:cubicBezTo>
                  <a:cubicBezTo>
                    <a:pt x="523" y="309"/>
                    <a:pt x="568" y="332"/>
                    <a:pt x="567" y="333"/>
                  </a:cubicBezTo>
                  <a:cubicBezTo>
                    <a:pt x="567" y="333"/>
                    <a:pt x="567" y="333"/>
                    <a:pt x="567" y="333"/>
                  </a:cubicBezTo>
                  <a:cubicBezTo>
                    <a:pt x="566" y="336"/>
                    <a:pt x="566" y="338"/>
                    <a:pt x="567" y="341"/>
                  </a:cubicBezTo>
                  <a:cubicBezTo>
                    <a:pt x="569" y="344"/>
                    <a:pt x="573" y="346"/>
                    <a:pt x="576" y="346"/>
                  </a:cubicBezTo>
                  <a:cubicBezTo>
                    <a:pt x="578" y="346"/>
                    <a:pt x="579" y="346"/>
                    <a:pt x="581" y="345"/>
                  </a:cubicBezTo>
                  <a:cubicBezTo>
                    <a:pt x="586" y="343"/>
                    <a:pt x="588" y="337"/>
                    <a:pt x="586" y="332"/>
                  </a:cubicBezTo>
                  <a:cubicBezTo>
                    <a:pt x="585" y="331"/>
                    <a:pt x="585" y="331"/>
                    <a:pt x="585" y="331"/>
                  </a:cubicBezTo>
                  <a:cubicBezTo>
                    <a:pt x="585" y="331"/>
                    <a:pt x="585" y="331"/>
                    <a:pt x="585" y="331"/>
                  </a:cubicBezTo>
                  <a:cubicBezTo>
                    <a:pt x="584" y="330"/>
                    <a:pt x="626" y="294"/>
                    <a:pt x="631" y="294"/>
                  </a:cubicBezTo>
                  <a:cubicBezTo>
                    <a:pt x="631" y="294"/>
                    <a:pt x="631" y="294"/>
                    <a:pt x="631" y="294"/>
                  </a:cubicBezTo>
                  <a:cubicBezTo>
                    <a:pt x="631" y="294"/>
                    <a:pt x="631" y="294"/>
                    <a:pt x="631" y="294"/>
                  </a:cubicBezTo>
                  <a:cubicBezTo>
                    <a:pt x="634" y="296"/>
                    <a:pt x="637" y="298"/>
                    <a:pt x="641" y="298"/>
                  </a:cubicBezTo>
                  <a:cubicBezTo>
                    <a:pt x="647" y="298"/>
                    <a:pt x="653" y="294"/>
                    <a:pt x="655" y="289"/>
                  </a:cubicBezTo>
                  <a:cubicBezTo>
                    <a:pt x="655" y="289"/>
                    <a:pt x="655" y="289"/>
                    <a:pt x="655" y="289"/>
                  </a:cubicBezTo>
                  <a:cubicBezTo>
                    <a:pt x="655" y="289"/>
                    <a:pt x="656" y="289"/>
                    <a:pt x="656" y="289"/>
                  </a:cubicBezTo>
                  <a:cubicBezTo>
                    <a:pt x="666" y="289"/>
                    <a:pt x="737" y="308"/>
                    <a:pt x="737" y="310"/>
                  </a:cubicBezTo>
                  <a:cubicBezTo>
                    <a:pt x="737" y="310"/>
                    <a:pt x="737" y="310"/>
                    <a:pt x="737" y="310"/>
                  </a:cubicBezTo>
                  <a:cubicBezTo>
                    <a:pt x="737" y="311"/>
                    <a:pt x="737" y="312"/>
                    <a:pt x="738" y="314"/>
                  </a:cubicBezTo>
                  <a:cubicBezTo>
                    <a:pt x="738" y="314"/>
                    <a:pt x="739" y="315"/>
                    <a:pt x="739" y="316"/>
                  </a:cubicBezTo>
                  <a:cubicBezTo>
                    <a:pt x="739" y="316"/>
                    <a:pt x="739" y="316"/>
                    <a:pt x="739" y="316"/>
                  </a:cubicBezTo>
                  <a:cubicBezTo>
                    <a:pt x="740" y="317"/>
                    <a:pt x="692" y="378"/>
                    <a:pt x="689" y="378"/>
                  </a:cubicBezTo>
                  <a:cubicBezTo>
                    <a:pt x="689" y="378"/>
                    <a:pt x="689" y="378"/>
                    <a:pt x="689" y="378"/>
                  </a:cubicBezTo>
                  <a:cubicBezTo>
                    <a:pt x="687" y="377"/>
                    <a:pt x="684" y="376"/>
                    <a:pt x="682" y="376"/>
                  </a:cubicBezTo>
                  <a:cubicBezTo>
                    <a:pt x="674" y="376"/>
                    <a:pt x="667" y="382"/>
                    <a:pt x="667" y="390"/>
                  </a:cubicBezTo>
                  <a:cubicBezTo>
                    <a:pt x="667" y="391"/>
                    <a:pt x="667" y="392"/>
                    <a:pt x="668" y="393"/>
                  </a:cubicBezTo>
                  <a:cubicBezTo>
                    <a:pt x="668" y="396"/>
                    <a:pt x="559" y="435"/>
                    <a:pt x="552" y="435"/>
                  </a:cubicBezTo>
                  <a:cubicBezTo>
                    <a:pt x="552" y="435"/>
                    <a:pt x="552" y="435"/>
                    <a:pt x="552" y="435"/>
                  </a:cubicBezTo>
                  <a:cubicBezTo>
                    <a:pt x="552" y="435"/>
                    <a:pt x="552" y="435"/>
                    <a:pt x="552" y="435"/>
                  </a:cubicBezTo>
                  <a:cubicBezTo>
                    <a:pt x="550" y="431"/>
                    <a:pt x="545" y="429"/>
                    <a:pt x="540" y="429"/>
                  </a:cubicBezTo>
                  <a:cubicBezTo>
                    <a:pt x="533" y="429"/>
                    <a:pt x="527" y="434"/>
                    <a:pt x="527" y="442"/>
                  </a:cubicBezTo>
                  <a:cubicBezTo>
                    <a:pt x="527" y="449"/>
                    <a:pt x="533" y="455"/>
                    <a:pt x="540" y="455"/>
                  </a:cubicBezTo>
                  <a:cubicBezTo>
                    <a:pt x="548" y="455"/>
                    <a:pt x="554" y="449"/>
                    <a:pt x="554" y="442"/>
                  </a:cubicBezTo>
                  <a:cubicBezTo>
                    <a:pt x="554" y="441"/>
                    <a:pt x="554" y="440"/>
                    <a:pt x="553" y="439"/>
                  </a:cubicBezTo>
                  <a:cubicBezTo>
                    <a:pt x="553" y="436"/>
                    <a:pt x="661" y="397"/>
                    <a:pt x="669" y="397"/>
                  </a:cubicBezTo>
                  <a:cubicBezTo>
                    <a:pt x="669" y="397"/>
                    <a:pt x="669" y="397"/>
                    <a:pt x="669" y="397"/>
                  </a:cubicBezTo>
                  <a:cubicBezTo>
                    <a:pt x="669" y="397"/>
                    <a:pt x="669" y="397"/>
                    <a:pt x="669" y="397"/>
                  </a:cubicBezTo>
                  <a:cubicBezTo>
                    <a:pt x="671" y="401"/>
                    <a:pt x="675" y="403"/>
                    <a:pt x="680" y="404"/>
                  </a:cubicBezTo>
                  <a:cubicBezTo>
                    <a:pt x="680" y="404"/>
                    <a:pt x="680" y="404"/>
                    <a:pt x="680" y="404"/>
                  </a:cubicBezTo>
                  <a:cubicBezTo>
                    <a:pt x="683" y="404"/>
                    <a:pt x="682" y="478"/>
                    <a:pt x="681" y="478"/>
                  </a:cubicBezTo>
                  <a:cubicBezTo>
                    <a:pt x="681" y="478"/>
                    <a:pt x="681" y="478"/>
                    <a:pt x="681" y="478"/>
                  </a:cubicBezTo>
                  <a:cubicBezTo>
                    <a:pt x="680" y="478"/>
                    <a:pt x="679" y="479"/>
                    <a:pt x="679" y="479"/>
                  </a:cubicBezTo>
                  <a:cubicBezTo>
                    <a:pt x="676" y="480"/>
                    <a:pt x="674" y="483"/>
                    <a:pt x="674" y="486"/>
                  </a:cubicBezTo>
                  <a:cubicBezTo>
                    <a:pt x="674" y="486"/>
                    <a:pt x="674" y="486"/>
                    <a:pt x="674" y="486"/>
                  </a:cubicBezTo>
                  <a:cubicBezTo>
                    <a:pt x="674" y="488"/>
                    <a:pt x="615" y="505"/>
                    <a:pt x="607" y="505"/>
                  </a:cubicBezTo>
                  <a:cubicBezTo>
                    <a:pt x="607" y="505"/>
                    <a:pt x="606" y="505"/>
                    <a:pt x="606" y="505"/>
                  </a:cubicBezTo>
                  <a:cubicBezTo>
                    <a:pt x="606" y="505"/>
                    <a:pt x="606" y="505"/>
                    <a:pt x="606" y="505"/>
                  </a:cubicBezTo>
                  <a:cubicBezTo>
                    <a:pt x="604" y="501"/>
                    <a:pt x="599" y="498"/>
                    <a:pt x="594" y="498"/>
                  </a:cubicBezTo>
                  <a:cubicBezTo>
                    <a:pt x="592" y="498"/>
                    <a:pt x="590" y="498"/>
                    <a:pt x="588" y="499"/>
                  </a:cubicBezTo>
                  <a:cubicBezTo>
                    <a:pt x="582" y="502"/>
                    <a:pt x="579" y="510"/>
                    <a:pt x="582" y="516"/>
                  </a:cubicBezTo>
                  <a:cubicBezTo>
                    <a:pt x="584" y="521"/>
                    <a:pt x="589" y="524"/>
                    <a:pt x="594" y="524"/>
                  </a:cubicBezTo>
                  <a:cubicBezTo>
                    <a:pt x="596" y="524"/>
                    <a:pt x="598" y="523"/>
                    <a:pt x="600" y="523"/>
                  </a:cubicBezTo>
                  <a:cubicBezTo>
                    <a:pt x="605" y="520"/>
                    <a:pt x="608" y="515"/>
                    <a:pt x="608" y="509"/>
                  </a:cubicBezTo>
                  <a:cubicBezTo>
                    <a:pt x="608" y="509"/>
                    <a:pt x="608" y="509"/>
                    <a:pt x="608" y="509"/>
                  </a:cubicBezTo>
                  <a:cubicBezTo>
                    <a:pt x="607" y="507"/>
                    <a:pt x="670" y="489"/>
                    <a:pt x="675" y="489"/>
                  </a:cubicBezTo>
                  <a:cubicBezTo>
                    <a:pt x="675" y="489"/>
                    <a:pt x="675" y="489"/>
                    <a:pt x="675" y="489"/>
                  </a:cubicBezTo>
                  <a:cubicBezTo>
                    <a:pt x="675" y="489"/>
                    <a:pt x="675" y="489"/>
                    <a:pt x="675" y="489"/>
                  </a:cubicBezTo>
                  <a:cubicBezTo>
                    <a:pt x="676" y="491"/>
                    <a:pt x="679" y="493"/>
                    <a:pt x="682" y="493"/>
                  </a:cubicBezTo>
                  <a:cubicBezTo>
                    <a:pt x="683" y="493"/>
                    <a:pt x="684" y="493"/>
                    <a:pt x="685" y="492"/>
                  </a:cubicBezTo>
                  <a:cubicBezTo>
                    <a:pt x="689" y="490"/>
                    <a:pt x="690" y="486"/>
                    <a:pt x="689" y="482"/>
                  </a:cubicBezTo>
                  <a:cubicBezTo>
                    <a:pt x="688" y="480"/>
                    <a:pt x="685" y="479"/>
                    <a:pt x="683" y="478"/>
                  </a:cubicBezTo>
                  <a:cubicBezTo>
                    <a:pt x="683" y="478"/>
                    <a:pt x="683" y="478"/>
                    <a:pt x="683" y="478"/>
                  </a:cubicBezTo>
                  <a:cubicBezTo>
                    <a:pt x="682" y="478"/>
                    <a:pt x="681" y="404"/>
                    <a:pt x="684" y="404"/>
                  </a:cubicBezTo>
                  <a:cubicBezTo>
                    <a:pt x="684" y="404"/>
                    <a:pt x="684" y="404"/>
                    <a:pt x="684" y="404"/>
                  </a:cubicBezTo>
                  <a:cubicBezTo>
                    <a:pt x="689" y="403"/>
                    <a:pt x="693" y="400"/>
                    <a:pt x="695" y="396"/>
                  </a:cubicBezTo>
                  <a:cubicBezTo>
                    <a:pt x="695" y="396"/>
                    <a:pt x="695" y="396"/>
                    <a:pt x="695" y="396"/>
                  </a:cubicBezTo>
                  <a:cubicBezTo>
                    <a:pt x="695" y="396"/>
                    <a:pt x="695" y="396"/>
                    <a:pt x="696" y="396"/>
                  </a:cubicBezTo>
                  <a:cubicBezTo>
                    <a:pt x="704" y="396"/>
                    <a:pt x="759" y="413"/>
                    <a:pt x="758" y="416"/>
                  </a:cubicBezTo>
                  <a:cubicBezTo>
                    <a:pt x="758" y="416"/>
                    <a:pt x="758" y="416"/>
                    <a:pt x="758" y="416"/>
                  </a:cubicBezTo>
                  <a:cubicBezTo>
                    <a:pt x="758" y="417"/>
                    <a:pt x="758" y="418"/>
                    <a:pt x="758" y="419"/>
                  </a:cubicBezTo>
                  <a:cubicBezTo>
                    <a:pt x="758" y="429"/>
                    <a:pt x="766" y="437"/>
                    <a:pt x="776" y="437"/>
                  </a:cubicBezTo>
                  <a:cubicBezTo>
                    <a:pt x="786" y="437"/>
                    <a:pt x="795" y="429"/>
                    <a:pt x="795" y="419"/>
                  </a:cubicBezTo>
                  <a:cubicBezTo>
                    <a:pt x="795" y="409"/>
                    <a:pt x="786" y="401"/>
                    <a:pt x="776" y="401"/>
                  </a:cubicBezTo>
                  <a:cubicBezTo>
                    <a:pt x="769" y="401"/>
                    <a:pt x="763" y="405"/>
                    <a:pt x="760" y="411"/>
                  </a:cubicBezTo>
                  <a:cubicBezTo>
                    <a:pt x="760" y="411"/>
                    <a:pt x="760" y="411"/>
                    <a:pt x="760" y="411"/>
                  </a:cubicBezTo>
                  <a:cubicBezTo>
                    <a:pt x="760" y="411"/>
                    <a:pt x="759" y="411"/>
                    <a:pt x="759" y="411"/>
                  </a:cubicBezTo>
                  <a:cubicBezTo>
                    <a:pt x="749" y="411"/>
                    <a:pt x="696" y="395"/>
                    <a:pt x="696" y="392"/>
                  </a:cubicBezTo>
                  <a:cubicBezTo>
                    <a:pt x="696" y="392"/>
                    <a:pt x="696" y="392"/>
                    <a:pt x="696" y="392"/>
                  </a:cubicBezTo>
                  <a:cubicBezTo>
                    <a:pt x="696" y="391"/>
                    <a:pt x="696" y="391"/>
                    <a:pt x="696" y="390"/>
                  </a:cubicBezTo>
                  <a:cubicBezTo>
                    <a:pt x="696" y="386"/>
                    <a:pt x="695" y="383"/>
                    <a:pt x="692" y="380"/>
                  </a:cubicBezTo>
                  <a:cubicBezTo>
                    <a:pt x="692" y="380"/>
                    <a:pt x="692" y="380"/>
                    <a:pt x="692" y="380"/>
                  </a:cubicBezTo>
                  <a:cubicBezTo>
                    <a:pt x="690" y="378"/>
                    <a:pt x="739" y="317"/>
                    <a:pt x="741" y="317"/>
                  </a:cubicBezTo>
                  <a:cubicBezTo>
                    <a:pt x="741" y="317"/>
                    <a:pt x="741" y="317"/>
                    <a:pt x="741" y="317"/>
                  </a:cubicBezTo>
                  <a:cubicBezTo>
                    <a:pt x="741" y="317"/>
                    <a:pt x="741" y="317"/>
                    <a:pt x="741" y="317"/>
                  </a:cubicBezTo>
                  <a:cubicBezTo>
                    <a:pt x="742" y="318"/>
                    <a:pt x="743" y="318"/>
                    <a:pt x="745" y="318"/>
                  </a:cubicBezTo>
                  <a:cubicBezTo>
                    <a:pt x="746" y="318"/>
                    <a:pt x="747" y="318"/>
                    <a:pt x="748" y="317"/>
                  </a:cubicBezTo>
                  <a:cubicBezTo>
                    <a:pt x="748" y="317"/>
                    <a:pt x="749" y="316"/>
                    <a:pt x="750" y="316"/>
                  </a:cubicBezTo>
                  <a:cubicBezTo>
                    <a:pt x="749" y="316"/>
                    <a:pt x="749" y="316"/>
                    <a:pt x="749" y="316"/>
                  </a:cubicBezTo>
                  <a:cubicBezTo>
                    <a:pt x="749" y="316"/>
                    <a:pt x="750" y="316"/>
                    <a:pt x="750" y="316"/>
                  </a:cubicBezTo>
                  <a:cubicBezTo>
                    <a:pt x="752" y="316"/>
                    <a:pt x="870" y="414"/>
                    <a:pt x="868" y="417"/>
                  </a:cubicBezTo>
                  <a:cubicBezTo>
                    <a:pt x="868" y="417"/>
                    <a:pt x="868" y="417"/>
                    <a:pt x="868" y="417"/>
                  </a:cubicBezTo>
                  <a:cubicBezTo>
                    <a:pt x="867" y="419"/>
                    <a:pt x="866" y="421"/>
                    <a:pt x="866" y="424"/>
                  </a:cubicBezTo>
                  <a:cubicBezTo>
                    <a:pt x="865" y="433"/>
                    <a:pt x="872" y="440"/>
                    <a:pt x="881" y="441"/>
                  </a:cubicBezTo>
                  <a:cubicBezTo>
                    <a:pt x="882" y="441"/>
                    <a:pt x="882" y="441"/>
                    <a:pt x="882" y="441"/>
                  </a:cubicBezTo>
                  <a:cubicBezTo>
                    <a:pt x="885" y="441"/>
                    <a:pt x="887" y="440"/>
                    <a:pt x="889" y="439"/>
                  </a:cubicBezTo>
                  <a:cubicBezTo>
                    <a:pt x="889" y="439"/>
                    <a:pt x="889" y="439"/>
                    <a:pt x="889" y="439"/>
                  </a:cubicBezTo>
                  <a:cubicBezTo>
                    <a:pt x="889" y="439"/>
                    <a:pt x="889" y="439"/>
                    <a:pt x="889" y="439"/>
                  </a:cubicBezTo>
                  <a:cubicBezTo>
                    <a:pt x="893" y="439"/>
                    <a:pt x="933" y="497"/>
                    <a:pt x="931" y="499"/>
                  </a:cubicBezTo>
                  <a:cubicBezTo>
                    <a:pt x="931" y="499"/>
                    <a:pt x="931" y="499"/>
                    <a:pt x="931" y="499"/>
                  </a:cubicBezTo>
                  <a:cubicBezTo>
                    <a:pt x="929" y="501"/>
                    <a:pt x="927" y="504"/>
                    <a:pt x="927" y="508"/>
                  </a:cubicBezTo>
                  <a:cubicBezTo>
                    <a:pt x="926" y="515"/>
                    <a:pt x="932" y="522"/>
                    <a:pt x="940" y="522"/>
                  </a:cubicBezTo>
                  <a:cubicBezTo>
                    <a:pt x="940" y="522"/>
                    <a:pt x="940" y="522"/>
                    <a:pt x="941" y="522"/>
                  </a:cubicBezTo>
                  <a:cubicBezTo>
                    <a:pt x="948" y="522"/>
                    <a:pt x="954" y="516"/>
                    <a:pt x="954" y="509"/>
                  </a:cubicBezTo>
                  <a:cubicBezTo>
                    <a:pt x="955" y="503"/>
                    <a:pt x="950" y="497"/>
                    <a:pt x="944" y="496"/>
                  </a:cubicBezTo>
                  <a:cubicBezTo>
                    <a:pt x="944" y="496"/>
                    <a:pt x="944" y="496"/>
                    <a:pt x="944" y="496"/>
                  </a:cubicBezTo>
                  <a:cubicBezTo>
                    <a:pt x="941" y="495"/>
                    <a:pt x="946" y="401"/>
                    <a:pt x="951" y="401"/>
                  </a:cubicBezTo>
                  <a:cubicBezTo>
                    <a:pt x="951" y="401"/>
                    <a:pt x="951" y="401"/>
                    <a:pt x="951" y="401"/>
                  </a:cubicBezTo>
                  <a:cubicBezTo>
                    <a:pt x="959" y="400"/>
                    <a:pt x="967" y="395"/>
                    <a:pt x="971" y="388"/>
                  </a:cubicBezTo>
                  <a:cubicBezTo>
                    <a:pt x="978" y="376"/>
                    <a:pt x="973" y="361"/>
                    <a:pt x="960" y="354"/>
                  </a:cubicBezTo>
                  <a:cubicBezTo>
                    <a:pt x="957" y="352"/>
                    <a:pt x="952" y="351"/>
                    <a:pt x="948" y="351"/>
                  </a:cubicBezTo>
                  <a:cubicBezTo>
                    <a:pt x="940" y="351"/>
                    <a:pt x="931" y="355"/>
                    <a:pt x="926" y="363"/>
                  </a:cubicBezTo>
                  <a:cubicBezTo>
                    <a:pt x="926" y="363"/>
                    <a:pt x="926" y="363"/>
                    <a:pt x="926" y="363"/>
                  </a:cubicBezTo>
                  <a:cubicBezTo>
                    <a:pt x="926" y="363"/>
                    <a:pt x="926" y="363"/>
                    <a:pt x="925" y="363"/>
                  </a:cubicBezTo>
                  <a:cubicBezTo>
                    <a:pt x="921" y="363"/>
                    <a:pt x="909" y="359"/>
                    <a:pt x="896" y="354"/>
                  </a:cubicBezTo>
                  <a:cubicBezTo>
                    <a:pt x="911" y="360"/>
                    <a:pt x="924" y="367"/>
                    <a:pt x="923" y="369"/>
                  </a:cubicBezTo>
                  <a:cubicBezTo>
                    <a:pt x="923" y="369"/>
                    <a:pt x="923" y="369"/>
                    <a:pt x="923" y="369"/>
                  </a:cubicBezTo>
                  <a:cubicBezTo>
                    <a:pt x="921" y="376"/>
                    <a:pt x="922" y="382"/>
                    <a:pt x="926" y="388"/>
                  </a:cubicBezTo>
                  <a:cubicBezTo>
                    <a:pt x="926" y="388"/>
                    <a:pt x="926" y="388"/>
                    <a:pt x="926" y="388"/>
                  </a:cubicBezTo>
                  <a:cubicBezTo>
                    <a:pt x="928" y="392"/>
                    <a:pt x="898" y="414"/>
                    <a:pt x="894" y="414"/>
                  </a:cubicBezTo>
                  <a:cubicBezTo>
                    <a:pt x="893" y="414"/>
                    <a:pt x="893" y="414"/>
                    <a:pt x="893" y="413"/>
                  </a:cubicBezTo>
                  <a:cubicBezTo>
                    <a:pt x="893" y="413"/>
                    <a:pt x="893" y="413"/>
                    <a:pt x="893" y="413"/>
                  </a:cubicBezTo>
                  <a:cubicBezTo>
                    <a:pt x="890" y="411"/>
                    <a:pt x="887" y="410"/>
                    <a:pt x="883" y="409"/>
                  </a:cubicBezTo>
                  <a:cubicBezTo>
                    <a:pt x="883" y="409"/>
                    <a:pt x="882" y="409"/>
                    <a:pt x="882" y="409"/>
                  </a:cubicBezTo>
                  <a:cubicBezTo>
                    <a:pt x="878" y="409"/>
                    <a:pt x="874" y="411"/>
                    <a:pt x="871" y="413"/>
                  </a:cubicBezTo>
                  <a:cubicBezTo>
                    <a:pt x="871" y="413"/>
                    <a:pt x="871" y="413"/>
                    <a:pt x="871" y="413"/>
                  </a:cubicBezTo>
                  <a:cubicBezTo>
                    <a:pt x="871" y="413"/>
                    <a:pt x="871" y="413"/>
                    <a:pt x="871" y="413"/>
                  </a:cubicBezTo>
                  <a:cubicBezTo>
                    <a:pt x="867" y="413"/>
                    <a:pt x="750" y="316"/>
                    <a:pt x="751" y="314"/>
                  </a:cubicBezTo>
                  <a:cubicBezTo>
                    <a:pt x="751" y="314"/>
                    <a:pt x="751" y="314"/>
                    <a:pt x="751" y="314"/>
                  </a:cubicBezTo>
                  <a:cubicBezTo>
                    <a:pt x="752" y="312"/>
                    <a:pt x="753" y="310"/>
                    <a:pt x="752" y="307"/>
                  </a:cubicBezTo>
                  <a:cubicBezTo>
                    <a:pt x="750" y="305"/>
                    <a:pt x="747" y="303"/>
                    <a:pt x="745" y="303"/>
                  </a:cubicBezTo>
                  <a:cubicBezTo>
                    <a:pt x="744" y="303"/>
                    <a:pt x="742" y="303"/>
                    <a:pt x="741" y="304"/>
                  </a:cubicBezTo>
                  <a:cubicBezTo>
                    <a:pt x="740" y="305"/>
                    <a:pt x="738" y="306"/>
                    <a:pt x="738" y="307"/>
                  </a:cubicBezTo>
                  <a:cubicBezTo>
                    <a:pt x="738" y="307"/>
                    <a:pt x="738" y="307"/>
                    <a:pt x="738" y="307"/>
                  </a:cubicBezTo>
                  <a:cubicBezTo>
                    <a:pt x="738" y="307"/>
                    <a:pt x="738" y="307"/>
                    <a:pt x="737" y="307"/>
                  </a:cubicBezTo>
                  <a:cubicBezTo>
                    <a:pt x="732" y="307"/>
                    <a:pt x="656" y="287"/>
                    <a:pt x="657" y="284"/>
                  </a:cubicBezTo>
                  <a:cubicBezTo>
                    <a:pt x="657" y="285"/>
                    <a:pt x="657" y="285"/>
                    <a:pt x="657" y="285"/>
                  </a:cubicBezTo>
                  <a:cubicBezTo>
                    <a:pt x="657" y="284"/>
                    <a:pt x="657" y="283"/>
                    <a:pt x="657" y="283"/>
                  </a:cubicBezTo>
                  <a:cubicBezTo>
                    <a:pt x="657" y="280"/>
                    <a:pt x="656" y="278"/>
                    <a:pt x="655" y="275"/>
                  </a:cubicBezTo>
                  <a:cubicBezTo>
                    <a:pt x="653" y="273"/>
                    <a:pt x="710" y="233"/>
                    <a:pt x="712" y="233"/>
                  </a:cubicBezTo>
                  <a:cubicBezTo>
                    <a:pt x="712" y="233"/>
                    <a:pt x="712" y="233"/>
                    <a:pt x="712" y="233"/>
                  </a:cubicBezTo>
                  <a:cubicBezTo>
                    <a:pt x="712" y="233"/>
                    <a:pt x="712" y="233"/>
                    <a:pt x="712" y="233"/>
                  </a:cubicBezTo>
                  <a:cubicBezTo>
                    <a:pt x="714" y="234"/>
                    <a:pt x="716" y="235"/>
                    <a:pt x="718" y="235"/>
                  </a:cubicBezTo>
                  <a:cubicBezTo>
                    <a:pt x="719" y="235"/>
                    <a:pt x="720" y="235"/>
                    <a:pt x="721" y="234"/>
                  </a:cubicBezTo>
                  <a:cubicBezTo>
                    <a:pt x="725" y="233"/>
                    <a:pt x="726" y="228"/>
                    <a:pt x="724" y="225"/>
                  </a:cubicBezTo>
                  <a:cubicBezTo>
                    <a:pt x="723" y="222"/>
                    <a:pt x="720" y="220"/>
                    <a:pt x="718" y="220"/>
                  </a:cubicBezTo>
                  <a:cubicBezTo>
                    <a:pt x="716" y="220"/>
                    <a:pt x="715" y="221"/>
                    <a:pt x="714" y="221"/>
                  </a:cubicBezTo>
                  <a:cubicBezTo>
                    <a:pt x="713" y="222"/>
                    <a:pt x="713" y="222"/>
                    <a:pt x="713" y="222"/>
                  </a:cubicBezTo>
                  <a:cubicBezTo>
                    <a:pt x="713" y="222"/>
                    <a:pt x="713" y="222"/>
                    <a:pt x="713" y="222"/>
                  </a:cubicBezTo>
                  <a:cubicBezTo>
                    <a:pt x="713" y="222"/>
                    <a:pt x="713" y="222"/>
                    <a:pt x="713" y="222"/>
                  </a:cubicBezTo>
                  <a:cubicBezTo>
                    <a:pt x="713" y="222"/>
                    <a:pt x="711" y="220"/>
                    <a:pt x="708" y="218"/>
                  </a:cubicBezTo>
                  <a:cubicBezTo>
                    <a:pt x="735" y="191"/>
                    <a:pt x="763" y="165"/>
                    <a:pt x="764" y="165"/>
                  </a:cubicBezTo>
                  <a:cubicBezTo>
                    <a:pt x="764" y="165"/>
                    <a:pt x="764" y="165"/>
                    <a:pt x="764" y="165"/>
                  </a:cubicBezTo>
                  <a:cubicBezTo>
                    <a:pt x="764" y="165"/>
                    <a:pt x="764" y="165"/>
                    <a:pt x="764" y="165"/>
                  </a:cubicBezTo>
                  <a:cubicBezTo>
                    <a:pt x="765" y="166"/>
                    <a:pt x="767" y="167"/>
                    <a:pt x="768" y="167"/>
                  </a:cubicBezTo>
                  <a:cubicBezTo>
                    <a:pt x="769" y="167"/>
                    <a:pt x="769" y="167"/>
                    <a:pt x="770" y="166"/>
                  </a:cubicBezTo>
                  <a:cubicBezTo>
                    <a:pt x="770" y="167"/>
                    <a:pt x="770" y="167"/>
                    <a:pt x="770" y="167"/>
                  </a:cubicBezTo>
                  <a:cubicBezTo>
                    <a:pt x="770" y="167"/>
                    <a:pt x="770" y="167"/>
                    <a:pt x="770" y="167"/>
                  </a:cubicBezTo>
                  <a:cubicBezTo>
                    <a:pt x="772" y="167"/>
                    <a:pt x="805" y="248"/>
                    <a:pt x="802" y="250"/>
                  </a:cubicBezTo>
                  <a:cubicBezTo>
                    <a:pt x="802" y="250"/>
                    <a:pt x="802" y="250"/>
                    <a:pt x="802" y="250"/>
                  </a:cubicBezTo>
                  <a:cubicBezTo>
                    <a:pt x="793" y="254"/>
                    <a:pt x="790" y="265"/>
                    <a:pt x="794" y="273"/>
                  </a:cubicBezTo>
                  <a:cubicBezTo>
                    <a:pt x="797" y="280"/>
                    <a:pt x="804" y="284"/>
                    <a:pt x="811" y="284"/>
                  </a:cubicBezTo>
                  <a:cubicBezTo>
                    <a:pt x="814" y="284"/>
                    <a:pt x="817" y="283"/>
                    <a:pt x="819" y="282"/>
                  </a:cubicBezTo>
                  <a:cubicBezTo>
                    <a:pt x="829" y="278"/>
                    <a:pt x="833" y="267"/>
                    <a:pt x="828" y="258"/>
                  </a:cubicBezTo>
                  <a:cubicBezTo>
                    <a:pt x="827" y="255"/>
                    <a:pt x="825" y="253"/>
                    <a:pt x="822" y="251"/>
                  </a:cubicBezTo>
                  <a:cubicBezTo>
                    <a:pt x="823" y="251"/>
                    <a:pt x="823" y="251"/>
                    <a:pt x="823" y="251"/>
                  </a:cubicBezTo>
                  <a:cubicBezTo>
                    <a:pt x="820" y="249"/>
                    <a:pt x="844" y="209"/>
                    <a:pt x="845" y="209"/>
                  </a:cubicBezTo>
                  <a:cubicBezTo>
                    <a:pt x="845" y="209"/>
                    <a:pt x="845" y="209"/>
                    <a:pt x="845" y="209"/>
                  </a:cubicBezTo>
                  <a:cubicBezTo>
                    <a:pt x="845" y="209"/>
                    <a:pt x="845" y="209"/>
                    <a:pt x="845" y="209"/>
                  </a:cubicBezTo>
                  <a:cubicBezTo>
                    <a:pt x="846" y="209"/>
                    <a:pt x="847" y="209"/>
                    <a:pt x="848" y="209"/>
                  </a:cubicBezTo>
                  <a:cubicBezTo>
                    <a:pt x="849" y="209"/>
                    <a:pt x="850" y="209"/>
                    <a:pt x="851" y="208"/>
                  </a:cubicBezTo>
                  <a:cubicBezTo>
                    <a:pt x="855" y="207"/>
                    <a:pt x="857" y="202"/>
                    <a:pt x="855" y="199"/>
                  </a:cubicBezTo>
                  <a:cubicBezTo>
                    <a:pt x="854" y="197"/>
                    <a:pt x="852" y="195"/>
                    <a:pt x="850" y="195"/>
                  </a:cubicBezTo>
                  <a:cubicBezTo>
                    <a:pt x="850" y="195"/>
                    <a:pt x="850" y="195"/>
                    <a:pt x="850" y="195"/>
                  </a:cubicBezTo>
                  <a:cubicBezTo>
                    <a:pt x="849" y="194"/>
                    <a:pt x="852" y="155"/>
                    <a:pt x="856" y="155"/>
                  </a:cubicBezTo>
                  <a:cubicBezTo>
                    <a:pt x="856" y="155"/>
                    <a:pt x="856" y="155"/>
                    <a:pt x="856" y="155"/>
                  </a:cubicBezTo>
                  <a:cubicBezTo>
                    <a:pt x="859" y="155"/>
                    <a:pt x="862" y="154"/>
                    <a:pt x="864" y="153"/>
                  </a:cubicBezTo>
                  <a:cubicBezTo>
                    <a:pt x="864" y="153"/>
                    <a:pt x="864" y="153"/>
                    <a:pt x="864" y="153"/>
                  </a:cubicBezTo>
                  <a:cubicBezTo>
                    <a:pt x="864" y="153"/>
                    <a:pt x="864" y="153"/>
                    <a:pt x="864" y="153"/>
                  </a:cubicBezTo>
                  <a:cubicBezTo>
                    <a:pt x="869" y="153"/>
                    <a:pt x="917" y="215"/>
                    <a:pt x="914" y="217"/>
                  </a:cubicBezTo>
                  <a:cubicBezTo>
                    <a:pt x="915" y="217"/>
                    <a:pt x="915" y="217"/>
                    <a:pt x="915" y="217"/>
                  </a:cubicBezTo>
                  <a:cubicBezTo>
                    <a:pt x="910" y="222"/>
                    <a:pt x="909" y="228"/>
                    <a:pt x="912" y="234"/>
                  </a:cubicBezTo>
                  <a:cubicBezTo>
                    <a:pt x="913" y="236"/>
                    <a:pt x="914" y="238"/>
                    <a:pt x="916" y="239"/>
                  </a:cubicBezTo>
                  <a:cubicBezTo>
                    <a:pt x="915" y="239"/>
                    <a:pt x="915" y="239"/>
                    <a:pt x="915" y="239"/>
                  </a:cubicBezTo>
                  <a:cubicBezTo>
                    <a:pt x="918" y="241"/>
                    <a:pt x="860" y="330"/>
                    <a:pt x="858" y="330"/>
                  </a:cubicBezTo>
                  <a:cubicBezTo>
                    <a:pt x="858" y="330"/>
                    <a:pt x="858" y="330"/>
                    <a:pt x="858" y="330"/>
                  </a:cubicBezTo>
                  <a:cubicBezTo>
                    <a:pt x="858" y="330"/>
                    <a:pt x="858" y="330"/>
                    <a:pt x="858" y="330"/>
                  </a:cubicBezTo>
                  <a:cubicBezTo>
                    <a:pt x="857" y="329"/>
                    <a:pt x="856" y="329"/>
                    <a:pt x="855" y="329"/>
                  </a:cubicBezTo>
                  <a:cubicBezTo>
                    <a:pt x="854" y="329"/>
                    <a:pt x="853" y="329"/>
                    <a:pt x="852" y="330"/>
                  </a:cubicBezTo>
                  <a:cubicBezTo>
                    <a:pt x="848" y="332"/>
                    <a:pt x="847" y="336"/>
                    <a:pt x="848" y="340"/>
                  </a:cubicBezTo>
                  <a:cubicBezTo>
                    <a:pt x="850" y="342"/>
                    <a:pt x="852" y="344"/>
                    <a:pt x="855" y="344"/>
                  </a:cubicBezTo>
                  <a:cubicBezTo>
                    <a:pt x="856" y="344"/>
                    <a:pt x="858" y="344"/>
                    <a:pt x="859" y="343"/>
                  </a:cubicBezTo>
                  <a:cubicBezTo>
                    <a:pt x="860" y="343"/>
                    <a:pt x="861" y="342"/>
                    <a:pt x="862" y="341"/>
                  </a:cubicBezTo>
                  <a:cubicBezTo>
                    <a:pt x="862" y="341"/>
                    <a:pt x="862" y="341"/>
                    <a:pt x="862" y="341"/>
                  </a:cubicBezTo>
                  <a:cubicBezTo>
                    <a:pt x="862" y="341"/>
                    <a:pt x="862" y="341"/>
                    <a:pt x="862" y="341"/>
                  </a:cubicBezTo>
                  <a:cubicBezTo>
                    <a:pt x="863" y="341"/>
                    <a:pt x="873" y="344"/>
                    <a:pt x="884" y="349"/>
                  </a:cubicBezTo>
                  <a:cubicBezTo>
                    <a:pt x="872" y="344"/>
                    <a:pt x="863" y="339"/>
                    <a:pt x="863" y="338"/>
                  </a:cubicBezTo>
                  <a:cubicBezTo>
                    <a:pt x="863" y="338"/>
                    <a:pt x="863" y="338"/>
                    <a:pt x="863" y="338"/>
                  </a:cubicBezTo>
                  <a:cubicBezTo>
                    <a:pt x="863" y="337"/>
                    <a:pt x="863" y="335"/>
                    <a:pt x="862" y="333"/>
                  </a:cubicBezTo>
                  <a:cubicBezTo>
                    <a:pt x="862" y="332"/>
                    <a:pt x="861" y="332"/>
                    <a:pt x="860" y="331"/>
                  </a:cubicBezTo>
                  <a:cubicBezTo>
                    <a:pt x="860" y="331"/>
                    <a:pt x="860" y="331"/>
                    <a:pt x="860" y="331"/>
                  </a:cubicBezTo>
                  <a:cubicBezTo>
                    <a:pt x="859" y="330"/>
                    <a:pt x="916" y="241"/>
                    <a:pt x="919" y="241"/>
                  </a:cubicBezTo>
                  <a:cubicBezTo>
                    <a:pt x="919" y="241"/>
                    <a:pt x="919" y="241"/>
                    <a:pt x="919" y="241"/>
                  </a:cubicBezTo>
                  <a:cubicBezTo>
                    <a:pt x="919" y="241"/>
                    <a:pt x="919" y="241"/>
                    <a:pt x="919" y="241"/>
                  </a:cubicBezTo>
                  <a:cubicBezTo>
                    <a:pt x="921" y="242"/>
                    <a:pt x="923" y="242"/>
                    <a:pt x="925" y="242"/>
                  </a:cubicBezTo>
                  <a:cubicBezTo>
                    <a:pt x="928" y="242"/>
                    <a:pt x="930" y="242"/>
                    <a:pt x="932" y="241"/>
                  </a:cubicBezTo>
                  <a:cubicBezTo>
                    <a:pt x="939" y="238"/>
                    <a:pt x="942" y="230"/>
                    <a:pt x="940" y="223"/>
                  </a:cubicBezTo>
                  <a:cubicBezTo>
                    <a:pt x="940" y="223"/>
                    <a:pt x="940" y="223"/>
                    <a:pt x="940" y="223"/>
                  </a:cubicBezTo>
                  <a:cubicBezTo>
                    <a:pt x="939" y="220"/>
                    <a:pt x="990" y="192"/>
                    <a:pt x="999" y="192"/>
                  </a:cubicBezTo>
                  <a:cubicBezTo>
                    <a:pt x="999" y="192"/>
                    <a:pt x="999" y="192"/>
                    <a:pt x="1000" y="192"/>
                  </a:cubicBezTo>
                  <a:cubicBezTo>
                    <a:pt x="1000" y="192"/>
                    <a:pt x="1000" y="192"/>
                    <a:pt x="1000" y="192"/>
                  </a:cubicBezTo>
                  <a:cubicBezTo>
                    <a:pt x="1003" y="196"/>
                    <a:pt x="1008" y="200"/>
                    <a:pt x="1013" y="201"/>
                  </a:cubicBezTo>
                  <a:cubicBezTo>
                    <a:pt x="1013" y="201"/>
                    <a:pt x="1013" y="201"/>
                    <a:pt x="1013" y="201"/>
                  </a:cubicBezTo>
                  <a:cubicBezTo>
                    <a:pt x="1018" y="202"/>
                    <a:pt x="1008" y="276"/>
                    <a:pt x="1004" y="276"/>
                  </a:cubicBezTo>
                  <a:cubicBezTo>
                    <a:pt x="1004" y="276"/>
                    <a:pt x="1004" y="276"/>
                    <a:pt x="1004" y="276"/>
                  </a:cubicBezTo>
                  <a:cubicBezTo>
                    <a:pt x="993" y="277"/>
                    <a:pt x="984" y="286"/>
                    <a:pt x="984" y="297"/>
                  </a:cubicBezTo>
                  <a:cubicBezTo>
                    <a:pt x="984" y="308"/>
                    <a:pt x="994" y="317"/>
                    <a:pt x="1005" y="317"/>
                  </a:cubicBezTo>
                  <a:cubicBezTo>
                    <a:pt x="1017" y="317"/>
                    <a:pt x="1026" y="308"/>
                    <a:pt x="1026" y="297"/>
                  </a:cubicBezTo>
                  <a:cubicBezTo>
                    <a:pt x="1026" y="295"/>
                    <a:pt x="1026" y="293"/>
                    <a:pt x="1025" y="291"/>
                  </a:cubicBezTo>
                  <a:cubicBezTo>
                    <a:pt x="1025" y="291"/>
                    <a:pt x="1025" y="291"/>
                    <a:pt x="1025" y="291"/>
                  </a:cubicBezTo>
                  <a:cubicBezTo>
                    <a:pt x="1024" y="287"/>
                    <a:pt x="1073" y="268"/>
                    <a:pt x="1076" y="268"/>
                  </a:cubicBezTo>
                  <a:cubicBezTo>
                    <a:pt x="1076" y="268"/>
                    <a:pt x="1076" y="268"/>
                    <a:pt x="1076" y="268"/>
                  </a:cubicBezTo>
                  <a:cubicBezTo>
                    <a:pt x="1076" y="268"/>
                    <a:pt x="1076" y="268"/>
                    <a:pt x="1076" y="268"/>
                  </a:cubicBezTo>
                  <a:cubicBezTo>
                    <a:pt x="1078" y="270"/>
                    <a:pt x="1080" y="271"/>
                    <a:pt x="1083" y="271"/>
                  </a:cubicBezTo>
                  <a:cubicBezTo>
                    <a:pt x="1083" y="271"/>
                    <a:pt x="1084" y="271"/>
                    <a:pt x="1085" y="271"/>
                  </a:cubicBezTo>
                  <a:cubicBezTo>
                    <a:pt x="1085" y="271"/>
                    <a:pt x="1085" y="271"/>
                    <a:pt x="1085" y="271"/>
                  </a:cubicBezTo>
                  <a:cubicBezTo>
                    <a:pt x="1085" y="271"/>
                    <a:pt x="1085" y="271"/>
                    <a:pt x="1085" y="271"/>
                  </a:cubicBezTo>
                  <a:cubicBezTo>
                    <a:pt x="1085" y="271"/>
                    <a:pt x="1090" y="279"/>
                    <a:pt x="1095" y="290"/>
                  </a:cubicBezTo>
                  <a:cubicBezTo>
                    <a:pt x="1090" y="279"/>
                    <a:pt x="1087" y="270"/>
                    <a:pt x="1087" y="270"/>
                  </a:cubicBezTo>
                  <a:cubicBezTo>
                    <a:pt x="1087" y="270"/>
                    <a:pt x="1087" y="270"/>
                    <a:pt x="1087" y="270"/>
                  </a:cubicBezTo>
                  <a:cubicBezTo>
                    <a:pt x="1090" y="268"/>
                    <a:pt x="1091" y="264"/>
                    <a:pt x="1090" y="261"/>
                  </a:cubicBezTo>
                  <a:cubicBezTo>
                    <a:pt x="1088" y="258"/>
                    <a:pt x="1086" y="257"/>
                    <a:pt x="1083" y="257"/>
                  </a:cubicBezTo>
                  <a:cubicBezTo>
                    <a:pt x="1082" y="257"/>
                    <a:pt x="1080" y="257"/>
                    <a:pt x="1079" y="257"/>
                  </a:cubicBezTo>
                  <a:cubicBezTo>
                    <a:pt x="1076" y="259"/>
                    <a:pt x="1074" y="262"/>
                    <a:pt x="1075" y="266"/>
                  </a:cubicBezTo>
                  <a:cubicBezTo>
                    <a:pt x="1075" y="266"/>
                    <a:pt x="1075" y="266"/>
                    <a:pt x="1075" y="266"/>
                  </a:cubicBezTo>
                  <a:cubicBezTo>
                    <a:pt x="1076" y="267"/>
                    <a:pt x="1032" y="286"/>
                    <a:pt x="1024" y="286"/>
                  </a:cubicBezTo>
                  <a:cubicBezTo>
                    <a:pt x="1024" y="286"/>
                    <a:pt x="1023" y="286"/>
                    <a:pt x="1023" y="286"/>
                  </a:cubicBezTo>
                  <a:cubicBezTo>
                    <a:pt x="1023" y="286"/>
                    <a:pt x="1023" y="286"/>
                    <a:pt x="1023" y="286"/>
                  </a:cubicBezTo>
                  <a:cubicBezTo>
                    <a:pt x="1020" y="282"/>
                    <a:pt x="1016" y="279"/>
                    <a:pt x="1011" y="277"/>
                  </a:cubicBezTo>
                  <a:cubicBezTo>
                    <a:pt x="1011" y="277"/>
                    <a:pt x="1011" y="277"/>
                    <a:pt x="1011" y="277"/>
                  </a:cubicBezTo>
                  <a:cubicBezTo>
                    <a:pt x="1007" y="276"/>
                    <a:pt x="1016" y="202"/>
                    <a:pt x="1021" y="202"/>
                  </a:cubicBezTo>
                  <a:cubicBezTo>
                    <a:pt x="1021" y="202"/>
                    <a:pt x="1021" y="202"/>
                    <a:pt x="1021" y="202"/>
                  </a:cubicBezTo>
                  <a:cubicBezTo>
                    <a:pt x="1031" y="201"/>
                    <a:pt x="1040" y="195"/>
                    <a:pt x="1044" y="186"/>
                  </a:cubicBezTo>
                  <a:cubicBezTo>
                    <a:pt x="1044" y="184"/>
                    <a:pt x="1046" y="184"/>
                    <a:pt x="1048" y="184"/>
                  </a:cubicBezTo>
                  <a:cubicBezTo>
                    <a:pt x="1048" y="184"/>
                    <a:pt x="1048" y="184"/>
                    <a:pt x="1048" y="184"/>
                  </a:cubicBezTo>
                  <a:cubicBezTo>
                    <a:pt x="1046" y="183"/>
                    <a:pt x="1045" y="182"/>
                    <a:pt x="1045" y="180"/>
                  </a:cubicBezTo>
                  <a:cubicBezTo>
                    <a:pt x="1045" y="180"/>
                    <a:pt x="1045" y="180"/>
                    <a:pt x="1045" y="180"/>
                  </a:cubicBezTo>
                  <a:cubicBezTo>
                    <a:pt x="1045" y="179"/>
                    <a:pt x="1045" y="178"/>
                    <a:pt x="1045" y="178"/>
                  </a:cubicBezTo>
                  <a:cubicBezTo>
                    <a:pt x="1045" y="172"/>
                    <a:pt x="1043" y="167"/>
                    <a:pt x="1040" y="163"/>
                  </a:cubicBezTo>
                  <a:cubicBezTo>
                    <a:pt x="1040" y="163"/>
                    <a:pt x="1040" y="163"/>
                    <a:pt x="1040" y="163"/>
                  </a:cubicBezTo>
                  <a:cubicBezTo>
                    <a:pt x="1037" y="159"/>
                    <a:pt x="1115" y="80"/>
                    <a:pt x="1121" y="78"/>
                  </a:cubicBezTo>
                  <a:cubicBezTo>
                    <a:pt x="1120" y="84"/>
                    <a:pt x="1068" y="180"/>
                    <a:pt x="1067" y="180"/>
                  </a:cubicBezTo>
                  <a:cubicBezTo>
                    <a:pt x="1067" y="180"/>
                    <a:pt x="1067" y="180"/>
                    <a:pt x="1067" y="180"/>
                  </a:cubicBezTo>
                  <a:cubicBezTo>
                    <a:pt x="1067" y="180"/>
                    <a:pt x="1067" y="180"/>
                    <a:pt x="1067" y="180"/>
                  </a:cubicBezTo>
                  <a:cubicBezTo>
                    <a:pt x="1066" y="180"/>
                    <a:pt x="1065" y="180"/>
                    <a:pt x="1064" y="180"/>
                  </a:cubicBezTo>
                  <a:cubicBezTo>
                    <a:pt x="1061" y="180"/>
                    <a:pt x="1059" y="182"/>
                    <a:pt x="1058" y="184"/>
                  </a:cubicBezTo>
                  <a:cubicBezTo>
                    <a:pt x="1058" y="184"/>
                    <a:pt x="1058" y="184"/>
                    <a:pt x="1058" y="184"/>
                  </a:cubicBezTo>
                  <a:cubicBezTo>
                    <a:pt x="1057" y="185"/>
                    <a:pt x="1056" y="185"/>
                    <a:pt x="1055" y="185"/>
                  </a:cubicBezTo>
                  <a:cubicBezTo>
                    <a:pt x="1054" y="185"/>
                    <a:pt x="1054" y="185"/>
                    <a:pt x="1053" y="185"/>
                  </a:cubicBezTo>
                  <a:cubicBezTo>
                    <a:pt x="1055" y="186"/>
                    <a:pt x="1057" y="187"/>
                    <a:pt x="1057" y="187"/>
                  </a:cubicBezTo>
                  <a:cubicBezTo>
                    <a:pt x="1057" y="187"/>
                    <a:pt x="1057" y="187"/>
                    <a:pt x="1057" y="187"/>
                  </a:cubicBezTo>
                  <a:cubicBezTo>
                    <a:pt x="1057" y="187"/>
                    <a:pt x="1057" y="187"/>
                    <a:pt x="1057" y="187"/>
                  </a:cubicBezTo>
                  <a:cubicBezTo>
                    <a:pt x="1057" y="191"/>
                    <a:pt x="1060" y="195"/>
                    <a:pt x="1064" y="195"/>
                  </a:cubicBezTo>
                  <a:cubicBezTo>
                    <a:pt x="1066" y="195"/>
                    <a:pt x="1067" y="194"/>
                    <a:pt x="1069" y="194"/>
                  </a:cubicBezTo>
                  <a:cubicBezTo>
                    <a:pt x="1069" y="194"/>
                    <a:pt x="1069" y="194"/>
                    <a:pt x="1069" y="194"/>
                  </a:cubicBezTo>
                  <a:cubicBezTo>
                    <a:pt x="1069" y="194"/>
                    <a:pt x="1069" y="194"/>
                    <a:pt x="1069" y="194"/>
                  </a:cubicBezTo>
                  <a:cubicBezTo>
                    <a:pt x="1070" y="194"/>
                    <a:pt x="1093" y="219"/>
                    <a:pt x="1093" y="220"/>
                  </a:cubicBezTo>
                  <a:cubicBezTo>
                    <a:pt x="1093" y="220"/>
                    <a:pt x="1093" y="220"/>
                    <a:pt x="1093" y="220"/>
                  </a:cubicBezTo>
                  <a:cubicBezTo>
                    <a:pt x="1092" y="221"/>
                    <a:pt x="1091" y="222"/>
                    <a:pt x="1092" y="224"/>
                  </a:cubicBezTo>
                  <a:cubicBezTo>
                    <a:pt x="1093" y="225"/>
                    <a:pt x="1094" y="226"/>
                    <a:pt x="1096" y="226"/>
                  </a:cubicBezTo>
                  <a:cubicBezTo>
                    <a:pt x="1096" y="226"/>
                    <a:pt x="1097" y="226"/>
                    <a:pt x="1097" y="226"/>
                  </a:cubicBezTo>
                  <a:cubicBezTo>
                    <a:pt x="1099" y="225"/>
                    <a:pt x="1100" y="222"/>
                    <a:pt x="1099" y="221"/>
                  </a:cubicBezTo>
                  <a:cubicBezTo>
                    <a:pt x="1099" y="220"/>
                    <a:pt x="1099" y="220"/>
                    <a:pt x="1099" y="220"/>
                  </a:cubicBezTo>
                  <a:cubicBezTo>
                    <a:pt x="1099" y="220"/>
                    <a:pt x="1099" y="220"/>
                    <a:pt x="1099" y="220"/>
                  </a:cubicBezTo>
                  <a:cubicBezTo>
                    <a:pt x="1099" y="220"/>
                    <a:pt x="1130" y="196"/>
                    <a:pt x="1132" y="196"/>
                  </a:cubicBezTo>
                  <a:cubicBezTo>
                    <a:pt x="1132" y="196"/>
                    <a:pt x="1132" y="196"/>
                    <a:pt x="1132" y="196"/>
                  </a:cubicBezTo>
                  <a:cubicBezTo>
                    <a:pt x="1132" y="196"/>
                    <a:pt x="1132" y="196"/>
                    <a:pt x="1132" y="196"/>
                  </a:cubicBezTo>
                  <a:cubicBezTo>
                    <a:pt x="1133" y="197"/>
                    <a:pt x="1134" y="197"/>
                    <a:pt x="1136" y="197"/>
                  </a:cubicBezTo>
                  <a:cubicBezTo>
                    <a:pt x="1136" y="197"/>
                    <a:pt x="1137" y="197"/>
                    <a:pt x="1138" y="197"/>
                  </a:cubicBezTo>
                  <a:cubicBezTo>
                    <a:pt x="1138" y="197"/>
                    <a:pt x="1138" y="197"/>
                    <a:pt x="1138" y="197"/>
                  </a:cubicBezTo>
                  <a:cubicBezTo>
                    <a:pt x="1138" y="197"/>
                    <a:pt x="1138" y="197"/>
                    <a:pt x="1138" y="197"/>
                  </a:cubicBezTo>
                  <a:cubicBezTo>
                    <a:pt x="1139" y="197"/>
                    <a:pt x="1171" y="245"/>
                    <a:pt x="1169" y="247"/>
                  </a:cubicBezTo>
                  <a:cubicBezTo>
                    <a:pt x="1169" y="247"/>
                    <a:pt x="1169" y="247"/>
                    <a:pt x="1169" y="247"/>
                  </a:cubicBezTo>
                  <a:cubicBezTo>
                    <a:pt x="1164" y="251"/>
                    <a:pt x="1162" y="258"/>
                    <a:pt x="1165" y="264"/>
                  </a:cubicBezTo>
                  <a:cubicBezTo>
                    <a:pt x="1168" y="269"/>
                    <a:pt x="1173" y="272"/>
                    <a:pt x="1179" y="272"/>
                  </a:cubicBezTo>
                  <a:cubicBezTo>
                    <a:pt x="1181" y="272"/>
                    <a:pt x="1183" y="272"/>
                    <a:pt x="1185" y="271"/>
                  </a:cubicBezTo>
                  <a:cubicBezTo>
                    <a:pt x="1193" y="268"/>
                    <a:pt x="1196" y="259"/>
                    <a:pt x="1192" y="252"/>
                  </a:cubicBezTo>
                  <a:cubicBezTo>
                    <a:pt x="1190" y="246"/>
                    <a:pt x="1184" y="243"/>
                    <a:pt x="1179" y="243"/>
                  </a:cubicBezTo>
                  <a:cubicBezTo>
                    <a:pt x="1177" y="243"/>
                    <a:pt x="1175" y="244"/>
                    <a:pt x="1173" y="245"/>
                  </a:cubicBezTo>
                  <a:cubicBezTo>
                    <a:pt x="1173" y="245"/>
                    <a:pt x="1173" y="245"/>
                    <a:pt x="1173" y="245"/>
                  </a:cubicBezTo>
                  <a:cubicBezTo>
                    <a:pt x="1173" y="245"/>
                    <a:pt x="1173" y="245"/>
                    <a:pt x="1173" y="245"/>
                  </a:cubicBezTo>
                  <a:cubicBezTo>
                    <a:pt x="1169" y="245"/>
                    <a:pt x="1138" y="197"/>
                    <a:pt x="1139" y="196"/>
                  </a:cubicBezTo>
                  <a:cubicBezTo>
                    <a:pt x="1139" y="196"/>
                    <a:pt x="1139" y="196"/>
                    <a:pt x="1139" y="196"/>
                  </a:cubicBezTo>
                  <a:cubicBezTo>
                    <a:pt x="1140" y="195"/>
                    <a:pt x="1141" y="194"/>
                    <a:pt x="1141" y="192"/>
                  </a:cubicBezTo>
                  <a:cubicBezTo>
                    <a:pt x="1141" y="190"/>
                    <a:pt x="1139" y="187"/>
                    <a:pt x="1136" y="187"/>
                  </a:cubicBezTo>
                  <a:cubicBezTo>
                    <a:pt x="1133" y="187"/>
                    <a:pt x="1131" y="189"/>
                    <a:pt x="1131" y="191"/>
                  </a:cubicBezTo>
                  <a:cubicBezTo>
                    <a:pt x="1131" y="191"/>
                    <a:pt x="1131" y="191"/>
                    <a:pt x="1131" y="191"/>
                  </a:cubicBezTo>
                  <a:cubicBezTo>
                    <a:pt x="1131" y="191"/>
                    <a:pt x="1130" y="191"/>
                    <a:pt x="1129" y="191"/>
                  </a:cubicBezTo>
                  <a:cubicBezTo>
                    <a:pt x="1119" y="191"/>
                    <a:pt x="1072" y="188"/>
                    <a:pt x="1072" y="187"/>
                  </a:cubicBezTo>
                  <a:cubicBezTo>
                    <a:pt x="1072" y="187"/>
                    <a:pt x="1072" y="187"/>
                    <a:pt x="1072" y="187"/>
                  </a:cubicBezTo>
                  <a:cubicBezTo>
                    <a:pt x="1072" y="185"/>
                    <a:pt x="1071" y="183"/>
                    <a:pt x="1069" y="181"/>
                  </a:cubicBezTo>
                  <a:cubicBezTo>
                    <a:pt x="1069" y="182"/>
                    <a:pt x="1069" y="182"/>
                    <a:pt x="1069" y="182"/>
                  </a:cubicBezTo>
                  <a:cubicBezTo>
                    <a:pt x="1068" y="181"/>
                    <a:pt x="1122" y="80"/>
                    <a:pt x="1125" y="80"/>
                  </a:cubicBezTo>
                  <a:cubicBezTo>
                    <a:pt x="1125" y="80"/>
                    <a:pt x="1125" y="80"/>
                    <a:pt x="1125" y="80"/>
                  </a:cubicBezTo>
                  <a:cubicBezTo>
                    <a:pt x="1125" y="80"/>
                    <a:pt x="1125" y="80"/>
                    <a:pt x="1125" y="80"/>
                  </a:cubicBezTo>
                  <a:cubicBezTo>
                    <a:pt x="1126" y="80"/>
                    <a:pt x="1127" y="80"/>
                    <a:pt x="1129" y="80"/>
                  </a:cubicBezTo>
                  <a:cubicBezTo>
                    <a:pt x="1129" y="80"/>
                    <a:pt x="1130" y="80"/>
                    <a:pt x="1130" y="80"/>
                  </a:cubicBezTo>
                  <a:cubicBezTo>
                    <a:pt x="1130" y="80"/>
                    <a:pt x="1130" y="80"/>
                    <a:pt x="1130" y="80"/>
                  </a:cubicBezTo>
                  <a:cubicBezTo>
                    <a:pt x="1130" y="80"/>
                    <a:pt x="1130" y="80"/>
                    <a:pt x="1130" y="80"/>
                  </a:cubicBezTo>
                  <a:cubicBezTo>
                    <a:pt x="1133" y="80"/>
                    <a:pt x="1146" y="135"/>
                    <a:pt x="1143" y="136"/>
                  </a:cubicBezTo>
                  <a:cubicBezTo>
                    <a:pt x="1143" y="136"/>
                    <a:pt x="1143" y="136"/>
                    <a:pt x="1143" y="136"/>
                  </a:cubicBezTo>
                  <a:cubicBezTo>
                    <a:pt x="1143" y="136"/>
                    <a:pt x="1142" y="136"/>
                    <a:pt x="1142" y="137"/>
                  </a:cubicBezTo>
                  <a:cubicBezTo>
                    <a:pt x="1133" y="141"/>
                    <a:pt x="1129" y="151"/>
                    <a:pt x="1133" y="160"/>
                  </a:cubicBezTo>
                  <a:cubicBezTo>
                    <a:pt x="1136" y="167"/>
                    <a:pt x="1143" y="171"/>
                    <a:pt x="1150" y="171"/>
                  </a:cubicBezTo>
                  <a:cubicBezTo>
                    <a:pt x="1153" y="171"/>
                    <a:pt x="1155" y="170"/>
                    <a:pt x="1158" y="169"/>
                  </a:cubicBezTo>
                  <a:cubicBezTo>
                    <a:pt x="1161" y="168"/>
                    <a:pt x="1163" y="166"/>
                    <a:pt x="1164" y="164"/>
                  </a:cubicBezTo>
                  <a:cubicBezTo>
                    <a:pt x="1164" y="164"/>
                    <a:pt x="1164" y="164"/>
                    <a:pt x="1164" y="164"/>
                  </a:cubicBezTo>
                  <a:cubicBezTo>
                    <a:pt x="1164" y="164"/>
                    <a:pt x="1165" y="164"/>
                    <a:pt x="1165" y="164"/>
                  </a:cubicBezTo>
                  <a:cubicBezTo>
                    <a:pt x="1171" y="164"/>
                    <a:pt x="1256" y="212"/>
                    <a:pt x="1254" y="217"/>
                  </a:cubicBezTo>
                  <a:cubicBezTo>
                    <a:pt x="1253" y="220"/>
                    <a:pt x="1252" y="224"/>
                    <a:pt x="1252" y="228"/>
                  </a:cubicBezTo>
                  <a:cubicBezTo>
                    <a:pt x="1252" y="233"/>
                    <a:pt x="1254" y="238"/>
                    <a:pt x="1257" y="243"/>
                  </a:cubicBezTo>
                  <a:cubicBezTo>
                    <a:pt x="1257" y="243"/>
                    <a:pt x="1257" y="243"/>
                    <a:pt x="1257" y="243"/>
                  </a:cubicBezTo>
                  <a:cubicBezTo>
                    <a:pt x="1259" y="247"/>
                    <a:pt x="1178" y="318"/>
                    <a:pt x="1154" y="334"/>
                  </a:cubicBezTo>
                  <a:cubicBezTo>
                    <a:pt x="1151" y="326"/>
                    <a:pt x="1143" y="320"/>
                    <a:pt x="1134" y="320"/>
                  </a:cubicBezTo>
                  <a:cubicBezTo>
                    <a:pt x="1126" y="320"/>
                    <a:pt x="1120" y="324"/>
                    <a:pt x="1116" y="329"/>
                  </a:cubicBezTo>
                  <a:cubicBezTo>
                    <a:pt x="1113" y="324"/>
                    <a:pt x="1108" y="316"/>
                    <a:pt x="1103" y="307"/>
                  </a:cubicBezTo>
                  <a:cubicBezTo>
                    <a:pt x="1109" y="319"/>
                    <a:pt x="1113" y="329"/>
                    <a:pt x="1113" y="334"/>
                  </a:cubicBezTo>
                  <a:cubicBezTo>
                    <a:pt x="1112" y="336"/>
                    <a:pt x="1112" y="339"/>
                    <a:pt x="1112" y="341"/>
                  </a:cubicBezTo>
                  <a:cubicBezTo>
                    <a:pt x="1112" y="353"/>
                    <a:pt x="1122" y="363"/>
                    <a:pt x="1134" y="363"/>
                  </a:cubicBezTo>
                  <a:cubicBezTo>
                    <a:pt x="1146" y="363"/>
                    <a:pt x="1156" y="353"/>
                    <a:pt x="1156" y="341"/>
                  </a:cubicBezTo>
                  <a:cubicBezTo>
                    <a:pt x="1156" y="341"/>
                    <a:pt x="1156" y="341"/>
                    <a:pt x="1156" y="341"/>
                  </a:cubicBezTo>
                  <a:cubicBezTo>
                    <a:pt x="1169" y="323"/>
                    <a:pt x="1255" y="249"/>
                    <a:pt x="1262" y="249"/>
                  </a:cubicBezTo>
                  <a:cubicBezTo>
                    <a:pt x="1262" y="249"/>
                    <a:pt x="1263" y="249"/>
                    <a:pt x="1263" y="249"/>
                  </a:cubicBezTo>
                  <a:cubicBezTo>
                    <a:pt x="1263" y="249"/>
                    <a:pt x="1263" y="249"/>
                    <a:pt x="1263" y="249"/>
                  </a:cubicBezTo>
                  <a:cubicBezTo>
                    <a:pt x="1266" y="251"/>
                    <a:pt x="1269" y="253"/>
                    <a:pt x="1273" y="254"/>
                  </a:cubicBezTo>
                  <a:cubicBezTo>
                    <a:pt x="1273" y="254"/>
                    <a:pt x="1273" y="254"/>
                    <a:pt x="1273" y="254"/>
                  </a:cubicBezTo>
                  <a:cubicBezTo>
                    <a:pt x="1275" y="255"/>
                    <a:pt x="1274" y="272"/>
                    <a:pt x="1272" y="290"/>
                  </a:cubicBezTo>
                  <a:cubicBezTo>
                    <a:pt x="1275" y="272"/>
                    <a:pt x="1278" y="255"/>
                    <a:pt x="1281" y="255"/>
                  </a:cubicBezTo>
                  <a:cubicBezTo>
                    <a:pt x="1281" y="255"/>
                    <a:pt x="1281" y="255"/>
                    <a:pt x="1281" y="255"/>
                  </a:cubicBezTo>
                  <a:cubicBezTo>
                    <a:pt x="1297" y="255"/>
                    <a:pt x="1309" y="243"/>
                    <a:pt x="1309" y="228"/>
                  </a:cubicBezTo>
                  <a:cubicBezTo>
                    <a:pt x="1309" y="212"/>
                    <a:pt x="1297" y="200"/>
                    <a:pt x="1281" y="200"/>
                  </a:cubicBezTo>
                  <a:cubicBezTo>
                    <a:pt x="1272" y="200"/>
                    <a:pt x="1264" y="204"/>
                    <a:pt x="1258" y="210"/>
                  </a:cubicBezTo>
                  <a:cubicBezTo>
                    <a:pt x="1258" y="210"/>
                    <a:pt x="1258" y="210"/>
                    <a:pt x="1258" y="210"/>
                  </a:cubicBezTo>
                  <a:cubicBezTo>
                    <a:pt x="1248" y="210"/>
                    <a:pt x="1166" y="163"/>
                    <a:pt x="1167" y="159"/>
                  </a:cubicBezTo>
                  <a:cubicBezTo>
                    <a:pt x="1167" y="159"/>
                    <a:pt x="1167" y="159"/>
                    <a:pt x="1167" y="159"/>
                  </a:cubicBezTo>
                  <a:cubicBezTo>
                    <a:pt x="1169" y="155"/>
                    <a:pt x="1169" y="150"/>
                    <a:pt x="1167" y="145"/>
                  </a:cubicBezTo>
                  <a:cubicBezTo>
                    <a:pt x="1164" y="139"/>
                    <a:pt x="1157" y="135"/>
                    <a:pt x="1150" y="135"/>
                  </a:cubicBezTo>
                  <a:cubicBezTo>
                    <a:pt x="1149" y="135"/>
                    <a:pt x="1149" y="135"/>
                    <a:pt x="1148" y="135"/>
                  </a:cubicBezTo>
                  <a:cubicBezTo>
                    <a:pt x="1149" y="135"/>
                    <a:pt x="1149" y="135"/>
                    <a:pt x="1149" y="135"/>
                  </a:cubicBezTo>
                  <a:cubicBezTo>
                    <a:pt x="1149" y="135"/>
                    <a:pt x="1149" y="135"/>
                    <a:pt x="1148" y="135"/>
                  </a:cubicBezTo>
                  <a:cubicBezTo>
                    <a:pt x="1145" y="135"/>
                    <a:pt x="1132" y="80"/>
                    <a:pt x="1134" y="79"/>
                  </a:cubicBezTo>
                  <a:cubicBezTo>
                    <a:pt x="1134" y="79"/>
                    <a:pt x="1134" y="79"/>
                    <a:pt x="1134" y="79"/>
                  </a:cubicBezTo>
                  <a:cubicBezTo>
                    <a:pt x="1135" y="79"/>
                    <a:pt x="1135" y="79"/>
                    <a:pt x="1135" y="79"/>
                  </a:cubicBezTo>
                  <a:cubicBezTo>
                    <a:pt x="1141" y="76"/>
                    <a:pt x="1144" y="68"/>
                    <a:pt x="1141" y="62"/>
                  </a:cubicBezTo>
                  <a:cubicBezTo>
                    <a:pt x="1139" y="57"/>
                    <a:pt x="1134" y="54"/>
                    <a:pt x="1129" y="54"/>
                  </a:cubicBezTo>
                  <a:cubicBezTo>
                    <a:pt x="1127" y="54"/>
                    <a:pt x="1125" y="55"/>
                    <a:pt x="1123" y="56"/>
                  </a:cubicBezTo>
                  <a:cubicBezTo>
                    <a:pt x="1116" y="59"/>
                    <a:pt x="1113" y="66"/>
                    <a:pt x="1117" y="73"/>
                  </a:cubicBezTo>
                  <a:cubicBezTo>
                    <a:pt x="1117" y="74"/>
                    <a:pt x="1118" y="74"/>
                    <a:pt x="1118" y="75"/>
                  </a:cubicBezTo>
                  <a:cubicBezTo>
                    <a:pt x="1118" y="75"/>
                    <a:pt x="1118" y="75"/>
                    <a:pt x="1118" y="75"/>
                  </a:cubicBezTo>
                  <a:cubicBezTo>
                    <a:pt x="1120" y="77"/>
                    <a:pt x="1041" y="158"/>
                    <a:pt x="1035" y="158"/>
                  </a:cubicBezTo>
                  <a:cubicBezTo>
                    <a:pt x="1034" y="158"/>
                    <a:pt x="1034" y="158"/>
                    <a:pt x="1034" y="158"/>
                  </a:cubicBezTo>
                  <a:cubicBezTo>
                    <a:pt x="1034" y="158"/>
                    <a:pt x="1034" y="158"/>
                    <a:pt x="1034" y="158"/>
                  </a:cubicBezTo>
                  <a:cubicBezTo>
                    <a:pt x="1031" y="155"/>
                    <a:pt x="1027" y="154"/>
                    <a:pt x="1023" y="153"/>
                  </a:cubicBezTo>
                  <a:cubicBezTo>
                    <a:pt x="1023" y="153"/>
                    <a:pt x="1023" y="153"/>
                    <a:pt x="1023" y="153"/>
                  </a:cubicBezTo>
                  <a:cubicBezTo>
                    <a:pt x="1018" y="153"/>
                    <a:pt x="1019" y="84"/>
                    <a:pt x="1022" y="84"/>
                  </a:cubicBezTo>
                  <a:cubicBezTo>
                    <a:pt x="1022" y="84"/>
                    <a:pt x="1022" y="84"/>
                    <a:pt x="1022" y="84"/>
                  </a:cubicBezTo>
                  <a:cubicBezTo>
                    <a:pt x="1028" y="83"/>
                    <a:pt x="1033" y="77"/>
                    <a:pt x="1033" y="71"/>
                  </a:cubicBezTo>
                  <a:cubicBezTo>
                    <a:pt x="1033" y="64"/>
                    <a:pt x="1027" y="58"/>
                    <a:pt x="1020" y="58"/>
                  </a:cubicBezTo>
                  <a:cubicBezTo>
                    <a:pt x="1015" y="58"/>
                    <a:pt x="1011" y="60"/>
                    <a:pt x="1009" y="63"/>
                  </a:cubicBezTo>
                  <a:cubicBezTo>
                    <a:pt x="1009" y="63"/>
                    <a:pt x="1009" y="63"/>
                    <a:pt x="1009" y="63"/>
                  </a:cubicBezTo>
                  <a:cubicBezTo>
                    <a:pt x="1009" y="63"/>
                    <a:pt x="1009" y="63"/>
                    <a:pt x="1008" y="63"/>
                  </a:cubicBezTo>
                  <a:cubicBezTo>
                    <a:pt x="1006" y="63"/>
                    <a:pt x="1000" y="60"/>
                    <a:pt x="994" y="57"/>
                  </a:cubicBezTo>
                  <a:cubicBezTo>
                    <a:pt x="1001" y="61"/>
                    <a:pt x="1008" y="65"/>
                    <a:pt x="1007" y="66"/>
                  </a:cubicBezTo>
                  <a:cubicBezTo>
                    <a:pt x="1007" y="66"/>
                    <a:pt x="1007" y="66"/>
                    <a:pt x="1007" y="66"/>
                  </a:cubicBezTo>
                  <a:cubicBezTo>
                    <a:pt x="1007" y="68"/>
                    <a:pt x="1006" y="69"/>
                    <a:pt x="1006" y="71"/>
                  </a:cubicBezTo>
                  <a:cubicBezTo>
                    <a:pt x="1006" y="76"/>
                    <a:pt x="1010" y="81"/>
                    <a:pt x="1014" y="83"/>
                  </a:cubicBezTo>
                  <a:cubicBezTo>
                    <a:pt x="1014" y="83"/>
                    <a:pt x="1014" y="83"/>
                    <a:pt x="1014" y="83"/>
                  </a:cubicBezTo>
                  <a:cubicBezTo>
                    <a:pt x="1016" y="83"/>
                    <a:pt x="1013" y="92"/>
                    <a:pt x="1011" y="101"/>
                  </a:cubicBezTo>
                  <a:cubicBezTo>
                    <a:pt x="1013" y="93"/>
                    <a:pt x="1016" y="85"/>
                    <a:pt x="1018" y="84"/>
                  </a:cubicBezTo>
                  <a:cubicBezTo>
                    <a:pt x="1020" y="87"/>
                    <a:pt x="1021" y="153"/>
                    <a:pt x="1016" y="153"/>
                  </a:cubicBezTo>
                  <a:cubicBezTo>
                    <a:pt x="1016" y="153"/>
                    <a:pt x="1016" y="153"/>
                    <a:pt x="1016" y="153"/>
                  </a:cubicBezTo>
                  <a:cubicBezTo>
                    <a:pt x="1016" y="153"/>
                    <a:pt x="1016" y="153"/>
                    <a:pt x="1016" y="153"/>
                  </a:cubicBezTo>
                  <a:cubicBezTo>
                    <a:pt x="1016" y="153"/>
                    <a:pt x="1016" y="153"/>
                    <a:pt x="1016" y="153"/>
                  </a:cubicBezTo>
                  <a:cubicBezTo>
                    <a:pt x="1014" y="153"/>
                    <a:pt x="1012" y="151"/>
                    <a:pt x="1011" y="147"/>
                  </a:cubicBezTo>
                  <a:cubicBezTo>
                    <a:pt x="1012" y="151"/>
                    <a:pt x="1012" y="154"/>
                    <a:pt x="1010" y="155"/>
                  </a:cubicBezTo>
                  <a:cubicBezTo>
                    <a:pt x="1004" y="157"/>
                    <a:pt x="999" y="162"/>
                    <a:pt x="996" y="168"/>
                  </a:cubicBezTo>
                  <a:cubicBezTo>
                    <a:pt x="996" y="168"/>
                    <a:pt x="996" y="168"/>
                    <a:pt x="994" y="168"/>
                  </a:cubicBezTo>
                  <a:cubicBezTo>
                    <a:pt x="978" y="168"/>
                    <a:pt x="874" y="142"/>
                    <a:pt x="874" y="139"/>
                  </a:cubicBezTo>
                  <a:cubicBezTo>
                    <a:pt x="874" y="139"/>
                    <a:pt x="874" y="139"/>
                    <a:pt x="874" y="139"/>
                  </a:cubicBezTo>
                  <a:cubicBezTo>
                    <a:pt x="874" y="138"/>
                    <a:pt x="874" y="138"/>
                    <a:pt x="874" y="137"/>
                  </a:cubicBezTo>
                  <a:cubicBezTo>
                    <a:pt x="874" y="127"/>
                    <a:pt x="866" y="119"/>
                    <a:pt x="855" y="119"/>
                  </a:cubicBezTo>
                  <a:cubicBezTo>
                    <a:pt x="853" y="119"/>
                    <a:pt x="850" y="120"/>
                    <a:pt x="848" y="121"/>
                  </a:cubicBezTo>
                  <a:cubicBezTo>
                    <a:pt x="848" y="120"/>
                    <a:pt x="848" y="120"/>
                    <a:pt x="848" y="120"/>
                  </a:cubicBezTo>
                  <a:cubicBezTo>
                    <a:pt x="848" y="121"/>
                    <a:pt x="848" y="121"/>
                    <a:pt x="848" y="121"/>
                  </a:cubicBezTo>
                  <a:cubicBezTo>
                    <a:pt x="843" y="121"/>
                    <a:pt x="786" y="34"/>
                    <a:pt x="789" y="31"/>
                  </a:cubicBezTo>
                  <a:cubicBezTo>
                    <a:pt x="789" y="31"/>
                    <a:pt x="789" y="31"/>
                    <a:pt x="789" y="31"/>
                  </a:cubicBezTo>
                  <a:cubicBezTo>
                    <a:pt x="791" y="31"/>
                    <a:pt x="800" y="38"/>
                    <a:pt x="810" y="45"/>
                  </a:cubicBezTo>
                  <a:cubicBezTo>
                    <a:pt x="800" y="37"/>
                    <a:pt x="791" y="29"/>
                    <a:pt x="792" y="28"/>
                  </a:cubicBezTo>
                  <a:cubicBezTo>
                    <a:pt x="792" y="28"/>
                    <a:pt x="792" y="28"/>
                    <a:pt x="792" y="28"/>
                  </a:cubicBezTo>
                  <a:cubicBezTo>
                    <a:pt x="794" y="25"/>
                    <a:pt x="795" y="22"/>
                    <a:pt x="795" y="18"/>
                  </a:cubicBezTo>
                  <a:cubicBezTo>
                    <a:pt x="795" y="8"/>
                    <a:pt x="787" y="0"/>
                    <a:pt x="776"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8" name="Freeform 20"/>
            <p:cNvSpPr>
              <a:spLocks/>
            </p:cNvSpPr>
            <p:nvPr/>
          </p:nvSpPr>
          <p:spPr bwMode="auto">
            <a:xfrm>
              <a:off x="6035675" y="2900363"/>
              <a:ext cx="52388" cy="41275"/>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cubicBezTo>
                    <a:pt x="9" y="4"/>
                    <a:pt x="4" y="8"/>
                    <a:pt x="0" y="11"/>
                  </a:cubicBezTo>
                  <a:cubicBezTo>
                    <a:pt x="4" y="8"/>
                    <a:pt x="10" y="4"/>
                    <a:pt x="14"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9" name="Freeform 21"/>
            <p:cNvSpPr>
              <a:spLocks noEditPoints="1"/>
            </p:cNvSpPr>
            <p:nvPr/>
          </p:nvSpPr>
          <p:spPr bwMode="auto">
            <a:xfrm>
              <a:off x="5457825" y="2247900"/>
              <a:ext cx="1231900" cy="652463"/>
            </a:xfrm>
            <a:custGeom>
              <a:avLst/>
              <a:gdLst>
                <a:gd name="T0" fmla="*/ 294 w 328"/>
                <a:gd name="T1" fmla="*/ 53 h 173"/>
                <a:gd name="T2" fmla="*/ 290 w 328"/>
                <a:gd name="T3" fmla="*/ 68 h 173"/>
                <a:gd name="T4" fmla="*/ 237 w 328"/>
                <a:gd name="T5" fmla="*/ 89 h 173"/>
                <a:gd name="T6" fmla="*/ 255 w 328"/>
                <a:gd name="T7" fmla="*/ 21 h 173"/>
                <a:gd name="T8" fmla="*/ 257 w 328"/>
                <a:gd name="T9" fmla="*/ 22 h 173"/>
                <a:gd name="T10" fmla="*/ 257 w 328"/>
                <a:gd name="T11" fmla="*/ 0 h 173"/>
                <a:gd name="T12" fmla="*/ 252 w 328"/>
                <a:gd name="T13" fmla="*/ 20 h 173"/>
                <a:gd name="T14" fmla="*/ 230 w 328"/>
                <a:gd name="T15" fmla="*/ 84 h 173"/>
                <a:gd name="T16" fmla="*/ 225 w 328"/>
                <a:gd name="T17" fmla="*/ 84 h 173"/>
                <a:gd name="T18" fmla="*/ 213 w 328"/>
                <a:gd name="T19" fmla="*/ 59 h 173"/>
                <a:gd name="T20" fmla="*/ 199 w 328"/>
                <a:gd name="T21" fmla="*/ 34 h 173"/>
                <a:gd name="T22" fmla="*/ 185 w 328"/>
                <a:gd name="T23" fmla="*/ 44 h 173"/>
                <a:gd name="T24" fmla="*/ 104 w 328"/>
                <a:gd name="T25" fmla="*/ 22 h 173"/>
                <a:gd name="T26" fmla="*/ 88 w 328"/>
                <a:gd name="T27" fmla="*/ 38 h 173"/>
                <a:gd name="T28" fmla="*/ 16 w 328"/>
                <a:gd name="T29" fmla="*/ 52 h 173"/>
                <a:gd name="T30" fmla="*/ 6 w 328"/>
                <a:gd name="T31" fmla="*/ 48 h 173"/>
                <a:gd name="T32" fmla="*/ 12 w 328"/>
                <a:gd name="T33" fmla="*/ 61 h 173"/>
                <a:gd name="T34" fmla="*/ 86 w 328"/>
                <a:gd name="T35" fmla="*/ 42 h 173"/>
                <a:gd name="T36" fmla="*/ 104 w 328"/>
                <a:gd name="T37" fmla="*/ 54 h 173"/>
                <a:gd name="T38" fmla="*/ 128 w 328"/>
                <a:gd name="T39" fmla="*/ 41 h 173"/>
                <a:gd name="T40" fmla="*/ 192 w 328"/>
                <a:gd name="T41" fmla="*/ 53 h 173"/>
                <a:gd name="T42" fmla="*/ 210 w 328"/>
                <a:gd name="T43" fmla="*/ 60 h 173"/>
                <a:gd name="T44" fmla="*/ 222 w 328"/>
                <a:gd name="T45" fmla="*/ 86 h 173"/>
                <a:gd name="T46" fmla="*/ 222 w 328"/>
                <a:gd name="T47" fmla="*/ 101 h 173"/>
                <a:gd name="T48" fmla="*/ 205 w 328"/>
                <a:gd name="T49" fmla="*/ 130 h 173"/>
                <a:gd name="T50" fmla="*/ 178 w 328"/>
                <a:gd name="T51" fmla="*/ 162 h 173"/>
                <a:gd name="T52" fmla="*/ 181 w 328"/>
                <a:gd name="T53" fmla="*/ 166 h 173"/>
                <a:gd name="T54" fmla="*/ 198 w 328"/>
                <a:gd name="T55" fmla="*/ 172 h 173"/>
                <a:gd name="T56" fmla="*/ 226 w 328"/>
                <a:gd name="T57" fmla="*/ 150 h 173"/>
                <a:gd name="T58" fmla="*/ 211 w 328"/>
                <a:gd name="T59" fmla="*/ 132 h 173"/>
                <a:gd name="T60" fmla="*/ 225 w 328"/>
                <a:gd name="T61" fmla="*/ 103 h 173"/>
                <a:gd name="T62" fmla="*/ 230 w 328"/>
                <a:gd name="T63" fmla="*/ 103 h 173"/>
                <a:gd name="T64" fmla="*/ 244 w 328"/>
                <a:gd name="T65" fmla="*/ 146 h 173"/>
                <a:gd name="T66" fmla="*/ 242 w 328"/>
                <a:gd name="T67" fmla="*/ 149 h 173"/>
                <a:gd name="T68" fmla="*/ 242 w 328"/>
                <a:gd name="T69" fmla="*/ 151 h 173"/>
                <a:gd name="T70" fmla="*/ 248 w 328"/>
                <a:gd name="T71" fmla="*/ 154 h 173"/>
                <a:gd name="T72" fmla="*/ 250 w 328"/>
                <a:gd name="T73" fmla="*/ 153 h 173"/>
                <a:gd name="T74" fmla="*/ 251 w 328"/>
                <a:gd name="T75" fmla="*/ 152 h 173"/>
                <a:gd name="T76" fmla="*/ 246 w 328"/>
                <a:gd name="T77" fmla="*/ 146 h 173"/>
                <a:gd name="T78" fmla="*/ 232 w 328"/>
                <a:gd name="T79" fmla="*/ 102 h 173"/>
                <a:gd name="T80" fmla="*/ 238 w 328"/>
                <a:gd name="T81" fmla="*/ 92 h 173"/>
                <a:gd name="T82" fmla="*/ 292 w 328"/>
                <a:gd name="T83" fmla="*/ 72 h 173"/>
                <a:gd name="T84" fmla="*/ 324 w 328"/>
                <a:gd name="T85" fmla="*/ 57 h 173"/>
                <a:gd name="T86" fmla="*/ 297 w 328"/>
                <a:gd name="T87" fmla="*/ 50 h 173"/>
                <a:gd name="T88" fmla="*/ 266 w 328"/>
                <a:gd name="T89" fmla="*/ 17 h 173"/>
                <a:gd name="T90" fmla="*/ 257 w 328"/>
                <a:gd name="T9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173">
                  <a:moveTo>
                    <a:pt x="263" y="20"/>
                  </a:moveTo>
                  <a:cubicBezTo>
                    <a:pt x="263" y="20"/>
                    <a:pt x="263" y="20"/>
                    <a:pt x="263" y="20"/>
                  </a:cubicBezTo>
                  <a:cubicBezTo>
                    <a:pt x="266" y="20"/>
                    <a:pt x="296" y="51"/>
                    <a:pt x="294" y="53"/>
                  </a:cubicBezTo>
                  <a:cubicBezTo>
                    <a:pt x="294" y="53"/>
                    <a:pt x="294" y="53"/>
                    <a:pt x="294" y="53"/>
                  </a:cubicBezTo>
                  <a:cubicBezTo>
                    <a:pt x="290" y="57"/>
                    <a:pt x="289" y="63"/>
                    <a:pt x="290" y="68"/>
                  </a:cubicBezTo>
                  <a:cubicBezTo>
                    <a:pt x="290" y="68"/>
                    <a:pt x="290" y="68"/>
                    <a:pt x="290" y="68"/>
                  </a:cubicBezTo>
                  <a:cubicBezTo>
                    <a:pt x="291" y="71"/>
                    <a:pt x="242" y="89"/>
                    <a:pt x="237" y="89"/>
                  </a:cubicBezTo>
                  <a:cubicBezTo>
                    <a:pt x="237" y="89"/>
                    <a:pt x="237" y="89"/>
                    <a:pt x="237" y="89"/>
                  </a:cubicBezTo>
                  <a:cubicBezTo>
                    <a:pt x="237" y="89"/>
                    <a:pt x="237" y="89"/>
                    <a:pt x="237" y="89"/>
                  </a:cubicBezTo>
                  <a:cubicBezTo>
                    <a:pt x="236" y="87"/>
                    <a:pt x="234" y="86"/>
                    <a:pt x="233" y="85"/>
                  </a:cubicBezTo>
                  <a:cubicBezTo>
                    <a:pt x="233" y="85"/>
                    <a:pt x="233" y="85"/>
                    <a:pt x="233" y="85"/>
                  </a:cubicBezTo>
                  <a:cubicBezTo>
                    <a:pt x="231" y="84"/>
                    <a:pt x="253" y="21"/>
                    <a:pt x="255" y="21"/>
                  </a:cubicBezTo>
                  <a:cubicBezTo>
                    <a:pt x="255" y="21"/>
                    <a:pt x="255" y="21"/>
                    <a:pt x="255" y="21"/>
                  </a:cubicBezTo>
                  <a:cubicBezTo>
                    <a:pt x="255" y="21"/>
                    <a:pt x="255" y="21"/>
                    <a:pt x="255" y="21"/>
                  </a:cubicBezTo>
                  <a:cubicBezTo>
                    <a:pt x="256" y="21"/>
                    <a:pt x="256" y="22"/>
                    <a:pt x="257" y="22"/>
                  </a:cubicBezTo>
                  <a:cubicBezTo>
                    <a:pt x="259" y="22"/>
                    <a:pt x="261" y="21"/>
                    <a:pt x="263" y="20"/>
                  </a:cubicBezTo>
                  <a:cubicBezTo>
                    <a:pt x="263" y="20"/>
                    <a:pt x="263" y="20"/>
                    <a:pt x="263" y="20"/>
                  </a:cubicBezTo>
                  <a:moveTo>
                    <a:pt x="257" y="0"/>
                  </a:moveTo>
                  <a:cubicBezTo>
                    <a:pt x="251" y="0"/>
                    <a:pt x="246" y="5"/>
                    <a:pt x="246" y="11"/>
                  </a:cubicBezTo>
                  <a:cubicBezTo>
                    <a:pt x="246" y="15"/>
                    <a:pt x="248" y="19"/>
                    <a:pt x="252" y="20"/>
                  </a:cubicBezTo>
                  <a:cubicBezTo>
                    <a:pt x="252" y="20"/>
                    <a:pt x="252" y="20"/>
                    <a:pt x="252" y="20"/>
                  </a:cubicBezTo>
                  <a:cubicBezTo>
                    <a:pt x="254" y="21"/>
                    <a:pt x="232" y="84"/>
                    <a:pt x="230" y="84"/>
                  </a:cubicBezTo>
                  <a:cubicBezTo>
                    <a:pt x="230" y="84"/>
                    <a:pt x="230" y="84"/>
                    <a:pt x="230" y="84"/>
                  </a:cubicBezTo>
                  <a:cubicBezTo>
                    <a:pt x="230" y="84"/>
                    <a:pt x="230" y="84"/>
                    <a:pt x="230" y="84"/>
                  </a:cubicBezTo>
                  <a:cubicBezTo>
                    <a:pt x="229" y="84"/>
                    <a:pt x="229" y="84"/>
                    <a:pt x="228" y="84"/>
                  </a:cubicBezTo>
                  <a:cubicBezTo>
                    <a:pt x="227" y="84"/>
                    <a:pt x="226" y="84"/>
                    <a:pt x="225" y="85"/>
                  </a:cubicBezTo>
                  <a:cubicBezTo>
                    <a:pt x="225" y="84"/>
                    <a:pt x="225" y="84"/>
                    <a:pt x="225" y="84"/>
                  </a:cubicBezTo>
                  <a:cubicBezTo>
                    <a:pt x="225" y="85"/>
                    <a:pt x="225" y="85"/>
                    <a:pt x="225" y="85"/>
                  </a:cubicBezTo>
                  <a:cubicBezTo>
                    <a:pt x="223" y="85"/>
                    <a:pt x="211" y="60"/>
                    <a:pt x="214" y="59"/>
                  </a:cubicBezTo>
                  <a:cubicBezTo>
                    <a:pt x="213" y="59"/>
                    <a:pt x="213" y="59"/>
                    <a:pt x="213" y="59"/>
                  </a:cubicBezTo>
                  <a:cubicBezTo>
                    <a:pt x="220" y="55"/>
                    <a:pt x="222" y="47"/>
                    <a:pt x="219" y="41"/>
                  </a:cubicBezTo>
                  <a:cubicBezTo>
                    <a:pt x="216" y="36"/>
                    <a:pt x="211" y="33"/>
                    <a:pt x="205" y="33"/>
                  </a:cubicBezTo>
                  <a:cubicBezTo>
                    <a:pt x="203" y="33"/>
                    <a:pt x="201" y="33"/>
                    <a:pt x="199" y="34"/>
                  </a:cubicBezTo>
                  <a:cubicBezTo>
                    <a:pt x="195" y="36"/>
                    <a:pt x="192" y="39"/>
                    <a:pt x="191" y="43"/>
                  </a:cubicBezTo>
                  <a:cubicBezTo>
                    <a:pt x="191" y="43"/>
                    <a:pt x="191" y="43"/>
                    <a:pt x="191" y="43"/>
                  </a:cubicBezTo>
                  <a:cubicBezTo>
                    <a:pt x="191" y="44"/>
                    <a:pt x="189" y="44"/>
                    <a:pt x="185" y="44"/>
                  </a:cubicBezTo>
                  <a:cubicBezTo>
                    <a:pt x="168" y="44"/>
                    <a:pt x="121" y="39"/>
                    <a:pt x="121" y="37"/>
                  </a:cubicBezTo>
                  <a:cubicBezTo>
                    <a:pt x="121" y="37"/>
                    <a:pt x="121" y="37"/>
                    <a:pt x="121" y="37"/>
                  </a:cubicBezTo>
                  <a:cubicBezTo>
                    <a:pt x="121" y="28"/>
                    <a:pt x="114" y="22"/>
                    <a:pt x="104" y="22"/>
                  </a:cubicBezTo>
                  <a:cubicBezTo>
                    <a:pt x="95" y="22"/>
                    <a:pt x="88" y="29"/>
                    <a:pt x="88" y="38"/>
                  </a:cubicBezTo>
                  <a:cubicBezTo>
                    <a:pt x="88" y="38"/>
                    <a:pt x="88" y="38"/>
                    <a:pt x="88" y="38"/>
                  </a:cubicBezTo>
                  <a:cubicBezTo>
                    <a:pt x="88" y="38"/>
                    <a:pt x="88" y="38"/>
                    <a:pt x="88" y="38"/>
                  </a:cubicBezTo>
                  <a:cubicBezTo>
                    <a:pt x="88" y="41"/>
                    <a:pt x="24" y="52"/>
                    <a:pt x="17" y="52"/>
                  </a:cubicBezTo>
                  <a:cubicBezTo>
                    <a:pt x="16" y="52"/>
                    <a:pt x="16" y="52"/>
                    <a:pt x="16" y="52"/>
                  </a:cubicBezTo>
                  <a:cubicBezTo>
                    <a:pt x="16" y="52"/>
                    <a:pt x="16" y="52"/>
                    <a:pt x="16" y="52"/>
                  </a:cubicBezTo>
                  <a:cubicBezTo>
                    <a:pt x="16" y="51"/>
                    <a:pt x="16" y="51"/>
                    <a:pt x="16" y="51"/>
                  </a:cubicBezTo>
                  <a:cubicBezTo>
                    <a:pt x="14" y="48"/>
                    <a:pt x="12" y="47"/>
                    <a:pt x="9" y="47"/>
                  </a:cubicBezTo>
                  <a:cubicBezTo>
                    <a:pt x="8" y="47"/>
                    <a:pt x="7" y="47"/>
                    <a:pt x="6" y="48"/>
                  </a:cubicBezTo>
                  <a:cubicBezTo>
                    <a:pt x="2" y="49"/>
                    <a:pt x="0" y="54"/>
                    <a:pt x="2" y="57"/>
                  </a:cubicBezTo>
                  <a:cubicBezTo>
                    <a:pt x="3" y="60"/>
                    <a:pt x="6" y="61"/>
                    <a:pt x="9" y="61"/>
                  </a:cubicBezTo>
                  <a:cubicBezTo>
                    <a:pt x="10" y="61"/>
                    <a:pt x="11" y="61"/>
                    <a:pt x="12" y="61"/>
                  </a:cubicBezTo>
                  <a:cubicBezTo>
                    <a:pt x="15" y="60"/>
                    <a:pt x="17" y="57"/>
                    <a:pt x="16" y="54"/>
                  </a:cubicBezTo>
                  <a:cubicBezTo>
                    <a:pt x="16" y="54"/>
                    <a:pt x="16" y="54"/>
                    <a:pt x="16" y="54"/>
                  </a:cubicBezTo>
                  <a:cubicBezTo>
                    <a:pt x="16" y="53"/>
                    <a:pt x="73" y="42"/>
                    <a:pt x="86" y="42"/>
                  </a:cubicBezTo>
                  <a:cubicBezTo>
                    <a:pt x="87" y="42"/>
                    <a:pt x="88" y="43"/>
                    <a:pt x="89" y="43"/>
                  </a:cubicBezTo>
                  <a:cubicBezTo>
                    <a:pt x="88" y="43"/>
                    <a:pt x="88" y="43"/>
                    <a:pt x="88" y="43"/>
                  </a:cubicBezTo>
                  <a:cubicBezTo>
                    <a:pt x="91" y="49"/>
                    <a:pt x="97" y="54"/>
                    <a:pt x="104" y="54"/>
                  </a:cubicBezTo>
                  <a:cubicBezTo>
                    <a:pt x="112" y="54"/>
                    <a:pt x="119" y="49"/>
                    <a:pt x="121" y="42"/>
                  </a:cubicBezTo>
                  <a:cubicBezTo>
                    <a:pt x="121" y="42"/>
                    <a:pt x="121" y="42"/>
                    <a:pt x="121" y="42"/>
                  </a:cubicBezTo>
                  <a:cubicBezTo>
                    <a:pt x="121" y="41"/>
                    <a:pt x="124" y="41"/>
                    <a:pt x="128" y="41"/>
                  </a:cubicBezTo>
                  <a:cubicBezTo>
                    <a:pt x="145" y="41"/>
                    <a:pt x="191" y="46"/>
                    <a:pt x="191" y="48"/>
                  </a:cubicBezTo>
                  <a:cubicBezTo>
                    <a:pt x="191" y="48"/>
                    <a:pt x="191" y="48"/>
                    <a:pt x="191" y="48"/>
                  </a:cubicBezTo>
                  <a:cubicBezTo>
                    <a:pt x="191" y="49"/>
                    <a:pt x="191" y="51"/>
                    <a:pt x="192" y="53"/>
                  </a:cubicBezTo>
                  <a:cubicBezTo>
                    <a:pt x="195" y="58"/>
                    <a:pt x="200" y="61"/>
                    <a:pt x="205" y="61"/>
                  </a:cubicBezTo>
                  <a:cubicBezTo>
                    <a:pt x="207" y="61"/>
                    <a:pt x="208" y="61"/>
                    <a:pt x="210" y="60"/>
                  </a:cubicBezTo>
                  <a:cubicBezTo>
                    <a:pt x="210" y="60"/>
                    <a:pt x="210" y="60"/>
                    <a:pt x="210" y="60"/>
                  </a:cubicBezTo>
                  <a:cubicBezTo>
                    <a:pt x="210" y="60"/>
                    <a:pt x="210" y="60"/>
                    <a:pt x="210" y="60"/>
                  </a:cubicBezTo>
                  <a:cubicBezTo>
                    <a:pt x="213" y="60"/>
                    <a:pt x="224" y="85"/>
                    <a:pt x="222" y="86"/>
                  </a:cubicBezTo>
                  <a:cubicBezTo>
                    <a:pt x="222" y="86"/>
                    <a:pt x="222" y="86"/>
                    <a:pt x="222" y="86"/>
                  </a:cubicBezTo>
                  <a:cubicBezTo>
                    <a:pt x="218" y="88"/>
                    <a:pt x="217" y="94"/>
                    <a:pt x="219" y="98"/>
                  </a:cubicBezTo>
                  <a:cubicBezTo>
                    <a:pt x="220" y="99"/>
                    <a:pt x="221" y="101"/>
                    <a:pt x="222" y="101"/>
                  </a:cubicBezTo>
                  <a:cubicBezTo>
                    <a:pt x="222" y="101"/>
                    <a:pt x="222" y="101"/>
                    <a:pt x="222" y="101"/>
                  </a:cubicBezTo>
                  <a:cubicBezTo>
                    <a:pt x="223" y="103"/>
                    <a:pt x="210" y="130"/>
                    <a:pt x="206" y="130"/>
                  </a:cubicBezTo>
                  <a:cubicBezTo>
                    <a:pt x="206" y="130"/>
                    <a:pt x="205" y="130"/>
                    <a:pt x="205" y="130"/>
                  </a:cubicBezTo>
                  <a:cubicBezTo>
                    <a:pt x="205" y="130"/>
                    <a:pt x="205" y="130"/>
                    <a:pt x="205" y="130"/>
                  </a:cubicBezTo>
                  <a:cubicBezTo>
                    <a:pt x="203" y="129"/>
                    <a:pt x="201" y="128"/>
                    <a:pt x="198" y="128"/>
                  </a:cubicBezTo>
                  <a:cubicBezTo>
                    <a:pt x="185" y="128"/>
                    <a:pt x="175" y="138"/>
                    <a:pt x="175" y="150"/>
                  </a:cubicBezTo>
                  <a:cubicBezTo>
                    <a:pt x="175" y="155"/>
                    <a:pt x="176" y="159"/>
                    <a:pt x="178" y="162"/>
                  </a:cubicBezTo>
                  <a:cubicBezTo>
                    <a:pt x="178" y="162"/>
                    <a:pt x="178" y="162"/>
                    <a:pt x="178" y="162"/>
                  </a:cubicBezTo>
                  <a:cubicBezTo>
                    <a:pt x="179" y="163"/>
                    <a:pt x="174" y="168"/>
                    <a:pt x="168" y="173"/>
                  </a:cubicBezTo>
                  <a:cubicBezTo>
                    <a:pt x="174" y="169"/>
                    <a:pt x="179" y="166"/>
                    <a:pt x="181" y="166"/>
                  </a:cubicBezTo>
                  <a:cubicBezTo>
                    <a:pt x="182" y="166"/>
                    <a:pt x="182" y="166"/>
                    <a:pt x="182" y="166"/>
                  </a:cubicBezTo>
                  <a:cubicBezTo>
                    <a:pt x="182" y="166"/>
                    <a:pt x="182" y="166"/>
                    <a:pt x="182" y="166"/>
                  </a:cubicBezTo>
                  <a:cubicBezTo>
                    <a:pt x="186" y="170"/>
                    <a:pt x="192" y="172"/>
                    <a:pt x="198" y="172"/>
                  </a:cubicBezTo>
                  <a:cubicBezTo>
                    <a:pt x="210" y="172"/>
                    <a:pt x="219" y="164"/>
                    <a:pt x="221" y="153"/>
                  </a:cubicBezTo>
                  <a:cubicBezTo>
                    <a:pt x="221" y="153"/>
                    <a:pt x="221" y="153"/>
                    <a:pt x="221" y="153"/>
                  </a:cubicBezTo>
                  <a:cubicBezTo>
                    <a:pt x="221" y="151"/>
                    <a:pt x="223" y="151"/>
                    <a:pt x="226" y="150"/>
                  </a:cubicBezTo>
                  <a:cubicBezTo>
                    <a:pt x="223" y="150"/>
                    <a:pt x="221" y="149"/>
                    <a:pt x="221" y="148"/>
                  </a:cubicBezTo>
                  <a:cubicBezTo>
                    <a:pt x="221" y="148"/>
                    <a:pt x="221" y="148"/>
                    <a:pt x="221" y="148"/>
                  </a:cubicBezTo>
                  <a:cubicBezTo>
                    <a:pt x="220" y="141"/>
                    <a:pt x="216" y="136"/>
                    <a:pt x="211" y="132"/>
                  </a:cubicBezTo>
                  <a:cubicBezTo>
                    <a:pt x="211" y="132"/>
                    <a:pt x="211" y="132"/>
                    <a:pt x="211" y="132"/>
                  </a:cubicBezTo>
                  <a:cubicBezTo>
                    <a:pt x="207" y="130"/>
                    <a:pt x="223" y="103"/>
                    <a:pt x="225" y="103"/>
                  </a:cubicBezTo>
                  <a:cubicBezTo>
                    <a:pt x="225" y="103"/>
                    <a:pt x="225" y="103"/>
                    <a:pt x="225" y="103"/>
                  </a:cubicBezTo>
                  <a:cubicBezTo>
                    <a:pt x="225" y="103"/>
                    <a:pt x="225" y="103"/>
                    <a:pt x="225" y="103"/>
                  </a:cubicBezTo>
                  <a:cubicBezTo>
                    <a:pt x="226" y="103"/>
                    <a:pt x="227" y="103"/>
                    <a:pt x="228" y="103"/>
                  </a:cubicBezTo>
                  <a:cubicBezTo>
                    <a:pt x="229" y="103"/>
                    <a:pt x="229" y="103"/>
                    <a:pt x="230" y="103"/>
                  </a:cubicBezTo>
                  <a:cubicBezTo>
                    <a:pt x="230" y="103"/>
                    <a:pt x="230" y="103"/>
                    <a:pt x="230" y="103"/>
                  </a:cubicBezTo>
                  <a:cubicBezTo>
                    <a:pt x="230" y="103"/>
                    <a:pt x="230" y="103"/>
                    <a:pt x="230" y="103"/>
                  </a:cubicBezTo>
                  <a:cubicBezTo>
                    <a:pt x="232" y="103"/>
                    <a:pt x="245" y="146"/>
                    <a:pt x="244" y="146"/>
                  </a:cubicBezTo>
                  <a:cubicBezTo>
                    <a:pt x="244" y="146"/>
                    <a:pt x="244" y="146"/>
                    <a:pt x="244" y="146"/>
                  </a:cubicBezTo>
                  <a:cubicBezTo>
                    <a:pt x="243" y="147"/>
                    <a:pt x="242" y="148"/>
                    <a:pt x="242" y="150"/>
                  </a:cubicBezTo>
                  <a:cubicBezTo>
                    <a:pt x="242" y="149"/>
                    <a:pt x="242" y="149"/>
                    <a:pt x="242" y="149"/>
                  </a:cubicBezTo>
                  <a:cubicBezTo>
                    <a:pt x="242" y="150"/>
                    <a:pt x="240" y="150"/>
                    <a:pt x="237" y="150"/>
                  </a:cubicBezTo>
                  <a:cubicBezTo>
                    <a:pt x="240" y="151"/>
                    <a:pt x="242" y="151"/>
                    <a:pt x="242" y="151"/>
                  </a:cubicBezTo>
                  <a:cubicBezTo>
                    <a:pt x="242" y="151"/>
                    <a:pt x="242" y="151"/>
                    <a:pt x="242" y="151"/>
                  </a:cubicBezTo>
                  <a:cubicBezTo>
                    <a:pt x="242" y="151"/>
                    <a:pt x="242" y="152"/>
                    <a:pt x="242" y="152"/>
                  </a:cubicBezTo>
                  <a:cubicBezTo>
                    <a:pt x="243" y="154"/>
                    <a:pt x="245" y="155"/>
                    <a:pt x="246" y="155"/>
                  </a:cubicBezTo>
                  <a:cubicBezTo>
                    <a:pt x="247" y="155"/>
                    <a:pt x="248" y="155"/>
                    <a:pt x="248" y="154"/>
                  </a:cubicBezTo>
                  <a:cubicBezTo>
                    <a:pt x="249" y="154"/>
                    <a:pt x="250" y="154"/>
                    <a:pt x="250" y="153"/>
                  </a:cubicBezTo>
                  <a:cubicBezTo>
                    <a:pt x="250" y="153"/>
                    <a:pt x="250" y="153"/>
                    <a:pt x="250" y="153"/>
                  </a:cubicBezTo>
                  <a:cubicBezTo>
                    <a:pt x="250" y="153"/>
                    <a:pt x="250" y="153"/>
                    <a:pt x="250" y="153"/>
                  </a:cubicBezTo>
                  <a:cubicBezTo>
                    <a:pt x="251" y="153"/>
                    <a:pt x="256" y="155"/>
                    <a:pt x="262" y="158"/>
                  </a:cubicBezTo>
                  <a:cubicBezTo>
                    <a:pt x="256" y="155"/>
                    <a:pt x="251" y="152"/>
                    <a:pt x="251" y="152"/>
                  </a:cubicBezTo>
                  <a:cubicBezTo>
                    <a:pt x="251" y="152"/>
                    <a:pt x="251" y="152"/>
                    <a:pt x="251" y="152"/>
                  </a:cubicBezTo>
                  <a:cubicBezTo>
                    <a:pt x="251" y="151"/>
                    <a:pt x="251" y="150"/>
                    <a:pt x="251" y="148"/>
                  </a:cubicBezTo>
                  <a:cubicBezTo>
                    <a:pt x="250" y="147"/>
                    <a:pt x="248" y="146"/>
                    <a:pt x="246" y="146"/>
                  </a:cubicBezTo>
                  <a:cubicBezTo>
                    <a:pt x="246" y="146"/>
                    <a:pt x="246" y="146"/>
                    <a:pt x="246" y="146"/>
                  </a:cubicBezTo>
                  <a:cubicBezTo>
                    <a:pt x="246" y="146"/>
                    <a:pt x="246" y="146"/>
                    <a:pt x="246" y="146"/>
                  </a:cubicBezTo>
                  <a:cubicBezTo>
                    <a:pt x="246" y="146"/>
                    <a:pt x="246" y="146"/>
                    <a:pt x="246" y="146"/>
                  </a:cubicBezTo>
                  <a:cubicBezTo>
                    <a:pt x="245" y="146"/>
                    <a:pt x="231" y="103"/>
                    <a:pt x="232" y="102"/>
                  </a:cubicBezTo>
                  <a:cubicBezTo>
                    <a:pt x="232" y="102"/>
                    <a:pt x="232" y="102"/>
                    <a:pt x="232" y="102"/>
                  </a:cubicBezTo>
                  <a:cubicBezTo>
                    <a:pt x="237" y="101"/>
                    <a:pt x="239" y="96"/>
                    <a:pt x="238" y="92"/>
                  </a:cubicBezTo>
                  <a:cubicBezTo>
                    <a:pt x="238" y="92"/>
                    <a:pt x="238" y="92"/>
                    <a:pt x="238" y="92"/>
                  </a:cubicBezTo>
                  <a:cubicBezTo>
                    <a:pt x="237" y="90"/>
                    <a:pt x="283" y="72"/>
                    <a:pt x="291" y="72"/>
                  </a:cubicBezTo>
                  <a:cubicBezTo>
                    <a:pt x="292" y="72"/>
                    <a:pt x="292" y="72"/>
                    <a:pt x="292" y="73"/>
                  </a:cubicBezTo>
                  <a:cubicBezTo>
                    <a:pt x="292" y="72"/>
                    <a:pt x="292" y="72"/>
                    <a:pt x="292" y="72"/>
                  </a:cubicBezTo>
                  <a:cubicBezTo>
                    <a:pt x="295" y="78"/>
                    <a:pt x="301" y="81"/>
                    <a:pt x="308" y="81"/>
                  </a:cubicBezTo>
                  <a:cubicBezTo>
                    <a:pt x="310" y="81"/>
                    <a:pt x="313" y="81"/>
                    <a:pt x="315" y="80"/>
                  </a:cubicBezTo>
                  <a:cubicBezTo>
                    <a:pt x="324" y="76"/>
                    <a:pt x="328" y="65"/>
                    <a:pt x="324" y="57"/>
                  </a:cubicBezTo>
                  <a:cubicBezTo>
                    <a:pt x="321" y="51"/>
                    <a:pt x="314" y="47"/>
                    <a:pt x="308" y="47"/>
                  </a:cubicBezTo>
                  <a:cubicBezTo>
                    <a:pt x="305" y="47"/>
                    <a:pt x="302" y="47"/>
                    <a:pt x="300" y="49"/>
                  </a:cubicBezTo>
                  <a:cubicBezTo>
                    <a:pt x="299" y="49"/>
                    <a:pt x="298" y="49"/>
                    <a:pt x="297" y="50"/>
                  </a:cubicBezTo>
                  <a:cubicBezTo>
                    <a:pt x="298" y="50"/>
                    <a:pt x="298" y="50"/>
                    <a:pt x="298" y="50"/>
                  </a:cubicBezTo>
                  <a:cubicBezTo>
                    <a:pt x="298" y="50"/>
                    <a:pt x="297" y="50"/>
                    <a:pt x="297" y="50"/>
                  </a:cubicBezTo>
                  <a:cubicBezTo>
                    <a:pt x="293" y="50"/>
                    <a:pt x="264" y="19"/>
                    <a:pt x="266" y="17"/>
                  </a:cubicBezTo>
                  <a:cubicBezTo>
                    <a:pt x="266" y="17"/>
                    <a:pt x="266" y="17"/>
                    <a:pt x="266" y="17"/>
                  </a:cubicBezTo>
                  <a:cubicBezTo>
                    <a:pt x="267" y="16"/>
                    <a:pt x="268" y="13"/>
                    <a:pt x="268" y="11"/>
                  </a:cubicBezTo>
                  <a:cubicBezTo>
                    <a:pt x="268" y="5"/>
                    <a:pt x="263" y="0"/>
                    <a:pt x="257"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0" name="Freeform 22"/>
            <p:cNvSpPr>
              <a:spLocks/>
            </p:cNvSpPr>
            <p:nvPr/>
          </p:nvSpPr>
          <p:spPr bwMode="auto">
            <a:xfrm>
              <a:off x="7312025" y="3098800"/>
              <a:ext cx="12700" cy="26988"/>
            </a:xfrm>
            <a:custGeom>
              <a:avLst/>
              <a:gdLst>
                <a:gd name="T0" fmla="*/ 0 w 3"/>
                <a:gd name="T1" fmla="*/ 0 h 7"/>
                <a:gd name="T2" fmla="*/ 3 w 3"/>
                <a:gd name="T3" fmla="*/ 7 h 7"/>
                <a:gd name="T4" fmla="*/ 0 w 3"/>
                <a:gd name="T5" fmla="*/ 0 h 7"/>
              </a:gdLst>
              <a:ahLst/>
              <a:cxnLst>
                <a:cxn ang="0">
                  <a:pos x="T0" y="T1"/>
                </a:cxn>
                <a:cxn ang="0">
                  <a:pos x="T2" y="T3"/>
                </a:cxn>
                <a:cxn ang="0">
                  <a:pos x="T4" y="T5"/>
                </a:cxn>
              </a:cxnLst>
              <a:rect l="0" t="0" r="r" b="b"/>
              <a:pathLst>
                <a:path w="3" h="7">
                  <a:moveTo>
                    <a:pt x="0" y="0"/>
                  </a:moveTo>
                  <a:cubicBezTo>
                    <a:pt x="1" y="2"/>
                    <a:pt x="2" y="4"/>
                    <a:pt x="3" y="7"/>
                  </a:cubicBezTo>
                  <a:cubicBezTo>
                    <a:pt x="2" y="4"/>
                    <a:pt x="1" y="2"/>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1" name="Freeform 23"/>
            <p:cNvSpPr>
              <a:spLocks/>
            </p:cNvSpPr>
            <p:nvPr/>
          </p:nvSpPr>
          <p:spPr bwMode="auto">
            <a:xfrm>
              <a:off x="6307138" y="2813050"/>
              <a:ext cx="41275" cy="3175"/>
            </a:xfrm>
            <a:custGeom>
              <a:avLst/>
              <a:gdLst>
                <a:gd name="T0" fmla="*/ 5 w 11"/>
                <a:gd name="T1" fmla="*/ 0 h 1"/>
                <a:gd name="T2" fmla="*/ 0 w 11"/>
                <a:gd name="T3" fmla="*/ 0 h 1"/>
                <a:gd name="T4" fmla="*/ 5 w 11"/>
                <a:gd name="T5" fmla="*/ 1 h 1"/>
                <a:gd name="T6" fmla="*/ 11 w 11"/>
                <a:gd name="T7" fmla="*/ 0 h 1"/>
                <a:gd name="T8" fmla="*/ 5 w 11"/>
                <a:gd name="T9" fmla="*/ 0 h 1"/>
              </a:gdLst>
              <a:ahLst/>
              <a:cxnLst>
                <a:cxn ang="0">
                  <a:pos x="T0" y="T1"/>
                </a:cxn>
                <a:cxn ang="0">
                  <a:pos x="T2" y="T3"/>
                </a:cxn>
                <a:cxn ang="0">
                  <a:pos x="T4" y="T5"/>
                </a:cxn>
                <a:cxn ang="0">
                  <a:pos x="T6" y="T7"/>
                </a:cxn>
                <a:cxn ang="0">
                  <a:pos x="T8" y="T9"/>
                </a:cxn>
              </a:cxnLst>
              <a:rect l="0" t="0" r="r" b="b"/>
              <a:pathLst>
                <a:path w="11" h="1">
                  <a:moveTo>
                    <a:pt x="5" y="0"/>
                  </a:moveTo>
                  <a:cubicBezTo>
                    <a:pt x="4" y="0"/>
                    <a:pt x="2" y="0"/>
                    <a:pt x="0" y="0"/>
                  </a:cubicBezTo>
                  <a:cubicBezTo>
                    <a:pt x="2" y="1"/>
                    <a:pt x="4" y="1"/>
                    <a:pt x="5" y="1"/>
                  </a:cubicBezTo>
                  <a:cubicBezTo>
                    <a:pt x="7" y="1"/>
                    <a:pt x="9" y="0"/>
                    <a:pt x="11" y="0"/>
                  </a:cubicBezTo>
                  <a:cubicBezTo>
                    <a:pt x="9" y="0"/>
                    <a:pt x="7" y="0"/>
                    <a:pt x="5"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2" name="Freeform 24"/>
            <p:cNvSpPr>
              <a:spLocks/>
            </p:cNvSpPr>
            <p:nvPr/>
          </p:nvSpPr>
          <p:spPr bwMode="auto">
            <a:xfrm>
              <a:off x="6442075" y="2843213"/>
              <a:ext cx="11113" cy="7938"/>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2"/>
                    <a:pt x="1" y="1"/>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3" name="Freeform 25"/>
            <p:cNvSpPr>
              <a:spLocks/>
            </p:cNvSpPr>
            <p:nvPr/>
          </p:nvSpPr>
          <p:spPr bwMode="auto">
            <a:xfrm>
              <a:off x="6502400" y="3136900"/>
              <a:ext cx="14288" cy="52388"/>
            </a:xfrm>
            <a:custGeom>
              <a:avLst/>
              <a:gdLst>
                <a:gd name="T0" fmla="*/ 0 w 4"/>
                <a:gd name="T1" fmla="*/ 0 h 14"/>
                <a:gd name="T2" fmla="*/ 4 w 4"/>
                <a:gd name="T3" fmla="*/ 14 h 14"/>
                <a:gd name="T4" fmla="*/ 0 w 4"/>
                <a:gd name="T5" fmla="*/ 0 h 14"/>
              </a:gdLst>
              <a:ahLst/>
              <a:cxnLst>
                <a:cxn ang="0">
                  <a:pos x="T0" y="T1"/>
                </a:cxn>
                <a:cxn ang="0">
                  <a:pos x="T2" y="T3"/>
                </a:cxn>
                <a:cxn ang="0">
                  <a:pos x="T4" y="T5"/>
                </a:cxn>
              </a:cxnLst>
              <a:rect l="0" t="0" r="r" b="b"/>
              <a:pathLst>
                <a:path w="4" h="14">
                  <a:moveTo>
                    <a:pt x="0" y="0"/>
                  </a:moveTo>
                  <a:cubicBezTo>
                    <a:pt x="1" y="4"/>
                    <a:pt x="2" y="9"/>
                    <a:pt x="4" y="14"/>
                  </a:cubicBezTo>
                  <a:cubicBezTo>
                    <a:pt x="3" y="9"/>
                    <a:pt x="1" y="4"/>
                    <a:pt x="0"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4" name="Freeform 26"/>
            <p:cNvSpPr>
              <a:spLocks noEditPoints="1"/>
            </p:cNvSpPr>
            <p:nvPr/>
          </p:nvSpPr>
          <p:spPr bwMode="auto">
            <a:xfrm>
              <a:off x="5980113" y="2941638"/>
              <a:ext cx="528638" cy="195263"/>
            </a:xfrm>
            <a:custGeom>
              <a:avLst/>
              <a:gdLst>
                <a:gd name="T0" fmla="*/ 95 w 141"/>
                <a:gd name="T1" fmla="*/ 22 h 52"/>
                <a:gd name="T2" fmla="*/ 101 w 141"/>
                <a:gd name="T3" fmla="*/ 23 h 52"/>
                <a:gd name="T4" fmla="*/ 103 w 141"/>
                <a:gd name="T5" fmla="*/ 22 h 52"/>
                <a:gd name="T6" fmla="*/ 133 w 141"/>
                <a:gd name="T7" fmla="*/ 41 h 52"/>
                <a:gd name="T8" fmla="*/ 132 w 141"/>
                <a:gd name="T9" fmla="*/ 42 h 52"/>
                <a:gd name="T10" fmla="*/ 70 w 141"/>
                <a:gd name="T11" fmla="*/ 45 h 52"/>
                <a:gd name="T12" fmla="*/ 65 w 141"/>
                <a:gd name="T13" fmla="*/ 45 h 52"/>
                <a:gd name="T14" fmla="*/ 64 w 141"/>
                <a:gd name="T15" fmla="*/ 43 h 52"/>
                <a:gd name="T16" fmla="*/ 95 w 141"/>
                <a:gd name="T17" fmla="*/ 22 h 52"/>
                <a:gd name="T18" fmla="*/ 15 w 141"/>
                <a:gd name="T19" fmla="*/ 0 h 52"/>
                <a:gd name="T20" fmla="*/ 7 w 141"/>
                <a:gd name="T21" fmla="*/ 6 h 52"/>
                <a:gd name="T22" fmla="*/ 4 w 141"/>
                <a:gd name="T23" fmla="*/ 5 h 52"/>
                <a:gd name="T24" fmla="*/ 1 w 141"/>
                <a:gd name="T25" fmla="*/ 10 h 52"/>
                <a:gd name="T26" fmla="*/ 6 w 141"/>
                <a:gd name="T27" fmla="*/ 12 h 52"/>
                <a:gd name="T28" fmla="*/ 7 w 141"/>
                <a:gd name="T29" fmla="*/ 11 h 52"/>
                <a:gd name="T30" fmla="*/ 52 w 141"/>
                <a:gd name="T31" fmla="*/ 43 h 52"/>
                <a:gd name="T32" fmla="*/ 52 w 141"/>
                <a:gd name="T33" fmla="*/ 49 h 52"/>
                <a:gd name="T34" fmla="*/ 61 w 141"/>
                <a:gd name="T35" fmla="*/ 52 h 52"/>
                <a:gd name="T36" fmla="*/ 65 w 141"/>
                <a:gd name="T37" fmla="*/ 47 h 52"/>
                <a:gd name="T38" fmla="*/ 132 w 141"/>
                <a:gd name="T39" fmla="*/ 43 h 52"/>
                <a:gd name="T40" fmla="*/ 133 w 141"/>
                <a:gd name="T41" fmla="*/ 44 h 52"/>
                <a:gd name="T42" fmla="*/ 137 w 141"/>
                <a:gd name="T43" fmla="*/ 46 h 52"/>
                <a:gd name="T44" fmla="*/ 137 w 141"/>
                <a:gd name="T45" fmla="*/ 46 h 52"/>
                <a:gd name="T46" fmla="*/ 138 w 141"/>
                <a:gd name="T47" fmla="*/ 46 h 52"/>
                <a:gd name="T48" fmla="*/ 140 w 141"/>
                <a:gd name="T49" fmla="*/ 41 h 52"/>
                <a:gd name="T50" fmla="*/ 138 w 141"/>
                <a:gd name="T51" fmla="*/ 39 h 52"/>
                <a:gd name="T52" fmla="*/ 137 w 141"/>
                <a:gd name="T53" fmla="*/ 39 h 52"/>
                <a:gd name="T54" fmla="*/ 137 w 141"/>
                <a:gd name="T55" fmla="*/ 39 h 52"/>
                <a:gd name="T56" fmla="*/ 135 w 141"/>
                <a:gd name="T57" fmla="*/ 39 h 52"/>
                <a:gd name="T58" fmla="*/ 133 w 141"/>
                <a:gd name="T59" fmla="*/ 40 h 52"/>
                <a:gd name="T60" fmla="*/ 103 w 141"/>
                <a:gd name="T61" fmla="*/ 21 h 52"/>
                <a:gd name="T62" fmla="*/ 103 w 141"/>
                <a:gd name="T63" fmla="*/ 17 h 52"/>
                <a:gd name="T64" fmla="*/ 97 w 141"/>
                <a:gd name="T65" fmla="*/ 15 h 52"/>
                <a:gd name="T66" fmla="*/ 95 w 141"/>
                <a:gd name="T67" fmla="*/ 21 h 52"/>
                <a:gd name="T68" fmla="*/ 63 w 141"/>
                <a:gd name="T69" fmla="*/ 41 h 52"/>
                <a:gd name="T70" fmla="*/ 58 w 141"/>
                <a:gd name="T71" fmla="*/ 39 h 52"/>
                <a:gd name="T72" fmla="*/ 53 w 141"/>
                <a:gd name="T73" fmla="*/ 41 h 52"/>
                <a:gd name="T74" fmla="*/ 53 w 141"/>
                <a:gd name="T75" fmla="*/ 41 h 52"/>
                <a:gd name="T76" fmla="*/ 8 w 141"/>
                <a:gd name="T77" fmla="*/ 10 h 52"/>
                <a:gd name="T78" fmla="*/ 8 w 141"/>
                <a:gd name="T79" fmla="*/ 7 h 52"/>
                <a:gd name="T80" fmla="*/ 15 w 141"/>
                <a:gd name="T8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52">
                  <a:moveTo>
                    <a:pt x="96" y="22"/>
                  </a:moveTo>
                  <a:cubicBezTo>
                    <a:pt x="95" y="22"/>
                    <a:pt x="95" y="22"/>
                    <a:pt x="95" y="22"/>
                  </a:cubicBezTo>
                  <a:cubicBezTo>
                    <a:pt x="96" y="23"/>
                    <a:pt x="98" y="24"/>
                    <a:pt x="99" y="24"/>
                  </a:cubicBezTo>
                  <a:cubicBezTo>
                    <a:pt x="100" y="24"/>
                    <a:pt x="100" y="23"/>
                    <a:pt x="101" y="23"/>
                  </a:cubicBezTo>
                  <a:cubicBezTo>
                    <a:pt x="102" y="23"/>
                    <a:pt x="102" y="23"/>
                    <a:pt x="103" y="22"/>
                  </a:cubicBezTo>
                  <a:cubicBezTo>
                    <a:pt x="103" y="22"/>
                    <a:pt x="103" y="22"/>
                    <a:pt x="103" y="22"/>
                  </a:cubicBezTo>
                  <a:cubicBezTo>
                    <a:pt x="103" y="22"/>
                    <a:pt x="103" y="22"/>
                    <a:pt x="103" y="22"/>
                  </a:cubicBezTo>
                  <a:cubicBezTo>
                    <a:pt x="104" y="22"/>
                    <a:pt x="133" y="40"/>
                    <a:pt x="133" y="41"/>
                  </a:cubicBezTo>
                  <a:cubicBezTo>
                    <a:pt x="133" y="41"/>
                    <a:pt x="133" y="41"/>
                    <a:pt x="133" y="41"/>
                  </a:cubicBezTo>
                  <a:cubicBezTo>
                    <a:pt x="132" y="41"/>
                    <a:pt x="132" y="42"/>
                    <a:pt x="132" y="42"/>
                  </a:cubicBezTo>
                  <a:cubicBezTo>
                    <a:pt x="132" y="42"/>
                    <a:pt x="132" y="42"/>
                    <a:pt x="132" y="42"/>
                  </a:cubicBezTo>
                  <a:cubicBezTo>
                    <a:pt x="132" y="43"/>
                    <a:pt x="86" y="45"/>
                    <a:pt x="70" y="45"/>
                  </a:cubicBezTo>
                  <a:cubicBezTo>
                    <a:pt x="67" y="45"/>
                    <a:pt x="65" y="45"/>
                    <a:pt x="65" y="45"/>
                  </a:cubicBezTo>
                  <a:cubicBezTo>
                    <a:pt x="65" y="45"/>
                    <a:pt x="65" y="45"/>
                    <a:pt x="65" y="45"/>
                  </a:cubicBezTo>
                  <a:cubicBezTo>
                    <a:pt x="65" y="44"/>
                    <a:pt x="64" y="43"/>
                    <a:pt x="64" y="43"/>
                  </a:cubicBezTo>
                  <a:cubicBezTo>
                    <a:pt x="64" y="43"/>
                    <a:pt x="64" y="43"/>
                    <a:pt x="64" y="43"/>
                  </a:cubicBezTo>
                  <a:cubicBezTo>
                    <a:pt x="64" y="43"/>
                    <a:pt x="64" y="43"/>
                    <a:pt x="64" y="43"/>
                  </a:cubicBezTo>
                  <a:cubicBezTo>
                    <a:pt x="64" y="42"/>
                    <a:pt x="94" y="22"/>
                    <a:pt x="95" y="22"/>
                  </a:cubicBezTo>
                  <a:cubicBezTo>
                    <a:pt x="96" y="22"/>
                    <a:pt x="96" y="22"/>
                    <a:pt x="96" y="22"/>
                  </a:cubicBezTo>
                  <a:moveTo>
                    <a:pt x="15" y="0"/>
                  </a:moveTo>
                  <a:cubicBezTo>
                    <a:pt x="11" y="3"/>
                    <a:pt x="8" y="6"/>
                    <a:pt x="7" y="6"/>
                  </a:cubicBezTo>
                  <a:cubicBezTo>
                    <a:pt x="7" y="6"/>
                    <a:pt x="7" y="6"/>
                    <a:pt x="7" y="6"/>
                  </a:cubicBezTo>
                  <a:cubicBezTo>
                    <a:pt x="7" y="6"/>
                    <a:pt x="7" y="6"/>
                    <a:pt x="7" y="6"/>
                  </a:cubicBezTo>
                  <a:cubicBezTo>
                    <a:pt x="6" y="5"/>
                    <a:pt x="5" y="5"/>
                    <a:pt x="4" y="5"/>
                  </a:cubicBezTo>
                  <a:cubicBezTo>
                    <a:pt x="4" y="5"/>
                    <a:pt x="3" y="5"/>
                    <a:pt x="3" y="5"/>
                  </a:cubicBezTo>
                  <a:cubicBezTo>
                    <a:pt x="1" y="6"/>
                    <a:pt x="0" y="8"/>
                    <a:pt x="1" y="10"/>
                  </a:cubicBezTo>
                  <a:cubicBezTo>
                    <a:pt x="1" y="12"/>
                    <a:pt x="3" y="12"/>
                    <a:pt x="4" y="12"/>
                  </a:cubicBezTo>
                  <a:cubicBezTo>
                    <a:pt x="5" y="12"/>
                    <a:pt x="6" y="12"/>
                    <a:pt x="6" y="12"/>
                  </a:cubicBezTo>
                  <a:cubicBezTo>
                    <a:pt x="7" y="12"/>
                    <a:pt x="7" y="12"/>
                    <a:pt x="7" y="11"/>
                  </a:cubicBezTo>
                  <a:cubicBezTo>
                    <a:pt x="7" y="11"/>
                    <a:pt x="7" y="11"/>
                    <a:pt x="7" y="11"/>
                  </a:cubicBezTo>
                  <a:cubicBezTo>
                    <a:pt x="7" y="11"/>
                    <a:pt x="7" y="11"/>
                    <a:pt x="7" y="11"/>
                  </a:cubicBezTo>
                  <a:cubicBezTo>
                    <a:pt x="9" y="11"/>
                    <a:pt x="52" y="42"/>
                    <a:pt x="52" y="43"/>
                  </a:cubicBezTo>
                  <a:cubicBezTo>
                    <a:pt x="52" y="43"/>
                    <a:pt x="52" y="43"/>
                    <a:pt x="52" y="43"/>
                  </a:cubicBezTo>
                  <a:cubicBezTo>
                    <a:pt x="51" y="44"/>
                    <a:pt x="51" y="47"/>
                    <a:pt x="52" y="49"/>
                  </a:cubicBezTo>
                  <a:cubicBezTo>
                    <a:pt x="53" y="51"/>
                    <a:pt x="55" y="52"/>
                    <a:pt x="58" y="52"/>
                  </a:cubicBezTo>
                  <a:cubicBezTo>
                    <a:pt x="59" y="52"/>
                    <a:pt x="60" y="52"/>
                    <a:pt x="61" y="52"/>
                  </a:cubicBezTo>
                  <a:cubicBezTo>
                    <a:pt x="63" y="51"/>
                    <a:pt x="65" y="49"/>
                    <a:pt x="65" y="46"/>
                  </a:cubicBezTo>
                  <a:cubicBezTo>
                    <a:pt x="65" y="47"/>
                    <a:pt x="65" y="47"/>
                    <a:pt x="65" y="47"/>
                  </a:cubicBezTo>
                  <a:cubicBezTo>
                    <a:pt x="65" y="45"/>
                    <a:pt x="117" y="43"/>
                    <a:pt x="129" y="43"/>
                  </a:cubicBezTo>
                  <a:cubicBezTo>
                    <a:pt x="131" y="43"/>
                    <a:pt x="132" y="43"/>
                    <a:pt x="132" y="43"/>
                  </a:cubicBezTo>
                  <a:cubicBezTo>
                    <a:pt x="132" y="43"/>
                    <a:pt x="132" y="43"/>
                    <a:pt x="132" y="43"/>
                  </a:cubicBezTo>
                  <a:cubicBezTo>
                    <a:pt x="133" y="44"/>
                    <a:pt x="133" y="44"/>
                    <a:pt x="133" y="44"/>
                  </a:cubicBezTo>
                  <a:cubicBezTo>
                    <a:pt x="133" y="46"/>
                    <a:pt x="135" y="46"/>
                    <a:pt x="136" y="46"/>
                  </a:cubicBezTo>
                  <a:cubicBezTo>
                    <a:pt x="136" y="46"/>
                    <a:pt x="137" y="46"/>
                    <a:pt x="137" y="46"/>
                  </a:cubicBezTo>
                  <a:cubicBezTo>
                    <a:pt x="137" y="46"/>
                    <a:pt x="137" y="46"/>
                    <a:pt x="137" y="46"/>
                  </a:cubicBezTo>
                  <a:cubicBezTo>
                    <a:pt x="137" y="46"/>
                    <a:pt x="137" y="46"/>
                    <a:pt x="137" y="46"/>
                  </a:cubicBezTo>
                  <a:cubicBezTo>
                    <a:pt x="137" y="46"/>
                    <a:pt x="138" y="49"/>
                    <a:pt x="139" y="52"/>
                  </a:cubicBezTo>
                  <a:cubicBezTo>
                    <a:pt x="138" y="48"/>
                    <a:pt x="138" y="46"/>
                    <a:pt x="138" y="46"/>
                  </a:cubicBezTo>
                  <a:cubicBezTo>
                    <a:pt x="138" y="46"/>
                    <a:pt x="138" y="46"/>
                    <a:pt x="138" y="46"/>
                  </a:cubicBezTo>
                  <a:cubicBezTo>
                    <a:pt x="140" y="45"/>
                    <a:pt x="141" y="43"/>
                    <a:pt x="140" y="41"/>
                  </a:cubicBezTo>
                  <a:cubicBezTo>
                    <a:pt x="140" y="40"/>
                    <a:pt x="139" y="39"/>
                    <a:pt x="138" y="39"/>
                  </a:cubicBezTo>
                  <a:cubicBezTo>
                    <a:pt x="138" y="39"/>
                    <a:pt x="138" y="39"/>
                    <a:pt x="138" y="39"/>
                  </a:cubicBezTo>
                  <a:cubicBezTo>
                    <a:pt x="138" y="39"/>
                    <a:pt x="139" y="33"/>
                    <a:pt x="141" y="25"/>
                  </a:cubicBezTo>
                  <a:cubicBezTo>
                    <a:pt x="139" y="33"/>
                    <a:pt x="137" y="39"/>
                    <a:pt x="137" y="39"/>
                  </a:cubicBezTo>
                  <a:cubicBezTo>
                    <a:pt x="137" y="39"/>
                    <a:pt x="137" y="39"/>
                    <a:pt x="137" y="39"/>
                  </a:cubicBezTo>
                  <a:cubicBezTo>
                    <a:pt x="137" y="39"/>
                    <a:pt x="137" y="39"/>
                    <a:pt x="137" y="39"/>
                  </a:cubicBezTo>
                  <a:cubicBezTo>
                    <a:pt x="137" y="39"/>
                    <a:pt x="136" y="39"/>
                    <a:pt x="136" y="39"/>
                  </a:cubicBezTo>
                  <a:cubicBezTo>
                    <a:pt x="136" y="39"/>
                    <a:pt x="135" y="39"/>
                    <a:pt x="135" y="39"/>
                  </a:cubicBezTo>
                  <a:cubicBezTo>
                    <a:pt x="134" y="39"/>
                    <a:pt x="134" y="40"/>
                    <a:pt x="133" y="40"/>
                  </a:cubicBezTo>
                  <a:cubicBezTo>
                    <a:pt x="133" y="40"/>
                    <a:pt x="133" y="40"/>
                    <a:pt x="133" y="40"/>
                  </a:cubicBezTo>
                  <a:cubicBezTo>
                    <a:pt x="133" y="40"/>
                    <a:pt x="133" y="40"/>
                    <a:pt x="133" y="40"/>
                  </a:cubicBezTo>
                  <a:cubicBezTo>
                    <a:pt x="132" y="40"/>
                    <a:pt x="103" y="22"/>
                    <a:pt x="103" y="21"/>
                  </a:cubicBezTo>
                  <a:cubicBezTo>
                    <a:pt x="103" y="21"/>
                    <a:pt x="103" y="21"/>
                    <a:pt x="103" y="21"/>
                  </a:cubicBezTo>
                  <a:cubicBezTo>
                    <a:pt x="104" y="20"/>
                    <a:pt x="104" y="18"/>
                    <a:pt x="103" y="17"/>
                  </a:cubicBezTo>
                  <a:cubicBezTo>
                    <a:pt x="103" y="15"/>
                    <a:pt x="101" y="14"/>
                    <a:pt x="99" y="14"/>
                  </a:cubicBezTo>
                  <a:cubicBezTo>
                    <a:pt x="98" y="14"/>
                    <a:pt x="98" y="15"/>
                    <a:pt x="97" y="15"/>
                  </a:cubicBezTo>
                  <a:cubicBezTo>
                    <a:pt x="95" y="16"/>
                    <a:pt x="94" y="19"/>
                    <a:pt x="95" y="21"/>
                  </a:cubicBezTo>
                  <a:cubicBezTo>
                    <a:pt x="95" y="21"/>
                    <a:pt x="95" y="21"/>
                    <a:pt x="95" y="21"/>
                  </a:cubicBezTo>
                  <a:cubicBezTo>
                    <a:pt x="95" y="22"/>
                    <a:pt x="65" y="41"/>
                    <a:pt x="63" y="41"/>
                  </a:cubicBezTo>
                  <a:cubicBezTo>
                    <a:pt x="63" y="41"/>
                    <a:pt x="63" y="41"/>
                    <a:pt x="63" y="41"/>
                  </a:cubicBezTo>
                  <a:cubicBezTo>
                    <a:pt x="63" y="41"/>
                    <a:pt x="63" y="41"/>
                    <a:pt x="63" y="41"/>
                  </a:cubicBezTo>
                  <a:cubicBezTo>
                    <a:pt x="62" y="40"/>
                    <a:pt x="60" y="39"/>
                    <a:pt x="58" y="39"/>
                  </a:cubicBezTo>
                  <a:cubicBezTo>
                    <a:pt x="57" y="39"/>
                    <a:pt x="56" y="39"/>
                    <a:pt x="55" y="40"/>
                  </a:cubicBezTo>
                  <a:cubicBezTo>
                    <a:pt x="54" y="40"/>
                    <a:pt x="54" y="41"/>
                    <a:pt x="53" y="41"/>
                  </a:cubicBezTo>
                  <a:cubicBezTo>
                    <a:pt x="53" y="41"/>
                    <a:pt x="53" y="41"/>
                    <a:pt x="53" y="41"/>
                  </a:cubicBezTo>
                  <a:cubicBezTo>
                    <a:pt x="53" y="41"/>
                    <a:pt x="53" y="41"/>
                    <a:pt x="53" y="41"/>
                  </a:cubicBezTo>
                  <a:cubicBezTo>
                    <a:pt x="51" y="41"/>
                    <a:pt x="8" y="11"/>
                    <a:pt x="8" y="10"/>
                  </a:cubicBezTo>
                  <a:cubicBezTo>
                    <a:pt x="8" y="10"/>
                    <a:pt x="8" y="10"/>
                    <a:pt x="8" y="10"/>
                  </a:cubicBezTo>
                  <a:cubicBezTo>
                    <a:pt x="9" y="9"/>
                    <a:pt x="9" y="8"/>
                    <a:pt x="8" y="7"/>
                  </a:cubicBezTo>
                  <a:cubicBezTo>
                    <a:pt x="8" y="7"/>
                    <a:pt x="8" y="7"/>
                    <a:pt x="8" y="7"/>
                  </a:cubicBezTo>
                  <a:cubicBezTo>
                    <a:pt x="8" y="7"/>
                    <a:pt x="8" y="7"/>
                    <a:pt x="8" y="7"/>
                  </a:cubicBezTo>
                  <a:cubicBezTo>
                    <a:pt x="8" y="6"/>
                    <a:pt x="11" y="4"/>
                    <a:pt x="15"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5" name="Freeform 27"/>
            <p:cNvSpPr>
              <a:spLocks/>
            </p:cNvSpPr>
            <p:nvPr/>
          </p:nvSpPr>
          <p:spPr bwMode="auto">
            <a:xfrm>
              <a:off x="6508750" y="3016250"/>
              <a:ext cx="7938" cy="19050"/>
            </a:xfrm>
            <a:custGeom>
              <a:avLst/>
              <a:gdLst>
                <a:gd name="T0" fmla="*/ 2 w 2"/>
                <a:gd name="T1" fmla="*/ 0 h 5"/>
                <a:gd name="T2" fmla="*/ 0 w 2"/>
                <a:gd name="T3" fmla="*/ 5 h 5"/>
                <a:gd name="T4" fmla="*/ 2 w 2"/>
                <a:gd name="T5" fmla="*/ 0 h 5"/>
              </a:gdLst>
              <a:ahLst/>
              <a:cxnLst>
                <a:cxn ang="0">
                  <a:pos x="T0" y="T1"/>
                </a:cxn>
                <a:cxn ang="0">
                  <a:pos x="T2" y="T3"/>
                </a:cxn>
                <a:cxn ang="0">
                  <a:pos x="T4" y="T5"/>
                </a:cxn>
              </a:cxnLst>
              <a:rect l="0" t="0" r="r" b="b"/>
              <a:pathLst>
                <a:path w="2" h="5">
                  <a:moveTo>
                    <a:pt x="2" y="0"/>
                  </a:moveTo>
                  <a:cubicBezTo>
                    <a:pt x="1" y="2"/>
                    <a:pt x="1" y="4"/>
                    <a:pt x="0" y="5"/>
                  </a:cubicBezTo>
                  <a:cubicBezTo>
                    <a:pt x="1" y="4"/>
                    <a:pt x="1" y="2"/>
                    <a:pt x="2" y="0"/>
                  </a:cubicBezTo>
                </a:path>
              </a:pathLst>
            </a:custGeom>
            <a:grpFill/>
            <a:ln>
              <a:noFill/>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grpSp>
      <p:sp>
        <p:nvSpPr>
          <p:cNvPr id="30" name="Picture Placeholder 29"/>
          <p:cNvSpPr>
            <a:spLocks noGrp="1"/>
          </p:cNvSpPr>
          <p:nvPr>
            <p:ph type="pic" sz="quarter" idx="10"/>
          </p:nvPr>
        </p:nvSpPr>
        <p:spPr>
          <a:xfrm>
            <a:off x="1328527" y="2091686"/>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a:ln w="76200">
            <a:solidFill>
              <a:schemeClr val="tx2">
                <a:lumMod val="85000"/>
              </a:schemeClr>
            </a:solidFill>
          </a:ln>
        </p:spPr>
        <p:txBody>
          <a:bodyPr wrap="square" anchor="ctr" anchorCtr="0">
            <a:noAutofit/>
          </a:bodyPr>
          <a:lstStyle>
            <a:lvl1pPr algn="ctr">
              <a:defRPr/>
            </a:lvl1pPr>
          </a:lstStyle>
          <a:p>
            <a:endParaRPr lang="en-US" dirty="0"/>
          </a:p>
        </p:txBody>
      </p:sp>
      <p:sp>
        <p:nvSpPr>
          <p:cNvPr id="31" name="Picture Placeholder 30"/>
          <p:cNvSpPr>
            <a:spLocks noGrp="1"/>
          </p:cNvSpPr>
          <p:nvPr>
            <p:ph type="pic" sz="quarter" idx="11"/>
          </p:nvPr>
        </p:nvSpPr>
        <p:spPr>
          <a:xfrm>
            <a:off x="6286481" y="2091686"/>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a:ln w="76200">
            <a:solidFill>
              <a:schemeClr val="tx2">
                <a:lumMod val="85000"/>
              </a:schemeClr>
            </a:solidFill>
          </a:ln>
        </p:spPr>
        <p:txBody>
          <a:bodyPr wrap="square" anchor="ctr" anchorCtr="0">
            <a:noAutofit/>
          </a:bodyPr>
          <a:lstStyle>
            <a:lvl1pPr algn="ctr">
              <a:defRPr/>
            </a:lvl1pPr>
          </a:lstStyle>
          <a:p>
            <a:endParaRPr lang="en-US" dirty="0"/>
          </a:p>
        </p:txBody>
      </p:sp>
      <p:sp>
        <p:nvSpPr>
          <p:cNvPr id="32" name="Picture Placeholder 31"/>
          <p:cNvSpPr>
            <a:spLocks noGrp="1"/>
          </p:cNvSpPr>
          <p:nvPr>
            <p:ph type="pic" sz="quarter" idx="12"/>
          </p:nvPr>
        </p:nvSpPr>
        <p:spPr>
          <a:xfrm>
            <a:off x="3807504" y="2091686"/>
            <a:ext cx="1508760" cy="1508760"/>
          </a:xfrm>
          <a:custGeom>
            <a:avLst/>
            <a:gdLst>
              <a:gd name="connsiteX0" fmla="*/ 1005840 w 2011680"/>
              <a:gd name="connsiteY0" fmla="*/ 0 h 2011680"/>
              <a:gd name="connsiteX1" fmla="*/ 2011680 w 2011680"/>
              <a:gd name="connsiteY1" fmla="*/ 1005840 h 2011680"/>
              <a:gd name="connsiteX2" fmla="*/ 1005840 w 2011680"/>
              <a:gd name="connsiteY2" fmla="*/ 2011680 h 2011680"/>
              <a:gd name="connsiteX3" fmla="*/ 0 w 2011680"/>
              <a:gd name="connsiteY3" fmla="*/ 1005840 h 2011680"/>
              <a:gd name="connsiteX4" fmla="*/ 1005840 w 2011680"/>
              <a:gd name="connsiteY4" fmla="*/ 0 h 201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680" h="2011680">
                <a:moveTo>
                  <a:pt x="1005840" y="0"/>
                </a:moveTo>
                <a:cubicBezTo>
                  <a:pt x="1561350" y="0"/>
                  <a:pt x="2011680" y="450330"/>
                  <a:pt x="2011680" y="1005840"/>
                </a:cubicBezTo>
                <a:cubicBezTo>
                  <a:pt x="2011680" y="1561350"/>
                  <a:pt x="1561350" y="2011680"/>
                  <a:pt x="1005840" y="2011680"/>
                </a:cubicBezTo>
                <a:cubicBezTo>
                  <a:pt x="450330" y="2011680"/>
                  <a:pt x="0" y="1561350"/>
                  <a:pt x="0" y="1005840"/>
                </a:cubicBezTo>
                <a:cubicBezTo>
                  <a:pt x="0" y="450330"/>
                  <a:pt x="450330" y="0"/>
                  <a:pt x="1005840" y="0"/>
                </a:cubicBezTo>
                <a:close/>
              </a:path>
            </a:pathLst>
          </a:custGeom>
          <a:solidFill>
            <a:schemeClr val="tx2">
              <a:lumMod val="95000"/>
            </a:schemeClr>
          </a:solidFill>
          <a:ln w="76200">
            <a:solidFill>
              <a:schemeClr val="tx2">
                <a:lumMod val="85000"/>
              </a:schemeClr>
            </a:solidFill>
          </a:ln>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392061713"/>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op Active Social Flatforms">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11" name="Rectangle 10"/>
          <p:cNvSpPr/>
          <p:nvPr userDrawn="1"/>
        </p:nvSpPr>
        <p:spPr>
          <a:xfrm>
            <a:off x="0" y="3257542"/>
            <a:ext cx="9144000" cy="1885958"/>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Tree>
    <p:extLst>
      <p:ext uri="{BB962C8B-B14F-4D97-AF65-F5344CB8AC3E}">
        <p14:creationId xmlns:p14="http://schemas.microsoft.com/office/powerpoint/2010/main" val="1859164867"/>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Social Media Use">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grpSp>
        <p:nvGrpSpPr>
          <p:cNvPr id="11" name="Group 274"/>
          <p:cNvGrpSpPr>
            <a:grpSpLocks noChangeAspect="1"/>
          </p:cNvGrpSpPr>
          <p:nvPr userDrawn="1"/>
        </p:nvGrpSpPr>
        <p:grpSpPr>
          <a:xfrm>
            <a:off x="662940" y="1159323"/>
            <a:ext cx="7818120" cy="3890370"/>
            <a:chOff x="538789" y="1131575"/>
            <a:chExt cx="5819028" cy="2895599"/>
          </a:xfrm>
          <a:pattFill prst="dkUpDiag">
            <a:fgClr>
              <a:schemeClr val="tx2">
                <a:lumMod val="75000"/>
              </a:schemeClr>
            </a:fgClr>
            <a:bgClr>
              <a:schemeClr val="tx2">
                <a:lumMod val="75000"/>
                <a:lumOff val="25000"/>
              </a:schemeClr>
            </a:bgClr>
          </a:pattFill>
        </p:grpSpPr>
        <p:grpSp>
          <p:nvGrpSpPr>
            <p:cNvPr id="12" name="Group 341"/>
            <p:cNvGrpSpPr/>
            <p:nvPr/>
          </p:nvGrpSpPr>
          <p:grpSpPr>
            <a:xfrm>
              <a:off x="2984512" y="2355982"/>
              <a:ext cx="1110006" cy="1241414"/>
              <a:chOff x="4097338" y="2217738"/>
              <a:chExt cx="1139825" cy="1274763"/>
            </a:xfrm>
            <a:grpFill/>
          </p:grpSpPr>
          <p:sp>
            <p:nvSpPr>
              <p:cNvPr id="183" name="Freeform 5"/>
              <p:cNvSpPr>
                <a:spLocks/>
              </p:cNvSpPr>
              <p:nvPr/>
            </p:nvSpPr>
            <p:spPr bwMode="auto">
              <a:xfrm>
                <a:off x="5102225" y="3086100"/>
                <a:ext cx="120650" cy="233363"/>
              </a:xfrm>
              <a:custGeom>
                <a:avLst/>
                <a:gdLst/>
                <a:ahLst/>
                <a:cxnLst>
                  <a:cxn ang="0">
                    <a:pos x="9" y="114"/>
                  </a:cxn>
                  <a:cxn ang="0">
                    <a:pos x="18" y="94"/>
                  </a:cxn>
                  <a:cxn ang="0">
                    <a:pos x="11" y="71"/>
                  </a:cxn>
                  <a:cxn ang="0">
                    <a:pos x="40" y="43"/>
                  </a:cxn>
                  <a:cxn ang="0">
                    <a:pos x="71" y="13"/>
                  </a:cxn>
                  <a:cxn ang="0">
                    <a:pos x="73" y="0"/>
                  </a:cxn>
                  <a:cxn ang="0">
                    <a:pos x="91" y="42"/>
                  </a:cxn>
                  <a:cxn ang="0">
                    <a:pos x="91" y="49"/>
                  </a:cxn>
                  <a:cxn ang="0">
                    <a:pos x="84" y="47"/>
                  </a:cxn>
                  <a:cxn ang="0">
                    <a:pos x="64" y="126"/>
                  </a:cxn>
                  <a:cxn ang="0">
                    <a:pos x="25" y="175"/>
                  </a:cxn>
                  <a:cxn ang="0">
                    <a:pos x="5" y="151"/>
                  </a:cxn>
                  <a:cxn ang="0">
                    <a:pos x="5" y="140"/>
                  </a:cxn>
                  <a:cxn ang="0">
                    <a:pos x="0" y="122"/>
                  </a:cxn>
                  <a:cxn ang="0">
                    <a:pos x="9" y="114"/>
                  </a:cxn>
                </a:cxnLst>
                <a:rect l="0" t="0" r="r" b="b"/>
                <a:pathLst>
                  <a:path w="91" h="175">
                    <a:moveTo>
                      <a:pt x="9" y="114"/>
                    </a:moveTo>
                    <a:cubicBezTo>
                      <a:pt x="9" y="114"/>
                      <a:pt x="18" y="95"/>
                      <a:pt x="18" y="94"/>
                    </a:cubicBezTo>
                    <a:cubicBezTo>
                      <a:pt x="18" y="89"/>
                      <a:pt x="11" y="78"/>
                      <a:pt x="11" y="71"/>
                    </a:cubicBezTo>
                    <a:cubicBezTo>
                      <a:pt x="11" y="49"/>
                      <a:pt x="27" y="50"/>
                      <a:pt x="40" y="43"/>
                    </a:cubicBezTo>
                    <a:cubicBezTo>
                      <a:pt x="50" y="37"/>
                      <a:pt x="64" y="20"/>
                      <a:pt x="71" y="13"/>
                    </a:cubicBezTo>
                    <a:cubicBezTo>
                      <a:pt x="73" y="11"/>
                      <a:pt x="72" y="4"/>
                      <a:pt x="73" y="0"/>
                    </a:cubicBezTo>
                    <a:cubicBezTo>
                      <a:pt x="88" y="2"/>
                      <a:pt x="87" y="31"/>
                      <a:pt x="91" y="42"/>
                    </a:cubicBezTo>
                    <a:cubicBezTo>
                      <a:pt x="91" y="49"/>
                      <a:pt x="91" y="49"/>
                      <a:pt x="91" y="49"/>
                    </a:cubicBezTo>
                    <a:cubicBezTo>
                      <a:pt x="89" y="48"/>
                      <a:pt x="85" y="47"/>
                      <a:pt x="84" y="47"/>
                    </a:cubicBezTo>
                    <a:cubicBezTo>
                      <a:pt x="84" y="79"/>
                      <a:pt x="74" y="101"/>
                      <a:pt x="64" y="126"/>
                    </a:cubicBezTo>
                    <a:cubicBezTo>
                      <a:pt x="56" y="146"/>
                      <a:pt x="52" y="175"/>
                      <a:pt x="25" y="175"/>
                    </a:cubicBezTo>
                    <a:cubicBezTo>
                      <a:pt x="14" y="175"/>
                      <a:pt x="5" y="163"/>
                      <a:pt x="5" y="151"/>
                    </a:cubicBezTo>
                    <a:cubicBezTo>
                      <a:pt x="5" y="145"/>
                      <a:pt x="6" y="143"/>
                      <a:pt x="5" y="140"/>
                    </a:cubicBezTo>
                    <a:cubicBezTo>
                      <a:pt x="0" y="136"/>
                      <a:pt x="0" y="129"/>
                      <a:pt x="0" y="122"/>
                    </a:cubicBezTo>
                    <a:cubicBezTo>
                      <a:pt x="0" y="121"/>
                      <a:pt x="8" y="114"/>
                      <a:pt x="9"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84" name="Freeform 6"/>
              <p:cNvSpPr>
                <a:spLocks/>
              </p:cNvSpPr>
              <p:nvPr/>
            </p:nvSpPr>
            <p:spPr bwMode="auto">
              <a:xfrm>
                <a:off x="4097338" y="2217738"/>
                <a:ext cx="1139825" cy="1274763"/>
              </a:xfrm>
              <a:custGeom>
                <a:avLst/>
                <a:gdLst/>
                <a:ahLst/>
                <a:cxnLst>
                  <a:cxn ang="0">
                    <a:pos x="499" y="66"/>
                  </a:cxn>
                  <a:cxn ang="0">
                    <a:pos x="527" y="81"/>
                  </a:cxn>
                  <a:cxn ang="0">
                    <a:pos x="609" y="86"/>
                  </a:cxn>
                  <a:cxn ang="0">
                    <a:pos x="644" y="89"/>
                  </a:cxn>
                  <a:cxn ang="0">
                    <a:pos x="644" y="136"/>
                  </a:cxn>
                  <a:cxn ang="0">
                    <a:pos x="620" y="115"/>
                  </a:cxn>
                  <a:cxn ang="0">
                    <a:pos x="679" y="223"/>
                  </a:cxn>
                  <a:cxn ang="0">
                    <a:pos x="699" y="267"/>
                  </a:cxn>
                  <a:cxn ang="0">
                    <a:pos x="730" y="310"/>
                  </a:cxn>
                  <a:cxn ang="0">
                    <a:pos x="755" y="348"/>
                  </a:cxn>
                  <a:cxn ang="0">
                    <a:pos x="787" y="359"/>
                  </a:cxn>
                  <a:cxn ang="0">
                    <a:pos x="853" y="346"/>
                  </a:cxn>
                  <a:cxn ang="0">
                    <a:pos x="826" y="425"/>
                  </a:cxn>
                  <a:cxn ang="0">
                    <a:pos x="719" y="541"/>
                  </a:cxn>
                  <a:cxn ang="0">
                    <a:pos x="708" y="600"/>
                  </a:cxn>
                  <a:cxn ang="0">
                    <a:pos x="721" y="638"/>
                  </a:cxn>
                  <a:cxn ang="0">
                    <a:pos x="720" y="676"/>
                  </a:cxn>
                  <a:cxn ang="0">
                    <a:pos x="660" y="745"/>
                  </a:cxn>
                  <a:cxn ang="0">
                    <a:pos x="659" y="788"/>
                  </a:cxn>
                  <a:cxn ang="0">
                    <a:pos x="643" y="816"/>
                  </a:cxn>
                  <a:cxn ang="0">
                    <a:pos x="627" y="846"/>
                  </a:cxn>
                  <a:cxn ang="0">
                    <a:pos x="592" y="902"/>
                  </a:cxn>
                  <a:cxn ang="0">
                    <a:pos x="538" y="946"/>
                  </a:cxn>
                  <a:cxn ang="0">
                    <a:pos x="512" y="944"/>
                  </a:cxn>
                  <a:cxn ang="0">
                    <a:pos x="452" y="949"/>
                  </a:cxn>
                  <a:cxn ang="0">
                    <a:pos x="440" y="929"/>
                  </a:cxn>
                  <a:cxn ang="0">
                    <a:pos x="431" y="893"/>
                  </a:cxn>
                  <a:cxn ang="0">
                    <a:pos x="395" y="789"/>
                  </a:cxn>
                  <a:cxn ang="0">
                    <a:pos x="360" y="708"/>
                  </a:cxn>
                  <a:cxn ang="0">
                    <a:pos x="382" y="621"/>
                  </a:cxn>
                  <a:cxn ang="0">
                    <a:pos x="364" y="558"/>
                  </a:cxn>
                  <a:cxn ang="0">
                    <a:pos x="337" y="490"/>
                  </a:cxn>
                  <a:cxn ang="0">
                    <a:pos x="342" y="461"/>
                  </a:cxn>
                  <a:cxn ang="0">
                    <a:pos x="295" y="443"/>
                  </a:cxn>
                  <a:cxn ang="0">
                    <a:pos x="206" y="433"/>
                  </a:cxn>
                  <a:cxn ang="0">
                    <a:pos x="164" y="434"/>
                  </a:cxn>
                  <a:cxn ang="0">
                    <a:pos x="109" y="439"/>
                  </a:cxn>
                  <a:cxn ang="0">
                    <a:pos x="40" y="369"/>
                  </a:cxn>
                  <a:cxn ang="0">
                    <a:pos x="7" y="338"/>
                  </a:cxn>
                  <a:cxn ang="0">
                    <a:pos x="7" y="324"/>
                  </a:cxn>
                  <a:cxn ang="0">
                    <a:pos x="18" y="269"/>
                  </a:cxn>
                  <a:cxn ang="0">
                    <a:pos x="22" y="199"/>
                  </a:cxn>
                  <a:cxn ang="0">
                    <a:pos x="77" y="132"/>
                  </a:cxn>
                  <a:cxn ang="0">
                    <a:pos x="104" y="77"/>
                  </a:cxn>
                  <a:cxn ang="0">
                    <a:pos x="141" y="36"/>
                  </a:cxn>
                  <a:cxn ang="0">
                    <a:pos x="187" y="35"/>
                  </a:cxn>
                  <a:cxn ang="0">
                    <a:pos x="273" y="6"/>
                  </a:cxn>
                  <a:cxn ang="0">
                    <a:pos x="307" y="4"/>
                  </a:cxn>
                  <a:cxn ang="0">
                    <a:pos x="338" y="0"/>
                  </a:cxn>
                  <a:cxn ang="0">
                    <a:pos x="358" y="6"/>
                  </a:cxn>
                  <a:cxn ang="0">
                    <a:pos x="357" y="27"/>
                  </a:cxn>
                  <a:cxn ang="0">
                    <a:pos x="371" y="64"/>
                  </a:cxn>
                  <a:cxn ang="0">
                    <a:pos x="455" y="100"/>
                  </a:cxn>
                  <a:cxn ang="0">
                    <a:pos x="464" y="84"/>
                  </a:cxn>
                  <a:cxn ang="0">
                    <a:pos x="490" y="66"/>
                  </a:cxn>
                </a:cxnLst>
                <a:rect l="0" t="0" r="r" b="b"/>
                <a:pathLst>
                  <a:path w="856" h="957">
                    <a:moveTo>
                      <a:pt x="490" y="66"/>
                    </a:moveTo>
                    <a:cubicBezTo>
                      <a:pt x="499" y="66"/>
                      <a:pt x="499" y="66"/>
                      <a:pt x="499" y="66"/>
                    </a:cubicBezTo>
                    <a:cubicBezTo>
                      <a:pt x="499" y="73"/>
                      <a:pt x="504" y="74"/>
                      <a:pt x="506" y="77"/>
                    </a:cubicBezTo>
                    <a:cubicBezTo>
                      <a:pt x="510" y="82"/>
                      <a:pt x="520" y="78"/>
                      <a:pt x="527" y="81"/>
                    </a:cubicBezTo>
                    <a:cubicBezTo>
                      <a:pt x="541" y="86"/>
                      <a:pt x="561" y="93"/>
                      <a:pt x="576" y="93"/>
                    </a:cubicBezTo>
                    <a:cubicBezTo>
                      <a:pt x="591" y="93"/>
                      <a:pt x="595" y="86"/>
                      <a:pt x="609" y="86"/>
                    </a:cubicBezTo>
                    <a:cubicBezTo>
                      <a:pt x="617" y="86"/>
                      <a:pt x="622" y="92"/>
                      <a:pt x="632" y="92"/>
                    </a:cubicBezTo>
                    <a:cubicBezTo>
                      <a:pt x="638" y="92"/>
                      <a:pt x="638" y="90"/>
                      <a:pt x="644" y="89"/>
                    </a:cubicBezTo>
                    <a:cubicBezTo>
                      <a:pt x="647" y="96"/>
                      <a:pt x="653" y="102"/>
                      <a:pt x="653" y="111"/>
                    </a:cubicBezTo>
                    <a:cubicBezTo>
                      <a:pt x="653" y="115"/>
                      <a:pt x="646" y="131"/>
                      <a:pt x="644" y="136"/>
                    </a:cubicBezTo>
                    <a:cubicBezTo>
                      <a:pt x="635" y="135"/>
                      <a:pt x="627" y="115"/>
                      <a:pt x="620" y="107"/>
                    </a:cubicBezTo>
                    <a:cubicBezTo>
                      <a:pt x="620" y="115"/>
                      <a:pt x="620" y="115"/>
                      <a:pt x="620" y="115"/>
                    </a:cubicBezTo>
                    <a:cubicBezTo>
                      <a:pt x="662" y="189"/>
                      <a:pt x="662" y="189"/>
                      <a:pt x="662" y="189"/>
                    </a:cubicBezTo>
                    <a:cubicBezTo>
                      <a:pt x="659" y="198"/>
                      <a:pt x="673" y="218"/>
                      <a:pt x="679" y="223"/>
                    </a:cubicBezTo>
                    <a:cubicBezTo>
                      <a:pt x="679" y="246"/>
                      <a:pt x="679" y="246"/>
                      <a:pt x="679" y="246"/>
                    </a:cubicBezTo>
                    <a:cubicBezTo>
                      <a:pt x="684" y="258"/>
                      <a:pt x="692" y="258"/>
                      <a:pt x="699" y="267"/>
                    </a:cubicBezTo>
                    <a:cubicBezTo>
                      <a:pt x="707" y="278"/>
                      <a:pt x="702" y="289"/>
                      <a:pt x="710" y="297"/>
                    </a:cubicBezTo>
                    <a:cubicBezTo>
                      <a:pt x="717" y="304"/>
                      <a:pt x="722" y="305"/>
                      <a:pt x="730" y="310"/>
                    </a:cubicBezTo>
                    <a:cubicBezTo>
                      <a:pt x="737" y="316"/>
                      <a:pt x="741" y="334"/>
                      <a:pt x="755" y="334"/>
                    </a:cubicBezTo>
                    <a:cubicBezTo>
                      <a:pt x="755" y="341"/>
                      <a:pt x="759" y="343"/>
                      <a:pt x="755" y="348"/>
                    </a:cubicBezTo>
                    <a:cubicBezTo>
                      <a:pt x="761" y="352"/>
                      <a:pt x="767" y="366"/>
                      <a:pt x="774" y="366"/>
                    </a:cubicBezTo>
                    <a:cubicBezTo>
                      <a:pt x="781" y="366"/>
                      <a:pt x="782" y="361"/>
                      <a:pt x="787" y="359"/>
                    </a:cubicBezTo>
                    <a:cubicBezTo>
                      <a:pt x="794" y="357"/>
                      <a:pt x="798" y="360"/>
                      <a:pt x="805" y="359"/>
                    </a:cubicBezTo>
                    <a:cubicBezTo>
                      <a:pt x="822" y="356"/>
                      <a:pt x="838" y="350"/>
                      <a:pt x="853" y="346"/>
                    </a:cubicBezTo>
                    <a:cubicBezTo>
                      <a:pt x="855" y="348"/>
                      <a:pt x="856" y="350"/>
                      <a:pt x="856" y="352"/>
                    </a:cubicBezTo>
                    <a:cubicBezTo>
                      <a:pt x="856" y="377"/>
                      <a:pt x="837" y="410"/>
                      <a:pt x="826" y="425"/>
                    </a:cubicBezTo>
                    <a:cubicBezTo>
                      <a:pt x="812" y="443"/>
                      <a:pt x="807" y="459"/>
                      <a:pt x="790" y="471"/>
                    </a:cubicBezTo>
                    <a:cubicBezTo>
                      <a:pt x="761" y="494"/>
                      <a:pt x="730" y="501"/>
                      <a:pt x="719" y="541"/>
                    </a:cubicBezTo>
                    <a:cubicBezTo>
                      <a:pt x="716" y="552"/>
                      <a:pt x="704" y="555"/>
                      <a:pt x="704" y="567"/>
                    </a:cubicBezTo>
                    <a:cubicBezTo>
                      <a:pt x="704" y="581"/>
                      <a:pt x="708" y="587"/>
                      <a:pt x="708" y="600"/>
                    </a:cubicBezTo>
                    <a:cubicBezTo>
                      <a:pt x="708" y="615"/>
                      <a:pt x="724" y="623"/>
                      <a:pt x="724" y="631"/>
                    </a:cubicBezTo>
                    <a:cubicBezTo>
                      <a:pt x="724" y="634"/>
                      <a:pt x="722" y="637"/>
                      <a:pt x="721" y="638"/>
                    </a:cubicBezTo>
                    <a:cubicBezTo>
                      <a:pt x="721" y="649"/>
                      <a:pt x="721" y="649"/>
                      <a:pt x="721" y="649"/>
                    </a:cubicBezTo>
                    <a:cubicBezTo>
                      <a:pt x="721" y="656"/>
                      <a:pt x="720" y="664"/>
                      <a:pt x="720" y="676"/>
                    </a:cubicBezTo>
                    <a:cubicBezTo>
                      <a:pt x="722" y="679"/>
                      <a:pt x="723" y="682"/>
                      <a:pt x="723" y="685"/>
                    </a:cubicBezTo>
                    <a:cubicBezTo>
                      <a:pt x="723" y="720"/>
                      <a:pt x="665" y="716"/>
                      <a:pt x="660" y="745"/>
                    </a:cubicBezTo>
                    <a:cubicBezTo>
                      <a:pt x="654" y="746"/>
                      <a:pt x="647" y="753"/>
                      <a:pt x="647" y="758"/>
                    </a:cubicBezTo>
                    <a:cubicBezTo>
                      <a:pt x="647" y="768"/>
                      <a:pt x="659" y="774"/>
                      <a:pt x="659" y="788"/>
                    </a:cubicBezTo>
                    <a:cubicBezTo>
                      <a:pt x="659" y="795"/>
                      <a:pt x="658" y="809"/>
                      <a:pt x="656" y="813"/>
                    </a:cubicBezTo>
                    <a:cubicBezTo>
                      <a:pt x="653" y="817"/>
                      <a:pt x="646" y="815"/>
                      <a:pt x="643" y="816"/>
                    </a:cubicBezTo>
                    <a:cubicBezTo>
                      <a:pt x="632" y="822"/>
                      <a:pt x="626" y="826"/>
                      <a:pt x="621" y="837"/>
                    </a:cubicBezTo>
                    <a:cubicBezTo>
                      <a:pt x="624" y="839"/>
                      <a:pt x="627" y="842"/>
                      <a:pt x="627" y="846"/>
                    </a:cubicBezTo>
                    <a:cubicBezTo>
                      <a:pt x="627" y="859"/>
                      <a:pt x="615" y="868"/>
                      <a:pt x="610" y="874"/>
                    </a:cubicBezTo>
                    <a:cubicBezTo>
                      <a:pt x="600" y="883"/>
                      <a:pt x="599" y="893"/>
                      <a:pt x="592" y="902"/>
                    </a:cubicBezTo>
                    <a:cubicBezTo>
                      <a:pt x="581" y="916"/>
                      <a:pt x="576" y="929"/>
                      <a:pt x="558" y="938"/>
                    </a:cubicBezTo>
                    <a:cubicBezTo>
                      <a:pt x="550" y="941"/>
                      <a:pt x="539" y="938"/>
                      <a:pt x="538" y="946"/>
                    </a:cubicBezTo>
                    <a:cubicBezTo>
                      <a:pt x="532" y="946"/>
                      <a:pt x="529" y="949"/>
                      <a:pt x="525" y="949"/>
                    </a:cubicBezTo>
                    <a:cubicBezTo>
                      <a:pt x="520" y="949"/>
                      <a:pt x="517" y="944"/>
                      <a:pt x="512" y="944"/>
                    </a:cubicBezTo>
                    <a:cubicBezTo>
                      <a:pt x="494" y="944"/>
                      <a:pt x="483" y="957"/>
                      <a:pt x="466" y="957"/>
                    </a:cubicBezTo>
                    <a:cubicBezTo>
                      <a:pt x="459" y="957"/>
                      <a:pt x="455" y="953"/>
                      <a:pt x="452" y="949"/>
                    </a:cubicBezTo>
                    <a:cubicBezTo>
                      <a:pt x="449" y="949"/>
                      <a:pt x="449" y="950"/>
                      <a:pt x="448" y="951"/>
                    </a:cubicBezTo>
                    <a:cubicBezTo>
                      <a:pt x="448" y="942"/>
                      <a:pt x="443" y="932"/>
                      <a:pt x="440" y="929"/>
                    </a:cubicBezTo>
                    <a:cubicBezTo>
                      <a:pt x="443" y="925"/>
                      <a:pt x="445" y="922"/>
                      <a:pt x="445" y="917"/>
                    </a:cubicBezTo>
                    <a:cubicBezTo>
                      <a:pt x="445" y="910"/>
                      <a:pt x="433" y="897"/>
                      <a:pt x="431" y="893"/>
                    </a:cubicBezTo>
                    <a:cubicBezTo>
                      <a:pt x="415" y="866"/>
                      <a:pt x="395" y="840"/>
                      <a:pt x="395" y="801"/>
                    </a:cubicBezTo>
                    <a:cubicBezTo>
                      <a:pt x="395" y="794"/>
                      <a:pt x="395" y="792"/>
                      <a:pt x="395" y="789"/>
                    </a:cubicBezTo>
                    <a:cubicBezTo>
                      <a:pt x="395" y="783"/>
                      <a:pt x="389" y="781"/>
                      <a:pt x="386" y="774"/>
                    </a:cubicBezTo>
                    <a:cubicBezTo>
                      <a:pt x="374" y="754"/>
                      <a:pt x="360" y="737"/>
                      <a:pt x="360" y="708"/>
                    </a:cubicBezTo>
                    <a:cubicBezTo>
                      <a:pt x="360" y="677"/>
                      <a:pt x="388" y="670"/>
                      <a:pt x="388" y="646"/>
                    </a:cubicBezTo>
                    <a:cubicBezTo>
                      <a:pt x="388" y="635"/>
                      <a:pt x="384" y="631"/>
                      <a:pt x="382" y="621"/>
                    </a:cubicBezTo>
                    <a:cubicBezTo>
                      <a:pt x="379" y="602"/>
                      <a:pt x="376" y="596"/>
                      <a:pt x="371" y="585"/>
                    </a:cubicBezTo>
                    <a:cubicBezTo>
                      <a:pt x="368" y="576"/>
                      <a:pt x="370" y="566"/>
                      <a:pt x="364" y="558"/>
                    </a:cubicBezTo>
                    <a:cubicBezTo>
                      <a:pt x="352" y="544"/>
                      <a:pt x="327" y="528"/>
                      <a:pt x="327" y="508"/>
                    </a:cubicBezTo>
                    <a:cubicBezTo>
                      <a:pt x="327" y="503"/>
                      <a:pt x="334" y="492"/>
                      <a:pt x="337" y="490"/>
                    </a:cubicBezTo>
                    <a:cubicBezTo>
                      <a:pt x="336" y="486"/>
                      <a:pt x="337" y="485"/>
                      <a:pt x="337" y="483"/>
                    </a:cubicBezTo>
                    <a:cubicBezTo>
                      <a:pt x="337" y="478"/>
                      <a:pt x="337" y="465"/>
                      <a:pt x="342" y="461"/>
                    </a:cubicBezTo>
                    <a:cubicBezTo>
                      <a:pt x="337" y="451"/>
                      <a:pt x="329" y="443"/>
                      <a:pt x="314" y="443"/>
                    </a:cubicBezTo>
                    <a:cubicBezTo>
                      <a:pt x="306" y="443"/>
                      <a:pt x="299" y="443"/>
                      <a:pt x="295" y="443"/>
                    </a:cubicBezTo>
                    <a:cubicBezTo>
                      <a:pt x="282" y="443"/>
                      <a:pt x="279" y="417"/>
                      <a:pt x="261" y="417"/>
                    </a:cubicBezTo>
                    <a:cubicBezTo>
                      <a:pt x="239" y="417"/>
                      <a:pt x="223" y="427"/>
                      <a:pt x="206" y="433"/>
                    </a:cubicBezTo>
                    <a:cubicBezTo>
                      <a:pt x="199" y="435"/>
                      <a:pt x="197" y="440"/>
                      <a:pt x="191" y="440"/>
                    </a:cubicBezTo>
                    <a:cubicBezTo>
                      <a:pt x="184" y="440"/>
                      <a:pt x="173" y="434"/>
                      <a:pt x="164" y="434"/>
                    </a:cubicBezTo>
                    <a:cubicBezTo>
                      <a:pt x="147" y="434"/>
                      <a:pt x="139" y="443"/>
                      <a:pt x="122" y="443"/>
                    </a:cubicBezTo>
                    <a:cubicBezTo>
                      <a:pt x="117" y="443"/>
                      <a:pt x="111" y="440"/>
                      <a:pt x="109" y="439"/>
                    </a:cubicBezTo>
                    <a:cubicBezTo>
                      <a:pt x="97" y="430"/>
                      <a:pt x="71" y="415"/>
                      <a:pt x="62" y="401"/>
                    </a:cubicBezTo>
                    <a:cubicBezTo>
                      <a:pt x="53" y="388"/>
                      <a:pt x="51" y="377"/>
                      <a:pt x="40" y="369"/>
                    </a:cubicBezTo>
                    <a:cubicBezTo>
                      <a:pt x="37" y="366"/>
                      <a:pt x="13" y="346"/>
                      <a:pt x="13" y="344"/>
                    </a:cubicBezTo>
                    <a:cubicBezTo>
                      <a:pt x="11" y="341"/>
                      <a:pt x="10" y="340"/>
                      <a:pt x="7" y="338"/>
                    </a:cubicBezTo>
                    <a:cubicBezTo>
                      <a:pt x="9" y="338"/>
                      <a:pt x="9" y="338"/>
                      <a:pt x="9" y="338"/>
                    </a:cubicBezTo>
                    <a:cubicBezTo>
                      <a:pt x="9" y="331"/>
                      <a:pt x="7" y="328"/>
                      <a:pt x="7" y="324"/>
                    </a:cubicBezTo>
                    <a:cubicBezTo>
                      <a:pt x="7" y="317"/>
                      <a:pt x="3" y="315"/>
                      <a:pt x="0" y="309"/>
                    </a:cubicBezTo>
                    <a:cubicBezTo>
                      <a:pt x="10" y="304"/>
                      <a:pt x="18" y="280"/>
                      <a:pt x="18" y="269"/>
                    </a:cubicBezTo>
                    <a:cubicBezTo>
                      <a:pt x="18" y="250"/>
                      <a:pt x="10" y="238"/>
                      <a:pt x="10" y="220"/>
                    </a:cubicBezTo>
                    <a:cubicBezTo>
                      <a:pt x="10" y="211"/>
                      <a:pt x="20" y="206"/>
                      <a:pt x="22" y="199"/>
                    </a:cubicBezTo>
                    <a:cubicBezTo>
                      <a:pt x="28" y="182"/>
                      <a:pt x="41" y="158"/>
                      <a:pt x="52" y="144"/>
                    </a:cubicBezTo>
                    <a:cubicBezTo>
                      <a:pt x="58" y="135"/>
                      <a:pt x="69" y="136"/>
                      <a:pt x="77" y="132"/>
                    </a:cubicBezTo>
                    <a:cubicBezTo>
                      <a:pt x="84" y="128"/>
                      <a:pt x="95" y="119"/>
                      <a:pt x="97" y="112"/>
                    </a:cubicBezTo>
                    <a:cubicBezTo>
                      <a:pt x="102" y="96"/>
                      <a:pt x="96" y="89"/>
                      <a:pt x="104" y="77"/>
                    </a:cubicBezTo>
                    <a:cubicBezTo>
                      <a:pt x="116" y="63"/>
                      <a:pt x="131" y="49"/>
                      <a:pt x="142" y="36"/>
                    </a:cubicBezTo>
                    <a:cubicBezTo>
                      <a:pt x="141" y="36"/>
                      <a:pt x="141" y="36"/>
                      <a:pt x="141" y="36"/>
                    </a:cubicBezTo>
                    <a:cubicBezTo>
                      <a:pt x="145" y="31"/>
                      <a:pt x="146" y="27"/>
                      <a:pt x="150" y="24"/>
                    </a:cubicBezTo>
                    <a:cubicBezTo>
                      <a:pt x="161" y="32"/>
                      <a:pt x="172" y="35"/>
                      <a:pt x="187" y="35"/>
                    </a:cubicBezTo>
                    <a:cubicBezTo>
                      <a:pt x="197" y="35"/>
                      <a:pt x="198" y="29"/>
                      <a:pt x="204" y="27"/>
                    </a:cubicBezTo>
                    <a:cubicBezTo>
                      <a:pt x="221" y="18"/>
                      <a:pt x="254" y="6"/>
                      <a:pt x="273" y="6"/>
                    </a:cubicBezTo>
                    <a:cubicBezTo>
                      <a:pt x="280" y="6"/>
                      <a:pt x="285" y="10"/>
                      <a:pt x="289" y="10"/>
                    </a:cubicBezTo>
                    <a:cubicBezTo>
                      <a:pt x="294" y="10"/>
                      <a:pt x="301" y="4"/>
                      <a:pt x="307" y="4"/>
                    </a:cubicBezTo>
                    <a:cubicBezTo>
                      <a:pt x="313" y="4"/>
                      <a:pt x="316" y="7"/>
                      <a:pt x="321" y="7"/>
                    </a:cubicBezTo>
                    <a:cubicBezTo>
                      <a:pt x="329" y="7"/>
                      <a:pt x="330" y="0"/>
                      <a:pt x="338" y="0"/>
                    </a:cubicBezTo>
                    <a:cubicBezTo>
                      <a:pt x="347" y="0"/>
                      <a:pt x="344" y="8"/>
                      <a:pt x="351" y="8"/>
                    </a:cubicBezTo>
                    <a:cubicBezTo>
                      <a:pt x="354" y="8"/>
                      <a:pt x="355" y="6"/>
                      <a:pt x="358" y="6"/>
                    </a:cubicBezTo>
                    <a:cubicBezTo>
                      <a:pt x="358" y="12"/>
                      <a:pt x="351" y="11"/>
                      <a:pt x="351" y="17"/>
                    </a:cubicBezTo>
                    <a:cubicBezTo>
                      <a:pt x="351" y="21"/>
                      <a:pt x="357" y="23"/>
                      <a:pt x="357" y="27"/>
                    </a:cubicBezTo>
                    <a:cubicBezTo>
                      <a:pt x="357" y="33"/>
                      <a:pt x="351" y="37"/>
                      <a:pt x="351" y="44"/>
                    </a:cubicBezTo>
                    <a:cubicBezTo>
                      <a:pt x="351" y="55"/>
                      <a:pt x="363" y="64"/>
                      <a:pt x="371" y="64"/>
                    </a:cubicBezTo>
                    <a:cubicBezTo>
                      <a:pt x="377" y="64"/>
                      <a:pt x="380" y="64"/>
                      <a:pt x="384" y="64"/>
                    </a:cubicBezTo>
                    <a:cubicBezTo>
                      <a:pt x="412" y="64"/>
                      <a:pt x="423" y="100"/>
                      <a:pt x="455" y="100"/>
                    </a:cubicBezTo>
                    <a:cubicBezTo>
                      <a:pt x="459" y="100"/>
                      <a:pt x="464" y="95"/>
                      <a:pt x="464" y="93"/>
                    </a:cubicBezTo>
                    <a:cubicBezTo>
                      <a:pt x="464" y="90"/>
                      <a:pt x="464" y="87"/>
                      <a:pt x="464" y="84"/>
                    </a:cubicBezTo>
                    <a:cubicBezTo>
                      <a:pt x="464" y="70"/>
                      <a:pt x="475" y="70"/>
                      <a:pt x="488" y="66"/>
                    </a:cubicBezTo>
                    <a:lnTo>
                      <a:pt x="490"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grpSp>
        <p:grpSp>
          <p:nvGrpSpPr>
            <p:cNvPr id="13" name="Group 274"/>
            <p:cNvGrpSpPr/>
            <p:nvPr/>
          </p:nvGrpSpPr>
          <p:grpSpPr>
            <a:xfrm>
              <a:off x="1945621" y="2801220"/>
              <a:ext cx="759070" cy="1225954"/>
              <a:chOff x="3030538" y="2674938"/>
              <a:chExt cx="779463" cy="1258888"/>
            </a:xfrm>
            <a:grpFill/>
          </p:grpSpPr>
          <p:sp>
            <p:nvSpPr>
              <p:cNvPr id="181" name="Freeform 22"/>
              <p:cNvSpPr>
                <a:spLocks/>
              </p:cNvSpPr>
              <p:nvPr/>
            </p:nvSpPr>
            <p:spPr bwMode="auto">
              <a:xfrm>
                <a:off x="3541713" y="2881313"/>
                <a:ext cx="39688" cy="31750"/>
              </a:xfrm>
              <a:custGeom>
                <a:avLst/>
                <a:gdLst/>
                <a:ahLst/>
                <a:cxnLst>
                  <a:cxn ang="0">
                    <a:pos x="10" y="0"/>
                  </a:cxn>
                  <a:cxn ang="0">
                    <a:pos x="20" y="4"/>
                  </a:cxn>
                  <a:cxn ang="0">
                    <a:pos x="27" y="5"/>
                  </a:cxn>
                  <a:cxn ang="0">
                    <a:pos x="30" y="9"/>
                  </a:cxn>
                  <a:cxn ang="0">
                    <a:pos x="18" y="23"/>
                  </a:cxn>
                  <a:cxn ang="0">
                    <a:pos x="0" y="11"/>
                  </a:cxn>
                  <a:cxn ang="0">
                    <a:pos x="9" y="0"/>
                  </a:cxn>
                  <a:cxn ang="0">
                    <a:pos x="10" y="0"/>
                  </a:cxn>
                </a:cxnLst>
                <a:rect l="0" t="0" r="r" b="b"/>
                <a:pathLst>
                  <a:path w="30" h="23">
                    <a:moveTo>
                      <a:pt x="10" y="0"/>
                    </a:moveTo>
                    <a:cubicBezTo>
                      <a:pt x="13" y="1"/>
                      <a:pt x="16" y="4"/>
                      <a:pt x="20" y="4"/>
                    </a:cubicBezTo>
                    <a:cubicBezTo>
                      <a:pt x="21" y="9"/>
                      <a:pt x="25" y="5"/>
                      <a:pt x="27" y="5"/>
                    </a:cubicBezTo>
                    <a:cubicBezTo>
                      <a:pt x="29" y="5"/>
                      <a:pt x="30" y="8"/>
                      <a:pt x="30" y="9"/>
                    </a:cubicBezTo>
                    <a:cubicBezTo>
                      <a:pt x="30" y="12"/>
                      <a:pt x="23" y="23"/>
                      <a:pt x="18" y="23"/>
                    </a:cubicBezTo>
                    <a:cubicBezTo>
                      <a:pt x="11" y="23"/>
                      <a:pt x="0" y="15"/>
                      <a:pt x="0" y="11"/>
                    </a:cubicBezTo>
                    <a:cubicBezTo>
                      <a:pt x="0" y="4"/>
                      <a:pt x="3" y="0"/>
                      <a:pt x="9" y="0"/>
                    </a:cubicBezTo>
                    <a:cubicBezTo>
                      <a:pt x="9" y="0"/>
                      <a:pt x="10" y="0"/>
                      <a:pt x="1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82" name="Freeform 23"/>
              <p:cNvSpPr>
                <a:spLocks/>
              </p:cNvSpPr>
              <p:nvPr/>
            </p:nvSpPr>
            <p:spPr bwMode="auto">
              <a:xfrm>
                <a:off x="3030538" y="2674938"/>
                <a:ext cx="779463" cy="1258888"/>
              </a:xfrm>
              <a:custGeom>
                <a:avLst/>
                <a:gdLst/>
                <a:ahLst/>
                <a:cxnLst>
                  <a:cxn ang="0">
                    <a:pos x="46" y="91"/>
                  </a:cxn>
                  <a:cxn ang="0">
                    <a:pos x="51" y="51"/>
                  </a:cxn>
                  <a:cxn ang="0">
                    <a:pos x="59" y="46"/>
                  </a:cxn>
                  <a:cxn ang="0">
                    <a:pos x="82" y="18"/>
                  </a:cxn>
                  <a:cxn ang="0">
                    <a:pos x="128" y="6"/>
                  </a:cxn>
                  <a:cxn ang="0">
                    <a:pos x="126" y="42"/>
                  </a:cxn>
                  <a:cxn ang="0">
                    <a:pos x="136" y="13"/>
                  </a:cxn>
                  <a:cxn ang="0">
                    <a:pos x="146" y="5"/>
                  </a:cxn>
                  <a:cxn ang="0">
                    <a:pos x="194" y="24"/>
                  </a:cxn>
                  <a:cxn ang="0">
                    <a:pos x="227" y="20"/>
                  </a:cxn>
                  <a:cxn ang="0">
                    <a:pos x="233" y="26"/>
                  </a:cxn>
                  <a:cxn ang="0">
                    <a:pos x="270" y="50"/>
                  </a:cxn>
                  <a:cxn ang="0">
                    <a:pos x="328" y="84"/>
                  </a:cxn>
                  <a:cxn ang="0">
                    <a:pos x="354" y="89"/>
                  </a:cxn>
                  <a:cxn ang="0">
                    <a:pos x="389" y="130"/>
                  </a:cxn>
                  <a:cxn ang="0">
                    <a:pos x="383" y="170"/>
                  </a:cxn>
                  <a:cxn ang="0">
                    <a:pos x="403" y="185"/>
                  </a:cxn>
                  <a:cxn ang="0">
                    <a:pos x="454" y="175"/>
                  </a:cxn>
                  <a:cxn ang="0">
                    <a:pos x="467" y="191"/>
                  </a:cxn>
                  <a:cxn ang="0">
                    <a:pos x="513" y="191"/>
                  </a:cxn>
                  <a:cxn ang="0">
                    <a:pos x="575" y="220"/>
                  </a:cxn>
                  <a:cxn ang="0">
                    <a:pos x="549" y="310"/>
                  </a:cxn>
                  <a:cxn ang="0">
                    <a:pos x="532" y="374"/>
                  </a:cxn>
                  <a:cxn ang="0">
                    <a:pos x="522" y="405"/>
                  </a:cxn>
                  <a:cxn ang="0">
                    <a:pos x="485" y="449"/>
                  </a:cxn>
                  <a:cxn ang="0">
                    <a:pos x="429" y="474"/>
                  </a:cxn>
                  <a:cxn ang="0">
                    <a:pos x="412" y="524"/>
                  </a:cxn>
                  <a:cxn ang="0">
                    <a:pos x="388" y="559"/>
                  </a:cxn>
                  <a:cxn ang="0">
                    <a:pos x="311" y="614"/>
                  </a:cxn>
                  <a:cxn ang="0">
                    <a:pos x="297" y="619"/>
                  </a:cxn>
                  <a:cxn ang="0">
                    <a:pos x="308" y="654"/>
                  </a:cxn>
                  <a:cxn ang="0">
                    <a:pos x="244" y="677"/>
                  </a:cxn>
                  <a:cxn ang="0">
                    <a:pos x="240" y="707"/>
                  </a:cxn>
                  <a:cxn ang="0">
                    <a:pos x="205" y="711"/>
                  </a:cxn>
                  <a:cxn ang="0">
                    <a:pos x="225" y="730"/>
                  </a:cxn>
                  <a:cxn ang="0">
                    <a:pos x="214" y="739"/>
                  </a:cxn>
                  <a:cxn ang="0">
                    <a:pos x="178" y="787"/>
                  </a:cxn>
                  <a:cxn ang="0">
                    <a:pos x="176" y="846"/>
                  </a:cxn>
                  <a:cxn ang="0">
                    <a:pos x="161" y="884"/>
                  </a:cxn>
                  <a:cxn ang="0">
                    <a:pos x="200" y="935"/>
                  </a:cxn>
                  <a:cxn ang="0">
                    <a:pos x="169" y="945"/>
                  </a:cxn>
                  <a:cxn ang="0">
                    <a:pos x="127" y="921"/>
                  </a:cxn>
                  <a:cxn ang="0">
                    <a:pos x="92" y="903"/>
                  </a:cxn>
                  <a:cxn ang="0">
                    <a:pos x="93" y="889"/>
                  </a:cxn>
                  <a:cxn ang="0">
                    <a:pos x="84" y="857"/>
                  </a:cxn>
                  <a:cxn ang="0">
                    <a:pos x="82" y="791"/>
                  </a:cxn>
                  <a:cxn ang="0">
                    <a:pos x="86" y="782"/>
                  </a:cxn>
                  <a:cxn ang="0">
                    <a:pos x="112" y="718"/>
                  </a:cxn>
                  <a:cxn ang="0">
                    <a:pos x="95" y="708"/>
                  </a:cxn>
                  <a:cxn ang="0">
                    <a:pos x="102" y="680"/>
                  </a:cxn>
                  <a:cxn ang="0">
                    <a:pos x="114" y="626"/>
                  </a:cxn>
                  <a:cxn ang="0">
                    <a:pos x="124" y="562"/>
                  </a:cxn>
                  <a:cxn ang="0">
                    <a:pos x="136" y="494"/>
                  </a:cxn>
                  <a:cxn ang="0">
                    <a:pos x="143" y="434"/>
                  </a:cxn>
                  <a:cxn ang="0">
                    <a:pos x="104" y="370"/>
                  </a:cxn>
                  <a:cxn ang="0">
                    <a:pos x="62" y="330"/>
                  </a:cxn>
                  <a:cxn ang="0">
                    <a:pos x="28" y="261"/>
                  </a:cxn>
                  <a:cxn ang="0">
                    <a:pos x="11" y="242"/>
                  </a:cxn>
                  <a:cxn ang="0">
                    <a:pos x="18" y="191"/>
                  </a:cxn>
                  <a:cxn ang="0">
                    <a:pos x="14" y="148"/>
                  </a:cxn>
                  <a:cxn ang="0">
                    <a:pos x="47" y="106"/>
                  </a:cxn>
                </a:cxnLst>
                <a:rect l="0" t="0" r="r" b="b"/>
                <a:pathLst>
                  <a:path w="586" h="945">
                    <a:moveTo>
                      <a:pt x="49" y="103"/>
                    </a:moveTo>
                    <a:cubicBezTo>
                      <a:pt x="49" y="102"/>
                      <a:pt x="49" y="101"/>
                      <a:pt x="49" y="100"/>
                    </a:cubicBezTo>
                    <a:cubicBezTo>
                      <a:pt x="49" y="97"/>
                      <a:pt x="46" y="94"/>
                      <a:pt x="46" y="91"/>
                    </a:cubicBezTo>
                    <a:cubicBezTo>
                      <a:pt x="46" y="85"/>
                      <a:pt x="48" y="84"/>
                      <a:pt x="48" y="79"/>
                    </a:cubicBezTo>
                    <a:cubicBezTo>
                      <a:pt x="48" y="70"/>
                      <a:pt x="40" y="71"/>
                      <a:pt x="40" y="63"/>
                    </a:cubicBezTo>
                    <a:cubicBezTo>
                      <a:pt x="40" y="57"/>
                      <a:pt x="49" y="55"/>
                      <a:pt x="51" y="51"/>
                    </a:cubicBezTo>
                    <a:cubicBezTo>
                      <a:pt x="55" y="52"/>
                      <a:pt x="53" y="52"/>
                      <a:pt x="57" y="51"/>
                    </a:cubicBezTo>
                    <a:cubicBezTo>
                      <a:pt x="57" y="50"/>
                      <a:pt x="57" y="49"/>
                      <a:pt x="57" y="48"/>
                    </a:cubicBezTo>
                    <a:cubicBezTo>
                      <a:pt x="57" y="48"/>
                      <a:pt x="58" y="46"/>
                      <a:pt x="59" y="46"/>
                    </a:cubicBezTo>
                    <a:cubicBezTo>
                      <a:pt x="59" y="42"/>
                      <a:pt x="64" y="40"/>
                      <a:pt x="66" y="39"/>
                    </a:cubicBezTo>
                    <a:cubicBezTo>
                      <a:pt x="69" y="37"/>
                      <a:pt x="69" y="31"/>
                      <a:pt x="70" y="28"/>
                    </a:cubicBezTo>
                    <a:cubicBezTo>
                      <a:pt x="72" y="21"/>
                      <a:pt x="76" y="19"/>
                      <a:pt x="82" y="18"/>
                    </a:cubicBezTo>
                    <a:cubicBezTo>
                      <a:pt x="93" y="14"/>
                      <a:pt x="100" y="12"/>
                      <a:pt x="111" y="9"/>
                    </a:cubicBezTo>
                    <a:cubicBezTo>
                      <a:pt x="117" y="7"/>
                      <a:pt x="118" y="0"/>
                      <a:pt x="124" y="0"/>
                    </a:cubicBezTo>
                    <a:cubicBezTo>
                      <a:pt x="126" y="0"/>
                      <a:pt x="128" y="5"/>
                      <a:pt x="128" y="6"/>
                    </a:cubicBezTo>
                    <a:cubicBezTo>
                      <a:pt x="128" y="9"/>
                      <a:pt x="125" y="11"/>
                      <a:pt x="123" y="11"/>
                    </a:cubicBezTo>
                    <a:cubicBezTo>
                      <a:pt x="122" y="18"/>
                      <a:pt x="119" y="25"/>
                      <a:pt x="119" y="29"/>
                    </a:cubicBezTo>
                    <a:cubicBezTo>
                      <a:pt x="119" y="34"/>
                      <a:pt x="122" y="42"/>
                      <a:pt x="126" y="42"/>
                    </a:cubicBezTo>
                    <a:cubicBezTo>
                      <a:pt x="128" y="42"/>
                      <a:pt x="131" y="37"/>
                      <a:pt x="131" y="35"/>
                    </a:cubicBezTo>
                    <a:cubicBezTo>
                      <a:pt x="131" y="30"/>
                      <a:pt x="125" y="27"/>
                      <a:pt x="125" y="21"/>
                    </a:cubicBezTo>
                    <a:cubicBezTo>
                      <a:pt x="125" y="15"/>
                      <a:pt x="132" y="16"/>
                      <a:pt x="136" y="13"/>
                    </a:cubicBezTo>
                    <a:cubicBezTo>
                      <a:pt x="147" y="13"/>
                      <a:pt x="147" y="13"/>
                      <a:pt x="147" y="13"/>
                    </a:cubicBezTo>
                    <a:cubicBezTo>
                      <a:pt x="145" y="8"/>
                      <a:pt x="139" y="10"/>
                      <a:pt x="139" y="5"/>
                    </a:cubicBezTo>
                    <a:cubicBezTo>
                      <a:pt x="146" y="5"/>
                      <a:pt x="146" y="5"/>
                      <a:pt x="146" y="5"/>
                    </a:cubicBezTo>
                    <a:cubicBezTo>
                      <a:pt x="148" y="12"/>
                      <a:pt x="158" y="14"/>
                      <a:pt x="165" y="16"/>
                    </a:cubicBezTo>
                    <a:cubicBezTo>
                      <a:pt x="165" y="20"/>
                      <a:pt x="167" y="23"/>
                      <a:pt x="170" y="24"/>
                    </a:cubicBezTo>
                    <a:cubicBezTo>
                      <a:pt x="177" y="24"/>
                      <a:pt x="190" y="24"/>
                      <a:pt x="194" y="24"/>
                    </a:cubicBezTo>
                    <a:cubicBezTo>
                      <a:pt x="194" y="28"/>
                      <a:pt x="199" y="29"/>
                      <a:pt x="203" y="29"/>
                    </a:cubicBezTo>
                    <a:cubicBezTo>
                      <a:pt x="209" y="28"/>
                      <a:pt x="214" y="28"/>
                      <a:pt x="216" y="22"/>
                    </a:cubicBezTo>
                    <a:cubicBezTo>
                      <a:pt x="217" y="21"/>
                      <a:pt x="226" y="21"/>
                      <a:pt x="227" y="20"/>
                    </a:cubicBezTo>
                    <a:cubicBezTo>
                      <a:pt x="232" y="20"/>
                      <a:pt x="240" y="21"/>
                      <a:pt x="240" y="21"/>
                    </a:cubicBezTo>
                    <a:cubicBezTo>
                      <a:pt x="238" y="23"/>
                      <a:pt x="234" y="23"/>
                      <a:pt x="233" y="22"/>
                    </a:cubicBezTo>
                    <a:cubicBezTo>
                      <a:pt x="233" y="26"/>
                      <a:pt x="233" y="26"/>
                      <a:pt x="233" y="26"/>
                    </a:cubicBezTo>
                    <a:cubicBezTo>
                      <a:pt x="236" y="32"/>
                      <a:pt x="245" y="33"/>
                      <a:pt x="252" y="36"/>
                    </a:cubicBezTo>
                    <a:cubicBezTo>
                      <a:pt x="258" y="37"/>
                      <a:pt x="256" y="44"/>
                      <a:pt x="258" y="50"/>
                    </a:cubicBezTo>
                    <a:cubicBezTo>
                      <a:pt x="270" y="50"/>
                      <a:pt x="270" y="50"/>
                      <a:pt x="270" y="50"/>
                    </a:cubicBezTo>
                    <a:cubicBezTo>
                      <a:pt x="279" y="58"/>
                      <a:pt x="283" y="57"/>
                      <a:pt x="288" y="68"/>
                    </a:cubicBezTo>
                    <a:cubicBezTo>
                      <a:pt x="289" y="70"/>
                      <a:pt x="293" y="70"/>
                      <a:pt x="295" y="70"/>
                    </a:cubicBezTo>
                    <a:cubicBezTo>
                      <a:pt x="298" y="83"/>
                      <a:pt x="316" y="81"/>
                      <a:pt x="328" y="84"/>
                    </a:cubicBezTo>
                    <a:cubicBezTo>
                      <a:pt x="340" y="84"/>
                      <a:pt x="340" y="84"/>
                      <a:pt x="340" y="84"/>
                    </a:cubicBezTo>
                    <a:cubicBezTo>
                      <a:pt x="343" y="85"/>
                      <a:pt x="350" y="89"/>
                      <a:pt x="354" y="89"/>
                    </a:cubicBezTo>
                    <a:cubicBezTo>
                      <a:pt x="354" y="89"/>
                      <a:pt x="354" y="89"/>
                      <a:pt x="354" y="89"/>
                    </a:cubicBezTo>
                    <a:cubicBezTo>
                      <a:pt x="355" y="89"/>
                      <a:pt x="356" y="89"/>
                      <a:pt x="357" y="89"/>
                    </a:cubicBezTo>
                    <a:cubicBezTo>
                      <a:pt x="364" y="89"/>
                      <a:pt x="373" y="104"/>
                      <a:pt x="381" y="106"/>
                    </a:cubicBezTo>
                    <a:cubicBezTo>
                      <a:pt x="381" y="111"/>
                      <a:pt x="386" y="125"/>
                      <a:pt x="389" y="130"/>
                    </a:cubicBezTo>
                    <a:cubicBezTo>
                      <a:pt x="391" y="134"/>
                      <a:pt x="397" y="134"/>
                      <a:pt x="397" y="139"/>
                    </a:cubicBezTo>
                    <a:cubicBezTo>
                      <a:pt x="390" y="148"/>
                      <a:pt x="377" y="152"/>
                      <a:pt x="377" y="165"/>
                    </a:cubicBezTo>
                    <a:cubicBezTo>
                      <a:pt x="377" y="170"/>
                      <a:pt x="381" y="169"/>
                      <a:pt x="383" y="170"/>
                    </a:cubicBezTo>
                    <a:cubicBezTo>
                      <a:pt x="387" y="172"/>
                      <a:pt x="390" y="176"/>
                      <a:pt x="390" y="180"/>
                    </a:cubicBezTo>
                    <a:cubicBezTo>
                      <a:pt x="401" y="180"/>
                      <a:pt x="401" y="180"/>
                      <a:pt x="401" y="180"/>
                    </a:cubicBezTo>
                    <a:cubicBezTo>
                      <a:pt x="401" y="182"/>
                      <a:pt x="402" y="185"/>
                      <a:pt x="403" y="185"/>
                    </a:cubicBezTo>
                    <a:cubicBezTo>
                      <a:pt x="405" y="185"/>
                      <a:pt x="407" y="182"/>
                      <a:pt x="408" y="180"/>
                    </a:cubicBezTo>
                    <a:cubicBezTo>
                      <a:pt x="413" y="173"/>
                      <a:pt x="418" y="164"/>
                      <a:pt x="425" y="164"/>
                    </a:cubicBezTo>
                    <a:cubicBezTo>
                      <a:pt x="433" y="164"/>
                      <a:pt x="449" y="172"/>
                      <a:pt x="454" y="175"/>
                    </a:cubicBezTo>
                    <a:cubicBezTo>
                      <a:pt x="458" y="178"/>
                      <a:pt x="462" y="177"/>
                      <a:pt x="463" y="180"/>
                    </a:cubicBezTo>
                    <a:cubicBezTo>
                      <a:pt x="464" y="184"/>
                      <a:pt x="464" y="187"/>
                      <a:pt x="464" y="191"/>
                    </a:cubicBezTo>
                    <a:cubicBezTo>
                      <a:pt x="467" y="191"/>
                      <a:pt x="467" y="191"/>
                      <a:pt x="467" y="191"/>
                    </a:cubicBezTo>
                    <a:cubicBezTo>
                      <a:pt x="471" y="190"/>
                      <a:pt x="472" y="186"/>
                      <a:pt x="476" y="186"/>
                    </a:cubicBezTo>
                    <a:cubicBezTo>
                      <a:pt x="486" y="186"/>
                      <a:pt x="487" y="194"/>
                      <a:pt x="496" y="194"/>
                    </a:cubicBezTo>
                    <a:cubicBezTo>
                      <a:pt x="513" y="191"/>
                      <a:pt x="513" y="191"/>
                      <a:pt x="513" y="191"/>
                    </a:cubicBezTo>
                    <a:cubicBezTo>
                      <a:pt x="521" y="193"/>
                      <a:pt x="529" y="196"/>
                      <a:pt x="534" y="198"/>
                    </a:cubicBezTo>
                    <a:cubicBezTo>
                      <a:pt x="538" y="205"/>
                      <a:pt x="551" y="217"/>
                      <a:pt x="558" y="220"/>
                    </a:cubicBezTo>
                    <a:cubicBezTo>
                      <a:pt x="565" y="221"/>
                      <a:pt x="569" y="219"/>
                      <a:pt x="575" y="220"/>
                    </a:cubicBezTo>
                    <a:cubicBezTo>
                      <a:pt x="584" y="223"/>
                      <a:pt x="586" y="232"/>
                      <a:pt x="586" y="242"/>
                    </a:cubicBezTo>
                    <a:cubicBezTo>
                      <a:pt x="586" y="274"/>
                      <a:pt x="568" y="283"/>
                      <a:pt x="556" y="301"/>
                    </a:cubicBezTo>
                    <a:cubicBezTo>
                      <a:pt x="553" y="305"/>
                      <a:pt x="551" y="306"/>
                      <a:pt x="549" y="310"/>
                    </a:cubicBezTo>
                    <a:cubicBezTo>
                      <a:pt x="544" y="317"/>
                      <a:pt x="540" y="317"/>
                      <a:pt x="535" y="322"/>
                    </a:cubicBezTo>
                    <a:cubicBezTo>
                      <a:pt x="529" y="328"/>
                      <a:pt x="535" y="343"/>
                      <a:pt x="535" y="353"/>
                    </a:cubicBezTo>
                    <a:cubicBezTo>
                      <a:pt x="535" y="361"/>
                      <a:pt x="532" y="369"/>
                      <a:pt x="532" y="374"/>
                    </a:cubicBezTo>
                    <a:cubicBezTo>
                      <a:pt x="532" y="377"/>
                      <a:pt x="530" y="378"/>
                      <a:pt x="530" y="380"/>
                    </a:cubicBezTo>
                    <a:cubicBezTo>
                      <a:pt x="528" y="382"/>
                      <a:pt x="524" y="386"/>
                      <a:pt x="524" y="390"/>
                    </a:cubicBezTo>
                    <a:cubicBezTo>
                      <a:pt x="524" y="394"/>
                      <a:pt x="523" y="403"/>
                      <a:pt x="522" y="405"/>
                    </a:cubicBezTo>
                    <a:cubicBezTo>
                      <a:pt x="515" y="415"/>
                      <a:pt x="513" y="419"/>
                      <a:pt x="506" y="428"/>
                    </a:cubicBezTo>
                    <a:cubicBezTo>
                      <a:pt x="505" y="431"/>
                      <a:pt x="505" y="436"/>
                      <a:pt x="504" y="438"/>
                    </a:cubicBezTo>
                    <a:cubicBezTo>
                      <a:pt x="502" y="443"/>
                      <a:pt x="492" y="449"/>
                      <a:pt x="485" y="449"/>
                    </a:cubicBezTo>
                    <a:cubicBezTo>
                      <a:pt x="476" y="449"/>
                      <a:pt x="470" y="449"/>
                      <a:pt x="463" y="452"/>
                    </a:cubicBezTo>
                    <a:cubicBezTo>
                      <a:pt x="461" y="453"/>
                      <a:pt x="460" y="455"/>
                      <a:pt x="459" y="457"/>
                    </a:cubicBezTo>
                    <a:cubicBezTo>
                      <a:pt x="448" y="467"/>
                      <a:pt x="437" y="461"/>
                      <a:pt x="429" y="474"/>
                    </a:cubicBezTo>
                    <a:cubicBezTo>
                      <a:pt x="426" y="479"/>
                      <a:pt x="420" y="479"/>
                      <a:pt x="416" y="483"/>
                    </a:cubicBezTo>
                    <a:cubicBezTo>
                      <a:pt x="411" y="489"/>
                      <a:pt x="412" y="495"/>
                      <a:pt x="412" y="503"/>
                    </a:cubicBezTo>
                    <a:cubicBezTo>
                      <a:pt x="412" y="524"/>
                      <a:pt x="412" y="524"/>
                      <a:pt x="412" y="524"/>
                    </a:cubicBezTo>
                    <a:cubicBezTo>
                      <a:pt x="403" y="528"/>
                      <a:pt x="398" y="536"/>
                      <a:pt x="394" y="545"/>
                    </a:cubicBezTo>
                    <a:cubicBezTo>
                      <a:pt x="394" y="545"/>
                      <a:pt x="394" y="545"/>
                      <a:pt x="394" y="545"/>
                    </a:cubicBezTo>
                    <a:cubicBezTo>
                      <a:pt x="391" y="550"/>
                      <a:pt x="391" y="553"/>
                      <a:pt x="388" y="559"/>
                    </a:cubicBezTo>
                    <a:cubicBezTo>
                      <a:pt x="380" y="571"/>
                      <a:pt x="371" y="572"/>
                      <a:pt x="364" y="584"/>
                    </a:cubicBezTo>
                    <a:cubicBezTo>
                      <a:pt x="355" y="597"/>
                      <a:pt x="351" y="619"/>
                      <a:pt x="331" y="619"/>
                    </a:cubicBezTo>
                    <a:cubicBezTo>
                      <a:pt x="324" y="619"/>
                      <a:pt x="314" y="614"/>
                      <a:pt x="311" y="614"/>
                    </a:cubicBezTo>
                    <a:cubicBezTo>
                      <a:pt x="305" y="614"/>
                      <a:pt x="299" y="609"/>
                      <a:pt x="293" y="609"/>
                    </a:cubicBezTo>
                    <a:cubicBezTo>
                      <a:pt x="291" y="609"/>
                      <a:pt x="289" y="610"/>
                      <a:pt x="289" y="611"/>
                    </a:cubicBezTo>
                    <a:cubicBezTo>
                      <a:pt x="289" y="615"/>
                      <a:pt x="296" y="617"/>
                      <a:pt x="297" y="619"/>
                    </a:cubicBezTo>
                    <a:cubicBezTo>
                      <a:pt x="300" y="622"/>
                      <a:pt x="300" y="627"/>
                      <a:pt x="302" y="632"/>
                    </a:cubicBezTo>
                    <a:cubicBezTo>
                      <a:pt x="304" y="637"/>
                      <a:pt x="311" y="637"/>
                      <a:pt x="311" y="642"/>
                    </a:cubicBezTo>
                    <a:cubicBezTo>
                      <a:pt x="311" y="647"/>
                      <a:pt x="311" y="650"/>
                      <a:pt x="308" y="654"/>
                    </a:cubicBezTo>
                    <a:cubicBezTo>
                      <a:pt x="304" y="660"/>
                      <a:pt x="301" y="663"/>
                      <a:pt x="297" y="667"/>
                    </a:cubicBezTo>
                    <a:cubicBezTo>
                      <a:pt x="289" y="675"/>
                      <a:pt x="280" y="673"/>
                      <a:pt x="270" y="676"/>
                    </a:cubicBezTo>
                    <a:cubicBezTo>
                      <a:pt x="263" y="678"/>
                      <a:pt x="248" y="673"/>
                      <a:pt x="244" y="677"/>
                    </a:cubicBezTo>
                    <a:cubicBezTo>
                      <a:pt x="238" y="683"/>
                      <a:pt x="243" y="696"/>
                      <a:pt x="240" y="703"/>
                    </a:cubicBezTo>
                    <a:cubicBezTo>
                      <a:pt x="240" y="702"/>
                      <a:pt x="240" y="702"/>
                      <a:pt x="240" y="702"/>
                    </a:cubicBezTo>
                    <a:cubicBezTo>
                      <a:pt x="240" y="703"/>
                      <a:pt x="240" y="706"/>
                      <a:pt x="240" y="707"/>
                    </a:cubicBezTo>
                    <a:cubicBezTo>
                      <a:pt x="240" y="709"/>
                      <a:pt x="233" y="712"/>
                      <a:pt x="229" y="712"/>
                    </a:cubicBezTo>
                    <a:cubicBezTo>
                      <a:pt x="220" y="712"/>
                      <a:pt x="218" y="706"/>
                      <a:pt x="210" y="706"/>
                    </a:cubicBezTo>
                    <a:cubicBezTo>
                      <a:pt x="207" y="706"/>
                      <a:pt x="205" y="709"/>
                      <a:pt x="205" y="711"/>
                    </a:cubicBezTo>
                    <a:cubicBezTo>
                      <a:pt x="205" y="717"/>
                      <a:pt x="211" y="729"/>
                      <a:pt x="214" y="729"/>
                    </a:cubicBezTo>
                    <a:cubicBezTo>
                      <a:pt x="217" y="729"/>
                      <a:pt x="219" y="726"/>
                      <a:pt x="221" y="726"/>
                    </a:cubicBezTo>
                    <a:cubicBezTo>
                      <a:pt x="222" y="728"/>
                      <a:pt x="225" y="728"/>
                      <a:pt x="225" y="730"/>
                    </a:cubicBezTo>
                    <a:cubicBezTo>
                      <a:pt x="225" y="733"/>
                      <a:pt x="221" y="736"/>
                      <a:pt x="220" y="736"/>
                    </a:cubicBezTo>
                    <a:cubicBezTo>
                      <a:pt x="215" y="736"/>
                      <a:pt x="213" y="732"/>
                      <a:pt x="209" y="732"/>
                    </a:cubicBezTo>
                    <a:cubicBezTo>
                      <a:pt x="209" y="737"/>
                      <a:pt x="211" y="738"/>
                      <a:pt x="214" y="739"/>
                    </a:cubicBezTo>
                    <a:cubicBezTo>
                      <a:pt x="206" y="747"/>
                      <a:pt x="206" y="755"/>
                      <a:pt x="203" y="766"/>
                    </a:cubicBezTo>
                    <a:cubicBezTo>
                      <a:pt x="202" y="770"/>
                      <a:pt x="194" y="771"/>
                      <a:pt x="191" y="771"/>
                    </a:cubicBezTo>
                    <a:cubicBezTo>
                      <a:pt x="184" y="773"/>
                      <a:pt x="178" y="779"/>
                      <a:pt x="178" y="787"/>
                    </a:cubicBezTo>
                    <a:cubicBezTo>
                      <a:pt x="178" y="804"/>
                      <a:pt x="198" y="798"/>
                      <a:pt x="198" y="811"/>
                    </a:cubicBezTo>
                    <a:cubicBezTo>
                      <a:pt x="198" y="824"/>
                      <a:pt x="187" y="825"/>
                      <a:pt x="181" y="831"/>
                    </a:cubicBezTo>
                    <a:cubicBezTo>
                      <a:pt x="177" y="835"/>
                      <a:pt x="178" y="841"/>
                      <a:pt x="176" y="846"/>
                    </a:cubicBezTo>
                    <a:cubicBezTo>
                      <a:pt x="173" y="852"/>
                      <a:pt x="166" y="850"/>
                      <a:pt x="162" y="854"/>
                    </a:cubicBezTo>
                    <a:cubicBezTo>
                      <a:pt x="156" y="859"/>
                      <a:pt x="154" y="865"/>
                      <a:pt x="154" y="874"/>
                    </a:cubicBezTo>
                    <a:cubicBezTo>
                      <a:pt x="154" y="878"/>
                      <a:pt x="158" y="883"/>
                      <a:pt x="161" y="884"/>
                    </a:cubicBezTo>
                    <a:cubicBezTo>
                      <a:pt x="169" y="888"/>
                      <a:pt x="168" y="908"/>
                      <a:pt x="174" y="914"/>
                    </a:cubicBezTo>
                    <a:cubicBezTo>
                      <a:pt x="184" y="924"/>
                      <a:pt x="196" y="928"/>
                      <a:pt x="207" y="934"/>
                    </a:cubicBezTo>
                    <a:cubicBezTo>
                      <a:pt x="206" y="936"/>
                      <a:pt x="203" y="935"/>
                      <a:pt x="200" y="935"/>
                    </a:cubicBezTo>
                    <a:cubicBezTo>
                      <a:pt x="194" y="935"/>
                      <a:pt x="183" y="943"/>
                      <a:pt x="179" y="943"/>
                    </a:cubicBezTo>
                    <a:cubicBezTo>
                      <a:pt x="176" y="943"/>
                      <a:pt x="176" y="943"/>
                      <a:pt x="174" y="943"/>
                    </a:cubicBezTo>
                    <a:cubicBezTo>
                      <a:pt x="173" y="943"/>
                      <a:pt x="171" y="945"/>
                      <a:pt x="169" y="945"/>
                    </a:cubicBezTo>
                    <a:cubicBezTo>
                      <a:pt x="165" y="945"/>
                      <a:pt x="162" y="945"/>
                      <a:pt x="157" y="945"/>
                    </a:cubicBezTo>
                    <a:cubicBezTo>
                      <a:pt x="147" y="945"/>
                      <a:pt x="151" y="933"/>
                      <a:pt x="143" y="931"/>
                    </a:cubicBezTo>
                    <a:cubicBezTo>
                      <a:pt x="137" y="929"/>
                      <a:pt x="127" y="929"/>
                      <a:pt x="127" y="921"/>
                    </a:cubicBezTo>
                    <a:cubicBezTo>
                      <a:pt x="124" y="921"/>
                      <a:pt x="122" y="921"/>
                      <a:pt x="119" y="921"/>
                    </a:cubicBezTo>
                    <a:cubicBezTo>
                      <a:pt x="115" y="921"/>
                      <a:pt x="114" y="917"/>
                      <a:pt x="114" y="915"/>
                    </a:cubicBezTo>
                    <a:cubicBezTo>
                      <a:pt x="102" y="915"/>
                      <a:pt x="98" y="909"/>
                      <a:pt x="92" y="903"/>
                    </a:cubicBezTo>
                    <a:cubicBezTo>
                      <a:pt x="91" y="902"/>
                      <a:pt x="88" y="900"/>
                      <a:pt x="88" y="899"/>
                    </a:cubicBezTo>
                    <a:cubicBezTo>
                      <a:pt x="88" y="895"/>
                      <a:pt x="96" y="895"/>
                      <a:pt x="97" y="891"/>
                    </a:cubicBezTo>
                    <a:cubicBezTo>
                      <a:pt x="95" y="891"/>
                      <a:pt x="94" y="890"/>
                      <a:pt x="93" y="889"/>
                    </a:cubicBezTo>
                    <a:cubicBezTo>
                      <a:pt x="94" y="887"/>
                      <a:pt x="96" y="884"/>
                      <a:pt x="96" y="882"/>
                    </a:cubicBezTo>
                    <a:cubicBezTo>
                      <a:pt x="96" y="871"/>
                      <a:pt x="84" y="873"/>
                      <a:pt x="84" y="863"/>
                    </a:cubicBezTo>
                    <a:cubicBezTo>
                      <a:pt x="84" y="860"/>
                      <a:pt x="84" y="859"/>
                      <a:pt x="84" y="857"/>
                    </a:cubicBezTo>
                    <a:cubicBezTo>
                      <a:pt x="84" y="848"/>
                      <a:pt x="78" y="832"/>
                      <a:pt x="78" y="825"/>
                    </a:cubicBezTo>
                    <a:cubicBezTo>
                      <a:pt x="78" y="817"/>
                      <a:pt x="88" y="814"/>
                      <a:pt x="88" y="807"/>
                    </a:cubicBezTo>
                    <a:cubicBezTo>
                      <a:pt x="88" y="803"/>
                      <a:pt x="83" y="796"/>
                      <a:pt x="82" y="791"/>
                    </a:cubicBezTo>
                    <a:cubicBezTo>
                      <a:pt x="82" y="787"/>
                      <a:pt x="82" y="787"/>
                      <a:pt x="82" y="787"/>
                    </a:cubicBezTo>
                    <a:cubicBezTo>
                      <a:pt x="82" y="787"/>
                      <a:pt x="82" y="787"/>
                      <a:pt x="82" y="787"/>
                    </a:cubicBezTo>
                    <a:cubicBezTo>
                      <a:pt x="82" y="784"/>
                      <a:pt x="84" y="782"/>
                      <a:pt x="86" y="782"/>
                    </a:cubicBezTo>
                    <a:cubicBezTo>
                      <a:pt x="94" y="782"/>
                      <a:pt x="91" y="790"/>
                      <a:pt x="98" y="790"/>
                    </a:cubicBezTo>
                    <a:cubicBezTo>
                      <a:pt x="112" y="725"/>
                      <a:pt x="112" y="725"/>
                      <a:pt x="112" y="725"/>
                    </a:cubicBezTo>
                    <a:cubicBezTo>
                      <a:pt x="112" y="718"/>
                      <a:pt x="112" y="718"/>
                      <a:pt x="112" y="718"/>
                    </a:cubicBezTo>
                    <a:cubicBezTo>
                      <a:pt x="111" y="718"/>
                      <a:pt x="109" y="717"/>
                      <a:pt x="108" y="718"/>
                    </a:cubicBezTo>
                    <a:cubicBezTo>
                      <a:pt x="105" y="719"/>
                      <a:pt x="105" y="723"/>
                      <a:pt x="102" y="723"/>
                    </a:cubicBezTo>
                    <a:cubicBezTo>
                      <a:pt x="98" y="723"/>
                      <a:pt x="95" y="713"/>
                      <a:pt x="95" y="708"/>
                    </a:cubicBezTo>
                    <a:cubicBezTo>
                      <a:pt x="95" y="699"/>
                      <a:pt x="98" y="696"/>
                      <a:pt x="100" y="688"/>
                    </a:cubicBezTo>
                    <a:cubicBezTo>
                      <a:pt x="103" y="688"/>
                      <a:pt x="104" y="687"/>
                      <a:pt x="104" y="685"/>
                    </a:cubicBezTo>
                    <a:cubicBezTo>
                      <a:pt x="104" y="683"/>
                      <a:pt x="102" y="680"/>
                      <a:pt x="102" y="680"/>
                    </a:cubicBezTo>
                    <a:cubicBezTo>
                      <a:pt x="100" y="680"/>
                      <a:pt x="99" y="668"/>
                      <a:pt x="99" y="665"/>
                    </a:cubicBezTo>
                    <a:cubicBezTo>
                      <a:pt x="99" y="655"/>
                      <a:pt x="106" y="645"/>
                      <a:pt x="109" y="639"/>
                    </a:cubicBezTo>
                    <a:cubicBezTo>
                      <a:pt x="111" y="635"/>
                      <a:pt x="112" y="629"/>
                      <a:pt x="114" y="626"/>
                    </a:cubicBezTo>
                    <a:cubicBezTo>
                      <a:pt x="116" y="624"/>
                      <a:pt x="118" y="625"/>
                      <a:pt x="118" y="623"/>
                    </a:cubicBezTo>
                    <a:cubicBezTo>
                      <a:pt x="121" y="613"/>
                      <a:pt x="121" y="605"/>
                      <a:pt x="124" y="595"/>
                    </a:cubicBezTo>
                    <a:cubicBezTo>
                      <a:pt x="124" y="562"/>
                      <a:pt x="124" y="562"/>
                      <a:pt x="124" y="562"/>
                    </a:cubicBezTo>
                    <a:cubicBezTo>
                      <a:pt x="121" y="554"/>
                      <a:pt x="126" y="548"/>
                      <a:pt x="126" y="541"/>
                    </a:cubicBezTo>
                    <a:cubicBezTo>
                      <a:pt x="126" y="524"/>
                      <a:pt x="136" y="513"/>
                      <a:pt x="136" y="498"/>
                    </a:cubicBezTo>
                    <a:cubicBezTo>
                      <a:pt x="136" y="497"/>
                      <a:pt x="136" y="495"/>
                      <a:pt x="136" y="494"/>
                    </a:cubicBezTo>
                    <a:cubicBezTo>
                      <a:pt x="136" y="491"/>
                      <a:pt x="138" y="483"/>
                      <a:pt x="139" y="478"/>
                    </a:cubicBezTo>
                    <a:cubicBezTo>
                      <a:pt x="139" y="465"/>
                      <a:pt x="139" y="465"/>
                      <a:pt x="139" y="459"/>
                    </a:cubicBezTo>
                    <a:cubicBezTo>
                      <a:pt x="139" y="453"/>
                      <a:pt x="143" y="441"/>
                      <a:pt x="143" y="434"/>
                    </a:cubicBezTo>
                    <a:cubicBezTo>
                      <a:pt x="143" y="429"/>
                      <a:pt x="141" y="403"/>
                      <a:pt x="140" y="399"/>
                    </a:cubicBezTo>
                    <a:cubicBezTo>
                      <a:pt x="136" y="388"/>
                      <a:pt x="128" y="381"/>
                      <a:pt x="121" y="377"/>
                    </a:cubicBezTo>
                    <a:cubicBezTo>
                      <a:pt x="114" y="374"/>
                      <a:pt x="109" y="375"/>
                      <a:pt x="104" y="370"/>
                    </a:cubicBezTo>
                    <a:cubicBezTo>
                      <a:pt x="99" y="365"/>
                      <a:pt x="96" y="363"/>
                      <a:pt x="90" y="362"/>
                    </a:cubicBezTo>
                    <a:cubicBezTo>
                      <a:pt x="78" y="358"/>
                      <a:pt x="72" y="351"/>
                      <a:pt x="64" y="343"/>
                    </a:cubicBezTo>
                    <a:cubicBezTo>
                      <a:pt x="60" y="340"/>
                      <a:pt x="62" y="335"/>
                      <a:pt x="62" y="330"/>
                    </a:cubicBezTo>
                    <a:cubicBezTo>
                      <a:pt x="62" y="323"/>
                      <a:pt x="55" y="319"/>
                      <a:pt x="53" y="313"/>
                    </a:cubicBezTo>
                    <a:cubicBezTo>
                      <a:pt x="50" y="302"/>
                      <a:pt x="41" y="294"/>
                      <a:pt x="38" y="285"/>
                    </a:cubicBezTo>
                    <a:cubicBezTo>
                      <a:pt x="35" y="275"/>
                      <a:pt x="32" y="269"/>
                      <a:pt x="28" y="261"/>
                    </a:cubicBezTo>
                    <a:cubicBezTo>
                      <a:pt x="27" y="258"/>
                      <a:pt x="24" y="259"/>
                      <a:pt x="23" y="257"/>
                    </a:cubicBezTo>
                    <a:cubicBezTo>
                      <a:pt x="20" y="254"/>
                      <a:pt x="19" y="248"/>
                      <a:pt x="17" y="245"/>
                    </a:cubicBezTo>
                    <a:cubicBezTo>
                      <a:pt x="16" y="242"/>
                      <a:pt x="12" y="243"/>
                      <a:pt x="11" y="242"/>
                    </a:cubicBezTo>
                    <a:cubicBezTo>
                      <a:pt x="6" y="237"/>
                      <a:pt x="0" y="228"/>
                      <a:pt x="0" y="220"/>
                    </a:cubicBezTo>
                    <a:cubicBezTo>
                      <a:pt x="0" y="215"/>
                      <a:pt x="3" y="209"/>
                      <a:pt x="5" y="207"/>
                    </a:cubicBezTo>
                    <a:cubicBezTo>
                      <a:pt x="8" y="200"/>
                      <a:pt x="16" y="198"/>
                      <a:pt x="18" y="191"/>
                    </a:cubicBezTo>
                    <a:cubicBezTo>
                      <a:pt x="14" y="189"/>
                      <a:pt x="15" y="191"/>
                      <a:pt x="12" y="191"/>
                    </a:cubicBezTo>
                    <a:cubicBezTo>
                      <a:pt x="5" y="191"/>
                      <a:pt x="5" y="182"/>
                      <a:pt x="5" y="176"/>
                    </a:cubicBezTo>
                    <a:cubicBezTo>
                      <a:pt x="5" y="166"/>
                      <a:pt x="16" y="168"/>
                      <a:pt x="14" y="148"/>
                    </a:cubicBezTo>
                    <a:cubicBezTo>
                      <a:pt x="26" y="148"/>
                      <a:pt x="29" y="136"/>
                      <a:pt x="32" y="129"/>
                    </a:cubicBezTo>
                    <a:cubicBezTo>
                      <a:pt x="37" y="119"/>
                      <a:pt x="49" y="123"/>
                      <a:pt x="51" y="111"/>
                    </a:cubicBezTo>
                    <a:cubicBezTo>
                      <a:pt x="49" y="110"/>
                      <a:pt x="47" y="107"/>
                      <a:pt x="47" y="106"/>
                    </a:cubicBezTo>
                    <a:cubicBezTo>
                      <a:pt x="49" y="103"/>
                      <a:pt x="49" y="103"/>
                      <a:pt x="49" y="1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grpSp>
        <p:grpSp>
          <p:nvGrpSpPr>
            <p:cNvPr id="14" name="Group 277"/>
            <p:cNvGrpSpPr/>
            <p:nvPr/>
          </p:nvGrpSpPr>
          <p:grpSpPr>
            <a:xfrm>
              <a:off x="538789" y="1131575"/>
              <a:ext cx="2523022" cy="1757766"/>
              <a:chOff x="1585913" y="960438"/>
              <a:chExt cx="2590800" cy="1804987"/>
            </a:xfrm>
            <a:grpFill/>
          </p:grpSpPr>
          <p:sp>
            <p:nvSpPr>
              <p:cNvPr id="118" name="Freeform 21"/>
              <p:cNvSpPr>
                <a:spLocks/>
              </p:cNvSpPr>
              <p:nvPr/>
            </p:nvSpPr>
            <p:spPr bwMode="auto">
              <a:xfrm>
                <a:off x="3359150" y="2703513"/>
                <a:ext cx="12700" cy="14288"/>
              </a:xfrm>
              <a:custGeom>
                <a:avLst/>
                <a:gdLst/>
                <a:ahLst/>
                <a:cxnLst>
                  <a:cxn ang="0">
                    <a:pos x="9" y="4"/>
                  </a:cxn>
                  <a:cxn ang="0">
                    <a:pos x="9" y="0"/>
                  </a:cxn>
                  <a:cxn ang="0">
                    <a:pos x="5" y="0"/>
                  </a:cxn>
                  <a:cxn ang="0">
                    <a:pos x="0" y="9"/>
                  </a:cxn>
                  <a:cxn ang="0">
                    <a:pos x="4" y="9"/>
                  </a:cxn>
                  <a:cxn ang="0">
                    <a:pos x="9" y="4"/>
                  </a:cxn>
                </a:cxnLst>
                <a:rect l="0" t="0" r="r" b="b"/>
                <a:pathLst>
                  <a:path w="9" h="11">
                    <a:moveTo>
                      <a:pt x="9" y="4"/>
                    </a:moveTo>
                    <a:cubicBezTo>
                      <a:pt x="9" y="0"/>
                      <a:pt x="9" y="0"/>
                      <a:pt x="9" y="0"/>
                    </a:cubicBezTo>
                    <a:cubicBezTo>
                      <a:pt x="8" y="0"/>
                      <a:pt x="6" y="0"/>
                      <a:pt x="5" y="0"/>
                    </a:cubicBezTo>
                    <a:cubicBezTo>
                      <a:pt x="2" y="0"/>
                      <a:pt x="0" y="5"/>
                      <a:pt x="0" y="9"/>
                    </a:cubicBezTo>
                    <a:cubicBezTo>
                      <a:pt x="0" y="11"/>
                      <a:pt x="2" y="9"/>
                      <a:pt x="4" y="9"/>
                    </a:cubicBezTo>
                    <a:cubicBezTo>
                      <a:pt x="6" y="9"/>
                      <a:pt x="8" y="5"/>
                      <a:pt x="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19" name="Freeform 39"/>
              <p:cNvSpPr>
                <a:spLocks/>
              </p:cNvSpPr>
              <p:nvPr/>
            </p:nvSpPr>
            <p:spPr bwMode="auto">
              <a:xfrm>
                <a:off x="3989388" y="1552575"/>
                <a:ext cx="169863" cy="77788"/>
              </a:xfrm>
              <a:custGeom>
                <a:avLst/>
                <a:gdLst/>
                <a:ahLst/>
                <a:cxnLst>
                  <a:cxn ang="0">
                    <a:pos x="127" y="31"/>
                  </a:cxn>
                  <a:cxn ang="0">
                    <a:pos x="108" y="47"/>
                  </a:cxn>
                  <a:cxn ang="0">
                    <a:pos x="74" y="58"/>
                  </a:cxn>
                  <a:cxn ang="0">
                    <a:pos x="34" y="50"/>
                  </a:cxn>
                  <a:cxn ang="0">
                    <a:pos x="14" y="42"/>
                  </a:cxn>
                  <a:cxn ang="0">
                    <a:pos x="18" y="40"/>
                  </a:cxn>
                  <a:cxn ang="0">
                    <a:pos x="21" y="27"/>
                  </a:cxn>
                  <a:cxn ang="0">
                    <a:pos x="2" y="25"/>
                  </a:cxn>
                  <a:cxn ang="0">
                    <a:pos x="25" y="21"/>
                  </a:cxn>
                  <a:cxn ang="0">
                    <a:pos x="23" y="18"/>
                  </a:cxn>
                  <a:cxn ang="0">
                    <a:pos x="0" y="8"/>
                  </a:cxn>
                  <a:cxn ang="0">
                    <a:pos x="9" y="9"/>
                  </a:cxn>
                  <a:cxn ang="0">
                    <a:pos x="9" y="5"/>
                  </a:cxn>
                  <a:cxn ang="0">
                    <a:pos x="17" y="0"/>
                  </a:cxn>
                  <a:cxn ang="0">
                    <a:pos x="21" y="0"/>
                  </a:cxn>
                  <a:cxn ang="0">
                    <a:pos x="23" y="7"/>
                  </a:cxn>
                  <a:cxn ang="0">
                    <a:pos x="30" y="16"/>
                  </a:cxn>
                  <a:cxn ang="0">
                    <a:pos x="38" y="13"/>
                  </a:cxn>
                  <a:cxn ang="0">
                    <a:pos x="38" y="8"/>
                  </a:cxn>
                  <a:cxn ang="0">
                    <a:pos x="44" y="12"/>
                  </a:cxn>
                  <a:cxn ang="0">
                    <a:pos x="54" y="9"/>
                  </a:cxn>
                  <a:cxn ang="0">
                    <a:pos x="60" y="12"/>
                  </a:cxn>
                  <a:cxn ang="0">
                    <a:pos x="60" y="8"/>
                  </a:cxn>
                  <a:cxn ang="0">
                    <a:pos x="74" y="9"/>
                  </a:cxn>
                  <a:cxn ang="0">
                    <a:pos x="89" y="8"/>
                  </a:cxn>
                  <a:cxn ang="0">
                    <a:pos x="91" y="1"/>
                  </a:cxn>
                  <a:cxn ang="0">
                    <a:pos x="96" y="1"/>
                  </a:cxn>
                  <a:cxn ang="0">
                    <a:pos x="104" y="7"/>
                  </a:cxn>
                  <a:cxn ang="0">
                    <a:pos x="115" y="4"/>
                  </a:cxn>
                  <a:cxn ang="0">
                    <a:pos x="112" y="8"/>
                  </a:cxn>
                  <a:cxn ang="0">
                    <a:pos x="128" y="30"/>
                  </a:cxn>
                  <a:cxn ang="0">
                    <a:pos x="127" y="31"/>
                  </a:cxn>
                </a:cxnLst>
                <a:rect l="0" t="0" r="r" b="b"/>
                <a:pathLst>
                  <a:path w="128" h="58">
                    <a:moveTo>
                      <a:pt x="127" y="31"/>
                    </a:moveTo>
                    <a:cubicBezTo>
                      <a:pt x="124" y="38"/>
                      <a:pt x="113" y="45"/>
                      <a:pt x="108" y="47"/>
                    </a:cubicBezTo>
                    <a:cubicBezTo>
                      <a:pt x="97" y="51"/>
                      <a:pt x="89" y="58"/>
                      <a:pt x="74" y="58"/>
                    </a:cubicBezTo>
                    <a:cubicBezTo>
                      <a:pt x="57" y="58"/>
                      <a:pt x="46" y="54"/>
                      <a:pt x="34" y="50"/>
                    </a:cubicBezTo>
                    <a:cubicBezTo>
                      <a:pt x="28" y="49"/>
                      <a:pt x="24" y="42"/>
                      <a:pt x="14" y="42"/>
                    </a:cubicBezTo>
                    <a:cubicBezTo>
                      <a:pt x="16" y="41"/>
                      <a:pt x="17" y="40"/>
                      <a:pt x="18" y="40"/>
                    </a:cubicBezTo>
                    <a:cubicBezTo>
                      <a:pt x="18" y="34"/>
                      <a:pt x="20" y="32"/>
                      <a:pt x="21" y="27"/>
                    </a:cubicBezTo>
                    <a:cubicBezTo>
                      <a:pt x="14" y="25"/>
                      <a:pt x="6" y="30"/>
                      <a:pt x="2" y="25"/>
                    </a:cubicBezTo>
                    <a:cubicBezTo>
                      <a:pt x="8" y="25"/>
                      <a:pt x="20" y="23"/>
                      <a:pt x="25" y="21"/>
                    </a:cubicBezTo>
                    <a:cubicBezTo>
                      <a:pt x="23" y="20"/>
                      <a:pt x="23" y="19"/>
                      <a:pt x="23" y="18"/>
                    </a:cubicBezTo>
                    <a:cubicBezTo>
                      <a:pt x="18" y="18"/>
                      <a:pt x="1" y="13"/>
                      <a:pt x="0" y="8"/>
                    </a:cubicBezTo>
                    <a:cubicBezTo>
                      <a:pt x="4" y="7"/>
                      <a:pt x="7" y="8"/>
                      <a:pt x="9" y="9"/>
                    </a:cubicBezTo>
                    <a:cubicBezTo>
                      <a:pt x="9" y="8"/>
                      <a:pt x="9" y="7"/>
                      <a:pt x="9" y="5"/>
                    </a:cubicBezTo>
                    <a:cubicBezTo>
                      <a:pt x="13" y="5"/>
                      <a:pt x="14" y="0"/>
                      <a:pt x="17" y="0"/>
                    </a:cubicBezTo>
                    <a:cubicBezTo>
                      <a:pt x="18" y="0"/>
                      <a:pt x="19" y="0"/>
                      <a:pt x="21" y="0"/>
                    </a:cubicBezTo>
                    <a:cubicBezTo>
                      <a:pt x="21" y="3"/>
                      <a:pt x="23" y="4"/>
                      <a:pt x="23" y="7"/>
                    </a:cubicBezTo>
                    <a:cubicBezTo>
                      <a:pt x="23" y="10"/>
                      <a:pt x="27" y="16"/>
                      <a:pt x="30" y="16"/>
                    </a:cubicBezTo>
                    <a:cubicBezTo>
                      <a:pt x="33" y="16"/>
                      <a:pt x="36" y="14"/>
                      <a:pt x="38" y="13"/>
                    </a:cubicBezTo>
                    <a:cubicBezTo>
                      <a:pt x="37" y="10"/>
                      <a:pt x="37" y="9"/>
                      <a:pt x="38" y="8"/>
                    </a:cubicBezTo>
                    <a:cubicBezTo>
                      <a:pt x="40" y="9"/>
                      <a:pt x="41" y="12"/>
                      <a:pt x="44" y="12"/>
                    </a:cubicBezTo>
                    <a:cubicBezTo>
                      <a:pt x="54" y="9"/>
                      <a:pt x="54" y="9"/>
                      <a:pt x="54" y="9"/>
                    </a:cubicBezTo>
                    <a:cubicBezTo>
                      <a:pt x="58" y="10"/>
                      <a:pt x="59" y="11"/>
                      <a:pt x="60" y="12"/>
                    </a:cubicBezTo>
                    <a:cubicBezTo>
                      <a:pt x="60" y="11"/>
                      <a:pt x="60" y="9"/>
                      <a:pt x="60" y="8"/>
                    </a:cubicBezTo>
                    <a:cubicBezTo>
                      <a:pt x="67" y="8"/>
                      <a:pt x="70" y="9"/>
                      <a:pt x="74" y="9"/>
                    </a:cubicBezTo>
                    <a:cubicBezTo>
                      <a:pt x="80" y="9"/>
                      <a:pt x="85" y="4"/>
                      <a:pt x="89" y="8"/>
                    </a:cubicBezTo>
                    <a:cubicBezTo>
                      <a:pt x="89" y="4"/>
                      <a:pt x="90" y="3"/>
                      <a:pt x="91" y="1"/>
                    </a:cubicBezTo>
                    <a:cubicBezTo>
                      <a:pt x="94" y="2"/>
                      <a:pt x="94" y="2"/>
                      <a:pt x="96" y="1"/>
                    </a:cubicBezTo>
                    <a:cubicBezTo>
                      <a:pt x="96" y="6"/>
                      <a:pt x="100" y="7"/>
                      <a:pt x="104" y="7"/>
                    </a:cubicBezTo>
                    <a:cubicBezTo>
                      <a:pt x="108" y="7"/>
                      <a:pt x="111" y="4"/>
                      <a:pt x="115" y="4"/>
                    </a:cubicBezTo>
                    <a:cubicBezTo>
                      <a:pt x="113" y="5"/>
                      <a:pt x="112" y="7"/>
                      <a:pt x="112" y="8"/>
                    </a:cubicBezTo>
                    <a:cubicBezTo>
                      <a:pt x="112" y="21"/>
                      <a:pt x="128" y="18"/>
                      <a:pt x="128" y="30"/>
                    </a:cubicBezTo>
                    <a:lnTo>
                      <a:pt x="127"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0" name="Freeform 40"/>
              <p:cNvSpPr>
                <a:spLocks/>
              </p:cNvSpPr>
              <p:nvPr/>
            </p:nvSpPr>
            <p:spPr bwMode="auto">
              <a:xfrm>
                <a:off x="2971800" y="2487613"/>
                <a:ext cx="174625" cy="60325"/>
              </a:xfrm>
              <a:custGeom>
                <a:avLst/>
                <a:gdLst/>
                <a:ahLst/>
                <a:cxnLst>
                  <a:cxn ang="0">
                    <a:pos x="131" y="40"/>
                  </a:cxn>
                  <a:cxn ang="0">
                    <a:pos x="114" y="45"/>
                  </a:cxn>
                  <a:cxn ang="0">
                    <a:pos x="88" y="42"/>
                  </a:cxn>
                  <a:cxn ang="0">
                    <a:pos x="88" y="39"/>
                  </a:cxn>
                  <a:cxn ang="0">
                    <a:pos x="93" y="35"/>
                  </a:cxn>
                  <a:cxn ang="0">
                    <a:pos x="78" y="26"/>
                  </a:cxn>
                  <a:cxn ang="0">
                    <a:pos x="73" y="22"/>
                  </a:cxn>
                  <a:cxn ang="0">
                    <a:pos x="64" y="22"/>
                  </a:cxn>
                  <a:cxn ang="0">
                    <a:pos x="48" y="15"/>
                  </a:cxn>
                  <a:cxn ang="0">
                    <a:pos x="35" y="15"/>
                  </a:cxn>
                  <a:cxn ang="0">
                    <a:pos x="34" y="10"/>
                  </a:cxn>
                  <a:cxn ang="0">
                    <a:pos x="28" y="9"/>
                  </a:cxn>
                  <a:cxn ang="0">
                    <a:pos x="4" y="20"/>
                  </a:cxn>
                  <a:cxn ang="0">
                    <a:pos x="0" y="20"/>
                  </a:cxn>
                  <a:cxn ang="0">
                    <a:pos x="36" y="0"/>
                  </a:cxn>
                  <a:cxn ang="0">
                    <a:pos x="79" y="11"/>
                  </a:cxn>
                  <a:cxn ang="0">
                    <a:pos x="86" y="17"/>
                  </a:cxn>
                  <a:cxn ang="0">
                    <a:pos x="114" y="28"/>
                  </a:cxn>
                  <a:cxn ang="0">
                    <a:pos x="114" y="31"/>
                  </a:cxn>
                  <a:cxn ang="0">
                    <a:pos x="120" y="31"/>
                  </a:cxn>
                  <a:cxn ang="0">
                    <a:pos x="131" y="40"/>
                  </a:cxn>
                </a:cxnLst>
                <a:rect l="0" t="0" r="r" b="b"/>
                <a:pathLst>
                  <a:path w="131" h="45">
                    <a:moveTo>
                      <a:pt x="131" y="40"/>
                    </a:moveTo>
                    <a:cubicBezTo>
                      <a:pt x="127" y="45"/>
                      <a:pt x="119" y="45"/>
                      <a:pt x="114" y="45"/>
                    </a:cubicBezTo>
                    <a:cubicBezTo>
                      <a:pt x="104" y="45"/>
                      <a:pt x="97" y="42"/>
                      <a:pt x="88" y="42"/>
                    </a:cubicBezTo>
                    <a:cubicBezTo>
                      <a:pt x="88" y="41"/>
                      <a:pt x="88" y="40"/>
                      <a:pt x="88" y="39"/>
                    </a:cubicBezTo>
                    <a:cubicBezTo>
                      <a:pt x="90" y="39"/>
                      <a:pt x="92" y="38"/>
                      <a:pt x="93" y="35"/>
                    </a:cubicBezTo>
                    <a:cubicBezTo>
                      <a:pt x="86" y="32"/>
                      <a:pt x="79" y="33"/>
                      <a:pt x="78" y="26"/>
                    </a:cubicBezTo>
                    <a:cubicBezTo>
                      <a:pt x="74" y="26"/>
                      <a:pt x="75" y="23"/>
                      <a:pt x="73" y="22"/>
                    </a:cubicBezTo>
                    <a:cubicBezTo>
                      <a:pt x="69" y="20"/>
                      <a:pt x="67" y="22"/>
                      <a:pt x="64" y="22"/>
                    </a:cubicBezTo>
                    <a:cubicBezTo>
                      <a:pt x="57" y="22"/>
                      <a:pt x="54" y="15"/>
                      <a:pt x="48" y="15"/>
                    </a:cubicBezTo>
                    <a:cubicBezTo>
                      <a:pt x="35" y="15"/>
                      <a:pt x="35" y="15"/>
                      <a:pt x="35" y="15"/>
                    </a:cubicBezTo>
                    <a:cubicBezTo>
                      <a:pt x="33" y="13"/>
                      <a:pt x="33" y="12"/>
                      <a:pt x="34" y="10"/>
                    </a:cubicBezTo>
                    <a:cubicBezTo>
                      <a:pt x="33" y="9"/>
                      <a:pt x="30" y="9"/>
                      <a:pt x="28" y="9"/>
                    </a:cubicBezTo>
                    <a:cubicBezTo>
                      <a:pt x="20" y="9"/>
                      <a:pt x="8" y="15"/>
                      <a:pt x="4" y="20"/>
                    </a:cubicBezTo>
                    <a:cubicBezTo>
                      <a:pt x="0" y="20"/>
                      <a:pt x="0" y="20"/>
                      <a:pt x="0" y="20"/>
                    </a:cubicBezTo>
                    <a:cubicBezTo>
                      <a:pt x="7" y="8"/>
                      <a:pt x="16" y="0"/>
                      <a:pt x="36" y="0"/>
                    </a:cubicBezTo>
                    <a:cubicBezTo>
                      <a:pt x="55" y="0"/>
                      <a:pt x="64" y="11"/>
                      <a:pt x="79" y="11"/>
                    </a:cubicBezTo>
                    <a:cubicBezTo>
                      <a:pt x="82" y="11"/>
                      <a:pt x="86" y="16"/>
                      <a:pt x="86" y="17"/>
                    </a:cubicBezTo>
                    <a:cubicBezTo>
                      <a:pt x="93" y="23"/>
                      <a:pt x="104" y="28"/>
                      <a:pt x="114" y="28"/>
                    </a:cubicBezTo>
                    <a:cubicBezTo>
                      <a:pt x="114" y="28"/>
                      <a:pt x="113" y="30"/>
                      <a:pt x="114" y="31"/>
                    </a:cubicBezTo>
                    <a:cubicBezTo>
                      <a:pt x="120" y="31"/>
                      <a:pt x="120" y="31"/>
                      <a:pt x="120" y="31"/>
                    </a:cubicBezTo>
                    <a:cubicBezTo>
                      <a:pt x="125" y="32"/>
                      <a:pt x="127" y="39"/>
                      <a:pt x="131" y="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1" name="Freeform 41"/>
              <p:cNvSpPr>
                <a:spLocks/>
              </p:cNvSpPr>
              <p:nvPr/>
            </p:nvSpPr>
            <p:spPr bwMode="auto">
              <a:xfrm>
                <a:off x="2995613" y="2509838"/>
                <a:ext cx="9525" cy="11113"/>
              </a:xfrm>
              <a:custGeom>
                <a:avLst/>
                <a:gdLst/>
                <a:ahLst/>
                <a:cxnLst>
                  <a:cxn ang="0">
                    <a:pos x="6" y="0"/>
                  </a:cxn>
                  <a:cxn ang="0">
                    <a:pos x="6" y="7"/>
                  </a:cxn>
                  <a:cxn ang="0">
                    <a:pos x="0" y="7"/>
                  </a:cxn>
                  <a:cxn ang="0">
                    <a:pos x="4" y="3"/>
                  </a:cxn>
                  <a:cxn ang="0">
                    <a:pos x="4" y="0"/>
                  </a:cxn>
                  <a:cxn ang="0">
                    <a:pos x="5" y="0"/>
                  </a:cxn>
                  <a:cxn ang="0">
                    <a:pos x="6" y="0"/>
                  </a:cxn>
                </a:cxnLst>
                <a:rect l="0" t="0" r="r" b="b"/>
                <a:pathLst>
                  <a:path w="7" h="8">
                    <a:moveTo>
                      <a:pt x="6" y="0"/>
                    </a:moveTo>
                    <a:cubicBezTo>
                      <a:pt x="6" y="3"/>
                      <a:pt x="7" y="5"/>
                      <a:pt x="6" y="7"/>
                    </a:cubicBezTo>
                    <a:cubicBezTo>
                      <a:pt x="5" y="7"/>
                      <a:pt x="0" y="8"/>
                      <a:pt x="0" y="7"/>
                    </a:cubicBezTo>
                    <a:cubicBezTo>
                      <a:pt x="0" y="4"/>
                      <a:pt x="2" y="3"/>
                      <a:pt x="4" y="3"/>
                    </a:cubicBezTo>
                    <a:cubicBezTo>
                      <a:pt x="4" y="0"/>
                      <a:pt x="4" y="0"/>
                      <a:pt x="4" y="0"/>
                    </a:cubicBezTo>
                    <a:cubicBezTo>
                      <a:pt x="5" y="0"/>
                      <a:pt x="5" y="0"/>
                      <a:pt x="5" y="0"/>
                    </a:cubicBez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2" name="Freeform 42"/>
              <p:cNvSpPr>
                <a:spLocks/>
              </p:cNvSpPr>
              <p:nvPr/>
            </p:nvSpPr>
            <p:spPr bwMode="auto">
              <a:xfrm>
                <a:off x="3082925" y="2568575"/>
                <a:ext cx="28575" cy="14288"/>
              </a:xfrm>
              <a:custGeom>
                <a:avLst/>
                <a:gdLst/>
                <a:ahLst/>
                <a:cxnLst>
                  <a:cxn ang="0">
                    <a:pos x="18" y="3"/>
                  </a:cxn>
                  <a:cxn ang="0">
                    <a:pos x="22" y="7"/>
                  </a:cxn>
                  <a:cxn ang="0">
                    <a:pos x="7" y="10"/>
                  </a:cxn>
                  <a:cxn ang="0">
                    <a:pos x="0" y="3"/>
                  </a:cxn>
                  <a:cxn ang="0">
                    <a:pos x="5" y="0"/>
                  </a:cxn>
                  <a:cxn ang="0">
                    <a:pos x="19" y="4"/>
                  </a:cxn>
                  <a:cxn ang="0">
                    <a:pos x="18" y="3"/>
                  </a:cxn>
                </a:cxnLst>
                <a:rect l="0" t="0" r="r" b="b"/>
                <a:pathLst>
                  <a:path w="22" h="10">
                    <a:moveTo>
                      <a:pt x="18" y="3"/>
                    </a:moveTo>
                    <a:cubicBezTo>
                      <a:pt x="21" y="4"/>
                      <a:pt x="22" y="5"/>
                      <a:pt x="22" y="7"/>
                    </a:cubicBezTo>
                    <a:cubicBezTo>
                      <a:pt x="17" y="8"/>
                      <a:pt x="13" y="10"/>
                      <a:pt x="7" y="10"/>
                    </a:cubicBezTo>
                    <a:cubicBezTo>
                      <a:pt x="4" y="10"/>
                      <a:pt x="0" y="7"/>
                      <a:pt x="0" y="3"/>
                    </a:cubicBezTo>
                    <a:cubicBezTo>
                      <a:pt x="0" y="1"/>
                      <a:pt x="3" y="0"/>
                      <a:pt x="5" y="0"/>
                    </a:cubicBezTo>
                    <a:cubicBezTo>
                      <a:pt x="10" y="0"/>
                      <a:pt x="16" y="3"/>
                      <a:pt x="19" y="4"/>
                    </a:cubicBezTo>
                    <a:lnTo>
                      <a:pt x="18"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3" name="Freeform 43"/>
              <p:cNvSpPr>
                <a:spLocks/>
              </p:cNvSpPr>
              <p:nvPr/>
            </p:nvSpPr>
            <p:spPr bwMode="auto">
              <a:xfrm>
                <a:off x="3267075" y="2568575"/>
                <a:ext cx="23813" cy="9525"/>
              </a:xfrm>
              <a:custGeom>
                <a:avLst/>
                <a:gdLst/>
                <a:ahLst/>
                <a:cxnLst>
                  <a:cxn ang="0">
                    <a:pos x="18" y="4"/>
                  </a:cxn>
                  <a:cxn ang="0">
                    <a:pos x="11" y="7"/>
                  </a:cxn>
                  <a:cxn ang="0">
                    <a:pos x="0" y="2"/>
                  </a:cxn>
                  <a:cxn ang="0">
                    <a:pos x="5" y="0"/>
                  </a:cxn>
                  <a:cxn ang="0">
                    <a:pos x="18" y="4"/>
                  </a:cxn>
                </a:cxnLst>
                <a:rect l="0" t="0" r="r" b="b"/>
                <a:pathLst>
                  <a:path w="18" h="7">
                    <a:moveTo>
                      <a:pt x="18" y="4"/>
                    </a:moveTo>
                    <a:cubicBezTo>
                      <a:pt x="17" y="7"/>
                      <a:pt x="14" y="7"/>
                      <a:pt x="11" y="7"/>
                    </a:cubicBezTo>
                    <a:cubicBezTo>
                      <a:pt x="6" y="7"/>
                      <a:pt x="0" y="7"/>
                      <a:pt x="0" y="2"/>
                    </a:cubicBezTo>
                    <a:cubicBezTo>
                      <a:pt x="0" y="0"/>
                      <a:pt x="4" y="0"/>
                      <a:pt x="5" y="0"/>
                    </a:cubicBezTo>
                    <a:cubicBezTo>
                      <a:pt x="6" y="0"/>
                      <a:pt x="17" y="2"/>
                      <a:pt x="18"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4" name="Freeform 44"/>
              <p:cNvSpPr>
                <a:spLocks/>
              </p:cNvSpPr>
              <p:nvPr/>
            </p:nvSpPr>
            <p:spPr bwMode="auto">
              <a:xfrm>
                <a:off x="3146425" y="2543175"/>
                <a:ext cx="100013" cy="39688"/>
              </a:xfrm>
              <a:custGeom>
                <a:avLst/>
                <a:gdLst/>
                <a:ahLst/>
                <a:cxnLst>
                  <a:cxn ang="0">
                    <a:pos x="64" y="11"/>
                  </a:cxn>
                  <a:cxn ang="0">
                    <a:pos x="75" y="21"/>
                  </a:cxn>
                  <a:cxn ang="0">
                    <a:pos x="59" y="21"/>
                  </a:cxn>
                  <a:cxn ang="0">
                    <a:pos x="51" y="24"/>
                  </a:cxn>
                  <a:cxn ang="0">
                    <a:pos x="47" y="22"/>
                  </a:cxn>
                  <a:cxn ang="0">
                    <a:pos x="37" y="30"/>
                  </a:cxn>
                  <a:cxn ang="0">
                    <a:pos x="31" y="24"/>
                  </a:cxn>
                  <a:cxn ang="0">
                    <a:pos x="11" y="23"/>
                  </a:cxn>
                  <a:cxn ang="0">
                    <a:pos x="6" y="23"/>
                  </a:cxn>
                  <a:cxn ang="0">
                    <a:pos x="6" y="27"/>
                  </a:cxn>
                  <a:cxn ang="0">
                    <a:pos x="0" y="19"/>
                  </a:cxn>
                  <a:cxn ang="0">
                    <a:pos x="3" y="18"/>
                  </a:cxn>
                  <a:cxn ang="0">
                    <a:pos x="22" y="17"/>
                  </a:cxn>
                  <a:cxn ang="0">
                    <a:pos x="19" y="8"/>
                  </a:cxn>
                  <a:cxn ang="0">
                    <a:pos x="14" y="3"/>
                  </a:cxn>
                  <a:cxn ang="0">
                    <a:pos x="17" y="0"/>
                  </a:cxn>
                  <a:cxn ang="0">
                    <a:pos x="28" y="3"/>
                  </a:cxn>
                  <a:cxn ang="0">
                    <a:pos x="41" y="1"/>
                  </a:cxn>
                  <a:cxn ang="0">
                    <a:pos x="66" y="13"/>
                  </a:cxn>
                  <a:cxn ang="0">
                    <a:pos x="64" y="11"/>
                  </a:cxn>
                </a:cxnLst>
                <a:rect l="0" t="0" r="r" b="b"/>
                <a:pathLst>
                  <a:path w="75" h="30">
                    <a:moveTo>
                      <a:pt x="64" y="11"/>
                    </a:moveTo>
                    <a:cubicBezTo>
                      <a:pt x="68" y="15"/>
                      <a:pt x="72" y="16"/>
                      <a:pt x="75" y="21"/>
                    </a:cubicBezTo>
                    <a:cubicBezTo>
                      <a:pt x="59" y="21"/>
                      <a:pt x="59" y="21"/>
                      <a:pt x="59" y="21"/>
                    </a:cubicBezTo>
                    <a:cubicBezTo>
                      <a:pt x="56" y="23"/>
                      <a:pt x="54" y="24"/>
                      <a:pt x="51" y="24"/>
                    </a:cubicBezTo>
                    <a:cubicBezTo>
                      <a:pt x="49" y="24"/>
                      <a:pt x="49" y="22"/>
                      <a:pt x="47" y="22"/>
                    </a:cubicBezTo>
                    <a:cubicBezTo>
                      <a:pt x="41" y="22"/>
                      <a:pt x="41" y="30"/>
                      <a:pt x="37" y="30"/>
                    </a:cubicBezTo>
                    <a:cubicBezTo>
                      <a:pt x="33" y="30"/>
                      <a:pt x="34" y="26"/>
                      <a:pt x="31" y="24"/>
                    </a:cubicBezTo>
                    <a:cubicBezTo>
                      <a:pt x="27" y="22"/>
                      <a:pt x="17" y="23"/>
                      <a:pt x="11" y="23"/>
                    </a:cubicBezTo>
                    <a:cubicBezTo>
                      <a:pt x="8" y="23"/>
                      <a:pt x="8" y="24"/>
                      <a:pt x="6" y="23"/>
                    </a:cubicBezTo>
                    <a:cubicBezTo>
                      <a:pt x="6" y="24"/>
                      <a:pt x="6" y="25"/>
                      <a:pt x="6" y="27"/>
                    </a:cubicBezTo>
                    <a:cubicBezTo>
                      <a:pt x="3" y="26"/>
                      <a:pt x="0" y="22"/>
                      <a:pt x="0" y="19"/>
                    </a:cubicBezTo>
                    <a:cubicBezTo>
                      <a:pt x="1" y="19"/>
                      <a:pt x="2" y="18"/>
                      <a:pt x="3" y="18"/>
                    </a:cubicBezTo>
                    <a:cubicBezTo>
                      <a:pt x="13" y="18"/>
                      <a:pt x="17" y="20"/>
                      <a:pt x="22" y="17"/>
                    </a:cubicBezTo>
                    <a:cubicBezTo>
                      <a:pt x="20" y="15"/>
                      <a:pt x="19" y="12"/>
                      <a:pt x="19" y="8"/>
                    </a:cubicBezTo>
                    <a:cubicBezTo>
                      <a:pt x="17" y="8"/>
                      <a:pt x="14" y="6"/>
                      <a:pt x="14" y="3"/>
                    </a:cubicBezTo>
                    <a:cubicBezTo>
                      <a:pt x="14" y="2"/>
                      <a:pt x="16" y="0"/>
                      <a:pt x="17" y="0"/>
                    </a:cubicBezTo>
                    <a:cubicBezTo>
                      <a:pt x="21" y="0"/>
                      <a:pt x="24" y="3"/>
                      <a:pt x="28" y="3"/>
                    </a:cubicBezTo>
                    <a:cubicBezTo>
                      <a:pt x="34" y="3"/>
                      <a:pt x="36" y="1"/>
                      <a:pt x="41" y="1"/>
                    </a:cubicBezTo>
                    <a:cubicBezTo>
                      <a:pt x="55" y="1"/>
                      <a:pt x="58" y="9"/>
                      <a:pt x="66" y="13"/>
                    </a:cubicBezTo>
                    <a:lnTo>
                      <a:pt x="64"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5" name="Freeform 45"/>
              <p:cNvSpPr>
                <a:spLocks/>
              </p:cNvSpPr>
              <p:nvPr/>
            </p:nvSpPr>
            <p:spPr bwMode="auto">
              <a:xfrm>
                <a:off x="3076575" y="2455863"/>
                <a:ext cx="9525" cy="11113"/>
              </a:xfrm>
              <a:custGeom>
                <a:avLst/>
                <a:gdLst/>
                <a:ahLst/>
                <a:cxnLst>
                  <a:cxn ang="0">
                    <a:pos x="2" y="0"/>
                  </a:cxn>
                  <a:cxn ang="0">
                    <a:pos x="7" y="6"/>
                  </a:cxn>
                  <a:cxn ang="0">
                    <a:pos x="5" y="8"/>
                  </a:cxn>
                  <a:cxn ang="0">
                    <a:pos x="0" y="0"/>
                  </a:cxn>
                  <a:cxn ang="0">
                    <a:pos x="2" y="0"/>
                  </a:cxn>
                </a:cxnLst>
                <a:rect l="0" t="0" r="r" b="b"/>
                <a:pathLst>
                  <a:path w="7" h="8">
                    <a:moveTo>
                      <a:pt x="2" y="0"/>
                    </a:moveTo>
                    <a:cubicBezTo>
                      <a:pt x="6" y="0"/>
                      <a:pt x="7" y="3"/>
                      <a:pt x="7" y="6"/>
                    </a:cubicBezTo>
                    <a:cubicBezTo>
                      <a:pt x="7" y="7"/>
                      <a:pt x="6" y="8"/>
                      <a:pt x="5" y="8"/>
                    </a:cubicBezTo>
                    <a:cubicBezTo>
                      <a:pt x="0" y="8"/>
                      <a:pt x="0" y="3"/>
                      <a:pt x="0" y="0"/>
                    </a:cubicBezTo>
                    <a:cubicBezTo>
                      <a:pt x="0" y="0"/>
                      <a:pt x="2" y="0"/>
                      <a:pt x="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6" name="Freeform 46"/>
              <p:cNvSpPr>
                <a:spLocks/>
              </p:cNvSpPr>
              <p:nvPr/>
            </p:nvSpPr>
            <p:spPr bwMode="auto">
              <a:xfrm>
                <a:off x="3068638" y="2422525"/>
                <a:ext cx="14288" cy="4763"/>
              </a:xfrm>
              <a:custGeom>
                <a:avLst/>
                <a:gdLst/>
                <a:ahLst/>
                <a:cxnLst>
                  <a:cxn ang="0">
                    <a:pos x="0" y="3"/>
                  </a:cxn>
                  <a:cxn ang="0">
                    <a:pos x="6" y="0"/>
                  </a:cxn>
                  <a:cxn ang="0">
                    <a:pos x="11" y="3"/>
                  </a:cxn>
                  <a:cxn ang="0">
                    <a:pos x="0" y="3"/>
                  </a:cxn>
                </a:cxnLst>
                <a:rect l="0" t="0" r="r" b="b"/>
                <a:pathLst>
                  <a:path w="11" h="4">
                    <a:moveTo>
                      <a:pt x="0" y="3"/>
                    </a:moveTo>
                    <a:cubicBezTo>
                      <a:pt x="1" y="2"/>
                      <a:pt x="4" y="0"/>
                      <a:pt x="6" y="0"/>
                    </a:cubicBezTo>
                    <a:cubicBezTo>
                      <a:pt x="9" y="0"/>
                      <a:pt x="10" y="2"/>
                      <a:pt x="11" y="3"/>
                    </a:cubicBezTo>
                    <a:cubicBezTo>
                      <a:pt x="7" y="4"/>
                      <a:pt x="2" y="3"/>
                      <a:pt x="0"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7" name="Freeform 47"/>
              <p:cNvSpPr>
                <a:spLocks/>
              </p:cNvSpPr>
              <p:nvPr/>
            </p:nvSpPr>
            <p:spPr bwMode="auto">
              <a:xfrm>
                <a:off x="3094038" y="2428875"/>
                <a:ext cx="4763" cy="6350"/>
              </a:xfrm>
              <a:custGeom>
                <a:avLst/>
                <a:gdLst/>
                <a:ahLst/>
                <a:cxnLst>
                  <a:cxn ang="0">
                    <a:pos x="3" y="4"/>
                  </a:cxn>
                  <a:cxn ang="0">
                    <a:pos x="1" y="0"/>
                  </a:cxn>
                  <a:cxn ang="0">
                    <a:pos x="3" y="4"/>
                  </a:cxn>
                </a:cxnLst>
                <a:rect l="0" t="0" r="r" b="b"/>
                <a:pathLst>
                  <a:path w="3" h="4">
                    <a:moveTo>
                      <a:pt x="3" y="4"/>
                    </a:moveTo>
                    <a:cubicBezTo>
                      <a:pt x="2" y="4"/>
                      <a:pt x="0" y="1"/>
                      <a:pt x="1" y="0"/>
                    </a:cubicBezTo>
                    <a:lnTo>
                      <a:pt x="3"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8" name="Freeform 48"/>
              <p:cNvSpPr>
                <a:spLocks/>
              </p:cNvSpPr>
              <p:nvPr/>
            </p:nvSpPr>
            <p:spPr bwMode="auto">
              <a:xfrm>
                <a:off x="3154363" y="2517775"/>
                <a:ext cx="11113" cy="7938"/>
              </a:xfrm>
              <a:custGeom>
                <a:avLst/>
                <a:gdLst/>
                <a:ahLst/>
                <a:cxnLst>
                  <a:cxn ang="0">
                    <a:pos x="0" y="4"/>
                  </a:cxn>
                  <a:cxn ang="0">
                    <a:pos x="0" y="7"/>
                  </a:cxn>
                  <a:cxn ang="0">
                    <a:pos x="2" y="7"/>
                  </a:cxn>
                  <a:cxn ang="0">
                    <a:pos x="9" y="4"/>
                  </a:cxn>
                  <a:cxn ang="0">
                    <a:pos x="9" y="0"/>
                  </a:cxn>
                  <a:cxn ang="0">
                    <a:pos x="0" y="4"/>
                  </a:cxn>
                </a:cxnLst>
                <a:rect l="0" t="0" r="r" b="b"/>
                <a:pathLst>
                  <a:path w="9" h="7">
                    <a:moveTo>
                      <a:pt x="0" y="4"/>
                    </a:moveTo>
                    <a:cubicBezTo>
                      <a:pt x="0" y="5"/>
                      <a:pt x="0" y="6"/>
                      <a:pt x="0" y="7"/>
                    </a:cubicBezTo>
                    <a:cubicBezTo>
                      <a:pt x="0" y="7"/>
                      <a:pt x="1" y="7"/>
                      <a:pt x="2" y="7"/>
                    </a:cubicBezTo>
                    <a:cubicBezTo>
                      <a:pt x="4" y="7"/>
                      <a:pt x="7" y="6"/>
                      <a:pt x="9" y="4"/>
                    </a:cubicBezTo>
                    <a:cubicBezTo>
                      <a:pt x="9" y="0"/>
                      <a:pt x="9" y="0"/>
                      <a:pt x="9" y="0"/>
                    </a:cubicBezTo>
                    <a:cubicBezTo>
                      <a:pt x="7" y="3"/>
                      <a:pt x="4" y="5"/>
                      <a:pt x="0"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29" name="Freeform 49"/>
              <p:cNvSpPr>
                <a:spLocks/>
              </p:cNvSpPr>
              <p:nvPr/>
            </p:nvSpPr>
            <p:spPr bwMode="auto">
              <a:xfrm>
                <a:off x="2301875" y="1979613"/>
                <a:ext cx="966788" cy="473075"/>
              </a:xfrm>
              <a:custGeom>
                <a:avLst/>
                <a:gdLst/>
                <a:ahLst/>
                <a:cxnLst>
                  <a:cxn ang="0">
                    <a:pos x="543" y="285"/>
                  </a:cxn>
                  <a:cxn ang="0">
                    <a:pos x="555" y="317"/>
                  </a:cxn>
                  <a:cxn ang="0">
                    <a:pos x="560" y="338"/>
                  </a:cxn>
                  <a:cxn ang="0">
                    <a:pos x="542" y="345"/>
                  </a:cxn>
                  <a:cxn ang="0">
                    <a:pos x="507" y="287"/>
                  </a:cxn>
                  <a:cxn ang="0">
                    <a:pos x="474" y="283"/>
                  </a:cxn>
                  <a:cxn ang="0">
                    <a:pos x="460" y="283"/>
                  </a:cxn>
                  <a:cxn ang="0">
                    <a:pos x="443" y="286"/>
                  </a:cxn>
                  <a:cxn ang="0">
                    <a:pos x="412" y="292"/>
                  </a:cxn>
                  <a:cxn ang="0">
                    <a:pos x="393" y="291"/>
                  </a:cxn>
                  <a:cxn ang="0">
                    <a:pos x="357" y="309"/>
                  </a:cxn>
                  <a:cxn ang="0">
                    <a:pos x="343" y="342"/>
                  </a:cxn>
                  <a:cxn ang="0">
                    <a:pos x="282" y="290"/>
                  </a:cxn>
                  <a:cxn ang="0">
                    <a:pos x="246" y="281"/>
                  </a:cxn>
                  <a:cxn ang="0">
                    <a:pos x="207" y="262"/>
                  </a:cxn>
                  <a:cxn ang="0">
                    <a:pos x="170" y="268"/>
                  </a:cxn>
                  <a:cxn ang="0">
                    <a:pos x="95" y="252"/>
                  </a:cxn>
                  <a:cxn ang="0">
                    <a:pos x="47" y="214"/>
                  </a:cxn>
                  <a:cxn ang="0">
                    <a:pos x="4" y="141"/>
                  </a:cxn>
                  <a:cxn ang="0">
                    <a:pos x="4" y="95"/>
                  </a:cxn>
                  <a:cxn ang="0">
                    <a:pos x="0" y="23"/>
                  </a:cxn>
                  <a:cxn ang="0">
                    <a:pos x="20" y="27"/>
                  </a:cxn>
                  <a:cxn ang="0">
                    <a:pos x="20" y="5"/>
                  </a:cxn>
                  <a:cxn ang="0">
                    <a:pos x="373" y="0"/>
                  </a:cxn>
                  <a:cxn ang="0">
                    <a:pos x="406" y="11"/>
                  </a:cxn>
                  <a:cxn ang="0">
                    <a:pos x="408" y="45"/>
                  </a:cxn>
                  <a:cxn ang="0">
                    <a:pos x="423" y="42"/>
                  </a:cxn>
                  <a:cxn ang="0">
                    <a:pos x="441" y="40"/>
                  </a:cxn>
                  <a:cxn ang="0">
                    <a:pos x="456" y="42"/>
                  </a:cxn>
                  <a:cxn ang="0">
                    <a:pos x="472" y="47"/>
                  </a:cxn>
                  <a:cxn ang="0">
                    <a:pos x="510" y="48"/>
                  </a:cxn>
                  <a:cxn ang="0">
                    <a:pos x="490" y="54"/>
                  </a:cxn>
                  <a:cxn ang="0">
                    <a:pos x="472" y="69"/>
                  </a:cxn>
                  <a:cxn ang="0">
                    <a:pos x="471" y="121"/>
                  </a:cxn>
                  <a:cxn ang="0">
                    <a:pos x="480" y="88"/>
                  </a:cxn>
                  <a:cxn ang="0">
                    <a:pos x="501" y="57"/>
                  </a:cxn>
                  <a:cxn ang="0">
                    <a:pos x="516" y="87"/>
                  </a:cxn>
                  <a:cxn ang="0">
                    <a:pos x="531" y="97"/>
                  </a:cxn>
                  <a:cxn ang="0">
                    <a:pos x="527" y="123"/>
                  </a:cxn>
                  <a:cxn ang="0">
                    <a:pos x="564" y="97"/>
                  </a:cxn>
                  <a:cxn ang="0">
                    <a:pos x="610" y="84"/>
                  </a:cxn>
                  <a:cxn ang="0">
                    <a:pos x="653" y="65"/>
                  </a:cxn>
                  <a:cxn ang="0">
                    <a:pos x="675" y="63"/>
                  </a:cxn>
                  <a:cxn ang="0">
                    <a:pos x="699" y="28"/>
                  </a:cxn>
                  <a:cxn ang="0">
                    <a:pos x="726" y="73"/>
                  </a:cxn>
                  <a:cxn ang="0">
                    <a:pos x="701" y="80"/>
                  </a:cxn>
                  <a:cxn ang="0">
                    <a:pos x="681" y="113"/>
                  </a:cxn>
                  <a:cxn ang="0">
                    <a:pos x="690" y="118"/>
                  </a:cxn>
                  <a:cxn ang="0">
                    <a:pos x="676" y="122"/>
                  </a:cxn>
                  <a:cxn ang="0">
                    <a:pos x="648" y="132"/>
                  </a:cxn>
                  <a:cxn ang="0">
                    <a:pos x="642" y="134"/>
                  </a:cxn>
                  <a:cxn ang="0">
                    <a:pos x="635" y="137"/>
                  </a:cxn>
                  <a:cxn ang="0">
                    <a:pos x="627" y="161"/>
                  </a:cxn>
                  <a:cxn ang="0">
                    <a:pos x="622" y="159"/>
                  </a:cxn>
                  <a:cxn ang="0">
                    <a:pos x="615" y="186"/>
                  </a:cxn>
                  <a:cxn ang="0">
                    <a:pos x="614" y="178"/>
                  </a:cxn>
                  <a:cxn ang="0">
                    <a:pos x="608" y="170"/>
                  </a:cxn>
                  <a:cxn ang="0">
                    <a:pos x="611" y="192"/>
                  </a:cxn>
                  <a:cxn ang="0">
                    <a:pos x="614" y="196"/>
                  </a:cxn>
                  <a:cxn ang="0">
                    <a:pos x="614" y="205"/>
                  </a:cxn>
                  <a:cxn ang="0">
                    <a:pos x="607" y="213"/>
                  </a:cxn>
                  <a:cxn ang="0">
                    <a:pos x="607" y="221"/>
                  </a:cxn>
                  <a:cxn ang="0">
                    <a:pos x="589" y="232"/>
                  </a:cxn>
                </a:cxnLst>
                <a:rect l="0" t="0" r="r" b="b"/>
                <a:pathLst>
                  <a:path w="726" h="356">
                    <a:moveTo>
                      <a:pt x="590" y="233"/>
                    </a:moveTo>
                    <a:cubicBezTo>
                      <a:pt x="569" y="245"/>
                      <a:pt x="543" y="253"/>
                      <a:pt x="543" y="285"/>
                    </a:cubicBezTo>
                    <a:cubicBezTo>
                      <a:pt x="543" y="300"/>
                      <a:pt x="555" y="304"/>
                      <a:pt x="555" y="318"/>
                    </a:cubicBezTo>
                    <a:cubicBezTo>
                      <a:pt x="555" y="317"/>
                      <a:pt x="555" y="317"/>
                      <a:pt x="555" y="317"/>
                    </a:cubicBezTo>
                    <a:cubicBezTo>
                      <a:pt x="555" y="320"/>
                      <a:pt x="555" y="320"/>
                      <a:pt x="555" y="320"/>
                    </a:cubicBezTo>
                    <a:cubicBezTo>
                      <a:pt x="556" y="326"/>
                      <a:pt x="560" y="330"/>
                      <a:pt x="560" y="338"/>
                    </a:cubicBezTo>
                    <a:cubicBezTo>
                      <a:pt x="560" y="347"/>
                      <a:pt x="558" y="356"/>
                      <a:pt x="551" y="356"/>
                    </a:cubicBezTo>
                    <a:cubicBezTo>
                      <a:pt x="544" y="356"/>
                      <a:pt x="544" y="349"/>
                      <a:pt x="542" y="345"/>
                    </a:cubicBezTo>
                    <a:cubicBezTo>
                      <a:pt x="537" y="338"/>
                      <a:pt x="532" y="335"/>
                      <a:pt x="529" y="328"/>
                    </a:cubicBezTo>
                    <a:cubicBezTo>
                      <a:pt x="522" y="314"/>
                      <a:pt x="527" y="287"/>
                      <a:pt x="507" y="287"/>
                    </a:cubicBezTo>
                    <a:cubicBezTo>
                      <a:pt x="503" y="287"/>
                      <a:pt x="502" y="293"/>
                      <a:pt x="498" y="293"/>
                    </a:cubicBezTo>
                    <a:cubicBezTo>
                      <a:pt x="490" y="293"/>
                      <a:pt x="485" y="283"/>
                      <a:pt x="474" y="283"/>
                    </a:cubicBezTo>
                    <a:cubicBezTo>
                      <a:pt x="468" y="283"/>
                      <a:pt x="467" y="286"/>
                      <a:pt x="463" y="286"/>
                    </a:cubicBezTo>
                    <a:cubicBezTo>
                      <a:pt x="462" y="286"/>
                      <a:pt x="460" y="284"/>
                      <a:pt x="460" y="283"/>
                    </a:cubicBezTo>
                    <a:cubicBezTo>
                      <a:pt x="453" y="285"/>
                      <a:pt x="444" y="284"/>
                      <a:pt x="436" y="286"/>
                    </a:cubicBezTo>
                    <a:cubicBezTo>
                      <a:pt x="441" y="288"/>
                      <a:pt x="440" y="288"/>
                      <a:pt x="443" y="286"/>
                    </a:cubicBezTo>
                    <a:cubicBezTo>
                      <a:pt x="442" y="293"/>
                      <a:pt x="438" y="297"/>
                      <a:pt x="443" y="301"/>
                    </a:cubicBezTo>
                    <a:cubicBezTo>
                      <a:pt x="431" y="307"/>
                      <a:pt x="421" y="292"/>
                      <a:pt x="412" y="292"/>
                    </a:cubicBezTo>
                    <a:cubicBezTo>
                      <a:pt x="409" y="292"/>
                      <a:pt x="408" y="295"/>
                      <a:pt x="405" y="295"/>
                    </a:cubicBezTo>
                    <a:cubicBezTo>
                      <a:pt x="400" y="295"/>
                      <a:pt x="398" y="291"/>
                      <a:pt x="393" y="291"/>
                    </a:cubicBezTo>
                    <a:cubicBezTo>
                      <a:pt x="380" y="291"/>
                      <a:pt x="374" y="302"/>
                      <a:pt x="368" y="307"/>
                    </a:cubicBezTo>
                    <a:cubicBezTo>
                      <a:pt x="365" y="311"/>
                      <a:pt x="361" y="308"/>
                      <a:pt x="357" y="309"/>
                    </a:cubicBezTo>
                    <a:cubicBezTo>
                      <a:pt x="347" y="313"/>
                      <a:pt x="341" y="325"/>
                      <a:pt x="341" y="338"/>
                    </a:cubicBezTo>
                    <a:cubicBezTo>
                      <a:pt x="341" y="339"/>
                      <a:pt x="343" y="341"/>
                      <a:pt x="343" y="342"/>
                    </a:cubicBezTo>
                    <a:cubicBezTo>
                      <a:pt x="336" y="342"/>
                      <a:pt x="325" y="339"/>
                      <a:pt x="321" y="336"/>
                    </a:cubicBezTo>
                    <a:cubicBezTo>
                      <a:pt x="307" y="322"/>
                      <a:pt x="308" y="290"/>
                      <a:pt x="282" y="290"/>
                    </a:cubicBezTo>
                    <a:cubicBezTo>
                      <a:pt x="272" y="290"/>
                      <a:pt x="275" y="302"/>
                      <a:pt x="266" y="302"/>
                    </a:cubicBezTo>
                    <a:cubicBezTo>
                      <a:pt x="257" y="302"/>
                      <a:pt x="250" y="287"/>
                      <a:pt x="246" y="281"/>
                    </a:cubicBezTo>
                    <a:cubicBezTo>
                      <a:pt x="239" y="268"/>
                      <a:pt x="230" y="266"/>
                      <a:pt x="215" y="262"/>
                    </a:cubicBezTo>
                    <a:cubicBezTo>
                      <a:pt x="207" y="262"/>
                      <a:pt x="207" y="262"/>
                      <a:pt x="207" y="262"/>
                    </a:cubicBezTo>
                    <a:cubicBezTo>
                      <a:pt x="207" y="268"/>
                      <a:pt x="207" y="268"/>
                      <a:pt x="207" y="268"/>
                    </a:cubicBezTo>
                    <a:cubicBezTo>
                      <a:pt x="170" y="268"/>
                      <a:pt x="170" y="268"/>
                      <a:pt x="170" y="268"/>
                    </a:cubicBezTo>
                    <a:cubicBezTo>
                      <a:pt x="123" y="252"/>
                      <a:pt x="123" y="252"/>
                      <a:pt x="123" y="252"/>
                    </a:cubicBezTo>
                    <a:cubicBezTo>
                      <a:pt x="95" y="252"/>
                      <a:pt x="95" y="252"/>
                      <a:pt x="95" y="252"/>
                    </a:cubicBezTo>
                    <a:cubicBezTo>
                      <a:pt x="88" y="239"/>
                      <a:pt x="66" y="230"/>
                      <a:pt x="50" y="223"/>
                    </a:cubicBezTo>
                    <a:cubicBezTo>
                      <a:pt x="47" y="222"/>
                      <a:pt x="48" y="217"/>
                      <a:pt x="47" y="214"/>
                    </a:cubicBezTo>
                    <a:cubicBezTo>
                      <a:pt x="40" y="198"/>
                      <a:pt x="28" y="193"/>
                      <a:pt x="30" y="175"/>
                    </a:cubicBezTo>
                    <a:cubicBezTo>
                      <a:pt x="21" y="174"/>
                      <a:pt x="11" y="154"/>
                      <a:pt x="4" y="141"/>
                    </a:cubicBezTo>
                    <a:cubicBezTo>
                      <a:pt x="2" y="137"/>
                      <a:pt x="6" y="134"/>
                      <a:pt x="8" y="133"/>
                    </a:cubicBezTo>
                    <a:cubicBezTo>
                      <a:pt x="3" y="123"/>
                      <a:pt x="8" y="107"/>
                      <a:pt x="4" y="95"/>
                    </a:cubicBezTo>
                    <a:cubicBezTo>
                      <a:pt x="0" y="85"/>
                      <a:pt x="11" y="60"/>
                      <a:pt x="11" y="46"/>
                    </a:cubicBezTo>
                    <a:cubicBezTo>
                      <a:pt x="11" y="36"/>
                      <a:pt x="0" y="32"/>
                      <a:pt x="0" y="23"/>
                    </a:cubicBezTo>
                    <a:cubicBezTo>
                      <a:pt x="0" y="20"/>
                      <a:pt x="5" y="20"/>
                      <a:pt x="7" y="20"/>
                    </a:cubicBezTo>
                    <a:cubicBezTo>
                      <a:pt x="13" y="20"/>
                      <a:pt x="17" y="23"/>
                      <a:pt x="20" y="27"/>
                    </a:cubicBezTo>
                    <a:cubicBezTo>
                      <a:pt x="22" y="24"/>
                      <a:pt x="26" y="19"/>
                      <a:pt x="26" y="15"/>
                    </a:cubicBezTo>
                    <a:cubicBezTo>
                      <a:pt x="26" y="11"/>
                      <a:pt x="22" y="10"/>
                      <a:pt x="20" y="5"/>
                    </a:cubicBezTo>
                    <a:cubicBezTo>
                      <a:pt x="373" y="5"/>
                      <a:pt x="373" y="5"/>
                      <a:pt x="373" y="5"/>
                    </a:cubicBezTo>
                    <a:cubicBezTo>
                      <a:pt x="373" y="0"/>
                      <a:pt x="373" y="0"/>
                      <a:pt x="373" y="0"/>
                    </a:cubicBezTo>
                    <a:cubicBezTo>
                      <a:pt x="379" y="4"/>
                      <a:pt x="378" y="8"/>
                      <a:pt x="384" y="11"/>
                    </a:cubicBezTo>
                    <a:cubicBezTo>
                      <a:pt x="406" y="11"/>
                      <a:pt x="406" y="11"/>
                      <a:pt x="406" y="11"/>
                    </a:cubicBezTo>
                    <a:cubicBezTo>
                      <a:pt x="415" y="20"/>
                      <a:pt x="426" y="20"/>
                      <a:pt x="443" y="20"/>
                    </a:cubicBezTo>
                    <a:cubicBezTo>
                      <a:pt x="431" y="28"/>
                      <a:pt x="418" y="32"/>
                      <a:pt x="408" y="45"/>
                    </a:cubicBezTo>
                    <a:cubicBezTo>
                      <a:pt x="415" y="45"/>
                      <a:pt x="415" y="45"/>
                      <a:pt x="415" y="45"/>
                    </a:cubicBezTo>
                    <a:cubicBezTo>
                      <a:pt x="418" y="43"/>
                      <a:pt x="420" y="42"/>
                      <a:pt x="423" y="42"/>
                    </a:cubicBezTo>
                    <a:cubicBezTo>
                      <a:pt x="425" y="46"/>
                      <a:pt x="426" y="46"/>
                      <a:pt x="429" y="46"/>
                    </a:cubicBezTo>
                    <a:cubicBezTo>
                      <a:pt x="437" y="46"/>
                      <a:pt x="437" y="40"/>
                      <a:pt x="441" y="40"/>
                    </a:cubicBezTo>
                    <a:cubicBezTo>
                      <a:pt x="446" y="40"/>
                      <a:pt x="454" y="32"/>
                      <a:pt x="461" y="31"/>
                    </a:cubicBezTo>
                    <a:cubicBezTo>
                      <a:pt x="461" y="37"/>
                      <a:pt x="458" y="38"/>
                      <a:pt x="456" y="42"/>
                    </a:cubicBezTo>
                    <a:cubicBezTo>
                      <a:pt x="465" y="42"/>
                      <a:pt x="465" y="42"/>
                      <a:pt x="465" y="42"/>
                    </a:cubicBezTo>
                    <a:cubicBezTo>
                      <a:pt x="465" y="45"/>
                      <a:pt x="469" y="47"/>
                      <a:pt x="472" y="47"/>
                    </a:cubicBezTo>
                    <a:cubicBezTo>
                      <a:pt x="478" y="47"/>
                      <a:pt x="480" y="43"/>
                      <a:pt x="484" y="43"/>
                    </a:cubicBezTo>
                    <a:cubicBezTo>
                      <a:pt x="495" y="43"/>
                      <a:pt x="500" y="48"/>
                      <a:pt x="510" y="48"/>
                    </a:cubicBezTo>
                    <a:cubicBezTo>
                      <a:pt x="510" y="54"/>
                      <a:pt x="510" y="54"/>
                      <a:pt x="510" y="54"/>
                    </a:cubicBezTo>
                    <a:cubicBezTo>
                      <a:pt x="503" y="56"/>
                      <a:pt x="493" y="54"/>
                      <a:pt x="490" y="54"/>
                    </a:cubicBezTo>
                    <a:cubicBezTo>
                      <a:pt x="480" y="54"/>
                      <a:pt x="462" y="66"/>
                      <a:pt x="462" y="75"/>
                    </a:cubicBezTo>
                    <a:cubicBezTo>
                      <a:pt x="466" y="72"/>
                      <a:pt x="468" y="69"/>
                      <a:pt x="472" y="69"/>
                    </a:cubicBezTo>
                    <a:cubicBezTo>
                      <a:pt x="465" y="78"/>
                      <a:pt x="461" y="101"/>
                      <a:pt x="461" y="112"/>
                    </a:cubicBezTo>
                    <a:cubicBezTo>
                      <a:pt x="461" y="117"/>
                      <a:pt x="466" y="121"/>
                      <a:pt x="471" y="121"/>
                    </a:cubicBezTo>
                    <a:cubicBezTo>
                      <a:pt x="478" y="121"/>
                      <a:pt x="480" y="108"/>
                      <a:pt x="480" y="102"/>
                    </a:cubicBezTo>
                    <a:cubicBezTo>
                      <a:pt x="480" y="97"/>
                      <a:pt x="480" y="88"/>
                      <a:pt x="480" y="88"/>
                    </a:cubicBezTo>
                    <a:cubicBezTo>
                      <a:pt x="480" y="82"/>
                      <a:pt x="480" y="69"/>
                      <a:pt x="485" y="69"/>
                    </a:cubicBezTo>
                    <a:cubicBezTo>
                      <a:pt x="501" y="68"/>
                      <a:pt x="494" y="57"/>
                      <a:pt x="501" y="57"/>
                    </a:cubicBezTo>
                    <a:cubicBezTo>
                      <a:pt x="504" y="57"/>
                      <a:pt x="521" y="65"/>
                      <a:pt x="521" y="70"/>
                    </a:cubicBezTo>
                    <a:cubicBezTo>
                      <a:pt x="521" y="77"/>
                      <a:pt x="517" y="81"/>
                      <a:pt x="516" y="87"/>
                    </a:cubicBezTo>
                    <a:cubicBezTo>
                      <a:pt x="521" y="87"/>
                      <a:pt x="520" y="85"/>
                      <a:pt x="525" y="84"/>
                    </a:cubicBezTo>
                    <a:cubicBezTo>
                      <a:pt x="526" y="91"/>
                      <a:pt x="526" y="94"/>
                      <a:pt x="531" y="97"/>
                    </a:cubicBezTo>
                    <a:cubicBezTo>
                      <a:pt x="526" y="103"/>
                      <a:pt x="521" y="106"/>
                      <a:pt x="521" y="112"/>
                    </a:cubicBezTo>
                    <a:cubicBezTo>
                      <a:pt x="521" y="117"/>
                      <a:pt x="523" y="123"/>
                      <a:pt x="527" y="123"/>
                    </a:cubicBezTo>
                    <a:cubicBezTo>
                      <a:pt x="539" y="123"/>
                      <a:pt x="559" y="112"/>
                      <a:pt x="568" y="108"/>
                    </a:cubicBezTo>
                    <a:cubicBezTo>
                      <a:pt x="567" y="103"/>
                      <a:pt x="565" y="99"/>
                      <a:pt x="564" y="97"/>
                    </a:cubicBezTo>
                    <a:cubicBezTo>
                      <a:pt x="567" y="97"/>
                      <a:pt x="567" y="97"/>
                      <a:pt x="569" y="97"/>
                    </a:cubicBezTo>
                    <a:cubicBezTo>
                      <a:pt x="582" y="97"/>
                      <a:pt x="610" y="101"/>
                      <a:pt x="610" y="84"/>
                    </a:cubicBezTo>
                    <a:cubicBezTo>
                      <a:pt x="611" y="84"/>
                      <a:pt x="627" y="68"/>
                      <a:pt x="630" y="66"/>
                    </a:cubicBezTo>
                    <a:cubicBezTo>
                      <a:pt x="632" y="64"/>
                      <a:pt x="643" y="65"/>
                      <a:pt x="653" y="65"/>
                    </a:cubicBezTo>
                    <a:cubicBezTo>
                      <a:pt x="657" y="65"/>
                      <a:pt x="660" y="65"/>
                      <a:pt x="664" y="65"/>
                    </a:cubicBezTo>
                    <a:cubicBezTo>
                      <a:pt x="668" y="65"/>
                      <a:pt x="672" y="63"/>
                      <a:pt x="675" y="63"/>
                    </a:cubicBezTo>
                    <a:cubicBezTo>
                      <a:pt x="680" y="62"/>
                      <a:pt x="678" y="61"/>
                      <a:pt x="680" y="59"/>
                    </a:cubicBezTo>
                    <a:cubicBezTo>
                      <a:pt x="688" y="51"/>
                      <a:pt x="688" y="36"/>
                      <a:pt x="699" y="28"/>
                    </a:cubicBezTo>
                    <a:cubicBezTo>
                      <a:pt x="704" y="35"/>
                      <a:pt x="712" y="25"/>
                      <a:pt x="716" y="32"/>
                    </a:cubicBezTo>
                    <a:cubicBezTo>
                      <a:pt x="723" y="44"/>
                      <a:pt x="717" y="62"/>
                      <a:pt x="726" y="73"/>
                    </a:cubicBezTo>
                    <a:cubicBezTo>
                      <a:pt x="723" y="77"/>
                      <a:pt x="718" y="80"/>
                      <a:pt x="712" y="80"/>
                    </a:cubicBezTo>
                    <a:cubicBezTo>
                      <a:pt x="706" y="80"/>
                      <a:pt x="706" y="78"/>
                      <a:pt x="701" y="80"/>
                    </a:cubicBezTo>
                    <a:cubicBezTo>
                      <a:pt x="694" y="87"/>
                      <a:pt x="679" y="92"/>
                      <a:pt x="679" y="109"/>
                    </a:cubicBezTo>
                    <a:cubicBezTo>
                      <a:pt x="679" y="110"/>
                      <a:pt x="680" y="112"/>
                      <a:pt x="681" y="113"/>
                    </a:cubicBezTo>
                    <a:cubicBezTo>
                      <a:pt x="681" y="115"/>
                      <a:pt x="683" y="121"/>
                      <a:pt x="686" y="121"/>
                    </a:cubicBezTo>
                    <a:cubicBezTo>
                      <a:pt x="687" y="121"/>
                      <a:pt x="690" y="118"/>
                      <a:pt x="690" y="118"/>
                    </a:cubicBezTo>
                    <a:cubicBezTo>
                      <a:pt x="690" y="121"/>
                      <a:pt x="690" y="121"/>
                      <a:pt x="690" y="121"/>
                    </a:cubicBezTo>
                    <a:cubicBezTo>
                      <a:pt x="685" y="122"/>
                      <a:pt x="678" y="124"/>
                      <a:pt x="676" y="122"/>
                    </a:cubicBezTo>
                    <a:cubicBezTo>
                      <a:pt x="667" y="129"/>
                      <a:pt x="652" y="126"/>
                      <a:pt x="643" y="132"/>
                    </a:cubicBezTo>
                    <a:cubicBezTo>
                      <a:pt x="648" y="132"/>
                      <a:pt x="648" y="132"/>
                      <a:pt x="648" y="132"/>
                    </a:cubicBezTo>
                    <a:cubicBezTo>
                      <a:pt x="652" y="132"/>
                      <a:pt x="656" y="129"/>
                      <a:pt x="659" y="132"/>
                    </a:cubicBezTo>
                    <a:cubicBezTo>
                      <a:pt x="653" y="134"/>
                      <a:pt x="648" y="134"/>
                      <a:pt x="642" y="134"/>
                    </a:cubicBezTo>
                    <a:cubicBezTo>
                      <a:pt x="641" y="134"/>
                      <a:pt x="639" y="133"/>
                      <a:pt x="638" y="133"/>
                    </a:cubicBezTo>
                    <a:cubicBezTo>
                      <a:pt x="637" y="134"/>
                      <a:pt x="635" y="135"/>
                      <a:pt x="635" y="137"/>
                    </a:cubicBezTo>
                    <a:cubicBezTo>
                      <a:pt x="635" y="139"/>
                      <a:pt x="639" y="142"/>
                      <a:pt x="639" y="142"/>
                    </a:cubicBezTo>
                    <a:cubicBezTo>
                      <a:pt x="638" y="145"/>
                      <a:pt x="630" y="161"/>
                      <a:pt x="627" y="161"/>
                    </a:cubicBezTo>
                    <a:cubicBezTo>
                      <a:pt x="626" y="161"/>
                      <a:pt x="625" y="158"/>
                      <a:pt x="624" y="157"/>
                    </a:cubicBezTo>
                    <a:cubicBezTo>
                      <a:pt x="622" y="159"/>
                      <a:pt x="622" y="159"/>
                      <a:pt x="622" y="159"/>
                    </a:cubicBezTo>
                    <a:cubicBezTo>
                      <a:pt x="623" y="163"/>
                      <a:pt x="626" y="164"/>
                      <a:pt x="626" y="168"/>
                    </a:cubicBezTo>
                    <a:cubicBezTo>
                      <a:pt x="626" y="170"/>
                      <a:pt x="617" y="186"/>
                      <a:pt x="615" y="186"/>
                    </a:cubicBezTo>
                    <a:cubicBezTo>
                      <a:pt x="615" y="186"/>
                      <a:pt x="614" y="184"/>
                      <a:pt x="614" y="183"/>
                    </a:cubicBezTo>
                    <a:cubicBezTo>
                      <a:pt x="614" y="181"/>
                      <a:pt x="614" y="180"/>
                      <a:pt x="614" y="178"/>
                    </a:cubicBezTo>
                    <a:cubicBezTo>
                      <a:pt x="614" y="175"/>
                      <a:pt x="610" y="168"/>
                      <a:pt x="609" y="164"/>
                    </a:cubicBezTo>
                    <a:cubicBezTo>
                      <a:pt x="608" y="166"/>
                      <a:pt x="608" y="170"/>
                      <a:pt x="608" y="170"/>
                    </a:cubicBezTo>
                    <a:cubicBezTo>
                      <a:pt x="608" y="173"/>
                      <a:pt x="611" y="181"/>
                      <a:pt x="611" y="185"/>
                    </a:cubicBezTo>
                    <a:cubicBezTo>
                      <a:pt x="611" y="189"/>
                      <a:pt x="608" y="189"/>
                      <a:pt x="611" y="192"/>
                    </a:cubicBezTo>
                    <a:cubicBezTo>
                      <a:pt x="612" y="192"/>
                      <a:pt x="613" y="192"/>
                      <a:pt x="614" y="192"/>
                    </a:cubicBezTo>
                    <a:cubicBezTo>
                      <a:pt x="614" y="193"/>
                      <a:pt x="614" y="195"/>
                      <a:pt x="614" y="196"/>
                    </a:cubicBezTo>
                    <a:cubicBezTo>
                      <a:pt x="614" y="200"/>
                      <a:pt x="610" y="201"/>
                      <a:pt x="608" y="201"/>
                    </a:cubicBezTo>
                    <a:cubicBezTo>
                      <a:pt x="610" y="205"/>
                      <a:pt x="612" y="205"/>
                      <a:pt x="614" y="205"/>
                    </a:cubicBezTo>
                    <a:cubicBezTo>
                      <a:pt x="613" y="210"/>
                      <a:pt x="611" y="210"/>
                      <a:pt x="607" y="210"/>
                    </a:cubicBezTo>
                    <a:cubicBezTo>
                      <a:pt x="607" y="213"/>
                      <a:pt x="607" y="213"/>
                      <a:pt x="607" y="213"/>
                    </a:cubicBezTo>
                    <a:cubicBezTo>
                      <a:pt x="612" y="216"/>
                      <a:pt x="612" y="216"/>
                      <a:pt x="612" y="216"/>
                    </a:cubicBezTo>
                    <a:cubicBezTo>
                      <a:pt x="611" y="218"/>
                      <a:pt x="610" y="221"/>
                      <a:pt x="607" y="221"/>
                    </a:cubicBezTo>
                    <a:cubicBezTo>
                      <a:pt x="602" y="222"/>
                      <a:pt x="600" y="226"/>
                      <a:pt x="596" y="226"/>
                    </a:cubicBezTo>
                    <a:cubicBezTo>
                      <a:pt x="591" y="228"/>
                      <a:pt x="591" y="230"/>
                      <a:pt x="589" y="232"/>
                    </a:cubicBezTo>
                    <a:lnTo>
                      <a:pt x="590" y="2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0" name="Freeform 50"/>
              <p:cNvSpPr>
                <a:spLocks/>
              </p:cNvSpPr>
              <p:nvPr/>
            </p:nvSpPr>
            <p:spPr bwMode="auto">
              <a:xfrm>
                <a:off x="2030413" y="1400175"/>
                <a:ext cx="1425575" cy="736600"/>
              </a:xfrm>
              <a:custGeom>
                <a:avLst/>
                <a:gdLst/>
                <a:ahLst/>
                <a:cxnLst>
                  <a:cxn ang="0">
                    <a:pos x="950" y="501"/>
                  </a:cxn>
                  <a:cxn ang="0">
                    <a:pos x="950" y="527"/>
                  </a:cxn>
                  <a:cxn ang="0">
                    <a:pos x="955" y="469"/>
                  </a:cxn>
                  <a:cxn ang="0">
                    <a:pos x="944" y="436"/>
                  </a:cxn>
                  <a:cxn ang="0">
                    <a:pos x="982" y="418"/>
                  </a:cxn>
                  <a:cxn ang="0">
                    <a:pos x="1060" y="356"/>
                  </a:cxn>
                  <a:cxn ang="0">
                    <a:pos x="1050" y="346"/>
                  </a:cxn>
                  <a:cxn ang="0">
                    <a:pos x="991" y="310"/>
                  </a:cxn>
                  <a:cxn ang="0">
                    <a:pos x="965" y="247"/>
                  </a:cxn>
                  <a:cxn ang="0">
                    <a:pos x="908" y="267"/>
                  </a:cxn>
                  <a:cxn ang="0">
                    <a:pos x="831" y="204"/>
                  </a:cxn>
                  <a:cxn ang="0">
                    <a:pos x="794" y="247"/>
                  </a:cxn>
                  <a:cxn ang="0">
                    <a:pos x="783" y="387"/>
                  </a:cxn>
                  <a:cxn ang="0">
                    <a:pos x="726" y="334"/>
                  </a:cxn>
                  <a:cxn ang="0">
                    <a:pos x="607" y="306"/>
                  </a:cxn>
                  <a:cxn ang="0">
                    <a:pos x="595" y="216"/>
                  </a:cxn>
                  <a:cxn ang="0">
                    <a:pos x="633" y="178"/>
                  </a:cxn>
                  <a:cxn ang="0">
                    <a:pos x="675" y="146"/>
                  </a:cxn>
                  <a:cxn ang="0">
                    <a:pos x="686" y="127"/>
                  </a:cxn>
                  <a:cxn ang="0">
                    <a:pos x="722" y="120"/>
                  </a:cxn>
                  <a:cxn ang="0">
                    <a:pos x="746" y="61"/>
                  </a:cxn>
                  <a:cxn ang="0">
                    <a:pos x="702" y="67"/>
                  </a:cxn>
                  <a:cxn ang="0">
                    <a:pos x="665" y="74"/>
                  </a:cxn>
                  <a:cxn ang="0">
                    <a:pos x="625" y="55"/>
                  </a:cxn>
                  <a:cxn ang="0">
                    <a:pos x="574" y="0"/>
                  </a:cxn>
                  <a:cxn ang="0">
                    <a:pos x="555" y="38"/>
                  </a:cxn>
                  <a:cxn ang="0">
                    <a:pos x="567" y="98"/>
                  </a:cxn>
                  <a:cxn ang="0">
                    <a:pos x="492" y="92"/>
                  </a:cxn>
                  <a:cxn ang="0">
                    <a:pos x="430" y="75"/>
                  </a:cxn>
                  <a:cxn ang="0">
                    <a:pos x="387" y="89"/>
                  </a:cxn>
                  <a:cxn ang="0">
                    <a:pos x="333" y="81"/>
                  </a:cxn>
                  <a:cxn ang="0">
                    <a:pos x="202" y="42"/>
                  </a:cxn>
                  <a:cxn ang="0">
                    <a:pos x="138" y="40"/>
                  </a:cxn>
                  <a:cxn ang="0">
                    <a:pos x="61" y="70"/>
                  </a:cxn>
                  <a:cxn ang="0">
                    <a:pos x="0" y="242"/>
                  </a:cxn>
                  <a:cxn ang="0">
                    <a:pos x="67" y="253"/>
                  </a:cxn>
                  <a:cxn ang="0">
                    <a:pos x="124" y="316"/>
                  </a:cxn>
                  <a:cxn ang="0">
                    <a:pos x="136" y="366"/>
                  </a:cxn>
                  <a:cxn ang="0">
                    <a:pos x="181" y="413"/>
                  </a:cxn>
                  <a:cxn ang="0">
                    <a:pos x="224" y="440"/>
                  </a:cxn>
                  <a:cxn ang="0">
                    <a:pos x="610" y="446"/>
                  </a:cxn>
                  <a:cxn ang="0">
                    <a:pos x="676" y="453"/>
                  </a:cxn>
                  <a:cxn ang="0">
                    <a:pos x="705" y="477"/>
                  </a:cxn>
                  <a:cxn ang="0">
                    <a:pos x="759" y="512"/>
                  </a:cxn>
                  <a:cxn ang="0">
                    <a:pos x="732" y="553"/>
                  </a:cxn>
                  <a:cxn ang="0">
                    <a:pos x="772" y="543"/>
                  </a:cxn>
                  <a:cxn ang="0">
                    <a:pos x="814" y="519"/>
                  </a:cxn>
                  <a:cxn ang="0">
                    <a:pos x="879" y="498"/>
                  </a:cxn>
                  <a:cxn ang="0">
                    <a:pos x="928" y="505"/>
                  </a:cxn>
                </a:cxnLst>
                <a:rect l="0" t="0" r="r" b="b"/>
                <a:pathLst>
                  <a:path w="1071" h="553">
                    <a:moveTo>
                      <a:pt x="928" y="503"/>
                    </a:moveTo>
                    <a:cubicBezTo>
                      <a:pt x="928" y="502"/>
                      <a:pt x="928" y="502"/>
                      <a:pt x="928" y="502"/>
                    </a:cubicBezTo>
                    <a:cubicBezTo>
                      <a:pt x="928" y="502"/>
                      <a:pt x="931" y="502"/>
                      <a:pt x="932" y="502"/>
                    </a:cubicBezTo>
                    <a:cubicBezTo>
                      <a:pt x="935" y="502"/>
                      <a:pt x="946" y="504"/>
                      <a:pt x="950" y="501"/>
                    </a:cubicBezTo>
                    <a:cubicBezTo>
                      <a:pt x="954" y="498"/>
                      <a:pt x="954" y="493"/>
                      <a:pt x="960" y="492"/>
                    </a:cubicBezTo>
                    <a:cubicBezTo>
                      <a:pt x="960" y="498"/>
                      <a:pt x="960" y="499"/>
                      <a:pt x="967" y="499"/>
                    </a:cubicBezTo>
                    <a:cubicBezTo>
                      <a:pt x="957" y="500"/>
                      <a:pt x="941" y="507"/>
                      <a:pt x="941" y="516"/>
                    </a:cubicBezTo>
                    <a:cubicBezTo>
                      <a:pt x="941" y="520"/>
                      <a:pt x="947" y="527"/>
                      <a:pt x="950" y="527"/>
                    </a:cubicBezTo>
                    <a:cubicBezTo>
                      <a:pt x="953" y="527"/>
                      <a:pt x="961" y="516"/>
                      <a:pt x="970" y="513"/>
                    </a:cubicBezTo>
                    <a:cubicBezTo>
                      <a:pt x="972" y="513"/>
                      <a:pt x="1003" y="501"/>
                      <a:pt x="1003" y="497"/>
                    </a:cubicBezTo>
                    <a:cubicBezTo>
                      <a:pt x="1003" y="493"/>
                      <a:pt x="991" y="492"/>
                      <a:pt x="988" y="492"/>
                    </a:cubicBezTo>
                    <a:cubicBezTo>
                      <a:pt x="976" y="492"/>
                      <a:pt x="955" y="480"/>
                      <a:pt x="955" y="469"/>
                    </a:cubicBezTo>
                    <a:cubicBezTo>
                      <a:pt x="955" y="466"/>
                      <a:pt x="959" y="463"/>
                      <a:pt x="960" y="458"/>
                    </a:cubicBezTo>
                    <a:cubicBezTo>
                      <a:pt x="958" y="458"/>
                      <a:pt x="953" y="457"/>
                      <a:pt x="949" y="457"/>
                    </a:cubicBezTo>
                    <a:cubicBezTo>
                      <a:pt x="951" y="453"/>
                      <a:pt x="967" y="451"/>
                      <a:pt x="967" y="442"/>
                    </a:cubicBezTo>
                    <a:cubicBezTo>
                      <a:pt x="967" y="434"/>
                      <a:pt x="954" y="436"/>
                      <a:pt x="944" y="436"/>
                    </a:cubicBezTo>
                    <a:cubicBezTo>
                      <a:pt x="925" y="436"/>
                      <a:pt x="916" y="449"/>
                      <a:pt x="903" y="451"/>
                    </a:cubicBezTo>
                    <a:cubicBezTo>
                      <a:pt x="909" y="439"/>
                      <a:pt x="918" y="443"/>
                      <a:pt x="928" y="433"/>
                    </a:cubicBezTo>
                    <a:cubicBezTo>
                      <a:pt x="934" y="427"/>
                      <a:pt x="929" y="423"/>
                      <a:pt x="939" y="420"/>
                    </a:cubicBezTo>
                    <a:cubicBezTo>
                      <a:pt x="955" y="415"/>
                      <a:pt x="965" y="418"/>
                      <a:pt x="982" y="418"/>
                    </a:cubicBezTo>
                    <a:cubicBezTo>
                      <a:pt x="1004" y="418"/>
                      <a:pt x="1016" y="425"/>
                      <a:pt x="1029" y="408"/>
                    </a:cubicBezTo>
                    <a:cubicBezTo>
                      <a:pt x="1035" y="400"/>
                      <a:pt x="1071" y="398"/>
                      <a:pt x="1071" y="384"/>
                    </a:cubicBezTo>
                    <a:cubicBezTo>
                      <a:pt x="1071" y="374"/>
                      <a:pt x="1067" y="370"/>
                      <a:pt x="1063" y="363"/>
                    </a:cubicBezTo>
                    <a:cubicBezTo>
                      <a:pt x="1060" y="363"/>
                      <a:pt x="1065" y="359"/>
                      <a:pt x="1060" y="356"/>
                    </a:cubicBezTo>
                    <a:cubicBezTo>
                      <a:pt x="1060" y="351"/>
                      <a:pt x="1060" y="351"/>
                      <a:pt x="1060" y="351"/>
                    </a:cubicBezTo>
                    <a:cubicBezTo>
                      <a:pt x="1050" y="357"/>
                      <a:pt x="1029" y="364"/>
                      <a:pt x="1018" y="364"/>
                    </a:cubicBezTo>
                    <a:cubicBezTo>
                      <a:pt x="1017" y="364"/>
                      <a:pt x="1014" y="363"/>
                      <a:pt x="1014" y="362"/>
                    </a:cubicBezTo>
                    <a:cubicBezTo>
                      <a:pt x="1022" y="358"/>
                      <a:pt x="1047" y="354"/>
                      <a:pt x="1050" y="346"/>
                    </a:cubicBezTo>
                    <a:cubicBezTo>
                      <a:pt x="1050" y="344"/>
                      <a:pt x="1046" y="343"/>
                      <a:pt x="1046" y="341"/>
                    </a:cubicBezTo>
                    <a:cubicBezTo>
                      <a:pt x="1035" y="342"/>
                      <a:pt x="1013" y="337"/>
                      <a:pt x="1013" y="322"/>
                    </a:cubicBezTo>
                    <a:cubicBezTo>
                      <a:pt x="1013" y="321"/>
                      <a:pt x="1013" y="321"/>
                      <a:pt x="1013" y="321"/>
                    </a:cubicBezTo>
                    <a:cubicBezTo>
                      <a:pt x="1003" y="321"/>
                      <a:pt x="997" y="315"/>
                      <a:pt x="991" y="310"/>
                    </a:cubicBezTo>
                    <a:cubicBezTo>
                      <a:pt x="994" y="309"/>
                      <a:pt x="998" y="308"/>
                      <a:pt x="998" y="302"/>
                    </a:cubicBezTo>
                    <a:cubicBezTo>
                      <a:pt x="998" y="298"/>
                      <a:pt x="994" y="295"/>
                      <a:pt x="995" y="290"/>
                    </a:cubicBezTo>
                    <a:cubicBezTo>
                      <a:pt x="991" y="289"/>
                      <a:pt x="977" y="280"/>
                      <a:pt x="980" y="272"/>
                    </a:cubicBezTo>
                    <a:cubicBezTo>
                      <a:pt x="985" y="262"/>
                      <a:pt x="966" y="259"/>
                      <a:pt x="965" y="247"/>
                    </a:cubicBezTo>
                    <a:cubicBezTo>
                      <a:pt x="964" y="247"/>
                      <a:pt x="959" y="243"/>
                      <a:pt x="958" y="242"/>
                    </a:cubicBezTo>
                    <a:cubicBezTo>
                      <a:pt x="954" y="244"/>
                      <a:pt x="947" y="248"/>
                      <a:pt x="947" y="254"/>
                    </a:cubicBezTo>
                    <a:cubicBezTo>
                      <a:pt x="947" y="261"/>
                      <a:pt x="933" y="277"/>
                      <a:pt x="922" y="277"/>
                    </a:cubicBezTo>
                    <a:cubicBezTo>
                      <a:pt x="914" y="277"/>
                      <a:pt x="913" y="267"/>
                      <a:pt x="908" y="267"/>
                    </a:cubicBezTo>
                    <a:cubicBezTo>
                      <a:pt x="900" y="267"/>
                      <a:pt x="897" y="246"/>
                      <a:pt x="896" y="236"/>
                    </a:cubicBezTo>
                    <a:cubicBezTo>
                      <a:pt x="894" y="224"/>
                      <a:pt x="870" y="233"/>
                      <a:pt x="870" y="216"/>
                    </a:cubicBezTo>
                    <a:cubicBezTo>
                      <a:pt x="858" y="215"/>
                      <a:pt x="855" y="200"/>
                      <a:pt x="843" y="200"/>
                    </a:cubicBezTo>
                    <a:cubicBezTo>
                      <a:pt x="837" y="200"/>
                      <a:pt x="837" y="204"/>
                      <a:pt x="831" y="204"/>
                    </a:cubicBezTo>
                    <a:cubicBezTo>
                      <a:pt x="818" y="204"/>
                      <a:pt x="810" y="197"/>
                      <a:pt x="797" y="197"/>
                    </a:cubicBezTo>
                    <a:cubicBezTo>
                      <a:pt x="791" y="197"/>
                      <a:pt x="784" y="200"/>
                      <a:pt x="784" y="208"/>
                    </a:cubicBezTo>
                    <a:cubicBezTo>
                      <a:pt x="784" y="212"/>
                      <a:pt x="800" y="218"/>
                      <a:pt x="786" y="227"/>
                    </a:cubicBezTo>
                    <a:cubicBezTo>
                      <a:pt x="780" y="231"/>
                      <a:pt x="794" y="241"/>
                      <a:pt x="794" y="247"/>
                    </a:cubicBezTo>
                    <a:cubicBezTo>
                      <a:pt x="796" y="260"/>
                      <a:pt x="783" y="264"/>
                      <a:pt x="778" y="266"/>
                    </a:cubicBezTo>
                    <a:cubicBezTo>
                      <a:pt x="788" y="283"/>
                      <a:pt x="803" y="289"/>
                      <a:pt x="803" y="318"/>
                    </a:cubicBezTo>
                    <a:cubicBezTo>
                      <a:pt x="803" y="326"/>
                      <a:pt x="777" y="346"/>
                      <a:pt x="768" y="347"/>
                    </a:cubicBezTo>
                    <a:cubicBezTo>
                      <a:pt x="783" y="355"/>
                      <a:pt x="777" y="379"/>
                      <a:pt x="783" y="387"/>
                    </a:cubicBezTo>
                    <a:cubicBezTo>
                      <a:pt x="782" y="389"/>
                      <a:pt x="776" y="392"/>
                      <a:pt x="775" y="397"/>
                    </a:cubicBezTo>
                    <a:cubicBezTo>
                      <a:pt x="770" y="397"/>
                      <a:pt x="766" y="406"/>
                      <a:pt x="762" y="403"/>
                    </a:cubicBezTo>
                    <a:cubicBezTo>
                      <a:pt x="751" y="394"/>
                      <a:pt x="736" y="380"/>
                      <a:pt x="736" y="367"/>
                    </a:cubicBezTo>
                    <a:cubicBezTo>
                      <a:pt x="736" y="353"/>
                      <a:pt x="738" y="342"/>
                      <a:pt x="726" y="334"/>
                    </a:cubicBezTo>
                    <a:cubicBezTo>
                      <a:pt x="697" y="334"/>
                      <a:pt x="697" y="334"/>
                      <a:pt x="697" y="334"/>
                    </a:cubicBezTo>
                    <a:cubicBezTo>
                      <a:pt x="681" y="322"/>
                      <a:pt x="662" y="315"/>
                      <a:pt x="643" y="308"/>
                    </a:cubicBezTo>
                    <a:cubicBezTo>
                      <a:pt x="640" y="306"/>
                      <a:pt x="629" y="299"/>
                      <a:pt x="623" y="299"/>
                    </a:cubicBezTo>
                    <a:cubicBezTo>
                      <a:pt x="617" y="299"/>
                      <a:pt x="614" y="306"/>
                      <a:pt x="607" y="306"/>
                    </a:cubicBezTo>
                    <a:cubicBezTo>
                      <a:pt x="607" y="295"/>
                      <a:pt x="600" y="270"/>
                      <a:pt x="590" y="270"/>
                    </a:cubicBezTo>
                    <a:cubicBezTo>
                      <a:pt x="586" y="270"/>
                      <a:pt x="584" y="274"/>
                      <a:pt x="579" y="275"/>
                    </a:cubicBezTo>
                    <a:cubicBezTo>
                      <a:pt x="581" y="269"/>
                      <a:pt x="579" y="268"/>
                      <a:pt x="579" y="255"/>
                    </a:cubicBezTo>
                    <a:cubicBezTo>
                      <a:pt x="579" y="237"/>
                      <a:pt x="584" y="227"/>
                      <a:pt x="595" y="216"/>
                    </a:cubicBezTo>
                    <a:cubicBezTo>
                      <a:pt x="598" y="213"/>
                      <a:pt x="606" y="196"/>
                      <a:pt x="609" y="194"/>
                    </a:cubicBezTo>
                    <a:cubicBezTo>
                      <a:pt x="617" y="192"/>
                      <a:pt x="630" y="196"/>
                      <a:pt x="630" y="186"/>
                    </a:cubicBezTo>
                    <a:cubicBezTo>
                      <a:pt x="630" y="179"/>
                      <a:pt x="613" y="178"/>
                      <a:pt x="607" y="175"/>
                    </a:cubicBezTo>
                    <a:cubicBezTo>
                      <a:pt x="611" y="176"/>
                      <a:pt x="597" y="167"/>
                      <a:pt x="633" y="178"/>
                    </a:cubicBezTo>
                    <a:cubicBezTo>
                      <a:pt x="643" y="181"/>
                      <a:pt x="637" y="169"/>
                      <a:pt x="642" y="169"/>
                    </a:cubicBezTo>
                    <a:cubicBezTo>
                      <a:pt x="643" y="169"/>
                      <a:pt x="647" y="169"/>
                      <a:pt x="652" y="169"/>
                    </a:cubicBezTo>
                    <a:cubicBezTo>
                      <a:pt x="662" y="169"/>
                      <a:pt x="668" y="158"/>
                      <a:pt x="675" y="153"/>
                    </a:cubicBezTo>
                    <a:cubicBezTo>
                      <a:pt x="675" y="146"/>
                      <a:pt x="675" y="146"/>
                      <a:pt x="675" y="146"/>
                    </a:cubicBezTo>
                    <a:cubicBezTo>
                      <a:pt x="660" y="142"/>
                      <a:pt x="645" y="145"/>
                      <a:pt x="639" y="131"/>
                    </a:cubicBezTo>
                    <a:cubicBezTo>
                      <a:pt x="639" y="131"/>
                      <a:pt x="643" y="131"/>
                      <a:pt x="647" y="131"/>
                    </a:cubicBezTo>
                    <a:cubicBezTo>
                      <a:pt x="652" y="135"/>
                      <a:pt x="658" y="141"/>
                      <a:pt x="666" y="141"/>
                    </a:cubicBezTo>
                    <a:cubicBezTo>
                      <a:pt x="673" y="141"/>
                      <a:pt x="686" y="132"/>
                      <a:pt x="686" y="127"/>
                    </a:cubicBezTo>
                    <a:cubicBezTo>
                      <a:pt x="686" y="125"/>
                      <a:pt x="680" y="117"/>
                      <a:pt x="683" y="117"/>
                    </a:cubicBezTo>
                    <a:cubicBezTo>
                      <a:pt x="693" y="117"/>
                      <a:pt x="696" y="126"/>
                      <a:pt x="703" y="126"/>
                    </a:cubicBezTo>
                    <a:cubicBezTo>
                      <a:pt x="707" y="126"/>
                      <a:pt x="709" y="123"/>
                      <a:pt x="717" y="123"/>
                    </a:cubicBezTo>
                    <a:cubicBezTo>
                      <a:pt x="715" y="120"/>
                      <a:pt x="717" y="112"/>
                      <a:pt x="722" y="120"/>
                    </a:cubicBezTo>
                    <a:cubicBezTo>
                      <a:pt x="725" y="125"/>
                      <a:pt x="748" y="105"/>
                      <a:pt x="748" y="100"/>
                    </a:cubicBezTo>
                    <a:cubicBezTo>
                      <a:pt x="748" y="96"/>
                      <a:pt x="738" y="91"/>
                      <a:pt x="738" y="89"/>
                    </a:cubicBezTo>
                    <a:cubicBezTo>
                      <a:pt x="738" y="85"/>
                      <a:pt x="732" y="78"/>
                      <a:pt x="746" y="72"/>
                    </a:cubicBezTo>
                    <a:cubicBezTo>
                      <a:pt x="748" y="68"/>
                      <a:pt x="746" y="68"/>
                      <a:pt x="746" y="61"/>
                    </a:cubicBezTo>
                    <a:cubicBezTo>
                      <a:pt x="732" y="61"/>
                      <a:pt x="735" y="50"/>
                      <a:pt x="717" y="50"/>
                    </a:cubicBezTo>
                    <a:cubicBezTo>
                      <a:pt x="713" y="49"/>
                      <a:pt x="710" y="47"/>
                      <a:pt x="706" y="47"/>
                    </a:cubicBezTo>
                    <a:cubicBezTo>
                      <a:pt x="701" y="47"/>
                      <a:pt x="695" y="50"/>
                      <a:pt x="695" y="55"/>
                    </a:cubicBezTo>
                    <a:cubicBezTo>
                      <a:pt x="695" y="61"/>
                      <a:pt x="702" y="63"/>
                      <a:pt x="702" y="67"/>
                    </a:cubicBezTo>
                    <a:cubicBezTo>
                      <a:pt x="702" y="72"/>
                      <a:pt x="692" y="72"/>
                      <a:pt x="689" y="76"/>
                    </a:cubicBezTo>
                    <a:cubicBezTo>
                      <a:pt x="686" y="84"/>
                      <a:pt x="687" y="90"/>
                      <a:pt x="681" y="98"/>
                    </a:cubicBezTo>
                    <a:cubicBezTo>
                      <a:pt x="671" y="110"/>
                      <a:pt x="658" y="90"/>
                      <a:pt x="658" y="85"/>
                    </a:cubicBezTo>
                    <a:cubicBezTo>
                      <a:pt x="658" y="79"/>
                      <a:pt x="665" y="81"/>
                      <a:pt x="665" y="74"/>
                    </a:cubicBezTo>
                    <a:cubicBezTo>
                      <a:pt x="665" y="71"/>
                      <a:pt x="652" y="59"/>
                      <a:pt x="649" y="59"/>
                    </a:cubicBezTo>
                    <a:cubicBezTo>
                      <a:pt x="636" y="59"/>
                      <a:pt x="645" y="78"/>
                      <a:pt x="631" y="78"/>
                    </a:cubicBezTo>
                    <a:cubicBezTo>
                      <a:pt x="631" y="70"/>
                      <a:pt x="630" y="65"/>
                      <a:pt x="621" y="60"/>
                    </a:cubicBezTo>
                    <a:cubicBezTo>
                      <a:pt x="622" y="58"/>
                      <a:pt x="623" y="57"/>
                      <a:pt x="625" y="55"/>
                    </a:cubicBezTo>
                    <a:cubicBezTo>
                      <a:pt x="618" y="51"/>
                      <a:pt x="609" y="55"/>
                      <a:pt x="603" y="48"/>
                    </a:cubicBezTo>
                    <a:cubicBezTo>
                      <a:pt x="606" y="47"/>
                      <a:pt x="614" y="44"/>
                      <a:pt x="614" y="38"/>
                    </a:cubicBezTo>
                    <a:cubicBezTo>
                      <a:pt x="614" y="29"/>
                      <a:pt x="601" y="30"/>
                      <a:pt x="601" y="23"/>
                    </a:cubicBezTo>
                    <a:cubicBezTo>
                      <a:pt x="601" y="10"/>
                      <a:pt x="591" y="1"/>
                      <a:pt x="574" y="0"/>
                    </a:cubicBezTo>
                    <a:cubicBezTo>
                      <a:pt x="565" y="0"/>
                      <a:pt x="569" y="6"/>
                      <a:pt x="569" y="10"/>
                    </a:cubicBezTo>
                    <a:cubicBezTo>
                      <a:pt x="564" y="11"/>
                      <a:pt x="557" y="10"/>
                      <a:pt x="557" y="17"/>
                    </a:cubicBezTo>
                    <a:cubicBezTo>
                      <a:pt x="557" y="21"/>
                      <a:pt x="561" y="23"/>
                      <a:pt x="561" y="28"/>
                    </a:cubicBezTo>
                    <a:cubicBezTo>
                      <a:pt x="561" y="32"/>
                      <a:pt x="555" y="32"/>
                      <a:pt x="555" y="38"/>
                    </a:cubicBezTo>
                    <a:cubicBezTo>
                      <a:pt x="555" y="52"/>
                      <a:pt x="585" y="44"/>
                      <a:pt x="585" y="59"/>
                    </a:cubicBezTo>
                    <a:cubicBezTo>
                      <a:pt x="585" y="61"/>
                      <a:pt x="581" y="72"/>
                      <a:pt x="581" y="72"/>
                    </a:cubicBezTo>
                    <a:cubicBezTo>
                      <a:pt x="584" y="70"/>
                      <a:pt x="587" y="69"/>
                      <a:pt x="591" y="67"/>
                    </a:cubicBezTo>
                    <a:cubicBezTo>
                      <a:pt x="596" y="85"/>
                      <a:pt x="567" y="77"/>
                      <a:pt x="567" y="98"/>
                    </a:cubicBezTo>
                    <a:cubicBezTo>
                      <a:pt x="553" y="102"/>
                      <a:pt x="564" y="88"/>
                      <a:pt x="561" y="83"/>
                    </a:cubicBezTo>
                    <a:cubicBezTo>
                      <a:pt x="559" y="81"/>
                      <a:pt x="547" y="78"/>
                      <a:pt x="541" y="78"/>
                    </a:cubicBezTo>
                    <a:cubicBezTo>
                      <a:pt x="533" y="78"/>
                      <a:pt x="530" y="82"/>
                      <a:pt x="530" y="92"/>
                    </a:cubicBezTo>
                    <a:cubicBezTo>
                      <a:pt x="522" y="91"/>
                      <a:pt x="517" y="92"/>
                      <a:pt x="492" y="92"/>
                    </a:cubicBezTo>
                    <a:cubicBezTo>
                      <a:pt x="468" y="92"/>
                      <a:pt x="441" y="83"/>
                      <a:pt x="435" y="65"/>
                    </a:cubicBezTo>
                    <a:cubicBezTo>
                      <a:pt x="427" y="67"/>
                      <a:pt x="400" y="68"/>
                      <a:pt x="400" y="78"/>
                    </a:cubicBezTo>
                    <a:cubicBezTo>
                      <a:pt x="400" y="81"/>
                      <a:pt x="403" y="82"/>
                      <a:pt x="406" y="82"/>
                    </a:cubicBezTo>
                    <a:cubicBezTo>
                      <a:pt x="413" y="82"/>
                      <a:pt x="425" y="79"/>
                      <a:pt x="430" y="75"/>
                    </a:cubicBezTo>
                    <a:cubicBezTo>
                      <a:pt x="432" y="90"/>
                      <a:pt x="409" y="78"/>
                      <a:pt x="409" y="93"/>
                    </a:cubicBezTo>
                    <a:cubicBezTo>
                      <a:pt x="409" y="96"/>
                      <a:pt x="414" y="106"/>
                      <a:pt x="412" y="106"/>
                    </a:cubicBezTo>
                    <a:cubicBezTo>
                      <a:pt x="403" y="106"/>
                      <a:pt x="401" y="95"/>
                      <a:pt x="394" y="92"/>
                    </a:cubicBezTo>
                    <a:cubicBezTo>
                      <a:pt x="387" y="89"/>
                      <a:pt x="387" y="89"/>
                      <a:pt x="387" y="89"/>
                    </a:cubicBezTo>
                    <a:cubicBezTo>
                      <a:pt x="377" y="89"/>
                      <a:pt x="370" y="89"/>
                      <a:pt x="359" y="89"/>
                    </a:cubicBezTo>
                    <a:cubicBezTo>
                      <a:pt x="350" y="89"/>
                      <a:pt x="344" y="92"/>
                      <a:pt x="335" y="93"/>
                    </a:cubicBezTo>
                    <a:cubicBezTo>
                      <a:pt x="317" y="93"/>
                      <a:pt x="317" y="87"/>
                      <a:pt x="317" y="86"/>
                    </a:cubicBezTo>
                    <a:cubicBezTo>
                      <a:pt x="317" y="82"/>
                      <a:pt x="331" y="83"/>
                      <a:pt x="333" y="81"/>
                    </a:cubicBezTo>
                    <a:cubicBezTo>
                      <a:pt x="321" y="64"/>
                      <a:pt x="323" y="66"/>
                      <a:pt x="298" y="68"/>
                    </a:cubicBezTo>
                    <a:cubicBezTo>
                      <a:pt x="271" y="70"/>
                      <a:pt x="258" y="48"/>
                      <a:pt x="231" y="48"/>
                    </a:cubicBezTo>
                    <a:cubicBezTo>
                      <a:pt x="223" y="48"/>
                      <a:pt x="219" y="54"/>
                      <a:pt x="212" y="54"/>
                    </a:cubicBezTo>
                    <a:cubicBezTo>
                      <a:pt x="207" y="54"/>
                      <a:pt x="202" y="46"/>
                      <a:pt x="202" y="42"/>
                    </a:cubicBezTo>
                    <a:cubicBezTo>
                      <a:pt x="193" y="44"/>
                      <a:pt x="193" y="54"/>
                      <a:pt x="184" y="54"/>
                    </a:cubicBezTo>
                    <a:cubicBezTo>
                      <a:pt x="176" y="54"/>
                      <a:pt x="164" y="34"/>
                      <a:pt x="161" y="34"/>
                    </a:cubicBezTo>
                    <a:cubicBezTo>
                      <a:pt x="153" y="34"/>
                      <a:pt x="156" y="47"/>
                      <a:pt x="146" y="47"/>
                    </a:cubicBezTo>
                    <a:cubicBezTo>
                      <a:pt x="143" y="47"/>
                      <a:pt x="140" y="44"/>
                      <a:pt x="138" y="40"/>
                    </a:cubicBezTo>
                    <a:cubicBezTo>
                      <a:pt x="125" y="44"/>
                      <a:pt x="120" y="44"/>
                      <a:pt x="108" y="49"/>
                    </a:cubicBezTo>
                    <a:cubicBezTo>
                      <a:pt x="103" y="50"/>
                      <a:pt x="91" y="59"/>
                      <a:pt x="87" y="55"/>
                    </a:cubicBezTo>
                    <a:cubicBezTo>
                      <a:pt x="76" y="44"/>
                      <a:pt x="78" y="58"/>
                      <a:pt x="74" y="58"/>
                    </a:cubicBezTo>
                    <a:cubicBezTo>
                      <a:pt x="45" y="59"/>
                      <a:pt x="65" y="70"/>
                      <a:pt x="61" y="70"/>
                    </a:cubicBezTo>
                    <a:cubicBezTo>
                      <a:pt x="50" y="70"/>
                      <a:pt x="30" y="67"/>
                      <a:pt x="12" y="56"/>
                    </a:cubicBezTo>
                    <a:cubicBezTo>
                      <a:pt x="11" y="56"/>
                      <a:pt x="6" y="52"/>
                      <a:pt x="6" y="51"/>
                    </a:cubicBezTo>
                    <a:cubicBezTo>
                      <a:pt x="3" y="52"/>
                      <a:pt x="5" y="52"/>
                      <a:pt x="0" y="51"/>
                    </a:cubicBezTo>
                    <a:cubicBezTo>
                      <a:pt x="0" y="242"/>
                      <a:pt x="0" y="242"/>
                      <a:pt x="0" y="242"/>
                    </a:cubicBezTo>
                    <a:cubicBezTo>
                      <a:pt x="6" y="247"/>
                      <a:pt x="19" y="240"/>
                      <a:pt x="25" y="248"/>
                    </a:cubicBezTo>
                    <a:cubicBezTo>
                      <a:pt x="29" y="254"/>
                      <a:pt x="38" y="266"/>
                      <a:pt x="47" y="266"/>
                    </a:cubicBezTo>
                    <a:cubicBezTo>
                      <a:pt x="53" y="266"/>
                      <a:pt x="53" y="257"/>
                      <a:pt x="59" y="255"/>
                    </a:cubicBezTo>
                    <a:cubicBezTo>
                      <a:pt x="62" y="254"/>
                      <a:pt x="64" y="255"/>
                      <a:pt x="67" y="253"/>
                    </a:cubicBezTo>
                    <a:cubicBezTo>
                      <a:pt x="81" y="266"/>
                      <a:pt x="87" y="271"/>
                      <a:pt x="99" y="288"/>
                    </a:cubicBezTo>
                    <a:cubicBezTo>
                      <a:pt x="100" y="290"/>
                      <a:pt x="103" y="291"/>
                      <a:pt x="105" y="295"/>
                    </a:cubicBezTo>
                    <a:cubicBezTo>
                      <a:pt x="106" y="300"/>
                      <a:pt x="108" y="306"/>
                      <a:pt x="113" y="311"/>
                    </a:cubicBezTo>
                    <a:cubicBezTo>
                      <a:pt x="116" y="314"/>
                      <a:pt x="121" y="313"/>
                      <a:pt x="124" y="316"/>
                    </a:cubicBezTo>
                    <a:cubicBezTo>
                      <a:pt x="128" y="320"/>
                      <a:pt x="135" y="322"/>
                      <a:pt x="135" y="332"/>
                    </a:cubicBezTo>
                    <a:cubicBezTo>
                      <a:pt x="135" y="336"/>
                      <a:pt x="129" y="337"/>
                      <a:pt x="129" y="340"/>
                    </a:cubicBezTo>
                    <a:cubicBezTo>
                      <a:pt x="129" y="343"/>
                      <a:pt x="132" y="344"/>
                      <a:pt x="132" y="347"/>
                    </a:cubicBezTo>
                    <a:cubicBezTo>
                      <a:pt x="132" y="352"/>
                      <a:pt x="130" y="364"/>
                      <a:pt x="136" y="366"/>
                    </a:cubicBezTo>
                    <a:cubicBezTo>
                      <a:pt x="140" y="367"/>
                      <a:pt x="143" y="367"/>
                      <a:pt x="146" y="370"/>
                    </a:cubicBezTo>
                    <a:cubicBezTo>
                      <a:pt x="150" y="373"/>
                      <a:pt x="145" y="379"/>
                      <a:pt x="150" y="383"/>
                    </a:cubicBezTo>
                    <a:cubicBezTo>
                      <a:pt x="150" y="383"/>
                      <a:pt x="162" y="390"/>
                      <a:pt x="162" y="391"/>
                    </a:cubicBezTo>
                    <a:cubicBezTo>
                      <a:pt x="165" y="401"/>
                      <a:pt x="166" y="413"/>
                      <a:pt x="181" y="413"/>
                    </a:cubicBezTo>
                    <a:cubicBezTo>
                      <a:pt x="183" y="422"/>
                      <a:pt x="199" y="416"/>
                      <a:pt x="202" y="428"/>
                    </a:cubicBezTo>
                    <a:cubicBezTo>
                      <a:pt x="204" y="432"/>
                      <a:pt x="215" y="433"/>
                      <a:pt x="219" y="437"/>
                    </a:cubicBezTo>
                    <a:cubicBezTo>
                      <a:pt x="220" y="438"/>
                      <a:pt x="222" y="439"/>
                      <a:pt x="224" y="440"/>
                    </a:cubicBezTo>
                    <a:cubicBezTo>
                      <a:pt x="224" y="440"/>
                      <a:pt x="224" y="440"/>
                      <a:pt x="224" y="440"/>
                    </a:cubicBezTo>
                    <a:cubicBezTo>
                      <a:pt x="577" y="440"/>
                      <a:pt x="577" y="440"/>
                      <a:pt x="577" y="440"/>
                    </a:cubicBezTo>
                    <a:cubicBezTo>
                      <a:pt x="577" y="435"/>
                      <a:pt x="577" y="435"/>
                      <a:pt x="577" y="435"/>
                    </a:cubicBezTo>
                    <a:cubicBezTo>
                      <a:pt x="583" y="439"/>
                      <a:pt x="582" y="443"/>
                      <a:pt x="588" y="446"/>
                    </a:cubicBezTo>
                    <a:cubicBezTo>
                      <a:pt x="610" y="446"/>
                      <a:pt x="610" y="446"/>
                      <a:pt x="610" y="446"/>
                    </a:cubicBezTo>
                    <a:cubicBezTo>
                      <a:pt x="619" y="455"/>
                      <a:pt x="630" y="455"/>
                      <a:pt x="647" y="455"/>
                    </a:cubicBezTo>
                    <a:cubicBezTo>
                      <a:pt x="652" y="453"/>
                      <a:pt x="653" y="455"/>
                      <a:pt x="658" y="452"/>
                    </a:cubicBezTo>
                    <a:cubicBezTo>
                      <a:pt x="662" y="450"/>
                      <a:pt x="661" y="443"/>
                      <a:pt x="665" y="443"/>
                    </a:cubicBezTo>
                    <a:cubicBezTo>
                      <a:pt x="670" y="443"/>
                      <a:pt x="674" y="451"/>
                      <a:pt x="676" y="453"/>
                    </a:cubicBezTo>
                    <a:cubicBezTo>
                      <a:pt x="677" y="451"/>
                      <a:pt x="676" y="448"/>
                      <a:pt x="676" y="447"/>
                    </a:cubicBezTo>
                    <a:cubicBezTo>
                      <a:pt x="677" y="447"/>
                      <a:pt x="678" y="447"/>
                      <a:pt x="680" y="447"/>
                    </a:cubicBezTo>
                    <a:cubicBezTo>
                      <a:pt x="682" y="447"/>
                      <a:pt x="701" y="462"/>
                      <a:pt x="702" y="463"/>
                    </a:cubicBezTo>
                    <a:cubicBezTo>
                      <a:pt x="704" y="469"/>
                      <a:pt x="702" y="473"/>
                      <a:pt x="705" y="477"/>
                    </a:cubicBezTo>
                    <a:cubicBezTo>
                      <a:pt x="715" y="487"/>
                      <a:pt x="729" y="485"/>
                      <a:pt x="740" y="492"/>
                    </a:cubicBezTo>
                    <a:cubicBezTo>
                      <a:pt x="752" y="492"/>
                      <a:pt x="752" y="492"/>
                      <a:pt x="752" y="492"/>
                    </a:cubicBezTo>
                    <a:cubicBezTo>
                      <a:pt x="757" y="495"/>
                      <a:pt x="763" y="500"/>
                      <a:pt x="763" y="506"/>
                    </a:cubicBezTo>
                    <a:cubicBezTo>
                      <a:pt x="763" y="509"/>
                      <a:pt x="762" y="512"/>
                      <a:pt x="759" y="512"/>
                    </a:cubicBezTo>
                    <a:cubicBezTo>
                      <a:pt x="754" y="512"/>
                      <a:pt x="748" y="506"/>
                      <a:pt x="747" y="504"/>
                    </a:cubicBezTo>
                    <a:cubicBezTo>
                      <a:pt x="745" y="511"/>
                      <a:pt x="741" y="532"/>
                      <a:pt x="735" y="532"/>
                    </a:cubicBezTo>
                    <a:cubicBezTo>
                      <a:pt x="730" y="538"/>
                      <a:pt x="725" y="541"/>
                      <a:pt x="725" y="547"/>
                    </a:cubicBezTo>
                    <a:cubicBezTo>
                      <a:pt x="726" y="549"/>
                      <a:pt x="729" y="553"/>
                      <a:pt x="732" y="553"/>
                    </a:cubicBezTo>
                    <a:cubicBezTo>
                      <a:pt x="736" y="553"/>
                      <a:pt x="736" y="550"/>
                      <a:pt x="738" y="548"/>
                    </a:cubicBezTo>
                    <a:cubicBezTo>
                      <a:pt x="742" y="544"/>
                      <a:pt x="748" y="545"/>
                      <a:pt x="755" y="545"/>
                    </a:cubicBezTo>
                    <a:cubicBezTo>
                      <a:pt x="760" y="545"/>
                      <a:pt x="763" y="548"/>
                      <a:pt x="765" y="546"/>
                    </a:cubicBezTo>
                    <a:cubicBezTo>
                      <a:pt x="768" y="545"/>
                      <a:pt x="770" y="544"/>
                      <a:pt x="772" y="543"/>
                    </a:cubicBezTo>
                    <a:cubicBezTo>
                      <a:pt x="772" y="540"/>
                      <a:pt x="771" y="538"/>
                      <a:pt x="770" y="536"/>
                    </a:cubicBezTo>
                    <a:cubicBezTo>
                      <a:pt x="769" y="534"/>
                      <a:pt x="767" y="533"/>
                      <a:pt x="767" y="531"/>
                    </a:cubicBezTo>
                    <a:cubicBezTo>
                      <a:pt x="767" y="529"/>
                      <a:pt x="771" y="528"/>
                      <a:pt x="773" y="528"/>
                    </a:cubicBezTo>
                    <a:cubicBezTo>
                      <a:pt x="782" y="525"/>
                      <a:pt x="803" y="519"/>
                      <a:pt x="814" y="519"/>
                    </a:cubicBezTo>
                    <a:cubicBezTo>
                      <a:pt x="815" y="519"/>
                      <a:pt x="831" y="503"/>
                      <a:pt x="834" y="501"/>
                    </a:cubicBezTo>
                    <a:cubicBezTo>
                      <a:pt x="836" y="499"/>
                      <a:pt x="847" y="500"/>
                      <a:pt x="857" y="500"/>
                    </a:cubicBezTo>
                    <a:cubicBezTo>
                      <a:pt x="861" y="500"/>
                      <a:pt x="864" y="500"/>
                      <a:pt x="868" y="500"/>
                    </a:cubicBezTo>
                    <a:cubicBezTo>
                      <a:pt x="872" y="500"/>
                      <a:pt x="876" y="498"/>
                      <a:pt x="879" y="498"/>
                    </a:cubicBezTo>
                    <a:cubicBezTo>
                      <a:pt x="884" y="497"/>
                      <a:pt x="882" y="496"/>
                      <a:pt x="884" y="494"/>
                    </a:cubicBezTo>
                    <a:cubicBezTo>
                      <a:pt x="892" y="486"/>
                      <a:pt x="892" y="471"/>
                      <a:pt x="903" y="463"/>
                    </a:cubicBezTo>
                    <a:cubicBezTo>
                      <a:pt x="908" y="470"/>
                      <a:pt x="916" y="460"/>
                      <a:pt x="920" y="467"/>
                    </a:cubicBezTo>
                    <a:cubicBezTo>
                      <a:pt x="926" y="478"/>
                      <a:pt x="922" y="494"/>
                      <a:pt x="928" y="505"/>
                    </a:cubicBezTo>
                    <a:lnTo>
                      <a:pt x="928" y="5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1" name="Freeform 51"/>
              <p:cNvSpPr>
                <a:spLocks/>
              </p:cNvSpPr>
              <p:nvPr/>
            </p:nvSpPr>
            <p:spPr bwMode="auto">
              <a:xfrm>
                <a:off x="1585913" y="1417638"/>
                <a:ext cx="623888" cy="457200"/>
              </a:xfrm>
              <a:custGeom>
                <a:avLst/>
                <a:gdLst/>
                <a:ahLst/>
                <a:cxnLst>
                  <a:cxn ang="0">
                    <a:pos x="334" y="228"/>
                  </a:cxn>
                  <a:cxn ang="0">
                    <a:pos x="381" y="252"/>
                  </a:cxn>
                  <a:cxn ang="0">
                    <a:pos x="401" y="239"/>
                  </a:cxn>
                  <a:cxn ang="0">
                    <a:pos x="439" y="281"/>
                  </a:cxn>
                  <a:cxn ang="0">
                    <a:pos x="458" y="302"/>
                  </a:cxn>
                  <a:cxn ang="0">
                    <a:pos x="463" y="326"/>
                  </a:cxn>
                  <a:cxn ang="0">
                    <a:pos x="440" y="314"/>
                  </a:cxn>
                  <a:cxn ang="0">
                    <a:pos x="427" y="300"/>
                  </a:cxn>
                  <a:cxn ang="0">
                    <a:pos x="426" y="286"/>
                  </a:cxn>
                  <a:cxn ang="0">
                    <a:pos x="414" y="286"/>
                  </a:cxn>
                  <a:cxn ang="0">
                    <a:pos x="412" y="270"/>
                  </a:cxn>
                  <a:cxn ang="0">
                    <a:pos x="390" y="261"/>
                  </a:cxn>
                  <a:cxn ang="0">
                    <a:pos x="363" y="252"/>
                  </a:cxn>
                  <a:cxn ang="0">
                    <a:pos x="299" y="236"/>
                  </a:cxn>
                  <a:cxn ang="0">
                    <a:pos x="240" y="221"/>
                  </a:cxn>
                  <a:cxn ang="0">
                    <a:pos x="200" y="252"/>
                  </a:cxn>
                  <a:cxn ang="0">
                    <a:pos x="199" y="245"/>
                  </a:cxn>
                  <a:cxn ang="0">
                    <a:pos x="218" y="219"/>
                  </a:cxn>
                  <a:cxn ang="0">
                    <a:pos x="213" y="214"/>
                  </a:cxn>
                  <a:cxn ang="0">
                    <a:pos x="173" y="260"/>
                  </a:cxn>
                  <a:cxn ang="0">
                    <a:pos x="143" y="288"/>
                  </a:cxn>
                  <a:cxn ang="0">
                    <a:pos x="79" y="322"/>
                  </a:cxn>
                  <a:cxn ang="0">
                    <a:pos x="57" y="328"/>
                  </a:cxn>
                  <a:cxn ang="0">
                    <a:pos x="92" y="307"/>
                  </a:cxn>
                  <a:cxn ang="0">
                    <a:pos x="148" y="256"/>
                  </a:cxn>
                  <a:cxn ang="0">
                    <a:pos x="125" y="262"/>
                  </a:cxn>
                  <a:cxn ang="0">
                    <a:pos x="110" y="266"/>
                  </a:cxn>
                  <a:cxn ang="0">
                    <a:pos x="88" y="261"/>
                  </a:cxn>
                  <a:cxn ang="0">
                    <a:pos x="76" y="264"/>
                  </a:cxn>
                  <a:cxn ang="0">
                    <a:pos x="72" y="244"/>
                  </a:cxn>
                  <a:cxn ang="0">
                    <a:pos x="60" y="245"/>
                  </a:cxn>
                  <a:cxn ang="0">
                    <a:pos x="37" y="224"/>
                  </a:cxn>
                  <a:cxn ang="0">
                    <a:pos x="52" y="180"/>
                  </a:cxn>
                  <a:cxn ang="0">
                    <a:pos x="79" y="152"/>
                  </a:cxn>
                  <a:cxn ang="0">
                    <a:pos x="85" y="145"/>
                  </a:cxn>
                  <a:cxn ang="0">
                    <a:pos x="60" y="153"/>
                  </a:cxn>
                  <a:cxn ang="0">
                    <a:pos x="18" y="150"/>
                  </a:cxn>
                  <a:cxn ang="0">
                    <a:pos x="13" y="133"/>
                  </a:cxn>
                  <a:cxn ang="0">
                    <a:pos x="40" y="106"/>
                  </a:cxn>
                  <a:cxn ang="0">
                    <a:pos x="64" y="116"/>
                  </a:cxn>
                  <a:cxn ang="0">
                    <a:pos x="50" y="95"/>
                  </a:cxn>
                  <a:cxn ang="0">
                    <a:pos x="13" y="68"/>
                  </a:cxn>
                  <a:cxn ang="0">
                    <a:pos x="44" y="56"/>
                  </a:cxn>
                  <a:cxn ang="0">
                    <a:pos x="117" y="13"/>
                  </a:cxn>
                  <a:cxn ang="0">
                    <a:pos x="150" y="7"/>
                  </a:cxn>
                  <a:cxn ang="0">
                    <a:pos x="157" y="7"/>
                  </a:cxn>
                  <a:cxn ang="0">
                    <a:pos x="189" y="11"/>
                  </a:cxn>
                  <a:cxn ang="0">
                    <a:pos x="236" y="20"/>
                  </a:cxn>
                  <a:cxn ang="0">
                    <a:pos x="307" y="28"/>
                  </a:cxn>
                  <a:cxn ang="0">
                    <a:pos x="334" y="36"/>
                  </a:cxn>
                </a:cxnLst>
                <a:rect l="0" t="0" r="r" b="b"/>
                <a:pathLst>
                  <a:path w="469" h="343">
                    <a:moveTo>
                      <a:pt x="334" y="37"/>
                    </a:moveTo>
                    <a:cubicBezTo>
                      <a:pt x="334" y="228"/>
                      <a:pt x="334" y="228"/>
                      <a:pt x="334" y="228"/>
                    </a:cubicBezTo>
                    <a:cubicBezTo>
                      <a:pt x="340" y="233"/>
                      <a:pt x="353" y="226"/>
                      <a:pt x="359" y="234"/>
                    </a:cubicBezTo>
                    <a:cubicBezTo>
                      <a:pt x="363" y="240"/>
                      <a:pt x="372" y="252"/>
                      <a:pt x="381" y="252"/>
                    </a:cubicBezTo>
                    <a:cubicBezTo>
                      <a:pt x="387" y="252"/>
                      <a:pt x="387" y="243"/>
                      <a:pt x="393" y="241"/>
                    </a:cubicBezTo>
                    <a:cubicBezTo>
                      <a:pt x="396" y="240"/>
                      <a:pt x="398" y="241"/>
                      <a:pt x="401" y="239"/>
                    </a:cubicBezTo>
                    <a:cubicBezTo>
                      <a:pt x="415" y="252"/>
                      <a:pt x="421" y="257"/>
                      <a:pt x="433" y="274"/>
                    </a:cubicBezTo>
                    <a:cubicBezTo>
                      <a:pt x="434" y="276"/>
                      <a:pt x="437" y="277"/>
                      <a:pt x="439" y="281"/>
                    </a:cubicBezTo>
                    <a:cubicBezTo>
                      <a:pt x="440" y="286"/>
                      <a:pt x="442" y="292"/>
                      <a:pt x="447" y="297"/>
                    </a:cubicBezTo>
                    <a:cubicBezTo>
                      <a:pt x="450" y="300"/>
                      <a:pt x="455" y="299"/>
                      <a:pt x="458" y="302"/>
                    </a:cubicBezTo>
                    <a:cubicBezTo>
                      <a:pt x="462" y="306"/>
                      <a:pt x="469" y="308"/>
                      <a:pt x="469" y="318"/>
                    </a:cubicBezTo>
                    <a:cubicBezTo>
                      <a:pt x="469" y="322"/>
                      <a:pt x="463" y="323"/>
                      <a:pt x="463" y="326"/>
                    </a:cubicBezTo>
                    <a:cubicBezTo>
                      <a:pt x="461" y="326"/>
                      <a:pt x="461" y="327"/>
                      <a:pt x="459" y="327"/>
                    </a:cubicBezTo>
                    <a:cubicBezTo>
                      <a:pt x="451" y="327"/>
                      <a:pt x="440" y="318"/>
                      <a:pt x="440" y="314"/>
                    </a:cubicBezTo>
                    <a:cubicBezTo>
                      <a:pt x="440" y="310"/>
                      <a:pt x="440" y="311"/>
                      <a:pt x="440" y="307"/>
                    </a:cubicBezTo>
                    <a:cubicBezTo>
                      <a:pt x="440" y="300"/>
                      <a:pt x="435" y="300"/>
                      <a:pt x="427" y="300"/>
                    </a:cubicBezTo>
                    <a:cubicBezTo>
                      <a:pt x="421" y="300"/>
                      <a:pt x="419" y="296"/>
                      <a:pt x="419" y="294"/>
                    </a:cubicBezTo>
                    <a:cubicBezTo>
                      <a:pt x="419" y="290"/>
                      <a:pt x="426" y="290"/>
                      <a:pt x="426" y="286"/>
                    </a:cubicBezTo>
                    <a:cubicBezTo>
                      <a:pt x="426" y="283"/>
                      <a:pt x="426" y="281"/>
                      <a:pt x="426" y="281"/>
                    </a:cubicBezTo>
                    <a:cubicBezTo>
                      <a:pt x="417" y="281"/>
                      <a:pt x="420" y="286"/>
                      <a:pt x="414" y="286"/>
                    </a:cubicBezTo>
                    <a:cubicBezTo>
                      <a:pt x="412" y="286"/>
                      <a:pt x="407" y="282"/>
                      <a:pt x="407" y="280"/>
                    </a:cubicBezTo>
                    <a:cubicBezTo>
                      <a:pt x="407" y="274"/>
                      <a:pt x="410" y="273"/>
                      <a:pt x="412" y="270"/>
                    </a:cubicBezTo>
                    <a:cubicBezTo>
                      <a:pt x="409" y="268"/>
                      <a:pt x="405" y="264"/>
                      <a:pt x="404" y="267"/>
                    </a:cubicBezTo>
                    <a:cubicBezTo>
                      <a:pt x="397" y="267"/>
                      <a:pt x="394" y="264"/>
                      <a:pt x="390" y="261"/>
                    </a:cubicBezTo>
                    <a:cubicBezTo>
                      <a:pt x="389" y="264"/>
                      <a:pt x="387" y="269"/>
                      <a:pt x="384" y="269"/>
                    </a:cubicBezTo>
                    <a:cubicBezTo>
                      <a:pt x="375" y="269"/>
                      <a:pt x="368" y="256"/>
                      <a:pt x="363" y="252"/>
                    </a:cubicBezTo>
                    <a:cubicBezTo>
                      <a:pt x="352" y="243"/>
                      <a:pt x="337" y="244"/>
                      <a:pt x="323" y="236"/>
                    </a:cubicBezTo>
                    <a:cubicBezTo>
                      <a:pt x="299" y="236"/>
                      <a:pt x="299" y="236"/>
                      <a:pt x="299" y="236"/>
                    </a:cubicBezTo>
                    <a:cubicBezTo>
                      <a:pt x="285" y="232"/>
                      <a:pt x="265" y="230"/>
                      <a:pt x="258" y="214"/>
                    </a:cubicBezTo>
                    <a:cubicBezTo>
                      <a:pt x="252" y="217"/>
                      <a:pt x="244" y="219"/>
                      <a:pt x="240" y="221"/>
                    </a:cubicBezTo>
                    <a:cubicBezTo>
                      <a:pt x="241" y="224"/>
                      <a:pt x="242" y="225"/>
                      <a:pt x="244" y="227"/>
                    </a:cubicBezTo>
                    <a:cubicBezTo>
                      <a:pt x="238" y="236"/>
                      <a:pt x="210" y="252"/>
                      <a:pt x="200" y="252"/>
                    </a:cubicBezTo>
                    <a:cubicBezTo>
                      <a:pt x="198" y="252"/>
                      <a:pt x="195" y="251"/>
                      <a:pt x="195" y="249"/>
                    </a:cubicBezTo>
                    <a:cubicBezTo>
                      <a:pt x="195" y="246"/>
                      <a:pt x="198" y="246"/>
                      <a:pt x="199" y="245"/>
                    </a:cubicBezTo>
                    <a:cubicBezTo>
                      <a:pt x="197" y="242"/>
                      <a:pt x="199" y="242"/>
                      <a:pt x="199" y="240"/>
                    </a:cubicBezTo>
                    <a:cubicBezTo>
                      <a:pt x="199" y="230"/>
                      <a:pt x="205" y="223"/>
                      <a:pt x="218" y="219"/>
                    </a:cubicBezTo>
                    <a:cubicBezTo>
                      <a:pt x="218" y="217"/>
                      <a:pt x="218" y="216"/>
                      <a:pt x="218" y="214"/>
                    </a:cubicBezTo>
                    <a:cubicBezTo>
                      <a:pt x="214" y="214"/>
                      <a:pt x="215" y="214"/>
                      <a:pt x="213" y="214"/>
                    </a:cubicBezTo>
                    <a:cubicBezTo>
                      <a:pt x="203" y="214"/>
                      <a:pt x="173" y="239"/>
                      <a:pt x="173" y="253"/>
                    </a:cubicBezTo>
                    <a:cubicBezTo>
                      <a:pt x="173" y="255"/>
                      <a:pt x="173" y="258"/>
                      <a:pt x="173" y="260"/>
                    </a:cubicBezTo>
                    <a:cubicBezTo>
                      <a:pt x="173" y="270"/>
                      <a:pt x="164" y="273"/>
                      <a:pt x="154" y="277"/>
                    </a:cubicBezTo>
                    <a:cubicBezTo>
                      <a:pt x="148" y="280"/>
                      <a:pt x="146" y="284"/>
                      <a:pt x="143" y="288"/>
                    </a:cubicBezTo>
                    <a:cubicBezTo>
                      <a:pt x="136" y="297"/>
                      <a:pt x="121" y="301"/>
                      <a:pt x="114" y="308"/>
                    </a:cubicBezTo>
                    <a:cubicBezTo>
                      <a:pt x="107" y="315"/>
                      <a:pt x="91" y="320"/>
                      <a:pt x="79" y="322"/>
                    </a:cubicBezTo>
                    <a:cubicBezTo>
                      <a:pt x="63" y="324"/>
                      <a:pt x="54" y="343"/>
                      <a:pt x="35" y="337"/>
                    </a:cubicBezTo>
                    <a:cubicBezTo>
                      <a:pt x="41" y="329"/>
                      <a:pt x="49" y="333"/>
                      <a:pt x="57" y="328"/>
                    </a:cubicBezTo>
                    <a:cubicBezTo>
                      <a:pt x="62" y="325"/>
                      <a:pt x="66" y="316"/>
                      <a:pt x="71" y="314"/>
                    </a:cubicBezTo>
                    <a:cubicBezTo>
                      <a:pt x="78" y="309"/>
                      <a:pt x="87" y="314"/>
                      <a:pt x="92" y="307"/>
                    </a:cubicBezTo>
                    <a:cubicBezTo>
                      <a:pt x="99" y="297"/>
                      <a:pt x="117" y="290"/>
                      <a:pt x="127" y="283"/>
                    </a:cubicBezTo>
                    <a:cubicBezTo>
                      <a:pt x="137" y="276"/>
                      <a:pt x="137" y="263"/>
                      <a:pt x="148" y="256"/>
                    </a:cubicBezTo>
                    <a:cubicBezTo>
                      <a:pt x="141" y="256"/>
                      <a:pt x="141" y="256"/>
                      <a:pt x="141" y="256"/>
                    </a:cubicBezTo>
                    <a:cubicBezTo>
                      <a:pt x="135" y="259"/>
                      <a:pt x="132" y="262"/>
                      <a:pt x="125" y="262"/>
                    </a:cubicBezTo>
                    <a:cubicBezTo>
                      <a:pt x="120" y="262"/>
                      <a:pt x="117" y="260"/>
                      <a:pt x="113" y="258"/>
                    </a:cubicBezTo>
                    <a:cubicBezTo>
                      <a:pt x="112" y="262"/>
                      <a:pt x="110" y="263"/>
                      <a:pt x="110" y="266"/>
                    </a:cubicBezTo>
                    <a:cubicBezTo>
                      <a:pt x="99" y="262"/>
                      <a:pt x="96" y="260"/>
                      <a:pt x="89" y="254"/>
                    </a:cubicBezTo>
                    <a:cubicBezTo>
                      <a:pt x="88" y="257"/>
                      <a:pt x="88" y="259"/>
                      <a:pt x="88" y="261"/>
                    </a:cubicBezTo>
                    <a:cubicBezTo>
                      <a:pt x="84" y="261"/>
                      <a:pt x="85" y="261"/>
                      <a:pt x="83" y="261"/>
                    </a:cubicBezTo>
                    <a:cubicBezTo>
                      <a:pt x="80" y="261"/>
                      <a:pt x="78" y="264"/>
                      <a:pt x="76" y="264"/>
                    </a:cubicBezTo>
                    <a:cubicBezTo>
                      <a:pt x="74" y="264"/>
                      <a:pt x="72" y="257"/>
                      <a:pt x="72" y="253"/>
                    </a:cubicBezTo>
                    <a:cubicBezTo>
                      <a:pt x="72" y="248"/>
                      <a:pt x="72" y="248"/>
                      <a:pt x="72" y="244"/>
                    </a:cubicBezTo>
                    <a:cubicBezTo>
                      <a:pt x="72" y="243"/>
                      <a:pt x="72" y="238"/>
                      <a:pt x="68" y="238"/>
                    </a:cubicBezTo>
                    <a:cubicBezTo>
                      <a:pt x="65" y="238"/>
                      <a:pt x="61" y="245"/>
                      <a:pt x="60" y="245"/>
                    </a:cubicBezTo>
                    <a:cubicBezTo>
                      <a:pt x="54" y="245"/>
                      <a:pt x="33" y="229"/>
                      <a:pt x="30" y="225"/>
                    </a:cubicBezTo>
                    <a:cubicBezTo>
                      <a:pt x="32" y="225"/>
                      <a:pt x="35" y="224"/>
                      <a:pt x="37" y="224"/>
                    </a:cubicBezTo>
                    <a:cubicBezTo>
                      <a:pt x="33" y="214"/>
                      <a:pt x="19" y="212"/>
                      <a:pt x="19" y="205"/>
                    </a:cubicBezTo>
                    <a:cubicBezTo>
                      <a:pt x="19" y="191"/>
                      <a:pt x="43" y="180"/>
                      <a:pt x="52" y="180"/>
                    </a:cubicBezTo>
                    <a:cubicBezTo>
                      <a:pt x="56" y="180"/>
                      <a:pt x="86" y="169"/>
                      <a:pt x="86" y="163"/>
                    </a:cubicBezTo>
                    <a:cubicBezTo>
                      <a:pt x="86" y="160"/>
                      <a:pt x="79" y="153"/>
                      <a:pt x="79" y="152"/>
                    </a:cubicBezTo>
                    <a:cubicBezTo>
                      <a:pt x="83" y="150"/>
                      <a:pt x="82" y="150"/>
                      <a:pt x="85" y="152"/>
                    </a:cubicBezTo>
                    <a:cubicBezTo>
                      <a:pt x="85" y="145"/>
                      <a:pt x="85" y="145"/>
                      <a:pt x="85" y="145"/>
                    </a:cubicBezTo>
                    <a:cubicBezTo>
                      <a:pt x="81" y="145"/>
                      <a:pt x="81" y="145"/>
                      <a:pt x="79" y="145"/>
                    </a:cubicBezTo>
                    <a:cubicBezTo>
                      <a:pt x="72" y="145"/>
                      <a:pt x="69" y="153"/>
                      <a:pt x="60" y="153"/>
                    </a:cubicBezTo>
                    <a:cubicBezTo>
                      <a:pt x="51" y="153"/>
                      <a:pt x="48" y="148"/>
                      <a:pt x="41" y="150"/>
                    </a:cubicBezTo>
                    <a:cubicBezTo>
                      <a:pt x="32" y="150"/>
                      <a:pt x="21" y="150"/>
                      <a:pt x="18" y="150"/>
                    </a:cubicBezTo>
                    <a:cubicBezTo>
                      <a:pt x="17" y="143"/>
                      <a:pt x="12" y="141"/>
                      <a:pt x="12" y="137"/>
                    </a:cubicBezTo>
                    <a:cubicBezTo>
                      <a:pt x="12" y="136"/>
                      <a:pt x="13" y="134"/>
                      <a:pt x="13" y="133"/>
                    </a:cubicBezTo>
                    <a:cubicBezTo>
                      <a:pt x="6" y="133"/>
                      <a:pt x="2" y="130"/>
                      <a:pt x="0" y="126"/>
                    </a:cubicBezTo>
                    <a:cubicBezTo>
                      <a:pt x="11" y="119"/>
                      <a:pt x="29" y="113"/>
                      <a:pt x="40" y="106"/>
                    </a:cubicBezTo>
                    <a:cubicBezTo>
                      <a:pt x="48" y="106"/>
                      <a:pt x="48" y="106"/>
                      <a:pt x="48" y="106"/>
                    </a:cubicBezTo>
                    <a:cubicBezTo>
                      <a:pt x="48" y="120"/>
                      <a:pt x="55" y="116"/>
                      <a:pt x="64" y="116"/>
                    </a:cubicBezTo>
                    <a:cubicBezTo>
                      <a:pt x="70" y="116"/>
                      <a:pt x="71" y="118"/>
                      <a:pt x="76" y="116"/>
                    </a:cubicBezTo>
                    <a:cubicBezTo>
                      <a:pt x="72" y="102"/>
                      <a:pt x="63" y="101"/>
                      <a:pt x="50" y="95"/>
                    </a:cubicBezTo>
                    <a:cubicBezTo>
                      <a:pt x="46" y="94"/>
                      <a:pt x="41" y="80"/>
                      <a:pt x="37" y="78"/>
                    </a:cubicBezTo>
                    <a:cubicBezTo>
                      <a:pt x="31" y="75"/>
                      <a:pt x="13" y="71"/>
                      <a:pt x="13" y="68"/>
                    </a:cubicBezTo>
                    <a:cubicBezTo>
                      <a:pt x="13" y="68"/>
                      <a:pt x="20" y="57"/>
                      <a:pt x="20" y="56"/>
                    </a:cubicBezTo>
                    <a:cubicBezTo>
                      <a:pt x="44" y="56"/>
                      <a:pt x="44" y="56"/>
                      <a:pt x="44" y="56"/>
                    </a:cubicBezTo>
                    <a:cubicBezTo>
                      <a:pt x="57" y="38"/>
                      <a:pt x="77" y="21"/>
                      <a:pt x="101" y="14"/>
                    </a:cubicBezTo>
                    <a:cubicBezTo>
                      <a:pt x="107" y="12"/>
                      <a:pt x="111" y="15"/>
                      <a:pt x="117" y="13"/>
                    </a:cubicBezTo>
                    <a:cubicBezTo>
                      <a:pt x="124" y="10"/>
                      <a:pt x="128" y="0"/>
                      <a:pt x="136" y="0"/>
                    </a:cubicBezTo>
                    <a:cubicBezTo>
                      <a:pt x="142" y="0"/>
                      <a:pt x="144" y="5"/>
                      <a:pt x="150" y="7"/>
                    </a:cubicBezTo>
                    <a:cubicBezTo>
                      <a:pt x="147" y="10"/>
                      <a:pt x="147" y="11"/>
                      <a:pt x="146" y="13"/>
                    </a:cubicBezTo>
                    <a:cubicBezTo>
                      <a:pt x="150" y="14"/>
                      <a:pt x="154" y="11"/>
                      <a:pt x="157" y="7"/>
                    </a:cubicBezTo>
                    <a:cubicBezTo>
                      <a:pt x="162" y="9"/>
                      <a:pt x="163" y="10"/>
                      <a:pt x="167" y="11"/>
                    </a:cubicBezTo>
                    <a:cubicBezTo>
                      <a:pt x="189" y="11"/>
                      <a:pt x="189" y="11"/>
                      <a:pt x="189" y="11"/>
                    </a:cubicBezTo>
                    <a:cubicBezTo>
                      <a:pt x="194" y="15"/>
                      <a:pt x="196" y="17"/>
                      <a:pt x="202" y="20"/>
                    </a:cubicBezTo>
                    <a:cubicBezTo>
                      <a:pt x="236" y="20"/>
                      <a:pt x="236" y="20"/>
                      <a:pt x="236" y="20"/>
                    </a:cubicBezTo>
                    <a:cubicBezTo>
                      <a:pt x="245" y="29"/>
                      <a:pt x="272" y="31"/>
                      <a:pt x="286" y="31"/>
                    </a:cubicBezTo>
                    <a:cubicBezTo>
                      <a:pt x="294" y="31"/>
                      <a:pt x="299" y="28"/>
                      <a:pt x="307" y="28"/>
                    </a:cubicBezTo>
                    <a:cubicBezTo>
                      <a:pt x="319" y="28"/>
                      <a:pt x="323" y="34"/>
                      <a:pt x="334" y="37"/>
                    </a:cubicBezTo>
                    <a:cubicBezTo>
                      <a:pt x="334" y="36"/>
                      <a:pt x="334" y="36"/>
                      <a:pt x="334" y="36"/>
                    </a:cubicBezTo>
                    <a:lnTo>
                      <a:pt x="334"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2" name="Freeform 52"/>
              <p:cNvSpPr>
                <a:spLocks/>
              </p:cNvSpPr>
              <p:nvPr/>
            </p:nvSpPr>
            <p:spPr bwMode="auto">
              <a:xfrm>
                <a:off x="2149475" y="1820863"/>
                <a:ext cx="28575" cy="38100"/>
              </a:xfrm>
              <a:custGeom>
                <a:avLst/>
                <a:gdLst/>
                <a:ahLst/>
                <a:cxnLst>
                  <a:cxn ang="0">
                    <a:pos x="9" y="11"/>
                  </a:cxn>
                  <a:cxn ang="0">
                    <a:pos x="0" y="11"/>
                  </a:cxn>
                  <a:cxn ang="0">
                    <a:pos x="11" y="2"/>
                  </a:cxn>
                  <a:cxn ang="0">
                    <a:pos x="22" y="25"/>
                  </a:cxn>
                  <a:cxn ang="0">
                    <a:pos x="18" y="29"/>
                  </a:cxn>
                  <a:cxn ang="0">
                    <a:pos x="9" y="20"/>
                  </a:cxn>
                  <a:cxn ang="0">
                    <a:pos x="9" y="11"/>
                  </a:cxn>
                </a:cxnLst>
                <a:rect l="0" t="0" r="r" b="b"/>
                <a:pathLst>
                  <a:path w="22" h="29">
                    <a:moveTo>
                      <a:pt x="9" y="11"/>
                    </a:moveTo>
                    <a:cubicBezTo>
                      <a:pt x="2" y="9"/>
                      <a:pt x="5" y="7"/>
                      <a:pt x="0" y="11"/>
                    </a:cubicBezTo>
                    <a:cubicBezTo>
                      <a:pt x="0" y="0"/>
                      <a:pt x="2" y="0"/>
                      <a:pt x="11" y="2"/>
                    </a:cubicBezTo>
                    <a:cubicBezTo>
                      <a:pt x="10" y="14"/>
                      <a:pt x="22" y="15"/>
                      <a:pt x="22" y="25"/>
                    </a:cubicBezTo>
                    <a:cubicBezTo>
                      <a:pt x="22" y="28"/>
                      <a:pt x="20" y="29"/>
                      <a:pt x="18" y="29"/>
                    </a:cubicBezTo>
                    <a:cubicBezTo>
                      <a:pt x="14" y="29"/>
                      <a:pt x="9" y="20"/>
                      <a:pt x="9" y="20"/>
                    </a:cubicBezTo>
                    <a:cubicBezTo>
                      <a:pt x="9" y="16"/>
                      <a:pt x="8" y="13"/>
                      <a:pt x="9"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3" name="Freeform 53"/>
              <p:cNvSpPr>
                <a:spLocks/>
              </p:cNvSpPr>
              <p:nvPr/>
            </p:nvSpPr>
            <p:spPr bwMode="auto">
              <a:xfrm>
                <a:off x="2105025" y="1776413"/>
                <a:ext cx="30163" cy="46038"/>
              </a:xfrm>
              <a:custGeom>
                <a:avLst/>
                <a:gdLst/>
                <a:ahLst/>
                <a:cxnLst>
                  <a:cxn ang="0">
                    <a:pos x="15" y="18"/>
                  </a:cxn>
                  <a:cxn ang="0">
                    <a:pos x="19" y="18"/>
                  </a:cxn>
                  <a:cxn ang="0">
                    <a:pos x="19" y="35"/>
                  </a:cxn>
                  <a:cxn ang="0">
                    <a:pos x="11" y="17"/>
                  </a:cxn>
                  <a:cxn ang="0">
                    <a:pos x="0" y="4"/>
                  </a:cxn>
                  <a:cxn ang="0">
                    <a:pos x="5" y="0"/>
                  </a:cxn>
                  <a:cxn ang="0">
                    <a:pos x="15" y="0"/>
                  </a:cxn>
                  <a:cxn ang="0">
                    <a:pos x="15" y="18"/>
                  </a:cxn>
                </a:cxnLst>
                <a:rect l="0" t="0" r="r" b="b"/>
                <a:pathLst>
                  <a:path w="23" h="35">
                    <a:moveTo>
                      <a:pt x="15" y="18"/>
                    </a:moveTo>
                    <a:cubicBezTo>
                      <a:pt x="15" y="19"/>
                      <a:pt x="19" y="19"/>
                      <a:pt x="19" y="18"/>
                    </a:cubicBezTo>
                    <a:cubicBezTo>
                      <a:pt x="19" y="24"/>
                      <a:pt x="23" y="30"/>
                      <a:pt x="19" y="35"/>
                    </a:cubicBezTo>
                    <a:cubicBezTo>
                      <a:pt x="13" y="30"/>
                      <a:pt x="11" y="24"/>
                      <a:pt x="11" y="17"/>
                    </a:cubicBezTo>
                    <a:cubicBezTo>
                      <a:pt x="5" y="16"/>
                      <a:pt x="0" y="11"/>
                      <a:pt x="0" y="4"/>
                    </a:cubicBezTo>
                    <a:cubicBezTo>
                      <a:pt x="0" y="1"/>
                      <a:pt x="3" y="0"/>
                      <a:pt x="5" y="0"/>
                    </a:cubicBezTo>
                    <a:cubicBezTo>
                      <a:pt x="13" y="0"/>
                      <a:pt x="9" y="3"/>
                      <a:pt x="15" y="0"/>
                    </a:cubicBezTo>
                    <a:cubicBezTo>
                      <a:pt x="15" y="11"/>
                      <a:pt x="13" y="11"/>
                      <a:pt x="15"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4" name="Freeform 54"/>
              <p:cNvSpPr>
                <a:spLocks/>
              </p:cNvSpPr>
              <p:nvPr/>
            </p:nvSpPr>
            <p:spPr bwMode="auto">
              <a:xfrm>
                <a:off x="2389188" y="1335088"/>
                <a:ext cx="307975" cy="161925"/>
              </a:xfrm>
              <a:custGeom>
                <a:avLst/>
                <a:gdLst/>
                <a:ahLst/>
                <a:cxnLst>
                  <a:cxn ang="0">
                    <a:pos x="214" y="96"/>
                  </a:cxn>
                  <a:cxn ang="0">
                    <a:pos x="209" y="100"/>
                  </a:cxn>
                  <a:cxn ang="0">
                    <a:pos x="215" y="103"/>
                  </a:cxn>
                  <a:cxn ang="0">
                    <a:pos x="220" y="110"/>
                  </a:cxn>
                  <a:cxn ang="0">
                    <a:pos x="195" y="118"/>
                  </a:cxn>
                  <a:cxn ang="0">
                    <a:pos x="158" y="104"/>
                  </a:cxn>
                  <a:cxn ang="0">
                    <a:pos x="147" y="112"/>
                  </a:cxn>
                  <a:cxn ang="0">
                    <a:pos x="115" y="121"/>
                  </a:cxn>
                  <a:cxn ang="0">
                    <a:pos x="75" y="121"/>
                  </a:cxn>
                  <a:cxn ang="0">
                    <a:pos x="68" y="110"/>
                  </a:cxn>
                  <a:cxn ang="0">
                    <a:pos x="43" y="108"/>
                  </a:cxn>
                  <a:cxn ang="0">
                    <a:pos x="23" y="92"/>
                  </a:cxn>
                  <a:cxn ang="0">
                    <a:pos x="65" y="82"/>
                  </a:cxn>
                  <a:cxn ang="0">
                    <a:pos x="80" y="81"/>
                  </a:cxn>
                  <a:cxn ang="0">
                    <a:pos x="69" y="77"/>
                  </a:cxn>
                  <a:cxn ang="0">
                    <a:pos x="45" y="77"/>
                  </a:cxn>
                  <a:cxn ang="0">
                    <a:pos x="12" y="69"/>
                  </a:cxn>
                  <a:cxn ang="0">
                    <a:pos x="29" y="60"/>
                  </a:cxn>
                  <a:cxn ang="0">
                    <a:pos x="14" y="59"/>
                  </a:cxn>
                  <a:cxn ang="0">
                    <a:pos x="0" y="51"/>
                  </a:cxn>
                  <a:cxn ang="0">
                    <a:pos x="56" y="13"/>
                  </a:cxn>
                  <a:cxn ang="0">
                    <a:pos x="64" y="29"/>
                  </a:cxn>
                  <a:cxn ang="0">
                    <a:pos x="78" y="21"/>
                  </a:cxn>
                  <a:cxn ang="0">
                    <a:pos x="98" y="34"/>
                  </a:cxn>
                  <a:cxn ang="0">
                    <a:pos x="111" y="31"/>
                  </a:cxn>
                  <a:cxn ang="0">
                    <a:pos x="109" y="23"/>
                  </a:cxn>
                  <a:cxn ang="0">
                    <a:pos x="118" y="23"/>
                  </a:cxn>
                  <a:cxn ang="0">
                    <a:pos x="133" y="35"/>
                  </a:cxn>
                  <a:cxn ang="0">
                    <a:pos x="140" y="51"/>
                  </a:cxn>
                  <a:cxn ang="0">
                    <a:pos x="146" y="48"/>
                  </a:cxn>
                  <a:cxn ang="0">
                    <a:pos x="136" y="17"/>
                  </a:cxn>
                  <a:cxn ang="0">
                    <a:pos x="144" y="12"/>
                  </a:cxn>
                  <a:cxn ang="0">
                    <a:pos x="156" y="12"/>
                  </a:cxn>
                  <a:cxn ang="0">
                    <a:pos x="156" y="7"/>
                  </a:cxn>
                  <a:cxn ang="0">
                    <a:pos x="169" y="0"/>
                  </a:cxn>
                  <a:cxn ang="0">
                    <a:pos x="184" y="10"/>
                  </a:cxn>
                  <a:cxn ang="0">
                    <a:pos x="175" y="24"/>
                  </a:cxn>
                  <a:cxn ang="0">
                    <a:pos x="187" y="62"/>
                  </a:cxn>
                  <a:cxn ang="0">
                    <a:pos x="232" y="92"/>
                  </a:cxn>
                  <a:cxn ang="0">
                    <a:pos x="214" y="96"/>
                  </a:cxn>
                </a:cxnLst>
                <a:rect l="0" t="0" r="r" b="b"/>
                <a:pathLst>
                  <a:path w="232" h="121">
                    <a:moveTo>
                      <a:pt x="214" y="96"/>
                    </a:moveTo>
                    <a:cubicBezTo>
                      <a:pt x="211" y="96"/>
                      <a:pt x="209" y="97"/>
                      <a:pt x="209" y="100"/>
                    </a:cubicBezTo>
                    <a:cubicBezTo>
                      <a:pt x="209" y="103"/>
                      <a:pt x="214" y="103"/>
                      <a:pt x="215" y="103"/>
                    </a:cubicBezTo>
                    <a:cubicBezTo>
                      <a:pt x="216" y="107"/>
                      <a:pt x="218" y="108"/>
                      <a:pt x="220" y="110"/>
                    </a:cubicBezTo>
                    <a:cubicBezTo>
                      <a:pt x="216" y="118"/>
                      <a:pt x="206" y="118"/>
                      <a:pt x="195" y="118"/>
                    </a:cubicBezTo>
                    <a:cubicBezTo>
                      <a:pt x="177" y="118"/>
                      <a:pt x="171" y="104"/>
                      <a:pt x="158" y="104"/>
                    </a:cubicBezTo>
                    <a:cubicBezTo>
                      <a:pt x="150" y="104"/>
                      <a:pt x="154" y="109"/>
                      <a:pt x="147" y="112"/>
                    </a:cubicBezTo>
                    <a:cubicBezTo>
                      <a:pt x="135" y="118"/>
                      <a:pt x="124" y="115"/>
                      <a:pt x="115" y="121"/>
                    </a:cubicBezTo>
                    <a:cubicBezTo>
                      <a:pt x="95" y="121"/>
                      <a:pt x="87" y="121"/>
                      <a:pt x="75" y="121"/>
                    </a:cubicBezTo>
                    <a:cubicBezTo>
                      <a:pt x="68" y="121"/>
                      <a:pt x="73" y="114"/>
                      <a:pt x="68" y="110"/>
                    </a:cubicBezTo>
                    <a:cubicBezTo>
                      <a:pt x="63" y="107"/>
                      <a:pt x="49" y="108"/>
                      <a:pt x="43" y="108"/>
                    </a:cubicBezTo>
                    <a:cubicBezTo>
                      <a:pt x="34" y="108"/>
                      <a:pt x="26" y="98"/>
                      <a:pt x="23" y="92"/>
                    </a:cubicBezTo>
                    <a:cubicBezTo>
                      <a:pt x="33" y="85"/>
                      <a:pt x="47" y="82"/>
                      <a:pt x="65" y="82"/>
                    </a:cubicBezTo>
                    <a:cubicBezTo>
                      <a:pt x="72" y="82"/>
                      <a:pt x="75" y="82"/>
                      <a:pt x="80" y="81"/>
                    </a:cubicBezTo>
                    <a:cubicBezTo>
                      <a:pt x="77" y="80"/>
                      <a:pt x="73" y="77"/>
                      <a:pt x="69" y="77"/>
                    </a:cubicBezTo>
                    <a:cubicBezTo>
                      <a:pt x="60" y="77"/>
                      <a:pt x="50" y="77"/>
                      <a:pt x="45" y="77"/>
                    </a:cubicBezTo>
                    <a:cubicBezTo>
                      <a:pt x="36" y="77"/>
                      <a:pt x="12" y="81"/>
                      <a:pt x="12" y="69"/>
                    </a:cubicBezTo>
                    <a:cubicBezTo>
                      <a:pt x="12" y="59"/>
                      <a:pt x="24" y="63"/>
                      <a:pt x="29" y="60"/>
                    </a:cubicBezTo>
                    <a:cubicBezTo>
                      <a:pt x="22" y="58"/>
                      <a:pt x="19" y="59"/>
                      <a:pt x="14" y="59"/>
                    </a:cubicBezTo>
                    <a:cubicBezTo>
                      <a:pt x="9" y="59"/>
                      <a:pt x="0" y="53"/>
                      <a:pt x="0" y="51"/>
                    </a:cubicBezTo>
                    <a:cubicBezTo>
                      <a:pt x="0" y="29"/>
                      <a:pt x="41" y="13"/>
                      <a:pt x="56" y="13"/>
                    </a:cubicBezTo>
                    <a:cubicBezTo>
                      <a:pt x="63" y="13"/>
                      <a:pt x="62" y="26"/>
                      <a:pt x="64" y="29"/>
                    </a:cubicBezTo>
                    <a:cubicBezTo>
                      <a:pt x="68" y="26"/>
                      <a:pt x="71" y="21"/>
                      <a:pt x="78" y="21"/>
                    </a:cubicBezTo>
                    <a:cubicBezTo>
                      <a:pt x="90" y="21"/>
                      <a:pt x="94" y="26"/>
                      <a:pt x="98" y="34"/>
                    </a:cubicBezTo>
                    <a:cubicBezTo>
                      <a:pt x="102" y="33"/>
                      <a:pt x="106" y="32"/>
                      <a:pt x="111" y="31"/>
                    </a:cubicBezTo>
                    <a:cubicBezTo>
                      <a:pt x="110" y="27"/>
                      <a:pt x="109" y="25"/>
                      <a:pt x="109" y="23"/>
                    </a:cubicBezTo>
                    <a:cubicBezTo>
                      <a:pt x="118" y="23"/>
                      <a:pt x="118" y="23"/>
                      <a:pt x="118" y="23"/>
                    </a:cubicBezTo>
                    <a:cubicBezTo>
                      <a:pt x="124" y="25"/>
                      <a:pt x="131" y="30"/>
                      <a:pt x="133" y="35"/>
                    </a:cubicBezTo>
                    <a:cubicBezTo>
                      <a:pt x="135" y="40"/>
                      <a:pt x="132" y="51"/>
                      <a:pt x="140" y="51"/>
                    </a:cubicBezTo>
                    <a:cubicBezTo>
                      <a:pt x="144" y="51"/>
                      <a:pt x="144" y="50"/>
                      <a:pt x="146" y="48"/>
                    </a:cubicBezTo>
                    <a:cubicBezTo>
                      <a:pt x="142" y="42"/>
                      <a:pt x="136" y="21"/>
                      <a:pt x="136" y="17"/>
                    </a:cubicBezTo>
                    <a:cubicBezTo>
                      <a:pt x="136" y="14"/>
                      <a:pt x="140" y="12"/>
                      <a:pt x="144" y="12"/>
                    </a:cubicBezTo>
                    <a:cubicBezTo>
                      <a:pt x="152" y="12"/>
                      <a:pt x="149" y="15"/>
                      <a:pt x="156" y="12"/>
                    </a:cubicBezTo>
                    <a:cubicBezTo>
                      <a:pt x="156" y="10"/>
                      <a:pt x="156" y="9"/>
                      <a:pt x="156" y="7"/>
                    </a:cubicBezTo>
                    <a:cubicBezTo>
                      <a:pt x="156" y="3"/>
                      <a:pt x="162" y="0"/>
                      <a:pt x="169" y="0"/>
                    </a:cubicBezTo>
                    <a:cubicBezTo>
                      <a:pt x="177" y="0"/>
                      <a:pt x="184" y="3"/>
                      <a:pt x="184" y="10"/>
                    </a:cubicBezTo>
                    <a:cubicBezTo>
                      <a:pt x="184" y="16"/>
                      <a:pt x="175" y="20"/>
                      <a:pt x="175" y="24"/>
                    </a:cubicBezTo>
                    <a:cubicBezTo>
                      <a:pt x="175" y="40"/>
                      <a:pt x="187" y="50"/>
                      <a:pt x="187" y="62"/>
                    </a:cubicBezTo>
                    <a:cubicBezTo>
                      <a:pt x="187" y="76"/>
                      <a:pt x="224" y="85"/>
                      <a:pt x="232" y="92"/>
                    </a:cubicBezTo>
                    <a:cubicBezTo>
                      <a:pt x="224" y="97"/>
                      <a:pt x="222" y="96"/>
                      <a:pt x="214" y="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5" name="Freeform 55"/>
              <p:cNvSpPr>
                <a:spLocks/>
              </p:cNvSpPr>
              <p:nvPr/>
            </p:nvSpPr>
            <p:spPr bwMode="auto">
              <a:xfrm>
                <a:off x="2274888" y="1309688"/>
                <a:ext cx="173038" cy="114300"/>
              </a:xfrm>
              <a:custGeom>
                <a:avLst/>
                <a:gdLst/>
                <a:ahLst/>
                <a:cxnLst>
                  <a:cxn ang="0">
                    <a:pos x="28" y="82"/>
                  </a:cxn>
                  <a:cxn ang="0">
                    <a:pos x="22" y="73"/>
                  </a:cxn>
                  <a:cxn ang="0">
                    <a:pos x="0" y="64"/>
                  </a:cxn>
                  <a:cxn ang="0">
                    <a:pos x="22" y="21"/>
                  </a:cxn>
                  <a:cxn ang="0">
                    <a:pos x="16" y="5"/>
                  </a:cxn>
                  <a:cxn ang="0">
                    <a:pos x="42" y="5"/>
                  </a:cxn>
                  <a:cxn ang="0">
                    <a:pos x="60" y="2"/>
                  </a:cxn>
                  <a:cxn ang="0">
                    <a:pos x="84" y="11"/>
                  </a:cxn>
                  <a:cxn ang="0">
                    <a:pos x="99" y="10"/>
                  </a:cxn>
                  <a:cxn ang="0">
                    <a:pos x="130" y="29"/>
                  </a:cxn>
                  <a:cxn ang="0">
                    <a:pos x="102" y="38"/>
                  </a:cxn>
                  <a:cxn ang="0">
                    <a:pos x="69" y="71"/>
                  </a:cxn>
                  <a:cxn ang="0">
                    <a:pos x="35" y="86"/>
                  </a:cxn>
                  <a:cxn ang="0">
                    <a:pos x="28" y="82"/>
                  </a:cxn>
                </a:cxnLst>
                <a:rect l="0" t="0" r="r" b="b"/>
                <a:pathLst>
                  <a:path w="130" h="86">
                    <a:moveTo>
                      <a:pt x="28" y="82"/>
                    </a:moveTo>
                    <a:cubicBezTo>
                      <a:pt x="26" y="82"/>
                      <a:pt x="23" y="75"/>
                      <a:pt x="22" y="73"/>
                    </a:cubicBezTo>
                    <a:cubicBezTo>
                      <a:pt x="18" y="68"/>
                      <a:pt x="0" y="69"/>
                      <a:pt x="0" y="64"/>
                    </a:cubicBezTo>
                    <a:cubicBezTo>
                      <a:pt x="0" y="49"/>
                      <a:pt x="22" y="37"/>
                      <a:pt x="22" y="21"/>
                    </a:cubicBezTo>
                    <a:cubicBezTo>
                      <a:pt x="22" y="17"/>
                      <a:pt x="16" y="10"/>
                      <a:pt x="16" y="5"/>
                    </a:cubicBezTo>
                    <a:cubicBezTo>
                      <a:pt x="27" y="1"/>
                      <a:pt x="32" y="5"/>
                      <a:pt x="42" y="5"/>
                    </a:cubicBezTo>
                    <a:cubicBezTo>
                      <a:pt x="48" y="5"/>
                      <a:pt x="52" y="0"/>
                      <a:pt x="60" y="2"/>
                    </a:cubicBezTo>
                    <a:cubicBezTo>
                      <a:pt x="70" y="5"/>
                      <a:pt x="74" y="10"/>
                      <a:pt x="84" y="11"/>
                    </a:cubicBezTo>
                    <a:cubicBezTo>
                      <a:pt x="88" y="15"/>
                      <a:pt x="93" y="10"/>
                      <a:pt x="99" y="10"/>
                    </a:cubicBezTo>
                    <a:cubicBezTo>
                      <a:pt x="108" y="10"/>
                      <a:pt x="130" y="19"/>
                      <a:pt x="130" y="29"/>
                    </a:cubicBezTo>
                    <a:cubicBezTo>
                      <a:pt x="130" y="34"/>
                      <a:pt x="106" y="37"/>
                      <a:pt x="102" y="38"/>
                    </a:cubicBezTo>
                    <a:cubicBezTo>
                      <a:pt x="88" y="43"/>
                      <a:pt x="69" y="61"/>
                      <a:pt x="69" y="71"/>
                    </a:cubicBezTo>
                    <a:cubicBezTo>
                      <a:pt x="69" y="75"/>
                      <a:pt x="38" y="86"/>
                      <a:pt x="35" y="86"/>
                    </a:cubicBezTo>
                    <a:cubicBezTo>
                      <a:pt x="32" y="86"/>
                      <a:pt x="30" y="82"/>
                      <a:pt x="28"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6" name="Freeform 56"/>
              <p:cNvSpPr>
                <a:spLocks/>
              </p:cNvSpPr>
              <p:nvPr/>
            </p:nvSpPr>
            <p:spPr bwMode="auto">
              <a:xfrm>
                <a:off x="2413000" y="1228725"/>
                <a:ext cx="204788" cy="87313"/>
              </a:xfrm>
              <a:custGeom>
                <a:avLst/>
                <a:gdLst/>
                <a:ahLst/>
                <a:cxnLst>
                  <a:cxn ang="0">
                    <a:pos x="53" y="65"/>
                  </a:cxn>
                  <a:cxn ang="0">
                    <a:pos x="41" y="59"/>
                  </a:cxn>
                  <a:cxn ang="0">
                    <a:pos x="53" y="53"/>
                  </a:cxn>
                  <a:cxn ang="0">
                    <a:pos x="46" y="43"/>
                  </a:cxn>
                  <a:cxn ang="0">
                    <a:pos x="41" y="49"/>
                  </a:cxn>
                  <a:cxn ang="0">
                    <a:pos x="22" y="52"/>
                  </a:cxn>
                  <a:cxn ang="0">
                    <a:pos x="7" y="49"/>
                  </a:cxn>
                  <a:cxn ang="0">
                    <a:pos x="0" y="42"/>
                  </a:cxn>
                  <a:cxn ang="0">
                    <a:pos x="0" y="36"/>
                  </a:cxn>
                  <a:cxn ang="0">
                    <a:pos x="11" y="31"/>
                  </a:cxn>
                  <a:cxn ang="0">
                    <a:pos x="31" y="36"/>
                  </a:cxn>
                  <a:cxn ang="0">
                    <a:pos x="11" y="30"/>
                  </a:cxn>
                  <a:cxn ang="0">
                    <a:pos x="11" y="23"/>
                  </a:cxn>
                  <a:cxn ang="0">
                    <a:pos x="19" y="23"/>
                  </a:cxn>
                  <a:cxn ang="0">
                    <a:pos x="38" y="26"/>
                  </a:cxn>
                  <a:cxn ang="0">
                    <a:pos x="16" y="22"/>
                  </a:cxn>
                  <a:cxn ang="0">
                    <a:pos x="25" y="17"/>
                  </a:cxn>
                  <a:cxn ang="0">
                    <a:pos x="36" y="18"/>
                  </a:cxn>
                  <a:cxn ang="0">
                    <a:pos x="23" y="12"/>
                  </a:cxn>
                  <a:cxn ang="0">
                    <a:pos x="38" y="12"/>
                  </a:cxn>
                  <a:cxn ang="0">
                    <a:pos x="45" y="19"/>
                  </a:cxn>
                  <a:cxn ang="0">
                    <a:pos x="55" y="19"/>
                  </a:cxn>
                  <a:cxn ang="0">
                    <a:pos x="97" y="36"/>
                  </a:cxn>
                  <a:cxn ang="0">
                    <a:pos x="107" y="30"/>
                  </a:cxn>
                  <a:cxn ang="0">
                    <a:pos x="98" y="29"/>
                  </a:cxn>
                  <a:cxn ang="0">
                    <a:pos x="102" y="27"/>
                  </a:cxn>
                  <a:cxn ang="0">
                    <a:pos x="102" y="21"/>
                  </a:cxn>
                  <a:cxn ang="0">
                    <a:pos x="91" y="15"/>
                  </a:cxn>
                  <a:cxn ang="0">
                    <a:pos x="107" y="0"/>
                  </a:cxn>
                  <a:cxn ang="0">
                    <a:pos x="116" y="4"/>
                  </a:cxn>
                  <a:cxn ang="0">
                    <a:pos x="116" y="9"/>
                  </a:cxn>
                  <a:cxn ang="0">
                    <a:pos x="132" y="26"/>
                  </a:cxn>
                  <a:cxn ang="0">
                    <a:pos x="144" y="20"/>
                  </a:cxn>
                  <a:cxn ang="0">
                    <a:pos x="154" y="31"/>
                  </a:cxn>
                  <a:cxn ang="0">
                    <a:pos x="140" y="52"/>
                  </a:cxn>
                  <a:cxn ang="0">
                    <a:pos x="111" y="51"/>
                  </a:cxn>
                  <a:cxn ang="0">
                    <a:pos x="82" y="59"/>
                  </a:cxn>
                  <a:cxn ang="0">
                    <a:pos x="53" y="65"/>
                  </a:cxn>
                </a:cxnLst>
                <a:rect l="0" t="0" r="r" b="b"/>
                <a:pathLst>
                  <a:path w="154" h="65">
                    <a:moveTo>
                      <a:pt x="53" y="65"/>
                    </a:moveTo>
                    <a:cubicBezTo>
                      <a:pt x="48" y="65"/>
                      <a:pt x="41" y="61"/>
                      <a:pt x="41" y="59"/>
                    </a:cubicBezTo>
                    <a:cubicBezTo>
                      <a:pt x="41" y="52"/>
                      <a:pt x="47" y="53"/>
                      <a:pt x="53" y="53"/>
                    </a:cubicBezTo>
                    <a:cubicBezTo>
                      <a:pt x="50" y="50"/>
                      <a:pt x="46" y="48"/>
                      <a:pt x="46" y="43"/>
                    </a:cubicBezTo>
                    <a:cubicBezTo>
                      <a:pt x="43" y="44"/>
                      <a:pt x="41" y="46"/>
                      <a:pt x="41" y="49"/>
                    </a:cubicBezTo>
                    <a:cubicBezTo>
                      <a:pt x="33" y="50"/>
                      <a:pt x="27" y="52"/>
                      <a:pt x="22" y="52"/>
                    </a:cubicBezTo>
                    <a:cubicBezTo>
                      <a:pt x="16" y="52"/>
                      <a:pt x="10" y="49"/>
                      <a:pt x="7" y="49"/>
                    </a:cubicBezTo>
                    <a:cubicBezTo>
                      <a:pt x="3" y="49"/>
                      <a:pt x="0" y="46"/>
                      <a:pt x="0" y="42"/>
                    </a:cubicBezTo>
                    <a:cubicBezTo>
                      <a:pt x="0" y="38"/>
                      <a:pt x="2" y="39"/>
                      <a:pt x="0" y="36"/>
                    </a:cubicBezTo>
                    <a:cubicBezTo>
                      <a:pt x="5" y="35"/>
                      <a:pt x="7" y="31"/>
                      <a:pt x="11" y="31"/>
                    </a:cubicBezTo>
                    <a:cubicBezTo>
                      <a:pt x="20" y="31"/>
                      <a:pt x="24" y="35"/>
                      <a:pt x="31" y="36"/>
                    </a:cubicBezTo>
                    <a:cubicBezTo>
                      <a:pt x="24" y="35"/>
                      <a:pt x="17" y="32"/>
                      <a:pt x="11" y="30"/>
                    </a:cubicBezTo>
                    <a:cubicBezTo>
                      <a:pt x="11" y="23"/>
                      <a:pt x="11" y="23"/>
                      <a:pt x="11" y="23"/>
                    </a:cubicBezTo>
                    <a:cubicBezTo>
                      <a:pt x="15" y="23"/>
                      <a:pt x="19" y="23"/>
                      <a:pt x="19" y="23"/>
                    </a:cubicBezTo>
                    <a:cubicBezTo>
                      <a:pt x="20" y="23"/>
                      <a:pt x="34" y="26"/>
                      <a:pt x="38" y="26"/>
                    </a:cubicBezTo>
                    <a:cubicBezTo>
                      <a:pt x="30" y="25"/>
                      <a:pt x="23" y="26"/>
                      <a:pt x="16" y="22"/>
                    </a:cubicBezTo>
                    <a:cubicBezTo>
                      <a:pt x="18" y="19"/>
                      <a:pt x="22" y="17"/>
                      <a:pt x="25" y="17"/>
                    </a:cubicBezTo>
                    <a:cubicBezTo>
                      <a:pt x="31" y="17"/>
                      <a:pt x="32" y="19"/>
                      <a:pt x="36" y="18"/>
                    </a:cubicBezTo>
                    <a:cubicBezTo>
                      <a:pt x="31" y="19"/>
                      <a:pt x="23" y="18"/>
                      <a:pt x="23" y="12"/>
                    </a:cubicBezTo>
                    <a:cubicBezTo>
                      <a:pt x="31" y="11"/>
                      <a:pt x="34" y="12"/>
                      <a:pt x="38" y="12"/>
                    </a:cubicBezTo>
                    <a:cubicBezTo>
                      <a:pt x="39" y="12"/>
                      <a:pt x="45" y="14"/>
                      <a:pt x="45" y="19"/>
                    </a:cubicBezTo>
                    <a:cubicBezTo>
                      <a:pt x="50" y="19"/>
                      <a:pt x="54" y="19"/>
                      <a:pt x="55" y="19"/>
                    </a:cubicBezTo>
                    <a:cubicBezTo>
                      <a:pt x="68" y="19"/>
                      <a:pt x="78" y="36"/>
                      <a:pt x="97" y="36"/>
                    </a:cubicBezTo>
                    <a:cubicBezTo>
                      <a:pt x="103" y="36"/>
                      <a:pt x="105" y="34"/>
                      <a:pt x="107" y="30"/>
                    </a:cubicBezTo>
                    <a:cubicBezTo>
                      <a:pt x="102" y="30"/>
                      <a:pt x="100" y="30"/>
                      <a:pt x="98" y="29"/>
                    </a:cubicBezTo>
                    <a:cubicBezTo>
                      <a:pt x="98" y="28"/>
                      <a:pt x="101" y="27"/>
                      <a:pt x="102" y="27"/>
                    </a:cubicBezTo>
                    <a:cubicBezTo>
                      <a:pt x="102" y="21"/>
                      <a:pt x="102" y="21"/>
                      <a:pt x="102" y="21"/>
                    </a:cubicBezTo>
                    <a:cubicBezTo>
                      <a:pt x="99" y="21"/>
                      <a:pt x="91" y="19"/>
                      <a:pt x="91" y="15"/>
                    </a:cubicBezTo>
                    <a:cubicBezTo>
                      <a:pt x="91" y="7"/>
                      <a:pt x="103" y="4"/>
                      <a:pt x="107" y="0"/>
                    </a:cubicBezTo>
                    <a:cubicBezTo>
                      <a:pt x="110" y="2"/>
                      <a:pt x="113" y="4"/>
                      <a:pt x="116" y="4"/>
                    </a:cubicBezTo>
                    <a:cubicBezTo>
                      <a:pt x="115" y="7"/>
                      <a:pt x="116" y="8"/>
                      <a:pt x="116" y="9"/>
                    </a:cubicBezTo>
                    <a:cubicBezTo>
                      <a:pt x="116" y="16"/>
                      <a:pt x="124" y="26"/>
                      <a:pt x="132" y="26"/>
                    </a:cubicBezTo>
                    <a:cubicBezTo>
                      <a:pt x="136" y="26"/>
                      <a:pt x="139" y="20"/>
                      <a:pt x="144" y="20"/>
                    </a:cubicBezTo>
                    <a:cubicBezTo>
                      <a:pt x="150" y="20"/>
                      <a:pt x="154" y="26"/>
                      <a:pt x="154" y="31"/>
                    </a:cubicBezTo>
                    <a:cubicBezTo>
                      <a:pt x="154" y="37"/>
                      <a:pt x="144" y="51"/>
                      <a:pt x="140" y="52"/>
                    </a:cubicBezTo>
                    <a:cubicBezTo>
                      <a:pt x="137" y="53"/>
                      <a:pt x="111" y="50"/>
                      <a:pt x="111" y="51"/>
                    </a:cubicBezTo>
                    <a:cubicBezTo>
                      <a:pt x="111" y="52"/>
                      <a:pt x="83" y="58"/>
                      <a:pt x="82" y="59"/>
                    </a:cubicBezTo>
                    <a:cubicBezTo>
                      <a:pt x="73" y="62"/>
                      <a:pt x="64" y="65"/>
                      <a:pt x="53" y="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7" name="Freeform 57"/>
              <p:cNvSpPr>
                <a:spLocks/>
              </p:cNvSpPr>
              <p:nvPr/>
            </p:nvSpPr>
            <p:spPr bwMode="auto">
              <a:xfrm>
                <a:off x="2382838" y="1260475"/>
                <a:ext cx="28575" cy="20638"/>
              </a:xfrm>
              <a:custGeom>
                <a:avLst/>
                <a:gdLst/>
                <a:ahLst/>
                <a:cxnLst>
                  <a:cxn ang="0">
                    <a:pos x="8" y="16"/>
                  </a:cxn>
                  <a:cxn ang="0">
                    <a:pos x="0" y="11"/>
                  </a:cxn>
                  <a:cxn ang="0">
                    <a:pos x="21" y="0"/>
                  </a:cxn>
                  <a:cxn ang="0">
                    <a:pos x="8" y="16"/>
                  </a:cxn>
                </a:cxnLst>
                <a:rect l="0" t="0" r="r" b="b"/>
                <a:pathLst>
                  <a:path w="21" h="16">
                    <a:moveTo>
                      <a:pt x="8" y="16"/>
                    </a:moveTo>
                    <a:cubicBezTo>
                      <a:pt x="4" y="16"/>
                      <a:pt x="0" y="14"/>
                      <a:pt x="0" y="11"/>
                    </a:cubicBezTo>
                    <a:cubicBezTo>
                      <a:pt x="0" y="3"/>
                      <a:pt x="16" y="0"/>
                      <a:pt x="21" y="0"/>
                    </a:cubicBezTo>
                    <a:cubicBezTo>
                      <a:pt x="20" y="7"/>
                      <a:pt x="13" y="16"/>
                      <a:pt x="8"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8" name="Freeform 58"/>
              <p:cNvSpPr>
                <a:spLocks/>
              </p:cNvSpPr>
              <p:nvPr/>
            </p:nvSpPr>
            <p:spPr bwMode="auto">
              <a:xfrm>
                <a:off x="2457450" y="1230313"/>
                <a:ext cx="22225" cy="7938"/>
              </a:xfrm>
              <a:custGeom>
                <a:avLst/>
                <a:gdLst/>
                <a:ahLst/>
                <a:cxnLst>
                  <a:cxn ang="0">
                    <a:pos x="6" y="6"/>
                  </a:cxn>
                  <a:cxn ang="0">
                    <a:pos x="0" y="0"/>
                  </a:cxn>
                  <a:cxn ang="0">
                    <a:pos x="16" y="0"/>
                  </a:cxn>
                  <a:cxn ang="0">
                    <a:pos x="16" y="6"/>
                  </a:cxn>
                  <a:cxn ang="0">
                    <a:pos x="6" y="6"/>
                  </a:cxn>
                </a:cxnLst>
                <a:rect l="0" t="0" r="r" b="b"/>
                <a:pathLst>
                  <a:path w="16" h="6">
                    <a:moveTo>
                      <a:pt x="6" y="6"/>
                    </a:moveTo>
                    <a:cubicBezTo>
                      <a:pt x="4" y="6"/>
                      <a:pt x="0" y="4"/>
                      <a:pt x="0" y="0"/>
                    </a:cubicBezTo>
                    <a:cubicBezTo>
                      <a:pt x="16" y="0"/>
                      <a:pt x="16" y="0"/>
                      <a:pt x="16" y="0"/>
                    </a:cubicBezTo>
                    <a:cubicBezTo>
                      <a:pt x="16" y="6"/>
                      <a:pt x="16" y="6"/>
                      <a:pt x="16" y="6"/>
                    </a:cubicBezTo>
                    <a:cubicBezTo>
                      <a:pt x="14" y="6"/>
                      <a:pt x="6" y="6"/>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39" name="Freeform 59"/>
              <p:cNvSpPr>
                <a:spLocks/>
              </p:cNvSpPr>
              <p:nvPr/>
            </p:nvSpPr>
            <p:spPr bwMode="auto">
              <a:xfrm>
                <a:off x="2324100" y="1203325"/>
                <a:ext cx="117475" cy="65088"/>
              </a:xfrm>
              <a:custGeom>
                <a:avLst/>
                <a:gdLst/>
                <a:ahLst/>
                <a:cxnLst>
                  <a:cxn ang="0">
                    <a:pos x="88" y="8"/>
                  </a:cxn>
                  <a:cxn ang="0">
                    <a:pos x="82" y="15"/>
                  </a:cxn>
                  <a:cxn ang="0">
                    <a:pos x="86" y="24"/>
                  </a:cxn>
                  <a:cxn ang="0">
                    <a:pos x="67" y="38"/>
                  </a:cxn>
                  <a:cxn ang="0">
                    <a:pos x="56" y="26"/>
                  </a:cxn>
                  <a:cxn ang="0">
                    <a:pos x="41" y="39"/>
                  </a:cxn>
                  <a:cxn ang="0">
                    <a:pos x="32" y="49"/>
                  </a:cxn>
                  <a:cxn ang="0">
                    <a:pos x="24" y="42"/>
                  </a:cxn>
                  <a:cxn ang="0">
                    <a:pos x="12" y="42"/>
                  </a:cxn>
                  <a:cxn ang="0">
                    <a:pos x="4" y="46"/>
                  </a:cxn>
                  <a:cxn ang="0">
                    <a:pos x="0" y="39"/>
                  </a:cxn>
                  <a:cxn ang="0">
                    <a:pos x="10" y="31"/>
                  </a:cxn>
                  <a:cxn ang="0">
                    <a:pos x="31" y="23"/>
                  </a:cxn>
                  <a:cxn ang="0">
                    <a:pos x="54" y="6"/>
                  </a:cxn>
                  <a:cxn ang="0">
                    <a:pos x="62" y="7"/>
                  </a:cxn>
                  <a:cxn ang="0">
                    <a:pos x="88" y="8"/>
                  </a:cxn>
                </a:cxnLst>
                <a:rect l="0" t="0" r="r" b="b"/>
                <a:pathLst>
                  <a:path w="88" h="49">
                    <a:moveTo>
                      <a:pt x="88" y="8"/>
                    </a:moveTo>
                    <a:cubicBezTo>
                      <a:pt x="88" y="11"/>
                      <a:pt x="86" y="14"/>
                      <a:pt x="82" y="15"/>
                    </a:cubicBezTo>
                    <a:cubicBezTo>
                      <a:pt x="83" y="19"/>
                      <a:pt x="86" y="20"/>
                      <a:pt x="86" y="24"/>
                    </a:cubicBezTo>
                    <a:cubicBezTo>
                      <a:pt x="67" y="38"/>
                      <a:pt x="67" y="38"/>
                      <a:pt x="67" y="38"/>
                    </a:cubicBezTo>
                    <a:cubicBezTo>
                      <a:pt x="60" y="38"/>
                      <a:pt x="60" y="28"/>
                      <a:pt x="56" y="26"/>
                    </a:cubicBezTo>
                    <a:cubicBezTo>
                      <a:pt x="55" y="33"/>
                      <a:pt x="48" y="40"/>
                      <a:pt x="41" y="39"/>
                    </a:cubicBezTo>
                    <a:cubicBezTo>
                      <a:pt x="40" y="44"/>
                      <a:pt x="37" y="49"/>
                      <a:pt x="32" y="49"/>
                    </a:cubicBezTo>
                    <a:cubicBezTo>
                      <a:pt x="28" y="49"/>
                      <a:pt x="25" y="44"/>
                      <a:pt x="24" y="42"/>
                    </a:cubicBezTo>
                    <a:cubicBezTo>
                      <a:pt x="19" y="45"/>
                      <a:pt x="16" y="42"/>
                      <a:pt x="12" y="42"/>
                    </a:cubicBezTo>
                    <a:cubicBezTo>
                      <a:pt x="9" y="42"/>
                      <a:pt x="8" y="45"/>
                      <a:pt x="4" y="46"/>
                    </a:cubicBezTo>
                    <a:cubicBezTo>
                      <a:pt x="4" y="43"/>
                      <a:pt x="0" y="41"/>
                      <a:pt x="0" y="39"/>
                    </a:cubicBezTo>
                    <a:cubicBezTo>
                      <a:pt x="0" y="38"/>
                      <a:pt x="8" y="32"/>
                      <a:pt x="10" y="31"/>
                    </a:cubicBezTo>
                    <a:cubicBezTo>
                      <a:pt x="17" y="28"/>
                      <a:pt x="23" y="27"/>
                      <a:pt x="31" y="23"/>
                    </a:cubicBezTo>
                    <a:cubicBezTo>
                      <a:pt x="39" y="18"/>
                      <a:pt x="41" y="6"/>
                      <a:pt x="54" y="6"/>
                    </a:cubicBezTo>
                    <a:cubicBezTo>
                      <a:pt x="57" y="6"/>
                      <a:pt x="58" y="7"/>
                      <a:pt x="62" y="7"/>
                    </a:cubicBezTo>
                    <a:cubicBezTo>
                      <a:pt x="62" y="7"/>
                      <a:pt x="88" y="0"/>
                      <a:pt x="88"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0" name="Freeform 60"/>
              <p:cNvSpPr>
                <a:spLocks/>
              </p:cNvSpPr>
              <p:nvPr/>
            </p:nvSpPr>
            <p:spPr bwMode="auto">
              <a:xfrm>
                <a:off x="2481263" y="1162050"/>
                <a:ext cx="66675" cy="20638"/>
              </a:xfrm>
              <a:custGeom>
                <a:avLst/>
                <a:gdLst/>
                <a:ahLst/>
                <a:cxnLst>
                  <a:cxn ang="0">
                    <a:pos x="20" y="15"/>
                  </a:cxn>
                  <a:cxn ang="0">
                    <a:pos x="9" y="12"/>
                  </a:cxn>
                  <a:cxn ang="0">
                    <a:pos x="0" y="15"/>
                  </a:cxn>
                  <a:cxn ang="0">
                    <a:pos x="32" y="0"/>
                  </a:cxn>
                  <a:cxn ang="0">
                    <a:pos x="50" y="11"/>
                  </a:cxn>
                  <a:cxn ang="0">
                    <a:pos x="39" y="15"/>
                  </a:cxn>
                  <a:cxn ang="0">
                    <a:pos x="20" y="15"/>
                  </a:cxn>
                </a:cxnLst>
                <a:rect l="0" t="0" r="r" b="b"/>
                <a:pathLst>
                  <a:path w="50" h="15">
                    <a:moveTo>
                      <a:pt x="20" y="15"/>
                    </a:moveTo>
                    <a:cubicBezTo>
                      <a:pt x="14" y="15"/>
                      <a:pt x="13" y="12"/>
                      <a:pt x="9" y="12"/>
                    </a:cubicBezTo>
                    <a:cubicBezTo>
                      <a:pt x="5" y="12"/>
                      <a:pt x="3" y="15"/>
                      <a:pt x="0" y="15"/>
                    </a:cubicBezTo>
                    <a:cubicBezTo>
                      <a:pt x="0" y="9"/>
                      <a:pt x="26" y="0"/>
                      <a:pt x="32" y="0"/>
                    </a:cubicBezTo>
                    <a:cubicBezTo>
                      <a:pt x="41" y="0"/>
                      <a:pt x="49" y="5"/>
                      <a:pt x="50" y="11"/>
                    </a:cubicBezTo>
                    <a:cubicBezTo>
                      <a:pt x="47" y="12"/>
                      <a:pt x="44" y="15"/>
                      <a:pt x="39" y="15"/>
                    </a:cubicBezTo>
                    <a:cubicBezTo>
                      <a:pt x="27" y="15"/>
                      <a:pt x="29" y="15"/>
                      <a:pt x="20"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1" name="Freeform 61"/>
              <p:cNvSpPr>
                <a:spLocks/>
              </p:cNvSpPr>
              <p:nvPr/>
            </p:nvSpPr>
            <p:spPr bwMode="auto">
              <a:xfrm>
                <a:off x="2482850" y="1185863"/>
                <a:ext cx="58738" cy="30163"/>
              </a:xfrm>
              <a:custGeom>
                <a:avLst/>
                <a:gdLst/>
                <a:ahLst/>
                <a:cxnLst>
                  <a:cxn ang="0">
                    <a:pos x="38" y="10"/>
                  </a:cxn>
                  <a:cxn ang="0">
                    <a:pos x="14" y="23"/>
                  </a:cxn>
                  <a:cxn ang="0">
                    <a:pos x="0" y="11"/>
                  </a:cxn>
                  <a:cxn ang="0">
                    <a:pos x="36" y="0"/>
                  </a:cxn>
                  <a:cxn ang="0">
                    <a:pos x="44" y="5"/>
                  </a:cxn>
                  <a:cxn ang="0">
                    <a:pos x="25" y="10"/>
                  </a:cxn>
                  <a:cxn ang="0">
                    <a:pos x="38" y="10"/>
                  </a:cxn>
                </a:cxnLst>
                <a:rect l="0" t="0" r="r" b="b"/>
                <a:pathLst>
                  <a:path w="44" h="23">
                    <a:moveTo>
                      <a:pt x="38" y="10"/>
                    </a:moveTo>
                    <a:cubicBezTo>
                      <a:pt x="38" y="19"/>
                      <a:pt x="24" y="23"/>
                      <a:pt x="14" y="23"/>
                    </a:cubicBezTo>
                    <a:cubicBezTo>
                      <a:pt x="8" y="23"/>
                      <a:pt x="0" y="15"/>
                      <a:pt x="0" y="11"/>
                    </a:cubicBezTo>
                    <a:cubicBezTo>
                      <a:pt x="0" y="1"/>
                      <a:pt x="27" y="0"/>
                      <a:pt x="36" y="0"/>
                    </a:cubicBezTo>
                    <a:cubicBezTo>
                      <a:pt x="41" y="0"/>
                      <a:pt x="43" y="3"/>
                      <a:pt x="44" y="5"/>
                    </a:cubicBezTo>
                    <a:cubicBezTo>
                      <a:pt x="39" y="9"/>
                      <a:pt x="32" y="10"/>
                      <a:pt x="25" y="10"/>
                    </a:cubicBezTo>
                    <a:lnTo>
                      <a:pt x="38"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2" name="Freeform 62"/>
              <p:cNvSpPr>
                <a:spLocks/>
              </p:cNvSpPr>
              <p:nvPr/>
            </p:nvSpPr>
            <p:spPr bwMode="auto">
              <a:xfrm>
                <a:off x="2454275" y="1181100"/>
                <a:ext cx="20638" cy="22225"/>
              </a:xfrm>
              <a:custGeom>
                <a:avLst/>
                <a:gdLst/>
                <a:ahLst/>
                <a:cxnLst>
                  <a:cxn ang="0">
                    <a:pos x="15" y="12"/>
                  </a:cxn>
                  <a:cxn ang="0">
                    <a:pos x="9" y="17"/>
                  </a:cxn>
                  <a:cxn ang="0">
                    <a:pos x="0" y="11"/>
                  </a:cxn>
                  <a:cxn ang="0">
                    <a:pos x="15" y="12"/>
                  </a:cxn>
                </a:cxnLst>
                <a:rect l="0" t="0" r="r" b="b"/>
                <a:pathLst>
                  <a:path w="15" h="17">
                    <a:moveTo>
                      <a:pt x="15" y="12"/>
                    </a:moveTo>
                    <a:cubicBezTo>
                      <a:pt x="13" y="15"/>
                      <a:pt x="12" y="17"/>
                      <a:pt x="9" y="17"/>
                    </a:cubicBezTo>
                    <a:cubicBezTo>
                      <a:pt x="5" y="17"/>
                      <a:pt x="0" y="13"/>
                      <a:pt x="0" y="11"/>
                    </a:cubicBezTo>
                    <a:cubicBezTo>
                      <a:pt x="0" y="0"/>
                      <a:pt x="12" y="11"/>
                      <a:pt x="15"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3" name="Freeform 63"/>
              <p:cNvSpPr>
                <a:spLocks/>
              </p:cNvSpPr>
              <p:nvPr/>
            </p:nvSpPr>
            <p:spPr bwMode="auto">
              <a:xfrm>
                <a:off x="2671763" y="1335088"/>
                <a:ext cx="100013" cy="80963"/>
              </a:xfrm>
              <a:custGeom>
                <a:avLst/>
                <a:gdLst/>
                <a:ahLst/>
                <a:cxnLst>
                  <a:cxn ang="0">
                    <a:pos x="66" y="23"/>
                  </a:cxn>
                  <a:cxn ang="0">
                    <a:pos x="65" y="30"/>
                  </a:cxn>
                  <a:cxn ang="0">
                    <a:pos x="75" y="32"/>
                  </a:cxn>
                  <a:cxn ang="0">
                    <a:pos x="57" y="55"/>
                  </a:cxn>
                  <a:cxn ang="0">
                    <a:pos x="49" y="61"/>
                  </a:cxn>
                  <a:cxn ang="0">
                    <a:pos x="39" y="54"/>
                  </a:cxn>
                  <a:cxn ang="0">
                    <a:pos x="0" y="30"/>
                  </a:cxn>
                  <a:cxn ang="0">
                    <a:pos x="0" y="23"/>
                  </a:cxn>
                  <a:cxn ang="0">
                    <a:pos x="20" y="28"/>
                  </a:cxn>
                  <a:cxn ang="0">
                    <a:pos x="27" y="28"/>
                  </a:cxn>
                  <a:cxn ang="0">
                    <a:pos x="27" y="16"/>
                  </a:cxn>
                  <a:cxn ang="0">
                    <a:pos x="12" y="11"/>
                  </a:cxn>
                  <a:cxn ang="0">
                    <a:pos x="16" y="7"/>
                  </a:cxn>
                  <a:cxn ang="0">
                    <a:pos x="42" y="2"/>
                  </a:cxn>
                  <a:cxn ang="0">
                    <a:pos x="60" y="2"/>
                  </a:cxn>
                  <a:cxn ang="0">
                    <a:pos x="64" y="6"/>
                  </a:cxn>
                  <a:cxn ang="0">
                    <a:pos x="50" y="22"/>
                  </a:cxn>
                  <a:cxn ang="0">
                    <a:pos x="66" y="23"/>
                  </a:cxn>
                </a:cxnLst>
                <a:rect l="0" t="0" r="r" b="b"/>
                <a:pathLst>
                  <a:path w="75" h="61">
                    <a:moveTo>
                      <a:pt x="66" y="23"/>
                    </a:moveTo>
                    <a:cubicBezTo>
                      <a:pt x="66" y="29"/>
                      <a:pt x="65" y="25"/>
                      <a:pt x="65" y="30"/>
                    </a:cubicBezTo>
                    <a:cubicBezTo>
                      <a:pt x="67" y="30"/>
                      <a:pt x="72" y="31"/>
                      <a:pt x="75" y="32"/>
                    </a:cubicBezTo>
                    <a:cubicBezTo>
                      <a:pt x="73" y="56"/>
                      <a:pt x="72" y="49"/>
                      <a:pt x="57" y="55"/>
                    </a:cubicBezTo>
                    <a:cubicBezTo>
                      <a:pt x="53" y="56"/>
                      <a:pt x="53" y="61"/>
                      <a:pt x="49" y="61"/>
                    </a:cubicBezTo>
                    <a:cubicBezTo>
                      <a:pt x="42" y="61"/>
                      <a:pt x="42" y="56"/>
                      <a:pt x="39" y="54"/>
                    </a:cubicBezTo>
                    <a:cubicBezTo>
                      <a:pt x="27" y="41"/>
                      <a:pt x="13" y="43"/>
                      <a:pt x="0" y="30"/>
                    </a:cubicBezTo>
                    <a:cubicBezTo>
                      <a:pt x="0" y="23"/>
                      <a:pt x="0" y="23"/>
                      <a:pt x="0" y="23"/>
                    </a:cubicBezTo>
                    <a:cubicBezTo>
                      <a:pt x="6" y="23"/>
                      <a:pt x="12" y="28"/>
                      <a:pt x="20" y="28"/>
                    </a:cubicBezTo>
                    <a:cubicBezTo>
                      <a:pt x="24" y="28"/>
                      <a:pt x="23" y="28"/>
                      <a:pt x="27" y="28"/>
                    </a:cubicBezTo>
                    <a:cubicBezTo>
                      <a:pt x="27" y="16"/>
                      <a:pt x="27" y="16"/>
                      <a:pt x="27" y="16"/>
                    </a:cubicBezTo>
                    <a:cubicBezTo>
                      <a:pt x="21" y="15"/>
                      <a:pt x="12" y="16"/>
                      <a:pt x="12" y="11"/>
                    </a:cubicBezTo>
                    <a:cubicBezTo>
                      <a:pt x="12" y="9"/>
                      <a:pt x="15" y="8"/>
                      <a:pt x="16" y="7"/>
                    </a:cubicBezTo>
                    <a:cubicBezTo>
                      <a:pt x="23" y="0"/>
                      <a:pt x="32" y="2"/>
                      <a:pt x="42" y="2"/>
                    </a:cubicBezTo>
                    <a:cubicBezTo>
                      <a:pt x="50" y="2"/>
                      <a:pt x="60" y="2"/>
                      <a:pt x="60" y="2"/>
                    </a:cubicBezTo>
                    <a:cubicBezTo>
                      <a:pt x="61" y="2"/>
                      <a:pt x="64" y="4"/>
                      <a:pt x="64" y="6"/>
                    </a:cubicBezTo>
                    <a:cubicBezTo>
                      <a:pt x="64" y="15"/>
                      <a:pt x="53" y="18"/>
                      <a:pt x="50" y="22"/>
                    </a:cubicBezTo>
                    <a:cubicBezTo>
                      <a:pt x="53" y="22"/>
                      <a:pt x="66" y="18"/>
                      <a:pt x="66"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4" name="Freeform 64"/>
              <p:cNvSpPr>
                <a:spLocks/>
              </p:cNvSpPr>
              <p:nvPr/>
            </p:nvSpPr>
            <p:spPr bwMode="auto">
              <a:xfrm>
                <a:off x="2636838" y="1236663"/>
                <a:ext cx="111125" cy="60325"/>
              </a:xfrm>
              <a:custGeom>
                <a:avLst/>
                <a:gdLst/>
                <a:ahLst/>
                <a:cxnLst>
                  <a:cxn ang="0">
                    <a:pos x="4" y="11"/>
                  </a:cxn>
                  <a:cxn ang="0">
                    <a:pos x="0" y="2"/>
                  </a:cxn>
                  <a:cxn ang="0">
                    <a:pos x="5" y="2"/>
                  </a:cxn>
                  <a:cxn ang="0">
                    <a:pos x="38" y="20"/>
                  </a:cxn>
                  <a:cxn ang="0">
                    <a:pos x="29" y="13"/>
                  </a:cxn>
                  <a:cxn ang="0">
                    <a:pos x="29" y="8"/>
                  </a:cxn>
                  <a:cxn ang="0">
                    <a:pos x="54" y="17"/>
                  </a:cxn>
                  <a:cxn ang="0">
                    <a:pos x="54" y="8"/>
                  </a:cxn>
                  <a:cxn ang="0">
                    <a:pos x="38" y="1"/>
                  </a:cxn>
                  <a:cxn ang="0">
                    <a:pos x="46" y="1"/>
                  </a:cxn>
                  <a:cxn ang="0">
                    <a:pos x="66" y="5"/>
                  </a:cxn>
                  <a:cxn ang="0">
                    <a:pos x="75" y="2"/>
                  </a:cxn>
                  <a:cxn ang="0">
                    <a:pos x="84" y="13"/>
                  </a:cxn>
                  <a:cxn ang="0">
                    <a:pos x="80" y="41"/>
                  </a:cxn>
                  <a:cxn ang="0">
                    <a:pos x="62" y="43"/>
                  </a:cxn>
                  <a:cxn ang="0">
                    <a:pos x="48" y="41"/>
                  </a:cxn>
                  <a:cxn ang="0">
                    <a:pos x="51" y="36"/>
                  </a:cxn>
                  <a:cxn ang="0">
                    <a:pos x="51" y="32"/>
                  </a:cxn>
                  <a:cxn ang="0">
                    <a:pos x="62" y="25"/>
                  </a:cxn>
                  <a:cxn ang="0">
                    <a:pos x="57" y="24"/>
                  </a:cxn>
                  <a:cxn ang="0">
                    <a:pos x="25" y="28"/>
                  </a:cxn>
                  <a:cxn ang="0">
                    <a:pos x="20" y="23"/>
                  </a:cxn>
                  <a:cxn ang="0">
                    <a:pos x="13" y="23"/>
                  </a:cxn>
                  <a:cxn ang="0">
                    <a:pos x="12" y="19"/>
                  </a:cxn>
                  <a:cxn ang="0">
                    <a:pos x="1" y="14"/>
                  </a:cxn>
                  <a:cxn ang="0">
                    <a:pos x="1" y="6"/>
                  </a:cxn>
                  <a:cxn ang="0">
                    <a:pos x="4" y="11"/>
                  </a:cxn>
                </a:cxnLst>
                <a:rect l="0" t="0" r="r" b="b"/>
                <a:pathLst>
                  <a:path w="84" h="45">
                    <a:moveTo>
                      <a:pt x="4" y="11"/>
                    </a:moveTo>
                    <a:cubicBezTo>
                      <a:pt x="2" y="9"/>
                      <a:pt x="0" y="6"/>
                      <a:pt x="0" y="2"/>
                    </a:cubicBezTo>
                    <a:cubicBezTo>
                      <a:pt x="1" y="2"/>
                      <a:pt x="3" y="2"/>
                      <a:pt x="5" y="2"/>
                    </a:cubicBezTo>
                    <a:cubicBezTo>
                      <a:pt x="18" y="2"/>
                      <a:pt x="24" y="24"/>
                      <a:pt x="38" y="20"/>
                    </a:cubicBezTo>
                    <a:cubicBezTo>
                      <a:pt x="35" y="18"/>
                      <a:pt x="31" y="15"/>
                      <a:pt x="29" y="13"/>
                    </a:cubicBezTo>
                    <a:cubicBezTo>
                      <a:pt x="29" y="8"/>
                      <a:pt x="29" y="8"/>
                      <a:pt x="29" y="8"/>
                    </a:cubicBezTo>
                    <a:cubicBezTo>
                      <a:pt x="39" y="8"/>
                      <a:pt x="43" y="17"/>
                      <a:pt x="54" y="17"/>
                    </a:cubicBezTo>
                    <a:cubicBezTo>
                      <a:pt x="54" y="8"/>
                      <a:pt x="54" y="8"/>
                      <a:pt x="54" y="8"/>
                    </a:cubicBezTo>
                    <a:cubicBezTo>
                      <a:pt x="46" y="8"/>
                      <a:pt x="40" y="8"/>
                      <a:pt x="38" y="1"/>
                    </a:cubicBezTo>
                    <a:cubicBezTo>
                      <a:pt x="41" y="0"/>
                      <a:pt x="43" y="1"/>
                      <a:pt x="46" y="1"/>
                    </a:cubicBezTo>
                    <a:cubicBezTo>
                      <a:pt x="53" y="1"/>
                      <a:pt x="58" y="5"/>
                      <a:pt x="66" y="5"/>
                    </a:cubicBezTo>
                    <a:cubicBezTo>
                      <a:pt x="69" y="5"/>
                      <a:pt x="71" y="2"/>
                      <a:pt x="75" y="2"/>
                    </a:cubicBezTo>
                    <a:cubicBezTo>
                      <a:pt x="83" y="2"/>
                      <a:pt x="84" y="6"/>
                      <a:pt x="84" y="13"/>
                    </a:cubicBezTo>
                    <a:cubicBezTo>
                      <a:pt x="84" y="23"/>
                      <a:pt x="78" y="28"/>
                      <a:pt x="80" y="41"/>
                    </a:cubicBezTo>
                    <a:cubicBezTo>
                      <a:pt x="73" y="43"/>
                      <a:pt x="64" y="43"/>
                      <a:pt x="62" y="43"/>
                    </a:cubicBezTo>
                    <a:cubicBezTo>
                      <a:pt x="60" y="43"/>
                      <a:pt x="48" y="45"/>
                      <a:pt x="48" y="41"/>
                    </a:cubicBezTo>
                    <a:cubicBezTo>
                      <a:pt x="48" y="39"/>
                      <a:pt x="50" y="37"/>
                      <a:pt x="51" y="36"/>
                    </a:cubicBezTo>
                    <a:cubicBezTo>
                      <a:pt x="51" y="35"/>
                      <a:pt x="51" y="33"/>
                      <a:pt x="51" y="32"/>
                    </a:cubicBezTo>
                    <a:cubicBezTo>
                      <a:pt x="51" y="28"/>
                      <a:pt x="60" y="28"/>
                      <a:pt x="62" y="25"/>
                    </a:cubicBezTo>
                    <a:cubicBezTo>
                      <a:pt x="61" y="24"/>
                      <a:pt x="59" y="24"/>
                      <a:pt x="57" y="24"/>
                    </a:cubicBezTo>
                    <a:cubicBezTo>
                      <a:pt x="49" y="24"/>
                      <a:pt x="34" y="28"/>
                      <a:pt x="25" y="28"/>
                    </a:cubicBezTo>
                    <a:cubicBezTo>
                      <a:pt x="22" y="28"/>
                      <a:pt x="20" y="26"/>
                      <a:pt x="20" y="23"/>
                    </a:cubicBezTo>
                    <a:cubicBezTo>
                      <a:pt x="13" y="23"/>
                      <a:pt x="13" y="23"/>
                      <a:pt x="13" y="23"/>
                    </a:cubicBezTo>
                    <a:cubicBezTo>
                      <a:pt x="12" y="19"/>
                      <a:pt x="12" y="19"/>
                      <a:pt x="12" y="19"/>
                    </a:cubicBezTo>
                    <a:cubicBezTo>
                      <a:pt x="7" y="20"/>
                      <a:pt x="4" y="17"/>
                      <a:pt x="1" y="14"/>
                    </a:cubicBezTo>
                    <a:cubicBezTo>
                      <a:pt x="1" y="6"/>
                      <a:pt x="1" y="6"/>
                      <a:pt x="1" y="6"/>
                    </a:cubicBezTo>
                    <a:lnTo>
                      <a:pt x="4"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5" name="Freeform 65"/>
              <p:cNvSpPr>
                <a:spLocks/>
              </p:cNvSpPr>
              <p:nvPr/>
            </p:nvSpPr>
            <p:spPr bwMode="auto">
              <a:xfrm>
                <a:off x="2720975" y="1462088"/>
                <a:ext cx="65088" cy="38100"/>
              </a:xfrm>
              <a:custGeom>
                <a:avLst/>
                <a:gdLst/>
                <a:ahLst/>
                <a:cxnLst>
                  <a:cxn ang="0">
                    <a:pos x="38" y="29"/>
                  </a:cxn>
                  <a:cxn ang="0">
                    <a:pos x="0" y="16"/>
                  </a:cxn>
                  <a:cxn ang="0">
                    <a:pos x="9" y="14"/>
                  </a:cxn>
                  <a:cxn ang="0">
                    <a:pos x="22" y="0"/>
                  </a:cxn>
                  <a:cxn ang="0">
                    <a:pos x="49" y="22"/>
                  </a:cxn>
                  <a:cxn ang="0">
                    <a:pos x="38" y="29"/>
                  </a:cxn>
                </a:cxnLst>
                <a:rect l="0" t="0" r="r" b="b"/>
                <a:pathLst>
                  <a:path w="49" h="29">
                    <a:moveTo>
                      <a:pt x="38" y="29"/>
                    </a:moveTo>
                    <a:cubicBezTo>
                      <a:pt x="32" y="29"/>
                      <a:pt x="0" y="17"/>
                      <a:pt x="0" y="16"/>
                    </a:cubicBezTo>
                    <a:cubicBezTo>
                      <a:pt x="0" y="12"/>
                      <a:pt x="8" y="14"/>
                      <a:pt x="9" y="14"/>
                    </a:cubicBezTo>
                    <a:cubicBezTo>
                      <a:pt x="15" y="12"/>
                      <a:pt x="13" y="0"/>
                      <a:pt x="22" y="0"/>
                    </a:cubicBezTo>
                    <a:cubicBezTo>
                      <a:pt x="28" y="0"/>
                      <a:pt x="46" y="16"/>
                      <a:pt x="49" y="22"/>
                    </a:cubicBezTo>
                    <a:cubicBezTo>
                      <a:pt x="45" y="25"/>
                      <a:pt x="43" y="29"/>
                      <a:pt x="38"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6" name="Freeform 66"/>
              <p:cNvSpPr>
                <a:spLocks/>
              </p:cNvSpPr>
              <p:nvPr/>
            </p:nvSpPr>
            <p:spPr bwMode="auto">
              <a:xfrm>
                <a:off x="2784475" y="1323975"/>
                <a:ext cx="85725" cy="69850"/>
              </a:xfrm>
              <a:custGeom>
                <a:avLst/>
                <a:gdLst/>
                <a:ahLst/>
                <a:cxnLst>
                  <a:cxn ang="0">
                    <a:pos x="65" y="11"/>
                  </a:cxn>
                  <a:cxn ang="0">
                    <a:pos x="57" y="18"/>
                  </a:cxn>
                  <a:cxn ang="0">
                    <a:pos x="32" y="35"/>
                  </a:cxn>
                  <a:cxn ang="0">
                    <a:pos x="20" y="38"/>
                  </a:cxn>
                  <a:cxn ang="0">
                    <a:pos x="25" y="38"/>
                  </a:cxn>
                  <a:cxn ang="0">
                    <a:pos x="15" y="53"/>
                  </a:cxn>
                  <a:cxn ang="0">
                    <a:pos x="6" y="53"/>
                  </a:cxn>
                  <a:cxn ang="0">
                    <a:pos x="7" y="40"/>
                  </a:cxn>
                  <a:cxn ang="0">
                    <a:pos x="0" y="19"/>
                  </a:cxn>
                  <a:cxn ang="0">
                    <a:pos x="0" y="11"/>
                  </a:cxn>
                  <a:cxn ang="0">
                    <a:pos x="10" y="11"/>
                  </a:cxn>
                  <a:cxn ang="0">
                    <a:pos x="10" y="7"/>
                  </a:cxn>
                  <a:cxn ang="0">
                    <a:pos x="22" y="0"/>
                  </a:cxn>
                  <a:cxn ang="0">
                    <a:pos x="65" y="5"/>
                  </a:cxn>
                  <a:cxn ang="0">
                    <a:pos x="65" y="11"/>
                  </a:cxn>
                </a:cxnLst>
                <a:rect l="0" t="0" r="r" b="b"/>
                <a:pathLst>
                  <a:path w="65" h="53">
                    <a:moveTo>
                      <a:pt x="65" y="11"/>
                    </a:moveTo>
                    <a:cubicBezTo>
                      <a:pt x="65" y="12"/>
                      <a:pt x="57" y="18"/>
                      <a:pt x="57" y="18"/>
                    </a:cubicBezTo>
                    <a:cubicBezTo>
                      <a:pt x="51" y="26"/>
                      <a:pt x="45" y="35"/>
                      <a:pt x="32" y="35"/>
                    </a:cubicBezTo>
                    <a:cubicBezTo>
                      <a:pt x="22" y="35"/>
                      <a:pt x="22" y="30"/>
                      <a:pt x="20" y="38"/>
                    </a:cubicBezTo>
                    <a:cubicBezTo>
                      <a:pt x="25" y="38"/>
                      <a:pt x="25" y="38"/>
                      <a:pt x="25" y="38"/>
                    </a:cubicBezTo>
                    <a:cubicBezTo>
                      <a:pt x="24" y="46"/>
                      <a:pt x="21" y="48"/>
                      <a:pt x="15" y="53"/>
                    </a:cubicBezTo>
                    <a:cubicBezTo>
                      <a:pt x="6" y="53"/>
                      <a:pt x="6" y="53"/>
                      <a:pt x="6" y="53"/>
                    </a:cubicBezTo>
                    <a:cubicBezTo>
                      <a:pt x="6" y="47"/>
                      <a:pt x="6" y="42"/>
                      <a:pt x="7" y="40"/>
                    </a:cubicBezTo>
                    <a:cubicBezTo>
                      <a:pt x="0" y="33"/>
                      <a:pt x="3" y="27"/>
                      <a:pt x="0" y="19"/>
                    </a:cubicBezTo>
                    <a:cubicBezTo>
                      <a:pt x="0" y="11"/>
                      <a:pt x="0" y="11"/>
                      <a:pt x="0" y="11"/>
                    </a:cubicBezTo>
                    <a:cubicBezTo>
                      <a:pt x="3" y="11"/>
                      <a:pt x="8" y="11"/>
                      <a:pt x="10" y="11"/>
                    </a:cubicBezTo>
                    <a:cubicBezTo>
                      <a:pt x="9" y="11"/>
                      <a:pt x="10" y="8"/>
                      <a:pt x="10" y="7"/>
                    </a:cubicBezTo>
                    <a:cubicBezTo>
                      <a:pt x="10" y="6"/>
                      <a:pt x="13" y="0"/>
                      <a:pt x="22" y="0"/>
                    </a:cubicBezTo>
                    <a:cubicBezTo>
                      <a:pt x="37" y="0"/>
                      <a:pt x="49" y="5"/>
                      <a:pt x="65" y="5"/>
                    </a:cubicBezTo>
                    <a:cubicBezTo>
                      <a:pt x="65" y="8"/>
                      <a:pt x="65" y="9"/>
                      <a:pt x="65"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7" name="Freeform 67"/>
              <p:cNvSpPr>
                <a:spLocks/>
              </p:cNvSpPr>
              <p:nvPr/>
            </p:nvSpPr>
            <p:spPr bwMode="auto">
              <a:xfrm>
                <a:off x="2608263" y="1198563"/>
                <a:ext cx="28575" cy="23813"/>
              </a:xfrm>
              <a:custGeom>
                <a:avLst/>
                <a:gdLst/>
                <a:ahLst/>
                <a:cxnLst>
                  <a:cxn ang="0">
                    <a:pos x="21" y="12"/>
                  </a:cxn>
                  <a:cxn ang="0">
                    <a:pos x="15" y="18"/>
                  </a:cxn>
                  <a:cxn ang="0">
                    <a:pos x="0" y="0"/>
                  </a:cxn>
                  <a:cxn ang="0">
                    <a:pos x="21" y="12"/>
                  </a:cxn>
                </a:cxnLst>
                <a:rect l="0" t="0" r="r" b="b"/>
                <a:pathLst>
                  <a:path w="21" h="18">
                    <a:moveTo>
                      <a:pt x="21" y="12"/>
                    </a:moveTo>
                    <a:cubicBezTo>
                      <a:pt x="21" y="16"/>
                      <a:pt x="18" y="18"/>
                      <a:pt x="15" y="18"/>
                    </a:cubicBezTo>
                    <a:cubicBezTo>
                      <a:pt x="10" y="18"/>
                      <a:pt x="0" y="6"/>
                      <a:pt x="0" y="0"/>
                    </a:cubicBezTo>
                    <a:cubicBezTo>
                      <a:pt x="11" y="0"/>
                      <a:pt x="12" y="9"/>
                      <a:pt x="2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8" name="Freeform 68"/>
              <p:cNvSpPr>
                <a:spLocks/>
              </p:cNvSpPr>
              <p:nvPr/>
            </p:nvSpPr>
            <p:spPr bwMode="auto">
              <a:xfrm>
                <a:off x="2625725" y="1277938"/>
                <a:ext cx="19050" cy="15875"/>
              </a:xfrm>
              <a:custGeom>
                <a:avLst/>
                <a:gdLst/>
                <a:ahLst/>
                <a:cxnLst>
                  <a:cxn ang="0">
                    <a:pos x="12" y="0"/>
                  </a:cxn>
                  <a:cxn ang="0">
                    <a:pos x="15" y="6"/>
                  </a:cxn>
                  <a:cxn ang="0">
                    <a:pos x="9" y="12"/>
                  </a:cxn>
                  <a:cxn ang="0">
                    <a:pos x="0" y="12"/>
                  </a:cxn>
                  <a:cxn ang="0">
                    <a:pos x="12" y="0"/>
                  </a:cxn>
                </a:cxnLst>
                <a:rect l="0" t="0" r="r" b="b"/>
                <a:pathLst>
                  <a:path w="15" h="12">
                    <a:moveTo>
                      <a:pt x="12" y="0"/>
                    </a:moveTo>
                    <a:cubicBezTo>
                      <a:pt x="13" y="2"/>
                      <a:pt x="15" y="3"/>
                      <a:pt x="15" y="6"/>
                    </a:cubicBezTo>
                    <a:cubicBezTo>
                      <a:pt x="15" y="12"/>
                      <a:pt x="11" y="12"/>
                      <a:pt x="9" y="12"/>
                    </a:cubicBezTo>
                    <a:cubicBezTo>
                      <a:pt x="4" y="12"/>
                      <a:pt x="3" y="11"/>
                      <a:pt x="0" y="12"/>
                    </a:cubicBezTo>
                    <a:cubicBezTo>
                      <a:pt x="2" y="4"/>
                      <a:pt x="6" y="2"/>
                      <a:pt x="1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9" name="Freeform 69"/>
              <p:cNvSpPr>
                <a:spLocks/>
              </p:cNvSpPr>
              <p:nvPr/>
            </p:nvSpPr>
            <p:spPr bwMode="auto">
              <a:xfrm>
                <a:off x="2614613" y="1139825"/>
                <a:ext cx="109538" cy="57150"/>
              </a:xfrm>
              <a:custGeom>
                <a:avLst/>
                <a:gdLst/>
                <a:ahLst/>
                <a:cxnLst>
                  <a:cxn ang="0">
                    <a:pos x="54" y="32"/>
                  </a:cxn>
                  <a:cxn ang="0">
                    <a:pos x="33" y="30"/>
                  </a:cxn>
                  <a:cxn ang="0">
                    <a:pos x="19" y="29"/>
                  </a:cxn>
                  <a:cxn ang="0">
                    <a:pos x="7" y="25"/>
                  </a:cxn>
                  <a:cxn ang="0">
                    <a:pos x="20" y="20"/>
                  </a:cxn>
                  <a:cxn ang="0">
                    <a:pos x="20" y="15"/>
                  </a:cxn>
                  <a:cxn ang="0">
                    <a:pos x="5" y="15"/>
                  </a:cxn>
                  <a:cxn ang="0">
                    <a:pos x="8" y="10"/>
                  </a:cxn>
                  <a:cxn ang="0">
                    <a:pos x="0" y="3"/>
                  </a:cxn>
                  <a:cxn ang="0">
                    <a:pos x="14" y="0"/>
                  </a:cxn>
                  <a:cxn ang="0">
                    <a:pos x="31" y="8"/>
                  </a:cxn>
                  <a:cxn ang="0">
                    <a:pos x="40" y="4"/>
                  </a:cxn>
                  <a:cxn ang="0">
                    <a:pos x="53" y="15"/>
                  </a:cxn>
                  <a:cxn ang="0">
                    <a:pos x="60" y="11"/>
                  </a:cxn>
                  <a:cxn ang="0">
                    <a:pos x="73" y="21"/>
                  </a:cxn>
                  <a:cxn ang="0">
                    <a:pos x="70" y="26"/>
                  </a:cxn>
                  <a:cxn ang="0">
                    <a:pos x="82" y="37"/>
                  </a:cxn>
                  <a:cxn ang="0">
                    <a:pos x="74" y="43"/>
                  </a:cxn>
                  <a:cxn ang="0">
                    <a:pos x="54" y="32"/>
                  </a:cxn>
                </a:cxnLst>
                <a:rect l="0" t="0" r="r" b="b"/>
                <a:pathLst>
                  <a:path w="82" h="43">
                    <a:moveTo>
                      <a:pt x="54" y="32"/>
                    </a:moveTo>
                    <a:cubicBezTo>
                      <a:pt x="46" y="32"/>
                      <a:pt x="41" y="29"/>
                      <a:pt x="33" y="30"/>
                    </a:cubicBezTo>
                    <a:cubicBezTo>
                      <a:pt x="31" y="26"/>
                      <a:pt x="25" y="29"/>
                      <a:pt x="19" y="29"/>
                    </a:cubicBezTo>
                    <a:cubicBezTo>
                      <a:pt x="13" y="29"/>
                      <a:pt x="11" y="29"/>
                      <a:pt x="7" y="25"/>
                    </a:cubicBezTo>
                    <a:cubicBezTo>
                      <a:pt x="11" y="21"/>
                      <a:pt x="15" y="22"/>
                      <a:pt x="20" y="20"/>
                    </a:cubicBezTo>
                    <a:cubicBezTo>
                      <a:pt x="19" y="18"/>
                      <a:pt x="19" y="16"/>
                      <a:pt x="20" y="15"/>
                    </a:cubicBezTo>
                    <a:cubicBezTo>
                      <a:pt x="10" y="15"/>
                      <a:pt x="8" y="17"/>
                      <a:pt x="5" y="15"/>
                    </a:cubicBezTo>
                    <a:cubicBezTo>
                      <a:pt x="6" y="14"/>
                      <a:pt x="7" y="12"/>
                      <a:pt x="8" y="10"/>
                    </a:cubicBezTo>
                    <a:cubicBezTo>
                      <a:pt x="2" y="10"/>
                      <a:pt x="0" y="9"/>
                      <a:pt x="0" y="3"/>
                    </a:cubicBezTo>
                    <a:cubicBezTo>
                      <a:pt x="6" y="3"/>
                      <a:pt x="9" y="0"/>
                      <a:pt x="14" y="0"/>
                    </a:cubicBezTo>
                    <a:cubicBezTo>
                      <a:pt x="24" y="0"/>
                      <a:pt x="26" y="8"/>
                      <a:pt x="31" y="8"/>
                    </a:cubicBezTo>
                    <a:cubicBezTo>
                      <a:pt x="35" y="8"/>
                      <a:pt x="36" y="4"/>
                      <a:pt x="40" y="4"/>
                    </a:cubicBezTo>
                    <a:cubicBezTo>
                      <a:pt x="49" y="4"/>
                      <a:pt x="48" y="15"/>
                      <a:pt x="53" y="15"/>
                    </a:cubicBezTo>
                    <a:cubicBezTo>
                      <a:pt x="56" y="15"/>
                      <a:pt x="57" y="11"/>
                      <a:pt x="60" y="11"/>
                    </a:cubicBezTo>
                    <a:cubicBezTo>
                      <a:pt x="66" y="11"/>
                      <a:pt x="71" y="19"/>
                      <a:pt x="73" y="21"/>
                    </a:cubicBezTo>
                    <a:cubicBezTo>
                      <a:pt x="72" y="22"/>
                      <a:pt x="70" y="24"/>
                      <a:pt x="70" y="26"/>
                    </a:cubicBezTo>
                    <a:cubicBezTo>
                      <a:pt x="73" y="29"/>
                      <a:pt x="82" y="33"/>
                      <a:pt x="82" y="37"/>
                    </a:cubicBezTo>
                    <a:cubicBezTo>
                      <a:pt x="82" y="42"/>
                      <a:pt x="77" y="43"/>
                      <a:pt x="74" y="43"/>
                    </a:cubicBezTo>
                    <a:cubicBezTo>
                      <a:pt x="63" y="43"/>
                      <a:pt x="64" y="32"/>
                      <a:pt x="54" y="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0" name="Freeform 70"/>
              <p:cNvSpPr>
                <a:spLocks/>
              </p:cNvSpPr>
              <p:nvPr/>
            </p:nvSpPr>
            <p:spPr bwMode="auto">
              <a:xfrm>
                <a:off x="2657475" y="1189038"/>
                <a:ext cx="30163" cy="9525"/>
              </a:xfrm>
              <a:custGeom>
                <a:avLst/>
                <a:gdLst/>
                <a:ahLst/>
                <a:cxnLst>
                  <a:cxn ang="0">
                    <a:pos x="8" y="7"/>
                  </a:cxn>
                  <a:cxn ang="0">
                    <a:pos x="12" y="0"/>
                  </a:cxn>
                  <a:cxn ang="0">
                    <a:pos x="23" y="4"/>
                  </a:cxn>
                  <a:cxn ang="0">
                    <a:pos x="8" y="7"/>
                  </a:cxn>
                </a:cxnLst>
                <a:rect l="0" t="0" r="r" b="b"/>
                <a:pathLst>
                  <a:path w="23" h="7">
                    <a:moveTo>
                      <a:pt x="8" y="7"/>
                    </a:moveTo>
                    <a:cubicBezTo>
                      <a:pt x="0" y="7"/>
                      <a:pt x="11" y="0"/>
                      <a:pt x="12" y="0"/>
                    </a:cubicBezTo>
                    <a:cubicBezTo>
                      <a:pt x="17" y="0"/>
                      <a:pt x="19" y="3"/>
                      <a:pt x="23" y="4"/>
                    </a:cubicBezTo>
                    <a:cubicBezTo>
                      <a:pt x="20" y="7"/>
                      <a:pt x="15" y="7"/>
                      <a:pt x="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1" name="Freeform 71"/>
              <p:cNvSpPr>
                <a:spLocks/>
              </p:cNvSpPr>
              <p:nvPr/>
            </p:nvSpPr>
            <p:spPr bwMode="auto">
              <a:xfrm>
                <a:off x="2765425" y="1223963"/>
                <a:ext cx="287338" cy="90488"/>
              </a:xfrm>
              <a:custGeom>
                <a:avLst/>
                <a:gdLst/>
                <a:ahLst/>
                <a:cxnLst>
                  <a:cxn ang="0">
                    <a:pos x="215" y="45"/>
                  </a:cxn>
                  <a:cxn ang="0">
                    <a:pos x="210" y="51"/>
                  </a:cxn>
                  <a:cxn ang="0">
                    <a:pos x="216" y="52"/>
                  </a:cxn>
                  <a:cxn ang="0">
                    <a:pos x="179" y="67"/>
                  </a:cxn>
                  <a:cxn ang="0">
                    <a:pos x="170" y="60"/>
                  </a:cxn>
                  <a:cxn ang="0">
                    <a:pos x="159" y="66"/>
                  </a:cxn>
                  <a:cxn ang="0">
                    <a:pos x="124" y="66"/>
                  </a:cxn>
                  <a:cxn ang="0">
                    <a:pos x="102" y="60"/>
                  </a:cxn>
                  <a:cxn ang="0">
                    <a:pos x="97" y="60"/>
                  </a:cxn>
                  <a:cxn ang="0">
                    <a:pos x="84" y="67"/>
                  </a:cxn>
                  <a:cxn ang="0">
                    <a:pos x="53" y="47"/>
                  </a:cxn>
                  <a:cxn ang="0">
                    <a:pos x="58" y="40"/>
                  </a:cxn>
                  <a:cxn ang="0">
                    <a:pos x="40" y="18"/>
                  </a:cxn>
                  <a:cxn ang="0">
                    <a:pos x="32" y="22"/>
                  </a:cxn>
                  <a:cxn ang="0">
                    <a:pos x="0" y="7"/>
                  </a:cxn>
                  <a:cxn ang="0">
                    <a:pos x="13" y="0"/>
                  </a:cxn>
                  <a:cxn ang="0">
                    <a:pos x="51" y="15"/>
                  </a:cxn>
                  <a:cxn ang="0">
                    <a:pos x="60" y="12"/>
                  </a:cxn>
                  <a:cxn ang="0">
                    <a:pos x="68" y="12"/>
                  </a:cxn>
                  <a:cxn ang="0">
                    <a:pos x="89" y="25"/>
                  </a:cxn>
                  <a:cxn ang="0">
                    <a:pos x="71" y="25"/>
                  </a:cxn>
                  <a:cxn ang="0">
                    <a:pos x="91" y="35"/>
                  </a:cxn>
                  <a:cxn ang="0">
                    <a:pos x="88" y="38"/>
                  </a:cxn>
                  <a:cxn ang="0">
                    <a:pos x="95" y="40"/>
                  </a:cxn>
                  <a:cxn ang="0">
                    <a:pos x="125" y="45"/>
                  </a:cxn>
                  <a:cxn ang="0">
                    <a:pos x="181" y="34"/>
                  </a:cxn>
                  <a:cxn ang="0">
                    <a:pos x="216" y="46"/>
                  </a:cxn>
                  <a:cxn ang="0">
                    <a:pos x="211" y="47"/>
                  </a:cxn>
                  <a:cxn ang="0">
                    <a:pos x="215" y="45"/>
                  </a:cxn>
                </a:cxnLst>
                <a:rect l="0" t="0" r="r" b="b"/>
                <a:pathLst>
                  <a:path w="216" h="68">
                    <a:moveTo>
                      <a:pt x="215" y="45"/>
                    </a:moveTo>
                    <a:cubicBezTo>
                      <a:pt x="213" y="46"/>
                      <a:pt x="211" y="48"/>
                      <a:pt x="210" y="51"/>
                    </a:cubicBezTo>
                    <a:cubicBezTo>
                      <a:pt x="213" y="52"/>
                      <a:pt x="216" y="52"/>
                      <a:pt x="216" y="52"/>
                    </a:cubicBezTo>
                    <a:cubicBezTo>
                      <a:pt x="215" y="67"/>
                      <a:pt x="195" y="67"/>
                      <a:pt x="179" y="67"/>
                    </a:cubicBezTo>
                    <a:cubicBezTo>
                      <a:pt x="174" y="67"/>
                      <a:pt x="171" y="64"/>
                      <a:pt x="170" y="60"/>
                    </a:cubicBezTo>
                    <a:cubicBezTo>
                      <a:pt x="164" y="61"/>
                      <a:pt x="163" y="64"/>
                      <a:pt x="159" y="66"/>
                    </a:cubicBezTo>
                    <a:cubicBezTo>
                      <a:pt x="124" y="66"/>
                      <a:pt x="124" y="66"/>
                      <a:pt x="124" y="66"/>
                    </a:cubicBezTo>
                    <a:cubicBezTo>
                      <a:pt x="115" y="68"/>
                      <a:pt x="101" y="67"/>
                      <a:pt x="102" y="60"/>
                    </a:cubicBezTo>
                    <a:cubicBezTo>
                      <a:pt x="97" y="60"/>
                      <a:pt x="97" y="60"/>
                      <a:pt x="97" y="60"/>
                    </a:cubicBezTo>
                    <a:cubicBezTo>
                      <a:pt x="95" y="62"/>
                      <a:pt x="88" y="67"/>
                      <a:pt x="84" y="67"/>
                    </a:cubicBezTo>
                    <a:cubicBezTo>
                      <a:pt x="75" y="67"/>
                      <a:pt x="53" y="56"/>
                      <a:pt x="53" y="47"/>
                    </a:cubicBezTo>
                    <a:cubicBezTo>
                      <a:pt x="53" y="44"/>
                      <a:pt x="56" y="41"/>
                      <a:pt x="58" y="40"/>
                    </a:cubicBezTo>
                    <a:cubicBezTo>
                      <a:pt x="50" y="32"/>
                      <a:pt x="48" y="25"/>
                      <a:pt x="40" y="18"/>
                    </a:cubicBezTo>
                    <a:cubicBezTo>
                      <a:pt x="38" y="20"/>
                      <a:pt x="35" y="22"/>
                      <a:pt x="32" y="22"/>
                    </a:cubicBezTo>
                    <a:cubicBezTo>
                      <a:pt x="27" y="22"/>
                      <a:pt x="0" y="11"/>
                      <a:pt x="0" y="7"/>
                    </a:cubicBezTo>
                    <a:cubicBezTo>
                      <a:pt x="0" y="0"/>
                      <a:pt x="8" y="0"/>
                      <a:pt x="13" y="0"/>
                    </a:cubicBezTo>
                    <a:cubicBezTo>
                      <a:pt x="33" y="0"/>
                      <a:pt x="36" y="15"/>
                      <a:pt x="51" y="15"/>
                    </a:cubicBezTo>
                    <a:cubicBezTo>
                      <a:pt x="56" y="15"/>
                      <a:pt x="58" y="15"/>
                      <a:pt x="60" y="12"/>
                    </a:cubicBezTo>
                    <a:cubicBezTo>
                      <a:pt x="63" y="12"/>
                      <a:pt x="68" y="12"/>
                      <a:pt x="68" y="12"/>
                    </a:cubicBezTo>
                    <a:cubicBezTo>
                      <a:pt x="65" y="22"/>
                      <a:pt x="85" y="19"/>
                      <a:pt x="89" y="25"/>
                    </a:cubicBezTo>
                    <a:cubicBezTo>
                      <a:pt x="71" y="25"/>
                      <a:pt x="71" y="25"/>
                      <a:pt x="71" y="25"/>
                    </a:cubicBezTo>
                    <a:cubicBezTo>
                      <a:pt x="74" y="37"/>
                      <a:pt x="85" y="30"/>
                      <a:pt x="91" y="35"/>
                    </a:cubicBezTo>
                    <a:cubicBezTo>
                      <a:pt x="90" y="36"/>
                      <a:pt x="88" y="36"/>
                      <a:pt x="88" y="38"/>
                    </a:cubicBezTo>
                    <a:cubicBezTo>
                      <a:pt x="88" y="44"/>
                      <a:pt x="93" y="41"/>
                      <a:pt x="95" y="40"/>
                    </a:cubicBezTo>
                    <a:cubicBezTo>
                      <a:pt x="106" y="42"/>
                      <a:pt x="114" y="45"/>
                      <a:pt x="125" y="45"/>
                    </a:cubicBezTo>
                    <a:cubicBezTo>
                      <a:pt x="150" y="45"/>
                      <a:pt x="158" y="34"/>
                      <a:pt x="181" y="34"/>
                    </a:cubicBezTo>
                    <a:cubicBezTo>
                      <a:pt x="198" y="34"/>
                      <a:pt x="210" y="35"/>
                      <a:pt x="216" y="46"/>
                    </a:cubicBezTo>
                    <a:cubicBezTo>
                      <a:pt x="215" y="47"/>
                      <a:pt x="213" y="47"/>
                      <a:pt x="211" y="47"/>
                    </a:cubicBezTo>
                    <a:lnTo>
                      <a:pt x="215"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2" name="Freeform 72"/>
              <p:cNvSpPr>
                <a:spLocks/>
              </p:cNvSpPr>
              <p:nvPr/>
            </p:nvSpPr>
            <p:spPr bwMode="auto">
              <a:xfrm>
                <a:off x="2768600" y="1271588"/>
                <a:ext cx="49213" cy="38100"/>
              </a:xfrm>
              <a:custGeom>
                <a:avLst/>
                <a:gdLst/>
                <a:ahLst/>
                <a:cxnLst>
                  <a:cxn ang="0">
                    <a:pos x="6" y="10"/>
                  </a:cxn>
                  <a:cxn ang="0">
                    <a:pos x="19" y="0"/>
                  </a:cxn>
                  <a:cxn ang="0">
                    <a:pos x="37" y="15"/>
                  </a:cxn>
                  <a:cxn ang="0">
                    <a:pos x="29" y="29"/>
                  </a:cxn>
                  <a:cxn ang="0">
                    <a:pos x="0" y="17"/>
                  </a:cxn>
                  <a:cxn ang="0">
                    <a:pos x="6" y="10"/>
                  </a:cxn>
                </a:cxnLst>
                <a:rect l="0" t="0" r="r" b="b"/>
                <a:pathLst>
                  <a:path w="37" h="29">
                    <a:moveTo>
                      <a:pt x="6" y="10"/>
                    </a:moveTo>
                    <a:cubicBezTo>
                      <a:pt x="10" y="10"/>
                      <a:pt x="9" y="0"/>
                      <a:pt x="19" y="0"/>
                    </a:cubicBezTo>
                    <a:cubicBezTo>
                      <a:pt x="27" y="0"/>
                      <a:pt x="37" y="9"/>
                      <a:pt x="37" y="15"/>
                    </a:cubicBezTo>
                    <a:cubicBezTo>
                      <a:pt x="37" y="22"/>
                      <a:pt x="35" y="29"/>
                      <a:pt x="29" y="29"/>
                    </a:cubicBezTo>
                    <a:cubicBezTo>
                      <a:pt x="25" y="29"/>
                      <a:pt x="0" y="17"/>
                      <a:pt x="0" y="17"/>
                    </a:cubicBezTo>
                    <a:cubicBezTo>
                      <a:pt x="0" y="13"/>
                      <a:pt x="5" y="10"/>
                      <a:pt x="6"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3" name="Freeform 73"/>
              <p:cNvSpPr>
                <a:spLocks/>
              </p:cNvSpPr>
              <p:nvPr/>
            </p:nvSpPr>
            <p:spPr bwMode="auto">
              <a:xfrm>
                <a:off x="2774950" y="1198563"/>
                <a:ext cx="46038" cy="12700"/>
              </a:xfrm>
              <a:custGeom>
                <a:avLst/>
                <a:gdLst/>
                <a:ahLst/>
                <a:cxnLst>
                  <a:cxn ang="0">
                    <a:pos x="29" y="0"/>
                  </a:cxn>
                  <a:cxn ang="0">
                    <a:pos x="35" y="0"/>
                  </a:cxn>
                  <a:cxn ang="0">
                    <a:pos x="35" y="6"/>
                  </a:cxn>
                  <a:cxn ang="0">
                    <a:pos x="28" y="10"/>
                  </a:cxn>
                  <a:cxn ang="0">
                    <a:pos x="0" y="5"/>
                  </a:cxn>
                  <a:cxn ang="0">
                    <a:pos x="29" y="0"/>
                  </a:cxn>
                </a:cxnLst>
                <a:rect l="0" t="0" r="r" b="b"/>
                <a:pathLst>
                  <a:path w="35" h="10">
                    <a:moveTo>
                      <a:pt x="29" y="0"/>
                    </a:moveTo>
                    <a:cubicBezTo>
                      <a:pt x="34" y="0"/>
                      <a:pt x="30" y="1"/>
                      <a:pt x="35" y="0"/>
                    </a:cubicBezTo>
                    <a:cubicBezTo>
                      <a:pt x="35" y="3"/>
                      <a:pt x="35" y="5"/>
                      <a:pt x="35" y="6"/>
                    </a:cubicBezTo>
                    <a:cubicBezTo>
                      <a:pt x="35" y="8"/>
                      <a:pt x="32" y="10"/>
                      <a:pt x="28" y="10"/>
                    </a:cubicBezTo>
                    <a:cubicBezTo>
                      <a:pt x="26" y="10"/>
                      <a:pt x="0" y="5"/>
                      <a:pt x="0" y="5"/>
                    </a:cubicBezTo>
                    <a:cubicBezTo>
                      <a:pt x="5" y="1"/>
                      <a:pt x="21" y="0"/>
                      <a:pt x="2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4" name="Freeform 74"/>
              <p:cNvSpPr>
                <a:spLocks/>
              </p:cNvSpPr>
              <p:nvPr/>
            </p:nvSpPr>
            <p:spPr bwMode="auto">
              <a:xfrm>
                <a:off x="2740025" y="1154113"/>
                <a:ext cx="53975" cy="44450"/>
              </a:xfrm>
              <a:custGeom>
                <a:avLst/>
                <a:gdLst/>
                <a:ahLst/>
                <a:cxnLst>
                  <a:cxn ang="0">
                    <a:pos x="10" y="28"/>
                  </a:cxn>
                  <a:cxn ang="0">
                    <a:pos x="14" y="23"/>
                  </a:cxn>
                  <a:cxn ang="0">
                    <a:pos x="0" y="7"/>
                  </a:cxn>
                  <a:cxn ang="0">
                    <a:pos x="10" y="0"/>
                  </a:cxn>
                  <a:cxn ang="0">
                    <a:pos x="25" y="7"/>
                  </a:cxn>
                  <a:cxn ang="0">
                    <a:pos x="41" y="17"/>
                  </a:cxn>
                  <a:cxn ang="0">
                    <a:pos x="41" y="28"/>
                  </a:cxn>
                  <a:cxn ang="0">
                    <a:pos x="10" y="28"/>
                  </a:cxn>
                </a:cxnLst>
                <a:rect l="0" t="0" r="r" b="b"/>
                <a:pathLst>
                  <a:path w="41" h="33">
                    <a:moveTo>
                      <a:pt x="10" y="28"/>
                    </a:moveTo>
                    <a:cubicBezTo>
                      <a:pt x="10" y="26"/>
                      <a:pt x="13" y="24"/>
                      <a:pt x="14" y="23"/>
                    </a:cubicBezTo>
                    <a:cubicBezTo>
                      <a:pt x="9" y="18"/>
                      <a:pt x="0" y="15"/>
                      <a:pt x="0" y="7"/>
                    </a:cubicBezTo>
                    <a:cubicBezTo>
                      <a:pt x="0" y="2"/>
                      <a:pt x="6" y="0"/>
                      <a:pt x="10" y="0"/>
                    </a:cubicBezTo>
                    <a:cubicBezTo>
                      <a:pt x="11" y="4"/>
                      <a:pt x="21" y="7"/>
                      <a:pt x="25" y="7"/>
                    </a:cubicBezTo>
                    <a:cubicBezTo>
                      <a:pt x="25" y="17"/>
                      <a:pt x="41" y="7"/>
                      <a:pt x="41" y="17"/>
                    </a:cubicBezTo>
                    <a:cubicBezTo>
                      <a:pt x="41" y="20"/>
                      <a:pt x="39" y="23"/>
                      <a:pt x="41" y="28"/>
                    </a:cubicBezTo>
                    <a:cubicBezTo>
                      <a:pt x="25" y="31"/>
                      <a:pt x="10" y="33"/>
                      <a:pt x="10"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5" name="Freeform 75"/>
              <p:cNvSpPr>
                <a:spLocks/>
              </p:cNvSpPr>
              <p:nvPr/>
            </p:nvSpPr>
            <p:spPr bwMode="auto">
              <a:xfrm>
                <a:off x="2719388" y="1114425"/>
                <a:ext cx="20638" cy="12700"/>
              </a:xfrm>
              <a:custGeom>
                <a:avLst/>
                <a:gdLst/>
                <a:ahLst/>
                <a:cxnLst>
                  <a:cxn ang="0">
                    <a:pos x="16" y="0"/>
                  </a:cxn>
                  <a:cxn ang="0">
                    <a:pos x="16" y="9"/>
                  </a:cxn>
                  <a:cxn ang="0">
                    <a:pos x="8" y="9"/>
                  </a:cxn>
                  <a:cxn ang="0">
                    <a:pos x="0" y="0"/>
                  </a:cxn>
                  <a:cxn ang="0">
                    <a:pos x="16" y="0"/>
                  </a:cxn>
                </a:cxnLst>
                <a:rect l="0" t="0" r="r" b="b"/>
                <a:pathLst>
                  <a:path w="16" h="9">
                    <a:moveTo>
                      <a:pt x="16" y="0"/>
                    </a:moveTo>
                    <a:cubicBezTo>
                      <a:pt x="16" y="9"/>
                      <a:pt x="16" y="9"/>
                      <a:pt x="16" y="9"/>
                    </a:cubicBezTo>
                    <a:cubicBezTo>
                      <a:pt x="8" y="9"/>
                      <a:pt x="8" y="9"/>
                      <a:pt x="8" y="9"/>
                    </a:cubicBezTo>
                    <a:cubicBezTo>
                      <a:pt x="6" y="7"/>
                      <a:pt x="0" y="6"/>
                      <a:pt x="0" y="0"/>
                    </a:cubicBezTo>
                    <a:cubicBezTo>
                      <a:pt x="6" y="0"/>
                      <a:pt x="13" y="0"/>
                      <a:pt x="1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6" name="Freeform 76"/>
              <p:cNvSpPr>
                <a:spLocks/>
              </p:cNvSpPr>
              <p:nvPr/>
            </p:nvSpPr>
            <p:spPr bwMode="auto">
              <a:xfrm>
                <a:off x="2776538" y="1062038"/>
                <a:ext cx="184150" cy="123825"/>
              </a:xfrm>
              <a:custGeom>
                <a:avLst/>
                <a:gdLst/>
                <a:ahLst/>
                <a:cxnLst>
                  <a:cxn ang="0">
                    <a:pos x="92" y="37"/>
                  </a:cxn>
                  <a:cxn ang="0">
                    <a:pos x="97" y="37"/>
                  </a:cxn>
                  <a:cxn ang="0">
                    <a:pos x="97" y="32"/>
                  </a:cxn>
                  <a:cxn ang="0">
                    <a:pos x="95" y="28"/>
                  </a:cxn>
                  <a:cxn ang="0">
                    <a:pos x="100" y="28"/>
                  </a:cxn>
                  <a:cxn ang="0">
                    <a:pos x="105" y="36"/>
                  </a:cxn>
                  <a:cxn ang="0">
                    <a:pos x="111" y="43"/>
                  </a:cxn>
                  <a:cxn ang="0">
                    <a:pos x="108" y="49"/>
                  </a:cxn>
                  <a:cxn ang="0">
                    <a:pos x="115" y="49"/>
                  </a:cxn>
                  <a:cxn ang="0">
                    <a:pos x="137" y="55"/>
                  </a:cxn>
                  <a:cxn ang="0">
                    <a:pos x="136" y="61"/>
                  </a:cxn>
                  <a:cxn ang="0">
                    <a:pos x="126" y="64"/>
                  </a:cxn>
                  <a:cxn ang="0">
                    <a:pos x="105" y="78"/>
                  </a:cxn>
                  <a:cxn ang="0">
                    <a:pos x="98" y="69"/>
                  </a:cxn>
                  <a:cxn ang="0">
                    <a:pos x="93" y="76"/>
                  </a:cxn>
                  <a:cxn ang="0">
                    <a:pos x="99" y="84"/>
                  </a:cxn>
                  <a:cxn ang="0">
                    <a:pos x="91" y="84"/>
                  </a:cxn>
                  <a:cxn ang="0">
                    <a:pos x="91" y="90"/>
                  </a:cxn>
                  <a:cxn ang="0">
                    <a:pos x="75" y="82"/>
                  </a:cxn>
                  <a:cxn ang="0">
                    <a:pos x="64" y="92"/>
                  </a:cxn>
                  <a:cxn ang="0">
                    <a:pos x="47" y="84"/>
                  </a:cxn>
                  <a:cxn ang="0">
                    <a:pos x="53" y="81"/>
                  </a:cxn>
                  <a:cxn ang="0">
                    <a:pos x="33" y="70"/>
                  </a:cxn>
                  <a:cxn ang="0">
                    <a:pos x="66" y="61"/>
                  </a:cxn>
                  <a:cxn ang="0">
                    <a:pos x="48" y="58"/>
                  </a:cxn>
                  <a:cxn ang="0">
                    <a:pos x="35" y="61"/>
                  </a:cxn>
                  <a:cxn ang="0">
                    <a:pos x="29" y="56"/>
                  </a:cxn>
                  <a:cxn ang="0">
                    <a:pos x="19" y="59"/>
                  </a:cxn>
                  <a:cxn ang="0">
                    <a:pos x="16" y="55"/>
                  </a:cxn>
                  <a:cxn ang="0">
                    <a:pos x="26" y="49"/>
                  </a:cxn>
                  <a:cxn ang="0">
                    <a:pos x="0" y="35"/>
                  </a:cxn>
                  <a:cxn ang="0">
                    <a:pos x="7" y="35"/>
                  </a:cxn>
                  <a:cxn ang="0">
                    <a:pos x="20" y="39"/>
                  </a:cxn>
                  <a:cxn ang="0">
                    <a:pos x="24" y="36"/>
                  </a:cxn>
                  <a:cxn ang="0">
                    <a:pos x="5" y="26"/>
                  </a:cxn>
                  <a:cxn ang="0">
                    <a:pos x="15" y="22"/>
                  </a:cxn>
                  <a:cxn ang="0">
                    <a:pos x="27" y="25"/>
                  </a:cxn>
                  <a:cxn ang="0">
                    <a:pos x="32" y="20"/>
                  </a:cxn>
                  <a:cxn ang="0">
                    <a:pos x="19" y="20"/>
                  </a:cxn>
                  <a:cxn ang="0">
                    <a:pos x="14" y="13"/>
                  </a:cxn>
                  <a:cxn ang="0">
                    <a:pos x="30" y="9"/>
                  </a:cxn>
                  <a:cxn ang="0">
                    <a:pos x="38" y="9"/>
                  </a:cxn>
                  <a:cxn ang="0">
                    <a:pos x="25" y="0"/>
                  </a:cxn>
                  <a:cxn ang="0">
                    <a:pos x="53" y="5"/>
                  </a:cxn>
                  <a:cxn ang="0">
                    <a:pos x="67" y="24"/>
                  </a:cxn>
                  <a:cxn ang="0">
                    <a:pos x="84" y="25"/>
                  </a:cxn>
                  <a:cxn ang="0">
                    <a:pos x="92" y="37"/>
                  </a:cxn>
                </a:cxnLst>
                <a:rect l="0" t="0" r="r" b="b"/>
                <a:pathLst>
                  <a:path w="138" h="92">
                    <a:moveTo>
                      <a:pt x="92" y="37"/>
                    </a:moveTo>
                    <a:cubicBezTo>
                      <a:pt x="97" y="37"/>
                      <a:pt x="97" y="37"/>
                      <a:pt x="97" y="37"/>
                    </a:cubicBezTo>
                    <a:cubicBezTo>
                      <a:pt x="97" y="32"/>
                      <a:pt x="97" y="32"/>
                      <a:pt x="97" y="32"/>
                    </a:cubicBezTo>
                    <a:cubicBezTo>
                      <a:pt x="95" y="28"/>
                      <a:pt x="95" y="28"/>
                      <a:pt x="95" y="28"/>
                    </a:cubicBezTo>
                    <a:cubicBezTo>
                      <a:pt x="97" y="28"/>
                      <a:pt x="98" y="28"/>
                      <a:pt x="100" y="28"/>
                    </a:cubicBezTo>
                    <a:cubicBezTo>
                      <a:pt x="106" y="28"/>
                      <a:pt x="105" y="31"/>
                      <a:pt x="105" y="36"/>
                    </a:cubicBezTo>
                    <a:cubicBezTo>
                      <a:pt x="105" y="39"/>
                      <a:pt x="111" y="39"/>
                      <a:pt x="111" y="43"/>
                    </a:cubicBezTo>
                    <a:cubicBezTo>
                      <a:pt x="111" y="46"/>
                      <a:pt x="108" y="46"/>
                      <a:pt x="108" y="49"/>
                    </a:cubicBezTo>
                    <a:cubicBezTo>
                      <a:pt x="108" y="53"/>
                      <a:pt x="114" y="49"/>
                      <a:pt x="115" y="49"/>
                    </a:cubicBezTo>
                    <a:cubicBezTo>
                      <a:pt x="120" y="49"/>
                      <a:pt x="131" y="54"/>
                      <a:pt x="137" y="55"/>
                    </a:cubicBezTo>
                    <a:cubicBezTo>
                      <a:pt x="137" y="58"/>
                      <a:pt x="138" y="60"/>
                      <a:pt x="136" y="61"/>
                    </a:cubicBezTo>
                    <a:cubicBezTo>
                      <a:pt x="135" y="64"/>
                      <a:pt x="130" y="63"/>
                      <a:pt x="126" y="64"/>
                    </a:cubicBezTo>
                    <a:cubicBezTo>
                      <a:pt x="117" y="65"/>
                      <a:pt x="111" y="78"/>
                      <a:pt x="105" y="78"/>
                    </a:cubicBezTo>
                    <a:cubicBezTo>
                      <a:pt x="100" y="78"/>
                      <a:pt x="100" y="74"/>
                      <a:pt x="98" y="69"/>
                    </a:cubicBezTo>
                    <a:cubicBezTo>
                      <a:pt x="96" y="71"/>
                      <a:pt x="95" y="73"/>
                      <a:pt x="93" y="76"/>
                    </a:cubicBezTo>
                    <a:cubicBezTo>
                      <a:pt x="96" y="80"/>
                      <a:pt x="97" y="81"/>
                      <a:pt x="99" y="84"/>
                    </a:cubicBezTo>
                    <a:cubicBezTo>
                      <a:pt x="91" y="84"/>
                      <a:pt x="91" y="84"/>
                      <a:pt x="91" y="84"/>
                    </a:cubicBezTo>
                    <a:cubicBezTo>
                      <a:pt x="91" y="90"/>
                      <a:pt x="91" y="90"/>
                      <a:pt x="91" y="90"/>
                    </a:cubicBezTo>
                    <a:cubicBezTo>
                      <a:pt x="87" y="91"/>
                      <a:pt x="79" y="85"/>
                      <a:pt x="75" y="82"/>
                    </a:cubicBezTo>
                    <a:cubicBezTo>
                      <a:pt x="75" y="90"/>
                      <a:pt x="71" y="92"/>
                      <a:pt x="64" y="92"/>
                    </a:cubicBezTo>
                    <a:cubicBezTo>
                      <a:pt x="57" y="92"/>
                      <a:pt x="48" y="91"/>
                      <a:pt x="47" y="84"/>
                    </a:cubicBezTo>
                    <a:cubicBezTo>
                      <a:pt x="50" y="84"/>
                      <a:pt x="51" y="83"/>
                      <a:pt x="53" y="81"/>
                    </a:cubicBezTo>
                    <a:cubicBezTo>
                      <a:pt x="45" y="81"/>
                      <a:pt x="33" y="77"/>
                      <a:pt x="33" y="70"/>
                    </a:cubicBezTo>
                    <a:cubicBezTo>
                      <a:pt x="33" y="62"/>
                      <a:pt x="60" y="63"/>
                      <a:pt x="66" y="61"/>
                    </a:cubicBezTo>
                    <a:cubicBezTo>
                      <a:pt x="60" y="60"/>
                      <a:pt x="55" y="58"/>
                      <a:pt x="48" y="58"/>
                    </a:cubicBezTo>
                    <a:cubicBezTo>
                      <a:pt x="41" y="58"/>
                      <a:pt x="40" y="61"/>
                      <a:pt x="35" y="61"/>
                    </a:cubicBezTo>
                    <a:cubicBezTo>
                      <a:pt x="30" y="61"/>
                      <a:pt x="30" y="58"/>
                      <a:pt x="29" y="56"/>
                    </a:cubicBezTo>
                    <a:cubicBezTo>
                      <a:pt x="24" y="58"/>
                      <a:pt x="23" y="59"/>
                      <a:pt x="19" y="59"/>
                    </a:cubicBezTo>
                    <a:cubicBezTo>
                      <a:pt x="16" y="59"/>
                      <a:pt x="16" y="58"/>
                      <a:pt x="16" y="55"/>
                    </a:cubicBezTo>
                    <a:cubicBezTo>
                      <a:pt x="20" y="53"/>
                      <a:pt x="23" y="53"/>
                      <a:pt x="26" y="49"/>
                    </a:cubicBezTo>
                    <a:cubicBezTo>
                      <a:pt x="11" y="49"/>
                      <a:pt x="2" y="48"/>
                      <a:pt x="0" y="35"/>
                    </a:cubicBezTo>
                    <a:cubicBezTo>
                      <a:pt x="7" y="35"/>
                      <a:pt x="7" y="35"/>
                      <a:pt x="7" y="35"/>
                    </a:cubicBezTo>
                    <a:cubicBezTo>
                      <a:pt x="9" y="37"/>
                      <a:pt x="16" y="39"/>
                      <a:pt x="20" y="39"/>
                    </a:cubicBezTo>
                    <a:cubicBezTo>
                      <a:pt x="22" y="39"/>
                      <a:pt x="24" y="36"/>
                      <a:pt x="24" y="36"/>
                    </a:cubicBezTo>
                    <a:cubicBezTo>
                      <a:pt x="19" y="34"/>
                      <a:pt x="5" y="31"/>
                      <a:pt x="5" y="26"/>
                    </a:cubicBezTo>
                    <a:cubicBezTo>
                      <a:pt x="5" y="21"/>
                      <a:pt x="11" y="22"/>
                      <a:pt x="15" y="22"/>
                    </a:cubicBezTo>
                    <a:cubicBezTo>
                      <a:pt x="21" y="22"/>
                      <a:pt x="23" y="25"/>
                      <a:pt x="27" y="25"/>
                    </a:cubicBezTo>
                    <a:cubicBezTo>
                      <a:pt x="30" y="25"/>
                      <a:pt x="30" y="22"/>
                      <a:pt x="32" y="20"/>
                    </a:cubicBezTo>
                    <a:cubicBezTo>
                      <a:pt x="27" y="18"/>
                      <a:pt x="22" y="20"/>
                      <a:pt x="19" y="20"/>
                    </a:cubicBezTo>
                    <a:cubicBezTo>
                      <a:pt x="18" y="20"/>
                      <a:pt x="14" y="14"/>
                      <a:pt x="14" y="13"/>
                    </a:cubicBezTo>
                    <a:cubicBezTo>
                      <a:pt x="19" y="10"/>
                      <a:pt x="23" y="8"/>
                      <a:pt x="30" y="9"/>
                    </a:cubicBezTo>
                    <a:cubicBezTo>
                      <a:pt x="38" y="9"/>
                      <a:pt x="38" y="9"/>
                      <a:pt x="38" y="9"/>
                    </a:cubicBezTo>
                    <a:cubicBezTo>
                      <a:pt x="33" y="7"/>
                      <a:pt x="25" y="6"/>
                      <a:pt x="25" y="0"/>
                    </a:cubicBezTo>
                    <a:cubicBezTo>
                      <a:pt x="36" y="1"/>
                      <a:pt x="45" y="2"/>
                      <a:pt x="53" y="5"/>
                    </a:cubicBezTo>
                    <a:cubicBezTo>
                      <a:pt x="61" y="9"/>
                      <a:pt x="60" y="21"/>
                      <a:pt x="67" y="24"/>
                    </a:cubicBezTo>
                    <a:cubicBezTo>
                      <a:pt x="73" y="27"/>
                      <a:pt x="78" y="22"/>
                      <a:pt x="84" y="25"/>
                    </a:cubicBezTo>
                    <a:cubicBezTo>
                      <a:pt x="91" y="28"/>
                      <a:pt x="88" y="33"/>
                      <a:pt x="92"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7" name="Freeform 77"/>
              <p:cNvSpPr>
                <a:spLocks/>
              </p:cNvSpPr>
              <p:nvPr/>
            </p:nvSpPr>
            <p:spPr bwMode="auto">
              <a:xfrm>
                <a:off x="2925763" y="1574800"/>
                <a:ext cx="117475" cy="74613"/>
              </a:xfrm>
              <a:custGeom>
                <a:avLst/>
                <a:gdLst/>
                <a:ahLst/>
                <a:cxnLst>
                  <a:cxn ang="0">
                    <a:pos x="6" y="39"/>
                  </a:cxn>
                  <a:cxn ang="0">
                    <a:pos x="11" y="33"/>
                  </a:cxn>
                  <a:cxn ang="0">
                    <a:pos x="11" y="27"/>
                  </a:cxn>
                  <a:cxn ang="0">
                    <a:pos x="25" y="0"/>
                  </a:cxn>
                  <a:cxn ang="0">
                    <a:pos x="32" y="13"/>
                  </a:cxn>
                  <a:cxn ang="0">
                    <a:pos x="36" y="9"/>
                  </a:cxn>
                  <a:cxn ang="0">
                    <a:pos x="67" y="27"/>
                  </a:cxn>
                  <a:cxn ang="0">
                    <a:pos x="70" y="35"/>
                  </a:cxn>
                  <a:cxn ang="0">
                    <a:pos x="89" y="43"/>
                  </a:cxn>
                  <a:cxn ang="0">
                    <a:pos x="75" y="48"/>
                  </a:cxn>
                  <a:cxn ang="0">
                    <a:pos x="63" y="48"/>
                  </a:cxn>
                  <a:cxn ang="0">
                    <a:pos x="46" y="37"/>
                  </a:cxn>
                  <a:cxn ang="0">
                    <a:pos x="25" y="53"/>
                  </a:cxn>
                  <a:cxn ang="0">
                    <a:pos x="22" y="57"/>
                  </a:cxn>
                  <a:cxn ang="0">
                    <a:pos x="19" y="48"/>
                  </a:cxn>
                  <a:cxn ang="0">
                    <a:pos x="0" y="48"/>
                  </a:cxn>
                  <a:cxn ang="0">
                    <a:pos x="6" y="39"/>
                  </a:cxn>
                </a:cxnLst>
                <a:rect l="0" t="0" r="r" b="b"/>
                <a:pathLst>
                  <a:path w="89" h="57">
                    <a:moveTo>
                      <a:pt x="6" y="39"/>
                    </a:moveTo>
                    <a:cubicBezTo>
                      <a:pt x="9" y="37"/>
                      <a:pt x="11" y="36"/>
                      <a:pt x="11" y="33"/>
                    </a:cubicBezTo>
                    <a:cubicBezTo>
                      <a:pt x="11" y="29"/>
                      <a:pt x="11" y="31"/>
                      <a:pt x="11" y="27"/>
                    </a:cubicBezTo>
                    <a:cubicBezTo>
                      <a:pt x="11" y="19"/>
                      <a:pt x="13" y="2"/>
                      <a:pt x="25" y="0"/>
                    </a:cubicBezTo>
                    <a:cubicBezTo>
                      <a:pt x="28" y="7"/>
                      <a:pt x="30" y="8"/>
                      <a:pt x="32" y="13"/>
                    </a:cubicBezTo>
                    <a:cubicBezTo>
                      <a:pt x="33" y="11"/>
                      <a:pt x="35" y="10"/>
                      <a:pt x="36" y="9"/>
                    </a:cubicBezTo>
                    <a:cubicBezTo>
                      <a:pt x="45" y="21"/>
                      <a:pt x="59" y="16"/>
                      <a:pt x="67" y="27"/>
                    </a:cubicBezTo>
                    <a:cubicBezTo>
                      <a:pt x="69" y="30"/>
                      <a:pt x="68" y="33"/>
                      <a:pt x="70" y="35"/>
                    </a:cubicBezTo>
                    <a:cubicBezTo>
                      <a:pt x="77" y="40"/>
                      <a:pt x="85" y="38"/>
                      <a:pt x="89" y="43"/>
                    </a:cubicBezTo>
                    <a:cubicBezTo>
                      <a:pt x="84" y="46"/>
                      <a:pt x="80" y="48"/>
                      <a:pt x="75" y="48"/>
                    </a:cubicBezTo>
                    <a:cubicBezTo>
                      <a:pt x="69" y="48"/>
                      <a:pt x="67" y="48"/>
                      <a:pt x="63" y="48"/>
                    </a:cubicBezTo>
                    <a:cubicBezTo>
                      <a:pt x="63" y="48"/>
                      <a:pt x="49" y="38"/>
                      <a:pt x="46" y="37"/>
                    </a:cubicBezTo>
                    <a:cubicBezTo>
                      <a:pt x="46" y="47"/>
                      <a:pt x="31" y="56"/>
                      <a:pt x="25" y="53"/>
                    </a:cubicBezTo>
                    <a:cubicBezTo>
                      <a:pt x="24" y="55"/>
                      <a:pt x="24" y="57"/>
                      <a:pt x="22" y="57"/>
                    </a:cubicBezTo>
                    <a:cubicBezTo>
                      <a:pt x="16" y="57"/>
                      <a:pt x="18" y="52"/>
                      <a:pt x="19" y="48"/>
                    </a:cubicBezTo>
                    <a:cubicBezTo>
                      <a:pt x="12" y="46"/>
                      <a:pt x="3" y="48"/>
                      <a:pt x="0" y="48"/>
                    </a:cubicBezTo>
                    <a:cubicBezTo>
                      <a:pt x="0" y="40"/>
                      <a:pt x="5" y="41"/>
                      <a:pt x="6"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8" name="Freeform 78"/>
              <p:cNvSpPr>
                <a:spLocks/>
              </p:cNvSpPr>
              <p:nvPr/>
            </p:nvSpPr>
            <p:spPr bwMode="auto">
              <a:xfrm>
                <a:off x="3094038" y="1500188"/>
                <a:ext cx="36513" cy="36513"/>
              </a:xfrm>
              <a:custGeom>
                <a:avLst/>
                <a:gdLst/>
                <a:ahLst/>
                <a:cxnLst>
                  <a:cxn ang="0">
                    <a:pos x="27" y="18"/>
                  </a:cxn>
                  <a:cxn ang="0">
                    <a:pos x="11" y="28"/>
                  </a:cxn>
                  <a:cxn ang="0">
                    <a:pos x="0" y="18"/>
                  </a:cxn>
                  <a:cxn ang="0">
                    <a:pos x="27" y="18"/>
                  </a:cxn>
                </a:cxnLst>
                <a:rect l="0" t="0" r="r" b="b"/>
                <a:pathLst>
                  <a:path w="27" h="28">
                    <a:moveTo>
                      <a:pt x="27" y="18"/>
                    </a:moveTo>
                    <a:cubicBezTo>
                      <a:pt x="27" y="24"/>
                      <a:pt x="16" y="28"/>
                      <a:pt x="11" y="28"/>
                    </a:cubicBezTo>
                    <a:cubicBezTo>
                      <a:pt x="4" y="28"/>
                      <a:pt x="0" y="23"/>
                      <a:pt x="0" y="18"/>
                    </a:cubicBezTo>
                    <a:cubicBezTo>
                      <a:pt x="0" y="0"/>
                      <a:pt x="27" y="3"/>
                      <a:pt x="27"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59" name="Freeform 79"/>
              <p:cNvSpPr>
                <a:spLocks/>
              </p:cNvSpPr>
              <p:nvPr/>
            </p:nvSpPr>
            <p:spPr bwMode="auto">
              <a:xfrm>
                <a:off x="2984500" y="1652588"/>
                <a:ext cx="30163" cy="23813"/>
              </a:xfrm>
              <a:custGeom>
                <a:avLst/>
                <a:gdLst/>
                <a:ahLst/>
                <a:cxnLst>
                  <a:cxn ang="0">
                    <a:pos x="10" y="1"/>
                  </a:cxn>
                  <a:cxn ang="0">
                    <a:pos x="22" y="3"/>
                  </a:cxn>
                  <a:cxn ang="0">
                    <a:pos x="0" y="18"/>
                  </a:cxn>
                  <a:cxn ang="0">
                    <a:pos x="0" y="12"/>
                  </a:cxn>
                  <a:cxn ang="0">
                    <a:pos x="10" y="1"/>
                  </a:cxn>
                </a:cxnLst>
                <a:rect l="0" t="0" r="r" b="b"/>
                <a:pathLst>
                  <a:path w="22" h="18">
                    <a:moveTo>
                      <a:pt x="10" y="1"/>
                    </a:moveTo>
                    <a:cubicBezTo>
                      <a:pt x="19" y="0"/>
                      <a:pt x="17" y="0"/>
                      <a:pt x="22" y="3"/>
                    </a:cubicBezTo>
                    <a:cubicBezTo>
                      <a:pt x="18" y="8"/>
                      <a:pt x="7" y="17"/>
                      <a:pt x="0" y="18"/>
                    </a:cubicBezTo>
                    <a:cubicBezTo>
                      <a:pt x="0" y="12"/>
                      <a:pt x="0" y="12"/>
                      <a:pt x="0" y="12"/>
                    </a:cubicBezTo>
                    <a:cubicBezTo>
                      <a:pt x="4" y="7"/>
                      <a:pt x="9" y="4"/>
                      <a:pt x="10"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0" name="Freeform 80"/>
              <p:cNvSpPr>
                <a:spLocks/>
              </p:cNvSpPr>
              <p:nvPr/>
            </p:nvSpPr>
            <p:spPr bwMode="auto">
              <a:xfrm>
                <a:off x="3032125" y="1336675"/>
                <a:ext cx="79375" cy="33338"/>
              </a:xfrm>
              <a:custGeom>
                <a:avLst/>
                <a:gdLst/>
                <a:ahLst/>
                <a:cxnLst>
                  <a:cxn ang="0">
                    <a:pos x="22" y="25"/>
                  </a:cxn>
                  <a:cxn ang="0">
                    <a:pos x="9" y="16"/>
                  </a:cxn>
                  <a:cxn ang="0">
                    <a:pos x="0" y="6"/>
                  </a:cxn>
                  <a:cxn ang="0">
                    <a:pos x="8" y="0"/>
                  </a:cxn>
                  <a:cxn ang="0">
                    <a:pos x="30" y="3"/>
                  </a:cxn>
                  <a:cxn ang="0">
                    <a:pos x="60" y="17"/>
                  </a:cxn>
                  <a:cxn ang="0">
                    <a:pos x="52" y="24"/>
                  </a:cxn>
                  <a:cxn ang="0">
                    <a:pos x="39" y="21"/>
                  </a:cxn>
                  <a:cxn ang="0">
                    <a:pos x="22" y="25"/>
                  </a:cxn>
                </a:cxnLst>
                <a:rect l="0" t="0" r="r" b="b"/>
                <a:pathLst>
                  <a:path w="60" h="25">
                    <a:moveTo>
                      <a:pt x="22" y="25"/>
                    </a:moveTo>
                    <a:cubicBezTo>
                      <a:pt x="14" y="25"/>
                      <a:pt x="6" y="23"/>
                      <a:pt x="9" y="16"/>
                    </a:cubicBezTo>
                    <a:cubicBezTo>
                      <a:pt x="5" y="13"/>
                      <a:pt x="0" y="11"/>
                      <a:pt x="0" y="6"/>
                    </a:cubicBezTo>
                    <a:cubicBezTo>
                      <a:pt x="0" y="2"/>
                      <a:pt x="4" y="0"/>
                      <a:pt x="8" y="0"/>
                    </a:cubicBezTo>
                    <a:cubicBezTo>
                      <a:pt x="18" y="0"/>
                      <a:pt x="21" y="3"/>
                      <a:pt x="30" y="3"/>
                    </a:cubicBezTo>
                    <a:cubicBezTo>
                      <a:pt x="42" y="3"/>
                      <a:pt x="52" y="13"/>
                      <a:pt x="60" y="17"/>
                    </a:cubicBezTo>
                    <a:cubicBezTo>
                      <a:pt x="59" y="21"/>
                      <a:pt x="56" y="24"/>
                      <a:pt x="52" y="24"/>
                    </a:cubicBezTo>
                    <a:cubicBezTo>
                      <a:pt x="46" y="24"/>
                      <a:pt x="44" y="21"/>
                      <a:pt x="39" y="21"/>
                    </a:cubicBezTo>
                    <a:cubicBezTo>
                      <a:pt x="34" y="21"/>
                      <a:pt x="30" y="25"/>
                      <a:pt x="22"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1" name="Freeform 81"/>
              <p:cNvSpPr>
                <a:spLocks/>
              </p:cNvSpPr>
              <p:nvPr/>
            </p:nvSpPr>
            <p:spPr bwMode="auto">
              <a:xfrm>
                <a:off x="3040063" y="1666875"/>
                <a:ext cx="17463" cy="20638"/>
              </a:xfrm>
              <a:custGeom>
                <a:avLst/>
                <a:gdLst/>
                <a:ahLst/>
                <a:cxnLst>
                  <a:cxn ang="0">
                    <a:pos x="14" y="6"/>
                  </a:cxn>
                  <a:cxn ang="0">
                    <a:pos x="6" y="15"/>
                  </a:cxn>
                  <a:cxn ang="0">
                    <a:pos x="0" y="9"/>
                  </a:cxn>
                  <a:cxn ang="0">
                    <a:pos x="14" y="6"/>
                  </a:cxn>
                </a:cxnLst>
                <a:rect l="0" t="0" r="r" b="b"/>
                <a:pathLst>
                  <a:path w="14" h="15">
                    <a:moveTo>
                      <a:pt x="14" y="6"/>
                    </a:moveTo>
                    <a:cubicBezTo>
                      <a:pt x="12" y="9"/>
                      <a:pt x="11" y="15"/>
                      <a:pt x="6" y="15"/>
                    </a:cubicBezTo>
                    <a:cubicBezTo>
                      <a:pt x="5" y="15"/>
                      <a:pt x="0" y="9"/>
                      <a:pt x="0" y="9"/>
                    </a:cubicBezTo>
                    <a:cubicBezTo>
                      <a:pt x="0" y="1"/>
                      <a:pt x="10" y="0"/>
                      <a:pt x="14"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2" name="Freeform 82"/>
              <p:cNvSpPr>
                <a:spLocks/>
              </p:cNvSpPr>
              <p:nvPr/>
            </p:nvSpPr>
            <p:spPr bwMode="auto">
              <a:xfrm>
                <a:off x="3136900" y="1509713"/>
                <a:ext cx="19050" cy="11113"/>
              </a:xfrm>
              <a:custGeom>
                <a:avLst/>
                <a:gdLst/>
                <a:ahLst/>
                <a:cxnLst>
                  <a:cxn ang="0">
                    <a:pos x="5" y="8"/>
                  </a:cxn>
                  <a:cxn ang="0">
                    <a:pos x="0" y="4"/>
                  </a:cxn>
                  <a:cxn ang="0">
                    <a:pos x="5" y="0"/>
                  </a:cxn>
                  <a:cxn ang="0">
                    <a:pos x="14" y="7"/>
                  </a:cxn>
                  <a:cxn ang="0">
                    <a:pos x="5" y="8"/>
                  </a:cxn>
                </a:cxnLst>
                <a:rect l="0" t="0" r="r" b="b"/>
                <a:pathLst>
                  <a:path w="14" h="8">
                    <a:moveTo>
                      <a:pt x="5" y="8"/>
                    </a:moveTo>
                    <a:cubicBezTo>
                      <a:pt x="2" y="8"/>
                      <a:pt x="0" y="7"/>
                      <a:pt x="0" y="4"/>
                    </a:cubicBezTo>
                    <a:cubicBezTo>
                      <a:pt x="0" y="3"/>
                      <a:pt x="4" y="0"/>
                      <a:pt x="5" y="0"/>
                    </a:cubicBezTo>
                    <a:cubicBezTo>
                      <a:pt x="9" y="0"/>
                      <a:pt x="13" y="5"/>
                      <a:pt x="14" y="7"/>
                    </a:cubicBezTo>
                    <a:cubicBezTo>
                      <a:pt x="8" y="8"/>
                      <a:pt x="10" y="8"/>
                      <a:pt x="5"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3" name="Freeform 83"/>
              <p:cNvSpPr>
                <a:spLocks/>
              </p:cNvSpPr>
              <p:nvPr/>
            </p:nvSpPr>
            <p:spPr bwMode="auto">
              <a:xfrm>
                <a:off x="3052763" y="1476375"/>
                <a:ext cx="20638" cy="12700"/>
              </a:xfrm>
              <a:custGeom>
                <a:avLst/>
                <a:gdLst/>
                <a:ahLst/>
                <a:cxnLst>
                  <a:cxn ang="0">
                    <a:pos x="5" y="10"/>
                  </a:cxn>
                  <a:cxn ang="0">
                    <a:pos x="15" y="0"/>
                  </a:cxn>
                  <a:cxn ang="0">
                    <a:pos x="5" y="10"/>
                  </a:cxn>
                </a:cxnLst>
                <a:rect l="0" t="0" r="r" b="b"/>
                <a:pathLst>
                  <a:path w="15" h="10">
                    <a:moveTo>
                      <a:pt x="5" y="10"/>
                    </a:moveTo>
                    <a:cubicBezTo>
                      <a:pt x="0" y="10"/>
                      <a:pt x="10" y="0"/>
                      <a:pt x="15" y="0"/>
                    </a:cubicBezTo>
                    <a:cubicBezTo>
                      <a:pt x="14" y="6"/>
                      <a:pt x="10" y="10"/>
                      <a:pt x="5"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4" name="Freeform 84"/>
              <p:cNvSpPr>
                <a:spLocks/>
              </p:cNvSpPr>
              <p:nvPr/>
            </p:nvSpPr>
            <p:spPr bwMode="auto">
              <a:xfrm>
                <a:off x="2876550" y="1335088"/>
                <a:ext cx="482600" cy="347663"/>
              </a:xfrm>
              <a:custGeom>
                <a:avLst/>
                <a:gdLst/>
                <a:ahLst/>
                <a:cxnLst>
                  <a:cxn ang="0">
                    <a:pos x="333" y="196"/>
                  </a:cxn>
                  <a:cxn ang="0">
                    <a:pos x="281" y="171"/>
                  </a:cxn>
                  <a:cxn ang="0">
                    <a:pos x="289" y="177"/>
                  </a:cxn>
                  <a:cxn ang="0">
                    <a:pos x="283" y="184"/>
                  </a:cxn>
                  <a:cxn ang="0">
                    <a:pos x="298" y="201"/>
                  </a:cxn>
                  <a:cxn ang="0">
                    <a:pos x="318" y="206"/>
                  </a:cxn>
                  <a:cxn ang="0">
                    <a:pos x="326" y="225"/>
                  </a:cxn>
                  <a:cxn ang="0">
                    <a:pos x="278" y="225"/>
                  </a:cxn>
                  <a:cxn ang="0">
                    <a:pos x="304" y="256"/>
                  </a:cxn>
                  <a:cxn ang="0">
                    <a:pos x="295" y="256"/>
                  </a:cxn>
                  <a:cxn ang="0">
                    <a:pos x="233" y="226"/>
                  </a:cxn>
                  <a:cxn ang="0">
                    <a:pos x="190" y="210"/>
                  </a:cxn>
                  <a:cxn ang="0">
                    <a:pos x="169" y="214"/>
                  </a:cxn>
                  <a:cxn ang="0">
                    <a:pos x="168" y="189"/>
                  </a:cxn>
                  <a:cxn ang="0">
                    <a:pos x="207" y="183"/>
                  </a:cxn>
                  <a:cxn ang="0">
                    <a:pos x="210" y="167"/>
                  </a:cxn>
                  <a:cxn ang="0">
                    <a:pos x="186" y="115"/>
                  </a:cxn>
                  <a:cxn ang="0">
                    <a:pos x="168" y="115"/>
                  </a:cxn>
                  <a:cxn ang="0">
                    <a:pos x="146" y="85"/>
                  </a:cxn>
                  <a:cxn ang="0">
                    <a:pos x="122" y="91"/>
                  </a:cxn>
                  <a:cxn ang="0">
                    <a:pos x="41" y="82"/>
                  </a:cxn>
                  <a:cxn ang="0">
                    <a:pos x="11" y="69"/>
                  </a:cxn>
                  <a:cxn ang="0">
                    <a:pos x="30" y="65"/>
                  </a:cxn>
                  <a:cxn ang="0">
                    <a:pos x="0" y="48"/>
                  </a:cxn>
                  <a:cxn ang="0">
                    <a:pos x="11" y="16"/>
                  </a:cxn>
                  <a:cxn ang="0">
                    <a:pos x="61" y="4"/>
                  </a:cxn>
                  <a:cxn ang="0">
                    <a:pos x="46" y="32"/>
                  </a:cxn>
                  <a:cxn ang="0">
                    <a:pos x="50" y="47"/>
                  </a:cxn>
                  <a:cxn ang="0">
                    <a:pos x="55" y="26"/>
                  </a:cxn>
                  <a:cxn ang="0">
                    <a:pos x="120" y="29"/>
                  </a:cxn>
                  <a:cxn ang="0">
                    <a:pos x="128" y="34"/>
                  </a:cxn>
                  <a:cxn ang="0">
                    <a:pos x="156" y="27"/>
                  </a:cxn>
                  <a:cxn ang="0">
                    <a:pos x="217" y="56"/>
                  </a:cxn>
                  <a:cxn ang="0">
                    <a:pos x="242" y="65"/>
                  </a:cxn>
                  <a:cxn ang="0">
                    <a:pos x="273" y="85"/>
                  </a:cxn>
                  <a:cxn ang="0">
                    <a:pos x="293" y="95"/>
                  </a:cxn>
                  <a:cxn ang="0">
                    <a:pos x="291" y="102"/>
                  </a:cxn>
                  <a:cxn ang="0">
                    <a:pos x="283" y="116"/>
                  </a:cxn>
                  <a:cxn ang="0">
                    <a:pos x="317" y="135"/>
                  </a:cxn>
                  <a:cxn ang="0">
                    <a:pos x="342" y="153"/>
                  </a:cxn>
                  <a:cxn ang="0">
                    <a:pos x="362" y="165"/>
                  </a:cxn>
                  <a:cxn ang="0">
                    <a:pos x="349" y="178"/>
                  </a:cxn>
                </a:cxnLst>
                <a:rect l="0" t="0" r="r" b="b"/>
                <a:pathLst>
                  <a:path w="362" h="261">
                    <a:moveTo>
                      <a:pt x="339" y="184"/>
                    </a:moveTo>
                    <a:cubicBezTo>
                      <a:pt x="339" y="189"/>
                      <a:pt x="338" y="196"/>
                      <a:pt x="333" y="196"/>
                    </a:cubicBezTo>
                    <a:cubicBezTo>
                      <a:pt x="311" y="196"/>
                      <a:pt x="311" y="166"/>
                      <a:pt x="289" y="166"/>
                    </a:cubicBezTo>
                    <a:cubicBezTo>
                      <a:pt x="287" y="166"/>
                      <a:pt x="281" y="171"/>
                      <a:pt x="281" y="171"/>
                    </a:cubicBezTo>
                    <a:cubicBezTo>
                      <a:pt x="284" y="173"/>
                      <a:pt x="285" y="173"/>
                      <a:pt x="289" y="172"/>
                    </a:cubicBezTo>
                    <a:cubicBezTo>
                      <a:pt x="289" y="177"/>
                      <a:pt x="289" y="177"/>
                      <a:pt x="289" y="177"/>
                    </a:cubicBezTo>
                    <a:cubicBezTo>
                      <a:pt x="287" y="178"/>
                      <a:pt x="284" y="178"/>
                      <a:pt x="283" y="177"/>
                    </a:cubicBezTo>
                    <a:cubicBezTo>
                      <a:pt x="283" y="184"/>
                      <a:pt x="283" y="184"/>
                      <a:pt x="283" y="184"/>
                    </a:cubicBezTo>
                    <a:cubicBezTo>
                      <a:pt x="288" y="184"/>
                      <a:pt x="288" y="184"/>
                      <a:pt x="288" y="184"/>
                    </a:cubicBezTo>
                    <a:cubicBezTo>
                      <a:pt x="289" y="189"/>
                      <a:pt x="295" y="199"/>
                      <a:pt x="298" y="201"/>
                    </a:cubicBezTo>
                    <a:cubicBezTo>
                      <a:pt x="307" y="204"/>
                      <a:pt x="310" y="198"/>
                      <a:pt x="311" y="206"/>
                    </a:cubicBezTo>
                    <a:cubicBezTo>
                      <a:pt x="315" y="206"/>
                      <a:pt x="315" y="206"/>
                      <a:pt x="318" y="206"/>
                    </a:cubicBezTo>
                    <a:cubicBezTo>
                      <a:pt x="318" y="213"/>
                      <a:pt x="318" y="213"/>
                      <a:pt x="318" y="215"/>
                    </a:cubicBezTo>
                    <a:cubicBezTo>
                      <a:pt x="318" y="218"/>
                      <a:pt x="326" y="220"/>
                      <a:pt x="326" y="225"/>
                    </a:cubicBezTo>
                    <a:cubicBezTo>
                      <a:pt x="326" y="229"/>
                      <a:pt x="321" y="238"/>
                      <a:pt x="319" y="242"/>
                    </a:cubicBezTo>
                    <a:cubicBezTo>
                      <a:pt x="311" y="242"/>
                      <a:pt x="283" y="231"/>
                      <a:pt x="278" y="225"/>
                    </a:cubicBezTo>
                    <a:cubicBezTo>
                      <a:pt x="272" y="225"/>
                      <a:pt x="272" y="225"/>
                      <a:pt x="272" y="225"/>
                    </a:cubicBezTo>
                    <a:cubicBezTo>
                      <a:pt x="279" y="234"/>
                      <a:pt x="304" y="243"/>
                      <a:pt x="304" y="256"/>
                    </a:cubicBezTo>
                    <a:cubicBezTo>
                      <a:pt x="304" y="259"/>
                      <a:pt x="301" y="261"/>
                      <a:pt x="299" y="261"/>
                    </a:cubicBezTo>
                    <a:cubicBezTo>
                      <a:pt x="297" y="261"/>
                      <a:pt x="296" y="256"/>
                      <a:pt x="295" y="256"/>
                    </a:cubicBezTo>
                    <a:cubicBezTo>
                      <a:pt x="282" y="249"/>
                      <a:pt x="274" y="252"/>
                      <a:pt x="263" y="245"/>
                    </a:cubicBezTo>
                    <a:cubicBezTo>
                      <a:pt x="252" y="239"/>
                      <a:pt x="226" y="240"/>
                      <a:pt x="233" y="226"/>
                    </a:cubicBezTo>
                    <a:cubicBezTo>
                      <a:pt x="219" y="219"/>
                      <a:pt x="212" y="211"/>
                      <a:pt x="199" y="204"/>
                    </a:cubicBezTo>
                    <a:cubicBezTo>
                      <a:pt x="197" y="207"/>
                      <a:pt x="194" y="210"/>
                      <a:pt x="190" y="210"/>
                    </a:cubicBezTo>
                    <a:cubicBezTo>
                      <a:pt x="186" y="210"/>
                      <a:pt x="187" y="207"/>
                      <a:pt x="183" y="207"/>
                    </a:cubicBezTo>
                    <a:cubicBezTo>
                      <a:pt x="177" y="207"/>
                      <a:pt x="175" y="214"/>
                      <a:pt x="169" y="214"/>
                    </a:cubicBezTo>
                    <a:cubicBezTo>
                      <a:pt x="165" y="214"/>
                      <a:pt x="150" y="208"/>
                      <a:pt x="150" y="201"/>
                    </a:cubicBezTo>
                    <a:cubicBezTo>
                      <a:pt x="150" y="197"/>
                      <a:pt x="162" y="189"/>
                      <a:pt x="168" y="189"/>
                    </a:cubicBezTo>
                    <a:cubicBezTo>
                      <a:pt x="176" y="189"/>
                      <a:pt x="183" y="189"/>
                      <a:pt x="187" y="189"/>
                    </a:cubicBezTo>
                    <a:cubicBezTo>
                      <a:pt x="191" y="189"/>
                      <a:pt x="202" y="187"/>
                      <a:pt x="207" y="183"/>
                    </a:cubicBezTo>
                    <a:cubicBezTo>
                      <a:pt x="205" y="182"/>
                      <a:pt x="199" y="178"/>
                      <a:pt x="199" y="174"/>
                    </a:cubicBezTo>
                    <a:cubicBezTo>
                      <a:pt x="199" y="167"/>
                      <a:pt x="207" y="171"/>
                      <a:pt x="210" y="167"/>
                    </a:cubicBezTo>
                    <a:cubicBezTo>
                      <a:pt x="214" y="163"/>
                      <a:pt x="223" y="154"/>
                      <a:pt x="223" y="148"/>
                    </a:cubicBezTo>
                    <a:cubicBezTo>
                      <a:pt x="223" y="136"/>
                      <a:pt x="195" y="115"/>
                      <a:pt x="186" y="115"/>
                    </a:cubicBezTo>
                    <a:cubicBezTo>
                      <a:pt x="180" y="115"/>
                      <a:pt x="177" y="120"/>
                      <a:pt x="172" y="120"/>
                    </a:cubicBezTo>
                    <a:cubicBezTo>
                      <a:pt x="170" y="120"/>
                      <a:pt x="168" y="115"/>
                      <a:pt x="168" y="115"/>
                    </a:cubicBezTo>
                    <a:cubicBezTo>
                      <a:pt x="168" y="110"/>
                      <a:pt x="176" y="109"/>
                      <a:pt x="179" y="109"/>
                    </a:cubicBezTo>
                    <a:cubicBezTo>
                      <a:pt x="175" y="105"/>
                      <a:pt x="151" y="85"/>
                      <a:pt x="146" y="85"/>
                    </a:cubicBezTo>
                    <a:cubicBezTo>
                      <a:pt x="140" y="85"/>
                      <a:pt x="133" y="101"/>
                      <a:pt x="125" y="101"/>
                    </a:cubicBezTo>
                    <a:cubicBezTo>
                      <a:pt x="120" y="101"/>
                      <a:pt x="121" y="94"/>
                      <a:pt x="122" y="91"/>
                    </a:cubicBezTo>
                    <a:cubicBezTo>
                      <a:pt x="108" y="90"/>
                      <a:pt x="75" y="91"/>
                      <a:pt x="55" y="91"/>
                    </a:cubicBezTo>
                    <a:cubicBezTo>
                      <a:pt x="51" y="91"/>
                      <a:pt x="44" y="86"/>
                      <a:pt x="41" y="82"/>
                    </a:cubicBezTo>
                    <a:cubicBezTo>
                      <a:pt x="20" y="82"/>
                      <a:pt x="20" y="82"/>
                      <a:pt x="20" y="82"/>
                    </a:cubicBezTo>
                    <a:cubicBezTo>
                      <a:pt x="18" y="76"/>
                      <a:pt x="11" y="75"/>
                      <a:pt x="11" y="69"/>
                    </a:cubicBezTo>
                    <a:cubicBezTo>
                      <a:pt x="16" y="67"/>
                      <a:pt x="23" y="70"/>
                      <a:pt x="30" y="70"/>
                    </a:cubicBezTo>
                    <a:cubicBezTo>
                      <a:pt x="30" y="65"/>
                      <a:pt x="30" y="65"/>
                      <a:pt x="30" y="65"/>
                    </a:cubicBezTo>
                    <a:cubicBezTo>
                      <a:pt x="26" y="62"/>
                      <a:pt x="6" y="60"/>
                      <a:pt x="6" y="60"/>
                    </a:cubicBezTo>
                    <a:cubicBezTo>
                      <a:pt x="6" y="60"/>
                      <a:pt x="0" y="52"/>
                      <a:pt x="0" y="48"/>
                    </a:cubicBezTo>
                    <a:cubicBezTo>
                      <a:pt x="0" y="36"/>
                      <a:pt x="2" y="33"/>
                      <a:pt x="8" y="29"/>
                    </a:cubicBezTo>
                    <a:cubicBezTo>
                      <a:pt x="12" y="26"/>
                      <a:pt x="10" y="18"/>
                      <a:pt x="11" y="16"/>
                    </a:cubicBezTo>
                    <a:cubicBezTo>
                      <a:pt x="20" y="7"/>
                      <a:pt x="32" y="0"/>
                      <a:pt x="47" y="0"/>
                    </a:cubicBezTo>
                    <a:cubicBezTo>
                      <a:pt x="47" y="0"/>
                      <a:pt x="61" y="4"/>
                      <a:pt x="61" y="4"/>
                    </a:cubicBezTo>
                    <a:cubicBezTo>
                      <a:pt x="57" y="14"/>
                      <a:pt x="42" y="14"/>
                      <a:pt x="42" y="27"/>
                    </a:cubicBezTo>
                    <a:cubicBezTo>
                      <a:pt x="42" y="30"/>
                      <a:pt x="44" y="32"/>
                      <a:pt x="46" y="32"/>
                    </a:cubicBezTo>
                    <a:cubicBezTo>
                      <a:pt x="45" y="35"/>
                      <a:pt x="46" y="40"/>
                      <a:pt x="46" y="40"/>
                    </a:cubicBezTo>
                    <a:cubicBezTo>
                      <a:pt x="46" y="43"/>
                      <a:pt x="45" y="47"/>
                      <a:pt x="50" y="47"/>
                    </a:cubicBezTo>
                    <a:cubicBezTo>
                      <a:pt x="53" y="47"/>
                      <a:pt x="59" y="42"/>
                      <a:pt x="59" y="38"/>
                    </a:cubicBezTo>
                    <a:cubicBezTo>
                      <a:pt x="59" y="34"/>
                      <a:pt x="55" y="31"/>
                      <a:pt x="55" y="26"/>
                    </a:cubicBezTo>
                    <a:cubicBezTo>
                      <a:pt x="55" y="10"/>
                      <a:pt x="84" y="4"/>
                      <a:pt x="102" y="4"/>
                    </a:cubicBezTo>
                    <a:cubicBezTo>
                      <a:pt x="113" y="4"/>
                      <a:pt x="120" y="20"/>
                      <a:pt x="120" y="29"/>
                    </a:cubicBezTo>
                    <a:cubicBezTo>
                      <a:pt x="120" y="31"/>
                      <a:pt x="117" y="38"/>
                      <a:pt x="120" y="38"/>
                    </a:cubicBezTo>
                    <a:cubicBezTo>
                      <a:pt x="122" y="38"/>
                      <a:pt x="124" y="34"/>
                      <a:pt x="128" y="34"/>
                    </a:cubicBezTo>
                    <a:cubicBezTo>
                      <a:pt x="133" y="34"/>
                      <a:pt x="135" y="38"/>
                      <a:pt x="138" y="38"/>
                    </a:cubicBezTo>
                    <a:cubicBezTo>
                      <a:pt x="146" y="38"/>
                      <a:pt x="148" y="27"/>
                      <a:pt x="156" y="27"/>
                    </a:cubicBezTo>
                    <a:cubicBezTo>
                      <a:pt x="165" y="27"/>
                      <a:pt x="183" y="30"/>
                      <a:pt x="189" y="34"/>
                    </a:cubicBezTo>
                    <a:cubicBezTo>
                      <a:pt x="199" y="41"/>
                      <a:pt x="202" y="56"/>
                      <a:pt x="217" y="56"/>
                    </a:cubicBezTo>
                    <a:cubicBezTo>
                      <a:pt x="223" y="56"/>
                      <a:pt x="224" y="56"/>
                      <a:pt x="228" y="56"/>
                    </a:cubicBezTo>
                    <a:cubicBezTo>
                      <a:pt x="232" y="56"/>
                      <a:pt x="243" y="57"/>
                      <a:pt x="242" y="65"/>
                    </a:cubicBezTo>
                    <a:cubicBezTo>
                      <a:pt x="254" y="69"/>
                      <a:pt x="261" y="76"/>
                      <a:pt x="273" y="77"/>
                    </a:cubicBezTo>
                    <a:cubicBezTo>
                      <a:pt x="273" y="85"/>
                      <a:pt x="273" y="85"/>
                      <a:pt x="273" y="85"/>
                    </a:cubicBezTo>
                    <a:cubicBezTo>
                      <a:pt x="276" y="85"/>
                      <a:pt x="281" y="85"/>
                      <a:pt x="281" y="85"/>
                    </a:cubicBezTo>
                    <a:cubicBezTo>
                      <a:pt x="287" y="85"/>
                      <a:pt x="290" y="89"/>
                      <a:pt x="293" y="95"/>
                    </a:cubicBezTo>
                    <a:cubicBezTo>
                      <a:pt x="287" y="96"/>
                      <a:pt x="281" y="96"/>
                      <a:pt x="277" y="101"/>
                    </a:cubicBezTo>
                    <a:cubicBezTo>
                      <a:pt x="285" y="102"/>
                      <a:pt x="287" y="102"/>
                      <a:pt x="291" y="102"/>
                    </a:cubicBezTo>
                    <a:cubicBezTo>
                      <a:pt x="293" y="102"/>
                      <a:pt x="296" y="103"/>
                      <a:pt x="297" y="106"/>
                    </a:cubicBezTo>
                    <a:cubicBezTo>
                      <a:pt x="290" y="110"/>
                      <a:pt x="287" y="110"/>
                      <a:pt x="283" y="116"/>
                    </a:cubicBezTo>
                    <a:cubicBezTo>
                      <a:pt x="287" y="118"/>
                      <a:pt x="289" y="120"/>
                      <a:pt x="295" y="120"/>
                    </a:cubicBezTo>
                    <a:cubicBezTo>
                      <a:pt x="296" y="130"/>
                      <a:pt x="308" y="134"/>
                      <a:pt x="317" y="135"/>
                    </a:cubicBezTo>
                    <a:cubicBezTo>
                      <a:pt x="318" y="143"/>
                      <a:pt x="320" y="151"/>
                      <a:pt x="327" y="151"/>
                    </a:cubicBezTo>
                    <a:cubicBezTo>
                      <a:pt x="337" y="151"/>
                      <a:pt x="339" y="145"/>
                      <a:pt x="342" y="153"/>
                    </a:cubicBezTo>
                    <a:cubicBezTo>
                      <a:pt x="344" y="155"/>
                      <a:pt x="348" y="155"/>
                      <a:pt x="350" y="155"/>
                    </a:cubicBezTo>
                    <a:cubicBezTo>
                      <a:pt x="359" y="155"/>
                      <a:pt x="362" y="158"/>
                      <a:pt x="362" y="165"/>
                    </a:cubicBezTo>
                    <a:cubicBezTo>
                      <a:pt x="362" y="171"/>
                      <a:pt x="355" y="173"/>
                      <a:pt x="349" y="173"/>
                    </a:cubicBezTo>
                    <a:cubicBezTo>
                      <a:pt x="349" y="178"/>
                      <a:pt x="349" y="176"/>
                      <a:pt x="349" y="178"/>
                    </a:cubicBezTo>
                    <a:cubicBezTo>
                      <a:pt x="349" y="180"/>
                      <a:pt x="348" y="184"/>
                      <a:pt x="339"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5" name="Freeform 85"/>
              <p:cNvSpPr>
                <a:spLocks/>
              </p:cNvSpPr>
              <p:nvPr/>
            </p:nvSpPr>
            <p:spPr bwMode="auto">
              <a:xfrm>
                <a:off x="3073400" y="1635125"/>
                <a:ext cx="14288" cy="12700"/>
              </a:xfrm>
              <a:custGeom>
                <a:avLst/>
                <a:gdLst/>
                <a:ahLst/>
                <a:cxnLst>
                  <a:cxn ang="0">
                    <a:pos x="10" y="6"/>
                  </a:cxn>
                  <a:cxn ang="0">
                    <a:pos x="0" y="6"/>
                  </a:cxn>
                  <a:cxn ang="0">
                    <a:pos x="10" y="6"/>
                  </a:cxn>
                </a:cxnLst>
                <a:rect l="0" t="0" r="r" b="b"/>
                <a:pathLst>
                  <a:path w="10" h="9">
                    <a:moveTo>
                      <a:pt x="10" y="6"/>
                    </a:moveTo>
                    <a:cubicBezTo>
                      <a:pt x="6" y="9"/>
                      <a:pt x="5" y="9"/>
                      <a:pt x="0" y="6"/>
                    </a:cubicBezTo>
                    <a:cubicBezTo>
                      <a:pt x="5" y="0"/>
                      <a:pt x="5" y="3"/>
                      <a:pt x="10"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6" name="Freeform 86"/>
              <p:cNvSpPr>
                <a:spLocks/>
              </p:cNvSpPr>
              <p:nvPr/>
            </p:nvSpPr>
            <p:spPr bwMode="auto">
              <a:xfrm>
                <a:off x="2974975" y="1568450"/>
                <a:ext cx="12700" cy="12700"/>
              </a:xfrm>
              <a:custGeom>
                <a:avLst/>
                <a:gdLst/>
                <a:ahLst/>
                <a:cxnLst>
                  <a:cxn ang="0">
                    <a:pos x="1" y="2"/>
                  </a:cxn>
                  <a:cxn ang="0">
                    <a:pos x="9" y="9"/>
                  </a:cxn>
                  <a:cxn ang="0">
                    <a:pos x="1" y="2"/>
                  </a:cxn>
                </a:cxnLst>
                <a:rect l="0" t="0" r="r" b="b"/>
                <a:pathLst>
                  <a:path w="9" h="9">
                    <a:moveTo>
                      <a:pt x="1" y="2"/>
                    </a:moveTo>
                    <a:cubicBezTo>
                      <a:pt x="6" y="0"/>
                      <a:pt x="6" y="5"/>
                      <a:pt x="9" y="9"/>
                    </a:cubicBezTo>
                    <a:cubicBezTo>
                      <a:pt x="4" y="9"/>
                      <a:pt x="0" y="5"/>
                      <a:pt x="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7" name="Freeform 87"/>
              <p:cNvSpPr>
                <a:spLocks/>
              </p:cNvSpPr>
              <p:nvPr/>
            </p:nvSpPr>
            <p:spPr bwMode="auto">
              <a:xfrm>
                <a:off x="2847975" y="985838"/>
                <a:ext cx="514350" cy="269875"/>
              </a:xfrm>
              <a:custGeom>
                <a:avLst/>
                <a:gdLst/>
                <a:ahLst/>
                <a:cxnLst>
                  <a:cxn ang="0">
                    <a:pos x="307" y="16"/>
                  </a:cxn>
                  <a:cxn ang="0">
                    <a:pos x="350" y="9"/>
                  </a:cxn>
                  <a:cxn ang="0">
                    <a:pos x="386" y="28"/>
                  </a:cxn>
                  <a:cxn ang="0">
                    <a:pos x="313" y="51"/>
                  </a:cxn>
                  <a:cxn ang="0">
                    <a:pos x="295" y="74"/>
                  </a:cxn>
                  <a:cxn ang="0">
                    <a:pos x="231" y="108"/>
                  </a:cxn>
                  <a:cxn ang="0">
                    <a:pos x="216" y="118"/>
                  </a:cxn>
                  <a:cxn ang="0">
                    <a:pos x="216" y="137"/>
                  </a:cxn>
                  <a:cxn ang="0">
                    <a:pos x="174" y="157"/>
                  </a:cxn>
                  <a:cxn ang="0">
                    <a:pos x="158" y="184"/>
                  </a:cxn>
                  <a:cxn ang="0">
                    <a:pos x="176" y="188"/>
                  </a:cxn>
                  <a:cxn ang="0">
                    <a:pos x="126" y="197"/>
                  </a:cxn>
                  <a:cxn ang="0">
                    <a:pos x="80" y="201"/>
                  </a:cxn>
                  <a:cxn ang="0">
                    <a:pos x="33" y="197"/>
                  </a:cxn>
                  <a:cxn ang="0">
                    <a:pos x="60" y="176"/>
                  </a:cxn>
                  <a:cxn ang="0">
                    <a:pos x="57" y="158"/>
                  </a:cxn>
                  <a:cxn ang="0">
                    <a:pos x="92" y="170"/>
                  </a:cxn>
                  <a:cxn ang="0">
                    <a:pos x="66" y="148"/>
                  </a:cxn>
                  <a:cxn ang="0">
                    <a:pos x="55" y="151"/>
                  </a:cxn>
                  <a:cxn ang="0">
                    <a:pos x="68" y="131"/>
                  </a:cxn>
                  <a:cxn ang="0">
                    <a:pos x="62" y="97"/>
                  </a:cxn>
                  <a:cxn ang="0">
                    <a:pos x="67" y="89"/>
                  </a:cxn>
                  <a:cxn ang="0">
                    <a:pos x="97" y="90"/>
                  </a:cxn>
                  <a:cxn ang="0">
                    <a:pos x="108" y="91"/>
                  </a:cxn>
                  <a:cxn ang="0">
                    <a:pos x="133" y="86"/>
                  </a:cxn>
                  <a:cxn ang="0">
                    <a:pos x="147" y="74"/>
                  </a:cxn>
                  <a:cxn ang="0">
                    <a:pos x="99" y="81"/>
                  </a:cxn>
                  <a:cxn ang="0">
                    <a:pos x="72" y="76"/>
                  </a:cxn>
                  <a:cxn ang="0">
                    <a:pos x="57" y="81"/>
                  </a:cxn>
                  <a:cxn ang="0">
                    <a:pos x="44" y="67"/>
                  </a:cxn>
                  <a:cxn ang="0">
                    <a:pos x="51" y="53"/>
                  </a:cxn>
                  <a:cxn ang="0">
                    <a:pos x="25" y="60"/>
                  </a:cxn>
                  <a:cxn ang="0">
                    <a:pos x="29" y="49"/>
                  </a:cxn>
                  <a:cxn ang="0">
                    <a:pos x="9" y="52"/>
                  </a:cxn>
                  <a:cxn ang="0">
                    <a:pos x="44" y="36"/>
                  </a:cxn>
                  <a:cxn ang="0">
                    <a:pos x="57" y="32"/>
                  </a:cxn>
                  <a:cxn ang="0">
                    <a:pos x="104" y="32"/>
                  </a:cxn>
                  <a:cxn ang="0">
                    <a:pos x="135" y="11"/>
                  </a:cxn>
                  <a:cxn ang="0">
                    <a:pos x="196" y="6"/>
                  </a:cxn>
                  <a:cxn ang="0">
                    <a:pos x="218" y="8"/>
                  </a:cxn>
                  <a:cxn ang="0">
                    <a:pos x="245" y="3"/>
                  </a:cxn>
                  <a:cxn ang="0">
                    <a:pos x="315" y="11"/>
                  </a:cxn>
                </a:cxnLst>
                <a:rect l="0" t="0" r="r" b="b"/>
                <a:pathLst>
                  <a:path w="386" h="203">
                    <a:moveTo>
                      <a:pt x="315" y="11"/>
                    </a:moveTo>
                    <a:cubicBezTo>
                      <a:pt x="312" y="14"/>
                      <a:pt x="310" y="15"/>
                      <a:pt x="307" y="16"/>
                    </a:cubicBezTo>
                    <a:cubicBezTo>
                      <a:pt x="342" y="6"/>
                      <a:pt x="342" y="6"/>
                      <a:pt x="342" y="6"/>
                    </a:cubicBezTo>
                    <a:cubicBezTo>
                      <a:pt x="345" y="7"/>
                      <a:pt x="347" y="8"/>
                      <a:pt x="350" y="9"/>
                    </a:cubicBezTo>
                    <a:cubicBezTo>
                      <a:pt x="355" y="11"/>
                      <a:pt x="355" y="14"/>
                      <a:pt x="358" y="17"/>
                    </a:cubicBezTo>
                    <a:cubicBezTo>
                      <a:pt x="363" y="22"/>
                      <a:pt x="386" y="20"/>
                      <a:pt x="386" y="28"/>
                    </a:cubicBezTo>
                    <a:cubicBezTo>
                      <a:pt x="386" y="33"/>
                      <a:pt x="378" y="32"/>
                      <a:pt x="375" y="34"/>
                    </a:cubicBezTo>
                    <a:cubicBezTo>
                      <a:pt x="358" y="48"/>
                      <a:pt x="336" y="40"/>
                      <a:pt x="313" y="51"/>
                    </a:cubicBezTo>
                    <a:cubicBezTo>
                      <a:pt x="317" y="56"/>
                      <a:pt x="335" y="52"/>
                      <a:pt x="346" y="52"/>
                    </a:cubicBezTo>
                    <a:cubicBezTo>
                      <a:pt x="336" y="63"/>
                      <a:pt x="311" y="69"/>
                      <a:pt x="295" y="74"/>
                    </a:cubicBezTo>
                    <a:cubicBezTo>
                      <a:pt x="277" y="80"/>
                      <a:pt x="267" y="97"/>
                      <a:pt x="254" y="107"/>
                    </a:cubicBezTo>
                    <a:cubicBezTo>
                      <a:pt x="248" y="112"/>
                      <a:pt x="238" y="106"/>
                      <a:pt x="231" y="108"/>
                    </a:cubicBezTo>
                    <a:cubicBezTo>
                      <a:pt x="221" y="112"/>
                      <a:pt x="210" y="112"/>
                      <a:pt x="203" y="118"/>
                    </a:cubicBezTo>
                    <a:cubicBezTo>
                      <a:pt x="216" y="118"/>
                      <a:pt x="216" y="118"/>
                      <a:pt x="216" y="118"/>
                    </a:cubicBezTo>
                    <a:cubicBezTo>
                      <a:pt x="217" y="128"/>
                      <a:pt x="211" y="127"/>
                      <a:pt x="203" y="126"/>
                    </a:cubicBezTo>
                    <a:cubicBezTo>
                      <a:pt x="208" y="129"/>
                      <a:pt x="213" y="131"/>
                      <a:pt x="216" y="137"/>
                    </a:cubicBezTo>
                    <a:cubicBezTo>
                      <a:pt x="206" y="141"/>
                      <a:pt x="203" y="152"/>
                      <a:pt x="196" y="157"/>
                    </a:cubicBezTo>
                    <a:cubicBezTo>
                      <a:pt x="177" y="157"/>
                      <a:pt x="177" y="157"/>
                      <a:pt x="174" y="157"/>
                    </a:cubicBezTo>
                    <a:cubicBezTo>
                      <a:pt x="175" y="160"/>
                      <a:pt x="177" y="161"/>
                      <a:pt x="177" y="164"/>
                    </a:cubicBezTo>
                    <a:cubicBezTo>
                      <a:pt x="177" y="178"/>
                      <a:pt x="158" y="169"/>
                      <a:pt x="158" y="184"/>
                    </a:cubicBezTo>
                    <a:cubicBezTo>
                      <a:pt x="165" y="184"/>
                      <a:pt x="166" y="184"/>
                      <a:pt x="169" y="184"/>
                    </a:cubicBezTo>
                    <a:cubicBezTo>
                      <a:pt x="171" y="184"/>
                      <a:pt x="176" y="184"/>
                      <a:pt x="176" y="188"/>
                    </a:cubicBezTo>
                    <a:cubicBezTo>
                      <a:pt x="176" y="195"/>
                      <a:pt x="151" y="203"/>
                      <a:pt x="141" y="203"/>
                    </a:cubicBezTo>
                    <a:cubicBezTo>
                      <a:pt x="131" y="203"/>
                      <a:pt x="135" y="197"/>
                      <a:pt x="126" y="197"/>
                    </a:cubicBezTo>
                    <a:cubicBezTo>
                      <a:pt x="113" y="197"/>
                      <a:pt x="104" y="197"/>
                      <a:pt x="93" y="197"/>
                    </a:cubicBezTo>
                    <a:cubicBezTo>
                      <a:pt x="89" y="197"/>
                      <a:pt x="86" y="201"/>
                      <a:pt x="80" y="201"/>
                    </a:cubicBezTo>
                    <a:cubicBezTo>
                      <a:pt x="65" y="201"/>
                      <a:pt x="53" y="197"/>
                      <a:pt x="38" y="192"/>
                    </a:cubicBezTo>
                    <a:cubicBezTo>
                      <a:pt x="37" y="194"/>
                      <a:pt x="35" y="197"/>
                      <a:pt x="33" y="197"/>
                    </a:cubicBezTo>
                    <a:cubicBezTo>
                      <a:pt x="29" y="197"/>
                      <a:pt x="28" y="194"/>
                      <a:pt x="28" y="193"/>
                    </a:cubicBezTo>
                    <a:cubicBezTo>
                      <a:pt x="28" y="176"/>
                      <a:pt x="51" y="182"/>
                      <a:pt x="60" y="176"/>
                    </a:cubicBezTo>
                    <a:cubicBezTo>
                      <a:pt x="55" y="172"/>
                      <a:pt x="46" y="170"/>
                      <a:pt x="46" y="162"/>
                    </a:cubicBezTo>
                    <a:cubicBezTo>
                      <a:pt x="46" y="156"/>
                      <a:pt x="52" y="158"/>
                      <a:pt x="57" y="158"/>
                    </a:cubicBezTo>
                    <a:cubicBezTo>
                      <a:pt x="71" y="158"/>
                      <a:pt x="76" y="165"/>
                      <a:pt x="84" y="170"/>
                    </a:cubicBezTo>
                    <a:cubicBezTo>
                      <a:pt x="92" y="170"/>
                      <a:pt x="92" y="170"/>
                      <a:pt x="92" y="170"/>
                    </a:cubicBezTo>
                    <a:cubicBezTo>
                      <a:pt x="86" y="164"/>
                      <a:pt x="72" y="159"/>
                      <a:pt x="72" y="148"/>
                    </a:cubicBezTo>
                    <a:cubicBezTo>
                      <a:pt x="66" y="148"/>
                      <a:pt x="66" y="148"/>
                      <a:pt x="66" y="148"/>
                    </a:cubicBezTo>
                    <a:cubicBezTo>
                      <a:pt x="63" y="149"/>
                      <a:pt x="63" y="149"/>
                      <a:pt x="61" y="151"/>
                    </a:cubicBezTo>
                    <a:cubicBezTo>
                      <a:pt x="55" y="151"/>
                      <a:pt x="55" y="151"/>
                      <a:pt x="55" y="151"/>
                    </a:cubicBezTo>
                    <a:cubicBezTo>
                      <a:pt x="55" y="146"/>
                      <a:pt x="55" y="146"/>
                      <a:pt x="55" y="146"/>
                    </a:cubicBezTo>
                    <a:cubicBezTo>
                      <a:pt x="58" y="138"/>
                      <a:pt x="61" y="134"/>
                      <a:pt x="68" y="131"/>
                    </a:cubicBezTo>
                    <a:cubicBezTo>
                      <a:pt x="79" y="128"/>
                      <a:pt x="92" y="132"/>
                      <a:pt x="92" y="119"/>
                    </a:cubicBezTo>
                    <a:cubicBezTo>
                      <a:pt x="92" y="105"/>
                      <a:pt x="62" y="105"/>
                      <a:pt x="62" y="97"/>
                    </a:cubicBezTo>
                    <a:cubicBezTo>
                      <a:pt x="62" y="93"/>
                      <a:pt x="69" y="94"/>
                      <a:pt x="73" y="94"/>
                    </a:cubicBezTo>
                    <a:cubicBezTo>
                      <a:pt x="68" y="94"/>
                      <a:pt x="67" y="92"/>
                      <a:pt x="67" y="89"/>
                    </a:cubicBezTo>
                    <a:cubicBezTo>
                      <a:pt x="69" y="88"/>
                      <a:pt x="71" y="89"/>
                      <a:pt x="73" y="89"/>
                    </a:cubicBezTo>
                    <a:cubicBezTo>
                      <a:pt x="78" y="89"/>
                      <a:pt x="88" y="87"/>
                      <a:pt x="97" y="90"/>
                    </a:cubicBezTo>
                    <a:cubicBezTo>
                      <a:pt x="108" y="93"/>
                      <a:pt x="112" y="106"/>
                      <a:pt x="124" y="104"/>
                    </a:cubicBezTo>
                    <a:cubicBezTo>
                      <a:pt x="122" y="102"/>
                      <a:pt x="108" y="93"/>
                      <a:pt x="108" y="91"/>
                    </a:cubicBezTo>
                    <a:cubicBezTo>
                      <a:pt x="108" y="89"/>
                      <a:pt x="110" y="88"/>
                      <a:pt x="111" y="86"/>
                    </a:cubicBezTo>
                    <a:cubicBezTo>
                      <a:pt x="133" y="86"/>
                      <a:pt x="133" y="86"/>
                      <a:pt x="133" y="86"/>
                    </a:cubicBezTo>
                    <a:cubicBezTo>
                      <a:pt x="141" y="83"/>
                      <a:pt x="149" y="81"/>
                      <a:pt x="154" y="74"/>
                    </a:cubicBezTo>
                    <a:cubicBezTo>
                      <a:pt x="147" y="74"/>
                      <a:pt x="147" y="74"/>
                      <a:pt x="147" y="74"/>
                    </a:cubicBezTo>
                    <a:cubicBezTo>
                      <a:pt x="138" y="81"/>
                      <a:pt x="128" y="84"/>
                      <a:pt x="114" y="84"/>
                    </a:cubicBezTo>
                    <a:cubicBezTo>
                      <a:pt x="106" y="84"/>
                      <a:pt x="103" y="81"/>
                      <a:pt x="99" y="81"/>
                    </a:cubicBezTo>
                    <a:cubicBezTo>
                      <a:pt x="95" y="81"/>
                      <a:pt x="93" y="85"/>
                      <a:pt x="90" y="85"/>
                    </a:cubicBezTo>
                    <a:cubicBezTo>
                      <a:pt x="81" y="85"/>
                      <a:pt x="70" y="82"/>
                      <a:pt x="72" y="76"/>
                    </a:cubicBezTo>
                    <a:cubicBezTo>
                      <a:pt x="67" y="76"/>
                      <a:pt x="67" y="76"/>
                      <a:pt x="67" y="76"/>
                    </a:cubicBezTo>
                    <a:cubicBezTo>
                      <a:pt x="63" y="78"/>
                      <a:pt x="61" y="81"/>
                      <a:pt x="57" y="81"/>
                    </a:cubicBezTo>
                    <a:cubicBezTo>
                      <a:pt x="48" y="81"/>
                      <a:pt x="36" y="75"/>
                      <a:pt x="33" y="71"/>
                    </a:cubicBezTo>
                    <a:cubicBezTo>
                      <a:pt x="36" y="69"/>
                      <a:pt x="39" y="67"/>
                      <a:pt x="44" y="67"/>
                    </a:cubicBezTo>
                    <a:cubicBezTo>
                      <a:pt x="36" y="67"/>
                      <a:pt x="27" y="66"/>
                      <a:pt x="24" y="67"/>
                    </a:cubicBezTo>
                    <a:cubicBezTo>
                      <a:pt x="29" y="55"/>
                      <a:pt x="40" y="56"/>
                      <a:pt x="51" y="53"/>
                    </a:cubicBezTo>
                    <a:cubicBezTo>
                      <a:pt x="47" y="52"/>
                      <a:pt x="46" y="52"/>
                      <a:pt x="42" y="52"/>
                    </a:cubicBezTo>
                    <a:cubicBezTo>
                      <a:pt x="33" y="52"/>
                      <a:pt x="33" y="60"/>
                      <a:pt x="25" y="60"/>
                    </a:cubicBezTo>
                    <a:cubicBezTo>
                      <a:pt x="22" y="60"/>
                      <a:pt x="18" y="57"/>
                      <a:pt x="17" y="56"/>
                    </a:cubicBezTo>
                    <a:cubicBezTo>
                      <a:pt x="21" y="52"/>
                      <a:pt x="24" y="51"/>
                      <a:pt x="29" y="49"/>
                    </a:cubicBezTo>
                    <a:cubicBezTo>
                      <a:pt x="16" y="49"/>
                      <a:pt x="16" y="49"/>
                      <a:pt x="16" y="49"/>
                    </a:cubicBezTo>
                    <a:cubicBezTo>
                      <a:pt x="13" y="50"/>
                      <a:pt x="11" y="51"/>
                      <a:pt x="9" y="52"/>
                    </a:cubicBezTo>
                    <a:cubicBezTo>
                      <a:pt x="7" y="52"/>
                      <a:pt x="2" y="52"/>
                      <a:pt x="0" y="52"/>
                    </a:cubicBezTo>
                    <a:cubicBezTo>
                      <a:pt x="2" y="41"/>
                      <a:pt x="31" y="36"/>
                      <a:pt x="44" y="36"/>
                    </a:cubicBezTo>
                    <a:cubicBezTo>
                      <a:pt x="49" y="36"/>
                      <a:pt x="52" y="36"/>
                      <a:pt x="53" y="36"/>
                    </a:cubicBezTo>
                    <a:cubicBezTo>
                      <a:pt x="55" y="36"/>
                      <a:pt x="57" y="34"/>
                      <a:pt x="57" y="32"/>
                    </a:cubicBezTo>
                    <a:cubicBezTo>
                      <a:pt x="71" y="32"/>
                      <a:pt x="65" y="22"/>
                      <a:pt x="74" y="22"/>
                    </a:cubicBezTo>
                    <a:cubicBezTo>
                      <a:pt x="83" y="22"/>
                      <a:pt x="100" y="31"/>
                      <a:pt x="104" y="32"/>
                    </a:cubicBezTo>
                    <a:cubicBezTo>
                      <a:pt x="108" y="22"/>
                      <a:pt x="113" y="12"/>
                      <a:pt x="126" y="12"/>
                    </a:cubicBezTo>
                    <a:cubicBezTo>
                      <a:pt x="134" y="12"/>
                      <a:pt x="129" y="16"/>
                      <a:pt x="135" y="11"/>
                    </a:cubicBezTo>
                    <a:cubicBezTo>
                      <a:pt x="137" y="7"/>
                      <a:pt x="141" y="6"/>
                      <a:pt x="145" y="6"/>
                    </a:cubicBezTo>
                    <a:cubicBezTo>
                      <a:pt x="168" y="6"/>
                      <a:pt x="173" y="6"/>
                      <a:pt x="196" y="6"/>
                    </a:cubicBezTo>
                    <a:cubicBezTo>
                      <a:pt x="197" y="4"/>
                      <a:pt x="199" y="3"/>
                      <a:pt x="201" y="3"/>
                    </a:cubicBezTo>
                    <a:cubicBezTo>
                      <a:pt x="209" y="3"/>
                      <a:pt x="211" y="8"/>
                      <a:pt x="218" y="8"/>
                    </a:cubicBezTo>
                    <a:cubicBezTo>
                      <a:pt x="224" y="8"/>
                      <a:pt x="226" y="0"/>
                      <a:pt x="232" y="0"/>
                    </a:cubicBezTo>
                    <a:cubicBezTo>
                      <a:pt x="239" y="0"/>
                      <a:pt x="241" y="3"/>
                      <a:pt x="245" y="3"/>
                    </a:cubicBezTo>
                    <a:cubicBezTo>
                      <a:pt x="250" y="3"/>
                      <a:pt x="253" y="3"/>
                      <a:pt x="258" y="3"/>
                    </a:cubicBezTo>
                    <a:cubicBezTo>
                      <a:pt x="268" y="3"/>
                      <a:pt x="306" y="2"/>
                      <a:pt x="315"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8" name="Freeform 88"/>
              <p:cNvSpPr>
                <a:spLocks/>
              </p:cNvSpPr>
              <p:nvPr/>
            </p:nvSpPr>
            <p:spPr bwMode="auto">
              <a:xfrm>
                <a:off x="3170238" y="960438"/>
                <a:ext cx="1006475" cy="765175"/>
              </a:xfrm>
              <a:custGeom>
                <a:avLst/>
                <a:gdLst/>
                <a:ahLst/>
                <a:cxnLst>
                  <a:cxn ang="0">
                    <a:pos x="280" y="372"/>
                  </a:cxn>
                  <a:cxn ang="0">
                    <a:pos x="267" y="360"/>
                  </a:cxn>
                  <a:cxn ang="0">
                    <a:pos x="228" y="336"/>
                  </a:cxn>
                  <a:cxn ang="0">
                    <a:pos x="215" y="302"/>
                  </a:cxn>
                  <a:cxn ang="0">
                    <a:pos x="109" y="219"/>
                  </a:cxn>
                  <a:cxn ang="0">
                    <a:pos x="73" y="223"/>
                  </a:cxn>
                  <a:cxn ang="0">
                    <a:pos x="43" y="217"/>
                  </a:cxn>
                  <a:cxn ang="0">
                    <a:pos x="19" y="202"/>
                  </a:cxn>
                  <a:cxn ang="0">
                    <a:pos x="51" y="190"/>
                  </a:cxn>
                  <a:cxn ang="0">
                    <a:pos x="64" y="180"/>
                  </a:cxn>
                  <a:cxn ang="0">
                    <a:pos x="0" y="166"/>
                  </a:cxn>
                  <a:cxn ang="0">
                    <a:pos x="84" y="141"/>
                  </a:cxn>
                  <a:cxn ang="0">
                    <a:pos x="72" y="102"/>
                  </a:cxn>
                  <a:cxn ang="0">
                    <a:pos x="144" y="59"/>
                  </a:cxn>
                  <a:cxn ang="0">
                    <a:pos x="237" y="56"/>
                  </a:cxn>
                  <a:cxn ang="0">
                    <a:pos x="260" y="53"/>
                  </a:cxn>
                  <a:cxn ang="0">
                    <a:pos x="274" y="38"/>
                  </a:cxn>
                  <a:cxn ang="0">
                    <a:pos x="309" y="36"/>
                  </a:cxn>
                  <a:cxn ang="0">
                    <a:pos x="355" y="15"/>
                  </a:cxn>
                  <a:cxn ang="0">
                    <a:pos x="391" y="13"/>
                  </a:cxn>
                  <a:cxn ang="0">
                    <a:pos x="534" y="0"/>
                  </a:cxn>
                  <a:cxn ang="0">
                    <a:pos x="594" y="48"/>
                  </a:cxn>
                  <a:cxn ang="0">
                    <a:pos x="570" y="75"/>
                  </a:cxn>
                  <a:cxn ang="0">
                    <a:pos x="603" y="102"/>
                  </a:cxn>
                  <a:cxn ang="0">
                    <a:pos x="684" y="66"/>
                  </a:cxn>
                  <a:cxn ang="0">
                    <a:pos x="730" y="51"/>
                  </a:cxn>
                  <a:cxn ang="0">
                    <a:pos x="702" y="94"/>
                  </a:cxn>
                  <a:cxn ang="0">
                    <a:pos x="691" y="114"/>
                  </a:cxn>
                  <a:cxn ang="0">
                    <a:pos x="654" y="150"/>
                  </a:cxn>
                  <a:cxn ang="0">
                    <a:pos x="677" y="178"/>
                  </a:cxn>
                  <a:cxn ang="0">
                    <a:pos x="657" y="202"/>
                  </a:cxn>
                  <a:cxn ang="0">
                    <a:pos x="669" y="236"/>
                  </a:cxn>
                  <a:cxn ang="0">
                    <a:pos x="673" y="260"/>
                  </a:cxn>
                  <a:cxn ang="0">
                    <a:pos x="633" y="295"/>
                  </a:cxn>
                  <a:cxn ang="0">
                    <a:pos x="637" y="305"/>
                  </a:cxn>
                  <a:cxn ang="0">
                    <a:pos x="601" y="297"/>
                  </a:cxn>
                  <a:cxn ang="0">
                    <a:pos x="633" y="358"/>
                  </a:cxn>
                  <a:cxn ang="0">
                    <a:pos x="596" y="347"/>
                  </a:cxn>
                  <a:cxn ang="0">
                    <a:pos x="616" y="375"/>
                  </a:cxn>
                  <a:cxn ang="0">
                    <a:pos x="518" y="408"/>
                  </a:cxn>
                  <a:cxn ang="0">
                    <a:pos x="483" y="445"/>
                  </a:cxn>
                  <a:cxn ang="0">
                    <a:pos x="443" y="449"/>
                  </a:cxn>
                  <a:cxn ang="0">
                    <a:pos x="402" y="485"/>
                  </a:cxn>
                  <a:cxn ang="0">
                    <a:pos x="384" y="523"/>
                  </a:cxn>
                  <a:cxn ang="0">
                    <a:pos x="362" y="571"/>
                  </a:cxn>
                  <a:cxn ang="0">
                    <a:pos x="313" y="560"/>
                  </a:cxn>
                  <a:cxn ang="0">
                    <a:pos x="270" y="499"/>
                  </a:cxn>
                  <a:cxn ang="0">
                    <a:pos x="256" y="475"/>
                  </a:cxn>
                  <a:cxn ang="0">
                    <a:pos x="237" y="438"/>
                  </a:cxn>
                  <a:cxn ang="0">
                    <a:pos x="255" y="403"/>
                  </a:cxn>
                </a:cxnLst>
                <a:rect l="0" t="0" r="r" b="b"/>
                <a:pathLst>
                  <a:path w="756" h="575">
                    <a:moveTo>
                      <a:pt x="255" y="403"/>
                    </a:moveTo>
                    <a:cubicBezTo>
                      <a:pt x="261" y="400"/>
                      <a:pt x="261" y="400"/>
                      <a:pt x="267" y="402"/>
                    </a:cubicBezTo>
                    <a:cubicBezTo>
                      <a:pt x="270" y="389"/>
                      <a:pt x="276" y="385"/>
                      <a:pt x="280" y="372"/>
                    </a:cubicBezTo>
                    <a:cubicBezTo>
                      <a:pt x="266" y="368"/>
                      <a:pt x="234" y="366"/>
                      <a:pt x="233" y="353"/>
                    </a:cubicBezTo>
                    <a:cubicBezTo>
                      <a:pt x="237" y="352"/>
                      <a:pt x="236" y="353"/>
                      <a:pt x="240" y="353"/>
                    </a:cubicBezTo>
                    <a:cubicBezTo>
                      <a:pt x="250" y="353"/>
                      <a:pt x="256" y="360"/>
                      <a:pt x="267" y="360"/>
                    </a:cubicBezTo>
                    <a:cubicBezTo>
                      <a:pt x="271" y="360"/>
                      <a:pt x="271" y="356"/>
                      <a:pt x="271" y="353"/>
                    </a:cubicBezTo>
                    <a:cubicBezTo>
                      <a:pt x="258" y="349"/>
                      <a:pt x="254" y="328"/>
                      <a:pt x="239" y="328"/>
                    </a:cubicBezTo>
                    <a:cubicBezTo>
                      <a:pt x="235" y="328"/>
                      <a:pt x="234" y="336"/>
                      <a:pt x="228" y="336"/>
                    </a:cubicBezTo>
                    <a:cubicBezTo>
                      <a:pt x="220" y="336"/>
                      <a:pt x="216" y="335"/>
                      <a:pt x="216" y="328"/>
                    </a:cubicBezTo>
                    <a:cubicBezTo>
                      <a:pt x="216" y="318"/>
                      <a:pt x="226" y="319"/>
                      <a:pt x="226" y="309"/>
                    </a:cubicBezTo>
                    <a:cubicBezTo>
                      <a:pt x="226" y="303"/>
                      <a:pt x="219" y="302"/>
                      <a:pt x="215" y="302"/>
                    </a:cubicBezTo>
                    <a:cubicBezTo>
                      <a:pt x="215" y="295"/>
                      <a:pt x="215" y="295"/>
                      <a:pt x="215" y="295"/>
                    </a:cubicBezTo>
                    <a:cubicBezTo>
                      <a:pt x="203" y="257"/>
                      <a:pt x="172" y="219"/>
                      <a:pt x="122" y="219"/>
                    </a:cubicBezTo>
                    <a:cubicBezTo>
                      <a:pt x="115" y="219"/>
                      <a:pt x="113" y="219"/>
                      <a:pt x="109" y="219"/>
                    </a:cubicBezTo>
                    <a:cubicBezTo>
                      <a:pt x="103" y="219"/>
                      <a:pt x="101" y="224"/>
                      <a:pt x="95" y="224"/>
                    </a:cubicBezTo>
                    <a:cubicBezTo>
                      <a:pt x="91" y="224"/>
                      <a:pt x="87" y="221"/>
                      <a:pt x="82" y="221"/>
                    </a:cubicBezTo>
                    <a:cubicBezTo>
                      <a:pt x="77" y="221"/>
                      <a:pt x="75" y="222"/>
                      <a:pt x="73" y="223"/>
                    </a:cubicBezTo>
                    <a:cubicBezTo>
                      <a:pt x="74" y="224"/>
                      <a:pt x="76" y="226"/>
                      <a:pt x="77" y="226"/>
                    </a:cubicBezTo>
                    <a:cubicBezTo>
                      <a:pt x="75" y="229"/>
                      <a:pt x="75" y="228"/>
                      <a:pt x="72" y="228"/>
                    </a:cubicBezTo>
                    <a:cubicBezTo>
                      <a:pt x="62" y="228"/>
                      <a:pt x="48" y="224"/>
                      <a:pt x="43" y="217"/>
                    </a:cubicBezTo>
                    <a:cubicBezTo>
                      <a:pt x="47" y="214"/>
                      <a:pt x="50" y="214"/>
                      <a:pt x="52" y="210"/>
                    </a:cubicBezTo>
                    <a:cubicBezTo>
                      <a:pt x="45" y="207"/>
                      <a:pt x="39" y="202"/>
                      <a:pt x="34" y="202"/>
                    </a:cubicBezTo>
                    <a:cubicBezTo>
                      <a:pt x="24" y="202"/>
                      <a:pt x="27" y="206"/>
                      <a:pt x="19" y="202"/>
                    </a:cubicBezTo>
                    <a:cubicBezTo>
                      <a:pt x="19" y="196"/>
                      <a:pt x="28" y="194"/>
                      <a:pt x="32" y="194"/>
                    </a:cubicBezTo>
                    <a:cubicBezTo>
                      <a:pt x="37" y="194"/>
                      <a:pt x="40" y="194"/>
                      <a:pt x="43" y="194"/>
                    </a:cubicBezTo>
                    <a:cubicBezTo>
                      <a:pt x="47" y="194"/>
                      <a:pt x="49" y="193"/>
                      <a:pt x="51" y="190"/>
                    </a:cubicBezTo>
                    <a:cubicBezTo>
                      <a:pt x="76" y="190"/>
                      <a:pt x="76" y="190"/>
                      <a:pt x="76" y="190"/>
                    </a:cubicBezTo>
                    <a:cubicBezTo>
                      <a:pt x="80" y="187"/>
                      <a:pt x="80" y="185"/>
                      <a:pt x="82" y="180"/>
                    </a:cubicBezTo>
                    <a:cubicBezTo>
                      <a:pt x="64" y="180"/>
                      <a:pt x="64" y="180"/>
                      <a:pt x="64" y="180"/>
                    </a:cubicBezTo>
                    <a:cubicBezTo>
                      <a:pt x="63" y="183"/>
                      <a:pt x="62" y="185"/>
                      <a:pt x="60" y="185"/>
                    </a:cubicBezTo>
                    <a:cubicBezTo>
                      <a:pt x="53" y="185"/>
                      <a:pt x="50" y="185"/>
                      <a:pt x="44" y="185"/>
                    </a:cubicBezTo>
                    <a:cubicBezTo>
                      <a:pt x="42" y="185"/>
                      <a:pt x="0" y="173"/>
                      <a:pt x="0" y="166"/>
                    </a:cubicBezTo>
                    <a:cubicBezTo>
                      <a:pt x="0" y="152"/>
                      <a:pt x="16" y="157"/>
                      <a:pt x="25" y="154"/>
                    </a:cubicBezTo>
                    <a:cubicBezTo>
                      <a:pt x="33" y="151"/>
                      <a:pt x="38" y="146"/>
                      <a:pt x="46" y="144"/>
                    </a:cubicBezTo>
                    <a:cubicBezTo>
                      <a:pt x="58" y="140"/>
                      <a:pt x="74" y="146"/>
                      <a:pt x="84" y="141"/>
                    </a:cubicBezTo>
                    <a:cubicBezTo>
                      <a:pt x="91" y="136"/>
                      <a:pt x="96" y="128"/>
                      <a:pt x="96" y="117"/>
                    </a:cubicBezTo>
                    <a:cubicBezTo>
                      <a:pt x="88" y="116"/>
                      <a:pt x="63" y="117"/>
                      <a:pt x="63" y="109"/>
                    </a:cubicBezTo>
                    <a:cubicBezTo>
                      <a:pt x="63" y="105"/>
                      <a:pt x="69" y="102"/>
                      <a:pt x="72" y="102"/>
                    </a:cubicBezTo>
                    <a:cubicBezTo>
                      <a:pt x="87" y="97"/>
                      <a:pt x="106" y="86"/>
                      <a:pt x="115" y="78"/>
                    </a:cubicBezTo>
                    <a:cubicBezTo>
                      <a:pt x="119" y="80"/>
                      <a:pt x="122" y="81"/>
                      <a:pt x="127" y="81"/>
                    </a:cubicBezTo>
                    <a:cubicBezTo>
                      <a:pt x="142" y="81"/>
                      <a:pt x="130" y="61"/>
                      <a:pt x="144" y="59"/>
                    </a:cubicBezTo>
                    <a:cubicBezTo>
                      <a:pt x="162" y="57"/>
                      <a:pt x="169" y="52"/>
                      <a:pt x="185" y="52"/>
                    </a:cubicBezTo>
                    <a:cubicBezTo>
                      <a:pt x="198" y="49"/>
                      <a:pt x="206" y="42"/>
                      <a:pt x="218" y="42"/>
                    </a:cubicBezTo>
                    <a:cubicBezTo>
                      <a:pt x="226" y="42"/>
                      <a:pt x="229" y="56"/>
                      <a:pt x="237" y="56"/>
                    </a:cubicBezTo>
                    <a:cubicBezTo>
                      <a:pt x="237" y="52"/>
                      <a:pt x="235" y="50"/>
                      <a:pt x="235" y="47"/>
                    </a:cubicBezTo>
                    <a:cubicBezTo>
                      <a:pt x="239" y="42"/>
                      <a:pt x="239" y="42"/>
                      <a:pt x="239" y="42"/>
                    </a:cubicBezTo>
                    <a:cubicBezTo>
                      <a:pt x="244" y="51"/>
                      <a:pt x="252" y="50"/>
                      <a:pt x="260" y="53"/>
                    </a:cubicBezTo>
                    <a:cubicBezTo>
                      <a:pt x="262" y="53"/>
                      <a:pt x="267" y="53"/>
                      <a:pt x="267" y="53"/>
                    </a:cubicBezTo>
                    <a:cubicBezTo>
                      <a:pt x="266" y="50"/>
                      <a:pt x="263" y="47"/>
                      <a:pt x="263" y="44"/>
                    </a:cubicBezTo>
                    <a:cubicBezTo>
                      <a:pt x="263" y="38"/>
                      <a:pt x="270" y="38"/>
                      <a:pt x="274" y="38"/>
                    </a:cubicBezTo>
                    <a:cubicBezTo>
                      <a:pt x="293" y="38"/>
                      <a:pt x="303" y="48"/>
                      <a:pt x="314" y="53"/>
                    </a:cubicBezTo>
                    <a:cubicBezTo>
                      <a:pt x="334" y="53"/>
                      <a:pt x="334" y="53"/>
                      <a:pt x="334" y="53"/>
                    </a:cubicBezTo>
                    <a:cubicBezTo>
                      <a:pt x="327" y="50"/>
                      <a:pt x="309" y="44"/>
                      <a:pt x="309" y="36"/>
                    </a:cubicBezTo>
                    <a:cubicBezTo>
                      <a:pt x="309" y="29"/>
                      <a:pt x="322" y="31"/>
                      <a:pt x="326" y="30"/>
                    </a:cubicBezTo>
                    <a:cubicBezTo>
                      <a:pt x="323" y="27"/>
                      <a:pt x="320" y="27"/>
                      <a:pt x="318" y="24"/>
                    </a:cubicBezTo>
                    <a:cubicBezTo>
                      <a:pt x="330" y="18"/>
                      <a:pt x="341" y="15"/>
                      <a:pt x="355" y="15"/>
                    </a:cubicBezTo>
                    <a:cubicBezTo>
                      <a:pt x="366" y="15"/>
                      <a:pt x="373" y="15"/>
                      <a:pt x="382" y="18"/>
                    </a:cubicBezTo>
                    <a:cubicBezTo>
                      <a:pt x="391" y="18"/>
                      <a:pt x="391" y="18"/>
                      <a:pt x="391" y="18"/>
                    </a:cubicBezTo>
                    <a:cubicBezTo>
                      <a:pt x="391" y="13"/>
                      <a:pt x="391" y="13"/>
                      <a:pt x="391" y="13"/>
                    </a:cubicBezTo>
                    <a:cubicBezTo>
                      <a:pt x="398" y="12"/>
                      <a:pt x="402" y="13"/>
                      <a:pt x="409" y="13"/>
                    </a:cubicBezTo>
                    <a:cubicBezTo>
                      <a:pt x="430" y="13"/>
                      <a:pt x="447" y="0"/>
                      <a:pt x="470" y="0"/>
                    </a:cubicBezTo>
                    <a:cubicBezTo>
                      <a:pt x="495" y="0"/>
                      <a:pt x="512" y="0"/>
                      <a:pt x="534" y="0"/>
                    </a:cubicBezTo>
                    <a:cubicBezTo>
                      <a:pt x="560" y="0"/>
                      <a:pt x="579" y="17"/>
                      <a:pt x="600" y="26"/>
                    </a:cubicBezTo>
                    <a:cubicBezTo>
                      <a:pt x="612" y="31"/>
                      <a:pt x="627" y="28"/>
                      <a:pt x="638" y="30"/>
                    </a:cubicBezTo>
                    <a:cubicBezTo>
                      <a:pt x="636" y="46"/>
                      <a:pt x="606" y="44"/>
                      <a:pt x="594" y="48"/>
                    </a:cubicBezTo>
                    <a:cubicBezTo>
                      <a:pt x="497" y="53"/>
                      <a:pt x="497" y="53"/>
                      <a:pt x="497" y="53"/>
                    </a:cubicBezTo>
                    <a:cubicBezTo>
                      <a:pt x="505" y="59"/>
                      <a:pt x="579" y="50"/>
                      <a:pt x="587" y="53"/>
                    </a:cubicBezTo>
                    <a:cubicBezTo>
                      <a:pt x="586" y="57"/>
                      <a:pt x="567" y="75"/>
                      <a:pt x="570" y="75"/>
                    </a:cubicBezTo>
                    <a:cubicBezTo>
                      <a:pt x="581" y="75"/>
                      <a:pt x="607" y="50"/>
                      <a:pt x="622" y="50"/>
                    </a:cubicBezTo>
                    <a:cubicBezTo>
                      <a:pt x="630" y="50"/>
                      <a:pt x="633" y="57"/>
                      <a:pt x="633" y="64"/>
                    </a:cubicBezTo>
                    <a:cubicBezTo>
                      <a:pt x="633" y="67"/>
                      <a:pt x="605" y="97"/>
                      <a:pt x="603" y="102"/>
                    </a:cubicBezTo>
                    <a:cubicBezTo>
                      <a:pt x="615" y="99"/>
                      <a:pt x="637" y="70"/>
                      <a:pt x="644" y="64"/>
                    </a:cubicBezTo>
                    <a:cubicBezTo>
                      <a:pt x="655" y="64"/>
                      <a:pt x="674" y="64"/>
                      <a:pt x="674" y="64"/>
                    </a:cubicBezTo>
                    <a:cubicBezTo>
                      <a:pt x="674" y="64"/>
                      <a:pt x="682" y="66"/>
                      <a:pt x="684" y="66"/>
                    </a:cubicBezTo>
                    <a:cubicBezTo>
                      <a:pt x="692" y="63"/>
                      <a:pt x="693" y="60"/>
                      <a:pt x="700" y="57"/>
                    </a:cubicBezTo>
                    <a:cubicBezTo>
                      <a:pt x="721" y="57"/>
                      <a:pt x="721" y="57"/>
                      <a:pt x="721" y="57"/>
                    </a:cubicBezTo>
                    <a:cubicBezTo>
                      <a:pt x="723" y="52"/>
                      <a:pt x="726" y="51"/>
                      <a:pt x="730" y="51"/>
                    </a:cubicBezTo>
                    <a:cubicBezTo>
                      <a:pt x="736" y="51"/>
                      <a:pt x="756" y="61"/>
                      <a:pt x="756" y="67"/>
                    </a:cubicBezTo>
                    <a:cubicBezTo>
                      <a:pt x="756" y="72"/>
                      <a:pt x="748" y="76"/>
                      <a:pt x="745" y="77"/>
                    </a:cubicBezTo>
                    <a:cubicBezTo>
                      <a:pt x="731" y="82"/>
                      <a:pt x="722" y="94"/>
                      <a:pt x="702" y="94"/>
                    </a:cubicBezTo>
                    <a:cubicBezTo>
                      <a:pt x="707" y="97"/>
                      <a:pt x="708" y="97"/>
                      <a:pt x="711" y="94"/>
                    </a:cubicBezTo>
                    <a:cubicBezTo>
                      <a:pt x="711" y="107"/>
                      <a:pt x="699" y="107"/>
                      <a:pt x="691" y="109"/>
                    </a:cubicBezTo>
                    <a:cubicBezTo>
                      <a:pt x="694" y="115"/>
                      <a:pt x="691" y="110"/>
                      <a:pt x="691" y="114"/>
                    </a:cubicBezTo>
                    <a:cubicBezTo>
                      <a:pt x="691" y="121"/>
                      <a:pt x="680" y="123"/>
                      <a:pt x="671" y="125"/>
                    </a:cubicBezTo>
                    <a:cubicBezTo>
                      <a:pt x="672" y="130"/>
                      <a:pt x="671" y="130"/>
                      <a:pt x="671" y="132"/>
                    </a:cubicBezTo>
                    <a:cubicBezTo>
                      <a:pt x="671" y="141"/>
                      <a:pt x="662" y="144"/>
                      <a:pt x="654" y="150"/>
                    </a:cubicBezTo>
                    <a:cubicBezTo>
                      <a:pt x="648" y="154"/>
                      <a:pt x="649" y="165"/>
                      <a:pt x="646" y="169"/>
                    </a:cubicBezTo>
                    <a:cubicBezTo>
                      <a:pt x="651" y="172"/>
                      <a:pt x="655" y="169"/>
                      <a:pt x="659" y="169"/>
                    </a:cubicBezTo>
                    <a:cubicBezTo>
                      <a:pt x="667" y="169"/>
                      <a:pt x="673" y="174"/>
                      <a:pt x="677" y="178"/>
                    </a:cubicBezTo>
                    <a:cubicBezTo>
                      <a:pt x="675" y="179"/>
                      <a:pt x="672" y="180"/>
                      <a:pt x="669" y="180"/>
                    </a:cubicBezTo>
                    <a:cubicBezTo>
                      <a:pt x="671" y="187"/>
                      <a:pt x="688" y="185"/>
                      <a:pt x="688" y="196"/>
                    </a:cubicBezTo>
                    <a:cubicBezTo>
                      <a:pt x="688" y="206"/>
                      <a:pt x="665" y="202"/>
                      <a:pt x="657" y="202"/>
                    </a:cubicBezTo>
                    <a:cubicBezTo>
                      <a:pt x="652" y="202"/>
                      <a:pt x="648" y="206"/>
                      <a:pt x="648" y="209"/>
                    </a:cubicBezTo>
                    <a:cubicBezTo>
                      <a:pt x="648" y="217"/>
                      <a:pt x="656" y="217"/>
                      <a:pt x="663" y="217"/>
                    </a:cubicBezTo>
                    <a:cubicBezTo>
                      <a:pt x="663" y="226"/>
                      <a:pt x="669" y="229"/>
                      <a:pt x="669" y="236"/>
                    </a:cubicBezTo>
                    <a:cubicBezTo>
                      <a:pt x="669" y="239"/>
                      <a:pt x="667" y="243"/>
                      <a:pt x="669" y="245"/>
                    </a:cubicBezTo>
                    <a:cubicBezTo>
                      <a:pt x="662" y="245"/>
                      <a:pt x="655" y="245"/>
                      <a:pt x="655" y="251"/>
                    </a:cubicBezTo>
                    <a:cubicBezTo>
                      <a:pt x="655" y="258"/>
                      <a:pt x="667" y="258"/>
                      <a:pt x="673" y="260"/>
                    </a:cubicBezTo>
                    <a:cubicBezTo>
                      <a:pt x="670" y="267"/>
                      <a:pt x="661" y="271"/>
                      <a:pt x="653" y="272"/>
                    </a:cubicBezTo>
                    <a:cubicBezTo>
                      <a:pt x="653" y="275"/>
                      <a:pt x="655" y="277"/>
                      <a:pt x="657" y="278"/>
                    </a:cubicBezTo>
                    <a:cubicBezTo>
                      <a:pt x="654" y="292"/>
                      <a:pt x="637" y="286"/>
                      <a:pt x="633" y="295"/>
                    </a:cubicBezTo>
                    <a:cubicBezTo>
                      <a:pt x="628" y="292"/>
                      <a:pt x="623" y="290"/>
                      <a:pt x="620" y="285"/>
                    </a:cubicBezTo>
                    <a:cubicBezTo>
                      <a:pt x="613" y="285"/>
                      <a:pt x="613" y="285"/>
                      <a:pt x="613" y="285"/>
                    </a:cubicBezTo>
                    <a:cubicBezTo>
                      <a:pt x="618" y="297"/>
                      <a:pt x="637" y="293"/>
                      <a:pt x="637" y="305"/>
                    </a:cubicBezTo>
                    <a:cubicBezTo>
                      <a:pt x="637" y="310"/>
                      <a:pt x="636" y="317"/>
                      <a:pt x="631" y="317"/>
                    </a:cubicBezTo>
                    <a:cubicBezTo>
                      <a:pt x="623" y="317"/>
                      <a:pt x="609" y="306"/>
                      <a:pt x="607" y="297"/>
                    </a:cubicBezTo>
                    <a:cubicBezTo>
                      <a:pt x="603" y="298"/>
                      <a:pt x="602" y="297"/>
                      <a:pt x="601" y="297"/>
                    </a:cubicBezTo>
                    <a:cubicBezTo>
                      <a:pt x="601" y="304"/>
                      <a:pt x="601" y="304"/>
                      <a:pt x="601" y="304"/>
                    </a:cubicBezTo>
                    <a:cubicBezTo>
                      <a:pt x="617" y="320"/>
                      <a:pt x="645" y="327"/>
                      <a:pt x="645" y="352"/>
                    </a:cubicBezTo>
                    <a:cubicBezTo>
                      <a:pt x="645" y="357"/>
                      <a:pt x="638" y="358"/>
                      <a:pt x="633" y="358"/>
                    </a:cubicBezTo>
                    <a:cubicBezTo>
                      <a:pt x="612" y="358"/>
                      <a:pt x="617" y="336"/>
                      <a:pt x="599" y="336"/>
                    </a:cubicBezTo>
                    <a:cubicBezTo>
                      <a:pt x="596" y="336"/>
                      <a:pt x="594" y="337"/>
                      <a:pt x="592" y="336"/>
                    </a:cubicBezTo>
                    <a:cubicBezTo>
                      <a:pt x="592" y="342"/>
                      <a:pt x="596" y="343"/>
                      <a:pt x="596" y="347"/>
                    </a:cubicBezTo>
                    <a:cubicBezTo>
                      <a:pt x="596" y="351"/>
                      <a:pt x="589" y="352"/>
                      <a:pt x="587" y="352"/>
                    </a:cubicBezTo>
                    <a:cubicBezTo>
                      <a:pt x="587" y="366"/>
                      <a:pt x="626" y="364"/>
                      <a:pt x="635" y="367"/>
                    </a:cubicBezTo>
                    <a:cubicBezTo>
                      <a:pt x="629" y="372"/>
                      <a:pt x="624" y="373"/>
                      <a:pt x="616" y="375"/>
                    </a:cubicBezTo>
                    <a:cubicBezTo>
                      <a:pt x="602" y="380"/>
                      <a:pt x="597" y="393"/>
                      <a:pt x="584" y="397"/>
                    </a:cubicBezTo>
                    <a:cubicBezTo>
                      <a:pt x="569" y="402"/>
                      <a:pt x="556" y="400"/>
                      <a:pt x="539" y="408"/>
                    </a:cubicBezTo>
                    <a:cubicBezTo>
                      <a:pt x="518" y="408"/>
                      <a:pt x="518" y="408"/>
                      <a:pt x="518" y="408"/>
                    </a:cubicBezTo>
                    <a:cubicBezTo>
                      <a:pt x="514" y="410"/>
                      <a:pt x="510" y="412"/>
                      <a:pt x="510" y="415"/>
                    </a:cubicBezTo>
                    <a:cubicBezTo>
                      <a:pt x="498" y="423"/>
                      <a:pt x="498" y="423"/>
                      <a:pt x="498" y="423"/>
                    </a:cubicBezTo>
                    <a:cubicBezTo>
                      <a:pt x="490" y="430"/>
                      <a:pt x="490" y="438"/>
                      <a:pt x="483" y="445"/>
                    </a:cubicBezTo>
                    <a:cubicBezTo>
                      <a:pt x="474" y="454"/>
                      <a:pt x="459" y="452"/>
                      <a:pt x="450" y="458"/>
                    </a:cubicBezTo>
                    <a:cubicBezTo>
                      <a:pt x="443" y="458"/>
                      <a:pt x="443" y="458"/>
                      <a:pt x="443" y="458"/>
                    </a:cubicBezTo>
                    <a:cubicBezTo>
                      <a:pt x="443" y="449"/>
                      <a:pt x="443" y="449"/>
                      <a:pt x="443" y="449"/>
                    </a:cubicBezTo>
                    <a:cubicBezTo>
                      <a:pt x="437" y="452"/>
                      <a:pt x="438" y="457"/>
                      <a:pt x="435" y="460"/>
                    </a:cubicBezTo>
                    <a:cubicBezTo>
                      <a:pt x="425" y="470"/>
                      <a:pt x="401" y="466"/>
                      <a:pt x="401" y="480"/>
                    </a:cubicBezTo>
                    <a:cubicBezTo>
                      <a:pt x="401" y="482"/>
                      <a:pt x="402" y="483"/>
                      <a:pt x="402" y="485"/>
                    </a:cubicBezTo>
                    <a:cubicBezTo>
                      <a:pt x="401" y="486"/>
                      <a:pt x="399" y="488"/>
                      <a:pt x="399" y="490"/>
                    </a:cubicBezTo>
                    <a:cubicBezTo>
                      <a:pt x="399" y="493"/>
                      <a:pt x="405" y="495"/>
                      <a:pt x="405" y="500"/>
                    </a:cubicBezTo>
                    <a:cubicBezTo>
                      <a:pt x="405" y="515"/>
                      <a:pt x="384" y="510"/>
                      <a:pt x="384" y="523"/>
                    </a:cubicBezTo>
                    <a:cubicBezTo>
                      <a:pt x="384" y="531"/>
                      <a:pt x="383" y="543"/>
                      <a:pt x="384" y="547"/>
                    </a:cubicBezTo>
                    <a:cubicBezTo>
                      <a:pt x="374" y="552"/>
                      <a:pt x="379" y="575"/>
                      <a:pt x="367" y="575"/>
                    </a:cubicBezTo>
                    <a:cubicBezTo>
                      <a:pt x="364" y="575"/>
                      <a:pt x="363" y="573"/>
                      <a:pt x="362" y="571"/>
                    </a:cubicBezTo>
                    <a:cubicBezTo>
                      <a:pt x="356" y="571"/>
                      <a:pt x="356" y="574"/>
                      <a:pt x="353" y="574"/>
                    </a:cubicBezTo>
                    <a:cubicBezTo>
                      <a:pt x="342" y="574"/>
                      <a:pt x="343" y="554"/>
                      <a:pt x="332" y="554"/>
                    </a:cubicBezTo>
                    <a:cubicBezTo>
                      <a:pt x="326" y="554"/>
                      <a:pt x="319" y="559"/>
                      <a:pt x="313" y="560"/>
                    </a:cubicBezTo>
                    <a:cubicBezTo>
                      <a:pt x="310" y="550"/>
                      <a:pt x="306" y="553"/>
                      <a:pt x="299" y="547"/>
                    </a:cubicBezTo>
                    <a:cubicBezTo>
                      <a:pt x="296" y="546"/>
                      <a:pt x="297" y="539"/>
                      <a:pt x="296" y="539"/>
                    </a:cubicBezTo>
                    <a:cubicBezTo>
                      <a:pt x="287" y="531"/>
                      <a:pt x="270" y="512"/>
                      <a:pt x="270" y="499"/>
                    </a:cubicBezTo>
                    <a:cubicBezTo>
                      <a:pt x="270" y="493"/>
                      <a:pt x="274" y="494"/>
                      <a:pt x="277" y="490"/>
                    </a:cubicBezTo>
                    <a:cubicBezTo>
                      <a:pt x="270" y="482"/>
                      <a:pt x="268" y="493"/>
                      <a:pt x="260" y="489"/>
                    </a:cubicBezTo>
                    <a:cubicBezTo>
                      <a:pt x="259" y="487"/>
                      <a:pt x="257" y="479"/>
                      <a:pt x="256" y="475"/>
                    </a:cubicBezTo>
                    <a:cubicBezTo>
                      <a:pt x="253" y="466"/>
                      <a:pt x="241" y="461"/>
                      <a:pt x="241" y="449"/>
                    </a:cubicBezTo>
                    <a:cubicBezTo>
                      <a:pt x="241" y="445"/>
                      <a:pt x="244" y="443"/>
                      <a:pt x="246" y="438"/>
                    </a:cubicBezTo>
                    <a:cubicBezTo>
                      <a:pt x="243" y="437"/>
                      <a:pt x="240" y="436"/>
                      <a:pt x="237" y="438"/>
                    </a:cubicBezTo>
                    <a:cubicBezTo>
                      <a:pt x="237" y="428"/>
                      <a:pt x="237" y="428"/>
                      <a:pt x="237" y="428"/>
                    </a:cubicBezTo>
                    <a:cubicBezTo>
                      <a:pt x="243" y="420"/>
                      <a:pt x="246" y="411"/>
                      <a:pt x="255" y="404"/>
                    </a:cubicBezTo>
                    <a:lnTo>
                      <a:pt x="255" y="4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69" name="Freeform 89"/>
              <p:cNvSpPr>
                <a:spLocks/>
              </p:cNvSpPr>
              <p:nvPr/>
            </p:nvSpPr>
            <p:spPr bwMode="auto">
              <a:xfrm>
                <a:off x="3470275" y="1443038"/>
                <a:ext cx="47625" cy="31750"/>
              </a:xfrm>
              <a:custGeom>
                <a:avLst/>
                <a:gdLst/>
                <a:ahLst/>
                <a:cxnLst>
                  <a:cxn ang="0">
                    <a:pos x="9" y="24"/>
                  </a:cxn>
                  <a:cxn ang="0">
                    <a:pos x="0" y="9"/>
                  </a:cxn>
                  <a:cxn ang="0">
                    <a:pos x="10" y="0"/>
                  </a:cxn>
                  <a:cxn ang="0">
                    <a:pos x="36" y="16"/>
                  </a:cxn>
                  <a:cxn ang="0">
                    <a:pos x="19" y="24"/>
                  </a:cxn>
                  <a:cxn ang="0">
                    <a:pos x="9" y="24"/>
                  </a:cxn>
                </a:cxnLst>
                <a:rect l="0" t="0" r="r" b="b"/>
                <a:pathLst>
                  <a:path w="36" h="24">
                    <a:moveTo>
                      <a:pt x="9" y="24"/>
                    </a:moveTo>
                    <a:cubicBezTo>
                      <a:pt x="5" y="24"/>
                      <a:pt x="0" y="14"/>
                      <a:pt x="0" y="9"/>
                    </a:cubicBezTo>
                    <a:cubicBezTo>
                      <a:pt x="0" y="2"/>
                      <a:pt x="6" y="0"/>
                      <a:pt x="10" y="0"/>
                    </a:cubicBezTo>
                    <a:cubicBezTo>
                      <a:pt x="21" y="0"/>
                      <a:pt x="25" y="12"/>
                      <a:pt x="36" y="16"/>
                    </a:cubicBezTo>
                    <a:cubicBezTo>
                      <a:pt x="35" y="23"/>
                      <a:pt x="26" y="24"/>
                      <a:pt x="19" y="24"/>
                    </a:cubicBezTo>
                    <a:lnTo>
                      <a:pt x="9"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0" name="Freeform 90"/>
              <p:cNvSpPr>
                <a:spLocks/>
              </p:cNvSpPr>
              <p:nvPr/>
            </p:nvSpPr>
            <p:spPr bwMode="auto">
              <a:xfrm>
                <a:off x="4070350" y="1277938"/>
                <a:ext cx="26988" cy="15875"/>
              </a:xfrm>
              <a:custGeom>
                <a:avLst/>
                <a:gdLst/>
                <a:ahLst/>
                <a:cxnLst>
                  <a:cxn ang="0">
                    <a:pos x="6" y="12"/>
                  </a:cxn>
                  <a:cxn ang="0">
                    <a:pos x="0" y="5"/>
                  </a:cxn>
                  <a:cxn ang="0">
                    <a:pos x="4" y="0"/>
                  </a:cxn>
                  <a:cxn ang="0">
                    <a:pos x="12" y="0"/>
                  </a:cxn>
                  <a:cxn ang="0">
                    <a:pos x="12" y="5"/>
                  </a:cxn>
                  <a:cxn ang="0">
                    <a:pos x="20" y="5"/>
                  </a:cxn>
                  <a:cxn ang="0">
                    <a:pos x="6" y="12"/>
                  </a:cxn>
                </a:cxnLst>
                <a:rect l="0" t="0" r="r" b="b"/>
                <a:pathLst>
                  <a:path w="20" h="12">
                    <a:moveTo>
                      <a:pt x="6" y="12"/>
                    </a:moveTo>
                    <a:cubicBezTo>
                      <a:pt x="2" y="12"/>
                      <a:pt x="0" y="8"/>
                      <a:pt x="0" y="5"/>
                    </a:cubicBezTo>
                    <a:cubicBezTo>
                      <a:pt x="0" y="3"/>
                      <a:pt x="3" y="1"/>
                      <a:pt x="4" y="0"/>
                    </a:cubicBezTo>
                    <a:cubicBezTo>
                      <a:pt x="12" y="0"/>
                      <a:pt x="12" y="0"/>
                      <a:pt x="12" y="0"/>
                    </a:cubicBezTo>
                    <a:cubicBezTo>
                      <a:pt x="12" y="3"/>
                      <a:pt x="12" y="4"/>
                      <a:pt x="12" y="5"/>
                    </a:cubicBezTo>
                    <a:cubicBezTo>
                      <a:pt x="20" y="5"/>
                      <a:pt x="20" y="5"/>
                      <a:pt x="20" y="5"/>
                    </a:cubicBezTo>
                    <a:cubicBezTo>
                      <a:pt x="17" y="7"/>
                      <a:pt x="10" y="12"/>
                      <a:pt x="6"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1" name="Freeform 91"/>
              <p:cNvSpPr>
                <a:spLocks/>
              </p:cNvSpPr>
              <p:nvPr/>
            </p:nvSpPr>
            <p:spPr bwMode="auto">
              <a:xfrm>
                <a:off x="3397250" y="1928813"/>
                <a:ext cx="109538" cy="106363"/>
              </a:xfrm>
              <a:custGeom>
                <a:avLst/>
                <a:gdLst/>
                <a:ahLst/>
                <a:cxnLst>
                  <a:cxn ang="0">
                    <a:pos x="4" y="67"/>
                  </a:cxn>
                  <a:cxn ang="0">
                    <a:pos x="0" y="62"/>
                  </a:cxn>
                  <a:cxn ang="0">
                    <a:pos x="8" y="54"/>
                  </a:cxn>
                  <a:cxn ang="0">
                    <a:pos x="8" y="51"/>
                  </a:cxn>
                  <a:cxn ang="0">
                    <a:pos x="4" y="49"/>
                  </a:cxn>
                  <a:cxn ang="0">
                    <a:pos x="28" y="13"/>
                  </a:cxn>
                  <a:cxn ang="0">
                    <a:pos x="41" y="0"/>
                  </a:cxn>
                  <a:cxn ang="0">
                    <a:pos x="44" y="4"/>
                  </a:cxn>
                  <a:cxn ang="0">
                    <a:pos x="32" y="27"/>
                  </a:cxn>
                  <a:cxn ang="0">
                    <a:pos x="32" y="31"/>
                  </a:cxn>
                  <a:cxn ang="0">
                    <a:pos x="39" y="27"/>
                  </a:cxn>
                  <a:cxn ang="0">
                    <a:pos x="46" y="29"/>
                  </a:cxn>
                  <a:cxn ang="0">
                    <a:pos x="44" y="32"/>
                  </a:cxn>
                  <a:cxn ang="0">
                    <a:pos x="44" y="36"/>
                  </a:cxn>
                  <a:cxn ang="0">
                    <a:pos x="52" y="36"/>
                  </a:cxn>
                  <a:cxn ang="0">
                    <a:pos x="52" y="38"/>
                  </a:cxn>
                  <a:cxn ang="0">
                    <a:pos x="57" y="36"/>
                  </a:cxn>
                  <a:cxn ang="0">
                    <a:pos x="70" y="36"/>
                  </a:cxn>
                  <a:cxn ang="0">
                    <a:pos x="69" y="51"/>
                  </a:cxn>
                  <a:cxn ang="0">
                    <a:pos x="74" y="49"/>
                  </a:cxn>
                  <a:cxn ang="0">
                    <a:pos x="70" y="56"/>
                  </a:cxn>
                  <a:cxn ang="0">
                    <a:pos x="73" y="63"/>
                  </a:cxn>
                  <a:cxn ang="0">
                    <a:pos x="79" y="60"/>
                  </a:cxn>
                  <a:cxn ang="0">
                    <a:pos x="82" y="70"/>
                  </a:cxn>
                  <a:cxn ang="0">
                    <a:pos x="75" y="80"/>
                  </a:cxn>
                  <a:cxn ang="0">
                    <a:pos x="71" y="75"/>
                  </a:cxn>
                  <a:cxn ang="0">
                    <a:pos x="67" y="74"/>
                  </a:cxn>
                  <a:cxn ang="0">
                    <a:pos x="63" y="62"/>
                  </a:cxn>
                  <a:cxn ang="0">
                    <a:pos x="50" y="74"/>
                  </a:cxn>
                  <a:cxn ang="0">
                    <a:pos x="47" y="74"/>
                  </a:cxn>
                  <a:cxn ang="0">
                    <a:pos x="52" y="67"/>
                  </a:cxn>
                  <a:cxn ang="0">
                    <a:pos x="40" y="65"/>
                  </a:cxn>
                  <a:cxn ang="0">
                    <a:pos x="31" y="67"/>
                  </a:cxn>
                  <a:cxn ang="0">
                    <a:pos x="18" y="64"/>
                  </a:cxn>
                  <a:cxn ang="0">
                    <a:pos x="4" y="67"/>
                  </a:cxn>
                </a:cxnLst>
                <a:rect l="0" t="0" r="r" b="b"/>
                <a:pathLst>
                  <a:path w="82" h="80">
                    <a:moveTo>
                      <a:pt x="4" y="67"/>
                    </a:moveTo>
                    <a:cubicBezTo>
                      <a:pt x="2" y="67"/>
                      <a:pt x="0" y="64"/>
                      <a:pt x="0" y="62"/>
                    </a:cubicBezTo>
                    <a:cubicBezTo>
                      <a:pt x="0" y="61"/>
                      <a:pt x="8" y="55"/>
                      <a:pt x="8" y="54"/>
                    </a:cubicBezTo>
                    <a:cubicBezTo>
                      <a:pt x="8" y="51"/>
                      <a:pt x="8" y="51"/>
                      <a:pt x="8" y="51"/>
                    </a:cubicBezTo>
                    <a:cubicBezTo>
                      <a:pt x="6" y="51"/>
                      <a:pt x="5" y="51"/>
                      <a:pt x="4" y="49"/>
                    </a:cubicBezTo>
                    <a:cubicBezTo>
                      <a:pt x="17" y="43"/>
                      <a:pt x="21" y="23"/>
                      <a:pt x="28" y="13"/>
                    </a:cubicBezTo>
                    <a:cubicBezTo>
                      <a:pt x="32" y="7"/>
                      <a:pt x="34" y="0"/>
                      <a:pt x="41" y="0"/>
                    </a:cubicBezTo>
                    <a:cubicBezTo>
                      <a:pt x="43" y="0"/>
                      <a:pt x="44" y="3"/>
                      <a:pt x="44" y="4"/>
                    </a:cubicBezTo>
                    <a:cubicBezTo>
                      <a:pt x="44" y="14"/>
                      <a:pt x="35" y="19"/>
                      <a:pt x="32" y="27"/>
                    </a:cubicBezTo>
                    <a:cubicBezTo>
                      <a:pt x="32" y="31"/>
                      <a:pt x="32" y="31"/>
                      <a:pt x="32" y="31"/>
                    </a:cubicBezTo>
                    <a:cubicBezTo>
                      <a:pt x="36" y="30"/>
                      <a:pt x="36" y="27"/>
                      <a:pt x="39" y="27"/>
                    </a:cubicBezTo>
                    <a:cubicBezTo>
                      <a:pt x="42" y="27"/>
                      <a:pt x="44" y="28"/>
                      <a:pt x="46" y="29"/>
                    </a:cubicBezTo>
                    <a:cubicBezTo>
                      <a:pt x="44" y="32"/>
                      <a:pt x="44" y="32"/>
                      <a:pt x="44" y="32"/>
                    </a:cubicBezTo>
                    <a:cubicBezTo>
                      <a:pt x="44" y="36"/>
                      <a:pt x="44" y="36"/>
                      <a:pt x="44" y="36"/>
                    </a:cubicBezTo>
                    <a:cubicBezTo>
                      <a:pt x="52" y="36"/>
                      <a:pt x="52" y="36"/>
                      <a:pt x="52" y="36"/>
                    </a:cubicBezTo>
                    <a:cubicBezTo>
                      <a:pt x="52" y="36"/>
                      <a:pt x="52" y="38"/>
                      <a:pt x="52" y="38"/>
                    </a:cubicBezTo>
                    <a:cubicBezTo>
                      <a:pt x="57" y="36"/>
                      <a:pt x="57" y="36"/>
                      <a:pt x="57" y="36"/>
                    </a:cubicBezTo>
                    <a:cubicBezTo>
                      <a:pt x="62" y="37"/>
                      <a:pt x="68" y="37"/>
                      <a:pt x="70" y="36"/>
                    </a:cubicBezTo>
                    <a:cubicBezTo>
                      <a:pt x="70" y="40"/>
                      <a:pt x="69" y="44"/>
                      <a:pt x="69" y="51"/>
                    </a:cubicBezTo>
                    <a:cubicBezTo>
                      <a:pt x="70" y="50"/>
                      <a:pt x="73" y="49"/>
                      <a:pt x="74" y="49"/>
                    </a:cubicBezTo>
                    <a:cubicBezTo>
                      <a:pt x="74" y="53"/>
                      <a:pt x="70" y="54"/>
                      <a:pt x="70" y="56"/>
                    </a:cubicBezTo>
                    <a:cubicBezTo>
                      <a:pt x="70" y="58"/>
                      <a:pt x="73" y="60"/>
                      <a:pt x="73" y="63"/>
                    </a:cubicBezTo>
                    <a:cubicBezTo>
                      <a:pt x="77" y="63"/>
                      <a:pt x="76" y="62"/>
                      <a:pt x="79" y="60"/>
                    </a:cubicBezTo>
                    <a:cubicBezTo>
                      <a:pt x="79" y="66"/>
                      <a:pt x="82" y="65"/>
                      <a:pt x="82" y="70"/>
                    </a:cubicBezTo>
                    <a:cubicBezTo>
                      <a:pt x="82" y="75"/>
                      <a:pt x="79" y="80"/>
                      <a:pt x="75" y="80"/>
                    </a:cubicBezTo>
                    <a:cubicBezTo>
                      <a:pt x="72" y="80"/>
                      <a:pt x="71" y="77"/>
                      <a:pt x="71" y="75"/>
                    </a:cubicBezTo>
                    <a:cubicBezTo>
                      <a:pt x="69" y="75"/>
                      <a:pt x="69" y="74"/>
                      <a:pt x="67" y="74"/>
                    </a:cubicBezTo>
                    <a:cubicBezTo>
                      <a:pt x="64" y="74"/>
                      <a:pt x="66" y="66"/>
                      <a:pt x="63" y="62"/>
                    </a:cubicBezTo>
                    <a:cubicBezTo>
                      <a:pt x="59" y="67"/>
                      <a:pt x="55" y="74"/>
                      <a:pt x="50" y="74"/>
                    </a:cubicBezTo>
                    <a:cubicBezTo>
                      <a:pt x="49" y="74"/>
                      <a:pt x="47" y="75"/>
                      <a:pt x="47" y="74"/>
                    </a:cubicBezTo>
                    <a:cubicBezTo>
                      <a:pt x="47" y="70"/>
                      <a:pt x="51" y="70"/>
                      <a:pt x="52" y="67"/>
                    </a:cubicBezTo>
                    <a:cubicBezTo>
                      <a:pt x="48" y="67"/>
                      <a:pt x="42" y="70"/>
                      <a:pt x="40" y="65"/>
                    </a:cubicBezTo>
                    <a:cubicBezTo>
                      <a:pt x="37" y="66"/>
                      <a:pt x="34" y="67"/>
                      <a:pt x="31" y="67"/>
                    </a:cubicBezTo>
                    <a:cubicBezTo>
                      <a:pt x="25" y="67"/>
                      <a:pt x="23" y="64"/>
                      <a:pt x="18" y="64"/>
                    </a:cubicBezTo>
                    <a:cubicBezTo>
                      <a:pt x="11" y="64"/>
                      <a:pt x="9" y="67"/>
                      <a:pt x="4" y="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2" name="Freeform 92"/>
              <p:cNvSpPr>
                <a:spLocks/>
              </p:cNvSpPr>
              <p:nvPr/>
            </p:nvSpPr>
            <p:spPr bwMode="auto">
              <a:xfrm>
                <a:off x="2427288" y="2314575"/>
                <a:ext cx="671513" cy="450850"/>
              </a:xfrm>
              <a:custGeom>
                <a:avLst/>
                <a:gdLst/>
                <a:ahLst/>
                <a:cxnLst>
                  <a:cxn ang="0">
                    <a:pos x="250" y="98"/>
                  </a:cxn>
                  <a:cxn ang="0">
                    <a:pos x="246" y="141"/>
                  </a:cxn>
                  <a:cxn ang="0">
                    <a:pos x="251" y="160"/>
                  </a:cxn>
                  <a:cxn ang="0">
                    <a:pos x="281" y="192"/>
                  </a:cxn>
                  <a:cxn ang="0">
                    <a:pos x="312" y="191"/>
                  </a:cxn>
                  <a:cxn ang="0">
                    <a:pos x="327" y="187"/>
                  </a:cxn>
                  <a:cxn ang="0">
                    <a:pos x="363" y="152"/>
                  </a:cxn>
                  <a:cxn ang="0">
                    <a:pos x="382" y="154"/>
                  </a:cxn>
                  <a:cxn ang="0">
                    <a:pos x="374" y="180"/>
                  </a:cxn>
                  <a:cxn ang="0">
                    <a:pos x="369" y="192"/>
                  </a:cxn>
                  <a:cxn ang="0">
                    <a:pos x="365" y="213"/>
                  </a:cxn>
                  <a:cxn ang="0">
                    <a:pos x="357" y="224"/>
                  </a:cxn>
                  <a:cxn ang="0">
                    <a:pos x="405" y="226"/>
                  </a:cxn>
                  <a:cxn ang="0">
                    <a:pos x="426" y="242"/>
                  </a:cxn>
                  <a:cxn ang="0">
                    <a:pos x="423" y="289"/>
                  </a:cxn>
                  <a:cxn ang="0">
                    <a:pos x="451" y="316"/>
                  </a:cxn>
                  <a:cxn ang="0">
                    <a:pos x="504" y="322"/>
                  </a:cxn>
                  <a:cxn ang="0">
                    <a:pos x="488" y="329"/>
                  </a:cxn>
                  <a:cxn ang="0">
                    <a:pos x="480" y="316"/>
                  </a:cxn>
                  <a:cxn ang="0">
                    <a:pos x="468" y="332"/>
                  </a:cxn>
                  <a:cxn ang="0">
                    <a:pos x="446" y="326"/>
                  </a:cxn>
                  <a:cxn ang="0">
                    <a:pos x="431" y="323"/>
                  </a:cxn>
                  <a:cxn ang="0">
                    <a:pos x="406" y="302"/>
                  </a:cxn>
                  <a:cxn ang="0">
                    <a:pos x="402" y="306"/>
                  </a:cxn>
                  <a:cxn ang="0">
                    <a:pos x="391" y="281"/>
                  </a:cxn>
                  <a:cxn ang="0">
                    <a:pos x="372" y="260"/>
                  </a:cxn>
                  <a:cxn ang="0">
                    <a:pos x="345" y="255"/>
                  </a:cxn>
                  <a:cxn ang="0">
                    <a:pos x="294" y="226"/>
                  </a:cxn>
                  <a:cxn ang="0">
                    <a:pos x="282" y="222"/>
                  </a:cxn>
                  <a:cxn ang="0">
                    <a:pos x="256" y="227"/>
                  </a:cxn>
                  <a:cxn ang="0">
                    <a:pos x="221" y="214"/>
                  </a:cxn>
                  <a:cxn ang="0">
                    <a:pos x="195" y="203"/>
                  </a:cxn>
                  <a:cxn ang="0">
                    <a:pos x="175" y="195"/>
                  </a:cxn>
                  <a:cxn ang="0">
                    <a:pos x="148" y="172"/>
                  </a:cxn>
                  <a:cxn ang="0">
                    <a:pos x="148" y="150"/>
                  </a:cxn>
                  <a:cxn ang="0">
                    <a:pos x="102" y="101"/>
                  </a:cxn>
                  <a:cxn ang="0">
                    <a:pos x="82" y="68"/>
                  </a:cxn>
                  <a:cxn ang="0">
                    <a:pos x="62" y="53"/>
                  </a:cxn>
                  <a:cxn ang="0">
                    <a:pos x="49" y="22"/>
                  </a:cxn>
                  <a:cxn ang="0">
                    <a:pos x="28" y="19"/>
                  </a:cxn>
                  <a:cxn ang="0">
                    <a:pos x="49" y="53"/>
                  </a:cxn>
                  <a:cxn ang="0">
                    <a:pos x="73" y="95"/>
                  </a:cxn>
                  <a:cxn ang="0">
                    <a:pos x="96" y="130"/>
                  </a:cxn>
                  <a:cxn ang="0">
                    <a:pos x="86" y="127"/>
                  </a:cxn>
                  <a:cxn ang="0">
                    <a:pos x="65" y="109"/>
                  </a:cxn>
                  <a:cxn ang="0">
                    <a:pos x="52" y="84"/>
                  </a:cxn>
                  <a:cxn ang="0">
                    <a:pos x="40" y="69"/>
                  </a:cxn>
                  <a:cxn ang="0">
                    <a:pos x="11" y="24"/>
                  </a:cxn>
                  <a:cxn ang="0">
                    <a:pos x="0" y="0"/>
                  </a:cxn>
                  <a:cxn ang="0">
                    <a:pos x="76" y="16"/>
                  </a:cxn>
                  <a:cxn ang="0">
                    <a:pos x="113" y="10"/>
                  </a:cxn>
                  <a:cxn ang="0">
                    <a:pos x="152" y="29"/>
                  </a:cxn>
                  <a:cxn ang="0">
                    <a:pos x="188" y="38"/>
                  </a:cxn>
                  <a:cxn ang="0">
                    <a:pos x="249" y="90"/>
                  </a:cxn>
                  <a:cxn ang="0">
                    <a:pos x="247" y="86"/>
                  </a:cxn>
                </a:cxnLst>
                <a:rect l="0" t="0" r="r" b="b"/>
                <a:pathLst>
                  <a:path w="504" h="338">
                    <a:moveTo>
                      <a:pt x="248" y="91"/>
                    </a:moveTo>
                    <a:cubicBezTo>
                      <a:pt x="249" y="94"/>
                      <a:pt x="250" y="96"/>
                      <a:pt x="250" y="98"/>
                    </a:cubicBezTo>
                    <a:cubicBezTo>
                      <a:pt x="250" y="106"/>
                      <a:pt x="247" y="109"/>
                      <a:pt x="246" y="116"/>
                    </a:cubicBezTo>
                    <a:cubicBezTo>
                      <a:pt x="246" y="141"/>
                      <a:pt x="246" y="141"/>
                      <a:pt x="246" y="141"/>
                    </a:cubicBezTo>
                    <a:cubicBezTo>
                      <a:pt x="245" y="144"/>
                      <a:pt x="248" y="148"/>
                      <a:pt x="249" y="150"/>
                    </a:cubicBezTo>
                    <a:cubicBezTo>
                      <a:pt x="251" y="154"/>
                      <a:pt x="249" y="156"/>
                      <a:pt x="251" y="160"/>
                    </a:cubicBezTo>
                    <a:cubicBezTo>
                      <a:pt x="252" y="164"/>
                      <a:pt x="258" y="170"/>
                      <a:pt x="261" y="173"/>
                    </a:cubicBezTo>
                    <a:cubicBezTo>
                      <a:pt x="269" y="181"/>
                      <a:pt x="269" y="188"/>
                      <a:pt x="281" y="192"/>
                    </a:cubicBezTo>
                    <a:cubicBezTo>
                      <a:pt x="285" y="193"/>
                      <a:pt x="285" y="197"/>
                      <a:pt x="288" y="197"/>
                    </a:cubicBezTo>
                    <a:cubicBezTo>
                      <a:pt x="297" y="197"/>
                      <a:pt x="304" y="191"/>
                      <a:pt x="312" y="191"/>
                    </a:cubicBezTo>
                    <a:cubicBezTo>
                      <a:pt x="317" y="191"/>
                      <a:pt x="319" y="194"/>
                      <a:pt x="321" y="194"/>
                    </a:cubicBezTo>
                    <a:cubicBezTo>
                      <a:pt x="324" y="194"/>
                      <a:pt x="327" y="188"/>
                      <a:pt x="327" y="187"/>
                    </a:cubicBezTo>
                    <a:cubicBezTo>
                      <a:pt x="329" y="181"/>
                      <a:pt x="336" y="176"/>
                      <a:pt x="336" y="169"/>
                    </a:cubicBezTo>
                    <a:cubicBezTo>
                      <a:pt x="336" y="156"/>
                      <a:pt x="351" y="152"/>
                      <a:pt x="363" y="152"/>
                    </a:cubicBezTo>
                    <a:cubicBezTo>
                      <a:pt x="367" y="152"/>
                      <a:pt x="370" y="152"/>
                      <a:pt x="372" y="153"/>
                    </a:cubicBezTo>
                    <a:cubicBezTo>
                      <a:pt x="373" y="154"/>
                      <a:pt x="379" y="154"/>
                      <a:pt x="382" y="154"/>
                    </a:cubicBezTo>
                    <a:cubicBezTo>
                      <a:pt x="382" y="155"/>
                      <a:pt x="382" y="157"/>
                      <a:pt x="382" y="158"/>
                    </a:cubicBezTo>
                    <a:cubicBezTo>
                      <a:pt x="382" y="164"/>
                      <a:pt x="374" y="172"/>
                      <a:pt x="374" y="180"/>
                    </a:cubicBezTo>
                    <a:cubicBezTo>
                      <a:pt x="374" y="188"/>
                      <a:pt x="372" y="191"/>
                      <a:pt x="369" y="195"/>
                    </a:cubicBezTo>
                    <a:cubicBezTo>
                      <a:pt x="369" y="194"/>
                      <a:pt x="369" y="193"/>
                      <a:pt x="369" y="192"/>
                    </a:cubicBezTo>
                    <a:cubicBezTo>
                      <a:pt x="368" y="192"/>
                      <a:pt x="367" y="192"/>
                      <a:pt x="365" y="192"/>
                    </a:cubicBezTo>
                    <a:cubicBezTo>
                      <a:pt x="365" y="197"/>
                      <a:pt x="365" y="207"/>
                      <a:pt x="365" y="213"/>
                    </a:cubicBezTo>
                    <a:cubicBezTo>
                      <a:pt x="365" y="217"/>
                      <a:pt x="360" y="219"/>
                      <a:pt x="357" y="222"/>
                    </a:cubicBezTo>
                    <a:cubicBezTo>
                      <a:pt x="357" y="223"/>
                      <a:pt x="357" y="223"/>
                      <a:pt x="357" y="224"/>
                    </a:cubicBezTo>
                    <a:cubicBezTo>
                      <a:pt x="357" y="227"/>
                      <a:pt x="360" y="229"/>
                      <a:pt x="363" y="229"/>
                    </a:cubicBezTo>
                    <a:cubicBezTo>
                      <a:pt x="377" y="229"/>
                      <a:pt x="389" y="226"/>
                      <a:pt x="405" y="226"/>
                    </a:cubicBezTo>
                    <a:cubicBezTo>
                      <a:pt x="415" y="226"/>
                      <a:pt x="418" y="234"/>
                      <a:pt x="426" y="236"/>
                    </a:cubicBezTo>
                    <a:cubicBezTo>
                      <a:pt x="426" y="238"/>
                      <a:pt x="426" y="240"/>
                      <a:pt x="426" y="242"/>
                    </a:cubicBezTo>
                    <a:cubicBezTo>
                      <a:pt x="426" y="246"/>
                      <a:pt x="425" y="257"/>
                      <a:pt x="423" y="262"/>
                    </a:cubicBezTo>
                    <a:cubicBezTo>
                      <a:pt x="423" y="272"/>
                      <a:pt x="423" y="281"/>
                      <a:pt x="423" y="289"/>
                    </a:cubicBezTo>
                    <a:cubicBezTo>
                      <a:pt x="423" y="298"/>
                      <a:pt x="432" y="302"/>
                      <a:pt x="439" y="306"/>
                    </a:cubicBezTo>
                    <a:cubicBezTo>
                      <a:pt x="444" y="308"/>
                      <a:pt x="444" y="316"/>
                      <a:pt x="451" y="316"/>
                    </a:cubicBezTo>
                    <a:cubicBezTo>
                      <a:pt x="463" y="316"/>
                      <a:pt x="469" y="307"/>
                      <a:pt x="479" y="307"/>
                    </a:cubicBezTo>
                    <a:cubicBezTo>
                      <a:pt x="491" y="307"/>
                      <a:pt x="497" y="316"/>
                      <a:pt x="504" y="322"/>
                    </a:cubicBezTo>
                    <a:cubicBezTo>
                      <a:pt x="503" y="323"/>
                      <a:pt x="494" y="333"/>
                      <a:pt x="493" y="332"/>
                    </a:cubicBezTo>
                    <a:cubicBezTo>
                      <a:pt x="492" y="331"/>
                      <a:pt x="488" y="330"/>
                      <a:pt x="488" y="329"/>
                    </a:cubicBezTo>
                    <a:cubicBezTo>
                      <a:pt x="488" y="327"/>
                      <a:pt x="490" y="326"/>
                      <a:pt x="491" y="324"/>
                    </a:cubicBezTo>
                    <a:cubicBezTo>
                      <a:pt x="486" y="322"/>
                      <a:pt x="484" y="316"/>
                      <a:pt x="480" y="316"/>
                    </a:cubicBezTo>
                    <a:cubicBezTo>
                      <a:pt x="476" y="316"/>
                      <a:pt x="464" y="325"/>
                      <a:pt x="464" y="328"/>
                    </a:cubicBezTo>
                    <a:cubicBezTo>
                      <a:pt x="464" y="330"/>
                      <a:pt x="467" y="331"/>
                      <a:pt x="468" y="332"/>
                    </a:cubicBezTo>
                    <a:cubicBezTo>
                      <a:pt x="467" y="336"/>
                      <a:pt x="465" y="338"/>
                      <a:pt x="461" y="338"/>
                    </a:cubicBezTo>
                    <a:cubicBezTo>
                      <a:pt x="454" y="338"/>
                      <a:pt x="450" y="330"/>
                      <a:pt x="446" y="326"/>
                    </a:cubicBezTo>
                    <a:cubicBezTo>
                      <a:pt x="443" y="323"/>
                      <a:pt x="436" y="326"/>
                      <a:pt x="433" y="326"/>
                    </a:cubicBezTo>
                    <a:cubicBezTo>
                      <a:pt x="432" y="326"/>
                      <a:pt x="431" y="324"/>
                      <a:pt x="431" y="323"/>
                    </a:cubicBezTo>
                    <a:cubicBezTo>
                      <a:pt x="424" y="322"/>
                      <a:pt x="424" y="318"/>
                      <a:pt x="423" y="314"/>
                    </a:cubicBezTo>
                    <a:cubicBezTo>
                      <a:pt x="421" y="311"/>
                      <a:pt x="406" y="302"/>
                      <a:pt x="406" y="302"/>
                    </a:cubicBezTo>
                    <a:cubicBezTo>
                      <a:pt x="405" y="304"/>
                      <a:pt x="405" y="305"/>
                      <a:pt x="406" y="306"/>
                    </a:cubicBezTo>
                    <a:cubicBezTo>
                      <a:pt x="402" y="306"/>
                      <a:pt x="402" y="306"/>
                      <a:pt x="402" y="306"/>
                    </a:cubicBezTo>
                    <a:cubicBezTo>
                      <a:pt x="395" y="302"/>
                      <a:pt x="399" y="296"/>
                      <a:pt x="397" y="289"/>
                    </a:cubicBezTo>
                    <a:cubicBezTo>
                      <a:pt x="396" y="285"/>
                      <a:pt x="394" y="284"/>
                      <a:pt x="391" y="281"/>
                    </a:cubicBezTo>
                    <a:cubicBezTo>
                      <a:pt x="384" y="274"/>
                      <a:pt x="377" y="270"/>
                      <a:pt x="374" y="260"/>
                    </a:cubicBezTo>
                    <a:cubicBezTo>
                      <a:pt x="373" y="260"/>
                      <a:pt x="372" y="260"/>
                      <a:pt x="372" y="260"/>
                    </a:cubicBezTo>
                    <a:cubicBezTo>
                      <a:pt x="368" y="260"/>
                      <a:pt x="366" y="262"/>
                      <a:pt x="363" y="262"/>
                    </a:cubicBezTo>
                    <a:cubicBezTo>
                      <a:pt x="355" y="262"/>
                      <a:pt x="350" y="257"/>
                      <a:pt x="345" y="255"/>
                    </a:cubicBezTo>
                    <a:cubicBezTo>
                      <a:pt x="336" y="251"/>
                      <a:pt x="330" y="253"/>
                      <a:pt x="321" y="248"/>
                    </a:cubicBezTo>
                    <a:cubicBezTo>
                      <a:pt x="308" y="242"/>
                      <a:pt x="306" y="232"/>
                      <a:pt x="294" y="226"/>
                    </a:cubicBezTo>
                    <a:cubicBezTo>
                      <a:pt x="291" y="226"/>
                      <a:pt x="291" y="226"/>
                      <a:pt x="291" y="226"/>
                    </a:cubicBezTo>
                    <a:cubicBezTo>
                      <a:pt x="288" y="224"/>
                      <a:pt x="285" y="222"/>
                      <a:pt x="282" y="222"/>
                    </a:cubicBezTo>
                    <a:cubicBezTo>
                      <a:pt x="274" y="222"/>
                      <a:pt x="272" y="231"/>
                      <a:pt x="265" y="231"/>
                    </a:cubicBezTo>
                    <a:cubicBezTo>
                      <a:pt x="261" y="231"/>
                      <a:pt x="258" y="228"/>
                      <a:pt x="256" y="227"/>
                    </a:cubicBezTo>
                    <a:cubicBezTo>
                      <a:pt x="252" y="225"/>
                      <a:pt x="249" y="226"/>
                      <a:pt x="246" y="226"/>
                    </a:cubicBezTo>
                    <a:cubicBezTo>
                      <a:pt x="241" y="226"/>
                      <a:pt x="226" y="216"/>
                      <a:pt x="221" y="214"/>
                    </a:cubicBezTo>
                    <a:cubicBezTo>
                      <a:pt x="216" y="211"/>
                      <a:pt x="213" y="214"/>
                      <a:pt x="208" y="213"/>
                    </a:cubicBezTo>
                    <a:cubicBezTo>
                      <a:pt x="202" y="211"/>
                      <a:pt x="201" y="206"/>
                      <a:pt x="195" y="203"/>
                    </a:cubicBezTo>
                    <a:cubicBezTo>
                      <a:pt x="189" y="200"/>
                      <a:pt x="186" y="201"/>
                      <a:pt x="180" y="198"/>
                    </a:cubicBezTo>
                    <a:cubicBezTo>
                      <a:pt x="177" y="197"/>
                      <a:pt x="177" y="196"/>
                      <a:pt x="175" y="195"/>
                    </a:cubicBezTo>
                    <a:cubicBezTo>
                      <a:pt x="170" y="190"/>
                      <a:pt x="156" y="187"/>
                      <a:pt x="155" y="181"/>
                    </a:cubicBezTo>
                    <a:cubicBezTo>
                      <a:pt x="151" y="181"/>
                      <a:pt x="148" y="176"/>
                      <a:pt x="148" y="172"/>
                    </a:cubicBezTo>
                    <a:cubicBezTo>
                      <a:pt x="148" y="167"/>
                      <a:pt x="153" y="165"/>
                      <a:pt x="153" y="160"/>
                    </a:cubicBezTo>
                    <a:cubicBezTo>
                      <a:pt x="153" y="154"/>
                      <a:pt x="149" y="153"/>
                      <a:pt x="148" y="150"/>
                    </a:cubicBezTo>
                    <a:cubicBezTo>
                      <a:pt x="143" y="134"/>
                      <a:pt x="128" y="121"/>
                      <a:pt x="118" y="111"/>
                    </a:cubicBezTo>
                    <a:cubicBezTo>
                      <a:pt x="114" y="107"/>
                      <a:pt x="107" y="105"/>
                      <a:pt x="102" y="101"/>
                    </a:cubicBezTo>
                    <a:cubicBezTo>
                      <a:pt x="99" y="97"/>
                      <a:pt x="102" y="93"/>
                      <a:pt x="100" y="88"/>
                    </a:cubicBezTo>
                    <a:cubicBezTo>
                      <a:pt x="96" y="80"/>
                      <a:pt x="82" y="79"/>
                      <a:pt x="82" y="68"/>
                    </a:cubicBezTo>
                    <a:cubicBezTo>
                      <a:pt x="78" y="68"/>
                      <a:pt x="79" y="67"/>
                      <a:pt x="77" y="68"/>
                    </a:cubicBezTo>
                    <a:cubicBezTo>
                      <a:pt x="72" y="63"/>
                      <a:pt x="67" y="58"/>
                      <a:pt x="62" y="53"/>
                    </a:cubicBezTo>
                    <a:cubicBezTo>
                      <a:pt x="58" y="49"/>
                      <a:pt x="60" y="42"/>
                      <a:pt x="56" y="38"/>
                    </a:cubicBezTo>
                    <a:cubicBezTo>
                      <a:pt x="52" y="34"/>
                      <a:pt x="53" y="24"/>
                      <a:pt x="49" y="22"/>
                    </a:cubicBezTo>
                    <a:cubicBezTo>
                      <a:pt x="42" y="19"/>
                      <a:pt x="35" y="19"/>
                      <a:pt x="29" y="13"/>
                    </a:cubicBezTo>
                    <a:cubicBezTo>
                      <a:pt x="27" y="15"/>
                      <a:pt x="28" y="18"/>
                      <a:pt x="28" y="19"/>
                    </a:cubicBezTo>
                    <a:cubicBezTo>
                      <a:pt x="28" y="28"/>
                      <a:pt x="32" y="34"/>
                      <a:pt x="36" y="41"/>
                    </a:cubicBezTo>
                    <a:cubicBezTo>
                      <a:pt x="39" y="48"/>
                      <a:pt x="45" y="48"/>
                      <a:pt x="49" y="53"/>
                    </a:cubicBezTo>
                    <a:cubicBezTo>
                      <a:pt x="55" y="59"/>
                      <a:pt x="56" y="63"/>
                      <a:pt x="58" y="71"/>
                    </a:cubicBezTo>
                    <a:cubicBezTo>
                      <a:pt x="61" y="81"/>
                      <a:pt x="70" y="86"/>
                      <a:pt x="73" y="95"/>
                    </a:cubicBezTo>
                    <a:cubicBezTo>
                      <a:pt x="77" y="106"/>
                      <a:pt x="80" y="117"/>
                      <a:pt x="87" y="122"/>
                    </a:cubicBezTo>
                    <a:cubicBezTo>
                      <a:pt x="91" y="119"/>
                      <a:pt x="96" y="126"/>
                      <a:pt x="96" y="130"/>
                    </a:cubicBezTo>
                    <a:cubicBezTo>
                      <a:pt x="96" y="132"/>
                      <a:pt x="95" y="136"/>
                      <a:pt x="93" y="136"/>
                    </a:cubicBezTo>
                    <a:cubicBezTo>
                      <a:pt x="92" y="136"/>
                      <a:pt x="86" y="129"/>
                      <a:pt x="86" y="127"/>
                    </a:cubicBezTo>
                    <a:cubicBezTo>
                      <a:pt x="78" y="127"/>
                      <a:pt x="74" y="117"/>
                      <a:pt x="69" y="113"/>
                    </a:cubicBezTo>
                    <a:cubicBezTo>
                      <a:pt x="66" y="112"/>
                      <a:pt x="66" y="112"/>
                      <a:pt x="65" y="109"/>
                    </a:cubicBezTo>
                    <a:cubicBezTo>
                      <a:pt x="65" y="98"/>
                      <a:pt x="65" y="98"/>
                      <a:pt x="65" y="98"/>
                    </a:cubicBezTo>
                    <a:cubicBezTo>
                      <a:pt x="60" y="93"/>
                      <a:pt x="56" y="88"/>
                      <a:pt x="52" y="84"/>
                    </a:cubicBezTo>
                    <a:cubicBezTo>
                      <a:pt x="46" y="78"/>
                      <a:pt x="36" y="79"/>
                      <a:pt x="31" y="72"/>
                    </a:cubicBezTo>
                    <a:cubicBezTo>
                      <a:pt x="34" y="72"/>
                      <a:pt x="44" y="74"/>
                      <a:pt x="40" y="69"/>
                    </a:cubicBezTo>
                    <a:cubicBezTo>
                      <a:pt x="34" y="59"/>
                      <a:pt x="26" y="50"/>
                      <a:pt x="19" y="45"/>
                    </a:cubicBezTo>
                    <a:cubicBezTo>
                      <a:pt x="14" y="41"/>
                      <a:pt x="14" y="29"/>
                      <a:pt x="11" y="24"/>
                    </a:cubicBezTo>
                    <a:cubicBezTo>
                      <a:pt x="7" y="16"/>
                      <a:pt x="3" y="13"/>
                      <a:pt x="0" y="3"/>
                    </a:cubicBezTo>
                    <a:cubicBezTo>
                      <a:pt x="0" y="0"/>
                      <a:pt x="0" y="0"/>
                      <a:pt x="0" y="0"/>
                    </a:cubicBezTo>
                    <a:cubicBezTo>
                      <a:pt x="29" y="0"/>
                      <a:pt x="29" y="0"/>
                      <a:pt x="29" y="0"/>
                    </a:cubicBezTo>
                    <a:cubicBezTo>
                      <a:pt x="76" y="16"/>
                      <a:pt x="76" y="16"/>
                      <a:pt x="76" y="16"/>
                    </a:cubicBezTo>
                    <a:cubicBezTo>
                      <a:pt x="113" y="16"/>
                      <a:pt x="113" y="16"/>
                      <a:pt x="113" y="16"/>
                    </a:cubicBezTo>
                    <a:cubicBezTo>
                      <a:pt x="113" y="10"/>
                      <a:pt x="113" y="10"/>
                      <a:pt x="113" y="10"/>
                    </a:cubicBezTo>
                    <a:cubicBezTo>
                      <a:pt x="121" y="10"/>
                      <a:pt x="121" y="10"/>
                      <a:pt x="121" y="10"/>
                    </a:cubicBezTo>
                    <a:cubicBezTo>
                      <a:pt x="136" y="14"/>
                      <a:pt x="145" y="16"/>
                      <a:pt x="152" y="29"/>
                    </a:cubicBezTo>
                    <a:cubicBezTo>
                      <a:pt x="156" y="35"/>
                      <a:pt x="163" y="50"/>
                      <a:pt x="172" y="50"/>
                    </a:cubicBezTo>
                    <a:cubicBezTo>
                      <a:pt x="181" y="50"/>
                      <a:pt x="178" y="38"/>
                      <a:pt x="188" y="38"/>
                    </a:cubicBezTo>
                    <a:cubicBezTo>
                      <a:pt x="214" y="38"/>
                      <a:pt x="213" y="70"/>
                      <a:pt x="227" y="84"/>
                    </a:cubicBezTo>
                    <a:cubicBezTo>
                      <a:pt x="231" y="87"/>
                      <a:pt x="242" y="90"/>
                      <a:pt x="249" y="90"/>
                    </a:cubicBezTo>
                    <a:cubicBezTo>
                      <a:pt x="249" y="89"/>
                      <a:pt x="247" y="87"/>
                      <a:pt x="247" y="86"/>
                    </a:cubicBezTo>
                    <a:cubicBezTo>
                      <a:pt x="247" y="86"/>
                      <a:pt x="247" y="86"/>
                      <a:pt x="247" y="86"/>
                    </a:cubicBezTo>
                    <a:lnTo>
                      <a:pt x="248" y="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3" name="Freeform 93"/>
              <p:cNvSpPr>
                <a:spLocks/>
              </p:cNvSpPr>
              <p:nvPr/>
            </p:nvSpPr>
            <p:spPr bwMode="auto">
              <a:xfrm>
                <a:off x="3016250" y="1895475"/>
                <a:ext cx="20638" cy="9525"/>
              </a:xfrm>
              <a:custGeom>
                <a:avLst/>
                <a:gdLst/>
                <a:ahLst/>
                <a:cxnLst>
                  <a:cxn ang="0">
                    <a:pos x="0" y="0"/>
                  </a:cxn>
                  <a:cxn ang="0">
                    <a:pos x="15" y="7"/>
                  </a:cxn>
                  <a:cxn ang="0">
                    <a:pos x="12" y="7"/>
                  </a:cxn>
                  <a:cxn ang="0">
                    <a:pos x="0" y="3"/>
                  </a:cxn>
                  <a:cxn ang="0">
                    <a:pos x="0" y="0"/>
                  </a:cxn>
                </a:cxnLst>
                <a:rect l="0" t="0" r="r" b="b"/>
                <a:pathLst>
                  <a:path w="15" h="8">
                    <a:moveTo>
                      <a:pt x="0" y="0"/>
                    </a:moveTo>
                    <a:cubicBezTo>
                      <a:pt x="7" y="0"/>
                      <a:pt x="15" y="1"/>
                      <a:pt x="15" y="7"/>
                    </a:cubicBezTo>
                    <a:cubicBezTo>
                      <a:pt x="15" y="8"/>
                      <a:pt x="13" y="7"/>
                      <a:pt x="12" y="7"/>
                    </a:cubicBezTo>
                    <a:cubicBezTo>
                      <a:pt x="8" y="7"/>
                      <a:pt x="2" y="5"/>
                      <a:pt x="0" y="3"/>
                    </a:cubicBezTo>
                    <a:cubicBezTo>
                      <a:pt x="0" y="2"/>
                      <a:pt x="0" y="1"/>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4" name="Freeform 94"/>
              <p:cNvSpPr>
                <a:spLocks/>
              </p:cNvSpPr>
              <p:nvPr/>
            </p:nvSpPr>
            <p:spPr bwMode="auto">
              <a:xfrm>
                <a:off x="2239963" y="1951038"/>
                <a:ext cx="79375" cy="50800"/>
              </a:xfrm>
              <a:custGeom>
                <a:avLst/>
                <a:gdLst/>
                <a:ahLst/>
                <a:cxnLst>
                  <a:cxn ang="0">
                    <a:pos x="0" y="2"/>
                  </a:cxn>
                  <a:cxn ang="0">
                    <a:pos x="6" y="0"/>
                  </a:cxn>
                  <a:cxn ang="0">
                    <a:pos x="18" y="6"/>
                  </a:cxn>
                  <a:cxn ang="0">
                    <a:pos x="59" y="34"/>
                  </a:cxn>
                  <a:cxn ang="0">
                    <a:pos x="59" y="38"/>
                  </a:cxn>
                  <a:cxn ang="0">
                    <a:pos x="55" y="38"/>
                  </a:cxn>
                  <a:cxn ang="0">
                    <a:pos x="22" y="22"/>
                  </a:cxn>
                  <a:cxn ang="0">
                    <a:pos x="27" y="17"/>
                  </a:cxn>
                  <a:cxn ang="0">
                    <a:pos x="4" y="8"/>
                  </a:cxn>
                  <a:cxn ang="0">
                    <a:pos x="8" y="4"/>
                  </a:cxn>
                  <a:cxn ang="0">
                    <a:pos x="2" y="2"/>
                  </a:cxn>
                  <a:cxn ang="0">
                    <a:pos x="0" y="2"/>
                  </a:cxn>
                </a:cxnLst>
                <a:rect l="0" t="0" r="r" b="b"/>
                <a:pathLst>
                  <a:path w="59" h="38">
                    <a:moveTo>
                      <a:pt x="0" y="2"/>
                    </a:moveTo>
                    <a:cubicBezTo>
                      <a:pt x="2" y="1"/>
                      <a:pt x="4" y="0"/>
                      <a:pt x="6" y="0"/>
                    </a:cubicBezTo>
                    <a:cubicBezTo>
                      <a:pt x="11" y="0"/>
                      <a:pt x="15" y="5"/>
                      <a:pt x="18" y="6"/>
                    </a:cubicBezTo>
                    <a:cubicBezTo>
                      <a:pt x="37" y="12"/>
                      <a:pt x="48" y="23"/>
                      <a:pt x="59" y="34"/>
                    </a:cubicBezTo>
                    <a:cubicBezTo>
                      <a:pt x="59" y="38"/>
                      <a:pt x="59" y="38"/>
                      <a:pt x="59" y="38"/>
                    </a:cubicBezTo>
                    <a:cubicBezTo>
                      <a:pt x="58" y="38"/>
                      <a:pt x="56" y="38"/>
                      <a:pt x="55" y="38"/>
                    </a:cubicBezTo>
                    <a:cubicBezTo>
                      <a:pt x="45" y="38"/>
                      <a:pt x="29" y="26"/>
                      <a:pt x="22" y="22"/>
                    </a:cubicBezTo>
                    <a:cubicBezTo>
                      <a:pt x="23" y="19"/>
                      <a:pt x="25" y="19"/>
                      <a:pt x="27" y="17"/>
                    </a:cubicBezTo>
                    <a:cubicBezTo>
                      <a:pt x="18" y="17"/>
                      <a:pt x="6" y="13"/>
                      <a:pt x="4" y="8"/>
                    </a:cubicBezTo>
                    <a:cubicBezTo>
                      <a:pt x="6" y="7"/>
                      <a:pt x="8" y="5"/>
                      <a:pt x="8" y="4"/>
                    </a:cubicBezTo>
                    <a:cubicBezTo>
                      <a:pt x="6" y="3"/>
                      <a:pt x="2" y="2"/>
                      <a:pt x="2" y="2"/>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5" name="Freeform 95"/>
              <p:cNvSpPr>
                <a:spLocks/>
              </p:cNvSpPr>
              <p:nvPr/>
            </p:nvSpPr>
            <p:spPr bwMode="auto">
              <a:xfrm>
                <a:off x="2162175" y="1876425"/>
                <a:ext cx="28575" cy="39688"/>
              </a:xfrm>
              <a:custGeom>
                <a:avLst/>
                <a:gdLst/>
                <a:ahLst/>
                <a:cxnLst>
                  <a:cxn ang="0">
                    <a:pos x="5" y="12"/>
                  </a:cxn>
                  <a:cxn ang="0">
                    <a:pos x="0" y="4"/>
                  </a:cxn>
                  <a:cxn ang="0">
                    <a:pos x="0" y="0"/>
                  </a:cxn>
                  <a:cxn ang="0">
                    <a:pos x="10" y="3"/>
                  </a:cxn>
                  <a:cxn ang="0">
                    <a:pos x="7" y="8"/>
                  </a:cxn>
                  <a:cxn ang="0">
                    <a:pos x="13" y="3"/>
                  </a:cxn>
                  <a:cxn ang="0">
                    <a:pos x="13" y="12"/>
                  </a:cxn>
                  <a:cxn ang="0">
                    <a:pos x="15" y="18"/>
                  </a:cxn>
                  <a:cxn ang="0">
                    <a:pos x="13" y="22"/>
                  </a:cxn>
                  <a:cxn ang="0">
                    <a:pos x="17" y="30"/>
                  </a:cxn>
                  <a:cxn ang="0">
                    <a:pos x="10" y="22"/>
                  </a:cxn>
                  <a:cxn ang="0">
                    <a:pos x="12" y="17"/>
                  </a:cxn>
                  <a:cxn ang="0">
                    <a:pos x="5" y="12"/>
                  </a:cxn>
                </a:cxnLst>
                <a:rect l="0" t="0" r="r" b="b"/>
                <a:pathLst>
                  <a:path w="21" h="30">
                    <a:moveTo>
                      <a:pt x="5" y="12"/>
                    </a:moveTo>
                    <a:cubicBezTo>
                      <a:pt x="3" y="12"/>
                      <a:pt x="2" y="6"/>
                      <a:pt x="0" y="4"/>
                    </a:cubicBezTo>
                    <a:cubicBezTo>
                      <a:pt x="0" y="0"/>
                      <a:pt x="0" y="0"/>
                      <a:pt x="0" y="0"/>
                    </a:cubicBezTo>
                    <a:cubicBezTo>
                      <a:pt x="4" y="0"/>
                      <a:pt x="6" y="3"/>
                      <a:pt x="10" y="3"/>
                    </a:cubicBezTo>
                    <a:cubicBezTo>
                      <a:pt x="10" y="4"/>
                      <a:pt x="5" y="8"/>
                      <a:pt x="7" y="8"/>
                    </a:cubicBezTo>
                    <a:cubicBezTo>
                      <a:pt x="10" y="8"/>
                      <a:pt x="12" y="5"/>
                      <a:pt x="13" y="3"/>
                    </a:cubicBezTo>
                    <a:cubicBezTo>
                      <a:pt x="14" y="5"/>
                      <a:pt x="13" y="8"/>
                      <a:pt x="13" y="12"/>
                    </a:cubicBezTo>
                    <a:cubicBezTo>
                      <a:pt x="13" y="15"/>
                      <a:pt x="15" y="15"/>
                      <a:pt x="15" y="18"/>
                    </a:cubicBezTo>
                    <a:cubicBezTo>
                      <a:pt x="15" y="19"/>
                      <a:pt x="13" y="20"/>
                      <a:pt x="13" y="22"/>
                    </a:cubicBezTo>
                    <a:cubicBezTo>
                      <a:pt x="13" y="24"/>
                      <a:pt x="21" y="30"/>
                      <a:pt x="17" y="30"/>
                    </a:cubicBezTo>
                    <a:cubicBezTo>
                      <a:pt x="13" y="30"/>
                      <a:pt x="10" y="26"/>
                      <a:pt x="10" y="22"/>
                    </a:cubicBezTo>
                    <a:cubicBezTo>
                      <a:pt x="10" y="19"/>
                      <a:pt x="12" y="18"/>
                      <a:pt x="12" y="17"/>
                    </a:cubicBezTo>
                    <a:cubicBezTo>
                      <a:pt x="9" y="16"/>
                      <a:pt x="8" y="12"/>
                      <a:pt x="5"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6" name="Freeform 96"/>
              <p:cNvSpPr>
                <a:spLocks/>
              </p:cNvSpPr>
              <p:nvPr/>
            </p:nvSpPr>
            <p:spPr bwMode="auto">
              <a:xfrm>
                <a:off x="1803400" y="1787525"/>
                <a:ext cx="34925" cy="23813"/>
              </a:xfrm>
              <a:custGeom>
                <a:avLst/>
                <a:gdLst/>
                <a:ahLst/>
                <a:cxnLst>
                  <a:cxn ang="0">
                    <a:pos x="21" y="0"/>
                  </a:cxn>
                  <a:cxn ang="0">
                    <a:pos x="27" y="0"/>
                  </a:cxn>
                  <a:cxn ang="0">
                    <a:pos x="27" y="6"/>
                  </a:cxn>
                  <a:cxn ang="0">
                    <a:pos x="10" y="18"/>
                  </a:cxn>
                  <a:cxn ang="0">
                    <a:pos x="0" y="12"/>
                  </a:cxn>
                  <a:cxn ang="0">
                    <a:pos x="0" y="7"/>
                  </a:cxn>
                  <a:cxn ang="0">
                    <a:pos x="21" y="0"/>
                  </a:cxn>
                </a:cxnLst>
                <a:rect l="0" t="0" r="r" b="b"/>
                <a:pathLst>
                  <a:path w="27" h="18">
                    <a:moveTo>
                      <a:pt x="21" y="0"/>
                    </a:moveTo>
                    <a:cubicBezTo>
                      <a:pt x="25" y="0"/>
                      <a:pt x="25" y="0"/>
                      <a:pt x="27" y="0"/>
                    </a:cubicBezTo>
                    <a:cubicBezTo>
                      <a:pt x="27" y="6"/>
                      <a:pt x="27" y="6"/>
                      <a:pt x="27" y="6"/>
                    </a:cubicBezTo>
                    <a:cubicBezTo>
                      <a:pt x="19" y="10"/>
                      <a:pt x="16" y="13"/>
                      <a:pt x="10" y="18"/>
                    </a:cubicBezTo>
                    <a:cubicBezTo>
                      <a:pt x="6" y="15"/>
                      <a:pt x="3" y="15"/>
                      <a:pt x="0" y="12"/>
                    </a:cubicBezTo>
                    <a:cubicBezTo>
                      <a:pt x="0" y="7"/>
                      <a:pt x="0" y="7"/>
                      <a:pt x="0" y="7"/>
                    </a:cubicBezTo>
                    <a:cubicBezTo>
                      <a:pt x="8" y="5"/>
                      <a:pt x="14" y="0"/>
                      <a:pt x="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7" name="Freeform 97"/>
              <p:cNvSpPr>
                <a:spLocks/>
              </p:cNvSpPr>
              <p:nvPr/>
            </p:nvSpPr>
            <p:spPr bwMode="auto">
              <a:xfrm>
                <a:off x="3311525" y="1963738"/>
                <a:ext cx="42863" cy="22225"/>
              </a:xfrm>
              <a:custGeom>
                <a:avLst/>
                <a:gdLst/>
                <a:ahLst/>
                <a:cxnLst>
                  <a:cxn ang="0">
                    <a:pos x="26" y="17"/>
                  </a:cxn>
                  <a:cxn ang="0">
                    <a:pos x="32" y="14"/>
                  </a:cxn>
                  <a:cxn ang="0">
                    <a:pos x="0" y="3"/>
                  </a:cxn>
                  <a:cxn ang="0">
                    <a:pos x="26" y="17"/>
                  </a:cxn>
                </a:cxnLst>
                <a:rect l="0" t="0" r="r" b="b"/>
                <a:pathLst>
                  <a:path w="32" h="17">
                    <a:moveTo>
                      <a:pt x="26" y="17"/>
                    </a:moveTo>
                    <a:cubicBezTo>
                      <a:pt x="29" y="17"/>
                      <a:pt x="30" y="16"/>
                      <a:pt x="32" y="14"/>
                    </a:cubicBezTo>
                    <a:cubicBezTo>
                      <a:pt x="22" y="9"/>
                      <a:pt x="14" y="0"/>
                      <a:pt x="0" y="3"/>
                    </a:cubicBezTo>
                    <a:cubicBezTo>
                      <a:pt x="6" y="7"/>
                      <a:pt x="18" y="17"/>
                      <a:pt x="26"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8" name="Freeform 98"/>
              <p:cNvSpPr>
                <a:spLocks/>
              </p:cNvSpPr>
              <p:nvPr/>
            </p:nvSpPr>
            <p:spPr bwMode="auto">
              <a:xfrm>
                <a:off x="3314700" y="2030413"/>
                <a:ext cx="31750" cy="20638"/>
              </a:xfrm>
              <a:custGeom>
                <a:avLst/>
                <a:gdLst/>
                <a:ahLst/>
                <a:cxnLst>
                  <a:cxn ang="0">
                    <a:pos x="1" y="0"/>
                  </a:cxn>
                  <a:cxn ang="0">
                    <a:pos x="11" y="7"/>
                  </a:cxn>
                  <a:cxn ang="0">
                    <a:pos x="24" y="7"/>
                  </a:cxn>
                  <a:cxn ang="0">
                    <a:pos x="24" y="10"/>
                  </a:cxn>
                  <a:cxn ang="0">
                    <a:pos x="19" y="15"/>
                  </a:cxn>
                  <a:cxn ang="0">
                    <a:pos x="0" y="3"/>
                  </a:cxn>
                  <a:cxn ang="0">
                    <a:pos x="1" y="0"/>
                  </a:cxn>
                </a:cxnLst>
                <a:rect l="0" t="0" r="r" b="b"/>
                <a:pathLst>
                  <a:path w="24" h="15">
                    <a:moveTo>
                      <a:pt x="1" y="0"/>
                    </a:moveTo>
                    <a:cubicBezTo>
                      <a:pt x="4" y="4"/>
                      <a:pt x="7" y="6"/>
                      <a:pt x="11" y="7"/>
                    </a:cubicBezTo>
                    <a:cubicBezTo>
                      <a:pt x="24" y="7"/>
                      <a:pt x="24" y="7"/>
                      <a:pt x="24" y="7"/>
                    </a:cubicBezTo>
                    <a:cubicBezTo>
                      <a:pt x="24" y="8"/>
                      <a:pt x="24" y="9"/>
                      <a:pt x="24" y="10"/>
                    </a:cubicBezTo>
                    <a:cubicBezTo>
                      <a:pt x="24" y="12"/>
                      <a:pt x="20" y="15"/>
                      <a:pt x="19" y="15"/>
                    </a:cubicBezTo>
                    <a:cubicBezTo>
                      <a:pt x="16" y="15"/>
                      <a:pt x="0" y="6"/>
                      <a:pt x="0" y="3"/>
                    </a:cubicBezTo>
                    <a:cubicBezTo>
                      <a:pt x="0" y="2"/>
                      <a:pt x="0"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79" name="Freeform 99"/>
              <p:cNvSpPr>
                <a:spLocks/>
              </p:cNvSpPr>
              <p:nvPr/>
            </p:nvSpPr>
            <p:spPr bwMode="auto">
              <a:xfrm>
                <a:off x="3362325" y="2030413"/>
                <a:ext cx="22225" cy="26988"/>
              </a:xfrm>
              <a:custGeom>
                <a:avLst/>
                <a:gdLst/>
                <a:ahLst/>
                <a:cxnLst>
                  <a:cxn ang="0">
                    <a:pos x="17" y="12"/>
                  </a:cxn>
                  <a:cxn ang="0">
                    <a:pos x="17" y="15"/>
                  </a:cxn>
                  <a:cxn ang="0">
                    <a:pos x="7" y="20"/>
                  </a:cxn>
                  <a:cxn ang="0">
                    <a:pos x="0" y="15"/>
                  </a:cxn>
                  <a:cxn ang="0">
                    <a:pos x="10" y="0"/>
                  </a:cxn>
                  <a:cxn ang="0">
                    <a:pos x="14" y="5"/>
                  </a:cxn>
                  <a:cxn ang="0">
                    <a:pos x="17" y="12"/>
                  </a:cxn>
                </a:cxnLst>
                <a:rect l="0" t="0" r="r" b="b"/>
                <a:pathLst>
                  <a:path w="17" h="20">
                    <a:moveTo>
                      <a:pt x="17" y="12"/>
                    </a:moveTo>
                    <a:cubicBezTo>
                      <a:pt x="17" y="12"/>
                      <a:pt x="17" y="14"/>
                      <a:pt x="17" y="15"/>
                    </a:cubicBezTo>
                    <a:cubicBezTo>
                      <a:pt x="17" y="18"/>
                      <a:pt x="12" y="20"/>
                      <a:pt x="7" y="20"/>
                    </a:cubicBezTo>
                    <a:cubicBezTo>
                      <a:pt x="3" y="20"/>
                      <a:pt x="0" y="18"/>
                      <a:pt x="0" y="15"/>
                    </a:cubicBezTo>
                    <a:cubicBezTo>
                      <a:pt x="0" y="13"/>
                      <a:pt x="6" y="2"/>
                      <a:pt x="10" y="0"/>
                    </a:cubicBezTo>
                    <a:cubicBezTo>
                      <a:pt x="11" y="2"/>
                      <a:pt x="14" y="3"/>
                      <a:pt x="14" y="5"/>
                    </a:cubicBezTo>
                    <a:cubicBezTo>
                      <a:pt x="14" y="9"/>
                      <a:pt x="7" y="12"/>
                      <a:pt x="17"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80" name="Freeform 100"/>
              <p:cNvSpPr>
                <a:spLocks/>
              </p:cNvSpPr>
              <p:nvPr/>
            </p:nvSpPr>
            <p:spPr bwMode="auto">
              <a:xfrm>
                <a:off x="1593850" y="1724025"/>
                <a:ext cx="26988" cy="12700"/>
              </a:xfrm>
              <a:custGeom>
                <a:avLst/>
                <a:gdLst/>
                <a:ahLst/>
                <a:cxnLst>
                  <a:cxn ang="0">
                    <a:pos x="6" y="4"/>
                  </a:cxn>
                  <a:cxn ang="0">
                    <a:pos x="13" y="1"/>
                  </a:cxn>
                  <a:cxn ang="0">
                    <a:pos x="20" y="9"/>
                  </a:cxn>
                  <a:cxn ang="0">
                    <a:pos x="5" y="9"/>
                  </a:cxn>
                  <a:cxn ang="0">
                    <a:pos x="0" y="4"/>
                  </a:cxn>
                  <a:cxn ang="0">
                    <a:pos x="6" y="4"/>
                  </a:cxn>
                </a:cxnLst>
                <a:rect l="0" t="0" r="r" b="b"/>
                <a:pathLst>
                  <a:path w="20" h="9">
                    <a:moveTo>
                      <a:pt x="6" y="4"/>
                    </a:moveTo>
                    <a:cubicBezTo>
                      <a:pt x="8" y="0"/>
                      <a:pt x="10" y="1"/>
                      <a:pt x="13" y="1"/>
                    </a:cubicBezTo>
                    <a:cubicBezTo>
                      <a:pt x="18" y="1"/>
                      <a:pt x="19" y="4"/>
                      <a:pt x="20" y="9"/>
                    </a:cubicBezTo>
                    <a:cubicBezTo>
                      <a:pt x="5" y="9"/>
                      <a:pt x="5" y="9"/>
                      <a:pt x="5" y="9"/>
                    </a:cubicBezTo>
                    <a:cubicBezTo>
                      <a:pt x="3" y="7"/>
                      <a:pt x="1" y="6"/>
                      <a:pt x="0" y="4"/>
                    </a:cubicBezTo>
                    <a:lnTo>
                      <a:pt x="6"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grpSp>
        <p:grpSp>
          <p:nvGrpSpPr>
            <p:cNvPr id="15" name="Group 345"/>
            <p:cNvGrpSpPr/>
            <p:nvPr/>
          </p:nvGrpSpPr>
          <p:grpSpPr>
            <a:xfrm>
              <a:off x="3103551" y="1256797"/>
              <a:ext cx="669405" cy="1125467"/>
              <a:chOff x="4219575" y="1089025"/>
              <a:chExt cx="687388" cy="1155701"/>
            </a:xfrm>
            <a:grpFill/>
          </p:grpSpPr>
          <p:sp>
            <p:nvSpPr>
              <p:cNvPr id="103" name="Freeform 36"/>
              <p:cNvSpPr>
                <a:spLocks/>
              </p:cNvSpPr>
              <p:nvPr/>
            </p:nvSpPr>
            <p:spPr bwMode="auto">
              <a:xfrm>
                <a:off x="4568825" y="1816100"/>
                <a:ext cx="26988" cy="39688"/>
              </a:xfrm>
              <a:custGeom>
                <a:avLst/>
                <a:gdLst/>
                <a:ahLst/>
                <a:cxnLst>
                  <a:cxn ang="0">
                    <a:pos x="3" y="27"/>
                  </a:cxn>
                  <a:cxn ang="0">
                    <a:pos x="9" y="21"/>
                  </a:cxn>
                  <a:cxn ang="0">
                    <a:pos x="0" y="14"/>
                  </a:cxn>
                  <a:cxn ang="0">
                    <a:pos x="9" y="0"/>
                  </a:cxn>
                  <a:cxn ang="0">
                    <a:pos x="20" y="12"/>
                  </a:cxn>
                  <a:cxn ang="0">
                    <a:pos x="6" y="30"/>
                  </a:cxn>
                  <a:cxn ang="0">
                    <a:pos x="0" y="27"/>
                  </a:cxn>
                  <a:cxn ang="0">
                    <a:pos x="2" y="25"/>
                  </a:cxn>
                  <a:cxn ang="0">
                    <a:pos x="3" y="27"/>
                  </a:cxn>
                </a:cxnLst>
                <a:rect l="0" t="0" r="r" b="b"/>
                <a:pathLst>
                  <a:path w="20" h="30">
                    <a:moveTo>
                      <a:pt x="3" y="27"/>
                    </a:moveTo>
                    <a:cubicBezTo>
                      <a:pt x="6" y="26"/>
                      <a:pt x="9" y="23"/>
                      <a:pt x="9" y="21"/>
                    </a:cubicBezTo>
                    <a:cubicBezTo>
                      <a:pt x="5" y="20"/>
                      <a:pt x="0" y="16"/>
                      <a:pt x="0" y="14"/>
                    </a:cubicBezTo>
                    <a:cubicBezTo>
                      <a:pt x="0" y="12"/>
                      <a:pt x="5" y="0"/>
                      <a:pt x="9" y="0"/>
                    </a:cubicBezTo>
                    <a:cubicBezTo>
                      <a:pt x="17" y="0"/>
                      <a:pt x="18" y="4"/>
                      <a:pt x="20" y="12"/>
                    </a:cubicBezTo>
                    <a:cubicBezTo>
                      <a:pt x="12" y="14"/>
                      <a:pt x="16" y="30"/>
                      <a:pt x="6" y="30"/>
                    </a:cubicBezTo>
                    <a:cubicBezTo>
                      <a:pt x="3" y="30"/>
                      <a:pt x="1" y="27"/>
                      <a:pt x="0" y="27"/>
                    </a:cubicBezTo>
                    <a:cubicBezTo>
                      <a:pt x="1" y="26"/>
                      <a:pt x="2" y="25"/>
                      <a:pt x="2" y="25"/>
                    </a:cubicBezTo>
                    <a:lnTo>
                      <a:pt x="3"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grpSp>
            <p:nvGrpSpPr>
              <p:cNvPr id="104" name="Group 343"/>
              <p:cNvGrpSpPr/>
              <p:nvPr/>
            </p:nvGrpSpPr>
            <p:grpSpPr>
              <a:xfrm>
                <a:off x="4219575" y="1089025"/>
                <a:ext cx="687388" cy="1155701"/>
                <a:chOff x="4219575" y="1089025"/>
                <a:chExt cx="687388" cy="1155701"/>
              </a:xfrm>
              <a:grpFill/>
            </p:grpSpPr>
            <p:sp>
              <p:nvSpPr>
                <p:cNvPr id="105" name="Freeform 24"/>
                <p:cNvSpPr>
                  <a:spLocks/>
                </p:cNvSpPr>
                <p:nvPr/>
              </p:nvSpPr>
              <p:spPr bwMode="auto">
                <a:xfrm>
                  <a:off x="4230688" y="1782763"/>
                  <a:ext cx="646113" cy="461963"/>
                </a:xfrm>
                <a:custGeom>
                  <a:avLst/>
                  <a:gdLst/>
                  <a:ahLst/>
                  <a:cxnLst>
                    <a:cxn ang="0">
                      <a:pos x="473" y="233"/>
                    </a:cxn>
                    <a:cxn ang="0">
                      <a:pos x="470" y="273"/>
                    </a:cxn>
                    <a:cxn ang="0">
                      <a:pos x="427" y="274"/>
                    </a:cxn>
                    <a:cxn ang="0">
                      <a:pos x="401" y="283"/>
                    </a:cxn>
                    <a:cxn ang="0">
                      <a:pos x="403" y="303"/>
                    </a:cxn>
                    <a:cxn ang="0">
                      <a:pos x="413" y="322"/>
                    </a:cxn>
                    <a:cxn ang="0">
                      <a:pos x="401" y="319"/>
                    </a:cxn>
                    <a:cxn ang="0">
                      <a:pos x="397" y="336"/>
                    </a:cxn>
                    <a:cxn ang="0">
                      <a:pos x="382" y="315"/>
                    </a:cxn>
                    <a:cxn ang="0">
                      <a:pos x="358" y="278"/>
                    </a:cxn>
                    <a:cxn ang="0">
                      <a:pos x="329" y="238"/>
                    </a:cxn>
                    <a:cxn ang="0">
                      <a:pos x="289" y="213"/>
                    </a:cxn>
                    <a:cxn ang="0">
                      <a:pos x="270" y="212"/>
                    </a:cxn>
                    <a:cxn ang="0">
                      <a:pos x="289" y="244"/>
                    </a:cxn>
                    <a:cxn ang="0">
                      <a:pos x="315" y="264"/>
                    </a:cxn>
                    <a:cxn ang="0">
                      <a:pos x="330" y="283"/>
                    </a:cxn>
                    <a:cxn ang="0">
                      <a:pos x="323" y="305"/>
                    </a:cxn>
                    <a:cxn ang="0">
                      <a:pos x="316" y="303"/>
                    </a:cxn>
                    <a:cxn ang="0">
                      <a:pos x="291" y="273"/>
                    </a:cxn>
                    <a:cxn ang="0">
                      <a:pos x="229" y="223"/>
                    </a:cxn>
                    <a:cxn ang="0">
                      <a:pos x="168" y="237"/>
                    </a:cxn>
                    <a:cxn ang="0">
                      <a:pos x="135" y="272"/>
                    </a:cxn>
                    <a:cxn ang="0">
                      <a:pos x="101" y="326"/>
                    </a:cxn>
                    <a:cxn ang="0">
                      <a:pos x="72" y="338"/>
                    </a:cxn>
                    <a:cxn ang="0">
                      <a:pos x="10" y="334"/>
                    </a:cxn>
                    <a:cxn ang="0">
                      <a:pos x="0" y="306"/>
                    </a:cxn>
                    <a:cxn ang="0">
                      <a:pos x="4" y="246"/>
                    </a:cxn>
                    <a:cxn ang="0">
                      <a:pos x="48" y="235"/>
                    </a:cxn>
                    <a:cxn ang="0">
                      <a:pos x="89" y="240"/>
                    </a:cxn>
                    <a:cxn ang="0">
                      <a:pos x="105" y="206"/>
                    </a:cxn>
                    <a:cxn ang="0">
                      <a:pos x="103" y="193"/>
                    </a:cxn>
                    <a:cxn ang="0">
                      <a:pos x="60" y="163"/>
                    </a:cxn>
                    <a:cxn ang="0">
                      <a:pos x="88" y="157"/>
                    </a:cxn>
                    <a:cxn ang="0">
                      <a:pos x="96" y="143"/>
                    </a:cxn>
                    <a:cxn ang="0">
                      <a:pos x="114" y="145"/>
                    </a:cxn>
                    <a:cxn ang="0">
                      <a:pos x="147" y="118"/>
                    </a:cxn>
                    <a:cxn ang="0">
                      <a:pos x="176" y="89"/>
                    </a:cxn>
                    <a:cxn ang="0">
                      <a:pos x="208" y="73"/>
                    </a:cxn>
                    <a:cxn ang="0">
                      <a:pos x="225" y="54"/>
                    </a:cxn>
                    <a:cxn ang="0">
                      <a:pos x="245" y="5"/>
                    </a:cxn>
                    <a:cxn ang="0">
                      <a:pos x="251" y="25"/>
                    </a:cxn>
                    <a:cxn ang="0">
                      <a:pos x="240" y="54"/>
                    </a:cxn>
                    <a:cxn ang="0">
                      <a:pos x="254" y="66"/>
                    </a:cxn>
                    <a:cxn ang="0">
                      <a:pos x="289" y="68"/>
                    </a:cxn>
                    <a:cxn ang="0">
                      <a:pos x="333" y="50"/>
                    </a:cxn>
                    <a:cxn ang="0">
                      <a:pos x="378" y="55"/>
                    </a:cxn>
                    <a:cxn ang="0">
                      <a:pos x="408" y="95"/>
                    </a:cxn>
                    <a:cxn ang="0">
                      <a:pos x="399" y="153"/>
                    </a:cxn>
                    <a:cxn ang="0">
                      <a:pos x="470" y="180"/>
                    </a:cxn>
                    <a:cxn ang="0">
                      <a:pos x="474" y="204"/>
                    </a:cxn>
                    <a:cxn ang="0">
                      <a:pos x="476" y="216"/>
                    </a:cxn>
                  </a:cxnLst>
                  <a:rect l="0" t="0" r="r" b="b"/>
                  <a:pathLst>
                    <a:path w="485" h="347">
                      <a:moveTo>
                        <a:pt x="476" y="216"/>
                      </a:moveTo>
                      <a:cubicBezTo>
                        <a:pt x="474" y="223"/>
                        <a:pt x="475" y="219"/>
                        <a:pt x="473" y="222"/>
                      </a:cubicBezTo>
                      <a:cubicBezTo>
                        <a:pt x="473" y="233"/>
                        <a:pt x="473" y="233"/>
                        <a:pt x="473" y="233"/>
                      </a:cubicBezTo>
                      <a:cubicBezTo>
                        <a:pt x="469" y="238"/>
                        <a:pt x="461" y="246"/>
                        <a:pt x="461" y="253"/>
                      </a:cubicBezTo>
                      <a:cubicBezTo>
                        <a:pt x="461" y="261"/>
                        <a:pt x="473" y="268"/>
                        <a:pt x="476" y="272"/>
                      </a:cubicBezTo>
                      <a:cubicBezTo>
                        <a:pt x="474" y="273"/>
                        <a:pt x="472" y="273"/>
                        <a:pt x="470" y="273"/>
                      </a:cubicBezTo>
                      <a:cubicBezTo>
                        <a:pt x="466" y="275"/>
                        <a:pt x="463" y="273"/>
                        <a:pt x="459" y="275"/>
                      </a:cubicBezTo>
                      <a:cubicBezTo>
                        <a:pt x="453" y="277"/>
                        <a:pt x="452" y="283"/>
                        <a:pt x="446" y="283"/>
                      </a:cubicBezTo>
                      <a:cubicBezTo>
                        <a:pt x="439" y="283"/>
                        <a:pt x="435" y="274"/>
                        <a:pt x="427" y="274"/>
                      </a:cubicBezTo>
                      <a:cubicBezTo>
                        <a:pt x="420" y="274"/>
                        <a:pt x="419" y="278"/>
                        <a:pt x="413" y="280"/>
                      </a:cubicBezTo>
                      <a:cubicBezTo>
                        <a:pt x="414" y="284"/>
                        <a:pt x="414" y="286"/>
                        <a:pt x="413" y="290"/>
                      </a:cubicBezTo>
                      <a:cubicBezTo>
                        <a:pt x="406" y="290"/>
                        <a:pt x="405" y="283"/>
                        <a:pt x="401" y="283"/>
                      </a:cubicBezTo>
                      <a:cubicBezTo>
                        <a:pt x="399" y="283"/>
                        <a:pt x="397" y="286"/>
                        <a:pt x="397" y="288"/>
                      </a:cubicBezTo>
                      <a:cubicBezTo>
                        <a:pt x="405" y="298"/>
                        <a:pt x="405" y="298"/>
                        <a:pt x="405" y="298"/>
                      </a:cubicBezTo>
                      <a:cubicBezTo>
                        <a:pt x="405" y="300"/>
                        <a:pt x="403" y="302"/>
                        <a:pt x="403" y="303"/>
                      </a:cubicBezTo>
                      <a:cubicBezTo>
                        <a:pt x="403" y="304"/>
                        <a:pt x="415" y="315"/>
                        <a:pt x="419" y="315"/>
                      </a:cubicBezTo>
                      <a:cubicBezTo>
                        <a:pt x="419" y="317"/>
                        <a:pt x="420" y="318"/>
                        <a:pt x="420" y="319"/>
                      </a:cubicBezTo>
                      <a:cubicBezTo>
                        <a:pt x="418" y="321"/>
                        <a:pt x="414" y="319"/>
                        <a:pt x="413" y="322"/>
                      </a:cubicBezTo>
                      <a:cubicBezTo>
                        <a:pt x="412" y="322"/>
                        <a:pt x="412" y="322"/>
                        <a:pt x="412" y="322"/>
                      </a:cubicBezTo>
                      <a:cubicBezTo>
                        <a:pt x="407" y="321"/>
                        <a:pt x="403" y="317"/>
                        <a:pt x="401" y="315"/>
                      </a:cubicBezTo>
                      <a:cubicBezTo>
                        <a:pt x="401" y="319"/>
                        <a:pt x="401" y="319"/>
                        <a:pt x="401" y="319"/>
                      </a:cubicBezTo>
                      <a:cubicBezTo>
                        <a:pt x="402" y="321"/>
                        <a:pt x="403" y="323"/>
                        <a:pt x="403" y="326"/>
                      </a:cubicBezTo>
                      <a:cubicBezTo>
                        <a:pt x="403" y="329"/>
                        <a:pt x="399" y="334"/>
                        <a:pt x="403" y="336"/>
                      </a:cubicBezTo>
                      <a:cubicBezTo>
                        <a:pt x="401" y="336"/>
                        <a:pt x="397" y="336"/>
                        <a:pt x="397" y="336"/>
                      </a:cubicBezTo>
                      <a:cubicBezTo>
                        <a:pt x="390" y="336"/>
                        <a:pt x="384" y="329"/>
                        <a:pt x="384" y="322"/>
                      </a:cubicBezTo>
                      <a:cubicBezTo>
                        <a:pt x="384" y="319"/>
                        <a:pt x="388" y="317"/>
                        <a:pt x="390" y="315"/>
                      </a:cubicBezTo>
                      <a:cubicBezTo>
                        <a:pt x="387" y="315"/>
                        <a:pt x="385" y="315"/>
                        <a:pt x="382" y="315"/>
                      </a:cubicBezTo>
                      <a:cubicBezTo>
                        <a:pt x="380" y="315"/>
                        <a:pt x="379" y="311"/>
                        <a:pt x="379" y="310"/>
                      </a:cubicBezTo>
                      <a:cubicBezTo>
                        <a:pt x="378" y="304"/>
                        <a:pt x="374" y="300"/>
                        <a:pt x="370" y="296"/>
                      </a:cubicBezTo>
                      <a:cubicBezTo>
                        <a:pt x="365" y="291"/>
                        <a:pt x="358" y="287"/>
                        <a:pt x="358" y="278"/>
                      </a:cubicBezTo>
                      <a:cubicBezTo>
                        <a:pt x="358" y="272"/>
                        <a:pt x="358" y="270"/>
                        <a:pt x="358" y="266"/>
                      </a:cubicBezTo>
                      <a:cubicBezTo>
                        <a:pt x="358" y="260"/>
                        <a:pt x="348" y="251"/>
                        <a:pt x="342" y="248"/>
                      </a:cubicBezTo>
                      <a:cubicBezTo>
                        <a:pt x="336" y="245"/>
                        <a:pt x="329" y="244"/>
                        <a:pt x="329" y="238"/>
                      </a:cubicBezTo>
                      <a:cubicBezTo>
                        <a:pt x="326" y="238"/>
                        <a:pt x="325" y="238"/>
                        <a:pt x="323" y="238"/>
                      </a:cubicBezTo>
                      <a:cubicBezTo>
                        <a:pt x="313" y="238"/>
                        <a:pt x="302" y="223"/>
                        <a:pt x="302" y="213"/>
                      </a:cubicBezTo>
                      <a:cubicBezTo>
                        <a:pt x="297" y="213"/>
                        <a:pt x="293" y="213"/>
                        <a:pt x="289" y="213"/>
                      </a:cubicBezTo>
                      <a:cubicBezTo>
                        <a:pt x="283" y="213"/>
                        <a:pt x="285" y="204"/>
                        <a:pt x="283" y="201"/>
                      </a:cubicBezTo>
                      <a:cubicBezTo>
                        <a:pt x="278" y="204"/>
                        <a:pt x="268" y="204"/>
                        <a:pt x="268" y="209"/>
                      </a:cubicBezTo>
                      <a:cubicBezTo>
                        <a:pt x="268" y="210"/>
                        <a:pt x="270" y="212"/>
                        <a:pt x="270" y="212"/>
                      </a:cubicBezTo>
                      <a:cubicBezTo>
                        <a:pt x="270" y="214"/>
                        <a:pt x="269" y="217"/>
                        <a:pt x="269" y="220"/>
                      </a:cubicBezTo>
                      <a:cubicBezTo>
                        <a:pt x="269" y="226"/>
                        <a:pt x="273" y="229"/>
                        <a:pt x="278" y="231"/>
                      </a:cubicBezTo>
                      <a:cubicBezTo>
                        <a:pt x="285" y="233"/>
                        <a:pt x="288" y="240"/>
                        <a:pt x="289" y="244"/>
                      </a:cubicBezTo>
                      <a:cubicBezTo>
                        <a:pt x="291" y="250"/>
                        <a:pt x="294" y="257"/>
                        <a:pt x="298" y="259"/>
                      </a:cubicBezTo>
                      <a:cubicBezTo>
                        <a:pt x="304" y="262"/>
                        <a:pt x="309" y="260"/>
                        <a:pt x="315" y="260"/>
                      </a:cubicBezTo>
                      <a:cubicBezTo>
                        <a:pt x="315" y="261"/>
                        <a:pt x="315" y="263"/>
                        <a:pt x="315" y="264"/>
                      </a:cubicBezTo>
                      <a:cubicBezTo>
                        <a:pt x="313" y="269"/>
                        <a:pt x="323" y="271"/>
                        <a:pt x="326" y="272"/>
                      </a:cubicBezTo>
                      <a:cubicBezTo>
                        <a:pt x="335" y="277"/>
                        <a:pt x="345" y="280"/>
                        <a:pt x="344" y="290"/>
                      </a:cubicBezTo>
                      <a:cubicBezTo>
                        <a:pt x="340" y="289"/>
                        <a:pt x="337" y="283"/>
                        <a:pt x="330" y="283"/>
                      </a:cubicBezTo>
                      <a:cubicBezTo>
                        <a:pt x="325" y="283"/>
                        <a:pt x="320" y="286"/>
                        <a:pt x="320" y="290"/>
                      </a:cubicBezTo>
                      <a:cubicBezTo>
                        <a:pt x="320" y="296"/>
                        <a:pt x="328" y="297"/>
                        <a:pt x="328" y="303"/>
                      </a:cubicBezTo>
                      <a:cubicBezTo>
                        <a:pt x="328" y="305"/>
                        <a:pt x="323" y="305"/>
                        <a:pt x="323" y="305"/>
                      </a:cubicBezTo>
                      <a:cubicBezTo>
                        <a:pt x="319" y="309"/>
                        <a:pt x="319" y="318"/>
                        <a:pt x="313" y="318"/>
                      </a:cubicBezTo>
                      <a:cubicBezTo>
                        <a:pt x="310" y="318"/>
                        <a:pt x="308" y="317"/>
                        <a:pt x="308" y="315"/>
                      </a:cubicBezTo>
                      <a:cubicBezTo>
                        <a:pt x="314" y="315"/>
                        <a:pt x="316" y="309"/>
                        <a:pt x="316" y="303"/>
                      </a:cubicBezTo>
                      <a:cubicBezTo>
                        <a:pt x="316" y="297"/>
                        <a:pt x="312" y="295"/>
                        <a:pt x="311" y="291"/>
                      </a:cubicBezTo>
                      <a:cubicBezTo>
                        <a:pt x="310" y="291"/>
                        <a:pt x="300" y="281"/>
                        <a:pt x="299" y="278"/>
                      </a:cubicBezTo>
                      <a:cubicBezTo>
                        <a:pt x="297" y="278"/>
                        <a:pt x="291" y="276"/>
                        <a:pt x="291" y="273"/>
                      </a:cubicBezTo>
                      <a:cubicBezTo>
                        <a:pt x="277" y="270"/>
                        <a:pt x="274" y="266"/>
                        <a:pt x="266" y="259"/>
                      </a:cubicBezTo>
                      <a:cubicBezTo>
                        <a:pt x="263" y="256"/>
                        <a:pt x="257" y="254"/>
                        <a:pt x="256" y="251"/>
                      </a:cubicBezTo>
                      <a:cubicBezTo>
                        <a:pt x="248" y="241"/>
                        <a:pt x="245" y="223"/>
                        <a:pt x="229" y="223"/>
                      </a:cubicBezTo>
                      <a:cubicBezTo>
                        <a:pt x="221" y="223"/>
                        <a:pt x="220" y="228"/>
                        <a:pt x="216" y="230"/>
                      </a:cubicBezTo>
                      <a:cubicBezTo>
                        <a:pt x="208" y="234"/>
                        <a:pt x="202" y="242"/>
                        <a:pt x="192" y="242"/>
                      </a:cubicBezTo>
                      <a:cubicBezTo>
                        <a:pt x="183" y="242"/>
                        <a:pt x="177" y="237"/>
                        <a:pt x="168" y="237"/>
                      </a:cubicBezTo>
                      <a:cubicBezTo>
                        <a:pt x="161" y="237"/>
                        <a:pt x="154" y="242"/>
                        <a:pt x="154" y="248"/>
                      </a:cubicBezTo>
                      <a:cubicBezTo>
                        <a:pt x="157" y="258"/>
                        <a:pt x="157" y="258"/>
                        <a:pt x="157" y="258"/>
                      </a:cubicBezTo>
                      <a:cubicBezTo>
                        <a:pt x="154" y="267"/>
                        <a:pt x="144" y="270"/>
                        <a:pt x="135" y="272"/>
                      </a:cubicBezTo>
                      <a:cubicBezTo>
                        <a:pt x="127" y="274"/>
                        <a:pt x="114" y="292"/>
                        <a:pt x="114" y="302"/>
                      </a:cubicBezTo>
                      <a:cubicBezTo>
                        <a:pt x="114" y="305"/>
                        <a:pt x="117" y="306"/>
                        <a:pt x="119" y="307"/>
                      </a:cubicBezTo>
                      <a:cubicBezTo>
                        <a:pt x="113" y="316"/>
                        <a:pt x="110" y="321"/>
                        <a:pt x="101" y="326"/>
                      </a:cubicBezTo>
                      <a:cubicBezTo>
                        <a:pt x="96" y="328"/>
                        <a:pt x="95" y="340"/>
                        <a:pt x="86" y="337"/>
                      </a:cubicBezTo>
                      <a:cubicBezTo>
                        <a:pt x="86" y="337"/>
                        <a:pt x="86" y="337"/>
                        <a:pt x="86" y="337"/>
                      </a:cubicBezTo>
                      <a:cubicBezTo>
                        <a:pt x="82" y="336"/>
                        <a:pt x="75" y="338"/>
                        <a:pt x="72" y="338"/>
                      </a:cubicBezTo>
                      <a:cubicBezTo>
                        <a:pt x="62" y="338"/>
                        <a:pt x="56" y="347"/>
                        <a:pt x="46" y="347"/>
                      </a:cubicBezTo>
                      <a:cubicBezTo>
                        <a:pt x="40" y="347"/>
                        <a:pt x="39" y="331"/>
                        <a:pt x="29" y="331"/>
                      </a:cubicBezTo>
                      <a:cubicBezTo>
                        <a:pt x="22" y="331"/>
                        <a:pt x="17" y="334"/>
                        <a:pt x="10" y="334"/>
                      </a:cubicBezTo>
                      <a:cubicBezTo>
                        <a:pt x="8" y="334"/>
                        <a:pt x="7" y="332"/>
                        <a:pt x="7" y="330"/>
                      </a:cubicBezTo>
                      <a:cubicBezTo>
                        <a:pt x="7" y="321"/>
                        <a:pt x="7" y="318"/>
                        <a:pt x="7" y="313"/>
                      </a:cubicBezTo>
                      <a:cubicBezTo>
                        <a:pt x="3" y="313"/>
                        <a:pt x="0" y="310"/>
                        <a:pt x="0" y="306"/>
                      </a:cubicBezTo>
                      <a:cubicBezTo>
                        <a:pt x="0" y="301"/>
                        <a:pt x="4" y="299"/>
                        <a:pt x="4" y="296"/>
                      </a:cubicBezTo>
                      <a:cubicBezTo>
                        <a:pt x="4" y="285"/>
                        <a:pt x="8" y="274"/>
                        <a:pt x="8" y="262"/>
                      </a:cubicBezTo>
                      <a:cubicBezTo>
                        <a:pt x="8" y="256"/>
                        <a:pt x="4" y="250"/>
                        <a:pt x="4" y="246"/>
                      </a:cubicBezTo>
                      <a:cubicBezTo>
                        <a:pt x="4" y="243"/>
                        <a:pt x="19" y="234"/>
                        <a:pt x="21" y="234"/>
                      </a:cubicBezTo>
                      <a:cubicBezTo>
                        <a:pt x="23" y="234"/>
                        <a:pt x="25" y="236"/>
                        <a:pt x="28" y="235"/>
                      </a:cubicBezTo>
                      <a:cubicBezTo>
                        <a:pt x="48" y="235"/>
                        <a:pt x="48" y="235"/>
                        <a:pt x="48" y="235"/>
                      </a:cubicBezTo>
                      <a:cubicBezTo>
                        <a:pt x="49" y="237"/>
                        <a:pt x="53" y="238"/>
                        <a:pt x="55" y="238"/>
                      </a:cubicBezTo>
                      <a:cubicBezTo>
                        <a:pt x="76" y="238"/>
                        <a:pt x="76" y="238"/>
                        <a:pt x="76" y="238"/>
                      </a:cubicBezTo>
                      <a:cubicBezTo>
                        <a:pt x="82" y="237"/>
                        <a:pt x="84" y="240"/>
                        <a:pt x="89" y="240"/>
                      </a:cubicBezTo>
                      <a:cubicBezTo>
                        <a:pt x="92" y="240"/>
                        <a:pt x="98" y="238"/>
                        <a:pt x="100" y="238"/>
                      </a:cubicBezTo>
                      <a:cubicBezTo>
                        <a:pt x="100" y="229"/>
                        <a:pt x="105" y="226"/>
                        <a:pt x="105" y="218"/>
                      </a:cubicBezTo>
                      <a:cubicBezTo>
                        <a:pt x="105" y="216"/>
                        <a:pt x="105" y="208"/>
                        <a:pt x="105" y="206"/>
                      </a:cubicBezTo>
                      <a:cubicBezTo>
                        <a:pt x="104" y="206"/>
                        <a:pt x="104" y="206"/>
                        <a:pt x="104" y="206"/>
                      </a:cubicBezTo>
                      <a:cubicBezTo>
                        <a:pt x="105" y="205"/>
                        <a:pt x="106" y="201"/>
                        <a:pt x="106" y="200"/>
                      </a:cubicBezTo>
                      <a:cubicBezTo>
                        <a:pt x="106" y="196"/>
                        <a:pt x="103" y="197"/>
                        <a:pt x="103" y="193"/>
                      </a:cubicBezTo>
                      <a:cubicBezTo>
                        <a:pt x="94" y="193"/>
                        <a:pt x="92" y="185"/>
                        <a:pt x="92" y="178"/>
                      </a:cubicBezTo>
                      <a:cubicBezTo>
                        <a:pt x="89" y="178"/>
                        <a:pt x="89" y="175"/>
                        <a:pt x="87" y="175"/>
                      </a:cubicBezTo>
                      <a:cubicBezTo>
                        <a:pt x="79" y="173"/>
                        <a:pt x="60" y="169"/>
                        <a:pt x="60" y="163"/>
                      </a:cubicBezTo>
                      <a:cubicBezTo>
                        <a:pt x="60" y="163"/>
                        <a:pt x="60" y="161"/>
                        <a:pt x="60" y="161"/>
                      </a:cubicBezTo>
                      <a:cubicBezTo>
                        <a:pt x="60" y="157"/>
                        <a:pt x="72" y="154"/>
                        <a:pt x="76" y="153"/>
                      </a:cubicBezTo>
                      <a:cubicBezTo>
                        <a:pt x="78" y="156"/>
                        <a:pt x="85" y="157"/>
                        <a:pt x="88" y="157"/>
                      </a:cubicBezTo>
                      <a:cubicBezTo>
                        <a:pt x="92" y="157"/>
                        <a:pt x="97" y="156"/>
                        <a:pt x="98" y="155"/>
                      </a:cubicBezTo>
                      <a:cubicBezTo>
                        <a:pt x="98" y="152"/>
                        <a:pt x="98" y="152"/>
                        <a:pt x="98" y="152"/>
                      </a:cubicBezTo>
                      <a:cubicBezTo>
                        <a:pt x="95" y="151"/>
                        <a:pt x="97" y="145"/>
                        <a:pt x="96" y="143"/>
                      </a:cubicBezTo>
                      <a:cubicBezTo>
                        <a:pt x="96" y="140"/>
                        <a:pt x="96" y="140"/>
                        <a:pt x="96" y="140"/>
                      </a:cubicBezTo>
                      <a:cubicBezTo>
                        <a:pt x="101" y="140"/>
                        <a:pt x="101" y="140"/>
                        <a:pt x="101" y="140"/>
                      </a:cubicBezTo>
                      <a:cubicBezTo>
                        <a:pt x="104" y="143"/>
                        <a:pt x="109" y="145"/>
                        <a:pt x="114" y="145"/>
                      </a:cubicBezTo>
                      <a:cubicBezTo>
                        <a:pt x="117" y="145"/>
                        <a:pt x="120" y="142"/>
                        <a:pt x="121" y="139"/>
                      </a:cubicBezTo>
                      <a:cubicBezTo>
                        <a:pt x="135" y="139"/>
                        <a:pt x="138" y="129"/>
                        <a:pt x="141" y="119"/>
                      </a:cubicBezTo>
                      <a:cubicBezTo>
                        <a:pt x="143" y="119"/>
                        <a:pt x="145" y="118"/>
                        <a:pt x="147" y="118"/>
                      </a:cubicBezTo>
                      <a:cubicBezTo>
                        <a:pt x="150" y="117"/>
                        <a:pt x="167" y="110"/>
                        <a:pt x="169" y="108"/>
                      </a:cubicBezTo>
                      <a:cubicBezTo>
                        <a:pt x="173" y="104"/>
                        <a:pt x="171" y="99"/>
                        <a:pt x="171" y="94"/>
                      </a:cubicBezTo>
                      <a:cubicBezTo>
                        <a:pt x="171" y="92"/>
                        <a:pt x="175" y="89"/>
                        <a:pt x="176" y="89"/>
                      </a:cubicBezTo>
                      <a:cubicBezTo>
                        <a:pt x="182" y="83"/>
                        <a:pt x="188" y="76"/>
                        <a:pt x="198" y="76"/>
                      </a:cubicBezTo>
                      <a:cubicBezTo>
                        <a:pt x="204" y="76"/>
                        <a:pt x="201" y="77"/>
                        <a:pt x="204" y="76"/>
                      </a:cubicBezTo>
                      <a:cubicBezTo>
                        <a:pt x="206" y="77"/>
                        <a:pt x="207" y="74"/>
                        <a:pt x="208" y="73"/>
                      </a:cubicBezTo>
                      <a:cubicBezTo>
                        <a:pt x="211" y="70"/>
                        <a:pt x="215" y="72"/>
                        <a:pt x="219" y="72"/>
                      </a:cubicBezTo>
                      <a:cubicBezTo>
                        <a:pt x="221" y="72"/>
                        <a:pt x="229" y="68"/>
                        <a:pt x="229" y="65"/>
                      </a:cubicBezTo>
                      <a:cubicBezTo>
                        <a:pt x="229" y="63"/>
                        <a:pt x="225" y="54"/>
                        <a:pt x="225" y="54"/>
                      </a:cubicBezTo>
                      <a:cubicBezTo>
                        <a:pt x="224" y="42"/>
                        <a:pt x="217" y="38"/>
                        <a:pt x="217" y="28"/>
                      </a:cubicBezTo>
                      <a:cubicBezTo>
                        <a:pt x="217" y="9"/>
                        <a:pt x="234" y="8"/>
                        <a:pt x="245" y="0"/>
                      </a:cubicBezTo>
                      <a:cubicBezTo>
                        <a:pt x="245" y="5"/>
                        <a:pt x="245" y="5"/>
                        <a:pt x="245" y="5"/>
                      </a:cubicBezTo>
                      <a:cubicBezTo>
                        <a:pt x="243" y="10"/>
                        <a:pt x="242" y="12"/>
                        <a:pt x="242" y="17"/>
                      </a:cubicBezTo>
                      <a:cubicBezTo>
                        <a:pt x="242" y="21"/>
                        <a:pt x="247" y="22"/>
                        <a:pt x="251" y="22"/>
                      </a:cubicBezTo>
                      <a:cubicBezTo>
                        <a:pt x="251" y="23"/>
                        <a:pt x="251" y="24"/>
                        <a:pt x="251" y="25"/>
                      </a:cubicBezTo>
                      <a:cubicBezTo>
                        <a:pt x="251" y="27"/>
                        <a:pt x="247" y="28"/>
                        <a:pt x="245" y="29"/>
                      </a:cubicBezTo>
                      <a:cubicBezTo>
                        <a:pt x="241" y="34"/>
                        <a:pt x="236" y="38"/>
                        <a:pt x="236" y="46"/>
                      </a:cubicBezTo>
                      <a:cubicBezTo>
                        <a:pt x="236" y="50"/>
                        <a:pt x="238" y="53"/>
                        <a:pt x="240" y="54"/>
                      </a:cubicBezTo>
                      <a:cubicBezTo>
                        <a:pt x="240" y="56"/>
                        <a:pt x="241" y="57"/>
                        <a:pt x="240" y="59"/>
                      </a:cubicBezTo>
                      <a:cubicBezTo>
                        <a:pt x="245" y="59"/>
                        <a:pt x="247" y="60"/>
                        <a:pt x="251" y="60"/>
                      </a:cubicBezTo>
                      <a:cubicBezTo>
                        <a:pt x="252" y="63"/>
                        <a:pt x="253" y="66"/>
                        <a:pt x="254" y="66"/>
                      </a:cubicBezTo>
                      <a:cubicBezTo>
                        <a:pt x="266" y="66"/>
                        <a:pt x="274" y="56"/>
                        <a:pt x="285" y="57"/>
                      </a:cubicBezTo>
                      <a:cubicBezTo>
                        <a:pt x="284" y="59"/>
                        <a:pt x="282" y="60"/>
                        <a:pt x="282" y="62"/>
                      </a:cubicBezTo>
                      <a:cubicBezTo>
                        <a:pt x="282" y="63"/>
                        <a:pt x="289" y="68"/>
                        <a:pt x="289" y="68"/>
                      </a:cubicBezTo>
                      <a:cubicBezTo>
                        <a:pt x="294" y="68"/>
                        <a:pt x="295" y="65"/>
                        <a:pt x="297" y="64"/>
                      </a:cubicBezTo>
                      <a:cubicBezTo>
                        <a:pt x="304" y="60"/>
                        <a:pt x="310" y="62"/>
                        <a:pt x="317" y="59"/>
                      </a:cubicBezTo>
                      <a:cubicBezTo>
                        <a:pt x="321" y="57"/>
                        <a:pt x="328" y="50"/>
                        <a:pt x="333" y="50"/>
                      </a:cubicBezTo>
                      <a:cubicBezTo>
                        <a:pt x="339" y="50"/>
                        <a:pt x="345" y="51"/>
                        <a:pt x="348" y="52"/>
                      </a:cubicBezTo>
                      <a:cubicBezTo>
                        <a:pt x="347" y="54"/>
                        <a:pt x="346" y="56"/>
                        <a:pt x="346" y="57"/>
                      </a:cubicBezTo>
                      <a:cubicBezTo>
                        <a:pt x="358" y="57"/>
                        <a:pt x="370" y="55"/>
                        <a:pt x="378" y="55"/>
                      </a:cubicBezTo>
                      <a:cubicBezTo>
                        <a:pt x="386" y="55"/>
                        <a:pt x="392" y="54"/>
                        <a:pt x="401" y="54"/>
                      </a:cubicBezTo>
                      <a:cubicBezTo>
                        <a:pt x="410" y="54"/>
                        <a:pt x="414" y="70"/>
                        <a:pt x="414" y="80"/>
                      </a:cubicBezTo>
                      <a:cubicBezTo>
                        <a:pt x="414" y="86"/>
                        <a:pt x="408" y="89"/>
                        <a:pt x="408" y="95"/>
                      </a:cubicBezTo>
                      <a:cubicBezTo>
                        <a:pt x="408" y="104"/>
                        <a:pt x="416" y="110"/>
                        <a:pt x="416" y="118"/>
                      </a:cubicBezTo>
                      <a:cubicBezTo>
                        <a:pt x="416" y="123"/>
                        <a:pt x="408" y="125"/>
                        <a:pt x="406" y="128"/>
                      </a:cubicBezTo>
                      <a:cubicBezTo>
                        <a:pt x="401" y="136"/>
                        <a:pt x="399" y="143"/>
                        <a:pt x="399" y="153"/>
                      </a:cubicBezTo>
                      <a:cubicBezTo>
                        <a:pt x="399" y="166"/>
                        <a:pt x="408" y="163"/>
                        <a:pt x="418" y="163"/>
                      </a:cubicBezTo>
                      <a:cubicBezTo>
                        <a:pt x="432" y="163"/>
                        <a:pt x="439" y="157"/>
                        <a:pt x="450" y="157"/>
                      </a:cubicBezTo>
                      <a:cubicBezTo>
                        <a:pt x="461" y="157"/>
                        <a:pt x="459" y="180"/>
                        <a:pt x="470" y="180"/>
                      </a:cubicBezTo>
                      <a:cubicBezTo>
                        <a:pt x="470" y="198"/>
                        <a:pt x="470" y="198"/>
                        <a:pt x="470" y="198"/>
                      </a:cubicBezTo>
                      <a:cubicBezTo>
                        <a:pt x="470" y="200"/>
                        <a:pt x="471" y="201"/>
                        <a:pt x="472" y="201"/>
                      </a:cubicBezTo>
                      <a:cubicBezTo>
                        <a:pt x="474" y="204"/>
                        <a:pt x="474" y="204"/>
                        <a:pt x="474" y="204"/>
                      </a:cubicBezTo>
                      <a:cubicBezTo>
                        <a:pt x="476" y="204"/>
                        <a:pt x="482" y="202"/>
                        <a:pt x="485" y="201"/>
                      </a:cubicBezTo>
                      <a:cubicBezTo>
                        <a:pt x="485" y="204"/>
                        <a:pt x="485" y="206"/>
                        <a:pt x="485" y="208"/>
                      </a:cubicBezTo>
                      <a:cubicBezTo>
                        <a:pt x="481" y="209"/>
                        <a:pt x="476" y="211"/>
                        <a:pt x="476"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06" name="Freeform 25"/>
                <p:cNvSpPr>
                  <a:spLocks/>
                </p:cNvSpPr>
                <p:nvPr/>
              </p:nvSpPr>
              <p:spPr bwMode="auto">
                <a:xfrm>
                  <a:off x="4470400" y="1416050"/>
                  <a:ext cx="436563" cy="423863"/>
                </a:xfrm>
                <a:custGeom>
                  <a:avLst/>
                  <a:gdLst/>
                  <a:ahLst/>
                  <a:cxnLst>
                    <a:cxn ang="0">
                      <a:pos x="66" y="236"/>
                    </a:cxn>
                    <a:cxn ang="0">
                      <a:pos x="4" y="254"/>
                    </a:cxn>
                    <a:cxn ang="0">
                      <a:pos x="12" y="241"/>
                    </a:cxn>
                    <a:cxn ang="0">
                      <a:pos x="8" y="231"/>
                    </a:cxn>
                    <a:cxn ang="0">
                      <a:pos x="10" y="190"/>
                    </a:cxn>
                    <a:cxn ang="0">
                      <a:pos x="55" y="163"/>
                    </a:cxn>
                    <a:cxn ang="0">
                      <a:pos x="85" y="129"/>
                    </a:cxn>
                    <a:cxn ang="0">
                      <a:pos x="97" y="102"/>
                    </a:cxn>
                    <a:cxn ang="0">
                      <a:pos x="142" y="55"/>
                    </a:cxn>
                    <a:cxn ang="0">
                      <a:pos x="124" y="57"/>
                    </a:cxn>
                    <a:cxn ang="0">
                      <a:pos x="124" y="49"/>
                    </a:cxn>
                    <a:cxn ang="0">
                      <a:pos x="132" y="44"/>
                    </a:cxn>
                    <a:cxn ang="0">
                      <a:pos x="148" y="57"/>
                    </a:cxn>
                    <a:cxn ang="0">
                      <a:pos x="149" y="45"/>
                    </a:cxn>
                    <a:cxn ang="0">
                      <a:pos x="168" y="37"/>
                    </a:cxn>
                    <a:cxn ang="0">
                      <a:pos x="183" y="28"/>
                    </a:cxn>
                    <a:cxn ang="0">
                      <a:pos x="199" y="21"/>
                    </a:cxn>
                    <a:cxn ang="0">
                      <a:pos x="221" y="17"/>
                    </a:cxn>
                    <a:cxn ang="0">
                      <a:pos x="223" y="5"/>
                    </a:cxn>
                    <a:cxn ang="0">
                      <a:pos x="256" y="6"/>
                    </a:cxn>
                    <a:cxn ang="0">
                      <a:pos x="266" y="7"/>
                    </a:cxn>
                    <a:cxn ang="0">
                      <a:pos x="285" y="2"/>
                    </a:cxn>
                    <a:cxn ang="0">
                      <a:pos x="296" y="6"/>
                    </a:cxn>
                    <a:cxn ang="0">
                      <a:pos x="293" y="24"/>
                    </a:cxn>
                    <a:cxn ang="0">
                      <a:pos x="315" y="32"/>
                    </a:cxn>
                    <a:cxn ang="0">
                      <a:pos x="309" y="72"/>
                    </a:cxn>
                    <a:cxn ang="0">
                      <a:pos x="310" y="113"/>
                    </a:cxn>
                    <a:cxn ang="0">
                      <a:pos x="318" y="148"/>
                    </a:cxn>
                    <a:cxn ang="0">
                      <a:pos x="327" y="172"/>
                    </a:cxn>
                    <a:cxn ang="0">
                      <a:pos x="255" y="224"/>
                    </a:cxn>
                    <a:cxn ang="0">
                      <a:pos x="218" y="225"/>
                    </a:cxn>
                    <a:cxn ang="0">
                      <a:pos x="206" y="200"/>
                    </a:cxn>
                    <a:cxn ang="0">
                      <a:pos x="197" y="174"/>
                    </a:cxn>
                    <a:cxn ang="0">
                      <a:pos x="254" y="130"/>
                    </a:cxn>
                    <a:cxn ang="0">
                      <a:pos x="202" y="135"/>
                    </a:cxn>
                    <a:cxn ang="0">
                      <a:pos x="172" y="169"/>
                    </a:cxn>
                    <a:cxn ang="0">
                      <a:pos x="146" y="201"/>
                    </a:cxn>
                    <a:cxn ang="0">
                      <a:pos x="150" y="218"/>
                    </a:cxn>
                    <a:cxn ang="0">
                      <a:pos x="152" y="253"/>
                    </a:cxn>
                    <a:cxn ang="0">
                      <a:pos x="146" y="283"/>
                    </a:cxn>
                    <a:cxn ang="0">
                      <a:pos x="121" y="304"/>
                    </a:cxn>
                    <a:cxn ang="0">
                      <a:pos x="90" y="297"/>
                    </a:cxn>
                    <a:cxn ang="0">
                      <a:pos x="82" y="269"/>
                    </a:cxn>
                    <a:cxn ang="0">
                      <a:pos x="76" y="245"/>
                    </a:cxn>
                  </a:cxnLst>
                  <a:rect l="0" t="0" r="r" b="b"/>
                  <a:pathLst>
                    <a:path w="327" h="318">
                      <a:moveTo>
                        <a:pt x="76" y="247"/>
                      </a:moveTo>
                      <a:cubicBezTo>
                        <a:pt x="70" y="245"/>
                        <a:pt x="69" y="241"/>
                        <a:pt x="66" y="236"/>
                      </a:cubicBezTo>
                      <a:cubicBezTo>
                        <a:pt x="57" y="249"/>
                        <a:pt x="43" y="266"/>
                        <a:pt x="24" y="266"/>
                      </a:cubicBezTo>
                      <a:cubicBezTo>
                        <a:pt x="22" y="266"/>
                        <a:pt x="4" y="256"/>
                        <a:pt x="4" y="254"/>
                      </a:cubicBezTo>
                      <a:cubicBezTo>
                        <a:pt x="4" y="250"/>
                        <a:pt x="10" y="248"/>
                        <a:pt x="12" y="247"/>
                      </a:cubicBezTo>
                      <a:cubicBezTo>
                        <a:pt x="12" y="241"/>
                        <a:pt x="12" y="241"/>
                        <a:pt x="12" y="241"/>
                      </a:cubicBezTo>
                      <a:cubicBezTo>
                        <a:pt x="6" y="241"/>
                        <a:pt x="6" y="241"/>
                        <a:pt x="0" y="243"/>
                      </a:cubicBezTo>
                      <a:cubicBezTo>
                        <a:pt x="0" y="240"/>
                        <a:pt x="5" y="234"/>
                        <a:pt x="8" y="231"/>
                      </a:cubicBezTo>
                      <a:cubicBezTo>
                        <a:pt x="1" y="223"/>
                        <a:pt x="0" y="212"/>
                        <a:pt x="0" y="200"/>
                      </a:cubicBezTo>
                      <a:cubicBezTo>
                        <a:pt x="0" y="193"/>
                        <a:pt x="7" y="194"/>
                        <a:pt x="10" y="190"/>
                      </a:cubicBezTo>
                      <a:cubicBezTo>
                        <a:pt x="15" y="182"/>
                        <a:pt x="20" y="177"/>
                        <a:pt x="30" y="174"/>
                      </a:cubicBezTo>
                      <a:cubicBezTo>
                        <a:pt x="38" y="172"/>
                        <a:pt x="39" y="162"/>
                        <a:pt x="55" y="163"/>
                      </a:cubicBezTo>
                      <a:cubicBezTo>
                        <a:pt x="50" y="162"/>
                        <a:pt x="49" y="161"/>
                        <a:pt x="45" y="160"/>
                      </a:cubicBezTo>
                      <a:cubicBezTo>
                        <a:pt x="64" y="155"/>
                        <a:pt x="71" y="140"/>
                        <a:pt x="85" y="129"/>
                      </a:cubicBezTo>
                      <a:cubicBezTo>
                        <a:pt x="90" y="126"/>
                        <a:pt x="89" y="112"/>
                        <a:pt x="93" y="112"/>
                      </a:cubicBezTo>
                      <a:cubicBezTo>
                        <a:pt x="93" y="112"/>
                        <a:pt x="97" y="102"/>
                        <a:pt x="97" y="102"/>
                      </a:cubicBezTo>
                      <a:cubicBezTo>
                        <a:pt x="102" y="93"/>
                        <a:pt x="109" y="87"/>
                        <a:pt x="118" y="83"/>
                      </a:cubicBezTo>
                      <a:cubicBezTo>
                        <a:pt x="127" y="80"/>
                        <a:pt x="139" y="65"/>
                        <a:pt x="142" y="55"/>
                      </a:cubicBezTo>
                      <a:cubicBezTo>
                        <a:pt x="131" y="58"/>
                        <a:pt x="126" y="63"/>
                        <a:pt x="116" y="63"/>
                      </a:cubicBezTo>
                      <a:cubicBezTo>
                        <a:pt x="118" y="60"/>
                        <a:pt x="123" y="58"/>
                        <a:pt x="124" y="57"/>
                      </a:cubicBezTo>
                      <a:cubicBezTo>
                        <a:pt x="122" y="57"/>
                        <a:pt x="118" y="56"/>
                        <a:pt x="118" y="56"/>
                      </a:cubicBezTo>
                      <a:cubicBezTo>
                        <a:pt x="119" y="51"/>
                        <a:pt x="121" y="49"/>
                        <a:pt x="124" y="49"/>
                      </a:cubicBezTo>
                      <a:cubicBezTo>
                        <a:pt x="126" y="49"/>
                        <a:pt x="127" y="50"/>
                        <a:pt x="128" y="50"/>
                      </a:cubicBezTo>
                      <a:cubicBezTo>
                        <a:pt x="129" y="47"/>
                        <a:pt x="131" y="46"/>
                        <a:pt x="132" y="44"/>
                      </a:cubicBezTo>
                      <a:cubicBezTo>
                        <a:pt x="134" y="47"/>
                        <a:pt x="135" y="49"/>
                        <a:pt x="133" y="52"/>
                      </a:cubicBezTo>
                      <a:cubicBezTo>
                        <a:pt x="140" y="52"/>
                        <a:pt x="142" y="57"/>
                        <a:pt x="148" y="57"/>
                      </a:cubicBezTo>
                      <a:cubicBezTo>
                        <a:pt x="150" y="57"/>
                        <a:pt x="155" y="46"/>
                        <a:pt x="156" y="46"/>
                      </a:cubicBezTo>
                      <a:cubicBezTo>
                        <a:pt x="153" y="45"/>
                        <a:pt x="153" y="44"/>
                        <a:pt x="149" y="45"/>
                      </a:cubicBezTo>
                      <a:cubicBezTo>
                        <a:pt x="151" y="41"/>
                        <a:pt x="154" y="38"/>
                        <a:pt x="159" y="38"/>
                      </a:cubicBezTo>
                      <a:cubicBezTo>
                        <a:pt x="162" y="38"/>
                        <a:pt x="165" y="39"/>
                        <a:pt x="168" y="37"/>
                      </a:cubicBezTo>
                      <a:cubicBezTo>
                        <a:pt x="165" y="35"/>
                        <a:pt x="166" y="35"/>
                        <a:pt x="164" y="33"/>
                      </a:cubicBezTo>
                      <a:cubicBezTo>
                        <a:pt x="169" y="29"/>
                        <a:pt x="176" y="29"/>
                        <a:pt x="183" y="28"/>
                      </a:cubicBezTo>
                      <a:cubicBezTo>
                        <a:pt x="183" y="33"/>
                        <a:pt x="183" y="33"/>
                        <a:pt x="183" y="33"/>
                      </a:cubicBezTo>
                      <a:cubicBezTo>
                        <a:pt x="189" y="32"/>
                        <a:pt x="190" y="22"/>
                        <a:pt x="199" y="21"/>
                      </a:cubicBezTo>
                      <a:cubicBezTo>
                        <a:pt x="199" y="29"/>
                        <a:pt x="199" y="29"/>
                        <a:pt x="199" y="29"/>
                      </a:cubicBezTo>
                      <a:cubicBezTo>
                        <a:pt x="205" y="18"/>
                        <a:pt x="213" y="21"/>
                        <a:pt x="221" y="17"/>
                      </a:cubicBezTo>
                      <a:cubicBezTo>
                        <a:pt x="217" y="15"/>
                        <a:pt x="214" y="14"/>
                        <a:pt x="214" y="11"/>
                      </a:cubicBezTo>
                      <a:cubicBezTo>
                        <a:pt x="214" y="9"/>
                        <a:pt x="222" y="7"/>
                        <a:pt x="223" y="5"/>
                      </a:cubicBezTo>
                      <a:cubicBezTo>
                        <a:pt x="226" y="8"/>
                        <a:pt x="228" y="11"/>
                        <a:pt x="232" y="11"/>
                      </a:cubicBezTo>
                      <a:cubicBezTo>
                        <a:pt x="239" y="11"/>
                        <a:pt x="256" y="0"/>
                        <a:pt x="256" y="6"/>
                      </a:cubicBezTo>
                      <a:cubicBezTo>
                        <a:pt x="256" y="12"/>
                        <a:pt x="248" y="14"/>
                        <a:pt x="247" y="20"/>
                      </a:cubicBezTo>
                      <a:cubicBezTo>
                        <a:pt x="255" y="21"/>
                        <a:pt x="258" y="11"/>
                        <a:pt x="266" y="7"/>
                      </a:cubicBezTo>
                      <a:cubicBezTo>
                        <a:pt x="267" y="10"/>
                        <a:pt x="267" y="12"/>
                        <a:pt x="268" y="15"/>
                      </a:cubicBezTo>
                      <a:cubicBezTo>
                        <a:pt x="274" y="9"/>
                        <a:pt x="277" y="7"/>
                        <a:pt x="285" y="2"/>
                      </a:cubicBezTo>
                      <a:cubicBezTo>
                        <a:pt x="285" y="8"/>
                        <a:pt x="284" y="12"/>
                        <a:pt x="289" y="13"/>
                      </a:cubicBezTo>
                      <a:cubicBezTo>
                        <a:pt x="290" y="9"/>
                        <a:pt x="292" y="6"/>
                        <a:pt x="296" y="6"/>
                      </a:cubicBezTo>
                      <a:cubicBezTo>
                        <a:pt x="298" y="6"/>
                        <a:pt x="307" y="11"/>
                        <a:pt x="311" y="13"/>
                      </a:cubicBezTo>
                      <a:cubicBezTo>
                        <a:pt x="307" y="24"/>
                        <a:pt x="303" y="20"/>
                        <a:pt x="293" y="24"/>
                      </a:cubicBezTo>
                      <a:cubicBezTo>
                        <a:pt x="298" y="27"/>
                        <a:pt x="301" y="28"/>
                        <a:pt x="301" y="30"/>
                      </a:cubicBezTo>
                      <a:cubicBezTo>
                        <a:pt x="305" y="31"/>
                        <a:pt x="314" y="32"/>
                        <a:pt x="315" y="32"/>
                      </a:cubicBezTo>
                      <a:cubicBezTo>
                        <a:pt x="309" y="36"/>
                        <a:pt x="293" y="44"/>
                        <a:pt x="293" y="55"/>
                      </a:cubicBezTo>
                      <a:cubicBezTo>
                        <a:pt x="293" y="63"/>
                        <a:pt x="309" y="62"/>
                        <a:pt x="309" y="72"/>
                      </a:cubicBezTo>
                      <a:cubicBezTo>
                        <a:pt x="309" y="80"/>
                        <a:pt x="301" y="83"/>
                        <a:pt x="301" y="91"/>
                      </a:cubicBezTo>
                      <a:cubicBezTo>
                        <a:pt x="301" y="99"/>
                        <a:pt x="310" y="104"/>
                        <a:pt x="310" y="113"/>
                      </a:cubicBezTo>
                      <a:cubicBezTo>
                        <a:pt x="310" y="118"/>
                        <a:pt x="305" y="121"/>
                        <a:pt x="305" y="126"/>
                      </a:cubicBezTo>
                      <a:cubicBezTo>
                        <a:pt x="305" y="136"/>
                        <a:pt x="318" y="138"/>
                        <a:pt x="318" y="148"/>
                      </a:cubicBezTo>
                      <a:cubicBezTo>
                        <a:pt x="318" y="151"/>
                        <a:pt x="314" y="153"/>
                        <a:pt x="313" y="154"/>
                      </a:cubicBezTo>
                      <a:cubicBezTo>
                        <a:pt x="317" y="161"/>
                        <a:pt x="327" y="163"/>
                        <a:pt x="327" y="172"/>
                      </a:cubicBezTo>
                      <a:cubicBezTo>
                        <a:pt x="327" y="187"/>
                        <a:pt x="297" y="203"/>
                        <a:pt x="288" y="215"/>
                      </a:cubicBezTo>
                      <a:cubicBezTo>
                        <a:pt x="283" y="224"/>
                        <a:pt x="263" y="226"/>
                        <a:pt x="255" y="224"/>
                      </a:cubicBezTo>
                      <a:cubicBezTo>
                        <a:pt x="246" y="227"/>
                        <a:pt x="236" y="231"/>
                        <a:pt x="228" y="231"/>
                      </a:cubicBezTo>
                      <a:cubicBezTo>
                        <a:pt x="222" y="231"/>
                        <a:pt x="218" y="230"/>
                        <a:pt x="218" y="225"/>
                      </a:cubicBezTo>
                      <a:cubicBezTo>
                        <a:pt x="209" y="225"/>
                        <a:pt x="199" y="219"/>
                        <a:pt x="199" y="210"/>
                      </a:cubicBezTo>
                      <a:cubicBezTo>
                        <a:pt x="199" y="205"/>
                        <a:pt x="204" y="202"/>
                        <a:pt x="206" y="200"/>
                      </a:cubicBezTo>
                      <a:cubicBezTo>
                        <a:pt x="201" y="198"/>
                        <a:pt x="197" y="188"/>
                        <a:pt x="197" y="183"/>
                      </a:cubicBezTo>
                      <a:cubicBezTo>
                        <a:pt x="197" y="180"/>
                        <a:pt x="198" y="178"/>
                        <a:pt x="197" y="174"/>
                      </a:cubicBezTo>
                      <a:cubicBezTo>
                        <a:pt x="216" y="174"/>
                        <a:pt x="225" y="150"/>
                        <a:pt x="237" y="144"/>
                      </a:cubicBezTo>
                      <a:cubicBezTo>
                        <a:pt x="243" y="140"/>
                        <a:pt x="254" y="138"/>
                        <a:pt x="254" y="130"/>
                      </a:cubicBezTo>
                      <a:cubicBezTo>
                        <a:pt x="254" y="119"/>
                        <a:pt x="239" y="117"/>
                        <a:pt x="228" y="117"/>
                      </a:cubicBezTo>
                      <a:cubicBezTo>
                        <a:pt x="213" y="117"/>
                        <a:pt x="202" y="122"/>
                        <a:pt x="202" y="135"/>
                      </a:cubicBezTo>
                      <a:cubicBezTo>
                        <a:pt x="202" y="140"/>
                        <a:pt x="203" y="142"/>
                        <a:pt x="202" y="145"/>
                      </a:cubicBezTo>
                      <a:cubicBezTo>
                        <a:pt x="202" y="155"/>
                        <a:pt x="181" y="164"/>
                        <a:pt x="172" y="169"/>
                      </a:cubicBezTo>
                      <a:cubicBezTo>
                        <a:pt x="165" y="174"/>
                        <a:pt x="157" y="175"/>
                        <a:pt x="152" y="183"/>
                      </a:cubicBezTo>
                      <a:cubicBezTo>
                        <a:pt x="149" y="189"/>
                        <a:pt x="153" y="198"/>
                        <a:pt x="146" y="201"/>
                      </a:cubicBezTo>
                      <a:cubicBezTo>
                        <a:pt x="146" y="210"/>
                        <a:pt x="146" y="210"/>
                        <a:pt x="146" y="210"/>
                      </a:cubicBezTo>
                      <a:cubicBezTo>
                        <a:pt x="149" y="212"/>
                        <a:pt x="150" y="215"/>
                        <a:pt x="150" y="218"/>
                      </a:cubicBezTo>
                      <a:cubicBezTo>
                        <a:pt x="158" y="219"/>
                        <a:pt x="170" y="227"/>
                        <a:pt x="170" y="235"/>
                      </a:cubicBezTo>
                      <a:cubicBezTo>
                        <a:pt x="170" y="242"/>
                        <a:pt x="157" y="253"/>
                        <a:pt x="152" y="253"/>
                      </a:cubicBezTo>
                      <a:cubicBezTo>
                        <a:pt x="143" y="253"/>
                        <a:pt x="140" y="266"/>
                        <a:pt x="140" y="275"/>
                      </a:cubicBezTo>
                      <a:cubicBezTo>
                        <a:pt x="140" y="280"/>
                        <a:pt x="144" y="282"/>
                        <a:pt x="146" y="283"/>
                      </a:cubicBezTo>
                      <a:cubicBezTo>
                        <a:pt x="145" y="294"/>
                        <a:pt x="135" y="295"/>
                        <a:pt x="133" y="304"/>
                      </a:cubicBezTo>
                      <a:cubicBezTo>
                        <a:pt x="127" y="304"/>
                        <a:pt x="125" y="304"/>
                        <a:pt x="121" y="304"/>
                      </a:cubicBezTo>
                      <a:cubicBezTo>
                        <a:pt x="114" y="304"/>
                        <a:pt x="111" y="318"/>
                        <a:pt x="100" y="318"/>
                      </a:cubicBezTo>
                      <a:cubicBezTo>
                        <a:pt x="97" y="318"/>
                        <a:pt x="90" y="299"/>
                        <a:pt x="90" y="297"/>
                      </a:cubicBezTo>
                      <a:cubicBezTo>
                        <a:pt x="90" y="296"/>
                        <a:pt x="91" y="294"/>
                        <a:pt x="91" y="293"/>
                      </a:cubicBezTo>
                      <a:cubicBezTo>
                        <a:pt x="84" y="285"/>
                        <a:pt x="85" y="279"/>
                        <a:pt x="82" y="269"/>
                      </a:cubicBezTo>
                      <a:cubicBezTo>
                        <a:pt x="79" y="263"/>
                        <a:pt x="73" y="261"/>
                        <a:pt x="73" y="253"/>
                      </a:cubicBezTo>
                      <a:cubicBezTo>
                        <a:pt x="73" y="250"/>
                        <a:pt x="75" y="246"/>
                        <a:pt x="76" y="245"/>
                      </a:cubicBezTo>
                      <a:lnTo>
                        <a:pt x="76" y="2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07" name="Freeform 26"/>
                <p:cNvSpPr>
                  <a:spLocks/>
                </p:cNvSpPr>
                <p:nvPr/>
              </p:nvSpPr>
              <p:spPr bwMode="auto">
                <a:xfrm>
                  <a:off x="4559300" y="1109663"/>
                  <a:ext cx="234950" cy="128588"/>
                </a:xfrm>
                <a:custGeom>
                  <a:avLst/>
                  <a:gdLst/>
                  <a:ahLst/>
                  <a:cxnLst>
                    <a:cxn ang="0">
                      <a:pos x="148" y="79"/>
                    </a:cxn>
                    <a:cxn ang="0">
                      <a:pos x="148" y="71"/>
                    </a:cxn>
                    <a:cxn ang="0">
                      <a:pos x="128" y="71"/>
                    </a:cxn>
                    <a:cxn ang="0">
                      <a:pos x="135" y="58"/>
                    </a:cxn>
                    <a:cxn ang="0">
                      <a:pos x="126" y="46"/>
                    </a:cxn>
                    <a:cxn ang="0">
                      <a:pos x="132" y="45"/>
                    </a:cxn>
                    <a:cxn ang="0">
                      <a:pos x="121" y="38"/>
                    </a:cxn>
                    <a:cxn ang="0">
                      <a:pos x="97" y="69"/>
                    </a:cxn>
                    <a:cxn ang="0">
                      <a:pos x="90" y="73"/>
                    </a:cxn>
                    <a:cxn ang="0">
                      <a:pos x="78" y="97"/>
                    </a:cxn>
                    <a:cxn ang="0">
                      <a:pos x="43" y="69"/>
                    </a:cxn>
                    <a:cxn ang="0">
                      <a:pos x="60" y="70"/>
                    </a:cxn>
                    <a:cxn ang="0">
                      <a:pos x="74" y="66"/>
                    </a:cxn>
                    <a:cxn ang="0">
                      <a:pos x="54" y="64"/>
                    </a:cxn>
                    <a:cxn ang="0">
                      <a:pos x="38" y="58"/>
                    </a:cxn>
                    <a:cxn ang="0">
                      <a:pos x="50" y="54"/>
                    </a:cxn>
                    <a:cxn ang="0">
                      <a:pos x="72" y="43"/>
                    </a:cxn>
                    <a:cxn ang="0">
                      <a:pos x="61" y="43"/>
                    </a:cxn>
                    <a:cxn ang="0">
                      <a:pos x="54" y="39"/>
                    </a:cxn>
                    <a:cxn ang="0">
                      <a:pos x="51" y="39"/>
                    </a:cxn>
                    <a:cxn ang="0">
                      <a:pos x="38" y="51"/>
                    </a:cxn>
                    <a:cxn ang="0">
                      <a:pos x="23" y="44"/>
                    </a:cxn>
                    <a:cxn ang="0">
                      <a:pos x="27" y="43"/>
                    </a:cxn>
                    <a:cxn ang="0">
                      <a:pos x="15" y="28"/>
                    </a:cxn>
                    <a:cxn ang="0">
                      <a:pos x="11" y="26"/>
                    </a:cxn>
                    <a:cxn ang="0">
                      <a:pos x="0" y="16"/>
                    </a:cxn>
                    <a:cxn ang="0">
                      <a:pos x="16" y="5"/>
                    </a:cxn>
                    <a:cxn ang="0">
                      <a:pos x="38" y="7"/>
                    </a:cxn>
                    <a:cxn ang="0">
                      <a:pos x="32" y="13"/>
                    </a:cxn>
                    <a:cxn ang="0">
                      <a:pos x="44" y="20"/>
                    </a:cxn>
                    <a:cxn ang="0">
                      <a:pos x="41" y="14"/>
                    </a:cxn>
                    <a:cxn ang="0">
                      <a:pos x="49" y="7"/>
                    </a:cxn>
                    <a:cxn ang="0">
                      <a:pos x="68" y="26"/>
                    </a:cxn>
                    <a:cxn ang="0">
                      <a:pos x="63" y="7"/>
                    </a:cxn>
                    <a:cxn ang="0">
                      <a:pos x="72" y="0"/>
                    </a:cxn>
                    <a:cxn ang="0">
                      <a:pos x="90" y="9"/>
                    </a:cxn>
                    <a:cxn ang="0">
                      <a:pos x="88" y="18"/>
                    </a:cxn>
                    <a:cxn ang="0">
                      <a:pos x="96" y="12"/>
                    </a:cxn>
                    <a:cxn ang="0">
                      <a:pos x="102" y="23"/>
                    </a:cxn>
                    <a:cxn ang="0">
                      <a:pos x="106" y="23"/>
                    </a:cxn>
                    <a:cxn ang="0">
                      <a:pos x="141" y="41"/>
                    </a:cxn>
                    <a:cxn ang="0">
                      <a:pos x="137" y="42"/>
                    </a:cxn>
                    <a:cxn ang="0">
                      <a:pos x="145" y="42"/>
                    </a:cxn>
                    <a:cxn ang="0">
                      <a:pos x="145" y="49"/>
                    </a:cxn>
                    <a:cxn ang="0">
                      <a:pos x="159" y="49"/>
                    </a:cxn>
                    <a:cxn ang="0">
                      <a:pos x="176" y="64"/>
                    </a:cxn>
                    <a:cxn ang="0">
                      <a:pos x="148" y="79"/>
                    </a:cxn>
                  </a:cxnLst>
                  <a:rect l="0" t="0" r="r" b="b"/>
                  <a:pathLst>
                    <a:path w="176" h="97">
                      <a:moveTo>
                        <a:pt x="148" y="79"/>
                      </a:moveTo>
                      <a:cubicBezTo>
                        <a:pt x="147" y="76"/>
                        <a:pt x="147" y="74"/>
                        <a:pt x="148" y="71"/>
                      </a:cubicBezTo>
                      <a:cubicBezTo>
                        <a:pt x="143" y="71"/>
                        <a:pt x="134" y="71"/>
                        <a:pt x="128" y="71"/>
                      </a:cubicBezTo>
                      <a:cubicBezTo>
                        <a:pt x="129" y="63"/>
                        <a:pt x="134" y="65"/>
                        <a:pt x="135" y="58"/>
                      </a:cubicBezTo>
                      <a:cubicBezTo>
                        <a:pt x="132" y="57"/>
                        <a:pt x="128" y="49"/>
                        <a:pt x="126" y="46"/>
                      </a:cubicBezTo>
                      <a:cubicBezTo>
                        <a:pt x="128" y="45"/>
                        <a:pt x="130" y="45"/>
                        <a:pt x="132" y="45"/>
                      </a:cubicBezTo>
                      <a:cubicBezTo>
                        <a:pt x="125" y="44"/>
                        <a:pt x="121" y="38"/>
                        <a:pt x="121" y="38"/>
                      </a:cubicBezTo>
                      <a:cubicBezTo>
                        <a:pt x="106" y="38"/>
                        <a:pt x="102" y="58"/>
                        <a:pt x="97" y="69"/>
                      </a:cubicBezTo>
                      <a:cubicBezTo>
                        <a:pt x="96" y="72"/>
                        <a:pt x="93" y="71"/>
                        <a:pt x="90" y="73"/>
                      </a:cubicBezTo>
                      <a:cubicBezTo>
                        <a:pt x="83" y="79"/>
                        <a:pt x="84" y="91"/>
                        <a:pt x="78" y="97"/>
                      </a:cubicBezTo>
                      <a:cubicBezTo>
                        <a:pt x="67" y="90"/>
                        <a:pt x="43" y="84"/>
                        <a:pt x="43" y="69"/>
                      </a:cubicBezTo>
                      <a:cubicBezTo>
                        <a:pt x="49" y="68"/>
                        <a:pt x="60" y="70"/>
                        <a:pt x="60" y="70"/>
                      </a:cubicBezTo>
                      <a:cubicBezTo>
                        <a:pt x="64" y="66"/>
                        <a:pt x="69" y="67"/>
                        <a:pt x="74" y="66"/>
                      </a:cubicBezTo>
                      <a:cubicBezTo>
                        <a:pt x="72" y="64"/>
                        <a:pt x="57" y="64"/>
                        <a:pt x="54" y="64"/>
                      </a:cubicBezTo>
                      <a:cubicBezTo>
                        <a:pt x="49" y="64"/>
                        <a:pt x="38" y="69"/>
                        <a:pt x="38" y="58"/>
                      </a:cubicBezTo>
                      <a:cubicBezTo>
                        <a:pt x="38" y="54"/>
                        <a:pt x="48" y="54"/>
                        <a:pt x="50" y="54"/>
                      </a:cubicBezTo>
                      <a:cubicBezTo>
                        <a:pt x="56" y="52"/>
                        <a:pt x="68" y="47"/>
                        <a:pt x="72" y="43"/>
                      </a:cubicBezTo>
                      <a:cubicBezTo>
                        <a:pt x="66" y="43"/>
                        <a:pt x="63" y="43"/>
                        <a:pt x="61" y="43"/>
                      </a:cubicBezTo>
                      <a:cubicBezTo>
                        <a:pt x="60" y="43"/>
                        <a:pt x="56" y="40"/>
                        <a:pt x="54" y="39"/>
                      </a:cubicBezTo>
                      <a:cubicBezTo>
                        <a:pt x="53" y="39"/>
                        <a:pt x="52" y="39"/>
                        <a:pt x="51" y="39"/>
                      </a:cubicBezTo>
                      <a:cubicBezTo>
                        <a:pt x="47" y="41"/>
                        <a:pt x="47" y="51"/>
                        <a:pt x="38" y="51"/>
                      </a:cubicBezTo>
                      <a:cubicBezTo>
                        <a:pt x="31" y="51"/>
                        <a:pt x="26" y="48"/>
                        <a:pt x="23" y="44"/>
                      </a:cubicBezTo>
                      <a:cubicBezTo>
                        <a:pt x="25" y="43"/>
                        <a:pt x="26" y="43"/>
                        <a:pt x="27" y="43"/>
                      </a:cubicBezTo>
                      <a:cubicBezTo>
                        <a:pt x="19" y="39"/>
                        <a:pt x="13" y="35"/>
                        <a:pt x="15" y="28"/>
                      </a:cubicBezTo>
                      <a:cubicBezTo>
                        <a:pt x="13" y="28"/>
                        <a:pt x="12" y="26"/>
                        <a:pt x="11" y="26"/>
                      </a:cubicBezTo>
                      <a:cubicBezTo>
                        <a:pt x="8" y="26"/>
                        <a:pt x="3" y="19"/>
                        <a:pt x="0" y="16"/>
                      </a:cubicBezTo>
                      <a:cubicBezTo>
                        <a:pt x="2" y="14"/>
                        <a:pt x="11" y="5"/>
                        <a:pt x="16" y="5"/>
                      </a:cubicBezTo>
                      <a:cubicBezTo>
                        <a:pt x="23" y="5"/>
                        <a:pt x="27" y="5"/>
                        <a:pt x="38" y="7"/>
                      </a:cubicBezTo>
                      <a:cubicBezTo>
                        <a:pt x="35" y="10"/>
                        <a:pt x="34" y="11"/>
                        <a:pt x="32" y="13"/>
                      </a:cubicBezTo>
                      <a:cubicBezTo>
                        <a:pt x="37" y="17"/>
                        <a:pt x="41" y="17"/>
                        <a:pt x="44" y="20"/>
                      </a:cubicBezTo>
                      <a:cubicBezTo>
                        <a:pt x="42" y="19"/>
                        <a:pt x="41" y="17"/>
                        <a:pt x="41" y="14"/>
                      </a:cubicBezTo>
                      <a:cubicBezTo>
                        <a:pt x="41" y="10"/>
                        <a:pt x="45" y="7"/>
                        <a:pt x="49" y="7"/>
                      </a:cubicBezTo>
                      <a:cubicBezTo>
                        <a:pt x="60" y="7"/>
                        <a:pt x="57" y="22"/>
                        <a:pt x="68" y="26"/>
                      </a:cubicBezTo>
                      <a:cubicBezTo>
                        <a:pt x="66" y="19"/>
                        <a:pt x="63" y="15"/>
                        <a:pt x="63" y="7"/>
                      </a:cubicBezTo>
                      <a:cubicBezTo>
                        <a:pt x="63" y="0"/>
                        <a:pt x="66" y="0"/>
                        <a:pt x="72" y="0"/>
                      </a:cubicBezTo>
                      <a:cubicBezTo>
                        <a:pt x="78" y="0"/>
                        <a:pt x="90" y="4"/>
                        <a:pt x="90" y="9"/>
                      </a:cubicBezTo>
                      <a:cubicBezTo>
                        <a:pt x="90" y="12"/>
                        <a:pt x="88" y="15"/>
                        <a:pt x="88" y="18"/>
                      </a:cubicBezTo>
                      <a:cubicBezTo>
                        <a:pt x="92" y="16"/>
                        <a:pt x="93" y="12"/>
                        <a:pt x="96" y="12"/>
                      </a:cubicBezTo>
                      <a:cubicBezTo>
                        <a:pt x="103" y="12"/>
                        <a:pt x="102" y="19"/>
                        <a:pt x="102" y="23"/>
                      </a:cubicBezTo>
                      <a:cubicBezTo>
                        <a:pt x="103" y="23"/>
                        <a:pt x="105" y="23"/>
                        <a:pt x="106" y="23"/>
                      </a:cubicBezTo>
                      <a:cubicBezTo>
                        <a:pt x="113" y="23"/>
                        <a:pt x="137" y="36"/>
                        <a:pt x="141" y="41"/>
                      </a:cubicBezTo>
                      <a:cubicBezTo>
                        <a:pt x="140" y="42"/>
                        <a:pt x="138" y="42"/>
                        <a:pt x="137" y="42"/>
                      </a:cubicBezTo>
                      <a:cubicBezTo>
                        <a:pt x="140" y="43"/>
                        <a:pt x="142" y="42"/>
                        <a:pt x="145" y="42"/>
                      </a:cubicBezTo>
                      <a:cubicBezTo>
                        <a:pt x="146" y="44"/>
                        <a:pt x="146" y="47"/>
                        <a:pt x="145" y="49"/>
                      </a:cubicBezTo>
                      <a:cubicBezTo>
                        <a:pt x="151" y="49"/>
                        <a:pt x="154" y="49"/>
                        <a:pt x="159" y="49"/>
                      </a:cubicBezTo>
                      <a:cubicBezTo>
                        <a:pt x="159" y="62"/>
                        <a:pt x="172" y="59"/>
                        <a:pt x="176" y="64"/>
                      </a:cubicBezTo>
                      <a:cubicBezTo>
                        <a:pt x="164" y="68"/>
                        <a:pt x="159" y="76"/>
                        <a:pt x="148" y="7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08" name="Freeform 27"/>
                <p:cNvSpPr>
                  <a:spLocks/>
                </p:cNvSpPr>
                <p:nvPr/>
              </p:nvSpPr>
              <p:spPr bwMode="auto">
                <a:xfrm>
                  <a:off x="4683125" y="1089025"/>
                  <a:ext cx="150813" cy="55563"/>
                </a:xfrm>
                <a:custGeom>
                  <a:avLst/>
                  <a:gdLst/>
                  <a:ahLst/>
                  <a:cxnLst>
                    <a:cxn ang="0">
                      <a:pos x="114" y="19"/>
                    </a:cxn>
                    <a:cxn ang="0">
                      <a:pos x="69" y="41"/>
                    </a:cxn>
                    <a:cxn ang="0">
                      <a:pos x="54" y="34"/>
                    </a:cxn>
                    <a:cxn ang="0">
                      <a:pos x="28" y="34"/>
                    </a:cxn>
                    <a:cxn ang="0">
                      <a:pos x="23" y="26"/>
                    </a:cxn>
                    <a:cxn ang="0">
                      <a:pos x="32" y="26"/>
                    </a:cxn>
                    <a:cxn ang="0">
                      <a:pos x="43" y="24"/>
                    </a:cxn>
                    <a:cxn ang="0">
                      <a:pos x="22" y="23"/>
                    </a:cxn>
                    <a:cxn ang="0">
                      <a:pos x="6" y="18"/>
                    </a:cxn>
                    <a:cxn ang="0">
                      <a:pos x="0" y="7"/>
                    </a:cxn>
                    <a:cxn ang="0">
                      <a:pos x="6" y="7"/>
                    </a:cxn>
                    <a:cxn ang="0">
                      <a:pos x="15" y="8"/>
                    </a:cxn>
                    <a:cxn ang="0">
                      <a:pos x="15" y="6"/>
                    </a:cxn>
                    <a:cxn ang="0">
                      <a:pos x="23" y="6"/>
                    </a:cxn>
                    <a:cxn ang="0">
                      <a:pos x="21" y="2"/>
                    </a:cxn>
                    <a:cxn ang="0">
                      <a:pos x="33" y="2"/>
                    </a:cxn>
                    <a:cxn ang="0">
                      <a:pos x="51" y="11"/>
                    </a:cxn>
                    <a:cxn ang="0">
                      <a:pos x="62" y="0"/>
                    </a:cxn>
                    <a:cxn ang="0">
                      <a:pos x="67" y="0"/>
                    </a:cxn>
                    <a:cxn ang="0">
                      <a:pos x="67" y="12"/>
                    </a:cxn>
                    <a:cxn ang="0">
                      <a:pos x="80" y="7"/>
                    </a:cxn>
                    <a:cxn ang="0">
                      <a:pos x="95" y="7"/>
                    </a:cxn>
                    <a:cxn ang="0">
                      <a:pos x="114" y="19"/>
                    </a:cxn>
                  </a:cxnLst>
                  <a:rect l="0" t="0" r="r" b="b"/>
                  <a:pathLst>
                    <a:path w="114" h="41">
                      <a:moveTo>
                        <a:pt x="114" y="19"/>
                      </a:moveTo>
                      <a:cubicBezTo>
                        <a:pt x="104" y="26"/>
                        <a:pt x="82" y="41"/>
                        <a:pt x="69" y="41"/>
                      </a:cubicBezTo>
                      <a:cubicBezTo>
                        <a:pt x="61" y="41"/>
                        <a:pt x="57" y="39"/>
                        <a:pt x="54" y="34"/>
                      </a:cubicBezTo>
                      <a:cubicBezTo>
                        <a:pt x="28" y="34"/>
                        <a:pt x="28" y="34"/>
                        <a:pt x="28" y="34"/>
                      </a:cubicBezTo>
                      <a:cubicBezTo>
                        <a:pt x="25" y="32"/>
                        <a:pt x="23" y="30"/>
                        <a:pt x="23" y="26"/>
                      </a:cubicBezTo>
                      <a:cubicBezTo>
                        <a:pt x="26" y="26"/>
                        <a:pt x="31" y="26"/>
                        <a:pt x="32" y="26"/>
                      </a:cubicBezTo>
                      <a:cubicBezTo>
                        <a:pt x="36" y="25"/>
                        <a:pt x="40" y="25"/>
                        <a:pt x="43" y="24"/>
                      </a:cubicBezTo>
                      <a:cubicBezTo>
                        <a:pt x="41" y="24"/>
                        <a:pt x="23" y="23"/>
                        <a:pt x="22" y="23"/>
                      </a:cubicBezTo>
                      <a:cubicBezTo>
                        <a:pt x="14" y="23"/>
                        <a:pt x="6" y="28"/>
                        <a:pt x="6" y="18"/>
                      </a:cubicBezTo>
                      <a:cubicBezTo>
                        <a:pt x="3" y="15"/>
                        <a:pt x="0" y="12"/>
                        <a:pt x="0" y="7"/>
                      </a:cubicBezTo>
                      <a:cubicBezTo>
                        <a:pt x="6" y="7"/>
                        <a:pt x="6" y="7"/>
                        <a:pt x="6" y="7"/>
                      </a:cubicBezTo>
                      <a:cubicBezTo>
                        <a:pt x="9" y="9"/>
                        <a:pt x="13" y="10"/>
                        <a:pt x="15" y="8"/>
                      </a:cubicBezTo>
                      <a:cubicBezTo>
                        <a:pt x="15" y="6"/>
                        <a:pt x="15" y="6"/>
                        <a:pt x="15" y="6"/>
                      </a:cubicBezTo>
                      <a:cubicBezTo>
                        <a:pt x="23" y="6"/>
                        <a:pt x="23" y="6"/>
                        <a:pt x="23" y="6"/>
                      </a:cubicBezTo>
                      <a:cubicBezTo>
                        <a:pt x="21" y="2"/>
                        <a:pt x="21" y="2"/>
                        <a:pt x="21" y="2"/>
                      </a:cubicBezTo>
                      <a:cubicBezTo>
                        <a:pt x="33" y="2"/>
                        <a:pt x="33" y="2"/>
                        <a:pt x="33" y="2"/>
                      </a:cubicBezTo>
                      <a:cubicBezTo>
                        <a:pt x="36" y="4"/>
                        <a:pt x="48" y="11"/>
                        <a:pt x="51" y="11"/>
                      </a:cubicBezTo>
                      <a:cubicBezTo>
                        <a:pt x="56" y="11"/>
                        <a:pt x="59" y="2"/>
                        <a:pt x="62" y="0"/>
                      </a:cubicBezTo>
                      <a:cubicBezTo>
                        <a:pt x="67" y="0"/>
                        <a:pt x="67" y="0"/>
                        <a:pt x="67" y="0"/>
                      </a:cubicBezTo>
                      <a:cubicBezTo>
                        <a:pt x="67" y="6"/>
                        <a:pt x="66" y="8"/>
                        <a:pt x="67" y="12"/>
                      </a:cubicBezTo>
                      <a:cubicBezTo>
                        <a:pt x="71" y="12"/>
                        <a:pt x="73" y="7"/>
                        <a:pt x="80" y="7"/>
                      </a:cubicBezTo>
                      <a:cubicBezTo>
                        <a:pt x="91" y="7"/>
                        <a:pt x="88" y="7"/>
                        <a:pt x="95" y="7"/>
                      </a:cubicBezTo>
                      <a:cubicBezTo>
                        <a:pt x="103" y="7"/>
                        <a:pt x="112" y="14"/>
                        <a:pt x="11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09" name="Freeform 28"/>
                <p:cNvSpPr>
                  <a:spLocks/>
                </p:cNvSpPr>
                <p:nvPr/>
              </p:nvSpPr>
              <p:spPr bwMode="auto">
                <a:xfrm>
                  <a:off x="4219575" y="1841500"/>
                  <a:ext cx="73025" cy="87313"/>
                </a:xfrm>
                <a:custGeom>
                  <a:avLst/>
                  <a:gdLst/>
                  <a:ahLst/>
                  <a:cxnLst>
                    <a:cxn ang="0">
                      <a:pos x="9" y="19"/>
                    </a:cxn>
                    <a:cxn ang="0">
                      <a:pos x="22" y="14"/>
                    </a:cxn>
                    <a:cxn ang="0">
                      <a:pos x="19" y="8"/>
                    </a:cxn>
                    <a:cxn ang="0">
                      <a:pos x="32" y="0"/>
                    </a:cxn>
                    <a:cxn ang="0">
                      <a:pos x="40" y="0"/>
                    </a:cxn>
                    <a:cxn ang="0">
                      <a:pos x="55" y="18"/>
                    </a:cxn>
                    <a:cxn ang="0">
                      <a:pos x="47" y="24"/>
                    </a:cxn>
                    <a:cxn ang="0">
                      <a:pos x="47" y="39"/>
                    </a:cxn>
                    <a:cxn ang="0">
                      <a:pos x="47" y="52"/>
                    </a:cxn>
                    <a:cxn ang="0">
                      <a:pos x="35" y="54"/>
                    </a:cxn>
                    <a:cxn ang="0">
                      <a:pos x="19" y="64"/>
                    </a:cxn>
                    <a:cxn ang="0">
                      <a:pos x="11" y="65"/>
                    </a:cxn>
                    <a:cxn ang="0">
                      <a:pos x="0" y="55"/>
                    </a:cxn>
                    <a:cxn ang="0">
                      <a:pos x="13" y="33"/>
                    </a:cxn>
                    <a:cxn ang="0">
                      <a:pos x="4" y="23"/>
                    </a:cxn>
                    <a:cxn ang="0">
                      <a:pos x="9" y="19"/>
                    </a:cxn>
                  </a:cxnLst>
                  <a:rect l="0" t="0" r="r" b="b"/>
                  <a:pathLst>
                    <a:path w="55" h="65">
                      <a:moveTo>
                        <a:pt x="9" y="19"/>
                      </a:moveTo>
                      <a:cubicBezTo>
                        <a:pt x="12" y="19"/>
                        <a:pt x="19" y="16"/>
                        <a:pt x="22" y="14"/>
                      </a:cubicBezTo>
                      <a:cubicBezTo>
                        <a:pt x="20" y="11"/>
                        <a:pt x="19" y="10"/>
                        <a:pt x="19" y="8"/>
                      </a:cubicBezTo>
                      <a:cubicBezTo>
                        <a:pt x="19" y="5"/>
                        <a:pt x="28" y="0"/>
                        <a:pt x="32" y="0"/>
                      </a:cubicBezTo>
                      <a:cubicBezTo>
                        <a:pt x="35" y="0"/>
                        <a:pt x="37" y="0"/>
                        <a:pt x="40" y="0"/>
                      </a:cubicBezTo>
                      <a:cubicBezTo>
                        <a:pt x="50" y="0"/>
                        <a:pt x="55" y="10"/>
                        <a:pt x="55" y="18"/>
                      </a:cubicBezTo>
                      <a:cubicBezTo>
                        <a:pt x="55" y="21"/>
                        <a:pt x="47" y="21"/>
                        <a:pt x="47" y="24"/>
                      </a:cubicBezTo>
                      <a:cubicBezTo>
                        <a:pt x="47" y="27"/>
                        <a:pt x="47" y="39"/>
                        <a:pt x="47" y="39"/>
                      </a:cubicBezTo>
                      <a:cubicBezTo>
                        <a:pt x="47" y="43"/>
                        <a:pt x="50" y="48"/>
                        <a:pt x="47" y="52"/>
                      </a:cubicBezTo>
                      <a:cubicBezTo>
                        <a:pt x="44" y="54"/>
                        <a:pt x="40" y="54"/>
                        <a:pt x="35" y="54"/>
                      </a:cubicBezTo>
                      <a:cubicBezTo>
                        <a:pt x="28" y="54"/>
                        <a:pt x="23" y="61"/>
                        <a:pt x="19" y="64"/>
                      </a:cubicBezTo>
                      <a:cubicBezTo>
                        <a:pt x="17" y="65"/>
                        <a:pt x="13" y="65"/>
                        <a:pt x="11" y="65"/>
                      </a:cubicBezTo>
                      <a:cubicBezTo>
                        <a:pt x="6" y="65"/>
                        <a:pt x="0" y="60"/>
                        <a:pt x="0" y="55"/>
                      </a:cubicBezTo>
                      <a:cubicBezTo>
                        <a:pt x="0" y="44"/>
                        <a:pt x="11" y="43"/>
                        <a:pt x="13" y="33"/>
                      </a:cubicBezTo>
                      <a:cubicBezTo>
                        <a:pt x="8" y="30"/>
                        <a:pt x="4" y="28"/>
                        <a:pt x="4" y="23"/>
                      </a:cubicBezTo>
                      <a:cubicBezTo>
                        <a:pt x="4" y="18"/>
                        <a:pt x="8" y="19"/>
                        <a:pt x="9"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10" name="Freeform 29"/>
                <p:cNvSpPr>
                  <a:spLocks/>
                </p:cNvSpPr>
                <p:nvPr/>
              </p:nvSpPr>
              <p:spPr bwMode="auto">
                <a:xfrm>
                  <a:off x="4276725" y="1758950"/>
                  <a:ext cx="139700" cy="203200"/>
                </a:xfrm>
                <a:custGeom>
                  <a:avLst/>
                  <a:gdLst/>
                  <a:ahLst/>
                  <a:cxnLst>
                    <a:cxn ang="0">
                      <a:pos x="96" y="102"/>
                    </a:cxn>
                    <a:cxn ang="0">
                      <a:pos x="91" y="128"/>
                    </a:cxn>
                    <a:cxn ang="0">
                      <a:pos x="100" y="133"/>
                    </a:cxn>
                    <a:cxn ang="0">
                      <a:pos x="70" y="139"/>
                    </a:cxn>
                    <a:cxn ang="0">
                      <a:pos x="39" y="141"/>
                    </a:cxn>
                    <a:cxn ang="0">
                      <a:pos x="26" y="148"/>
                    </a:cxn>
                    <a:cxn ang="0">
                      <a:pos x="16" y="152"/>
                    </a:cxn>
                    <a:cxn ang="0">
                      <a:pos x="32" y="133"/>
                    </a:cxn>
                    <a:cxn ang="0">
                      <a:pos x="46" y="124"/>
                    </a:cxn>
                    <a:cxn ang="0">
                      <a:pos x="26" y="123"/>
                    </a:cxn>
                    <a:cxn ang="0">
                      <a:pos x="19" y="123"/>
                    </a:cxn>
                    <a:cxn ang="0">
                      <a:pos x="28" y="96"/>
                    </a:cxn>
                    <a:cxn ang="0">
                      <a:pos x="48" y="81"/>
                    </a:cxn>
                    <a:cxn ang="0">
                      <a:pos x="40" y="70"/>
                    </a:cxn>
                    <a:cxn ang="0">
                      <a:pos x="26" y="72"/>
                    </a:cxn>
                    <a:cxn ang="0">
                      <a:pos x="23" y="59"/>
                    </a:cxn>
                    <a:cxn ang="0">
                      <a:pos x="16" y="49"/>
                    </a:cxn>
                    <a:cxn ang="0">
                      <a:pos x="12" y="55"/>
                    </a:cxn>
                    <a:cxn ang="0">
                      <a:pos x="14" y="45"/>
                    </a:cxn>
                    <a:cxn ang="0">
                      <a:pos x="8" y="38"/>
                    </a:cxn>
                    <a:cxn ang="0">
                      <a:pos x="11" y="29"/>
                    </a:cxn>
                    <a:cxn ang="0">
                      <a:pos x="8" y="20"/>
                    </a:cxn>
                    <a:cxn ang="0">
                      <a:pos x="12" y="21"/>
                    </a:cxn>
                    <a:cxn ang="0">
                      <a:pos x="16" y="14"/>
                    </a:cxn>
                    <a:cxn ang="0">
                      <a:pos x="25" y="0"/>
                    </a:cxn>
                    <a:cxn ang="0">
                      <a:pos x="42" y="4"/>
                    </a:cxn>
                    <a:cxn ang="0">
                      <a:pos x="33" y="19"/>
                    </a:cxn>
                    <a:cxn ang="0">
                      <a:pos x="47" y="46"/>
                    </a:cxn>
                    <a:cxn ang="0">
                      <a:pos x="53" y="50"/>
                    </a:cxn>
                    <a:cxn ang="0">
                      <a:pos x="84" y="89"/>
                    </a:cxn>
                    <a:cxn ang="0">
                      <a:pos x="87" y="102"/>
                    </a:cxn>
                    <a:cxn ang="0">
                      <a:pos x="92" y="102"/>
                    </a:cxn>
                  </a:cxnLst>
                  <a:rect l="0" t="0" r="r" b="b"/>
                  <a:pathLst>
                    <a:path w="105" h="152">
                      <a:moveTo>
                        <a:pt x="90" y="103"/>
                      </a:moveTo>
                      <a:cubicBezTo>
                        <a:pt x="93" y="101"/>
                        <a:pt x="92" y="102"/>
                        <a:pt x="96" y="102"/>
                      </a:cubicBezTo>
                      <a:cubicBezTo>
                        <a:pt x="101" y="102"/>
                        <a:pt x="105" y="106"/>
                        <a:pt x="105" y="110"/>
                      </a:cubicBezTo>
                      <a:cubicBezTo>
                        <a:pt x="105" y="118"/>
                        <a:pt x="94" y="122"/>
                        <a:pt x="91" y="128"/>
                      </a:cubicBezTo>
                      <a:cubicBezTo>
                        <a:pt x="95" y="129"/>
                        <a:pt x="97" y="130"/>
                        <a:pt x="100" y="130"/>
                      </a:cubicBezTo>
                      <a:cubicBezTo>
                        <a:pt x="100" y="133"/>
                        <a:pt x="100" y="133"/>
                        <a:pt x="100" y="133"/>
                      </a:cubicBezTo>
                      <a:cubicBezTo>
                        <a:pt x="96" y="137"/>
                        <a:pt x="93" y="139"/>
                        <a:pt x="87" y="139"/>
                      </a:cubicBezTo>
                      <a:cubicBezTo>
                        <a:pt x="82" y="139"/>
                        <a:pt x="72" y="139"/>
                        <a:pt x="70" y="139"/>
                      </a:cubicBezTo>
                      <a:cubicBezTo>
                        <a:pt x="65" y="139"/>
                        <a:pt x="53" y="143"/>
                        <a:pt x="47" y="143"/>
                      </a:cubicBezTo>
                      <a:cubicBezTo>
                        <a:pt x="44" y="143"/>
                        <a:pt x="42" y="141"/>
                        <a:pt x="39" y="141"/>
                      </a:cubicBezTo>
                      <a:cubicBezTo>
                        <a:pt x="34" y="141"/>
                        <a:pt x="32" y="144"/>
                        <a:pt x="32" y="148"/>
                      </a:cubicBezTo>
                      <a:cubicBezTo>
                        <a:pt x="26" y="148"/>
                        <a:pt x="26" y="148"/>
                        <a:pt x="26" y="148"/>
                      </a:cubicBezTo>
                      <a:cubicBezTo>
                        <a:pt x="23" y="148"/>
                        <a:pt x="21" y="150"/>
                        <a:pt x="19" y="152"/>
                      </a:cubicBezTo>
                      <a:cubicBezTo>
                        <a:pt x="16" y="152"/>
                        <a:pt x="16" y="152"/>
                        <a:pt x="16" y="152"/>
                      </a:cubicBezTo>
                      <a:cubicBezTo>
                        <a:pt x="16" y="149"/>
                        <a:pt x="16" y="149"/>
                        <a:pt x="16" y="149"/>
                      </a:cubicBezTo>
                      <a:cubicBezTo>
                        <a:pt x="17" y="147"/>
                        <a:pt x="30" y="133"/>
                        <a:pt x="32" y="133"/>
                      </a:cubicBezTo>
                      <a:cubicBezTo>
                        <a:pt x="38" y="131"/>
                        <a:pt x="47" y="133"/>
                        <a:pt x="47" y="127"/>
                      </a:cubicBezTo>
                      <a:cubicBezTo>
                        <a:pt x="47" y="126"/>
                        <a:pt x="46" y="125"/>
                        <a:pt x="46" y="124"/>
                      </a:cubicBezTo>
                      <a:cubicBezTo>
                        <a:pt x="44" y="126"/>
                        <a:pt x="41" y="128"/>
                        <a:pt x="38" y="128"/>
                      </a:cubicBezTo>
                      <a:cubicBezTo>
                        <a:pt x="32" y="128"/>
                        <a:pt x="30" y="123"/>
                        <a:pt x="26" y="123"/>
                      </a:cubicBezTo>
                      <a:cubicBezTo>
                        <a:pt x="23" y="123"/>
                        <a:pt x="23" y="125"/>
                        <a:pt x="21" y="125"/>
                      </a:cubicBezTo>
                      <a:cubicBezTo>
                        <a:pt x="20" y="125"/>
                        <a:pt x="19" y="124"/>
                        <a:pt x="19" y="123"/>
                      </a:cubicBezTo>
                      <a:cubicBezTo>
                        <a:pt x="19" y="116"/>
                        <a:pt x="31" y="116"/>
                        <a:pt x="31" y="109"/>
                      </a:cubicBezTo>
                      <a:cubicBezTo>
                        <a:pt x="31" y="103"/>
                        <a:pt x="28" y="101"/>
                        <a:pt x="28" y="96"/>
                      </a:cubicBezTo>
                      <a:cubicBezTo>
                        <a:pt x="36" y="96"/>
                        <a:pt x="45" y="92"/>
                        <a:pt x="48" y="88"/>
                      </a:cubicBezTo>
                      <a:cubicBezTo>
                        <a:pt x="48" y="81"/>
                        <a:pt x="48" y="81"/>
                        <a:pt x="48" y="81"/>
                      </a:cubicBezTo>
                      <a:cubicBezTo>
                        <a:pt x="43" y="82"/>
                        <a:pt x="37" y="81"/>
                        <a:pt x="37" y="77"/>
                      </a:cubicBezTo>
                      <a:cubicBezTo>
                        <a:pt x="37" y="73"/>
                        <a:pt x="39" y="72"/>
                        <a:pt x="40" y="70"/>
                      </a:cubicBezTo>
                      <a:cubicBezTo>
                        <a:pt x="39" y="70"/>
                        <a:pt x="38" y="70"/>
                        <a:pt x="36" y="70"/>
                      </a:cubicBezTo>
                      <a:cubicBezTo>
                        <a:pt x="32" y="70"/>
                        <a:pt x="30" y="72"/>
                        <a:pt x="26" y="72"/>
                      </a:cubicBezTo>
                      <a:cubicBezTo>
                        <a:pt x="22" y="72"/>
                        <a:pt x="19" y="72"/>
                        <a:pt x="19" y="69"/>
                      </a:cubicBezTo>
                      <a:cubicBezTo>
                        <a:pt x="19" y="65"/>
                        <a:pt x="23" y="63"/>
                        <a:pt x="23" y="59"/>
                      </a:cubicBezTo>
                      <a:cubicBezTo>
                        <a:pt x="23" y="55"/>
                        <a:pt x="22" y="55"/>
                        <a:pt x="23" y="51"/>
                      </a:cubicBezTo>
                      <a:cubicBezTo>
                        <a:pt x="20" y="51"/>
                        <a:pt x="17" y="50"/>
                        <a:pt x="16" y="49"/>
                      </a:cubicBezTo>
                      <a:cubicBezTo>
                        <a:pt x="14" y="52"/>
                        <a:pt x="15" y="54"/>
                        <a:pt x="16" y="55"/>
                      </a:cubicBezTo>
                      <a:cubicBezTo>
                        <a:pt x="12" y="55"/>
                        <a:pt x="12" y="55"/>
                        <a:pt x="12" y="55"/>
                      </a:cubicBezTo>
                      <a:cubicBezTo>
                        <a:pt x="12" y="52"/>
                        <a:pt x="12" y="51"/>
                        <a:pt x="12" y="48"/>
                      </a:cubicBezTo>
                      <a:cubicBezTo>
                        <a:pt x="12" y="47"/>
                        <a:pt x="13" y="46"/>
                        <a:pt x="14" y="45"/>
                      </a:cubicBezTo>
                      <a:cubicBezTo>
                        <a:pt x="14" y="41"/>
                        <a:pt x="14" y="41"/>
                        <a:pt x="14" y="41"/>
                      </a:cubicBezTo>
                      <a:cubicBezTo>
                        <a:pt x="12" y="41"/>
                        <a:pt x="8" y="40"/>
                        <a:pt x="8" y="38"/>
                      </a:cubicBezTo>
                      <a:cubicBezTo>
                        <a:pt x="8" y="36"/>
                        <a:pt x="11" y="32"/>
                        <a:pt x="11" y="32"/>
                      </a:cubicBezTo>
                      <a:cubicBezTo>
                        <a:pt x="11" y="29"/>
                        <a:pt x="11" y="29"/>
                        <a:pt x="11" y="29"/>
                      </a:cubicBezTo>
                      <a:cubicBezTo>
                        <a:pt x="4" y="27"/>
                        <a:pt x="0" y="26"/>
                        <a:pt x="0" y="20"/>
                      </a:cubicBezTo>
                      <a:cubicBezTo>
                        <a:pt x="8" y="20"/>
                        <a:pt x="8" y="20"/>
                        <a:pt x="8" y="20"/>
                      </a:cubicBezTo>
                      <a:cubicBezTo>
                        <a:pt x="8" y="23"/>
                        <a:pt x="10" y="24"/>
                        <a:pt x="11" y="24"/>
                      </a:cubicBezTo>
                      <a:cubicBezTo>
                        <a:pt x="12" y="24"/>
                        <a:pt x="12" y="22"/>
                        <a:pt x="12" y="21"/>
                      </a:cubicBezTo>
                      <a:cubicBezTo>
                        <a:pt x="12" y="21"/>
                        <a:pt x="10" y="20"/>
                        <a:pt x="10" y="19"/>
                      </a:cubicBezTo>
                      <a:cubicBezTo>
                        <a:pt x="10" y="15"/>
                        <a:pt x="13" y="14"/>
                        <a:pt x="16" y="14"/>
                      </a:cubicBezTo>
                      <a:cubicBezTo>
                        <a:pt x="16" y="10"/>
                        <a:pt x="18" y="8"/>
                        <a:pt x="18" y="6"/>
                      </a:cubicBezTo>
                      <a:cubicBezTo>
                        <a:pt x="18" y="4"/>
                        <a:pt x="23" y="0"/>
                        <a:pt x="25" y="0"/>
                      </a:cubicBezTo>
                      <a:cubicBezTo>
                        <a:pt x="30" y="0"/>
                        <a:pt x="35" y="0"/>
                        <a:pt x="38" y="0"/>
                      </a:cubicBezTo>
                      <a:cubicBezTo>
                        <a:pt x="40" y="0"/>
                        <a:pt x="42" y="3"/>
                        <a:pt x="42" y="4"/>
                      </a:cubicBezTo>
                      <a:cubicBezTo>
                        <a:pt x="42" y="10"/>
                        <a:pt x="33" y="10"/>
                        <a:pt x="31" y="16"/>
                      </a:cubicBezTo>
                      <a:cubicBezTo>
                        <a:pt x="31" y="17"/>
                        <a:pt x="32" y="18"/>
                        <a:pt x="33" y="19"/>
                      </a:cubicBezTo>
                      <a:cubicBezTo>
                        <a:pt x="59" y="19"/>
                        <a:pt x="59" y="19"/>
                        <a:pt x="59" y="19"/>
                      </a:cubicBezTo>
                      <a:cubicBezTo>
                        <a:pt x="60" y="32"/>
                        <a:pt x="47" y="37"/>
                        <a:pt x="47" y="46"/>
                      </a:cubicBezTo>
                      <a:cubicBezTo>
                        <a:pt x="45" y="47"/>
                        <a:pt x="44" y="48"/>
                        <a:pt x="43" y="50"/>
                      </a:cubicBezTo>
                      <a:cubicBezTo>
                        <a:pt x="48" y="51"/>
                        <a:pt x="50" y="49"/>
                        <a:pt x="53" y="50"/>
                      </a:cubicBezTo>
                      <a:cubicBezTo>
                        <a:pt x="62" y="53"/>
                        <a:pt x="60" y="63"/>
                        <a:pt x="66" y="69"/>
                      </a:cubicBezTo>
                      <a:cubicBezTo>
                        <a:pt x="73" y="76"/>
                        <a:pt x="84" y="79"/>
                        <a:pt x="84" y="89"/>
                      </a:cubicBezTo>
                      <a:cubicBezTo>
                        <a:pt x="84" y="93"/>
                        <a:pt x="89" y="95"/>
                        <a:pt x="89" y="99"/>
                      </a:cubicBezTo>
                      <a:cubicBezTo>
                        <a:pt x="89" y="100"/>
                        <a:pt x="88" y="101"/>
                        <a:pt x="87" y="102"/>
                      </a:cubicBezTo>
                      <a:cubicBezTo>
                        <a:pt x="87" y="105"/>
                        <a:pt x="87" y="105"/>
                        <a:pt x="87" y="105"/>
                      </a:cubicBezTo>
                      <a:cubicBezTo>
                        <a:pt x="90" y="104"/>
                        <a:pt x="90" y="103"/>
                        <a:pt x="92" y="102"/>
                      </a:cubicBezTo>
                      <a:lnTo>
                        <a:pt x="90" y="1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11" name="Freeform 31"/>
                <p:cNvSpPr>
                  <a:spLocks/>
                </p:cNvSpPr>
                <p:nvPr/>
              </p:nvSpPr>
              <p:spPr bwMode="auto">
                <a:xfrm>
                  <a:off x="4592638" y="2203450"/>
                  <a:ext cx="46038" cy="30163"/>
                </a:xfrm>
                <a:custGeom>
                  <a:avLst/>
                  <a:gdLst/>
                  <a:ahLst/>
                  <a:cxnLst>
                    <a:cxn ang="0">
                      <a:pos x="0" y="5"/>
                    </a:cxn>
                    <a:cxn ang="0">
                      <a:pos x="0" y="8"/>
                    </a:cxn>
                    <a:cxn ang="0">
                      <a:pos x="7" y="10"/>
                    </a:cxn>
                    <a:cxn ang="0">
                      <a:pos x="27" y="21"/>
                    </a:cxn>
                    <a:cxn ang="0">
                      <a:pos x="30" y="23"/>
                    </a:cxn>
                    <a:cxn ang="0">
                      <a:pos x="33" y="20"/>
                    </a:cxn>
                    <a:cxn ang="0">
                      <a:pos x="31" y="13"/>
                    </a:cxn>
                    <a:cxn ang="0">
                      <a:pos x="33" y="8"/>
                    </a:cxn>
                    <a:cxn ang="0">
                      <a:pos x="35" y="3"/>
                    </a:cxn>
                    <a:cxn ang="0">
                      <a:pos x="20" y="6"/>
                    </a:cxn>
                    <a:cxn ang="0">
                      <a:pos x="0" y="5"/>
                    </a:cxn>
                  </a:cxnLst>
                  <a:rect l="0" t="0" r="r" b="b"/>
                  <a:pathLst>
                    <a:path w="35" h="23">
                      <a:moveTo>
                        <a:pt x="0" y="5"/>
                      </a:moveTo>
                      <a:cubicBezTo>
                        <a:pt x="0" y="8"/>
                        <a:pt x="0" y="8"/>
                        <a:pt x="0" y="8"/>
                      </a:cubicBezTo>
                      <a:cubicBezTo>
                        <a:pt x="2" y="10"/>
                        <a:pt x="5" y="10"/>
                        <a:pt x="7" y="10"/>
                      </a:cubicBezTo>
                      <a:cubicBezTo>
                        <a:pt x="14" y="12"/>
                        <a:pt x="19" y="20"/>
                        <a:pt x="27" y="21"/>
                      </a:cubicBezTo>
                      <a:cubicBezTo>
                        <a:pt x="27" y="23"/>
                        <a:pt x="29" y="23"/>
                        <a:pt x="30" y="23"/>
                      </a:cubicBezTo>
                      <a:cubicBezTo>
                        <a:pt x="32" y="23"/>
                        <a:pt x="33" y="21"/>
                        <a:pt x="33" y="20"/>
                      </a:cubicBezTo>
                      <a:cubicBezTo>
                        <a:pt x="33" y="17"/>
                        <a:pt x="31" y="16"/>
                        <a:pt x="31" y="13"/>
                      </a:cubicBezTo>
                      <a:cubicBezTo>
                        <a:pt x="31" y="11"/>
                        <a:pt x="33" y="8"/>
                        <a:pt x="33" y="8"/>
                      </a:cubicBezTo>
                      <a:cubicBezTo>
                        <a:pt x="35" y="3"/>
                        <a:pt x="35" y="3"/>
                        <a:pt x="35" y="3"/>
                      </a:cubicBezTo>
                      <a:cubicBezTo>
                        <a:pt x="28" y="2"/>
                        <a:pt x="25" y="6"/>
                        <a:pt x="20" y="6"/>
                      </a:cubicBezTo>
                      <a:cubicBezTo>
                        <a:pt x="14" y="6"/>
                        <a:pt x="10" y="0"/>
                        <a:pt x="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12" name="Freeform 32"/>
                <p:cNvSpPr>
                  <a:spLocks/>
                </p:cNvSpPr>
                <p:nvPr/>
              </p:nvSpPr>
              <p:spPr bwMode="auto">
                <a:xfrm>
                  <a:off x="4527550" y="2111375"/>
                  <a:ext cx="15875" cy="30163"/>
                </a:xfrm>
                <a:custGeom>
                  <a:avLst/>
                  <a:gdLst/>
                  <a:ahLst/>
                  <a:cxnLst>
                    <a:cxn ang="0">
                      <a:pos x="3" y="5"/>
                    </a:cxn>
                    <a:cxn ang="0">
                      <a:pos x="10" y="0"/>
                    </a:cxn>
                    <a:cxn ang="0">
                      <a:pos x="12" y="5"/>
                    </a:cxn>
                    <a:cxn ang="0">
                      <a:pos x="8" y="23"/>
                    </a:cxn>
                    <a:cxn ang="0">
                      <a:pos x="0" y="6"/>
                    </a:cxn>
                    <a:cxn ang="0">
                      <a:pos x="3" y="5"/>
                    </a:cxn>
                  </a:cxnLst>
                  <a:rect l="0" t="0" r="r" b="b"/>
                  <a:pathLst>
                    <a:path w="12" h="23">
                      <a:moveTo>
                        <a:pt x="3" y="5"/>
                      </a:moveTo>
                      <a:cubicBezTo>
                        <a:pt x="6" y="5"/>
                        <a:pt x="8" y="1"/>
                        <a:pt x="10" y="0"/>
                      </a:cubicBezTo>
                      <a:cubicBezTo>
                        <a:pt x="10" y="3"/>
                        <a:pt x="11" y="5"/>
                        <a:pt x="12" y="5"/>
                      </a:cubicBezTo>
                      <a:cubicBezTo>
                        <a:pt x="11" y="11"/>
                        <a:pt x="10" y="20"/>
                        <a:pt x="8" y="23"/>
                      </a:cubicBezTo>
                      <a:cubicBezTo>
                        <a:pt x="4" y="22"/>
                        <a:pt x="2" y="9"/>
                        <a:pt x="0" y="6"/>
                      </a:cubicBezTo>
                      <a:cubicBezTo>
                        <a:pt x="1" y="6"/>
                        <a:pt x="2" y="5"/>
                        <a:pt x="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13" name="Freeform 33"/>
                <p:cNvSpPr>
                  <a:spLocks/>
                </p:cNvSpPr>
                <p:nvPr/>
              </p:nvSpPr>
              <p:spPr bwMode="auto">
                <a:xfrm>
                  <a:off x="4524375" y="2144713"/>
                  <a:ext cx="25400" cy="44450"/>
                </a:xfrm>
                <a:custGeom>
                  <a:avLst/>
                  <a:gdLst/>
                  <a:ahLst/>
                  <a:cxnLst>
                    <a:cxn ang="0">
                      <a:pos x="5" y="15"/>
                    </a:cxn>
                    <a:cxn ang="0">
                      <a:pos x="0" y="6"/>
                    </a:cxn>
                    <a:cxn ang="0">
                      <a:pos x="9" y="0"/>
                    </a:cxn>
                    <a:cxn ang="0">
                      <a:pos x="15" y="3"/>
                    </a:cxn>
                    <a:cxn ang="0">
                      <a:pos x="18" y="21"/>
                    </a:cxn>
                    <a:cxn ang="0">
                      <a:pos x="6" y="33"/>
                    </a:cxn>
                    <a:cxn ang="0">
                      <a:pos x="2" y="24"/>
                    </a:cxn>
                    <a:cxn ang="0">
                      <a:pos x="5" y="15"/>
                    </a:cxn>
                  </a:cxnLst>
                  <a:rect l="0" t="0" r="r" b="b"/>
                  <a:pathLst>
                    <a:path w="19" h="33">
                      <a:moveTo>
                        <a:pt x="5" y="15"/>
                      </a:moveTo>
                      <a:cubicBezTo>
                        <a:pt x="5" y="12"/>
                        <a:pt x="1" y="9"/>
                        <a:pt x="0" y="6"/>
                      </a:cubicBezTo>
                      <a:cubicBezTo>
                        <a:pt x="5" y="4"/>
                        <a:pt x="5" y="0"/>
                        <a:pt x="9" y="0"/>
                      </a:cubicBezTo>
                      <a:cubicBezTo>
                        <a:pt x="13" y="0"/>
                        <a:pt x="14" y="3"/>
                        <a:pt x="15" y="3"/>
                      </a:cubicBezTo>
                      <a:cubicBezTo>
                        <a:pt x="19" y="10"/>
                        <a:pt x="18" y="14"/>
                        <a:pt x="18" y="21"/>
                      </a:cubicBezTo>
                      <a:cubicBezTo>
                        <a:pt x="18" y="27"/>
                        <a:pt x="10" y="33"/>
                        <a:pt x="6" y="33"/>
                      </a:cubicBezTo>
                      <a:cubicBezTo>
                        <a:pt x="2" y="33"/>
                        <a:pt x="2" y="27"/>
                        <a:pt x="2" y="24"/>
                      </a:cubicBezTo>
                      <a:cubicBezTo>
                        <a:pt x="2" y="20"/>
                        <a:pt x="5" y="18"/>
                        <a:pt x="5"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14" name="Freeform 34"/>
                <p:cNvSpPr>
                  <a:spLocks/>
                </p:cNvSpPr>
                <p:nvPr/>
              </p:nvSpPr>
              <p:spPr bwMode="auto">
                <a:xfrm>
                  <a:off x="4429125" y="2171700"/>
                  <a:ext cx="12700" cy="9525"/>
                </a:xfrm>
                <a:custGeom>
                  <a:avLst/>
                  <a:gdLst/>
                  <a:ahLst/>
                  <a:cxnLst>
                    <a:cxn ang="0">
                      <a:pos x="9" y="5"/>
                    </a:cxn>
                    <a:cxn ang="0">
                      <a:pos x="6" y="7"/>
                    </a:cxn>
                    <a:cxn ang="0">
                      <a:pos x="0" y="3"/>
                    </a:cxn>
                    <a:cxn ang="0">
                      <a:pos x="7" y="0"/>
                    </a:cxn>
                    <a:cxn ang="0">
                      <a:pos x="9" y="5"/>
                    </a:cxn>
                  </a:cxnLst>
                  <a:rect l="0" t="0" r="r" b="b"/>
                  <a:pathLst>
                    <a:path w="9" h="7">
                      <a:moveTo>
                        <a:pt x="9" y="5"/>
                      </a:moveTo>
                      <a:cubicBezTo>
                        <a:pt x="9" y="6"/>
                        <a:pt x="7" y="7"/>
                        <a:pt x="6" y="7"/>
                      </a:cubicBezTo>
                      <a:cubicBezTo>
                        <a:pt x="4" y="7"/>
                        <a:pt x="1" y="3"/>
                        <a:pt x="0" y="3"/>
                      </a:cubicBezTo>
                      <a:cubicBezTo>
                        <a:pt x="3" y="2"/>
                        <a:pt x="5" y="0"/>
                        <a:pt x="7" y="0"/>
                      </a:cubicBezTo>
                      <a:cubicBezTo>
                        <a:pt x="7" y="1"/>
                        <a:pt x="9" y="3"/>
                        <a:pt x="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15" name="Freeform 35"/>
                <p:cNvSpPr>
                  <a:spLocks/>
                </p:cNvSpPr>
                <p:nvPr/>
              </p:nvSpPr>
              <p:spPr bwMode="auto">
                <a:xfrm>
                  <a:off x="4551363" y="1833563"/>
                  <a:ext cx="15875" cy="19050"/>
                </a:xfrm>
                <a:custGeom>
                  <a:avLst/>
                  <a:gdLst/>
                  <a:ahLst/>
                  <a:cxnLst>
                    <a:cxn ang="0">
                      <a:pos x="11" y="10"/>
                    </a:cxn>
                    <a:cxn ang="0">
                      <a:pos x="0" y="5"/>
                    </a:cxn>
                    <a:cxn ang="0">
                      <a:pos x="0" y="0"/>
                    </a:cxn>
                    <a:cxn ang="0">
                      <a:pos x="9" y="0"/>
                    </a:cxn>
                    <a:cxn ang="0">
                      <a:pos x="12" y="9"/>
                    </a:cxn>
                    <a:cxn ang="0">
                      <a:pos x="11" y="14"/>
                    </a:cxn>
                    <a:cxn ang="0">
                      <a:pos x="11" y="10"/>
                    </a:cxn>
                  </a:cxnLst>
                  <a:rect l="0" t="0" r="r" b="b"/>
                  <a:pathLst>
                    <a:path w="12" h="14">
                      <a:moveTo>
                        <a:pt x="11" y="10"/>
                      </a:moveTo>
                      <a:cubicBezTo>
                        <a:pt x="5" y="10"/>
                        <a:pt x="0" y="9"/>
                        <a:pt x="0" y="5"/>
                      </a:cubicBezTo>
                      <a:cubicBezTo>
                        <a:pt x="0" y="3"/>
                        <a:pt x="0" y="2"/>
                        <a:pt x="0" y="0"/>
                      </a:cubicBezTo>
                      <a:cubicBezTo>
                        <a:pt x="9" y="0"/>
                        <a:pt x="9" y="0"/>
                        <a:pt x="9" y="0"/>
                      </a:cubicBezTo>
                      <a:cubicBezTo>
                        <a:pt x="9" y="6"/>
                        <a:pt x="12" y="5"/>
                        <a:pt x="12" y="9"/>
                      </a:cubicBezTo>
                      <a:cubicBezTo>
                        <a:pt x="12" y="13"/>
                        <a:pt x="11" y="12"/>
                        <a:pt x="11" y="14"/>
                      </a:cubicBezTo>
                      <a:cubicBezTo>
                        <a:pt x="11" y="13"/>
                        <a:pt x="11" y="12"/>
                        <a:pt x="11"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16" name="Freeform 37"/>
                <p:cNvSpPr>
                  <a:spLocks/>
                </p:cNvSpPr>
                <p:nvPr/>
              </p:nvSpPr>
              <p:spPr bwMode="auto">
                <a:xfrm>
                  <a:off x="4684713" y="1773238"/>
                  <a:ext cx="15875" cy="23813"/>
                </a:xfrm>
                <a:custGeom>
                  <a:avLst/>
                  <a:gdLst/>
                  <a:ahLst/>
                  <a:cxnLst>
                    <a:cxn ang="0">
                      <a:pos x="8" y="6"/>
                    </a:cxn>
                    <a:cxn ang="0">
                      <a:pos x="1" y="17"/>
                    </a:cxn>
                    <a:cxn ang="0">
                      <a:pos x="1" y="11"/>
                    </a:cxn>
                    <a:cxn ang="0">
                      <a:pos x="11" y="0"/>
                    </a:cxn>
                    <a:cxn ang="0">
                      <a:pos x="8" y="6"/>
                    </a:cxn>
                  </a:cxnLst>
                  <a:rect l="0" t="0" r="r" b="b"/>
                  <a:pathLst>
                    <a:path w="11" h="17">
                      <a:moveTo>
                        <a:pt x="8" y="6"/>
                      </a:moveTo>
                      <a:cubicBezTo>
                        <a:pt x="8" y="11"/>
                        <a:pt x="4" y="13"/>
                        <a:pt x="1" y="17"/>
                      </a:cubicBezTo>
                      <a:cubicBezTo>
                        <a:pt x="0" y="15"/>
                        <a:pt x="1" y="14"/>
                        <a:pt x="1" y="11"/>
                      </a:cubicBezTo>
                      <a:cubicBezTo>
                        <a:pt x="1" y="9"/>
                        <a:pt x="3" y="1"/>
                        <a:pt x="11" y="0"/>
                      </a:cubicBezTo>
                      <a:cubicBezTo>
                        <a:pt x="10" y="2"/>
                        <a:pt x="8" y="4"/>
                        <a:pt x="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17" name="Freeform 38"/>
                <p:cNvSpPr>
                  <a:spLocks/>
                </p:cNvSpPr>
                <p:nvPr/>
              </p:nvSpPr>
              <p:spPr bwMode="auto">
                <a:xfrm>
                  <a:off x="4746625" y="1744663"/>
                  <a:ext cx="20638" cy="26988"/>
                </a:xfrm>
                <a:custGeom>
                  <a:avLst/>
                  <a:gdLst/>
                  <a:ahLst/>
                  <a:cxnLst>
                    <a:cxn ang="0">
                      <a:pos x="12" y="10"/>
                    </a:cxn>
                    <a:cxn ang="0">
                      <a:pos x="12" y="16"/>
                    </a:cxn>
                    <a:cxn ang="0">
                      <a:pos x="5" y="20"/>
                    </a:cxn>
                    <a:cxn ang="0">
                      <a:pos x="0" y="13"/>
                    </a:cxn>
                    <a:cxn ang="0">
                      <a:pos x="10" y="10"/>
                    </a:cxn>
                    <a:cxn ang="0">
                      <a:pos x="7" y="5"/>
                    </a:cxn>
                    <a:cxn ang="0">
                      <a:pos x="11" y="0"/>
                    </a:cxn>
                    <a:cxn ang="0">
                      <a:pos x="16" y="5"/>
                    </a:cxn>
                    <a:cxn ang="0">
                      <a:pos x="12" y="10"/>
                    </a:cxn>
                  </a:cxnLst>
                  <a:rect l="0" t="0" r="r" b="b"/>
                  <a:pathLst>
                    <a:path w="16" h="20">
                      <a:moveTo>
                        <a:pt x="12" y="10"/>
                      </a:moveTo>
                      <a:cubicBezTo>
                        <a:pt x="12" y="12"/>
                        <a:pt x="12" y="14"/>
                        <a:pt x="12" y="16"/>
                      </a:cubicBezTo>
                      <a:cubicBezTo>
                        <a:pt x="12" y="17"/>
                        <a:pt x="6" y="20"/>
                        <a:pt x="5" y="20"/>
                      </a:cubicBezTo>
                      <a:cubicBezTo>
                        <a:pt x="1" y="20"/>
                        <a:pt x="0" y="16"/>
                        <a:pt x="0" y="13"/>
                      </a:cubicBezTo>
                      <a:cubicBezTo>
                        <a:pt x="4" y="13"/>
                        <a:pt x="6" y="10"/>
                        <a:pt x="10" y="10"/>
                      </a:cubicBezTo>
                      <a:cubicBezTo>
                        <a:pt x="9" y="8"/>
                        <a:pt x="7" y="7"/>
                        <a:pt x="7" y="5"/>
                      </a:cubicBezTo>
                      <a:cubicBezTo>
                        <a:pt x="7" y="2"/>
                        <a:pt x="11" y="0"/>
                        <a:pt x="11" y="0"/>
                      </a:cubicBezTo>
                      <a:cubicBezTo>
                        <a:pt x="13" y="3"/>
                        <a:pt x="14" y="4"/>
                        <a:pt x="16" y="5"/>
                      </a:cubicBezTo>
                      <a:cubicBezTo>
                        <a:pt x="15" y="7"/>
                        <a:pt x="13" y="10"/>
                        <a:pt x="12"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grpSp>
        </p:grpSp>
        <p:grpSp>
          <p:nvGrpSpPr>
            <p:cNvPr id="16" name="Group 363"/>
            <p:cNvGrpSpPr/>
            <p:nvPr/>
          </p:nvGrpSpPr>
          <p:grpSpPr>
            <a:xfrm>
              <a:off x="5105582" y="3000650"/>
              <a:ext cx="941496" cy="822457"/>
              <a:chOff x="6275388" y="2879725"/>
              <a:chExt cx="966788" cy="844551"/>
            </a:xfrm>
            <a:grpFill/>
          </p:grpSpPr>
          <p:sp>
            <p:nvSpPr>
              <p:cNvPr id="85" name="Freeform 9"/>
              <p:cNvSpPr>
                <a:spLocks/>
              </p:cNvSpPr>
              <p:nvPr/>
            </p:nvSpPr>
            <p:spPr bwMode="auto">
              <a:xfrm>
                <a:off x="6567488" y="2879725"/>
                <a:ext cx="339725" cy="176213"/>
              </a:xfrm>
              <a:custGeom>
                <a:avLst/>
                <a:gdLst/>
                <a:ahLst/>
                <a:cxnLst>
                  <a:cxn ang="0">
                    <a:pos x="128" y="28"/>
                  </a:cxn>
                  <a:cxn ang="0">
                    <a:pos x="160" y="39"/>
                  </a:cxn>
                  <a:cxn ang="0">
                    <a:pos x="173" y="45"/>
                  </a:cxn>
                  <a:cxn ang="0">
                    <a:pos x="179" y="49"/>
                  </a:cxn>
                  <a:cxn ang="0">
                    <a:pos x="203" y="71"/>
                  </a:cxn>
                  <a:cxn ang="0">
                    <a:pos x="217" y="78"/>
                  </a:cxn>
                  <a:cxn ang="0">
                    <a:pos x="208" y="85"/>
                  </a:cxn>
                  <a:cxn ang="0">
                    <a:pos x="217" y="96"/>
                  </a:cxn>
                  <a:cxn ang="0">
                    <a:pos x="224" y="108"/>
                  </a:cxn>
                  <a:cxn ang="0">
                    <a:pos x="233" y="113"/>
                  </a:cxn>
                  <a:cxn ang="0">
                    <a:pos x="237" y="118"/>
                  </a:cxn>
                  <a:cxn ang="0">
                    <a:pos x="242" y="119"/>
                  </a:cxn>
                  <a:cxn ang="0">
                    <a:pos x="247" y="124"/>
                  </a:cxn>
                  <a:cxn ang="0">
                    <a:pos x="255" y="126"/>
                  </a:cxn>
                  <a:cxn ang="0">
                    <a:pos x="250" y="133"/>
                  </a:cxn>
                  <a:cxn ang="0">
                    <a:pos x="247" y="133"/>
                  </a:cxn>
                  <a:cxn ang="0">
                    <a:pos x="239" y="127"/>
                  </a:cxn>
                  <a:cxn ang="0">
                    <a:pos x="227" y="127"/>
                  </a:cxn>
                  <a:cxn ang="0">
                    <a:pos x="210" y="116"/>
                  </a:cxn>
                  <a:cxn ang="0">
                    <a:pos x="206" y="113"/>
                  </a:cxn>
                  <a:cxn ang="0">
                    <a:pos x="175" y="92"/>
                  </a:cxn>
                  <a:cxn ang="0">
                    <a:pos x="158" y="103"/>
                  </a:cxn>
                  <a:cxn ang="0">
                    <a:pos x="156" y="113"/>
                  </a:cxn>
                  <a:cxn ang="0">
                    <a:pos x="139" y="113"/>
                  </a:cxn>
                  <a:cxn ang="0">
                    <a:pos x="113" y="100"/>
                  </a:cxn>
                  <a:cxn ang="0">
                    <a:pos x="107" y="102"/>
                  </a:cxn>
                  <a:cxn ang="0">
                    <a:pos x="98" y="102"/>
                  </a:cxn>
                  <a:cxn ang="0">
                    <a:pos x="90" y="99"/>
                  </a:cxn>
                  <a:cxn ang="0">
                    <a:pos x="101" y="90"/>
                  </a:cxn>
                  <a:cxn ang="0">
                    <a:pos x="96" y="71"/>
                  </a:cxn>
                  <a:cxn ang="0">
                    <a:pos x="77" y="59"/>
                  </a:cxn>
                  <a:cxn ang="0">
                    <a:pos x="53" y="54"/>
                  </a:cxn>
                  <a:cxn ang="0">
                    <a:pos x="37" y="45"/>
                  </a:cxn>
                  <a:cxn ang="0">
                    <a:pos x="37" y="41"/>
                  </a:cxn>
                  <a:cxn ang="0">
                    <a:pos x="30" y="49"/>
                  </a:cxn>
                  <a:cxn ang="0">
                    <a:pos x="26" y="48"/>
                  </a:cxn>
                  <a:cxn ang="0">
                    <a:pos x="24" y="38"/>
                  </a:cxn>
                  <a:cxn ang="0">
                    <a:pos x="16" y="33"/>
                  </a:cxn>
                  <a:cxn ang="0">
                    <a:pos x="38" y="25"/>
                  </a:cxn>
                  <a:cxn ang="0">
                    <a:pos x="35" y="25"/>
                  </a:cxn>
                  <a:cxn ang="0">
                    <a:pos x="23" y="27"/>
                  </a:cxn>
                  <a:cxn ang="0">
                    <a:pos x="16" y="26"/>
                  </a:cxn>
                  <a:cxn ang="0">
                    <a:pos x="14" y="22"/>
                  </a:cxn>
                  <a:cxn ang="0">
                    <a:pos x="0" y="12"/>
                  </a:cxn>
                  <a:cxn ang="0">
                    <a:pos x="6" y="8"/>
                  </a:cxn>
                  <a:cxn ang="0">
                    <a:pos x="23" y="0"/>
                  </a:cxn>
                  <a:cxn ang="0">
                    <a:pos x="44" y="9"/>
                  </a:cxn>
                  <a:cxn ang="0">
                    <a:pos x="44" y="25"/>
                  </a:cxn>
                  <a:cxn ang="0">
                    <a:pos x="50" y="29"/>
                  </a:cxn>
                  <a:cxn ang="0">
                    <a:pos x="59" y="38"/>
                  </a:cxn>
                  <a:cxn ang="0">
                    <a:pos x="67" y="30"/>
                  </a:cxn>
                  <a:cxn ang="0">
                    <a:pos x="78" y="25"/>
                  </a:cxn>
                  <a:cxn ang="0">
                    <a:pos x="92" y="14"/>
                  </a:cxn>
                  <a:cxn ang="0">
                    <a:pos x="98" y="17"/>
                  </a:cxn>
                  <a:cxn ang="0">
                    <a:pos x="109" y="25"/>
                  </a:cxn>
                  <a:cxn ang="0">
                    <a:pos x="121" y="25"/>
                  </a:cxn>
                  <a:cxn ang="0">
                    <a:pos x="130" y="29"/>
                  </a:cxn>
                  <a:cxn ang="0">
                    <a:pos x="130" y="30"/>
                  </a:cxn>
                  <a:cxn ang="0">
                    <a:pos x="128" y="28"/>
                  </a:cxn>
                </a:cxnLst>
                <a:rect l="0" t="0" r="r" b="b"/>
                <a:pathLst>
                  <a:path w="255" h="133">
                    <a:moveTo>
                      <a:pt x="128" y="28"/>
                    </a:moveTo>
                    <a:cubicBezTo>
                      <a:pt x="133" y="33"/>
                      <a:pt x="149" y="39"/>
                      <a:pt x="160" y="39"/>
                    </a:cubicBezTo>
                    <a:cubicBezTo>
                      <a:pt x="165" y="39"/>
                      <a:pt x="168" y="45"/>
                      <a:pt x="173" y="45"/>
                    </a:cubicBezTo>
                    <a:cubicBezTo>
                      <a:pt x="173" y="48"/>
                      <a:pt x="176" y="49"/>
                      <a:pt x="179" y="49"/>
                    </a:cubicBezTo>
                    <a:cubicBezTo>
                      <a:pt x="193" y="54"/>
                      <a:pt x="192" y="66"/>
                      <a:pt x="203" y="71"/>
                    </a:cubicBezTo>
                    <a:cubicBezTo>
                      <a:pt x="207" y="73"/>
                      <a:pt x="217" y="68"/>
                      <a:pt x="217" y="78"/>
                    </a:cubicBezTo>
                    <a:cubicBezTo>
                      <a:pt x="217" y="83"/>
                      <a:pt x="208" y="81"/>
                      <a:pt x="208" y="85"/>
                    </a:cubicBezTo>
                    <a:cubicBezTo>
                      <a:pt x="208" y="87"/>
                      <a:pt x="216" y="95"/>
                      <a:pt x="217" y="96"/>
                    </a:cubicBezTo>
                    <a:cubicBezTo>
                      <a:pt x="221" y="100"/>
                      <a:pt x="220" y="103"/>
                      <a:pt x="224" y="108"/>
                    </a:cubicBezTo>
                    <a:cubicBezTo>
                      <a:pt x="225" y="111"/>
                      <a:pt x="230" y="113"/>
                      <a:pt x="233" y="113"/>
                    </a:cubicBezTo>
                    <a:cubicBezTo>
                      <a:pt x="235" y="113"/>
                      <a:pt x="236" y="116"/>
                      <a:pt x="237" y="118"/>
                    </a:cubicBezTo>
                    <a:cubicBezTo>
                      <a:pt x="238" y="120"/>
                      <a:pt x="240" y="118"/>
                      <a:pt x="242" y="119"/>
                    </a:cubicBezTo>
                    <a:cubicBezTo>
                      <a:pt x="245" y="119"/>
                      <a:pt x="246" y="122"/>
                      <a:pt x="247" y="124"/>
                    </a:cubicBezTo>
                    <a:cubicBezTo>
                      <a:pt x="247" y="126"/>
                      <a:pt x="254" y="125"/>
                      <a:pt x="255" y="126"/>
                    </a:cubicBezTo>
                    <a:cubicBezTo>
                      <a:pt x="253" y="127"/>
                      <a:pt x="250" y="130"/>
                      <a:pt x="250" y="133"/>
                    </a:cubicBezTo>
                    <a:cubicBezTo>
                      <a:pt x="249" y="133"/>
                      <a:pt x="248" y="133"/>
                      <a:pt x="247" y="133"/>
                    </a:cubicBezTo>
                    <a:cubicBezTo>
                      <a:pt x="246" y="133"/>
                      <a:pt x="240" y="128"/>
                      <a:pt x="239" y="127"/>
                    </a:cubicBezTo>
                    <a:cubicBezTo>
                      <a:pt x="227" y="127"/>
                      <a:pt x="227" y="127"/>
                      <a:pt x="227" y="127"/>
                    </a:cubicBezTo>
                    <a:cubicBezTo>
                      <a:pt x="221" y="126"/>
                      <a:pt x="210" y="121"/>
                      <a:pt x="210" y="116"/>
                    </a:cubicBezTo>
                    <a:cubicBezTo>
                      <a:pt x="210" y="115"/>
                      <a:pt x="207" y="114"/>
                      <a:pt x="206" y="113"/>
                    </a:cubicBezTo>
                    <a:cubicBezTo>
                      <a:pt x="197" y="104"/>
                      <a:pt x="189" y="92"/>
                      <a:pt x="175" y="92"/>
                    </a:cubicBezTo>
                    <a:cubicBezTo>
                      <a:pt x="164" y="92"/>
                      <a:pt x="165" y="100"/>
                      <a:pt x="158" y="103"/>
                    </a:cubicBezTo>
                    <a:cubicBezTo>
                      <a:pt x="160" y="108"/>
                      <a:pt x="156" y="110"/>
                      <a:pt x="156" y="113"/>
                    </a:cubicBezTo>
                    <a:cubicBezTo>
                      <a:pt x="146" y="113"/>
                      <a:pt x="144" y="113"/>
                      <a:pt x="139" y="113"/>
                    </a:cubicBezTo>
                    <a:cubicBezTo>
                      <a:pt x="128" y="113"/>
                      <a:pt x="125" y="100"/>
                      <a:pt x="113" y="100"/>
                    </a:cubicBezTo>
                    <a:cubicBezTo>
                      <a:pt x="112" y="100"/>
                      <a:pt x="107" y="100"/>
                      <a:pt x="107" y="102"/>
                    </a:cubicBezTo>
                    <a:cubicBezTo>
                      <a:pt x="98" y="102"/>
                      <a:pt x="98" y="102"/>
                      <a:pt x="98" y="102"/>
                    </a:cubicBezTo>
                    <a:cubicBezTo>
                      <a:pt x="94" y="102"/>
                      <a:pt x="90" y="102"/>
                      <a:pt x="90" y="99"/>
                    </a:cubicBezTo>
                    <a:cubicBezTo>
                      <a:pt x="90" y="93"/>
                      <a:pt x="99" y="91"/>
                      <a:pt x="101" y="90"/>
                    </a:cubicBezTo>
                    <a:cubicBezTo>
                      <a:pt x="95" y="84"/>
                      <a:pt x="98" y="78"/>
                      <a:pt x="96" y="71"/>
                    </a:cubicBezTo>
                    <a:cubicBezTo>
                      <a:pt x="94" y="66"/>
                      <a:pt x="82" y="61"/>
                      <a:pt x="77" y="59"/>
                    </a:cubicBezTo>
                    <a:cubicBezTo>
                      <a:pt x="72" y="56"/>
                      <a:pt x="60" y="54"/>
                      <a:pt x="53" y="54"/>
                    </a:cubicBezTo>
                    <a:cubicBezTo>
                      <a:pt x="47" y="54"/>
                      <a:pt x="44" y="43"/>
                      <a:pt x="37" y="45"/>
                    </a:cubicBezTo>
                    <a:cubicBezTo>
                      <a:pt x="37" y="41"/>
                      <a:pt x="37" y="41"/>
                      <a:pt x="37" y="41"/>
                    </a:cubicBezTo>
                    <a:cubicBezTo>
                      <a:pt x="36" y="44"/>
                      <a:pt x="34" y="49"/>
                      <a:pt x="30" y="49"/>
                    </a:cubicBezTo>
                    <a:cubicBezTo>
                      <a:pt x="29" y="49"/>
                      <a:pt x="26" y="49"/>
                      <a:pt x="26" y="48"/>
                    </a:cubicBezTo>
                    <a:cubicBezTo>
                      <a:pt x="24" y="43"/>
                      <a:pt x="26" y="41"/>
                      <a:pt x="24" y="38"/>
                    </a:cubicBezTo>
                    <a:cubicBezTo>
                      <a:pt x="22" y="34"/>
                      <a:pt x="17" y="36"/>
                      <a:pt x="16" y="33"/>
                    </a:cubicBezTo>
                    <a:cubicBezTo>
                      <a:pt x="22" y="29"/>
                      <a:pt x="35" y="30"/>
                      <a:pt x="38" y="25"/>
                    </a:cubicBezTo>
                    <a:cubicBezTo>
                      <a:pt x="35" y="25"/>
                      <a:pt x="35" y="25"/>
                      <a:pt x="35" y="25"/>
                    </a:cubicBezTo>
                    <a:cubicBezTo>
                      <a:pt x="30" y="26"/>
                      <a:pt x="27" y="27"/>
                      <a:pt x="23" y="27"/>
                    </a:cubicBezTo>
                    <a:cubicBezTo>
                      <a:pt x="20" y="27"/>
                      <a:pt x="19" y="26"/>
                      <a:pt x="16" y="26"/>
                    </a:cubicBezTo>
                    <a:cubicBezTo>
                      <a:pt x="15" y="25"/>
                      <a:pt x="14" y="23"/>
                      <a:pt x="14" y="22"/>
                    </a:cubicBezTo>
                    <a:cubicBezTo>
                      <a:pt x="11" y="15"/>
                      <a:pt x="0" y="18"/>
                      <a:pt x="0" y="12"/>
                    </a:cubicBezTo>
                    <a:cubicBezTo>
                      <a:pt x="0" y="9"/>
                      <a:pt x="4" y="8"/>
                      <a:pt x="6" y="8"/>
                    </a:cubicBezTo>
                    <a:cubicBezTo>
                      <a:pt x="12" y="8"/>
                      <a:pt x="15" y="0"/>
                      <a:pt x="23" y="0"/>
                    </a:cubicBezTo>
                    <a:cubicBezTo>
                      <a:pt x="30" y="0"/>
                      <a:pt x="36" y="7"/>
                      <a:pt x="44" y="9"/>
                    </a:cubicBezTo>
                    <a:cubicBezTo>
                      <a:pt x="44" y="15"/>
                      <a:pt x="44" y="22"/>
                      <a:pt x="44" y="25"/>
                    </a:cubicBezTo>
                    <a:cubicBezTo>
                      <a:pt x="44" y="27"/>
                      <a:pt x="46" y="29"/>
                      <a:pt x="50" y="29"/>
                    </a:cubicBezTo>
                    <a:cubicBezTo>
                      <a:pt x="50" y="31"/>
                      <a:pt x="56" y="38"/>
                      <a:pt x="59" y="38"/>
                    </a:cubicBezTo>
                    <a:cubicBezTo>
                      <a:pt x="62" y="38"/>
                      <a:pt x="66" y="31"/>
                      <a:pt x="67" y="30"/>
                    </a:cubicBezTo>
                    <a:cubicBezTo>
                      <a:pt x="71" y="27"/>
                      <a:pt x="71" y="26"/>
                      <a:pt x="78" y="25"/>
                    </a:cubicBezTo>
                    <a:cubicBezTo>
                      <a:pt x="82" y="23"/>
                      <a:pt x="87" y="15"/>
                      <a:pt x="92" y="14"/>
                    </a:cubicBezTo>
                    <a:cubicBezTo>
                      <a:pt x="93" y="17"/>
                      <a:pt x="96" y="16"/>
                      <a:pt x="98" y="17"/>
                    </a:cubicBezTo>
                    <a:cubicBezTo>
                      <a:pt x="103" y="18"/>
                      <a:pt x="106" y="24"/>
                      <a:pt x="109" y="25"/>
                    </a:cubicBezTo>
                    <a:cubicBezTo>
                      <a:pt x="121" y="25"/>
                      <a:pt x="121" y="25"/>
                      <a:pt x="121" y="25"/>
                    </a:cubicBezTo>
                    <a:cubicBezTo>
                      <a:pt x="123" y="27"/>
                      <a:pt x="128" y="29"/>
                      <a:pt x="130" y="29"/>
                    </a:cubicBezTo>
                    <a:cubicBezTo>
                      <a:pt x="130" y="30"/>
                      <a:pt x="130" y="30"/>
                      <a:pt x="130" y="30"/>
                    </a:cubicBezTo>
                    <a:lnTo>
                      <a:pt x="128"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grpSp>
            <p:nvGrpSpPr>
              <p:cNvPr id="86" name="Group 361"/>
              <p:cNvGrpSpPr/>
              <p:nvPr/>
            </p:nvGrpSpPr>
            <p:grpSpPr>
              <a:xfrm>
                <a:off x="6275388" y="2917825"/>
                <a:ext cx="966788" cy="806451"/>
                <a:chOff x="6275388" y="2917825"/>
                <a:chExt cx="966788" cy="806451"/>
              </a:xfrm>
              <a:grpFill/>
            </p:grpSpPr>
            <p:sp>
              <p:nvSpPr>
                <p:cNvPr id="87" name="Freeform 7"/>
                <p:cNvSpPr>
                  <a:spLocks/>
                </p:cNvSpPr>
                <p:nvPr/>
              </p:nvSpPr>
              <p:spPr bwMode="auto">
                <a:xfrm>
                  <a:off x="6623050" y="2968625"/>
                  <a:ext cx="11113" cy="25400"/>
                </a:xfrm>
                <a:custGeom>
                  <a:avLst/>
                  <a:gdLst/>
                  <a:ahLst/>
                  <a:cxnLst>
                    <a:cxn ang="0">
                      <a:pos x="7" y="0"/>
                    </a:cxn>
                    <a:cxn ang="0">
                      <a:pos x="8" y="5"/>
                    </a:cxn>
                    <a:cxn ang="0">
                      <a:pos x="5" y="9"/>
                    </a:cxn>
                    <a:cxn ang="0">
                      <a:pos x="2" y="19"/>
                    </a:cxn>
                    <a:cxn ang="0">
                      <a:pos x="0" y="15"/>
                    </a:cxn>
                    <a:cxn ang="0">
                      <a:pos x="4" y="8"/>
                    </a:cxn>
                    <a:cxn ang="0">
                      <a:pos x="7" y="0"/>
                    </a:cxn>
                  </a:cxnLst>
                  <a:rect l="0" t="0" r="r" b="b"/>
                  <a:pathLst>
                    <a:path w="8" h="19">
                      <a:moveTo>
                        <a:pt x="7" y="0"/>
                      </a:moveTo>
                      <a:cubicBezTo>
                        <a:pt x="7" y="4"/>
                        <a:pt x="8" y="2"/>
                        <a:pt x="8" y="5"/>
                      </a:cubicBezTo>
                      <a:cubicBezTo>
                        <a:pt x="8" y="8"/>
                        <a:pt x="7" y="9"/>
                        <a:pt x="5" y="9"/>
                      </a:cubicBezTo>
                      <a:cubicBezTo>
                        <a:pt x="5" y="14"/>
                        <a:pt x="6" y="19"/>
                        <a:pt x="2" y="19"/>
                      </a:cubicBezTo>
                      <a:cubicBezTo>
                        <a:pt x="1" y="19"/>
                        <a:pt x="0" y="16"/>
                        <a:pt x="0" y="15"/>
                      </a:cubicBezTo>
                      <a:cubicBezTo>
                        <a:pt x="0" y="11"/>
                        <a:pt x="4" y="10"/>
                        <a:pt x="4" y="8"/>
                      </a:cubicBezTo>
                      <a:cubicBezTo>
                        <a:pt x="4" y="4"/>
                        <a:pt x="3" y="0"/>
                        <a:pt x="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88" name="Freeform 8"/>
                <p:cNvSpPr>
                  <a:spLocks/>
                </p:cNvSpPr>
                <p:nvPr/>
              </p:nvSpPr>
              <p:spPr bwMode="auto">
                <a:xfrm>
                  <a:off x="6867525" y="2944813"/>
                  <a:ext cx="65088" cy="38100"/>
                </a:xfrm>
                <a:custGeom>
                  <a:avLst/>
                  <a:gdLst/>
                  <a:ahLst/>
                  <a:cxnLst>
                    <a:cxn ang="0">
                      <a:pos x="13" y="27"/>
                    </a:cxn>
                    <a:cxn ang="0">
                      <a:pos x="0" y="18"/>
                    </a:cxn>
                    <a:cxn ang="0">
                      <a:pos x="13" y="18"/>
                    </a:cxn>
                    <a:cxn ang="0">
                      <a:pos x="18" y="17"/>
                    </a:cxn>
                    <a:cxn ang="0">
                      <a:pos x="35" y="13"/>
                    </a:cxn>
                    <a:cxn ang="0">
                      <a:pos x="45" y="0"/>
                    </a:cxn>
                    <a:cxn ang="0">
                      <a:pos x="49" y="7"/>
                    </a:cxn>
                    <a:cxn ang="0">
                      <a:pos x="40" y="22"/>
                    </a:cxn>
                    <a:cxn ang="0">
                      <a:pos x="19" y="29"/>
                    </a:cxn>
                    <a:cxn ang="0">
                      <a:pos x="11" y="25"/>
                    </a:cxn>
                    <a:cxn ang="0">
                      <a:pos x="13" y="27"/>
                    </a:cxn>
                  </a:cxnLst>
                  <a:rect l="0" t="0" r="r" b="b"/>
                  <a:pathLst>
                    <a:path w="49" h="29">
                      <a:moveTo>
                        <a:pt x="13" y="27"/>
                      </a:moveTo>
                      <a:cubicBezTo>
                        <a:pt x="9" y="22"/>
                        <a:pt x="1" y="24"/>
                        <a:pt x="0" y="18"/>
                      </a:cubicBezTo>
                      <a:cubicBezTo>
                        <a:pt x="13" y="18"/>
                        <a:pt x="13" y="18"/>
                        <a:pt x="13" y="18"/>
                      </a:cubicBezTo>
                      <a:cubicBezTo>
                        <a:pt x="14" y="18"/>
                        <a:pt x="18" y="17"/>
                        <a:pt x="18" y="17"/>
                      </a:cubicBezTo>
                      <a:cubicBezTo>
                        <a:pt x="25" y="14"/>
                        <a:pt x="31" y="15"/>
                        <a:pt x="35" y="13"/>
                      </a:cubicBezTo>
                      <a:cubicBezTo>
                        <a:pt x="41" y="10"/>
                        <a:pt x="39" y="0"/>
                        <a:pt x="45" y="0"/>
                      </a:cubicBezTo>
                      <a:cubicBezTo>
                        <a:pt x="48" y="0"/>
                        <a:pt x="49" y="4"/>
                        <a:pt x="49" y="7"/>
                      </a:cubicBezTo>
                      <a:cubicBezTo>
                        <a:pt x="49" y="16"/>
                        <a:pt x="40" y="14"/>
                        <a:pt x="40" y="22"/>
                      </a:cubicBezTo>
                      <a:cubicBezTo>
                        <a:pt x="32" y="24"/>
                        <a:pt x="28" y="29"/>
                        <a:pt x="19" y="29"/>
                      </a:cubicBezTo>
                      <a:cubicBezTo>
                        <a:pt x="17" y="29"/>
                        <a:pt x="11" y="26"/>
                        <a:pt x="11" y="25"/>
                      </a:cubicBezTo>
                      <a:lnTo>
                        <a:pt x="13"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89" name="Freeform 10"/>
                <p:cNvSpPr>
                  <a:spLocks/>
                </p:cNvSpPr>
                <p:nvPr/>
              </p:nvSpPr>
              <p:spPr bwMode="auto">
                <a:xfrm>
                  <a:off x="6911975" y="2917825"/>
                  <a:ext cx="34925" cy="34925"/>
                </a:xfrm>
                <a:custGeom>
                  <a:avLst/>
                  <a:gdLst/>
                  <a:ahLst/>
                  <a:cxnLst>
                    <a:cxn ang="0">
                      <a:pos x="23" y="25"/>
                    </a:cxn>
                    <a:cxn ang="0">
                      <a:pos x="19" y="17"/>
                    </a:cxn>
                    <a:cxn ang="0">
                      <a:pos x="8" y="6"/>
                    </a:cxn>
                    <a:cxn ang="0">
                      <a:pos x="0" y="0"/>
                    </a:cxn>
                    <a:cxn ang="0">
                      <a:pos x="18" y="13"/>
                    </a:cxn>
                    <a:cxn ang="0">
                      <a:pos x="26" y="22"/>
                    </a:cxn>
                    <a:cxn ang="0">
                      <a:pos x="26" y="25"/>
                    </a:cxn>
                    <a:cxn ang="0">
                      <a:pos x="23" y="25"/>
                    </a:cxn>
                  </a:cxnLst>
                  <a:rect l="0" t="0" r="r" b="b"/>
                  <a:pathLst>
                    <a:path w="26" h="26">
                      <a:moveTo>
                        <a:pt x="23" y="25"/>
                      </a:moveTo>
                      <a:cubicBezTo>
                        <a:pt x="18" y="24"/>
                        <a:pt x="18" y="21"/>
                        <a:pt x="19" y="17"/>
                      </a:cubicBezTo>
                      <a:cubicBezTo>
                        <a:pt x="13" y="14"/>
                        <a:pt x="14" y="9"/>
                        <a:pt x="8" y="6"/>
                      </a:cubicBezTo>
                      <a:cubicBezTo>
                        <a:pt x="5" y="4"/>
                        <a:pt x="2" y="4"/>
                        <a:pt x="0" y="0"/>
                      </a:cubicBezTo>
                      <a:cubicBezTo>
                        <a:pt x="9" y="3"/>
                        <a:pt x="13" y="8"/>
                        <a:pt x="18" y="13"/>
                      </a:cubicBezTo>
                      <a:cubicBezTo>
                        <a:pt x="21" y="17"/>
                        <a:pt x="26" y="16"/>
                        <a:pt x="26" y="22"/>
                      </a:cubicBezTo>
                      <a:cubicBezTo>
                        <a:pt x="26" y="23"/>
                        <a:pt x="26" y="24"/>
                        <a:pt x="26" y="25"/>
                      </a:cubicBezTo>
                      <a:cubicBezTo>
                        <a:pt x="25" y="25"/>
                        <a:pt x="24" y="26"/>
                        <a:pt x="23"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0" name="Freeform 11"/>
                <p:cNvSpPr>
                  <a:spLocks/>
                </p:cNvSpPr>
                <p:nvPr/>
              </p:nvSpPr>
              <p:spPr bwMode="auto">
                <a:xfrm>
                  <a:off x="6972300" y="2967038"/>
                  <a:ext cx="17463" cy="20638"/>
                </a:xfrm>
                <a:custGeom>
                  <a:avLst/>
                  <a:gdLst/>
                  <a:ahLst/>
                  <a:cxnLst>
                    <a:cxn ang="0">
                      <a:pos x="7" y="9"/>
                    </a:cxn>
                    <a:cxn ang="0">
                      <a:pos x="1" y="0"/>
                    </a:cxn>
                    <a:cxn ang="0">
                      <a:pos x="13" y="12"/>
                    </a:cxn>
                    <a:cxn ang="0">
                      <a:pos x="10" y="16"/>
                    </a:cxn>
                    <a:cxn ang="0">
                      <a:pos x="7" y="13"/>
                    </a:cxn>
                    <a:cxn ang="0">
                      <a:pos x="7" y="9"/>
                    </a:cxn>
                  </a:cxnLst>
                  <a:rect l="0" t="0" r="r" b="b"/>
                  <a:pathLst>
                    <a:path w="13" h="16">
                      <a:moveTo>
                        <a:pt x="7" y="9"/>
                      </a:moveTo>
                      <a:cubicBezTo>
                        <a:pt x="2" y="9"/>
                        <a:pt x="0" y="4"/>
                        <a:pt x="1" y="0"/>
                      </a:cubicBezTo>
                      <a:cubicBezTo>
                        <a:pt x="4" y="1"/>
                        <a:pt x="13" y="11"/>
                        <a:pt x="13" y="12"/>
                      </a:cubicBezTo>
                      <a:cubicBezTo>
                        <a:pt x="13" y="14"/>
                        <a:pt x="11" y="16"/>
                        <a:pt x="10" y="16"/>
                      </a:cubicBezTo>
                      <a:cubicBezTo>
                        <a:pt x="9" y="16"/>
                        <a:pt x="7" y="14"/>
                        <a:pt x="7" y="13"/>
                      </a:cubicBezTo>
                      <a:cubicBezTo>
                        <a:pt x="7" y="12"/>
                        <a:pt x="7" y="11"/>
                        <a:pt x="7"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1" name="Freeform 12"/>
                <p:cNvSpPr>
                  <a:spLocks/>
                </p:cNvSpPr>
                <p:nvPr/>
              </p:nvSpPr>
              <p:spPr bwMode="auto">
                <a:xfrm>
                  <a:off x="7086600" y="3046413"/>
                  <a:ext cx="9525" cy="11113"/>
                </a:xfrm>
                <a:custGeom>
                  <a:avLst/>
                  <a:gdLst/>
                  <a:ahLst/>
                  <a:cxnLst>
                    <a:cxn ang="0">
                      <a:pos x="7" y="6"/>
                    </a:cxn>
                    <a:cxn ang="0">
                      <a:pos x="7" y="9"/>
                    </a:cxn>
                    <a:cxn ang="0">
                      <a:pos x="0" y="0"/>
                    </a:cxn>
                    <a:cxn ang="0">
                      <a:pos x="7" y="6"/>
                    </a:cxn>
                  </a:cxnLst>
                  <a:rect l="0" t="0" r="r" b="b"/>
                  <a:pathLst>
                    <a:path w="7" h="9">
                      <a:moveTo>
                        <a:pt x="7" y="6"/>
                      </a:moveTo>
                      <a:cubicBezTo>
                        <a:pt x="7" y="7"/>
                        <a:pt x="7" y="8"/>
                        <a:pt x="7" y="9"/>
                      </a:cubicBezTo>
                      <a:cubicBezTo>
                        <a:pt x="3" y="9"/>
                        <a:pt x="0" y="2"/>
                        <a:pt x="0" y="0"/>
                      </a:cubicBezTo>
                      <a:cubicBezTo>
                        <a:pt x="4" y="2"/>
                        <a:pt x="7" y="3"/>
                        <a:pt x="7"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2" name="Freeform 13"/>
                <p:cNvSpPr>
                  <a:spLocks/>
                </p:cNvSpPr>
                <p:nvPr/>
              </p:nvSpPr>
              <p:spPr bwMode="auto">
                <a:xfrm>
                  <a:off x="7061200" y="3036888"/>
                  <a:ext cx="20638" cy="9525"/>
                </a:xfrm>
                <a:custGeom>
                  <a:avLst/>
                  <a:gdLst/>
                  <a:ahLst/>
                  <a:cxnLst>
                    <a:cxn ang="0">
                      <a:pos x="15" y="6"/>
                    </a:cxn>
                    <a:cxn ang="0">
                      <a:pos x="12" y="7"/>
                    </a:cxn>
                    <a:cxn ang="0">
                      <a:pos x="0" y="0"/>
                    </a:cxn>
                    <a:cxn ang="0">
                      <a:pos x="15" y="6"/>
                    </a:cxn>
                  </a:cxnLst>
                  <a:rect l="0" t="0" r="r" b="b"/>
                  <a:pathLst>
                    <a:path w="15" h="7">
                      <a:moveTo>
                        <a:pt x="15" y="6"/>
                      </a:moveTo>
                      <a:cubicBezTo>
                        <a:pt x="14" y="6"/>
                        <a:pt x="13" y="7"/>
                        <a:pt x="12" y="7"/>
                      </a:cubicBezTo>
                      <a:cubicBezTo>
                        <a:pt x="7" y="7"/>
                        <a:pt x="0" y="5"/>
                        <a:pt x="0" y="0"/>
                      </a:cubicBezTo>
                      <a:cubicBezTo>
                        <a:pt x="7" y="0"/>
                        <a:pt x="11" y="1"/>
                        <a:pt x="15"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3" name="Freeform 14"/>
                <p:cNvSpPr>
                  <a:spLocks/>
                </p:cNvSpPr>
                <p:nvPr/>
              </p:nvSpPr>
              <p:spPr bwMode="auto">
                <a:xfrm>
                  <a:off x="7064375" y="3013075"/>
                  <a:ext cx="17463" cy="19050"/>
                </a:xfrm>
                <a:custGeom>
                  <a:avLst/>
                  <a:gdLst/>
                  <a:ahLst/>
                  <a:cxnLst>
                    <a:cxn ang="0">
                      <a:pos x="13" y="14"/>
                    </a:cxn>
                    <a:cxn ang="0">
                      <a:pos x="0" y="0"/>
                    </a:cxn>
                    <a:cxn ang="0">
                      <a:pos x="13" y="14"/>
                    </a:cxn>
                  </a:cxnLst>
                  <a:rect l="0" t="0" r="r" b="b"/>
                  <a:pathLst>
                    <a:path w="13" h="14">
                      <a:moveTo>
                        <a:pt x="13" y="14"/>
                      </a:moveTo>
                      <a:cubicBezTo>
                        <a:pt x="9" y="14"/>
                        <a:pt x="1" y="3"/>
                        <a:pt x="0" y="0"/>
                      </a:cubicBezTo>
                      <a:cubicBezTo>
                        <a:pt x="6" y="3"/>
                        <a:pt x="11" y="7"/>
                        <a:pt x="13"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4" name="Freeform 15"/>
                <p:cNvSpPr>
                  <a:spLocks/>
                </p:cNvSpPr>
                <p:nvPr/>
              </p:nvSpPr>
              <p:spPr bwMode="auto">
                <a:xfrm>
                  <a:off x="7027863" y="2998788"/>
                  <a:ext cx="23813" cy="14288"/>
                </a:xfrm>
                <a:custGeom>
                  <a:avLst/>
                  <a:gdLst/>
                  <a:ahLst/>
                  <a:cxnLst>
                    <a:cxn ang="0">
                      <a:pos x="2" y="0"/>
                    </a:cxn>
                    <a:cxn ang="0">
                      <a:pos x="17" y="9"/>
                    </a:cxn>
                    <a:cxn ang="0">
                      <a:pos x="14" y="10"/>
                    </a:cxn>
                    <a:cxn ang="0">
                      <a:pos x="0" y="1"/>
                    </a:cxn>
                    <a:cxn ang="0">
                      <a:pos x="1" y="1"/>
                    </a:cxn>
                    <a:cxn ang="0">
                      <a:pos x="2" y="0"/>
                    </a:cxn>
                  </a:cxnLst>
                  <a:rect l="0" t="0" r="r" b="b"/>
                  <a:pathLst>
                    <a:path w="17" h="10">
                      <a:moveTo>
                        <a:pt x="2" y="0"/>
                      </a:moveTo>
                      <a:cubicBezTo>
                        <a:pt x="6" y="2"/>
                        <a:pt x="15" y="5"/>
                        <a:pt x="17" y="9"/>
                      </a:cubicBezTo>
                      <a:cubicBezTo>
                        <a:pt x="17" y="9"/>
                        <a:pt x="15" y="10"/>
                        <a:pt x="14" y="10"/>
                      </a:cubicBezTo>
                      <a:cubicBezTo>
                        <a:pt x="10" y="10"/>
                        <a:pt x="0" y="6"/>
                        <a:pt x="0" y="1"/>
                      </a:cubicBezTo>
                      <a:cubicBezTo>
                        <a:pt x="1" y="1"/>
                        <a:pt x="1" y="1"/>
                        <a:pt x="1" y="1"/>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5" name="Freeform 16"/>
                <p:cNvSpPr>
                  <a:spLocks/>
                </p:cNvSpPr>
                <p:nvPr/>
              </p:nvSpPr>
              <p:spPr bwMode="auto">
                <a:xfrm>
                  <a:off x="7002463" y="2984500"/>
                  <a:ext cx="14288" cy="7938"/>
                </a:xfrm>
                <a:custGeom>
                  <a:avLst/>
                  <a:gdLst/>
                  <a:ahLst/>
                  <a:cxnLst>
                    <a:cxn ang="0">
                      <a:pos x="0" y="0"/>
                    </a:cxn>
                    <a:cxn ang="0">
                      <a:pos x="11" y="6"/>
                    </a:cxn>
                    <a:cxn ang="0">
                      <a:pos x="7" y="6"/>
                    </a:cxn>
                    <a:cxn ang="0">
                      <a:pos x="0" y="2"/>
                    </a:cxn>
                    <a:cxn ang="0">
                      <a:pos x="3" y="1"/>
                    </a:cxn>
                    <a:cxn ang="0">
                      <a:pos x="0" y="0"/>
                    </a:cxn>
                  </a:cxnLst>
                  <a:rect l="0" t="0" r="r" b="b"/>
                  <a:pathLst>
                    <a:path w="11" h="6">
                      <a:moveTo>
                        <a:pt x="0" y="0"/>
                      </a:moveTo>
                      <a:cubicBezTo>
                        <a:pt x="5" y="3"/>
                        <a:pt x="8" y="2"/>
                        <a:pt x="11" y="6"/>
                      </a:cubicBezTo>
                      <a:cubicBezTo>
                        <a:pt x="7" y="6"/>
                        <a:pt x="7" y="6"/>
                        <a:pt x="7" y="6"/>
                      </a:cubicBezTo>
                      <a:cubicBezTo>
                        <a:pt x="0" y="2"/>
                        <a:pt x="0" y="2"/>
                        <a:pt x="0" y="2"/>
                      </a:cubicBezTo>
                      <a:cubicBezTo>
                        <a:pt x="1" y="2"/>
                        <a:pt x="3" y="2"/>
                        <a:pt x="3" y="1"/>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6" name="Freeform 17"/>
                <p:cNvSpPr>
                  <a:spLocks/>
                </p:cNvSpPr>
                <p:nvPr/>
              </p:nvSpPr>
              <p:spPr bwMode="auto">
                <a:xfrm>
                  <a:off x="6800850" y="3594100"/>
                  <a:ext cx="63500" cy="65088"/>
                </a:xfrm>
                <a:custGeom>
                  <a:avLst/>
                  <a:gdLst/>
                  <a:ahLst/>
                  <a:cxnLst>
                    <a:cxn ang="0">
                      <a:pos x="24" y="7"/>
                    </a:cxn>
                    <a:cxn ang="0">
                      <a:pos x="43" y="3"/>
                    </a:cxn>
                    <a:cxn ang="0">
                      <a:pos x="48" y="16"/>
                    </a:cxn>
                    <a:cxn ang="0">
                      <a:pos x="27" y="49"/>
                    </a:cxn>
                    <a:cxn ang="0">
                      <a:pos x="0" y="7"/>
                    </a:cxn>
                    <a:cxn ang="0">
                      <a:pos x="24" y="7"/>
                    </a:cxn>
                  </a:cxnLst>
                  <a:rect l="0" t="0" r="r" b="b"/>
                  <a:pathLst>
                    <a:path w="48" h="49">
                      <a:moveTo>
                        <a:pt x="24" y="7"/>
                      </a:moveTo>
                      <a:cubicBezTo>
                        <a:pt x="30" y="7"/>
                        <a:pt x="37" y="5"/>
                        <a:pt x="43" y="3"/>
                      </a:cubicBezTo>
                      <a:cubicBezTo>
                        <a:pt x="45" y="8"/>
                        <a:pt x="48" y="11"/>
                        <a:pt x="48" y="16"/>
                      </a:cubicBezTo>
                      <a:cubicBezTo>
                        <a:pt x="48" y="26"/>
                        <a:pt x="36" y="49"/>
                        <a:pt x="27" y="49"/>
                      </a:cubicBezTo>
                      <a:cubicBezTo>
                        <a:pt x="14" y="49"/>
                        <a:pt x="0" y="16"/>
                        <a:pt x="0" y="7"/>
                      </a:cubicBezTo>
                      <a:cubicBezTo>
                        <a:pt x="0" y="0"/>
                        <a:pt x="24" y="7"/>
                        <a:pt x="24"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7" name="Freeform 18"/>
                <p:cNvSpPr>
                  <a:spLocks/>
                </p:cNvSpPr>
                <p:nvPr/>
              </p:nvSpPr>
              <p:spPr bwMode="auto">
                <a:xfrm>
                  <a:off x="6275388" y="3057525"/>
                  <a:ext cx="676275" cy="509588"/>
                </a:xfrm>
                <a:custGeom>
                  <a:avLst/>
                  <a:gdLst/>
                  <a:ahLst/>
                  <a:cxnLst>
                    <a:cxn ang="0">
                      <a:pos x="508" y="232"/>
                    </a:cxn>
                    <a:cxn ang="0">
                      <a:pos x="501" y="272"/>
                    </a:cxn>
                    <a:cxn ang="0">
                      <a:pos x="478" y="312"/>
                    </a:cxn>
                    <a:cxn ang="0">
                      <a:pos x="465" y="351"/>
                    </a:cxn>
                    <a:cxn ang="0">
                      <a:pos x="398" y="370"/>
                    </a:cxn>
                    <a:cxn ang="0">
                      <a:pos x="335" y="350"/>
                    </a:cxn>
                    <a:cxn ang="0">
                      <a:pos x="329" y="330"/>
                    </a:cxn>
                    <a:cxn ang="0">
                      <a:pos x="314" y="333"/>
                    </a:cxn>
                    <a:cxn ang="0">
                      <a:pos x="313" y="315"/>
                    </a:cxn>
                    <a:cxn ang="0">
                      <a:pos x="301" y="329"/>
                    </a:cxn>
                    <a:cxn ang="0">
                      <a:pos x="310" y="292"/>
                    </a:cxn>
                    <a:cxn ang="0">
                      <a:pos x="278" y="315"/>
                    </a:cxn>
                    <a:cxn ang="0">
                      <a:pos x="214" y="276"/>
                    </a:cxn>
                    <a:cxn ang="0">
                      <a:pos x="131" y="308"/>
                    </a:cxn>
                    <a:cxn ang="0">
                      <a:pos x="93" y="311"/>
                    </a:cxn>
                    <a:cxn ang="0">
                      <a:pos x="22" y="310"/>
                    </a:cxn>
                    <a:cxn ang="0">
                      <a:pos x="23" y="262"/>
                    </a:cxn>
                    <a:cxn ang="0">
                      <a:pos x="2" y="204"/>
                    </a:cxn>
                    <a:cxn ang="0">
                      <a:pos x="9" y="204"/>
                    </a:cxn>
                    <a:cxn ang="0">
                      <a:pos x="3" y="176"/>
                    </a:cxn>
                    <a:cxn ang="0">
                      <a:pos x="8" y="145"/>
                    </a:cxn>
                    <a:cxn ang="0">
                      <a:pos x="32" y="132"/>
                    </a:cxn>
                    <a:cxn ang="0">
                      <a:pos x="114" y="95"/>
                    </a:cxn>
                    <a:cxn ang="0">
                      <a:pos x="119" y="76"/>
                    </a:cxn>
                    <a:cxn ang="0">
                      <a:pos x="131" y="71"/>
                    </a:cxn>
                    <a:cxn ang="0">
                      <a:pos x="150" y="50"/>
                    </a:cxn>
                    <a:cxn ang="0">
                      <a:pos x="187" y="58"/>
                    </a:cxn>
                    <a:cxn ang="0">
                      <a:pos x="203" y="56"/>
                    </a:cxn>
                    <a:cxn ang="0">
                      <a:pos x="211" y="30"/>
                    </a:cxn>
                    <a:cxn ang="0">
                      <a:pos x="244" y="17"/>
                    </a:cxn>
                    <a:cxn ang="0">
                      <a:pos x="276" y="19"/>
                    </a:cxn>
                    <a:cxn ang="0">
                      <a:pos x="297" y="23"/>
                    </a:cxn>
                    <a:cxn ang="0">
                      <a:pos x="281" y="54"/>
                    </a:cxn>
                    <a:cxn ang="0">
                      <a:pos x="295" y="68"/>
                    </a:cxn>
                    <a:cxn ang="0">
                      <a:pos x="341" y="90"/>
                    </a:cxn>
                    <a:cxn ang="0">
                      <a:pos x="359" y="15"/>
                    </a:cxn>
                    <a:cxn ang="0">
                      <a:pos x="381" y="28"/>
                    </a:cxn>
                    <a:cxn ang="0">
                      <a:pos x="400" y="50"/>
                    </a:cxn>
                    <a:cxn ang="0">
                      <a:pos x="419" y="104"/>
                    </a:cxn>
                    <a:cxn ang="0">
                      <a:pos x="457" y="146"/>
                    </a:cxn>
                    <a:cxn ang="0">
                      <a:pos x="497" y="185"/>
                    </a:cxn>
                  </a:cxnLst>
                  <a:rect l="0" t="0" r="r" b="b"/>
                  <a:pathLst>
                    <a:path w="508" h="383">
                      <a:moveTo>
                        <a:pt x="496" y="186"/>
                      </a:moveTo>
                      <a:cubicBezTo>
                        <a:pt x="503" y="195"/>
                        <a:pt x="508" y="219"/>
                        <a:pt x="508" y="232"/>
                      </a:cubicBezTo>
                      <a:cubicBezTo>
                        <a:pt x="508" y="242"/>
                        <a:pt x="505" y="256"/>
                        <a:pt x="501" y="260"/>
                      </a:cubicBezTo>
                      <a:cubicBezTo>
                        <a:pt x="501" y="272"/>
                        <a:pt x="501" y="272"/>
                        <a:pt x="501" y="272"/>
                      </a:cubicBezTo>
                      <a:cubicBezTo>
                        <a:pt x="499" y="276"/>
                        <a:pt x="500" y="277"/>
                        <a:pt x="498" y="281"/>
                      </a:cubicBezTo>
                      <a:cubicBezTo>
                        <a:pt x="490" y="293"/>
                        <a:pt x="482" y="298"/>
                        <a:pt x="478" y="312"/>
                      </a:cubicBezTo>
                      <a:cubicBezTo>
                        <a:pt x="474" y="322"/>
                        <a:pt x="465" y="336"/>
                        <a:pt x="465" y="352"/>
                      </a:cubicBezTo>
                      <a:cubicBezTo>
                        <a:pt x="465" y="351"/>
                        <a:pt x="465" y="351"/>
                        <a:pt x="465" y="351"/>
                      </a:cubicBezTo>
                      <a:cubicBezTo>
                        <a:pt x="460" y="371"/>
                        <a:pt x="424" y="362"/>
                        <a:pt x="420" y="383"/>
                      </a:cubicBezTo>
                      <a:cubicBezTo>
                        <a:pt x="417" y="382"/>
                        <a:pt x="399" y="372"/>
                        <a:pt x="398" y="370"/>
                      </a:cubicBezTo>
                      <a:cubicBezTo>
                        <a:pt x="388" y="371"/>
                        <a:pt x="392" y="379"/>
                        <a:pt x="381" y="379"/>
                      </a:cubicBezTo>
                      <a:cubicBezTo>
                        <a:pt x="363" y="379"/>
                        <a:pt x="335" y="368"/>
                        <a:pt x="335" y="350"/>
                      </a:cubicBezTo>
                      <a:cubicBezTo>
                        <a:pt x="335" y="343"/>
                        <a:pt x="329" y="338"/>
                        <a:pt x="329" y="332"/>
                      </a:cubicBezTo>
                      <a:cubicBezTo>
                        <a:pt x="329" y="332"/>
                        <a:pt x="329" y="330"/>
                        <a:pt x="329" y="330"/>
                      </a:cubicBezTo>
                      <a:cubicBezTo>
                        <a:pt x="325" y="332"/>
                        <a:pt x="323" y="332"/>
                        <a:pt x="320" y="333"/>
                      </a:cubicBezTo>
                      <a:cubicBezTo>
                        <a:pt x="314" y="333"/>
                        <a:pt x="314" y="333"/>
                        <a:pt x="314" y="333"/>
                      </a:cubicBezTo>
                      <a:cubicBezTo>
                        <a:pt x="316" y="330"/>
                        <a:pt x="318" y="328"/>
                        <a:pt x="318" y="323"/>
                      </a:cubicBezTo>
                      <a:cubicBezTo>
                        <a:pt x="318" y="318"/>
                        <a:pt x="315" y="316"/>
                        <a:pt x="313" y="315"/>
                      </a:cubicBezTo>
                      <a:cubicBezTo>
                        <a:pt x="313" y="316"/>
                        <a:pt x="312" y="318"/>
                        <a:pt x="312" y="319"/>
                      </a:cubicBezTo>
                      <a:cubicBezTo>
                        <a:pt x="308" y="321"/>
                        <a:pt x="308" y="329"/>
                        <a:pt x="301" y="329"/>
                      </a:cubicBezTo>
                      <a:cubicBezTo>
                        <a:pt x="299" y="329"/>
                        <a:pt x="297" y="326"/>
                        <a:pt x="297" y="324"/>
                      </a:cubicBezTo>
                      <a:cubicBezTo>
                        <a:pt x="308" y="322"/>
                        <a:pt x="310" y="299"/>
                        <a:pt x="310" y="292"/>
                      </a:cubicBezTo>
                      <a:cubicBezTo>
                        <a:pt x="302" y="300"/>
                        <a:pt x="291" y="323"/>
                        <a:pt x="281" y="323"/>
                      </a:cubicBezTo>
                      <a:cubicBezTo>
                        <a:pt x="276" y="323"/>
                        <a:pt x="278" y="315"/>
                        <a:pt x="278" y="315"/>
                      </a:cubicBezTo>
                      <a:cubicBezTo>
                        <a:pt x="275" y="315"/>
                        <a:pt x="265" y="294"/>
                        <a:pt x="262" y="289"/>
                      </a:cubicBezTo>
                      <a:cubicBezTo>
                        <a:pt x="254" y="280"/>
                        <a:pt x="228" y="276"/>
                        <a:pt x="214" y="276"/>
                      </a:cubicBezTo>
                      <a:cubicBezTo>
                        <a:pt x="198" y="276"/>
                        <a:pt x="195" y="283"/>
                        <a:pt x="185" y="286"/>
                      </a:cubicBezTo>
                      <a:cubicBezTo>
                        <a:pt x="163" y="293"/>
                        <a:pt x="135" y="285"/>
                        <a:pt x="131" y="308"/>
                      </a:cubicBezTo>
                      <a:cubicBezTo>
                        <a:pt x="122" y="309"/>
                        <a:pt x="115" y="311"/>
                        <a:pt x="105" y="311"/>
                      </a:cubicBezTo>
                      <a:cubicBezTo>
                        <a:pt x="98" y="307"/>
                        <a:pt x="98" y="311"/>
                        <a:pt x="93" y="311"/>
                      </a:cubicBezTo>
                      <a:cubicBezTo>
                        <a:pt x="77" y="311"/>
                        <a:pt x="71" y="326"/>
                        <a:pt x="51" y="326"/>
                      </a:cubicBezTo>
                      <a:cubicBezTo>
                        <a:pt x="43" y="326"/>
                        <a:pt x="22" y="316"/>
                        <a:pt x="22" y="310"/>
                      </a:cubicBezTo>
                      <a:cubicBezTo>
                        <a:pt x="22" y="303"/>
                        <a:pt x="32" y="300"/>
                        <a:pt x="32" y="290"/>
                      </a:cubicBezTo>
                      <a:cubicBezTo>
                        <a:pt x="32" y="277"/>
                        <a:pt x="26" y="270"/>
                        <a:pt x="23" y="262"/>
                      </a:cubicBezTo>
                      <a:cubicBezTo>
                        <a:pt x="18" y="243"/>
                        <a:pt x="17" y="237"/>
                        <a:pt x="11" y="220"/>
                      </a:cubicBezTo>
                      <a:cubicBezTo>
                        <a:pt x="9" y="213"/>
                        <a:pt x="0" y="211"/>
                        <a:pt x="2" y="204"/>
                      </a:cubicBezTo>
                      <a:cubicBezTo>
                        <a:pt x="3" y="202"/>
                        <a:pt x="3" y="201"/>
                        <a:pt x="5" y="198"/>
                      </a:cubicBezTo>
                      <a:cubicBezTo>
                        <a:pt x="6" y="201"/>
                        <a:pt x="7" y="203"/>
                        <a:pt x="9" y="204"/>
                      </a:cubicBezTo>
                      <a:cubicBezTo>
                        <a:pt x="10" y="202"/>
                        <a:pt x="9" y="201"/>
                        <a:pt x="9" y="198"/>
                      </a:cubicBezTo>
                      <a:cubicBezTo>
                        <a:pt x="9" y="192"/>
                        <a:pt x="3" y="187"/>
                        <a:pt x="3" y="176"/>
                      </a:cubicBezTo>
                      <a:cubicBezTo>
                        <a:pt x="3" y="162"/>
                        <a:pt x="3" y="161"/>
                        <a:pt x="3" y="150"/>
                      </a:cubicBezTo>
                      <a:cubicBezTo>
                        <a:pt x="3" y="146"/>
                        <a:pt x="7" y="146"/>
                        <a:pt x="8" y="145"/>
                      </a:cubicBezTo>
                      <a:cubicBezTo>
                        <a:pt x="9" y="146"/>
                        <a:pt x="9" y="148"/>
                        <a:pt x="9" y="149"/>
                      </a:cubicBezTo>
                      <a:cubicBezTo>
                        <a:pt x="17" y="148"/>
                        <a:pt x="27" y="137"/>
                        <a:pt x="32" y="132"/>
                      </a:cubicBezTo>
                      <a:cubicBezTo>
                        <a:pt x="37" y="127"/>
                        <a:pt x="53" y="126"/>
                        <a:pt x="62" y="125"/>
                      </a:cubicBezTo>
                      <a:cubicBezTo>
                        <a:pt x="78" y="122"/>
                        <a:pt x="114" y="110"/>
                        <a:pt x="114" y="95"/>
                      </a:cubicBezTo>
                      <a:cubicBezTo>
                        <a:pt x="114" y="92"/>
                        <a:pt x="114" y="90"/>
                        <a:pt x="114" y="87"/>
                      </a:cubicBezTo>
                      <a:cubicBezTo>
                        <a:pt x="114" y="83"/>
                        <a:pt x="115" y="79"/>
                        <a:pt x="119" y="76"/>
                      </a:cubicBezTo>
                      <a:cubicBezTo>
                        <a:pt x="122" y="80"/>
                        <a:pt x="124" y="82"/>
                        <a:pt x="126" y="85"/>
                      </a:cubicBezTo>
                      <a:cubicBezTo>
                        <a:pt x="131" y="82"/>
                        <a:pt x="129" y="75"/>
                        <a:pt x="131" y="71"/>
                      </a:cubicBezTo>
                      <a:cubicBezTo>
                        <a:pt x="134" y="72"/>
                        <a:pt x="137" y="74"/>
                        <a:pt x="140" y="74"/>
                      </a:cubicBezTo>
                      <a:cubicBezTo>
                        <a:pt x="140" y="62"/>
                        <a:pt x="149" y="60"/>
                        <a:pt x="150" y="50"/>
                      </a:cubicBezTo>
                      <a:cubicBezTo>
                        <a:pt x="162" y="50"/>
                        <a:pt x="164" y="41"/>
                        <a:pt x="173" y="41"/>
                      </a:cubicBezTo>
                      <a:cubicBezTo>
                        <a:pt x="181" y="41"/>
                        <a:pt x="186" y="50"/>
                        <a:pt x="187" y="58"/>
                      </a:cubicBezTo>
                      <a:cubicBezTo>
                        <a:pt x="189" y="55"/>
                        <a:pt x="192" y="53"/>
                        <a:pt x="196" y="53"/>
                      </a:cubicBezTo>
                      <a:cubicBezTo>
                        <a:pt x="198" y="53"/>
                        <a:pt x="202" y="56"/>
                        <a:pt x="203" y="56"/>
                      </a:cubicBezTo>
                      <a:cubicBezTo>
                        <a:pt x="205" y="52"/>
                        <a:pt x="204" y="49"/>
                        <a:pt x="204" y="45"/>
                      </a:cubicBezTo>
                      <a:cubicBezTo>
                        <a:pt x="204" y="39"/>
                        <a:pt x="211" y="36"/>
                        <a:pt x="211" y="30"/>
                      </a:cubicBezTo>
                      <a:cubicBezTo>
                        <a:pt x="211" y="24"/>
                        <a:pt x="228" y="20"/>
                        <a:pt x="236" y="20"/>
                      </a:cubicBezTo>
                      <a:cubicBezTo>
                        <a:pt x="239" y="20"/>
                        <a:pt x="243" y="17"/>
                        <a:pt x="244" y="17"/>
                      </a:cubicBezTo>
                      <a:cubicBezTo>
                        <a:pt x="241" y="13"/>
                        <a:pt x="237" y="11"/>
                        <a:pt x="236" y="7"/>
                      </a:cubicBezTo>
                      <a:cubicBezTo>
                        <a:pt x="251" y="13"/>
                        <a:pt x="260" y="19"/>
                        <a:pt x="276" y="19"/>
                      </a:cubicBezTo>
                      <a:cubicBezTo>
                        <a:pt x="281" y="19"/>
                        <a:pt x="283" y="15"/>
                        <a:pt x="288" y="15"/>
                      </a:cubicBezTo>
                      <a:cubicBezTo>
                        <a:pt x="291" y="15"/>
                        <a:pt x="297" y="20"/>
                        <a:pt x="297" y="23"/>
                      </a:cubicBezTo>
                      <a:cubicBezTo>
                        <a:pt x="297" y="29"/>
                        <a:pt x="290" y="30"/>
                        <a:pt x="287" y="32"/>
                      </a:cubicBezTo>
                      <a:cubicBezTo>
                        <a:pt x="281" y="54"/>
                        <a:pt x="281" y="54"/>
                        <a:pt x="281" y="54"/>
                      </a:cubicBezTo>
                      <a:cubicBezTo>
                        <a:pt x="281" y="58"/>
                        <a:pt x="288" y="57"/>
                        <a:pt x="290" y="59"/>
                      </a:cubicBezTo>
                      <a:cubicBezTo>
                        <a:pt x="293" y="60"/>
                        <a:pt x="293" y="67"/>
                        <a:pt x="295" y="68"/>
                      </a:cubicBezTo>
                      <a:cubicBezTo>
                        <a:pt x="306" y="72"/>
                        <a:pt x="313" y="74"/>
                        <a:pt x="324" y="79"/>
                      </a:cubicBezTo>
                      <a:cubicBezTo>
                        <a:pt x="330" y="81"/>
                        <a:pt x="333" y="90"/>
                        <a:pt x="341" y="90"/>
                      </a:cubicBezTo>
                      <a:cubicBezTo>
                        <a:pt x="355" y="90"/>
                        <a:pt x="357" y="64"/>
                        <a:pt x="359" y="54"/>
                      </a:cubicBezTo>
                      <a:cubicBezTo>
                        <a:pt x="359" y="15"/>
                        <a:pt x="359" y="15"/>
                        <a:pt x="359" y="15"/>
                      </a:cubicBezTo>
                      <a:cubicBezTo>
                        <a:pt x="366" y="9"/>
                        <a:pt x="364" y="4"/>
                        <a:pt x="372" y="0"/>
                      </a:cubicBezTo>
                      <a:cubicBezTo>
                        <a:pt x="373" y="11"/>
                        <a:pt x="379" y="19"/>
                        <a:pt x="381" y="28"/>
                      </a:cubicBezTo>
                      <a:cubicBezTo>
                        <a:pt x="383" y="34"/>
                        <a:pt x="381" y="42"/>
                        <a:pt x="386" y="45"/>
                      </a:cubicBezTo>
                      <a:cubicBezTo>
                        <a:pt x="390" y="47"/>
                        <a:pt x="399" y="49"/>
                        <a:pt x="400" y="50"/>
                      </a:cubicBezTo>
                      <a:cubicBezTo>
                        <a:pt x="406" y="54"/>
                        <a:pt x="406" y="68"/>
                        <a:pt x="408" y="75"/>
                      </a:cubicBezTo>
                      <a:cubicBezTo>
                        <a:pt x="412" y="87"/>
                        <a:pt x="415" y="93"/>
                        <a:pt x="419" y="104"/>
                      </a:cubicBezTo>
                      <a:cubicBezTo>
                        <a:pt x="422" y="114"/>
                        <a:pt x="441" y="118"/>
                        <a:pt x="449" y="126"/>
                      </a:cubicBezTo>
                      <a:cubicBezTo>
                        <a:pt x="454" y="131"/>
                        <a:pt x="455" y="139"/>
                        <a:pt x="457" y="146"/>
                      </a:cubicBezTo>
                      <a:cubicBezTo>
                        <a:pt x="459" y="151"/>
                        <a:pt x="466" y="151"/>
                        <a:pt x="471" y="151"/>
                      </a:cubicBezTo>
                      <a:cubicBezTo>
                        <a:pt x="471" y="169"/>
                        <a:pt x="488" y="176"/>
                        <a:pt x="497" y="185"/>
                      </a:cubicBezTo>
                      <a:lnTo>
                        <a:pt x="496" y="1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8" name="Freeform 19"/>
                <p:cNvSpPr>
                  <a:spLocks/>
                </p:cNvSpPr>
                <p:nvPr/>
              </p:nvSpPr>
              <p:spPr bwMode="auto">
                <a:xfrm>
                  <a:off x="7043738" y="3598863"/>
                  <a:ext cx="127000" cy="125413"/>
                </a:xfrm>
                <a:custGeom>
                  <a:avLst/>
                  <a:gdLst/>
                  <a:ahLst/>
                  <a:cxnLst>
                    <a:cxn ang="0">
                      <a:pos x="58" y="26"/>
                    </a:cxn>
                    <a:cxn ang="0">
                      <a:pos x="59" y="22"/>
                    </a:cxn>
                    <a:cxn ang="0">
                      <a:pos x="67" y="17"/>
                    </a:cxn>
                    <a:cxn ang="0">
                      <a:pos x="67" y="14"/>
                    </a:cxn>
                    <a:cxn ang="0">
                      <a:pos x="78" y="0"/>
                    </a:cxn>
                    <a:cxn ang="0">
                      <a:pos x="81" y="4"/>
                    </a:cxn>
                    <a:cxn ang="0">
                      <a:pos x="83" y="10"/>
                    </a:cxn>
                    <a:cxn ang="0">
                      <a:pos x="90" y="6"/>
                    </a:cxn>
                    <a:cxn ang="0">
                      <a:pos x="94" y="8"/>
                    </a:cxn>
                    <a:cxn ang="0">
                      <a:pos x="96" y="15"/>
                    </a:cxn>
                    <a:cxn ang="0">
                      <a:pos x="79" y="37"/>
                    </a:cxn>
                    <a:cxn ang="0">
                      <a:pos x="79" y="50"/>
                    </a:cxn>
                    <a:cxn ang="0">
                      <a:pos x="63" y="53"/>
                    </a:cxn>
                    <a:cxn ang="0">
                      <a:pos x="49" y="84"/>
                    </a:cxn>
                    <a:cxn ang="0">
                      <a:pos x="32" y="94"/>
                    </a:cxn>
                    <a:cxn ang="0">
                      <a:pos x="23" y="92"/>
                    </a:cxn>
                    <a:cxn ang="0">
                      <a:pos x="3" y="83"/>
                    </a:cxn>
                    <a:cxn ang="0">
                      <a:pos x="0" y="81"/>
                    </a:cxn>
                    <a:cxn ang="0">
                      <a:pos x="18" y="57"/>
                    </a:cxn>
                    <a:cxn ang="0">
                      <a:pos x="25" y="51"/>
                    </a:cxn>
                    <a:cxn ang="0">
                      <a:pos x="50" y="37"/>
                    </a:cxn>
                    <a:cxn ang="0">
                      <a:pos x="58" y="26"/>
                    </a:cxn>
                  </a:cxnLst>
                  <a:rect l="0" t="0" r="r" b="b"/>
                  <a:pathLst>
                    <a:path w="96" h="94">
                      <a:moveTo>
                        <a:pt x="58" y="26"/>
                      </a:moveTo>
                      <a:cubicBezTo>
                        <a:pt x="58" y="26"/>
                        <a:pt x="58" y="23"/>
                        <a:pt x="59" y="22"/>
                      </a:cubicBezTo>
                      <a:cubicBezTo>
                        <a:pt x="60" y="18"/>
                        <a:pt x="63" y="17"/>
                        <a:pt x="67" y="17"/>
                      </a:cubicBezTo>
                      <a:cubicBezTo>
                        <a:pt x="67" y="16"/>
                        <a:pt x="67" y="15"/>
                        <a:pt x="67" y="14"/>
                      </a:cubicBezTo>
                      <a:cubicBezTo>
                        <a:pt x="67" y="8"/>
                        <a:pt x="74" y="2"/>
                        <a:pt x="78" y="0"/>
                      </a:cubicBezTo>
                      <a:cubicBezTo>
                        <a:pt x="78" y="3"/>
                        <a:pt x="79" y="4"/>
                        <a:pt x="81" y="4"/>
                      </a:cubicBezTo>
                      <a:cubicBezTo>
                        <a:pt x="81" y="7"/>
                        <a:pt x="80" y="10"/>
                        <a:pt x="83" y="10"/>
                      </a:cubicBezTo>
                      <a:cubicBezTo>
                        <a:pt x="86" y="10"/>
                        <a:pt x="88" y="7"/>
                        <a:pt x="90" y="6"/>
                      </a:cubicBezTo>
                      <a:cubicBezTo>
                        <a:pt x="91" y="8"/>
                        <a:pt x="92" y="8"/>
                        <a:pt x="94" y="8"/>
                      </a:cubicBezTo>
                      <a:cubicBezTo>
                        <a:pt x="94" y="12"/>
                        <a:pt x="94" y="14"/>
                        <a:pt x="96" y="15"/>
                      </a:cubicBezTo>
                      <a:cubicBezTo>
                        <a:pt x="95" y="21"/>
                        <a:pt x="86" y="37"/>
                        <a:pt x="79" y="37"/>
                      </a:cubicBezTo>
                      <a:cubicBezTo>
                        <a:pt x="78" y="43"/>
                        <a:pt x="80" y="45"/>
                        <a:pt x="79" y="50"/>
                      </a:cubicBezTo>
                      <a:cubicBezTo>
                        <a:pt x="77" y="50"/>
                        <a:pt x="66" y="53"/>
                        <a:pt x="63" y="53"/>
                      </a:cubicBezTo>
                      <a:cubicBezTo>
                        <a:pt x="61" y="58"/>
                        <a:pt x="49" y="84"/>
                        <a:pt x="49" y="84"/>
                      </a:cubicBezTo>
                      <a:cubicBezTo>
                        <a:pt x="45" y="88"/>
                        <a:pt x="37" y="94"/>
                        <a:pt x="32" y="94"/>
                      </a:cubicBezTo>
                      <a:cubicBezTo>
                        <a:pt x="30" y="94"/>
                        <a:pt x="25" y="92"/>
                        <a:pt x="23" y="92"/>
                      </a:cubicBezTo>
                      <a:cubicBezTo>
                        <a:pt x="20" y="92"/>
                        <a:pt x="3" y="85"/>
                        <a:pt x="3" y="83"/>
                      </a:cubicBezTo>
                      <a:cubicBezTo>
                        <a:pt x="2" y="83"/>
                        <a:pt x="0" y="82"/>
                        <a:pt x="0" y="81"/>
                      </a:cubicBezTo>
                      <a:cubicBezTo>
                        <a:pt x="0" y="70"/>
                        <a:pt x="14" y="64"/>
                        <a:pt x="18" y="57"/>
                      </a:cubicBezTo>
                      <a:cubicBezTo>
                        <a:pt x="20" y="54"/>
                        <a:pt x="22" y="51"/>
                        <a:pt x="25" y="51"/>
                      </a:cubicBezTo>
                      <a:cubicBezTo>
                        <a:pt x="36" y="51"/>
                        <a:pt x="42" y="40"/>
                        <a:pt x="50" y="37"/>
                      </a:cubicBezTo>
                      <a:cubicBezTo>
                        <a:pt x="52" y="36"/>
                        <a:pt x="58" y="26"/>
                        <a:pt x="58" y="2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99" name="Freeform 20"/>
                <p:cNvSpPr>
                  <a:spLocks/>
                </p:cNvSpPr>
                <p:nvPr/>
              </p:nvSpPr>
              <p:spPr bwMode="auto">
                <a:xfrm>
                  <a:off x="7148513" y="3476625"/>
                  <a:ext cx="93663" cy="139700"/>
                </a:xfrm>
                <a:custGeom>
                  <a:avLst/>
                  <a:gdLst/>
                  <a:ahLst/>
                  <a:cxnLst>
                    <a:cxn ang="0">
                      <a:pos x="22" y="40"/>
                    </a:cxn>
                    <a:cxn ang="0">
                      <a:pos x="17" y="31"/>
                    </a:cxn>
                    <a:cxn ang="0">
                      <a:pos x="19" y="27"/>
                    </a:cxn>
                    <a:cxn ang="0">
                      <a:pos x="0" y="0"/>
                    </a:cxn>
                    <a:cxn ang="0">
                      <a:pos x="16" y="12"/>
                    </a:cxn>
                    <a:cxn ang="0">
                      <a:pos x="22" y="19"/>
                    </a:cxn>
                    <a:cxn ang="0">
                      <a:pos x="20" y="22"/>
                    </a:cxn>
                    <a:cxn ang="0">
                      <a:pos x="27" y="37"/>
                    </a:cxn>
                    <a:cxn ang="0">
                      <a:pos x="30" y="37"/>
                    </a:cxn>
                    <a:cxn ang="0">
                      <a:pos x="34" y="32"/>
                    </a:cxn>
                    <a:cxn ang="0">
                      <a:pos x="37" y="32"/>
                    </a:cxn>
                    <a:cxn ang="0">
                      <a:pos x="53" y="50"/>
                    </a:cxn>
                    <a:cxn ang="0">
                      <a:pos x="68" y="46"/>
                    </a:cxn>
                    <a:cxn ang="0">
                      <a:pos x="71" y="48"/>
                    </a:cxn>
                    <a:cxn ang="0">
                      <a:pos x="63" y="71"/>
                    </a:cxn>
                    <a:cxn ang="0">
                      <a:pos x="61" y="68"/>
                    </a:cxn>
                    <a:cxn ang="0">
                      <a:pos x="60" y="70"/>
                    </a:cxn>
                    <a:cxn ang="0">
                      <a:pos x="51" y="75"/>
                    </a:cxn>
                    <a:cxn ang="0">
                      <a:pos x="52" y="80"/>
                    </a:cxn>
                    <a:cxn ang="0">
                      <a:pos x="46" y="89"/>
                    </a:cxn>
                    <a:cxn ang="0">
                      <a:pos x="30" y="104"/>
                    </a:cxn>
                    <a:cxn ang="0">
                      <a:pos x="23" y="98"/>
                    </a:cxn>
                    <a:cxn ang="0">
                      <a:pos x="29" y="86"/>
                    </a:cxn>
                    <a:cxn ang="0">
                      <a:pos x="12" y="72"/>
                    </a:cxn>
                    <a:cxn ang="0">
                      <a:pos x="19" y="65"/>
                    </a:cxn>
                    <a:cxn ang="0">
                      <a:pos x="24" y="48"/>
                    </a:cxn>
                    <a:cxn ang="0">
                      <a:pos x="22" y="38"/>
                    </a:cxn>
                    <a:cxn ang="0">
                      <a:pos x="22" y="38"/>
                    </a:cxn>
                    <a:cxn ang="0">
                      <a:pos x="22" y="40"/>
                    </a:cxn>
                  </a:cxnLst>
                  <a:rect l="0" t="0" r="r" b="b"/>
                  <a:pathLst>
                    <a:path w="71" h="104">
                      <a:moveTo>
                        <a:pt x="22" y="40"/>
                      </a:moveTo>
                      <a:cubicBezTo>
                        <a:pt x="21" y="36"/>
                        <a:pt x="17" y="35"/>
                        <a:pt x="17" y="31"/>
                      </a:cubicBezTo>
                      <a:cubicBezTo>
                        <a:pt x="17" y="30"/>
                        <a:pt x="18" y="28"/>
                        <a:pt x="19" y="27"/>
                      </a:cubicBezTo>
                      <a:cubicBezTo>
                        <a:pt x="8" y="25"/>
                        <a:pt x="2" y="11"/>
                        <a:pt x="0" y="0"/>
                      </a:cubicBezTo>
                      <a:cubicBezTo>
                        <a:pt x="4" y="7"/>
                        <a:pt x="12" y="8"/>
                        <a:pt x="16" y="12"/>
                      </a:cubicBezTo>
                      <a:cubicBezTo>
                        <a:pt x="19" y="15"/>
                        <a:pt x="19" y="18"/>
                        <a:pt x="22" y="19"/>
                      </a:cubicBezTo>
                      <a:cubicBezTo>
                        <a:pt x="21" y="21"/>
                        <a:pt x="20" y="21"/>
                        <a:pt x="20" y="22"/>
                      </a:cubicBezTo>
                      <a:cubicBezTo>
                        <a:pt x="20" y="25"/>
                        <a:pt x="25" y="34"/>
                        <a:pt x="27" y="37"/>
                      </a:cubicBezTo>
                      <a:cubicBezTo>
                        <a:pt x="30" y="37"/>
                        <a:pt x="30" y="37"/>
                        <a:pt x="30" y="37"/>
                      </a:cubicBezTo>
                      <a:cubicBezTo>
                        <a:pt x="30" y="34"/>
                        <a:pt x="32" y="32"/>
                        <a:pt x="34" y="32"/>
                      </a:cubicBezTo>
                      <a:cubicBezTo>
                        <a:pt x="35" y="32"/>
                        <a:pt x="36" y="32"/>
                        <a:pt x="37" y="32"/>
                      </a:cubicBezTo>
                      <a:cubicBezTo>
                        <a:pt x="37" y="44"/>
                        <a:pt x="42" y="50"/>
                        <a:pt x="53" y="50"/>
                      </a:cubicBezTo>
                      <a:cubicBezTo>
                        <a:pt x="61" y="50"/>
                        <a:pt x="61" y="46"/>
                        <a:pt x="68" y="46"/>
                      </a:cubicBezTo>
                      <a:cubicBezTo>
                        <a:pt x="69" y="46"/>
                        <a:pt x="71" y="47"/>
                        <a:pt x="71" y="48"/>
                      </a:cubicBezTo>
                      <a:cubicBezTo>
                        <a:pt x="65" y="55"/>
                        <a:pt x="67" y="64"/>
                        <a:pt x="63" y="71"/>
                      </a:cubicBezTo>
                      <a:cubicBezTo>
                        <a:pt x="61" y="68"/>
                        <a:pt x="61" y="68"/>
                        <a:pt x="61" y="68"/>
                      </a:cubicBezTo>
                      <a:cubicBezTo>
                        <a:pt x="60" y="68"/>
                        <a:pt x="60" y="70"/>
                        <a:pt x="60" y="70"/>
                      </a:cubicBezTo>
                      <a:cubicBezTo>
                        <a:pt x="55" y="71"/>
                        <a:pt x="51" y="72"/>
                        <a:pt x="51" y="75"/>
                      </a:cubicBezTo>
                      <a:cubicBezTo>
                        <a:pt x="51" y="77"/>
                        <a:pt x="52" y="78"/>
                        <a:pt x="52" y="80"/>
                      </a:cubicBezTo>
                      <a:cubicBezTo>
                        <a:pt x="52" y="83"/>
                        <a:pt x="47" y="87"/>
                        <a:pt x="46" y="89"/>
                      </a:cubicBezTo>
                      <a:cubicBezTo>
                        <a:pt x="42" y="95"/>
                        <a:pt x="39" y="104"/>
                        <a:pt x="30" y="104"/>
                      </a:cubicBezTo>
                      <a:cubicBezTo>
                        <a:pt x="26" y="104"/>
                        <a:pt x="23" y="102"/>
                        <a:pt x="23" y="98"/>
                      </a:cubicBezTo>
                      <a:cubicBezTo>
                        <a:pt x="23" y="93"/>
                        <a:pt x="29" y="91"/>
                        <a:pt x="29" y="86"/>
                      </a:cubicBezTo>
                      <a:cubicBezTo>
                        <a:pt x="29" y="77"/>
                        <a:pt x="12" y="80"/>
                        <a:pt x="12" y="72"/>
                      </a:cubicBezTo>
                      <a:cubicBezTo>
                        <a:pt x="12" y="68"/>
                        <a:pt x="16" y="67"/>
                        <a:pt x="19" y="65"/>
                      </a:cubicBezTo>
                      <a:cubicBezTo>
                        <a:pt x="23" y="61"/>
                        <a:pt x="24" y="55"/>
                        <a:pt x="24" y="48"/>
                      </a:cubicBezTo>
                      <a:cubicBezTo>
                        <a:pt x="24" y="44"/>
                        <a:pt x="22" y="40"/>
                        <a:pt x="22" y="38"/>
                      </a:cubicBezTo>
                      <a:cubicBezTo>
                        <a:pt x="22" y="38"/>
                        <a:pt x="22" y="38"/>
                        <a:pt x="22" y="38"/>
                      </a:cubicBezTo>
                      <a:lnTo>
                        <a:pt x="22"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00" name="Freeform 116"/>
                <p:cNvSpPr>
                  <a:spLocks/>
                </p:cNvSpPr>
                <p:nvPr/>
              </p:nvSpPr>
              <p:spPr bwMode="auto">
                <a:xfrm>
                  <a:off x="6856413" y="3582988"/>
                  <a:ext cx="6350" cy="9525"/>
                </a:xfrm>
                <a:custGeom>
                  <a:avLst/>
                  <a:gdLst/>
                  <a:ahLst/>
                  <a:cxnLst>
                    <a:cxn ang="0">
                      <a:pos x="5" y="0"/>
                    </a:cxn>
                    <a:cxn ang="0">
                      <a:pos x="4" y="7"/>
                    </a:cxn>
                    <a:cxn ang="0">
                      <a:pos x="0" y="0"/>
                    </a:cxn>
                    <a:cxn ang="0">
                      <a:pos x="5" y="0"/>
                    </a:cxn>
                  </a:cxnLst>
                  <a:rect l="0" t="0" r="r" b="b"/>
                  <a:pathLst>
                    <a:path w="5" h="7">
                      <a:moveTo>
                        <a:pt x="5" y="0"/>
                      </a:moveTo>
                      <a:cubicBezTo>
                        <a:pt x="5" y="4"/>
                        <a:pt x="4" y="5"/>
                        <a:pt x="4" y="7"/>
                      </a:cubicBezTo>
                      <a:cubicBezTo>
                        <a:pt x="0" y="6"/>
                        <a:pt x="0" y="3"/>
                        <a:pt x="0" y="0"/>
                      </a:cubicBezTo>
                      <a:cubicBezTo>
                        <a:pt x="2" y="0"/>
                        <a:pt x="4" y="0"/>
                        <a:pt x="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01" name="Freeform 117"/>
                <p:cNvSpPr>
                  <a:spLocks/>
                </p:cNvSpPr>
                <p:nvPr/>
              </p:nvSpPr>
              <p:spPr bwMode="auto">
                <a:xfrm>
                  <a:off x="6664325" y="3500438"/>
                  <a:ext cx="22225" cy="11113"/>
                </a:xfrm>
                <a:custGeom>
                  <a:avLst/>
                  <a:gdLst/>
                  <a:ahLst/>
                  <a:cxnLst>
                    <a:cxn ang="0">
                      <a:pos x="16" y="4"/>
                    </a:cxn>
                    <a:cxn ang="0">
                      <a:pos x="0" y="4"/>
                    </a:cxn>
                    <a:cxn ang="0">
                      <a:pos x="16" y="4"/>
                    </a:cxn>
                  </a:cxnLst>
                  <a:rect l="0" t="0" r="r" b="b"/>
                  <a:pathLst>
                    <a:path w="16" h="8">
                      <a:moveTo>
                        <a:pt x="16" y="4"/>
                      </a:moveTo>
                      <a:cubicBezTo>
                        <a:pt x="11" y="7"/>
                        <a:pt x="4" y="8"/>
                        <a:pt x="0" y="4"/>
                      </a:cubicBezTo>
                      <a:cubicBezTo>
                        <a:pt x="9" y="0"/>
                        <a:pt x="10" y="0"/>
                        <a:pt x="1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02" name="Freeform 118"/>
                <p:cNvSpPr>
                  <a:spLocks/>
                </p:cNvSpPr>
                <p:nvPr/>
              </p:nvSpPr>
              <p:spPr bwMode="auto">
                <a:xfrm>
                  <a:off x="6556375" y="3065463"/>
                  <a:ext cx="22225" cy="9525"/>
                </a:xfrm>
                <a:custGeom>
                  <a:avLst/>
                  <a:gdLst/>
                  <a:ahLst/>
                  <a:cxnLst>
                    <a:cxn ang="0">
                      <a:pos x="17" y="1"/>
                    </a:cxn>
                    <a:cxn ang="0">
                      <a:pos x="17" y="7"/>
                    </a:cxn>
                    <a:cxn ang="0">
                      <a:pos x="13" y="7"/>
                    </a:cxn>
                    <a:cxn ang="0">
                      <a:pos x="0" y="3"/>
                    </a:cxn>
                    <a:cxn ang="0">
                      <a:pos x="17" y="1"/>
                    </a:cxn>
                  </a:cxnLst>
                  <a:rect l="0" t="0" r="r" b="b"/>
                  <a:pathLst>
                    <a:path w="17" h="7">
                      <a:moveTo>
                        <a:pt x="17" y="1"/>
                      </a:moveTo>
                      <a:cubicBezTo>
                        <a:pt x="17" y="7"/>
                        <a:pt x="17" y="7"/>
                        <a:pt x="17" y="7"/>
                      </a:cubicBezTo>
                      <a:cubicBezTo>
                        <a:pt x="16" y="7"/>
                        <a:pt x="14" y="7"/>
                        <a:pt x="13" y="7"/>
                      </a:cubicBezTo>
                      <a:cubicBezTo>
                        <a:pt x="8" y="7"/>
                        <a:pt x="2" y="5"/>
                        <a:pt x="0" y="3"/>
                      </a:cubicBezTo>
                      <a:cubicBezTo>
                        <a:pt x="8" y="1"/>
                        <a:pt x="11" y="0"/>
                        <a:pt x="17"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grpSp>
        </p:grpSp>
        <p:grpSp>
          <p:nvGrpSpPr>
            <p:cNvPr id="17" name="Group 383"/>
            <p:cNvGrpSpPr/>
            <p:nvPr/>
          </p:nvGrpSpPr>
          <p:grpSpPr>
            <a:xfrm>
              <a:off x="3584348" y="1207327"/>
              <a:ext cx="2773469" cy="1960289"/>
              <a:chOff x="4713288" y="1038225"/>
              <a:chExt cx="2847975" cy="2012950"/>
            </a:xfrm>
            <a:grpFill/>
          </p:grpSpPr>
          <p:sp>
            <p:nvSpPr>
              <p:cNvPr id="18" name="Freeform 101"/>
              <p:cNvSpPr>
                <a:spLocks/>
              </p:cNvSpPr>
              <p:nvPr/>
            </p:nvSpPr>
            <p:spPr bwMode="auto">
              <a:xfrm>
                <a:off x="4818063" y="2127250"/>
                <a:ext cx="622300" cy="538163"/>
              </a:xfrm>
              <a:custGeom>
                <a:avLst/>
                <a:gdLst/>
                <a:ahLst/>
                <a:cxnLst>
                  <a:cxn ang="0">
                    <a:pos x="102" y="154"/>
                  </a:cxn>
                  <a:cxn ang="0">
                    <a:pos x="113" y="126"/>
                  </a:cxn>
                  <a:cxn ang="0">
                    <a:pos x="122" y="86"/>
                  </a:cxn>
                  <a:cxn ang="0">
                    <a:pos x="125" y="77"/>
                  </a:cxn>
                  <a:cxn ang="0">
                    <a:pos x="108" y="77"/>
                  </a:cxn>
                  <a:cxn ang="0">
                    <a:pos x="64" y="77"/>
                  </a:cxn>
                  <a:cxn ang="0">
                    <a:pos x="27" y="79"/>
                  </a:cxn>
                  <a:cxn ang="0">
                    <a:pos x="26" y="77"/>
                  </a:cxn>
                  <a:cxn ang="0">
                    <a:pos x="0" y="55"/>
                  </a:cxn>
                  <a:cxn ang="0">
                    <a:pos x="9" y="37"/>
                  </a:cxn>
                  <a:cxn ang="0">
                    <a:pos x="41" y="20"/>
                  </a:cxn>
                  <a:cxn ang="0">
                    <a:pos x="48" y="13"/>
                  </a:cxn>
                  <a:cxn ang="0">
                    <a:pos x="80" y="4"/>
                  </a:cxn>
                  <a:cxn ang="0">
                    <a:pos x="127" y="7"/>
                  </a:cxn>
                  <a:cxn ang="0">
                    <a:pos x="174" y="15"/>
                  </a:cxn>
                  <a:cxn ang="0">
                    <a:pos x="223" y="21"/>
                  </a:cxn>
                  <a:cxn ang="0">
                    <a:pos x="256" y="44"/>
                  </a:cxn>
                  <a:cxn ang="0">
                    <a:pos x="278" y="33"/>
                  </a:cxn>
                  <a:cxn ang="0">
                    <a:pos x="281" y="43"/>
                  </a:cxn>
                  <a:cxn ang="0">
                    <a:pos x="289" y="65"/>
                  </a:cxn>
                  <a:cxn ang="0">
                    <a:pos x="309" y="76"/>
                  </a:cxn>
                  <a:cxn ang="0">
                    <a:pos x="350" y="76"/>
                  </a:cxn>
                  <a:cxn ang="0">
                    <a:pos x="359" y="63"/>
                  </a:cxn>
                  <a:cxn ang="0">
                    <a:pos x="387" y="51"/>
                  </a:cxn>
                  <a:cxn ang="0">
                    <a:pos x="439" y="74"/>
                  </a:cxn>
                  <a:cxn ang="0">
                    <a:pos x="445" y="96"/>
                  </a:cxn>
                  <a:cxn ang="0">
                    <a:pos x="435" y="119"/>
                  </a:cxn>
                  <a:cxn ang="0">
                    <a:pos x="436" y="138"/>
                  </a:cxn>
                  <a:cxn ang="0">
                    <a:pos x="449" y="156"/>
                  </a:cxn>
                  <a:cxn ang="0">
                    <a:pos x="445" y="179"/>
                  </a:cxn>
                  <a:cxn ang="0">
                    <a:pos x="448" y="232"/>
                  </a:cxn>
                  <a:cxn ang="0">
                    <a:pos x="448" y="240"/>
                  </a:cxn>
                  <a:cxn ang="0">
                    <a:pos x="393" y="231"/>
                  </a:cxn>
                  <a:cxn ang="0">
                    <a:pos x="370" y="220"/>
                  </a:cxn>
                  <a:cxn ang="0">
                    <a:pos x="333" y="207"/>
                  </a:cxn>
                  <a:cxn ang="0">
                    <a:pos x="313" y="192"/>
                  </a:cxn>
                  <a:cxn ang="0">
                    <a:pos x="278" y="183"/>
                  </a:cxn>
                  <a:cxn ang="0">
                    <a:pos x="304" y="224"/>
                  </a:cxn>
                  <a:cxn ang="0">
                    <a:pos x="315" y="227"/>
                  </a:cxn>
                  <a:cxn ang="0">
                    <a:pos x="313" y="246"/>
                  </a:cxn>
                  <a:cxn ang="0">
                    <a:pos x="379" y="225"/>
                  </a:cxn>
                  <a:cxn ang="0">
                    <a:pos x="406" y="260"/>
                  </a:cxn>
                  <a:cxn ang="0">
                    <a:pos x="414" y="270"/>
                  </a:cxn>
                  <a:cxn ang="0">
                    <a:pos x="410" y="302"/>
                  </a:cxn>
                  <a:cxn ang="0">
                    <a:pos x="390" y="321"/>
                  </a:cxn>
                  <a:cxn ang="0">
                    <a:pos x="365" y="347"/>
                  </a:cxn>
                  <a:cxn ang="0">
                    <a:pos x="328" y="368"/>
                  </a:cxn>
                  <a:cxn ang="0">
                    <a:pos x="265" y="395"/>
                  </a:cxn>
                  <a:cxn ang="0">
                    <a:pos x="234" y="404"/>
                  </a:cxn>
                  <a:cxn ang="0">
                    <a:pos x="217" y="399"/>
                  </a:cxn>
                  <a:cxn ang="0">
                    <a:pos x="209" y="372"/>
                  </a:cxn>
                  <a:cxn ang="0">
                    <a:pos x="198" y="340"/>
                  </a:cxn>
                  <a:cxn ang="0">
                    <a:pos x="162" y="280"/>
                  </a:cxn>
                  <a:cxn ang="0">
                    <a:pos x="154" y="259"/>
                  </a:cxn>
                  <a:cxn ang="0">
                    <a:pos x="140" y="251"/>
                  </a:cxn>
                  <a:cxn ang="0">
                    <a:pos x="131" y="229"/>
                  </a:cxn>
                  <a:cxn ang="0">
                    <a:pos x="109" y="196"/>
                  </a:cxn>
                  <a:cxn ang="0">
                    <a:pos x="112" y="177"/>
                  </a:cxn>
                </a:cxnLst>
                <a:rect l="0" t="0" r="r" b="b"/>
                <a:pathLst>
                  <a:path w="467" h="405">
                    <a:moveTo>
                      <a:pt x="112" y="177"/>
                    </a:moveTo>
                    <a:cubicBezTo>
                      <a:pt x="102" y="154"/>
                      <a:pt x="102" y="154"/>
                      <a:pt x="102" y="154"/>
                    </a:cubicBezTo>
                    <a:cubicBezTo>
                      <a:pt x="102" y="151"/>
                      <a:pt x="105" y="151"/>
                      <a:pt x="106" y="149"/>
                    </a:cubicBezTo>
                    <a:cubicBezTo>
                      <a:pt x="109" y="139"/>
                      <a:pt x="110" y="134"/>
                      <a:pt x="113" y="126"/>
                    </a:cubicBezTo>
                    <a:cubicBezTo>
                      <a:pt x="115" y="117"/>
                      <a:pt x="124" y="115"/>
                      <a:pt x="124" y="104"/>
                    </a:cubicBezTo>
                    <a:cubicBezTo>
                      <a:pt x="124" y="97"/>
                      <a:pt x="122" y="91"/>
                      <a:pt x="122" y="86"/>
                    </a:cubicBezTo>
                    <a:cubicBezTo>
                      <a:pt x="122" y="83"/>
                      <a:pt x="124" y="82"/>
                      <a:pt x="125" y="81"/>
                    </a:cubicBezTo>
                    <a:cubicBezTo>
                      <a:pt x="125" y="77"/>
                      <a:pt x="125" y="77"/>
                      <a:pt x="125" y="77"/>
                    </a:cubicBezTo>
                    <a:cubicBezTo>
                      <a:pt x="121" y="78"/>
                      <a:pt x="120" y="81"/>
                      <a:pt x="117" y="81"/>
                    </a:cubicBezTo>
                    <a:cubicBezTo>
                      <a:pt x="112" y="81"/>
                      <a:pt x="110" y="79"/>
                      <a:pt x="108" y="77"/>
                    </a:cubicBezTo>
                    <a:cubicBezTo>
                      <a:pt x="101" y="82"/>
                      <a:pt x="98" y="88"/>
                      <a:pt x="86" y="88"/>
                    </a:cubicBezTo>
                    <a:cubicBezTo>
                      <a:pt x="76" y="88"/>
                      <a:pt x="73" y="77"/>
                      <a:pt x="64" y="77"/>
                    </a:cubicBezTo>
                    <a:cubicBezTo>
                      <a:pt x="54" y="77"/>
                      <a:pt x="56" y="87"/>
                      <a:pt x="48" y="87"/>
                    </a:cubicBezTo>
                    <a:cubicBezTo>
                      <a:pt x="40" y="87"/>
                      <a:pt x="35" y="75"/>
                      <a:pt x="27" y="79"/>
                    </a:cubicBezTo>
                    <a:cubicBezTo>
                      <a:pt x="22" y="79"/>
                      <a:pt x="22" y="79"/>
                      <a:pt x="22" y="79"/>
                    </a:cubicBezTo>
                    <a:cubicBezTo>
                      <a:pt x="24" y="79"/>
                      <a:pt x="25" y="78"/>
                      <a:pt x="26" y="77"/>
                    </a:cubicBezTo>
                    <a:cubicBezTo>
                      <a:pt x="23" y="74"/>
                      <a:pt x="10" y="67"/>
                      <a:pt x="15" y="63"/>
                    </a:cubicBezTo>
                    <a:cubicBezTo>
                      <a:pt x="11" y="57"/>
                      <a:pt x="6" y="58"/>
                      <a:pt x="0" y="55"/>
                    </a:cubicBezTo>
                    <a:cubicBezTo>
                      <a:pt x="4" y="50"/>
                      <a:pt x="9" y="51"/>
                      <a:pt x="9" y="43"/>
                    </a:cubicBezTo>
                    <a:cubicBezTo>
                      <a:pt x="9" y="40"/>
                      <a:pt x="8" y="40"/>
                      <a:pt x="9" y="37"/>
                    </a:cubicBezTo>
                    <a:cubicBezTo>
                      <a:pt x="6" y="37"/>
                      <a:pt x="1" y="38"/>
                      <a:pt x="1" y="35"/>
                    </a:cubicBezTo>
                    <a:cubicBezTo>
                      <a:pt x="1" y="22"/>
                      <a:pt x="33" y="24"/>
                      <a:pt x="41" y="20"/>
                    </a:cubicBezTo>
                    <a:cubicBezTo>
                      <a:pt x="40" y="17"/>
                      <a:pt x="38" y="18"/>
                      <a:pt x="38" y="15"/>
                    </a:cubicBezTo>
                    <a:cubicBezTo>
                      <a:pt x="38" y="11"/>
                      <a:pt x="46" y="13"/>
                      <a:pt x="48" y="13"/>
                    </a:cubicBezTo>
                    <a:cubicBezTo>
                      <a:pt x="53" y="13"/>
                      <a:pt x="62" y="13"/>
                      <a:pt x="62" y="13"/>
                    </a:cubicBezTo>
                    <a:cubicBezTo>
                      <a:pt x="67" y="13"/>
                      <a:pt x="75" y="7"/>
                      <a:pt x="80" y="4"/>
                    </a:cubicBezTo>
                    <a:cubicBezTo>
                      <a:pt x="86" y="0"/>
                      <a:pt x="98" y="0"/>
                      <a:pt x="106" y="0"/>
                    </a:cubicBezTo>
                    <a:cubicBezTo>
                      <a:pt x="117" y="0"/>
                      <a:pt x="117" y="7"/>
                      <a:pt x="127" y="7"/>
                    </a:cubicBezTo>
                    <a:cubicBezTo>
                      <a:pt x="127" y="12"/>
                      <a:pt x="144" y="15"/>
                      <a:pt x="149" y="15"/>
                    </a:cubicBezTo>
                    <a:cubicBezTo>
                      <a:pt x="162" y="15"/>
                      <a:pt x="170" y="15"/>
                      <a:pt x="174" y="15"/>
                    </a:cubicBezTo>
                    <a:cubicBezTo>
                      <a:pt x="186" y="15"/>
                      <a:pt x="192" y="3"/>
                      <a:pt x="205" y="3"/>
                    </a:cubicBezTo>
                    <a:cubicBezTo>
                      <a:pt x="219" y="3"/>
                      <a:pt x="218" y="12"/>
                      <a:pt x="223" y="21"/>
                    </a:cubicBezTo>
                    <a:cubicBezTo>
                      <a:pt x="224" y="23"/>
                      <a:pt x="233" y="28"/>
                      <a:pt x="233" y="28"/>
                    </a:cubicBezTo>
                    <a:cubicBezTo>
                      <a:pt x="241" y="31"/>
                      <a:pt x="243" y="44"/>
                      <a:pt x="256" y="44"/>
                    </a:cubicBezTo>
                    <a:cubicBezTo>
                      <a:pt x="265" y="44"/>
                      <a:pt x="265" y="36"/>
                      <a:pt x="271" y="34"/>
                    </a:cubicBezTo>
                    <a:cubicBezTo>
                      <a:pt x="275" y="33"/>
                      <a:pt x="274" y="33"/>
                      <a:pt x="278" y="33"/>
                    </a:cubicBezTo>
                    <a:cubicBezTo>
                      <a:pt x="279" y="35"/>
                      <a:pt x="279" y="39"/>
                      <a:pt x="281" y="41"/>
                    </a:cubicBezTo>
                    <a:cubicBezTo>
                      <a:pt x="280" y="41"/>
                      <a:pt x="281" y="42"/>
                      <a:pt x="281" y="43"/>
                    </a:cubicBezTo>
                    <a:cubicBezTo>
                      <a:pt x="281" y="48"/>
                      <a:pt x="284" y="47"/>
                      <a:pt x="286" y="51"/>
                    </a:cubicBezTo>
                    <a:cubicBezTo>
                      <a:pt x="290" y="56"/>
                      <a:pt x="286" y="59"/>
                      <a:pt x="289" y="65"/>
                    </a:cubicBezTo>
                    <a:cubicBezTo>
                      <a:pt x="291" y="70"/>
                      <a:pt x="297" y="67"/>
                      <a:pt x="301" y="68"/>
                    </a:cubicBezTo>
                    <a:cubicBezTo>
                      <a:pt x="305" y="69"/>
                      <a:pt x="306" y="73"/>
                      <a:pt x="309" y="76"/>
                    </a:cubicBezTo>
                    <a:cubicBezTo>
                      <a:pt x="312" y="79"/>
                      <a:pt x="323" y="78"/>
                      <a:pt x="329" y="78"/>
                    </a:cubicBezTo>
                    <a:cubicBezTo>
                      <a:pt x="337" y="78"/>
                      <a:pt x="345" y="77"/>
                      <a:pt x="350" y="76"/>
                    </a:cubicBezTo>
                    <a:cubicBezTo>
                      <a:pt x="350" y="72"/>
                      <a:pt x="350" y="71"/>
                      <a:pt x="350" y="68"/>
                    </a:cubicBezTo>
                    <a:cubicBezTo>
                      <a:pt x="350" y="64"/>
                      <a:pt x="355" y="64"/>
                      <a:pt x="359" y="63"/>
                    </a:cubicBezTo>
                    <a:cubicBezTo>
                      <a:pt x="364" y="61"/>
                      <a:pt x="363" y="59"/>
                      <a:pt x="368" y="57"/>
                    </a:cubicBezTo>
                    <a:cubicBezTo>
                      <a:pt x="376" y="54"/>
                      <a:pt x="381" y="56"/>
                      <a:pt x="387" y="51"/>
                    </a:cubicBezTo>
                    <a:cubicBezTo>
                      <a:pt x="397" y="57"/>
                      <a:pt x="403" y="57"/>
                      <a:pt x="412" y="60"/>
                    </a:cubicBezTo>
                    <a:cubicBezTo>
                      <a:pt x="423" y="64"/>
                      <a:pt x="426" y="74"/>
                      <a:pt x="439" y="74"/>
                    </a:cubicBezTo>
                    <a:cubicBezTo>
                      <a:pt x="439" y="76"/>
                      <a:pt x="442" y="77"/>
                      <a:pt x="443" y="79"/>
                    </a:cubicBezTo>
                    <a:cubicBezTo>
                      <a:pt x="445" y="86"/>
                      <a:pt x="442" y="92"/>
                      <a:pt x="445" y="96"/>
                    </a:cubicBezTo>
                    <a:cubicBezTo>
                      <a:pt x="442" y="98"/>
                      <a:pt x="435" y="114"/>
                      <a:pt x="435" y="115"/>
                    </a:cubicBezTo>
                    <a:cubicBezTo>
                      <a:pt x="435" y="116"/>
                      <a:pt x="436" y="118"/>
                      <a:pt x="435" y="119"/>
                    </a:cubicBezTo>
                    <a:cubicBezTo>
                      <a:pt x="436" y="121"/>
                      <a:pt x="435" y="122"/>
                      <a:pt x="436" y="124"/>
                    </a:cubicBezTo>
                    <a:cubicBezTo>
                      <a:pt x="436" y="138"/>
                      <a:pt x="436" y="138"/>
                      <a:pt x="436" y="138"/>
                    </a:cubicBezTo>
                    <a:cubicBezTo>
                      <a:pt x="438" y="142"/>
                      <a:pt x="437" y="145"/>
                      <a:pt x="439" y="149"/>
                    </a:cubicBezTo>
                    <a:cubicBezTo>
                      <a:pt x="440" y="153"/>
                      <a:pt x="449" y="149"/>
                      <a:pt x="449" y="156"/>
                    </a:cubicBezTo>
                    <a:cubicBezTo>
                      <a:pt x="449" y="165"/>
                      <a:pt x="439" y="164"/>
                      <a:pt x="439" y="171"/>
                    </a:cubicBezTo>
                    <a:cubicBezTo>
                      <a:pt x="439" y="177"/>
                      <a:pt x="443" y="177"/>
                      <a:pt x="445" y="179"/>
                    </a:cubicBezTo>
                    <a:cubicBezTo>
                      <a:pt x="452" y="194"/>
                      <a:pt x="467" y="196"/>
                      <a:pt x="467" y="215"/>
                    </a:cubicBezTo>
                    <a:cubicBezTo>
                      <a:pt x="456" y="218"/>
                      <a:pt x="448" y="220"/>
                      <a:pt x="448" y="232"/>
                    </a:cubicBezTo>
                    <a:cubicBezTo>
                      <a:pt x="448" y="235"/>
                      <a:pt x="450" y="238"/>
                      <a:pt x="450" y="240"/>
                    </a:cubicBezTo>
                    <a:cubicBezTo>
                      <a:pt x="450" y="240"/>
                      <a:pt x="448" y="240"/>
                      <a:pt x="448" y="240"/>
                    </a:cubicBezTo>
                    <a:cubicBezTo>
                      <a:pt x="439" y="240"/>
                      <a:pt x="420" y="235"/>
                      <a:pt x="408" y="235"/>
                    </a:cubicBezTo>
                    <a:cubicBezTo>
                      <a:pt x="406" y="235"/>
                      <a:pt x="393" y="231"/>
                      <a:pt x="393" y="231"/>
                    </a:cubicBezTo>
                    <a:cubicBezTo>
                      <a:pt x="388" y="226"/>
                      <a:pt x="388" y="213"/>
                      <a:pt x="379" y="213"/>
                    </a:cubicBezTo>
                    <a:cubicBezTo>
                      <a:pt x="374" y="213"/>
                      <a:pt x="372" y="217"/>
                      <a:pt x="370" y="220"/>
                    </a:cubicBezTo>
                    <a:cubicBezTo>
                      <a:pt x="348" y="220"/>
                      <a:pt x="348" y="220"/>
                      <a:pt x="348" y="220"/>
                    </a:cubicBezTo>
                    <a:cubicBezTo>
                      <a:pt x="341" y="217"/>
                      <a:pt x="337" y="212"/>
                      <a:pt x="333" y="207"/>
                    </a:cubicBezTo>
                    <a:cubicBezTo>
                      <a:pt x="327" y="202"/>
                      <a:pt x="320" y="205"/>
                      <a:pt x="315" y="200"/>
                    </a:cubicBezTo>
                    <a:cubicBezTo>
                      <a:pt x="313" y="197"/>
                      <a:pt x="314" y="194"/>
                      <a:pt x="313" y="192"/>
                    </a:cubicBezTo>
                    <a:cubicBezTo>
                      <a:pt x="308" y="182"/>
                      <a:pt x="299" y="168"/>
                      <a:pt x="286" y="168"/>
                    </a:cubicBezTo>
                    <a:cubicBezTo>
                      <a:pt x="280" y="168"/>
                      <a:pt x="278" y="176"/>
                      <a:pt x="278" y="183"/>
                    </a:cubicBezTo>
                    <a:cubicBezTo>
                      <a:pt x="278" y="187"/>
                      <a:pt x="278" y="189"/>
                      <a:pt x="278" y="193"/>
                    </a:cubicBezTo>
                    <a:cubicBezTo>
                      <a:pt x="281" y="203"/>
                      <a:pt x="293" y="222"/>
                      <a:pt x="304" y="224"/>
                    </a:cubicBezTo>
                    <a:cubicBezTo>
                      <a:pt x="304" y="229"/>
                      <a:pt x="306" y="231"/>
                      <a:pt x="307" y="235"/>
                    </a:cubicBezTo>
                    <a:cubicBezTo>
                      <a:pt x="312" y="233"/>
                      <a:pt x="311" y="228"/>
                      <a:pt x="315" y="227"/>
                    </a:cubicBezTo>
                    <a:cubicBezTo>
                      <a:pt x="316" y="228"/>
                      <a:pt x="316" y="230"/>
                      <a:pt x="316" y="231"/>
                    </a:cubicBezTo>
                    <a:cubicBezTo>
                      <a:pt x="316" y="237"/>
                      <a:pt x="313" y="240"/>
                      <a:pt x="313" y="246"/>
                    </a:cubicBezTo>
                    <a:cubicBezTo>
                      <a:pt x="313" y="252"/>
                      <a:pt x="324" y="255"/>
                      <a:pt x="331" y="255"/>
                    </a:cubicBezTo>
                    <a:cubicBezTo>
                      <a:pt x="360" y="255"/>
                      <a:pt x="363" y="237"/>
                      <a:pt x="379" y="225"/>
                    </a:cubicBezTo>
                    <a:cubicBezTo>
                      <a:pt x="379" y="241"/>
                      <a:pt x="379" y="241"/>
                      <a:pt x="379" y="241"/>
                    </a:cubicBezTo>
                    <a:cubicBezTo>
                      <a:pt x="385" y="254"/>
                      <a:pt x="393" y="256"/>
                      <a:pt x="406" y="260"/>
                    </a:cubicBezTo>
                    <a:cubicBezTo>
                      <a:pt x="411" y="261"/>
                      <a:pt x="411" y="269"/>
                      <a:pt x="414" y="271"/>
                    </a:cubicBezTo>
                    <a:cubicBezTo>
                      <a:pt x="414" y="270"/>
                      <a:pt x="414" y="270"/>
                      <a:pt x="414" y="270"/>
                    </a:cubicBezTo>
                    <a:cubicBezTo>
                      <a:pt x="416" y="274"/>
                      <a:pt x="423" y="273"/>
                      <a:pt x="423" y="277"/>
                    </a:cubicBezTo>
                    <a:cubicBezTo>
                      <a:pt x="423" y="288"/>
                      <a:pt x="410" y="291"/>
                      <a:pt x="410" y="302"/>
                    </a:cubicBezTo>
                    <a:cubicBezTo>
                      <a:pt x="403" y="302"/>
                      <a:pt x="399" y="303"/>
                      <a:pt x="397" y="309"/>
                    </a:cubicBezTo>
                    <a:cubicBezTo>
                      <a:pt x="395" y="314"/>
                      <a:pt x="396" y="321"/>
                      <a:pt x="390" y="321"/>
                    </a:cubicBezTo>
                    <a:cubicBezTo>
                      <a:pt x="384" y="321"/>
                      <a:pt x="384" y="334"/>
                      <a:pt x="378" y="334"/>
                    </a:cubicBezTo>
                    <a:cubicBezTo>
                      <a:pt x="374" y="334"/>
                      <a:pt x="365" y="342"/>
                      <a:pt x="365" y="347"/>
                    </a:cubicBezTo>
                    <a:cubicBezTo>
                      <a:pt x="353" y="349"/>
                      <a:pt x="327" y="354"/>
                      <a:pt x="327" y="364"/>
                    </a:cubicBezTo>
                    <a:cubicBezTo>
                      <a:pt x="327" y="365"/>
                      <a:pt x="327" y="367"/>
                      <a:pt x="328" y="368"/>
                    </a:cubicBezTo>
                    <a:cubicBezTo>
                      <a:pt x="318" y="373"/>
                      <a:pt x="304" y="376"/>
                      <a:pt x="294" y="378"/>
                    </a:cubicBezTo>
                    <a:cubicBezTo>
                      <a:pt x="289" y="380"/>
                      <a:pt x="271" y="392"/>
                      <a:pt x="265" y="395"/>
                    </a:cubicBezTo>
                    <a:cubicBezTo>
                      <a:pt x="252" y="395"/>
                      <a:pt x="252" y="395"/>
                      <a:pt x="252" y="395"/>
                    </a:cubicBezTo>
                    <a:cubicBezTo>
                      <a:pt x="244" y="400"/>
                      <a:pt x="243" y="404"/>
                      <a:pt x="234" y="404"/>
                    </a:cubicBezTo>
                    <a:cubicBezTo>
                      <a:pt x="231" y="405"/>
                      <a:pt x="231" y="405"/>
                      <a:pt x="231" y="405"/>
                    </a:cubicBezTo>
                    <a:cubicBezTo>
                      <a:pt x="229" y="405"/>
                      <a:pt x="218" y="400"/>
                      <a:pt x="217" y="399"/>
                    </a:cubicBezTo>
                    <a:cubicBezTo>
                      <a:pt x="216" y="399"/>
                      <a:pt x="219" y="399"/>
                      <a:pt x="217" y="394"/>
                    </a:cubicBezTo>
                    <a:cubicBezTo>
                      <a:pt x="212" y="387"/>
                      <a:pt x="209" y="380"/>
                      <a:pt x="209" y="372"/>
                    </a:cubicBezTo>
                    <a:cubicBezTo>
                      <a:pt x="204" y="371"/>
                      <a:pt x="207" y="363"/>
                      <a:pt x="208" y="359"/>
                    </a:cubicBezTo>
                    <a:cubicBezTo>
                      <a:pt x="210" y="349"/>
                      <a:pt x="203" y="345"/>
                      <a:pt x="198" y="340"/>
                    </a:cubicBezTo>
                    <a:cubicBezTo>
                      <a:pt x="193" y="335"/>
                      <a:pt x="181" y="320"/>
                      <a:pt x="181" y="309"/>
                    </a:cubicBezTo>
                    <a:cubicBezTo>
                      <a:pt x="165" y="306"/>
                      <a:pt x="162" y="297"/>
                      <a:pt x="162" y="280"/>
                    </a:cubicBezTo>
                    <a:cubicBezTo>
                      <a:pt x="162" y="270"/>
                      <a:pt x="156" y="268"/>
                      <a:pt x="154" y="259"/>
                    </a:cubicBezTo>
                    <a:cubicBezTo>
                      <a:pt x="154" y="259"/>
                      <a:pt x="154" y="259"/>
                      <a:pt x="154" y="259"/>
                    </a:cubicBezTo>
                    <a:cubicBezTo>
                      <a:pt x="152" y="258"/>
                      <a:pt x="150" y="255"/>
                      <a:pt x="148" y="254"/>
                    </a:cubicBezTo>
                    <a:cubicBezTo>
                      <a:pt x="147" y="252"/>
                      <a:pt x="141" y="253"/>
                      <a:pt x="140" y="251"/>
                    </a:cubicBezTo>
                    <a:cubicBezTo>
                      <a:pt x="137" y="249"/>
                      <a:pt x="138" y="242"/>
                      <a:pt x="137" y="239"/>
                    </a:cubicBezTo>
                    <a:cubicBezTo>
                      <a:pt x="136" y="235"/>
                      <a:pt x="132" y="231"/>
                      <a:pt x="131" y="229"/>
                    </a:cubicBezTo>
                    <a:cubicBezTo>
                      <a:pt x="125" y="221"/>
                      <a:pt x="121" y="214"/>
                      <a:pt x="116" y="207"/>
                    </a:cubicBezTo>
                    <a:cubicBezTo>
                      <a:pt x="115" y="205"/>
                      <a:pt x="109" y="198"/>
                      <a:pt x="109" y="196"/>
                    </a:cubicBezTo>
                    <a:cubicBezTo>
                      <a:pt x="109" y="192"/>
                      <a:pt x="112" y="182"/>
                      <a:pt x="112" y="175"/>
                    </a:cubicBezTo>
                    <a:lnTo>
                      <a:pt x="112" y="1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9" name="Freeform 102"/>
              <p:cNvSpPr>
                <a:spLocks/>
              </p:cNvSpPr>
              <p:nvPr/>
            </p:nvSpPr>
            <p:spPr bwMode="auto">
              <a:xfrm>
                <a:off x="5713413" y="2714625"/>
                <a:ext cx="33338" cy="63500"/>
              </a:xfrm>
              <a:custGeom>
                <a:avLst/>
                <a:gdLst/>
                <a:ahLst/>
                <a:cxnLst>
                  <a:cxn ang="0">
                    <a:pos x="25" y="30"/>
                  </a:cxn>
                  <a:cxn ang="0">
                    <a:pos x="11" y="48"/>
                  </a:cxn>
                  <a:cxn ang="0">
                    <a:pos x="0" y="35"/>
                  </a:cxn>
                  <a:cxn ang="0">
                    <a:pos x="6" y="0"/>
                  </a:cxn>
                  <a:cxn ang="0">
                    <a:pos x="25" y="30"/>
                  </a:cxn>
                </a:cxnLst>
                <a:rect l="0" t="0" r="r" b="b"/>
                <a:pathLst>
                  <a:path w="25" h="48">
                    <a:moveTo>
                      <a:pt x="25" y="30"/>
                    </a:moveTo>
                    <a:cubicBezTo>
                      <a:pt x="25" y="37"/>
                      <a:pt x="20" y="48"/>
                      <a:pt x="11" y="48"/>
                    </a:cubicBezTo>
                    <a:cubicBezTo>
                      <a:pt x="5" y="48"/>
                      <a:pt x="0" y="41"/>
                      <a:pt x="0" y="35"/>
                    </a:cubicBezTo>
                    <a:cubicBezTo>
                      <a:pt x="0" y="22"/>
                      <a:pt x="6" y="13"/>
                      <a:pt x="6" y="0"/>
                    </a:cubicBezTo>
                    <a:cubicBezTo>
                      <a:pt x="13" y="10"/>
                      <a:pt x="25" y="15"/>
                      <a:pt x="25"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0" name="Freeform 103"/>
              <p:cNvSpPr>
                <a:spLocks/>
              </p:cNvSpPr>
              <p:nvPr/>
            </p:nvSpPr>
            <p:spPr bwMode="auto">
              <a:xfrm>
                <a:off x="5397500" y="2195513"/>
                <a:ext cx="677863" cy="544513"/>
              </a:xfrm>
              <a:custGeom>
                <a:avLst/>
                <a:gdLst/>
                <a:ahLst/>
                <a:cxnLst>
                  <a:cxn ang="0">
                    <a:pos x="148" y="270"/>
                  </a:cxn>
                  <a:cxn ang="0">
                    <a:pos x="174" y="340"/>
                  </a:cxn>
                  <a:cxn ang="0">
                    <a:pos x="200" y="401"/>
                  </a:cxn>
                  <a:cxn ang="0">
                    <a:pos x="216" y="401"/>
                  </a:cxn>
                  <a:cxn ang="0">
                    <a:pos x="237" y="379"/>
                  </a:cxn>
                  <a:cxn ang="0">
                    <a:pos x="243" y="341"/>
                  </a:cxn>
                  <a:cxn ang="0">
                    <a:pos x="268" y="298"/>
                  </a:cxn>
                  <a:cxn ang="0">
                    <a:pos x="326" y="240"/>
                  </a:cxn>
                  <a:cxn ang="0">
                    <a:pos x="374" y="218"/>
                  </a:cxn>
                  <a:cxn ang="0">
                    <a:pos x="409" y="259"/>
                  </a:cxn>
                  <a:cxn ang="0">
                    <a:pos x="423" y="302"/>
                  </a:cxn>
                  <a:cxn ang="0">
                    <a:pos x="457" y="300"/>
                  </a:cxn>
                  <a:cxn ang="0">
                    <a:pos x="476" y="367"/>
                  </a:cxn>
                  <a:cxn ang="0">
                    <a:pos x="489" y="358"/>
                  </a:cxn>
                  <a:cxn ang="0">
                    <a:pos x="472" y="316"/>
                  </a:cxn>
                  <a:cxn ang="0">
                    <a:pos x="473" y="288"/>
                  </a:cxn>
                  <a:cxn ang="0">
                    <a:pos x="483" y="254"/>
                  </a:cxn>
                  <a:cxn ang="0">
                    <a:pos x="487" y="213"/>
                  </a:cxn>
                  <a:cxn ang="0">
                    <a:pos x="467" y="197"/>
                  </a:cxn>
                  <a:cxn ang="0">
                    <a:pos x="445" y="125"/>
                  </a:cxn>
                  <a:cxn ang="0">
                    <a:pos x="423" y="130"/>
                  </a:cxn>
                  <a:cxn ang="0">
                    <a:pos x="373" y="144"/>
                  </a:cxn>
                  <a:cxn ang="0">
                    <a:pos x="341" y="147"/>
                  </a:cxn>
                  <a:cxn ang="0">
                    <a:pos x="295" y="136"/>
                  </a:cxn>
                  <a:cxn ang="0">
                    <a:pos x="254" y="116"/>
                  </a:cxn>
                  <a:cxn ang="0">
                    <a:pos x="226" y="89"/>
                  </a:cxn>
                  <a:cxn ang="0">
                    <a:pos x="229" y="69"/>
                  </a:cxn>
                  <a:cxn ang="0">
                    <a:pos x="213" y="43"/>
                  </a:cxn>
                  <a:cxn ang="0">
                    <a:pos x="178" y="16"/>
                  </a:cxn>
                  <a:cxn ang="0">
                    <a:pos x="131" y="0"/>
                  </a:cxn>
                  <a:cxn ang="0">
                    <a:pos x="94" y="21"/>
                  </a:cxn>
                  <a:cxn ang="0">
                    <a:pos x="65" y="13"/>
                  </a:cxn>
                  <a:cxn ang="0">
                    <a:pos x="23" y="46"/>
                  </a:cxn>
                  <a:cxn ang="0">
                    <a:pos x="0" y="64"/>
                  </a:cxn>
                  <a:cxn ang="0">
                    <a:pos x="1" y="87"/>
                  </a:cxn>
                  <a:cxn ang="0">
                    <a:pos x="4" y="120"/>
                  </a:cxn>
                  <a:cxn ang="0">
                    <a:pos x="13" y="181"/>
                  </a:cxn>
                  <a:cxn ang="0">
                    <a:pos x="34" y="185"/>
                  </a:cxn>
                  <a:cxn ang="0">
                    <a:pos x="70" y="185"/>
                  </a:cxn>
                  <a:cxn ang="0">
                    <a:pos x="118" y="219"/>
                  </a:cxn>
                  <a:cxn ang="0">
                    <a:pos x="127" y="248"/>
                  </a:cxn>
                  <a:cxn ang="0">
                    <a:pos x="145" y="233"/>
                  </a:cxn>
                  <a:cxn ang="0">
                    <a:pos x="149" y="265"/>
                  </a:cxn>
                </a:cxnLst>
                <a:rect l="0" t="0" r="r" b="b"/>
                <a:pathLst>
                  <a:path w="509" h="410">
                    <a:moveTo>
                      <a:pt x="149" y="265"/>
                    </a:moveTo>
                    <a:cubicBezTo>
                      <a:pt x="147" y="263"/>
                      <a:pt x="147" y="263"/>
                      <a:pt x="147" y="263"/>
                    </a:cubicBezTo>
                    <a:cubicBezTo>
                      <a:pt x="147" y="265"/>
                      <a:pt x="148" y="268"/>
                      <a:pt x="148" y="270"/>
                    </a:cubicBezTo>
                    <a:cubicBezTo>
                      <a:pt x="148" y="278"/>
                      <a:pt x="153" y="286"/>
                      <a:pt x="155" y="295"/>
                    </a:cubicBezTo>
                    <a:cubicBezTo>
                      <a:pt x="158" y="305"/>
                      <a:pt x="166" y="319"/>
                      <a:pt x="168" y="326"/>
                    </a:cubicBezTo>
                    <a:cubicBezTo>
                      <a:pt x="170" y="332"/>
                      <a:pt x="170" y="334"/>
                      <a:pt x="174" y="340"/>
                    </a:cubicBezTo>
                    <a:cubicBezTo>
                      <a:pt x="177" y="345"/>
                      <a:pt x="175" y="351"/>
                      <a:pt x="179" y="358"/>
                    </a:cubicBezTo>
                    <a:cubicBezTo>
                      <a:pt x="180" y="362"/>
                      <a:pt x="187" y="366"/>
                      <a:pt x="188" y="372"/>
                    </a:cubicBezTo>
                    <a:cubicBezTo>
                      <a:pt x="191" y="382"/>
                      <a:pt x="196" y="390"/>
                      <a:pt x="200" y="401"/>
                    </a:cubicBezTo>
                    <a:cubicBezTo>
                      <a:pt x="200" y="402"/>
                      <a:pt x="202" y="405"/>
                      <a:pt x="204" y="405"/>
                    </a:cubicBezTo>
                    <a:cubicBezTo>
                      <a:pt x="204" y="409"/>
                      <a:pt x="207" y="410"/>
                      <a:pt x="210" y="410"/>
                    </a:cubicBezTo>
                    <a:cubicBezTo>
                      <a:pt x="214" y="410"/>
                      <a:pt x="214" y="405"/>
                      <a:pt x="216" y="401"/>
                    </a:cubicBezTo>
                    <a:cubicBezTo>
                      <a:pt x="218" y="397"/>
                      <a:pt x="219" y="398"/>
                      <a:pt x="224" y="396"/>
                    </a:cubicBezTo>
                    <a:cubicBezTo>
                      <a:pt x="228" y="394"/>
                      <a:pt x="227" y="382"/>
                      <a:pt x="233" y="381"/>
                    </a:cubicBezTo>
                    <a:cubicBezTo>
                      <a:pt x="234" y="380"/>
                      <a:pt x="237" y="380"/>
                      <a:pt x="237" y="379"/>
                    </a:cubicBezTo>
                    <a:cubicBezTo>
                      <a:pt x="240" y="379"/>
                      <a:pt x="240" y="379"/>
                      <a:pt x="240" y="379"/>
                    </a:cubicBezTo>
                    <a:cubicBezTo>
                      <a:pt x="237" y="367"/>
                      <a:pt x="237" y="367"/>
                      <a:pt x="237" y="367"/>
                    </a:cubicBezTo>
                    <a:cubicBezTo>
                      <a:pt x="237" y="359"/>
                      <a:pt x="243" y="352"/>
                      <a:pt x="243" y="341"/>
                    </a:cubicBezTo>
                    <a:cubicBezTo>
                      <a:pt x="243" y="334"/>
                      <a:pt x="240" y="329"/>
                      <a:pt x="240" y="321"/>
                    </a:cubicBezTo>
                    <a:cubicBezTo>
                      <a:pt x="240" y="312"/>
                      <a:pt x="249" y="311"/>
                      <a:pt x="257" y="308"/>
                    </a:cubicBezTo>
                    <a:cubicBezTo>
                      <a:pt x="260" y="307"/>
                      <a:pt x="265" y="302"/>
                      <a:pt x="268" y="298"/>
                    </a:cubicBezTo>
                    <a:cubicBezTo>
                      <a:pt x="277" y="290"/>
                      <a:pt x="284" y="281"/>
                      <a:pt x="293" y="272"/>
                    </a:cubicBezTo>
                    <a:cubicBezTo>
                      <a:pt x="300" y="265"/>
                      <a:pt x="313" y="263"/>
                      <a:pt x="321" y="255"/>
                    </a:cubicBezTo>
                    <a:cubicBezTo>
                      <a:pt x="325" y="251"/>
                      <a:pt x="325" y="246"/>
                      <a:pt x="326" y="240"/>
                    </a:cubicBezTo>
                    <a:cubicBezTo>
                      <a:pt x="328" y="236"/>
                      <a:pt x="337" y="236"/>
                      <a:pt x="340" y="229"/>
                    </a:cubicBezTo>
                    <a:cubicBezTo>
                      <a:pt x="344" y="231"/>
                      <a:pt x="344" y="233"/>
                      <a:pt x="351" y="233"/>
                    </a:cubicBezTo>
                    <a:cubicBezTo>
                      <a:pt x="362" y="233"/>
                      <a:pt x="374" y="231"/>
                      <a:pt x="374" y="218"/>
                    </a:cubicBezTo>
                    <a:cubicBezTo>
                      <a:pt x="381" y="219"/>
                      <a:pt x="389" y="222"/>
                      <a:pt x="390" y="228"/>
                    </a:cubicBezTo>
                    <a:cubicBezTo>
                      <a:pt x="392" y="233"/>
                      <a:pt x="391" y="240"/>
                      <a:pt x="395" y="245"/>
                    </a:cubicBezTo>
                    <a:cubicBezTo>
                      <a:pt x="398" y="251"/>
                      <a:pt x="403" y="255"/>
                      <a:pt x="409" y="259"/>
                    </a:cubicBezTo>
                    <a:cubicBezTo>
                      <a:pt x="414" y="267"/>
                      <a:pt x="419" y="274"/>
                      <a:pt x="422" y="283"/>
                    </a:cubicBezTo>
                    <a:cubicBezTo>
                      <a:pt x="423" y="285"/>
                      <a:pt x="425" y="286"/>
                      <a:pt x="425" y="289"/>
                    </a:cubicBezTo>
                    <a:cubicBezTo>
                      <a:pt x="425" y="293"/>
                      <a:pt x="423" y="296"/>
                      <a:pt x="423" y="302"/>
                    </a:cubicBezTo>
                    <a:cubicBezTo>
                      <a:pt x="423" y="307"/>
                      <a:pt x="423" y="313"/>
                      <a:pt x="430" y="313"/>
                    </a:cubicBezTo>
                    <a:cubicBezTo>
                      <a:pt x="442" y="313"/>
                      <a:pt x="445" y="300"/>
                      <a:pt x="453" y="293"/>
                    </a:cubicBezTo>
                    <a:cubicBezTo>
                      <a:pt x="455" y="295"/>
                      <a:pt x="454" y="297"/>
                      <a:pt x="457" y="300"/>
                    </a:cubicBezTo>
                    <a:cubicBezTo>
                      <a:pt x="457" y="300"/>
                      <a:pt x="461" y="300"/>
                      <a:pt x="462" y="302"/>
                    </a:cubicBezTo>
                    <a:cubicBezTo>
                      <a:pt x="467" y="308"/>
                      <a:pt x="459" y="322"/>
                      <a:pt x="465" y="322"/>
                    </a:cubicBezTo>
                    <a:cubicBezTo>
                      <a:pt x="465" y="336"/>
                      <a:pt x="476" y="347"/>
                      <a:pt x="476" y="367"/>
                    </a:cubicBezTo>
                    <a:cubicBezTo>
                      <a:pt x="476" y="371"/>
                      <a:pt x="473" y="382"/>
                      <a:pt x="476" y="383"/>
                    </a:cubicBezTo>
                    <a:cubicBezTo>
                      <a:pt x="480" y="376"/>
                      <a:pt x="481" y="371"/>
                      <a:pt x="485" y="363"/>
                    </a:cubicBezTo>
                    <a:cubicBezTo>
                      <a:pt x="486" y="361"/>
                      <a:pt x="489" y="360"/>
                      <a:pt x="489" y="358"/>
                    </a:cubicBezTo>
                    <a:cubicBezTo>
                      <a:pt x="489" y="354"/>
                      <a:pt x="483" y="334"/>
                      <a:pt x="479" y="330"/>
                    </a:cubicBezTo>
                    <a:cubicBezTo>
                      <a:pt x="476" y="327"/>
                      <a:pt x="472" y="325"/>
                      <a:pt x="472" y="320"/>
                    </a:cubicBezTo>
                    <a:cubicBezTo>
                      <a:pt x="472" y="319"/>
                      <a:pt x="472" y="318"/>
                      <a:pt x="472" y="316"/>
                    </a:cubicBezTo>
                    <a:cubicBezTo>
                      <a:pt x="472" y="317"/>
                      <a:pt x="472" y="317"/>
                      <a:pt x="472" y="317"/>
                    </a:cubicBezTo>
                    <a:cubicBezTo>
                      <a:pt x="473" y="316"/>
                      <a:pt x="476" y="311"/>
                      <a:pt x="476" y="307"/>
                    </a:cubicBezTo>
                    <a:cubicBezTo>
                      <a:pt x="476" y="302"/>
                      <a:pt x="476" y="293"/>
                      <a:pt x="473" y="288"/>
                    </a:cubicBezTo>
                    <a:cubicBezTo>
                      <a:pt x="470" y="284"/>
                      <a:pt x="464" y="284"/>
                      <a:pt x="464" y="276"/>
                    </a:cubicBezTo>
                    <a:cubicBezTo>
                      <a:pt x="464" y="268"/>
                      <a:pt x="467" y="262"/>
                      <a:pt x="472" y="258"/>
                    </a:cubicBezTo>
                    <a:cubicBezTo>
                      <a:pt x="474" y="255"/>
                      <a:pt x="479" y="256"/>
                      <a:pt x="483" y="254"/>
                    </a:cubicBezTo>
                    <a:cubicBezTo>
                      <a:pt x="493" y="247"/>
                      <a:pt x="500" y="244"/>
                      <a:pt x="509" y="230"/>
                    </a:cubicBezTo>
                    <a:cubicBezTo>
                      <a:pt x="506" y="230"/>
                      <a:pt x="505" y="231"/>
                      <a:pt x="501" y="231"/>
                    </a:cubicBezTo>
                    <a:cubicBezTo>
                      <a:pt x="493" y="231"/>
                      <a:pt x="487" y="222"/>
                      <a:pt x="487" y="213"/>
                    </a:cubicBezTo>
                    <a:cubicBezTo>
                      <a:pt x="483" y="212"/>
                      <a:pt x="482" y="199"/>
                      <a:pt x="478" y="199"/>
                    </a:cubicBezTo>
                    <a:cubicBezTo>
                      <a:pt x="475" y="199"/>
                      <a:pt x="472" y="202"/>
                      <a:pt x="469" y="202"/>
                    </a:cubicBezTo>
                    <a:cubicBezTo>
                      <a:pt x="468" y="202"/>
                      <a:pt x="467" y="199"/>
                      <a:pt x="467" y="197"/>
                    </a:cubicBezTo>
                    <a:cubicBezTo>
                      <a:pt x="467" y="181"/>
                      <a:pt x="479" y="180"/>
                      <a:pt x="479" y="163"/>
                    </a:cubicBezTo>
                    <a:cubicBezTo>
                      <a:pt x="479" y="154"/>
                      <a:pt x="472" y="151"/>
                      <a:pt x="468" y="144"/>
                    </a:cubicBezTo>
                    <a:cubicBezTo>
                      <a:pt x="457" y="139"/>
                      <a:pt x="448" y="140"/>
                      <a:pt x="445" y="125"/>
                    </a:cubicBezTo>
                    <a:cubicBezTo>
                      <a:pt x="442" y="125"/>
                      <a:pt x="442" y="125"/>
                      <a:pt x="442" y="125"/>
                    </a:cubicBezTo>
                    <a:cubicBezTo>
                      <a:pt x="438" y="129"/>
                      <a:pt x="438" y="129"/>
                      <a:pt x="438" y="129"/>
                    </a:cubicBezTo>
                    <a:cubicBezTo>
                      <a:pt x="433" y="131"/>
                      <a:pt x="427" y="126"/>
                      <a:pt x="423" y="130"/>
                    </a:cubicBezTo>
                    <a:cubicBezTo>
                      <a:pt x="422" y="132"/>
                      <a:pt x="421" y="133"/>
                      <a:pt x="418" y="135"/>
                    </a:cubicBezTo>
                    <a:cubicBezTo>
                      <a:pt x="415" y="137"/>
                      <a:pt x="401" y="149"/>
                      <a:pt x="394" y="149"/>
                    </a:cubicBezTo>
                    <a:cubicBezTo>
                      <a:pt x="387" y="149"/>
                      <a:pt x="382" y="144"/>
                      <a:pt x="373" y="144"/>
                    </a:cubicBezTo>
                    <a:cubicBezTo>
                      <a:pt x="362" y="144"/>
                      <a:pt x="360" y="152"/>
                      <a:pt x="354" y="155"/>
                    </a:cubicBezTo>
                    <a:cubicBezTo>
                      <a:pt x="353" y="152"/>
                      <a:pt x="352" y="145"/>
                      <a:pt x="349" y="145"/>
                    </a:cubicBezTo>
                    <a:cubicBezTo>
                      <a:pt x="347" y="145"/>
                      <a:pt x="345" y="147"/>
                      <a:pt x="341" y="147"/>
                    </a:cubicBezTo>
                    <a:cubicBezTo>
                      <a:pt x="335" y="147"/>
                      <a:pt x="329" y="147"/>
                      <a:pt x="323" y="147"/>
                    </a:cubicBezTo>
                    <a:cubicBezTo>
                      <a:pt x="313" y="147"/>
                      <a:pt x="309" y="141"/>
                      <a:pt x="302" y="136"/>
                    </a:cubicBezTo>
                    <a:cubicBezTo>
                      <a:pt x="300" y="135"/>
                      <a:pt x="296" y="139"/>
                      <a:pt x="295" y="136"/>
                    </a:cubicBezTo>
                    <a:cubicBezTo>
                      <a:pt x="293" y="132"/>
                      <a:pt x="293" y="129"/>
                      <a:pt x="290" y="127"/>
                    </a:cubicBezTo>
                    <a:cubicBezTo>
                      <a:pt x="283" y="124"/>
                      <a:pt x="279" y="126"/>
                      <a:pt x="273" y="120"/>
                    </a:cubicBezTo>
                    <a:cubicBezTo>
                      <a:pt x="268" y="115"/>
                      <a:pt x="263" y="118"/>
                      <a:pt x="254" y="116"/>
                    </a:cubicBezTo>
                    <a:cubicBezTo>
                      <a:pt x="246" y="114"/>
                      <a:pt x="243" y="108"/>
                      <a:pt x="236" y="106"/>
                    </a:cubicBezTo>
                    <a:cubicBezTo>
                      <a:pt x="234" y="105"/>
                      <a:pt x="229" y="106"/>
                      <a:pt x="228" y="103"/>
                    </a:cubicBezTo>
                    <a:cubicBezTo>
                      <a:pt x="227" y="98"/>
                      <a:pt x="227" y="94"/>
                      <a:pt x="226" y="89"/>
                    </a:cubicBezTo>
                    <a:cubicBezTo>
                      <a:pt x="226" y="85"/>
                      <a:pt x="226" y="85"/>
                      <a:pt x="226" y="85"/>
                    </a:cubicBezTo>
                    <a:cubicBezTo>
                      <a:pt x="231" y="85"/>
                      <a:pt x="236" y="86"/>
                      <a:pt x="236" y="80"/>
                    </a:cubicBezTo>
                    <a:cubicBezTo>
                      <a:pt x="236" y="75"/>
                      <a:pt x="229" y="74"/>
                      <a:pt x="229" y="69"/>
                    </a:cubicBezTo>
                    <a:cubicBezTo>
                      <a:pt x="229" y="57"/>
                      <a:pt x="246" y="59"/>
                      <a:pt x="246" y="47"/>
                    </a:cubicBezTo>
                    <a:cubicBezTo>
                      <a:pt x="246" y="43"/>
                      <a:pt x="236" y="35"/>
                      <a:pt x="232" y="35"/>
                    </a:cubicBezTo>
                    <a:cubicBezTo>
                      <a:pt x="224" y="35"/>
                      <a:pt x="221" y="42"/>
                      <a:pt x="213" y="43"/>
                    </a:cubicBezTo>
                    <a:cubicBezTo>
                      <a:pt x="205" y="40"/>
                      <a:pt x="200" y="40"/>
                      <a:pt x="194" y="34"/>
                    </a:cubicBezTo>
                    <a:cubicBezTo>
                      <a:pt x="191" y="31"/>
                      <a:pt x="193" y="25"/>
                      <a:pt x="188" y="24"/>
                    </a:cubicBezTo>
                    <a:cubicBezTo>
                      <a:pt x="182" y="22"/>
                      <a:pt x="178" y="24"/>
                      <a:pt x="178" y="16"/>
                    </a:cubicBezTo>
                    <a:cubicBezTo>
                      <a:pt x="172" y="15"/>
                      <a:pt x="168" y="15"/>
                      <a:pt x="163" y="15"/>
                    </a:cubicBezTo>
                    <a:cubicBezTo>
                      <a:pt x="154" y="15"/>
                      <a:pt x="150" y="23"/>
                      <a:pt x="140" y="23"/>
                    </a:cubicBezTo>
                    <a:cubicBezTo>
                      <a:pt x="130" y="23"/>
                      <a:pt x="140" y="0"/>
                      <a:pt x="131" y="0"/>
                    </a:cubicBezTo>
                    <a:cubicBezTo>
                      <a:pt x="122" y="0"/>
                      <a:pt x="120" y="10"/>
                      <a:pt x="116" y="10"/>
                    </a:cubicBezTo>
                    <a:cubicBezTo>
                      <a:pt x="115" y="10"/>
                      <a:pt x="114" y="11"/>
                      <a:pt x="113" y="10"/>
                    </a:cubicBezTo>
                    <a:cubicBezTo>
                      <a:pt x="110" y="16"/>
                      <a:pt x="103" y="21"/>
                      <a:pt x="94" y="21"/>
                    </a:cubicBezTo>
                    <a:cubicBezTo>
                      <a:pt x="91" y="21"/>
                      <a:pt x="90" y="16"/>
                      <a:pt x="86" y="16"/>
                    </a:cubicBezTo>
                    <a:cubicBezTo>
                      <a:pt x="83" y="16"/>
                      <a:pt x="73" y="20"/>
                      <a:pt x="72" y="15"/>
                    </a:cubicBezTo>
                    <a:cubicBezTo>
                      <a:pt x="68" y="15"/>
                      <a:pt x="69" y="13"/>
                      <a:pt x="65" y="13"/>
                    </a:cubicBezTo>
                    <a:cubicBezTo>
                      <a:pt x="54" y="13"/>
                      <a:pt x="53" y="24"/>
                      <a:pt x="45" y="32"/>
                    </a:cubicBezTo>
                    <a:cubicBezTo>
                      <a:pt x="42" y="35"/>
                      <a:pt x="37" y="35"/>
                      <a:pt x="33" y="39"/>
                    </a:cubicBezTo>
                    <a:cubicBezTo>
                      <a:pt x="30" y="42"/>
                      <a:pt x="28" y="46"/>
                      <a:pt x="23" y="46"/>
                    </a:cubicBezTo>
                    <a:cubicBezTo>
                      <a:pt x="19" y="46"/>
                      <a:pt x="16" y="42"/>
                      <a:pt x="12" y="42"/>
                    </a:cubicBezTo>
                    <a:cubicBezTo>
                      <a:pt x="11" y="42"/>
                      <a:pt x="11" y="45"/>
                      <a:pt x="10" y="45"/>
                    </a:cubicBezTo>
                    <a:cubicBezTo>
                      <a:pt x="7" y="47"/>
                      <a:pt x="0" y="63"/>
                      <a:pt x="0" y="64"/>
                    </a:cubicBezTo>
                    <a:cubicBezTo>
                      <a:pt x="0" y="65"/>
                      <a:pt x="1" y="67"/>
                      <a:pt x="0" y="68"/>
                    </a:cubicBezTo>
                    <a:cubicBezTo>
                      <a:pt x="1" y="70"/>
                      <a:pt x="0" y="71"/>
                      <a:pt x="1" y="73"/>
                    </a:cubicBezTo>
                    <a:cubicBezTo>
                      <a:pt x="1" y="87"/>
                      <a:pt x="1" y="87"/>
                      <a:pt x="1" y="87"/>
                    </a:cubicBezTo>
                    <a:cubicBezTo>
                      <a:pt x="3" y="91"/>
                      <a:pt x="2" y="94"/>
                      <a:pt x="4" y="98"/>
                    </a:cubicBezTo>
                    <a:cubicBezTo>
                      <a:pt x="5" y="102"/>
                      <a:pt x="14" y="98"/>
                      <a:pt x="14" y="105"/>
                    </a:cubicBezTo>
                    <a:cubicBezTo>
                      <a:pt x="14" y="114"/>
                      <a:pt x="4" y="113"/>
                      <a:pt x="4" y="120"/>
                    </a:cubicBezTo>
                    <a:cubicBezTo>
                      <a:pt x="4" y="126"/>
                      <a:pt x="8" y="126"/>
                      <a:pt x="10" y="128"/>
                    </a:cubicBezTo>
                    <a:cubicBezTo>
                      <a:pt x="17" y="143"/>
                      <a:pt x="32" y="145"/>
                      <a:pt x="32" y="164"/>
                    </a:cubicBezTo>
                    <a:cubicBezTo>
                      <a:pt x="21" y="167"/>
                      <a:pt x="13" y="169"/>
                      <a:pt x="13" y="181"/>
                    </a:cubicBezTo>
                    <a:cubicBezTo>
                      <a:pt x="13" y="184"/>
                      <a:pt x="15" y="187"/>
                      <a:pt x="15" y="189"/>
                    </a:cubicBezTo>
                    <a:cubicBezTo>
                      <a:pt x="30" y="188"/>
                      <a:pt x="30" y="188"/>
                      <a:pt x="30" y="188"/>
                    </a:cubicBezTo>
                    <a:cubicBezTo>
                      <a:pt x="31" y="187"/>
                      <a:pt x="33" y="186"/>
                      <a:pt x="34" y="185"/>
                    </a:cubicBezTo>
                    <a:cubicBezTo>
                      <a:pt x="46" y="188"/>
                      <a:pt x="46" y="188"/>
                      <a:pt x="46" y="188"/>
                    </a:cubicBezTo>
                    <a:cubicBezTo>
                      <a:pt x="50" y="188"/>
                      <a:pt x="52" y="184"/>
                      <a:pt x="57" y="184"/>
                    </a:cubicBezTo>
                    <a:cubicBezTo>
                      <a:pt x="62" y="184"/>
                      <a:pt x="65" y="184"/>
                      <a:pt x="70" y="185"/>
                    </a:cubicBezTo>
                    <a:cubicBezTo>
                      <a:pt x="75" y="187"/>
                      <a:pt x="78" y="197"/>
                      <a:pt x="82" y="203"/>
                    </a:cubicBezTo>
                    <a:cubicBezTo>
                      <a:pt x="86" y="209"/>
                      <a:pt x="99" y="218"/>
                      <a:pt x="108" y="218"/>
                    </a:cubicBezTo>
                    <a:cubicBezTo>
                      <a:pt x="111" y="218"/>
                      <a:pt x="114" y="218"/>
                      <a:pt x="118" y="219"/>
                    </a:cubicBezTo>
                    <a:cubicBezTo>
                      <a:pt x="116" y="221"/>
                      <a:pt x="116" y="225"/>
                      <a:pt x="112" y="225"/>
                    </a:cubicBezTo>
                    <a:cubicBezTo>
                      <a:pt x="108" y="227"/>
                      <a:pt x="105" y="225"/>
                      <a:pt x="101" y="227"/>
                    </a:cubicBezTo>
                    <a:cubicBezTo>
                      <a:pt x="108" y="234"/>
                      <a:pt x="113" y="248"/>
                      <a:pt x="127" y="248"/>
                    </a:cubicBezTo>
                    <a:cubicBezTo>
                      <a:pt x="138" y="248"/>
                      <a:pt x="139" y="233"/>
                      <a:pt x="144" y="227"/>
                    </a:cubicBezTo>
                    <a:cubicBezTo>
                      <a:pt x="148" y="227"/>
                      <a:pt x="148" y="227"/>
                      <a:pt x="148" y="227"/>
                    </a:cubicBezTo>
                    <a:cubicBezTo>
                      <a:pt x="148" y="229"/>
                      <a:pt x="145" y="232"/>
                      <a:pt x="145" y="233"/>
                    </a:cubicBezTo>
                    <a:cubicBezTo>
                      <a:pt x="145" y="239"/>
                      <a:pt x="150" y="244"/>
                      <a:pt x="150" y="251"/>
                    </a:cubicBezTo>
                    <a:cubicBezTo>
                      <a:pt x="150" y="257"/>
                      <a:pt x="147" y="258"/>
                      <a:pt x="147" y="264"/>
                    </a:cubicBezTo>
                    <a:lnTo>
                      <a:pt x="149" y="2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1" name="Freeform 104"/>
              <p:cNvSpPr>
                <a:spLocks/>
              </p:cNvSpPr>
              <p:nvPr/>
            </p:nvSpPr>
            <p:spPr bwMode="auto">
              <a:xfrm>
                <a:off x="5975350" y="2781300"/>
                <a:ext cx="177800" cy="192088"/>
              </a:xfrm>
              <a:custGeom>
                <a:avLst/>
                <a:gdLst/>
                <a:ahLst/>
                <a:cxnLst>
                  <a:cxn ang="0">
                    <a:pos x="59" y="74"/>
                  </a:cxn>
                  <a:cxn ang="0">
                    <a:pos x="58" y="70"/>
                  </a:cxn>
                  <a:cxn ang="0">
                    <a:pos x="51" y="68"/>
                  </a:cxn>
                  <a:cxn ang="0">
                    <a:pos x="45" y="53"/>
                  </a:cxn>
                  <a:cxn ang="0">
                    <a:pos x="28" y="38"/>
                  </a:cxn>
                  <a:cxn ang="0">
                    <a:pos x="22" y="25"/>
                  </a:cxn>
                  <a:cxn ang="0">
                    <a:pos x="11" y="21"/>
                  </a:cxn>
                  <a:cxn ang="0">
                    <a:pos x="0" y="3"/>
                  </a:cxn>
                  <a:cxn ang="0">
                    <a:pos x="0" y="0"/>
                  </a:cxn>
                  <a:cxn ang="0">
                    <a:pos x="2" y="0"/>
                  </a:cxn>
                  <a:cxn ang="0">
                    <a:pos x="11" y="4"/>
                  </a:cxn>
                  <a:cxn ang="0">
                    <a:pos x="26" y="4"/>
                  </a:cxn>
                  <a:cxn ang="0">
                    <a:pos x="42" y="20"/>
                  </a:cxn>
                  <a:cxn ang="0">
                    <a:pos x="47" y="23"/>
                  </a:cxn>
                  <a:cxn ang="0">
                    <a:pos x="61" y="35"/>
                  </a:cxn>
                  <a:cxn ang="0">
                    <a:pos x="86" y="53"/>
                  </a:cxn>
                  <a:cxn ang="0">
                    <a:pos x="101" y="64"/>
                  </a:cxn>
                  <a:cxn ang="0">
                    <a:pos x="100" y="66"/>
                  </a:cxn>
                  <a:cxn ang="0">
                    <a:pos x="103" y="66"/>
                  </a:cxn>
                  <a:cxn ang="0">
                    <a:pos x="107" y="70"/>
                  </a:cxn>
                  <a:cxn ang="0">
                    <a:pos x="105" y="74"/>
                  </a:cxn>
                  <a:cxn ang="0">
                    <a:pos x="114" y="81"/>
                  </a:cxn>
                  <a:cxn ang="0">
                    <a:pos x="124" y="98"/>
                  </a:cxn>
                  <a:cxn ang="0">
                    <a:pos x="133" y="106"/>
                  </a:cxn>
                  <a:cxn ang="0">
                    <a:pos x="133" y="125"/>
                  </a:cxn>
                  <a:cxn ang="0">
                    <a:pos x="131" y="138"/>
                  </a:cxn>
                  <a:cxn ang="0">
                    <a:pos x="119" y="144"/>
                  </a:cxn>
                  <a:cxn ang="0">
                    <a:pos x="108" y="132"/>
                  </a:cxn>
                  <a:cxn ang="0">
                    <a:pos x="84" y="112"/>
                  </a:cxn>
                  <a:cxn ang="0">
                    <a:pos x="67" y="85"/>
                  </a:cxn>
                  <a:cxn ang="0">
                    <a:pos x="59" y="74"/>
                  </a:cxn>
                </a:cxnLst>
                <a:rect l="0" t="0" r="r" b="b"/>
                <a:pathLst>
                  <a:path w="133" h="144">
                    <a:moveTo>
                      <a:pt x="59" y="74"/>
                    </a:moveTo>
                    <a:cubicBezTo>
                      <a:pt x="58" y="74"/>
                      <a:pt x="59" y="72"/>
                      <a:pt x="58" y="70"/>
                    </a:cubicBezTo>
                    <a:cubicBezTo>
                      <a:pt x="57" y="69"/>
                      <a:pt x="52" y="69"/>
                      <a:pt x="51" y="68"/>
                    </a:cubicBezTo>
                    <a:cubicBezTo>
                      <a:pt x="49" y="67"/>
                      <a:pt x="45" y="56"/>
                      <a:pt x="45" y="53"/>
                    </a:cubicBezTo>
                    <a:cubicBezTo>
                      <a:pt x="41" y="43"/>
                      <a:pt x="31" y="44"/>
                      <a:pt x="28" y="38"/>
                    </a:cubicBezTo>
                    <a:cubicBezTo>
                      <a:pt x="26" y="33"/>
                      <a:pt x="24" y="30"/>
                      <a:pt x="22" y="25"/>
                    </a:cubicBezTo>
                    <a:cubicBezTo>
                      <a:pt x="20" y="21"/>
                      <a:pt x="15" y="22"/>
                      <a:pt x="11" y="21"/>
                    </a:cubicBezTo>
                    <a:cubicBezTo>
                      <a:pt x="8" y="20"/>
                      <a:pt x="1" y="8"/>
                      <a:pt x="0" y="3"/>
                    </a:cubicBezTo>
                    <a:cubicBezTo>
                      <a:pt x="0" y="0"/>
                      <a:pt x="0" y="0"/>
                      <a:pt x="0" y="0"/>
                    </a:cubicBezTo>
                    <a:cubicBezTo>
                      <a:pt x="0" y="0"/>
                      <a:pt x="1" y="0"/>
                      <a:pt x="2" y="0"/>
                    </a:cubicBezTo>
                    <a:cubicBezTo>
                      <a:pt x="7" y="0"/>
                      <a:pt x="8" y="2"/>
                      <a:pt x="11" y="4"/>
                    </a:cubicBezTo>
                    <a:cubicBezTo>
                      <a:pt x="26" y="4"/>
                      <a:pt x="26" y="4"/>
                      <a:pt x="26" y="4"/>
                    </a:cubicBezTo>
                    <a:cubicBezTo>
                      <a:pt x="35" y="7"/>
                      <a:pt x="38" y="13"/>
                      <a:pt x="42" y="20"/>
                    </a:cubicBezTo>
                    <a:cubicBezTo>
                      <a:pt x="43" y="23"/>
                      <a:pt x="45" y="22"/>
                      <a:pt x="47" y="23"/>
                    </a:cubicBezTo>
                    <a:cubicBezTo>
                      <a:pt x="53" y="25"/>
                      <a:pt x="56" y="30"/>
                      <a:pt x="61" y="35"/>
                    </a:cubicBezTo>
                    <a:cubicBezTo>
                      <a:pt x="69" y="43"/>
                      <a:pt x="74" y="49"/>
                      <a:pt x="86" y="53"/>
                    </a:cubicBezTo>
                    <a:cubicBezTo>
                      <a:pt x="93" y="55"/>
                      <a:pt x="101" y="57"/>
                      <a:pt x="101" y="64"/>
                    </a:cubicBezTo>
                    <a:cubicBezTo>
                      <a:pt x="101" y="64"/>
                      <a:pt x="100" y="65"/>
                      <a:pt x="100" y="66"/>
                    </a:cubicBezTo>
                    <a:cubicBezTo>
                      <a:pt x="101" y="66"/>
                      <a:pt x="102" y="66"/>
                      <a:pt x="103" y="66"/>
                    </a:cubicBezTo>
                    <a:cubicBezTo>
                      <a:pt x="105" y="66"/>
                      <a:pt x="106" y="68"/>
                      <a:pt x="107" y="70"/>
                    </a:cubicBezTo>
                    <a:cubicBezTo>
                      <a:pt x="105" y="74"/>
                      <a:pt x="105" y="74"/>
                      <a:pt x="105" y="74"/>
                    </a:cubicBezTo>
                    <a:cubicBezTo>
                      <a:pt x="105" y="80"/>
                      <a:pt x="109" y="81"/>
                      <a:pt x="114" y="81"/>
                    </a:cubicBezTo>
                    <a:cubicBezTo>
                      <a:pt x="114" y="91"/>
                      <a:pt x="119" y="93"/>
                      <a:pt x="124" y="98"/>
                    </a:cubicBezTo>
                    <a:cubicBezTo>
                      <a:pt x="127" y="101"/>
                      <a:pt x="133" y="102"/>
                      <a:pt x="133" y="106"/>
                    </a:cubicBezTo>
                    <a:cubicBezTo>
                      <a:pt x="133" y="112"/>
                      <a:pt x="133" y="116"/>
                      <a:pt x="133" y="125"/>
                    </a:cubicBezTo>
                    <a:cubicBezTo>
                      <a:pt x="128" y="127"/>
                      <a:pt x="131" y="133"/>
                      <a:pt x="131" y="138"/>
                    </a:cubicBezTo>
                    <a:cubicBezTo>
                      <a:pt x="131" y="143"/>
                      <a:pt x="122" y="144"/>
                      <a:pt x="119" y="144"/>
                    </a:cubicBezTo>
                    <a:cubicBezTo>
                      <a:pt x="116" y="144"/>
                      <a:pt x="109" y="132"/>
                      <a:pt x="108" y="132"/>
                    </a:cubicBezTo>
                    <a:cubicBezTo>
                      <a:pt x="100" y="124"/>
                      <a:pt x="92" y="120"/>
                      <a:pt x="84" y="112"/>
                    </a:cubicBezTo>
                    <a:cubicBezTo>
                      <a:pt x="75" y="103"/>
                      <a:pt x="71" y="95"/>
                      <a:pt x="67" y="85"/>
                    </a:cubicBezTo>
                    <a:cubicBezTo>
                      <a:pt x="66" y="83"/>
                      <a:pt x="60" y="74"/>
                      <a:pt x="59"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2" name="Freeform 105"/>
              <p:cNvSpPr>
                <a:spLocks/>
              </p:cNvSpPr>
              <p:nvPr/>
            </p:nvSpPr>
            <p:spPr bwMode="auto">
              <a:xfrm>
                <a:off x="6203950" y="2757488"/>
                <a:ext cx="169863" cy="188913"/>
              </a:xfrm>
              <a:custGeom>
                <a:avLst/>
                <a:gdLst/>
                <a:ahLst/>
                <a:cxnLst>
                  <a:cxn ang="0">
                    <a:pos x="37" y="130"/>
                  </a:cxn>
                  <a:cxn ang="0">
                    <a:pos x="36" y="124"/>
                  </a:cxn>
                  <a:cxn ang="0">
                    <a:pos x="27" y="126"/>
                  </a:cxn>
                  <a:cxn ang="0">
                    <a:pos x="11" y="102"/>
                  </a:cxn>
                  <a:cxn ang="0">
                    <a:pos x="12" y="99"/>
                  </a:cxn>
                  <a:cxn ang="0">
                    <a:pos x="6" y="97"/>
                  </a:cxn>
                  <a:cxn ang="0">
                    <a:pos x="0" y="78"/>
                  </a:cxn>
                  <a:cxn ang="0">
                    <a:pos x="15" y="74"/>
                  </a:cxn>
                  <a:cxn ang="0">
                    <a:pos x="33" y="54"/>
                  </a:cxn>
                  <a:cxn ang="0">
                    <a:pos x="45" y="50"/>
                  </a:cxn>
                  <a:cxn ang="0">
                    <a:pos x="56" y="41"/>
                  </a:cxn>
                  <a:cxn ang="0">
                    <a:pos x="59" y="35"/>
                  </a:cxn>
                  <a:cxn ang="0">
                    <a:pos x="63" y="32"/>
                  </a:cxn>
                  <a:cxn ang="0">
                    <a:pos x="66" y="29"/>
                  </a:cxn>
                  <a:cxn ang="0">
                    <a:pos x="82" y="23"/>
                  </a:cxn>
                  <a:cxn ang="0">
                    <a:pos x="102" y="0"/>
                  </a:cxn>
                  <a:cxn ang="0">
                    <a:pos x="109" y="11"/>
                  </a:cxn>
                  <a:cxn ang="0">
                    <a:pos x="127" y="23"/>
                  </a:cxn>
                  <a:cxn ang="0">
                    <a:pos x="117" y="29"/>
                  </a:cxn>
                  <a:cxn ang="0">
                    <a:pos x="119" y="31"/>
                  </a:cxn>
                  <a:cxn ang="0">
                    <a:pos x="106" y="37"/>
                  </a:cxn>
                  <a:cxn ang="0">
                    <a:pos x="108" y="41"/>
                  </a:cxn>
                  <a:cxn ang="0">
                    <a:pos x="105" y="44"/>
                  </a:cxn>
                  <a:cxn ang="0">
                    <a:pos x="125" y="73"/>
                  </a:cxn>
                  <a:cxn ang="0">
                    <a:pos x="115" y="77"/>
                  </a:cxn>
                  <a:cxn ang="0">
                    <a:pos x="111" y="78"/>
                  </a:cxn>
                  <a:cxn ang="0">
                    <a:pos x="109" y="83"/>
                  </a:cxn>
                  <a:cxn ang="0">
                    <a:pos x="103" y="102"/>
                  </a:cxn>
                  <a:cxn ang="0">
                    <a:pos x="93" y="113"/>
                  </a:cxn>
                  <a:cxn ang="0">
                    <a:pos x="95" y="119"/>
                  </a:cxn>
                  <a:cxn ang="0">
                    <a:pos x="90" y="134"/>
                  </a:cxn>
                  <a:cxn ang="0">
                    <a:pos x="76" y="141"/>
                  </a:cxn>
                  <a:cxn ang="0">
                    <a:pos x="71" y="135"/>
                  </a:cxn>
                  <a:cxn ang="0">
                    <a:pos x="51" y="128"/>
                  </a:cxn>
                  <a:cxn ang="0">
                    <a:pos x="40" y="132"/>
                  </a:cxn>
                  <a:cxn ang="0">
                    <a:pos x="37" y="130"/>
                  </a:cxn>
                </a:cxnLst>
                <a:rect l="0" t="0" r="r" b="b"/>
                <a:pathLst>
                  <a:path w="127" h="141">
                    <a:moveTo>
                      <a:pt x="37" y="130"/>
                    </a:moveTo>
                    <a:cubicBezTo>
                      <a:pt x="36" y="130"/>
                      <a:pt x="36" y="125"/>
                      <a:pt x="36" y="124"/>
                    </a:cubicBezTo>
                    <a:cubicBezTo>
                      <a:pt x="32" y="123"/>
                      <a:pt x="30" y="126"/>
                      <a:pt x="27" y="126"/>
                    </a:cubicBezTo>
                    <a:cubicBezTo>
                      <a:pt x="10" y="126"/>
                      <a:pt x="17" y="110"/>
                      <a:pt x="11" y="102"/>
                    </a:cubicBezTo>
                    <a:cubicBezTo>
                      <a:pt x="11" y="101"/>
                      <a:pt x="12" y="100"/>
                      <a:pt x="12" y="99"/>
                    </a:cubicBezTo>
                    <a:cubicBezTo>
                      <a:pt x="11" y="97"/>
                      <a:pt x="8" y="97"/>
                      <a:pt x="6" y="97"/>
                    </a:cubicBezTo>
                    <a:cubicBezTo>
                      <a:pt x="4" y="96"/>
                      <a:pt x="0" y="80"/>
                      <a:pt x="0" y="78"/>
                    </a:cubicBezTo>
                    <a:cubicBezTo>
                      <a:pt x="0" y="71"/>
                      <a:pt x="9" y="74"/>
                      <a:pt x="15" y="74"/>
                    </a:cubicBezTo>
                    <a:cubicBezTo>
                      <a:pt x="29" y="74"/>
                      <a:pt x="27" y="60"/>
                      <a:pt x="33" y="54"/>
                    </a:cubicBezTo>
                    <a:cubicBezTo>
                      <a:pt x="36" y="51"/>
                      <a:pt x="41" y="51"/>
                      <a:pt x="45" y="50"/>
                    </a:cubicBezTo>
                    <a:cubicBezTo>
                      <a:pt x="52" y="49"/>
                      <a:pt x="52" y="44"/>
                      <a:pt x="56" y="41"/>
                    </a:cubicBezTo>
                    <a:cubicBezTo>
                      <a:pt x="54" y="39"/>
                      <a:pt x="59" y="35"/>
                      <a:pt x="59" y="35"/>
                    </a:cubicBezTo>
                    <a:cubicBezTo>
                      <a:pt x="61" y="34"/>
                      <a:pt x="61" y="33"/>
                      <a:pt x="63" y="32"/>
                    </a:cubicBezTo>
                    <a:cubicBezTo>
                      <a:pt x="64" y="32"/>
                      <a:pt x="65" y="30"/>
                      <a:pt x="66" y="29"/>
                    </a:cubicBezTo>
                    <a:cubicBezTo>
                      <a:pt x="70" y="25"/>
                      <a:pt x="80" y="27"/>
                      <a:pt x="82" y="23"/>
                    </a:cubicBezTo>
                    <a:cubicBezTo>
                      <a:pt x="85" y="16"/>
                      <a:pt x="95" y="0"/>
                      <a:pt x="102" y="0"/>
                    </a:cubicBezTo>
                    <a:cubicBezTo>
                      <a:pt x="109" y="0"/>
                      <a:pt x="109" y="4"/>
                      <a:pt x="109" y="11"/>
                    </a:cubicBezTo>
                    <a:cubicBezTo>
                      <a:pt x="109" y="20"/>
                      <a:pt x="127" y="15"/>
                      <a:pt x="127" y="23"/>
                    </a:cubicBezTo>
                    <a:cubicBezTo>
                      <a:pt x="127" y="27"/>
                      <a:pt x="117" y="25"/>
                      <a:pt x="117" y="29"/>
                    </a:cubicBezTo>
                    <a:cubicBezTo>
                      <a:pt x="117" y="30"/>
                      <a:pt x="118" y="31"/>
                      <a:pt x="119" y="31"/>
                    </a:cubicBezTo>
                    <a:cubicBezTo>
                      <a:pt x="118" y="32"/>
                      <a:pt x="106" y="37"/>
                      <a:pt x="106" y="37"/>
                    </a:cubicBezTo>
                    <a:cubicBezTo>
                      <a:pt x="107" y="38"/>
                      <a:pt x="108" y="40"/>
                      <a:pt x="108" y="41"/>
                    </a:cubicBezTo>
                    <a:cubicBezTo>
                      <a:pt x="107" y="42"/>
                      <a:pt x="105" y="43"/>
                      <a:pt x="105" y="44"/>
                    </a:cubicBezTo>
                    <a:cubicBezTo>
                      <a:pt x="105" y="51"/>
                      <a:pt x="117" y="73"/>
                      <a:pt x="125" y="73"/>
                    </a:cubicBezTo>
                    <a:cubicBezTo>
                      <a:pt x="124" y="79"/>
                      <a:pt x="120" y="77"/>
                      <a:pt x="115" y="77"/>
                    </a:cubicBezTo>
                    <a:cubicBezTo>
                      <a:pt x="114" y="77"/>
                      <a:pt x="112" y="78"/>
                      <a:pt x="111" y="78"/>
                    </a:cubicBezTo>
                    <a:cubicBezTo>
                      <a:pt x="109" y="83"/>
                      <a:pt x="109" y="83"/>
                      <a:pt x="109" y="83"/>
                    </a:cubicBezTo>
                    <a:cubicBezTo>
                      <a:pt x="106" y="92"/>
                      <a:pt x="103" y="95"/>
                      <a:pt x="103" y="102"/>
                    </a:cubicBezTo>
                    <a:cubicBezTo>
                      <a:pt x="98" y="103"/>
                      <a:pt x="93" y="110"/>
                      <a:pt x="93" y="113"/>
                    </a:cubicBezTo>
                    <a:cubicBezTo>
                      <a:pt x="93" y="116"/>
                      <a:pt x="95" y="117"/>
                      <a:pt x="95" y="119"/>
                    </a:cubicBezTo>
                    <a:cubicBezTo>
                      <a:pt x="95" y="122"/>
                      <a:pt x="90" y="129"/>
                      <a:pt x="90" y="134"/>
                    </a:cubicBezTo>
                    <a:cubicBezTo>
                      <a:pt x="83" y="135"/>
                      <a:pt x="82" y="141"/>
                      <a:pt x="76" y="141"/>
                    </a:cubicBezTo>
                    <a:cubicBezTo>
                      <a:pt x="72" y="141"/>
                      <a:pt x="71" y="137"/>
                      <a:pt x="71" y="135"/>
                    </a:cubicBezTo>
                    <a:cubicBezTo>
                      <a:pt x="64" y="133"/>
                      <a:pt x="59" y="128"/>
                      <a:pt x="51" y="128"/>
                    </a:cubicBezTo>
                    <a:cubicBezTo>
                      <a:pt x="48" y="128"/>
                      <a:pt x="45" y="132"/>
                      <a:pt x="40" y="132"/>
                    </a:cubicBezTo>
                    <a:cubicBezTo>
                      <a:pt x="39" y="132"/>
                      <a:pt x="38" y="130"/>
                      <a:pt x="37" y="1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3" name="Freeform 106"/>
              <p:cNvSpPr>
                <a:spLocks/>
              </p:cNvSpPr>
              <p:nvPr/>
            </p:nvSpPr>
            <p:spPr bwMode="auto">
              <a:xfrm>
                <a:off x="6367463" y="2847975"/>
                <a:ext cx="106363" cy="123825"/>
              </a:xfrm>
              <a:custGeom>
                <a:avLst/>
                <a:gdLst/>
                <a:ahLst/>
                <a:cxnLst>
                  <a:cxn ang="0">
                    <a:pos x="31" y="34"/>
                  </a:cxn>
                  <a:cxn ang="0">
                    <a:pos x="27" y="38"/>
                  </a:cxn>
                  <a:cxn ang="0">
                    <a:pos x="17" y="24"/>
                  </a:cxn>
                  <a:cxn ang="0">
                    <a:pos x="32" y="16"/>
                  </a:cxn>
                  <a:cxn ang="0">
                    <a:pos x="49" y="15"/>
                  </a:cxn>
                  <a:cxn ang="0">
                    <a:pos x="64" y="18"/>
                  </a:cxn>
                  <a:cxn ang="0">
                    <a:pos x="77" y="4"/>
                  </a:cxn>
                  <a:cxn ang="0">
                    <a:pos x="79" y="0"/>
                  </a:cxn>
                  <a:cxn ang="0">
                    <a:pos x="77" y="0"/>
                  </a:cxn>
                  <a:cxn ang="0">
                    <a:pos x="63" y="10"/>
                  </a:cxn>
                  <a:cxn ang="0">
                    <a:pos x="59" y="10"/>
                  </a:cxn>
                  <a:cxn ang="0">
                    <a:pos x="28" y="5"/>
                  </a:cxn>
                  <a:cxn ang="0">
                    <a:pos x="12" y="30"/>
                  </a:cxn>
                  <a:cxn ang="0">
                    <a:pos x="8" y="37"/>
                  </a:cxn>
                  <a:cxn ang="0">
                    <a:pos x="0" y="61"/>
                  </a:cxn>
                  <a:cxn ang="0">
                    <a:pos x="8" y="66"/>
                  </a:cxn>
                  <a:cxn ang="0">
                    <a:pos x="8" y="87"/>
                  </a:cxn>
                  <a:cxn ang="0">
                    <a:pos x="16" y="93"/>
                  </a:cxn>
                  <a:cxn ang="0">
                    <a:pos x="22" y="76"/>
                  </a:cxn>
                  <a:cxn ang="0">
                    <a:pos x="18" y="61"/>
                  </a:cxn>
                  <a:cxn ang="0">
                    <a:pos x="25" y="56"/>
                  </a:cxn>
                  <a:cxn ang="0">
                    <a:pos x="28" y="56"/>
                  </a:cxn>
                  <a:cxn ang="0">
                    <a:pos x="27" y="65"/>
                  </a:cxn>
                  <a:cxn ang="0">
                    <a:pos x="34" y="79"/>
                  </a:cxn>
                  <a:cxn ang="0">
                    <a:pos x="34" y="83"/>
                  </a:cxn>
                  <a:cxn ang="0">
                    <a:pos x="39" y="83"/>
                  </a:cxn>
                  <a:cxn ang="0">
                    <a:pos x="49" y="73"/>
                  </a:cxn>
                  <a:cxn ang="0">
                    <a:pos x="43" y="65"/>
                  </a:cxn>
                  <a:cxn ang="0">
                    <a:pos x="45" y="63"/>
                  </a:cxn>
                  <a:cxn ang="0">
                    <a:pos x="34" y="44"/>
                  </a:cxn>
                  <a:cxn ang="0">
                    <a:pos x="57" y="31"/>
                  </a:cxn>
                  <a:cxn ang="0">
                    <a:pos x="57" y="28"/>
                  </a:cxn>
                  <a:cxn ang="0">
                    <a:pos x="31" y="36"/>
                  </a:cxn>
                  <a:cxn ang="0">
                    <a:pos x="31" y="34"/>
                  </a:cxn>
                </a:cxnLst>
                <a:rect l="0" t="0" r="r" b="b"/>
                <a:pathLst>
                  <a:path w="79" h="93">
                    <a:moveTo>
                      <a:pt x="31" y="34"/>
                    </a:moveTo>
                    <a:cubicBezTo>
                      <a:pt x="30" y="36"/>
                      <a:pt x="29" y="38"/>
                      <a:pt x="27" y="38"/>
                    </a:cubicBezTo>
                    <a:cubicBezTo>
                      <a:pt x="20" y="38"/>
                      <a:pt x="17" y="30"/>
                      <a:pt x="17" y="24"/>
                    </a:cubicBezTo>
                    <a:cubicBezTo>
                      <a:pt x="17" y="15"/>
                      <a:pt x="24" y="16"/>
                      <a:pt x="32" y="16"/>
                    </a:cubicBezTo>
                    <a:cubicBezTo>
                      <a:pt x="39" y="16"/>
                      <a:pt x="42" y="15"/>
                      <a:pt x="49" y="15"/>
                    </a:cubicBezTo>
                    <a:cubicBezTo>
                      <a:pt x="54" y="15"/>
                      <a:pt x="58" y="18"/>
                      <a:pt x="64" y="18"/>
                    </a:cubicBezTo>
                    <a:cubicBezTo>
                      <a:pt x="73" y="18"/>
                      <a:pt x="76" y="10"/>
                      <a:pt x="77" y="4"/>
                    </a:cubicBezTo>
                    <a:cubicBezTo>
                      <a:pt x="79" y="4"/>
                      <a:pt x="79" y="1"/>
                      <a:pt x="79" y="0"/>
                    </a:cubicBezTo>
                    <a:cubicBezTo>
                      <a:pt x="77" y="0"/>
                      <a:pt x="77" y="0"/>
                      <a:pt x="77" y="0"/>
                    </a:cubicBezTo>
                    <a:cubicBezTo>
                      <a:pt x="72" y="4"/>
                      <a:pt x="65" y="8"/>
                      <a:pt x="63" y="10"/>
                    </a:cubicBezTo>
                    <a:cubicBezTo>
                      <a:pt x="59" y="10"/>
                      <a:pt x="59" y="10"/>
                      <a:pt x="59" y="10"/>
                    </a:cubicBezTo>
                    <a:cubicBezTo>
                      <a:pt x="28" y="5"/>
                      <a:pt x="28" y="5"/>
                      <a:pt x="28" y="5"/>
                    </a:cubicBezTo>
                    <a:cubicBezTo>
                      <a:pt x="17" y="5"/>
                      <a:pt x="12" y="20"/>
                      <a:pt x="12" y="30"/>
                    </a:cubicBezTo>
                    <a:cubicBezTo>
                      <a:pt x="12" y="33"/>
                      <a:pt x="8" y="35"/>
                      <a:pt x="8" y="37"/>
                    </a:cubicBezTo>
                    <a:cubicBezTo>
                      <a:pt x="4" y="47"/>
                      <a:pt x="0" y="51"/>
                      <a:pt x="0" y="61"/>
                    </a:cubicBezTo>
                    <a:cubicBezTo>
                      <a:pt x="0" y="66"/>
                      <a:pt x="6" y="66"/>
                      <a:pt x="8" y="66"/>
                    </a:cubicBezTo>
                    <a:cubicBezTo>
                      <a:pt x="8" y="73"/>
                      <a:pt x="8" y="83"/>
                      <a:pt x="8" y="87"/>
                    </a:cubicBezTo>
                    <a:cubicBezTo>
                      <a:pt x="8" y="90"/>
                      <a:pt x="12" y="93"/>
                      <a:pt x="16" y="93"/>
                    </a:cubicBezTo>
                    <a:cubicBezTo>
                      <a:pt x="20" y="93"/>
                      <a:pt x="22" y="78"/>
                      <a:pt x="22" y="76"/>
                    </a:cubicBezTo>
                    <a:cubicBezTo>
                      <a:pt x="22" y="70"/>
                      <a:pt x="18" y="67"/>
                      <a:pt x="18" y="61"/>
                    </a:cubicBezTo>
                    <a:cubicBezTo>
                      <a:pt x="18" y="58"/>
                      <a:pt x="22" y="56"/>
                      <a:pt x="25" y="56"/>
                    </a:cubicBezTo>
                    <a:cubicBezTo>
                      <a:pt x="26" y="56"/>
                      <a:pt x="27" y="56"/>
                      <a:pt x="28" y="56"/>
                    </a:cubicBezTo>
                    <a:cubicBezTo>
                      <a:pt x="27" y="65"/>
                      <a:pt x="27" y="65"/>
                      <a:pt x="27" y="65"/>
                    </a:cubicBezTo>
                    <a:cubicBezTo>
                      <a:pt x="27" y="71"/>
                      <a:pt x="34" y="73"/>
                      <a:pt x="34" y="79"/>
                    </a:cubicBezTo>
                    <a:cubicBezTo>
                      <a:pt x="34" y="80"/>
                      <a:pt x="34" y="81"/>
                      <a:pt x="34" y="83"/>
                    </a:cubicBezTo>
                    <a:cubicBezTo>
                      <a:pt x="39" y="83"/>
                      <a:pt x="39" y="83"/>
                      <a:pt x="39" y="83"/>
                    </a:cubicBezTo>
                    <a:cubicBezTo>
                      <a:pt x="39" y="78"/>
                      <a:pt x="49" y="78"/>
                      <a:pt x="49" y="73"/>
                    </a:cubicBezTo>
                    <a:cubicBezTo>
                      <a:pt x="47" y="73"/>
                      <a:pt x="43" y="68"/>
                      <a:pt x="43" y="65"/>
                    </a:cubicBezTo>
                    <a:cubicBezTo>
                      <a:pt x="43" y="65"/>
                      <a:pt x="44" y="64"/>
                      <a:pt x="45" y="63"/>
                    </a:cubicBezTo>
                    <a:cubicBezTo>
                      <a:pt x="42" y="61"/>
                      <a:pt x="34" y="46"/>
                      <a:pt x="34" y="44"/>
                    </a:cubicBezTo>
                    <a:cubicBezTo>
                      <a:pt x="46" y="44"/>
                      <a:pt x="47" y="35"/>
                      <a:pt x="57" y="31"/>
                    </a:cubicBezTo>
                    <a:cubicBezTo>
                      <a:pt x="57" y="28"/>
                      <a:pt x="57" y="28"/>
                      <a:pt x="57" y="28"/>
                    </a:cubicBezTo>
                    <a:cubicBezTo>
                      <a:pt x="54" y="27"/>
                      <a:pt x="31" y="35"/>
                      <a:pt x="31" y="36"/>
                    </a:cubicBezTo>
                    <a:lnTo>
                      <a:pt x="31" y="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4" name="Freeform 107"/>
              <p:cNvSpPr>
                <a:spLocks/>
              </p:cNvSpPr>
              <p:nvPr/>
            </p:nvSpPr>
            <p:spPr bwMode="auto">
              <a:xfrm>
                <a:off x="6145213" y="2973388"/>
                <a:ext cx="171450" cy="49213"/>
              </a:xfrm>
              <a:custGeom>
                <a:avLst/>
                <a:gdLst/>
                <a:ahLst/>
                <a:cxnLst>
                  <a:cxn ang="0">
                    <a:pos x="123" y="36"/>
                  </a:cxn>
                  <a:cxn ang="0">
                    <a:pos x="114" y="33"/>
                  </a:cxn>
                  <a:cxn ang="0">
                    <a:pos x="114" y="37"/>
                  </a:cxn>
                  <a:cxn ang="0">
                    <a:pos x="67" y="31"/>
                  </a:cxn>
                  <a:cxn ang="0">
                    <a:pos x="56" y="25"/>
                  </a:cxn>
                  <a:cxn ang="0">
                    <a:pos x="32" y="22"/>
                  </a:cxn>
                  <a:cxn ang="0">
                    <a:pos x="14" y="20"/>
                  </a:cxn>
                  <a:cxn ang="0">
                    <a:pos x="0" y="10"/>
                  </a:cxn>
                  <a:cxn ang="0">
                    <a:pos x="11" y="1"/>
                  </a:cxn>
                  <a:cxn ang="0">
                    <a:pos x="14" y="3"/>
                  </a:cxn>
                  <a:cxn ang="0">
                    <a:pos x="22" y="0"/>
                  </a:cxn>
                  <a:cxn ang="0">
                    <a:pos x="55" y="14"/>
                  </a:cxn>
                  <a:cxn ang="0">
                    <a:pos x="68" y="7"/>
                  </a:cxn>
                  <a:cxn ang="0">
                    <a:pos x="88" y="15"/>
                  </a:cxn>
                  <a:cxn ang="0">
                    <a:pos x="101" y="14"/>
                  </a:cxn>
                  <a:cxn ang="0">
                    <a:pos x="105" y="14"/>
                  </a:cxn>
                  <a:cxn ang="0">
                    <a:pos x="89" y="17"/>
                  </a:cxn>
                  <a:cxn ang="0">
                    <a:pos x="107" y="22"/>
                  </a:cxn>
                  <a:cxn ang="0">
                    <a:pos x="111" y="26"/>
                  </a:cxn>
                  <a:cxn ang="0">
                    <a:pos x="121" y="27"/>
                  </a:cxn>
                  <a:cxn ang="0">
                    <a:pos x="128" y="31"/>
                  </a:cxn>
                  <a:cxn ang="0">
                    <a:pos x="123" y="36"/>
                  </a:cxn>
                </a:cxnLst>
                <a:rect l="0" t="0" r="r" b="b"/>
                <a:pathLst>
                  <a:path w="128" h="37">
                    <a:moveTo>
                      <a:pt x="123" y="36"/>
                    </a:moveTo>
                    <a:cubicBezTo>
                      <a:pt x="119" y="36"/>
                      <a:pt x="119" y="33"/>
                      <a:pt x="114" y="33"/>
                    </a:cubicBezTo>
                    <a:cubicBezTo>
                      <a:pt x="113" y="33"/>
                      <a:pt x="114" y="36"/>
                      <a:pt x="114" y="37"/>
                    </a:cubicBezTo>
                    <a:cubicBezTo>
                      <a:pt x="100" y="32"/>
                      <a:pt x="85" y="31"/>
                      <a:pt x="67" y="31"/>
                    </a:cubicBezTo>
                    <a:cubicBezTo>
                      <a:pt x="62" y="31"/>
                      <a:pt x="61" y="25"/>
                      <a:pt x="56" y="25"/>
                    </a:cubicBezTo>
                    <a:cubicBezTo>
                      <a:pt x="48" y="25"/>
                      <a:pt x="41" y="25"/>
                      <a:pt x="32" y="22"/>
                    </a:cubicBezTo>
                    <a:cubicBezTo>
                      <a:pt x="25" y="20"/>
                      <a:pt x="19" y="24"/>
                      <a:pt x="14" y="20"/>
                    </a:cubicBezTo>
                    <a:cubicBezTo>
                      <a:pt x="10" y="15"/>
                      <a:pt x="7" y="10"/>
                      <a:pt x="0" y="10"/>
                    </a:cubicBezTo>
                    <a:cubicBezTo>
                      <a:pt x="0" y="9"/>
                      <a:pt x="8" y="1"/>
                      <a:pt x="11" y="1"/>
                    </a:cubicBezTo>
                    <a:cubicBezTo>
                      <a:pt x="12" y="1"/>
                      <a:pt x="13" y="3"/>
                      <a:pt x="14" y="3"/>
                    </a:cubicBezTo>
                    <a:cubicBezTo>
                      <a:pt x="17" y="3"/>
                      <a:pt x="19" y="0"/>
                      <a:pt x="22" y="0"/>
                    </a:cubicBezTo>
                    <a:cubicBezTo>
                      <a:pt x="35" y="0"/>
                      <a:pt x="41" y="14"/>
                      <a:pt x="55" y="14"/>
                    </a:cubicBezTo>
                    <a:cubicBezTo>
                      <a:pt x="62" y="14"/>
                      <a:pt x="63" y="7"/>
                      <a:pt x="68" y="7"/>
                    </a:cubicBezTo>
                    <a:cubicBezTo>
                      <a:pt x="77" y="7"/>
                      <a:pt x="80" y="15"/>
                      <a:pt x="88" y="15"/>
                    </a:cubicBezTo>
                    <a:cubicBezTo>
                      <a:pt x="101" y="14"/>
                      <a:pt x="101" y="14"/>
                      <a:pt x="101" y="14"/>
                    </a:cubicBezTo>
                    <a:cubicBezTo>
                      <a:pt x="105" y="14"/>
                      <a:pt x="105" y="14"/>
                      <a:pt x="105" y="14"/>
                    </a:cubicBezTo>
                    <a:cubicBezTo>
                      <a:pt x="104" y="16"/>
                      <a:pt x="89" y="17"/>
                      <a:pt x="89" y="17"/>
                    </a:cubicBezTo>
                    <a:cubicBezTo>
                      <a:pt x="93" y="22"/>
                      <a:pt x="99" y="22"/>
                      <a:pt x="107" y="22"/>
                    </a:cubicBezTo>
                    <a:cubicBezTo>
                      <a:pt x="110" y="22"/>
                      <a:pt x="110" y="26"/>
                      <a:pt x="111" y="26"/>
                    </a:cubicBezTo>
                    <a:cubicBezTo>
                      <a:pt x="114" y="30"/>
                      <a:pt x="117" y="26"/>
                      <a:pt x="121" y="27"/>
                    </a:cubicBezTo>
                    <a:cubicBezTo>
                      <a:pt x="125" y="29"/>
                      <a:pt x="125" y="30"/>
                      <a:pt x="128" y="31"/>
                    </a:cubicBezTo>
                    <a:cubicBezTo>
                      <a:pt x="127" y="33"/>
                      <a:pt x="124" y="36"/>
                      <a:pt x="123"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5" name="Freeform 108"/>
              <p:cNvSpPr>
                <a:spLocks/>
              </p:cNvSpPr>
              <p:nvPr/>
            </p:nvSpPr>
            <p:spPr bwMode="auto">
              <a:xfrm>
                <a:off x="6386513" y="3013075"/>
                <a:ext cx="52388" cy="12700"/>
              </a:xfrm>
              <a:custGeom>
                <a:avLst/>
                <a:gdLst/>
                <a:ahLst/>
                <a:cxnLst>
                  <a:cxn ang="0">
                    <a:pos x="26" y="9"/>
                  </a:cxn>
                  <a:cxn ang="0">
                    <a:pos x="10" y="9"/>
                  </a:cxn>
                  <a:cxn ang="0">
                    <a:pos x="0" y="4"/>
                  </a:cxn>
                  <a:cxn ang="0">
                    <a:pos x="8" y="1"/>
                  </a:cxn>
                  <a:cxn ang="0">
                    <a:pos x="26" y="4"/>
                  </a:cxn>
                  <a:cxn ang="0">
                    <a:pos x="39" y="0"/>
                  </a:cxn>
                  <a:cxn ang="0">
                    <a:pos x="26" y="9"/>
                  </a:cxn>
                </a:cxnLst>
                <a:rect l="0" t="0" r="r" b="b"/>
                <a:pathLst>
                  <a:path w="39" h="9">
                    <a:moveTo>
                      <a:pt x="26" y="9"/>
                    </a:moveTo>
                    <a:cubicBezTo>
                      <a:pt x="20" y="9"/>
                      <a:pt x="13" y="9"/>
                      <a:pt x="10" y="9"/>
                    </a:cubicBezTo>
                    <a:cubicBezTo>
                      <a:pt x="7" y="9"/>
                      <a:pt x="0" y="9"/>
                      <a:pt x="0" y="4"/>
                    </a:cubicBezTo>
                    <a:cubicBezTo>
                      <a:pt x="0" y="1"/>
                      <a:pt x="5" y="1"/>
                      <a:pt x="8" y="1"/>
                    </a:cubicBezTo>
                    <a:cubicBezTo>
                      <a:pt x="16" y="1"/>
                      <a:pt x="19" y="4"/>
                      <a:pt x="26" y="4"/>
                    </a:cubicBezTo>
                    <a:cubicBezTo>
                      <a:pt x="32" y="4"/>
                      <a:pt x="35" y="2"/>
                      <a:pt x="39" y="0"/>
                    </a:cubicBezTo>
                    <a:cubicBezTo>
                      <a:pt x="35" y="6"/>
                      <a:pt x="32" y="7"/>
                      <a:pt x="26"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6" name="Freeform 109"/>
              <p:cNvSpPr>
                <a:spLocks/>
              </p:cNvSpPr>
              <p:nvPr/>
            </p:nvSpPr>
            <p:spPr bwMode="auto">
              <a:xfrm>
                <a:off x="6335713" y="3016250"/>
                <a:ext cx="36513" cy="12700"/>
              </a:xfrm>
              <a:custGeom>
                <a:avLst/>
                <a:gdLst/>
                <a:ahLst/>
                <a:cxnLst>
                  <a:cxn ang="0">
                    <a:pos x="27" y="6"/>
                  </a:cxn>
                  <a:cxn ang="0">
                    <a:pos x="23" y="6"/>
                  </a:cxn>
                  <a:cxn ang="0">
                    <a:pos x="19" y="5"/>
                  </a:cxn>
                  <a:cxn ang="0">
                    <a:pos x="9" y="9"/>
                  </a:cxn>
                  <a:cxn ang="0">
                    <a:pos x="0" y="6"/>
                  </a:cxn>
                  <a:cxn ang="0">
                    <a:pos x="7" y="1"/>
                  </a:cxn>
                  <a:cxn ang="0">
                    <a:pos x="16" y="3"/>
                  </a:cxn>
                  <a:cxn ang="0">
                    <a:pos x="16" y="0"/>
                  </a:cxn>
                  <a:cxn ang="0">
                    <a:pos x="27" y="0"/>
                  </a:cxn>
                  <a:cxn ang="0">
                    <a:pos x="27" y="6"/>
                  </a:cxn>
                </a:cxnLst>
                <a:rect l="0" t="0" r="r" b="b"/>
                <a:pathLst>
                  <a:path w="27" h="9">
                    <a:moveTo>
                      <a:pt x="27" y="6"/>
                    </a:moveTo>
                    <a:cubicBezTo>
                      <a:pt x="23" y="6"/>
                      <a:pt x="23" y="6"/>
                      <a:pt x="23" y="6"/>
                    </a:cubicBezTo>
                    <a:cubicBezTo>
                      <a:pt x="19" y="5"/>
                      <a:pt x="19" y="5"/>
                      <a:pt x="19" y="5"/>
                    </a:cubicBezTo>
                    <a:cubicBezTo>
                      <a:pt x="15" y="6"/>
                      <a:pt x="13" y="9"/>
                      <a:pt x="9" y="9"/>
                    </a:cubicBezTo>
                    <a:cubicBezTo>
                      <a:pt x="5" y="9"/>
                      <a:pt x="0" y="8"/>
                      <a:pt x="0" y="6"/>
                    </a:cubicBezTo>
                    <a:cubicBezTo>
                      <a:pt x="0" y="1"/>
                      <a:pt x="3" y="1"/>
                      <a:pt x="7" y="1"/>
                    </a:cubicBezTo>
                    <a:cubicBezTo>
                      <a:pt x="11" y="1"/>
                      <a:pt x="13" y="2"/>
                      <a:pt x="16" y="3"/>
                    </a:cubicBezTo>
                    <a:cubicBezTo>
                      <a:pt x="16" y="2"/>
                      <a:pt x="16" y="1"/>
                      <a:pt x="16" y="0"/>
                    </a:cubicBezTo>
                    <a:cubicBezTo>
                      <a:pt x="27" y="0"/>
                      <a:pt x="27" y="0"/>
                      <a:pt x="27" y="0"/>
                    </a:cubicBezTo>
                    <a:cubicBezTo>
                      <a:pt x="27" y="3"/>
                      <a:pt x="26" y="5"/>
                      <a:pt x="27"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7" name="Freeform 110"/>
              <p:cNvSpPr>
                <a:spLocks/>
              </p:cNvSpPr>
              <p:nvPr/>
            </p:nvSpPr>
            <p:spPr bwMode="auto">
              <a:xfrm>
                <a:off x="6373813" y="3030538"/>
                <a:ext cx="26988" cy="19050"/>
              </a:xfrm>
              <a:custGeom>
                <a:avLst/>
                <a:gdLst/>
                <a:ahLst/>
                <a:cxnLst>
                  <a:cxn ang="0">
                    <a:pos x="15" y="14"/>
                  </a:cxn>
                  <a:cxn ang="0">
                    <a:pos x="12" y="9"/>
                  </a:cxn>
                  <a:cxn ang="0">
                    <a:pos x="0" y="4"/>
                  </a:cxn>
                  <a:cxn ang="0">
                    <a:pos x="9" y="1"/>
                  </a:cxn>
                  <a:cxn ang="0">
                    <a:pos x="13" y="1"/>
                  </a:cxn>
                  <a:cxn ang="0">
                    <a:pos x="20" y="11"/>
                  </a:cxn>
                  <a:cxn ang="0">
                    <a:pos x="16" y="14"/>
                  </a:cxn>
                  <a:cxn ang="0">
                    <a:pos x="15" y="14"/>
                  </a:cxn>
                </a:cxnLst>
                <a:rect l="0" t="0" r="r" b="b"/>
                <a:pathLst>
                  <a:path w="20" h="14">
                    <a:moveTo>
                      <a:pt x="15" y="14"/>
                    </a:moveTo>
                    <a:cubicBezTo>
                      <a:pt x="12" y="14"/>
                      <a:pt x="12" y="10"/>
                      <a:pt x="12" y="9"/>
                    </a:cubicBezTo>
                    <a:cubicBezTo>
                      <a:pt x="8" y="9"/>
                      <a:pt x="0" y="8"/>
                      <a:pt x="0" y="4"/>
                    </a:cubicBezTo>
                    <a:cubicBezTo>
                      <a:pt x="0" y="0"/>
                      <a:pt x="6" y="1"/>
                      <a:pt x="9" y="1"/>
                    </a:cubicBezTo>
                    <a:cubicBezTo>
                      <a:pt x="10" y="1"/>
                      <a:pt x="12" y="1"/>
                      <a:pt x="13" y="1"/>
                    </a:cubicBezTo>
                    <a:cubicBezTo>
                      <a:pt x="13" y="7"/>
                      <a:pt x="20" y="6"/>
                      <a:pt x="20" y="11"/>
                    </a:cubicBezTo>
                    <a:cubicBezTo>
                      <a:pt x="20" y="13"/>
                      <a:pt x="18" y="14"/>
                      <a:pt x="16" y="14"/>
                    </a:cubicBezTo>
                    <a:cubicBezTo>
                      <a:pt x="16" y="14"/>
                      <a:pt x="15" y="14"/>
                      <a:pt x="1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8" name="Freeform 111"/>
              <p:cNvSpPr>
                <a:spLocks/>
              </p:cNvSpPr>
              <p:nvPr/>
            </p:nvSpPr>
            <p:spPr bwMode="auto">
              <a:xfrm>
                <a:off x="6323013" y="3014663"/>
                <a:ext cx="11113" cy="11113"/>
              </a:xfrm>
              <a:custGeom>
                <a:avLst/>
                <a:gdLst/>
                <a:ahLst/>
                <a:cxnLst>
                  <a:cxn ang="0">
                    <a:pos x="0" y="0"/>
                  </a:cxn>
                  <a:cxn ang="0">
                    <a:pos x="4" y="0"/>
                  </a:cxn>
                  <a:cxn ang="0">
                    <a:pos x="8" y="3"/>
                  </a:cxn>
                  <a:cxn ang="0">
                    <a:pos x="3" y="8"/>
                  </a:cxn>
                  <a:cxn ang="0">
                    <a:pos x="0" y="5"/>
                  </a:cxn>
                  <a:cxn ang="0">
                    <a:pos x="0" y="0"/>
                  </a:cxn>
                </a:cxnLst>
                <a:rect l="0" t="0" r="r" b="b"/>
                <a:pathLst>
                  <a:path w="8" h="8">
                    <a:moveTo>
                      <a:pt x="0" y="0"/>
                    </a:moveTo>
                    <a:cubicBezTo>
                      <a:pt x="1" y="0"/>
                      <a:pt x="2" y="0"/>
                      <a:pt x="4" y="0"/>
                    </a:cubicBezTo>
                    <a:cubicBezTo>
                      <a:pt x="6" y="0"/>
                      <a:pt x="6" y="2"/>
                      <a:pt x="8" y="3"/>
                    </a:cubicBezTo>
                    <a:cubicBezTo>
                      <a:pt x="7" y="6"/>
                      <a:pt x="5" y="8"/>
                      <a:pt x="3" y="8"/>
                    </a:cubicBezTo>
                    <a:cubicBezTo>
                      <a:pt x="2" y="8"/>
                      <a:pt x="0" y="6"/>
                      <a:pt x="0" y="5"/>
                    </a:cubicBezTo>
                    <a:cubicBezTo>
                      <a:pt x="0" y="3"/>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29" name="Freeform 112"/>
              <p:cNvSpPr>
                <a:spLocks/>
              </p:cNvSpPr>
              <p:nvPr/>
            </p:nvSpPr>
            <p:spPr bwMode="auto">
              <a:xfrm>
                <a:off x="6448425" y="3016250"/>
                <a:ext cx="58738" cy="34925"/>
              </a:xfrm>
              <a:custGeom>
                <a:avLst/>
                <a:gdLst/>
                <a:ahLst/>
                <a:cxnLst>
                  <a:cxn ang="0">
                    <a:pos x="19" y="13"/>
                  </a:cxn>
                  <a:cxn ang="0">
                    <a:pos x="17" y="19"/>
                  </a:cxn>
                  <a:cxn ang="0">
                    <a:pos x="3" y="26"/>
                  </a:cxn>
                  <a:cxn ang="0">
                    <a:pos x="0" y="22"/>
                  </a:cxn>
                  <a:cxn ang="0">
                    <a:pos x="15" y="10"/>
                  </a:cxn>
                  <a:cxn ang="0">
                    <a:pos x="17" y="6"/>
                  </a:cxn>
                  <a:cxn ang="0">
                    <a:pos x="45" y="3"/>
                  </a:cxn>
                  <a:cxn ang="0">
                    <a:pos x="19" y="13"/>
                  </a:cxn>
                </a:cxnLst>
                <a:rect l="0" t="0" r="r" b="b"/>
                <a:pathLst>
                  <a:path w="45" h="26">
                    <a:moveTo>
                      <a:pt x="19" y="13"/>
                    </a:moveTo>
                    <a:cubicBezTo>
                      <a:pt x="16" y="13"/>
                      <a:pt x="19" y="17"/>
                      <a:pt x="17" y="19"/>
                    </a:cubicBezTo>
                    <a:cubicBezTo>
                      <a:pt x="15" y="21"/>
                      <a:pt x="8" y="26"/>
                      <a:pt x="3" y="26"/>
                    </a:cubicBezTo>
                    <a:cubicBezTo>
                      <a:pt x="1" y="26"/>
                      <a:pt x="0" y="24"/>
                      <a:pt x="0" y="22"/>
                    </a:cubicBezTo>
                    <a:cubicBezTo>
                      <a:pt x="0" y="12"/>
                      <a:pt x="8" y="12"/>
                      <a:pt x="15" y="10"/>
                    </a:cubicBezTo>
                    <a:cubicBezTo>
                      <a:pt x="16" y="10"/>
                      <a:pt x="16" y="7"/>
                      <a:pt x="17" y="6"/>
                    </a:cubicBezTo>
                    <a:cubicBezTo>
                      <a:pt x="21" y="2"/>
                      <a:pt x="41" y="0"/>
                      <a:pt x="45" y="3"/>
                    </a:cubicBezTo>
                    <a:cubicBezTo>
                      <a:pt x="40" y="9"/>
                      <a:pt x="26" y="13"/>
                      <a:pt x="19"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0" name="Freeform 113"/>
              <p:cNvSpPr>
                <a:spLocks/>
              </p:cNvSpPr>
              <p:nvPr/>
            </p:nvSpPr>
            <p:spPr bwMode="auto">
              <a:xfrm>
                <a:off x="6489700" y="2922588"/>
                <a:ext cx="17463" cy="19050"/>
              </a:xfrm>
              <a:custGeom>
                <a:avLst/>
                <a:gdLst/>
                <a:ahLst/>
                <a:cxnLst>
                  <a:cxn ang="0">
                    <a:pos x="13" y="8"/>
                  </a:cxn>
                  <a:cxn ang="0">
                    <a:pos x="8" y="14"/>
                  </a:cxn>
                  <a:cxn ang="0">
                    <a:pos x="0" y="5"/>
                  </a:cxn>
                  <a:cxn ang="0">
                    <a:pos x="13" y="8"/>
                  </a:cxn>
                </a:cxnLst>
                <a:rect l="0" t="0" r="r" b="b"/>
                <a:pathLst>
                  <a:path w="13" h="14">
                    <a:moveTo>
                      <a:pt x="13" y="8"/>
                    </a:moveTo>
                    <a:cubicBezTo>
                      <a:pt x="13" y="9"/>
                      <a:pt x="10" y="14"/>
                      <a:pt x="8" y="14"/>
                    </a:cubicBezTo>
                    <a:cubicBezTo>
                      <a:pt x="6" y="14"/>
                      <a:pt x="0" y="9"/>
                      <a:pt x="0" y="5"/>
                    </a:cubicBezTo>
                    <a:cubicBezTo>
                      <a:pt x="0" y="0"/>
                      <a:pt x="13" y="4"/>
                      <a:pt x="13"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1" name="Freeform 114"/>
              <p:cNvSpPr>
                <a:spLocks/>
              </p:cNvSpPr>
              <p:nvPr/>
            </p:nvSpPr>
            <p:spPr bwMode="auto">
              <a:xfrm>
                <a:off x="6519863" y="2924175"/>
                <a:ext cx="47625" cy="14288"/>
              </a:xfrm>
              <a:custGeom>
                <a:avLst/>
                <a:gdLst/>
                <a:ahLst/>
                <a:cxnLst>
                  <a:cxn ang="0">
                    <a:pos x="31" y="2"/>
                  </a:cxn>
                  <a:cxn ang="0">
                    <a:pos x="36" y="10"/>
                  </a:cxn>
                  <a:cxn ang="0">
                    <a:pos x="34" y="10"/>
                  </a:cxn>
                  <a:cxn ang="0">
                    <a:pos x="18" y="6"/>
                  </a:cxn>
                  <a:cxn ang="0">
                    <a:pos x="8" y="6"/>
                  </a:cxn>
                  <a:cxn ang="0">
                    <a:pos x="0" y="4"/>
                  </a:cxn>
                  <a:cxn ang="0">
                    <a:pos x="3" y="0"/>
                  </a:cxn>
                  <a:cxn ang="0">
                    <a:pos x="23" y="0"/>
                  </a:cxn>
                  <a:cxn ang="0">
                    <a:pos x="30" y="2"/>
                  </a:cxn>
                  <a:cxn ang="0">
                    <a:pos x="31" y="2"/>
                  </a:cxn>
                </a:cxnLst>
                <a:rect l="0" t="0" r="r" b="b"/>
                <a:pathLst>
                  <a:path w="36" h="10">
                    <a:moveTo>
                      <a:pt x="31" y="2"/>
                    </a:moveTo>
                    <a:cubicBezTo>
                      <a:pt x="32" y="5"/>
                      <a:pt x="36" y="6"/>
                      <a:pt x="36" y="10"/>
                    </a:cubicBezTo>
                    <a:cubicBezTo>
                      <a:pt x="36" y="10"/>
                      <a:pt x="35" y="10"/>
                      <a:pt x="34" y="10"/>
                    </a:cubicBezTo>
                    <a:cubicBezTo>
                      <a:pt x="28" y="10"/>
                      <a:pt x="25" y="6"/>
                      <a:pt x="18" y="6"/>
                    </a:cubicBezTo>
                    <a:cubicBezTo>
                      <a:pt x="14" y="6"/>
                      <a:pt x="12" y="6"/>
                      <a:pt x="8" y="6"/>
                    </a:cubicBezTo>
                    <a:cubicBezTo>
                      <a:pt x="6" y="6"/>
                      <a:pt x="0" y="4"/>
                      <a:pt x="0" y="4"/>
                    </a:cubicBezTo>
                    <a:cubicBezTo>
                      <a:pt x="0" y="2"/>
                      <a:pt x="3" y="1"/>
                      <a:pt x="3" y="0"/>
                    </a:cubicBezTo>
                    <a:cubicBezTo>
                      <a:pt x="23" y="0"/>
                      <a:pt x="23" y="0"/>
                      <a:pt x="23" y="0"/>
                    </a:cubicBezTo>
                    <a:cubicBezTo>
                      <a:pt x="24" y="3"/>
                      <a:pt x="27" y="2"/>
                      <a:pt x="30" y="2"/>
                    </a:cubicBezTo>
                    <a:lnTo>
                      <a:pt x="3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2" name="Freeform 115"/>
              <p:cNvSpPr>
                <a:spLocks/>
              </p:cNvSpPr>
              <p:nvPr/>
            </p:nvSpPr>
            <p:spPr bwMode="auto">
              <a:xfrm>
                <a:off x="6513513" y="2836863"/>
                <a:ext cx="19050" cy="46038"/>
              </a:xfrm>
              <a:custGeom>
                <a:avLst/>
                <a:gdLst/>
                <a:ahLst/>
                <a:cxnLst>
                  <a:cxn ang="0">
                    <a:pos x="4" y="28"/>
                  </a:cxn>
                  <a:cxn ang="0">
                    <a:pos x="4" y="25"/>
                  </a:cxn>
                  <a:cxn ang="0">
                    <a:pos x="14" y="24"/>
                  </a:cxn>
                  <a:cxn ang="0">
                    <a:pos x="11" y="17"/>
                  </a:cxn>
                  <a:cxn ang="0">
                    <a:pos x="15" y="12"/>
                  </a:cxn>
                  <a:cxn ang="0">
                    <a:pos x="4" y="0"/>
                  </a:cxn>
                  <a:cxn ang="0">
                    <a:pos x="0" y="9"/>
                  </a:cxn>
                  <a:cxn ang="0">
                    <a:pos x="3" y="21"/>
                  </a:cxn>
                  <a:cxn ang="0">
                    <a:pos x="3" y="27"/>
                  </a:cxn>
                  <a:cxn ang="0">
                    <a:pos x="9" y="35"/>
                  </a:cxn>
                  <a:cxn ang="0">
                    <a:pos x="4" y="28"/>
                  </a:cxn>
                </a:cxnLst>
                <a:rect l="0" t="0" r="r" b="b"/>
                <a:pathLst>
                  <a:path w="15" h="35">
                    <a:moveTo>
                      <a:pt x="4" y="28"/>
                    </a:moveTo>
                    <a:cubicBezTo>
                      <a:pt x="4" y="25"/>
                      <a:pt x="4" y="25"/>
                      <a:pt x="4" y="25"/>
                    </a:cubicBezTo>
                    <a:cubicBezTo>
                      <a:pt x="8" y="25"/>
                      <a:pt x="12" y="24"/>
                      <a:pt x="14" y="24"/>
                    </a:cubicBezTo>
                    <a:cubicBezTo>
                      <a:pt x="14" y="20"/>
                      <a:pt x="11" y="20"/>
                      <a:pt x="11" y="17"/>
                    </a:cubicBezTo>
                    <a:cubicBezTo>
                      <a:pt x="11" y="15"/>
                      <a:pt x="15" y="14"/>
                      <a:pt x="15" y="12"/>
                    </a:cubicBezTo>
                    <a:cubicBezTo>
                      <a:pt x="8" y="10"/>
                      <a:pt x="4" y="6"/>
                      <a:pt x="4" y="0"/>
                    </a:cubicBezTo>
                    <a:cubicBezTo>
                      <a:pt x="0" y="2"/>
                      <a:pt x="0" y="5"/>
                      <a:pt x="0" y="9"/>
                    </a:cubicBezTo>
                    <a:cubicBezTo>
                      <a:pt x="0" y="15"/>
                      <a:pt x="3" y="16"/>
                      <a:pt x="3" y="21"/>
                    </a:cubicBezTo>
                    <a:cubicBezTo>
                      <a:pt x="3" y="26"/>
                      <a:pt x="3" y="24"/>
                      <a:pt x="3" y="27"/>
                    </a:cubicBezTo>
                    <a:cubicBezTo>
                      <a:pt x="3" y="30"/>
                      <a:pt x="4" y="35"/>
                      <a:pt x="9" y="35"/>
                    </a:cubicBezTo>
                    <a:cubicBezTo>
                      <a:pt x="7" y="32"/>
                      <a:pt x="6" y="31"/>
                      <a:pt x="4"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3" name="Freeform 119"/>
              <p:cNvSpPr>
                <a:spLocks/>
              </p:cNvSpPr>
              <p:nvPr/>
            </p:nvSpPr>
            <p:spPr bwMode="auto">
              <a:xfrm>
                <a:off x="6424613" y="2709863"/>
                <a:ext cx="76200" cy="71438"/>
              </a:xfrm>
              <a:custGeom>
                <a:avLst/>
                <a:gdLst/>
                <a:ahLst/>
                <a:cxnLst>
                  <a:cxn ang="0">
                    <a:pos x="48" y="38"/>
                  </a:cxn>
                  <a:cxn ang="0">
                    <a:pos x="46" y="35"/>
                  </a:cxn>
                  <a:cxn ang="0">
                    <a:pos x="42" y="40"/>
                  </a:cxn>
                  <a:cxn ang="0">
                    <a:pos x="47" y="48"/>
                  </a:cxn>
                  <a:cxn ang="0">
                    <a:pos x="42" y="53"/>
                  </a:cxn>
                  <a:cxn ang="0">
                    <a:pos x="40" y="50"/>
                  </a:cxn>
                  <a:cxn ang="0">
                    <a:pos x="36" y="51"/>
                  </a:cxn>
                  <a:cxn ang="0">
                    <a:pos x="26" y="37"/>
                  </a:cxn>
                  <a:cxn ang="0">
                    <a:pos x="28" y="32"/>
                  </a:cxn>
                  <a:cxn ang="0">
                    <a:pos x="27" y="29"/>
                  </a:cxn>
                  <a:cxn ang="0">
                    <a:pos x="21" y="28"/>
                  </a:cxn>
                  <a:cxn ang="0">
                    <a:pos x="21" y="32"/>
                  </a:cxn>
                  <a:cxn ang="0">
                    <a:pos x="17" y="30"/>
                  </a:cxn>
                  <a:cxn ang="0">
                    <a:pos x="16" y="32"/>
                  </a:cxn>
                  <a:cxn ang="0">
                    <a:pos x="12" y="28"/>
                  </a:cxn>
                  <a:cxn ang="0">
                    <a:pos x="4" y="45"/>
                  </a:cxn>
                  <a:cxn ang="0">
                    <a:pos x="4" y="36"/>
                  </a:cxn>
                  <a:cxn ang="0">
                    <a:pos x="2" y="32"/>
                  </a:cxn>
                  <a:cxn ang="0">
                    <a:pos x="5" y="22"/>
                  </a:cxn>
                  <a:cxn ang="0">
                    <a:pos x="19" y="14"/>
                  </a:cxn>
                  <a:cxn ang="0">
                    <a:pos x="26" y="20"/>
                  </a:cxn>
                  <a:cxn ang="0">
                    <a:pos x="28" y="20"/>
                  </a:cxn>
                  <a:cxn ang="0">
                    <a:pos x="32" y="15"/>
                  </a:cxn>
                  <a:cxn ang="0">
                    <a:pos x="41" y="9"/>
                  </a:cxn>
                  <a:cxn ang="0">
                    <a:pos x="42" y="0"/>
                  </a:cxn>
                  <a:cxn ang="0">
                    <a:pos x="48" y="4"/>
                  </a:cxn>
                  <a:cxn ang="0">
                    <a:pos x="58" y="33"/>
                  </a:cxn>
                  <a:cxn ang="0">
                    <a:pos x="53" y="46"/>
                  </a:cxn>
                  <a:cxn ang="0">
                    <a:pos x="48" y="36"/>
                  </a:cxn>
                  <a:cxn ang="0">
                    <a:pos x="48" y="38"/>
                  </a:cxn>
                </a:cxnLst>
                <a:rect l="0" t="0" r="r" b="b"/>
                <a:pathLst>
                  <a:path w="58" h="53">
                    <a:moveTo>
                      <a:pt x="48" y="38"/>
                    </a:moveTo>
                    <a:cubicBezTo>
                      <a:pt x="48" y="37"/>
                      <a:pt x="47" y="36"/>
                      <a:pt x="46" y="35"/>
                    </a:cubicBezTo>
                    <a:cubicBezTo>
                      <a:pt x="44" y="37"/>
                      <a:pt x="42" y="38"/>
                      <a:pt x="42" y="40"/>
                    </a:cubicBezTo>
                    <a:cubicBezTo>
                      <a:pt x="42" y="43"/>
                      <a:pt x="47" y="44"/>
                      <a:pt x="47" y="48"/>
                    </a:cubicBezTo>
                    <a:cubicBezTo>
                      <a:pt x="47" y="51"/>
                      <a:pt x="45" y="53"/>
                      <a:pt x="42" y="53"/>
                    </a:cubicBezTo>
                    <a:cubicBezTo>
                      <a:pt x="41" y="53"/>
                      <a:pt x="40" y="51"/>
                      <a:pt x="40" y="50"/>
                    </a:cubicBezTo>
                    <a:cubicBezTo>
                      <a:pt x="39" y="51"/>
                      <a:pt x="37" y="51"/>
                      <a:pt x="36" y="51"/>
                    </a:cubicBezTo>
                    <a:cubicBezTo>
                      <a:pt x="31" y="51"/>
                      <a:pt x="26" y="44"/>
                      <a:pt x="26" y="37"/>
                    </a:cubicBezTo>
                    <a:cubicBezTo>
                      <a:pt x="26" y="34"/>
                      <a:pt x="27" y="33"/>
                      <a:pt x="28" y="32"/>
                    </a:cubicBezTo>
                    <a:cubicBezTo>
                      <a:pt x="28" y="31"/>
                      <a:pt x="27" y="30"/>
                      <a:pt x="27" y="29"/>
                    </a:cubicBezTo>
                    <a:cubicBezTo>
                      <a:pt x="21" y="28"/>
                      <a:pt x="21" y="28"/>
                      <a:pt x="21" y="28"/>
                    </a:cubicBezTo>
                    <a:cubicBezTo>
                      <a:pt x="21" y="30"/>
                      <a:pt x="20" y="31"/>
                      <a:pt x="21" y="32"/>
                    </a:cubicBezTo>
                    <a:cubicBezTo>
                      <a:pt x="18" y="32"/>
                      <a:pt x="18" y="31"/>
                      <a:pt x="17" y="30"/>
                    </a:cubicBezTo>
                    <a:cubicBezTo>
                      <a:pt x="17" y="30"/>
                      <a:pt x="16" y="31"/>
                      <a:pt x="16" y="32"/>
                    </a:cubicBezTo>
                    <a:cubicBezTo>
                      <a:pt x="14" y="31"/>
                      <a:pt x="12" y="28"/>
                      <a:pt x="12" y="28"/>
                    </a:cubicBezTo>
                    <a:cubicBezTo>
                      <a:pt x="8" y="32"/>
                      <a:pt x="8" y="45"/>
                      <a:pt x="4" y="45"/>
                    </a:cubicBezTo>
                    <a:cubicBezTo>
                      <a:pt x="0" y="45"/>
                      <a:pt x="4" y="37"/>
                      <a:pt x="4" y="36"/>
                    </a:cubicBezTo>
                    <a:cubicBezTo>
                      <a:pt x="4" y="35"/>
                      <a:pt x="2" y="33"/>
                      <a:pt x="2" y="32"/>
                    </a:cubicBezTo>
                    <a:cubicBezTo>
                      <a:pt x="2" y="28"/>
                      <a:pt x="4" y="26"/>
                      <a:pt x="5" y="22"/>
                    </a:cubicBezTo>
                    <a:cubicBezTo>
                      <a:pt x="13" y="22"/>
                      <a:pt x="11" y="14"/>
                      <a:pt x="19" y="14"/>
                    </a:cubicBezTo>
                    <a:cubicBezTo>
                      <a:pt x="24" y="14"/>
                      <a:pt x="23" y="20"/>
                      <a:pt x="26" y="20"/>
                    </a:cubicBezTo>
                    <a:cubicBezTo>
                      <a:pt x="27" y="20"/>
                      <a:pt x="27" y="20"/>
                      <a:pt x="28" y="20"/>
                    </a:cubicBezTo>
                    <a:cubicBezTo>
                      <a:pt x="28" y="18"/>
                      <a:pt x="30" y="16"/>
                      <a:pt x="32" y="15"/>
                    </a:cubicBezTo>
                    <a:cubicBezTo>
                      <a:pt x="32" y="10"/>
                      <a:pt x="39" y="12"/>
                      <a:pt x="41" y="9"/>
                    </a:cubicBezTo>
                    <a:cubicBezTo>
                      <a:pt x="42" y="7"/>
                      <a:pt x="42" y="1"/>
                      <a:pt x="42" y="0"/>
                    </a:cubicBezTo>
                    <a:cubicBezTo>
                      <a:pt x="45" y="0"/>
                      <a:pt x="47" y="2"/>
                      <a:pt x="48" y="4"/>
                    </a:cubicBezTo>
                    <a:cubicBezTo>
                      <a:pt x="51" y="7"/>
                      <a:pt x="58" y="30"/>
                      <a:pt x="58" y="33"/>
                    </a:cubicBezTo>
                    <a:cubicBezTo>
                      <a:pt x="58" y="37"/>
                      <a:pt x="53" y="39"/>
                      <a:pt x="53" y="46"/>
                    </a:cubicBezTo>
                    <a:cubicBezTo>
                      <a:pt x="51" y="46"/>
                      <a:pt x="48" y="37"/>
                      <a:pt x="48" y="36"/>
                    </a:cubicBezTo>
                    <a:lnTo>
                      <a:pt x="48"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4" name="Freeform 120"/>
              <p:cNvSpPr>
                <a:spLocks/>
              </p:cNvSpPr>
              <p:nvPr/>
            </p:nvSpPr>
            <p:spPr bwMode="auto">
              <a:xfrm>
                <a:off x="6354763" y="2690813"/>
                <a:ext cx="36513" cy="39688"/>
              </a:xfrm>
              <a:custGeom>
                <a:avLst/>
                <a:gdLst/>
                <a:ahLst/>
                <a:cxnLst>
                  <a:cxn ang="0">
                    <a:pos x="3" y="29"/>
                  </a:cxn>
                  <a:cxn ang="0">
                    <a:pos x="0" y="29"/>
                  </a:cxn>
                  <a:cxn ang="0">
                    <a:pos x="22" y="5"/>
                  </a:cxn>
                  <a:cxn ang="0">
                    <a:pos x="25" y="0"/>
                  </a:cxn>
                  <a:cxn ang="0">
                    <a:pos x="28" y="6"/>
                  </a:cxn>
                  <a:cxn ang="0">
                    <a:pos x="24" y="9"/>
                  </a:cxn>
                  <a:cxn ang="0">
                    <a:pos x="17" y="13"/>
                  </a:cxn>
                  <a:cxn ang="0">
                    <a:pos x="3" y="29"/>
                  </a:cxn>
                </a:cxnLst>
                <a:rect l="0" t="0" r="r" b="b"/>
                <a:pathLst>
                  <a:path w="28" h="29">
                    <a:moveTo>
                      <a:pt x="3" y="29"/>
                    </a:moveTo>
                    <a:cubicBezTo>
                      <a:pt x="0" y="29"/>
                      <a:pt x="0" y="29"/>
                      <a:pt x="0" y="29"/>
                    </a:cubicBezTo>
                    <a:cubicBezTo>
                      <a:pt x="4" y="18"/>
                      <a:pt x="18" y="13"/>
                      <a:pt x="22" y="5"/>
                    </a:cubicBezTo>
                    <a:cubicBezTo>
                      <a:pt x="23" y="3"/>
                      <a:pt x="23" y="1"/>
                      <a:pt x="25" y="0"/>
                    </a:cubicBezTo>
                    <a:cubicBezTo>
                      <a:pt x="24" y="4"/>
                      <a:pt x="26" y="5"/>
                      <a:pt x="28" y="6"/>
                    </a:cubicBezTo>
                    <a:cubicBezTo>
                      <a:pt x="26" y="8"/>
                      <a:pt x="26" y="9"/>
                      <a:pt x="24" y="9"/>
                    </a:cubicBezTo>
                    <a:cubicBezTo>
                      <a:pt x="23" y="12"/>
                      <a:pt x="20" y="13"/>
                      <a:pt x="17" y="13"/>
                    </a:cubicBezTo>
                    <a:cubicBezTo>
                      <a:pt x="15" y="22"/>
                      <a:pt x="8" y="26"/>
                      <a:pt x="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5" name="Freeform 121"/>
              <p:cNvSpPr>
                <a:spLocks/>
              </p:cNvSpPr>
              <p:nvPr/>
            </p:nvSpPr>
            <p:spPr bwMode="auto">
              <a:xfrm>
                <a:off x="6383338" y="2563813"/>
                <a:ext cx="71438" cy="101600"/>
              </a:xfrm>
              <a:custGeom>
                <a:avLst/>
                <a:gdLst/>
                <a:ahLst/>
                <a:cxnLst>
                  <a:cxn ang="0">
                    <a:pos x="4" y="31"/>
                  </a:cxn>
                  <a:cxn ang="0">
                    <a:pos x="6" y="20"/>
                  </a:cxn>
                  <a:cxn ang="0">
                    <a:pos x="5" y="7"/>
                  </a:cxn>
                  <a:cxn ang="0">
                    <a:pos x="9" y="0"/>
                  </a:cxn>
                  <a:cxn ang="0">
                    <a:pos x="16" y="7"/>
                  </a:cxn>
                  <a:cxn ang="0">
                    <a:pos x="21" y="3"/>
                  </a:cxn>
                  <a:cxn ang="0">
                    <a:pos x="22" y="5"/>
                  </a:cxn>
                  <a:cxn ang="0">
                    <a:pos x="23" y="8"/>
                  </a:cxn>
                  <a:cxn ang="0">
                    <a:pos x="28" y="25"/>
                  </a:cxn>
                  <a:cxn ang="0">
                    <a:pos x="20" y="42"/>
                  </a:cxn>
                  <a:cxn ang="0">
                    <a:pos x="30" y="59"/>
                  </a:cxn>
                  <a:cxn ang="0">
                    <a:pos x="30" y="58"/>
                  </a:cxn>
                  <a:cxn ang="0">
                    <a:pos x="34" y="55"/>
                  </a:cxn>
                  <a:cxn ang="0">
                    <a:pos x="43" y="64"/>
                  </a:cxn>
                  <a:cxn ang="0">
                    <a:pos x="46" y="61"/>
                  </a:cxn>
                  <a:cxn ang="0">
                    <a:pos x="49" y="62"/>
                  </a:cxn>
                  <a:cxn ang="0">
                    <a:pos x="46" y="66"/>
                  </a:cxn>
                  <a:cxn ang="0">
                    <a:pos x="49" y="66"/>
                  </a:cxn>
                  <a:cxn ang="0">
                    <a:pos x="54" y="71"/>
                  </a:cxn>
                  <a:cxn ang="0">
                    <a:pos x="54" y="74"/>
                  </a:cxn>
                  <a:cxn ang="0">
                    <a:pos x="53" y="76"/>
                  </a:cxn>
                  <a:cxn ang="0">
                    <a:pos x="51" y="73"/>
                  </a:cxn>
                  <a:cxn ang="0">
                    <a:pos x="36" y="61"/>
                  </a:cxn>
                  <a:cxn ang="0">
                    <a:pos x="37" y="69"/>
                  </a:cxn>
                  <a:cxn ang="0">
                    <a:pos x="25" y="60"/>
                  </a:cxn>
                  <a:cxn ang="0">
                    <a:pos x="19" y="62"/>
                  </a:cxn>
                  <a:cxn ang="0">
                    <a:pos x="13" y="57"/>
                  </a:cxn>
                  <a:cxn ang="0">
                    <a:pos x="15" y="53"/>
                  </a:cxn>
                  <a:cxn ang="0">
                    <a:pos x="15" y="49"/>
                  </a:cxn>
                  <a:cxn ang="0">
                    <a:pos x="13" y="49"/>
                  </a:cxn>
                  <a:cxn ang="0">
                    <a:pos x="10" y="51"/>
                  </a:cxn>
                  <a:cxn ang="0">
                    <a:pos x="1" y="44"/>
                  </a:cxn>
                  <a:cxn ang="0">
                    <a:pos x="4" y="31"/>
                  </a:cxn>
                </a:cxnLst>
                <a:rect l="0" t="0" r="r" b="b"/>
                <a:pathLst>
                  <a:path w="54" h="76">
                    <a:moveTo>
                      <a:pt x="4" y="31"/>
                    </a:moveTo>
                    <a:cubicBezTo>
                      <a:pt x="6" y="28"/>
                      <a:pt x="6" y="23"/>
                      <a:pt x="6" y="20"/>
                    </a:cubicBezTo>
                    <a:cubicBezTo>
                      <a:pt x="7" y="15"/>
                      <a:pt x="5" y="12"/>
                      <a:pt x="5" y="7"/>
                    </a:cubicBezTo>
                    <a:cubicBezTo>
                      <a:pt x="5" y="3"/>
                      <a:pt x="6" y="0"/>
                      <a:pt x="9" y="0"/>
                    </a:cubicBezTo>
                    <a:cubicBezTo>
                      <a:pt x="13" y="0"/>
                      <a:pt x="12" y="7"/>
                      <a:pt x="16" y="7"/>
                    </a:cubicBezTo>
                    <a:cubicBezTo>
                      <a:pt x="18" y="7"/>
                      <a:pt x="20" y="4"/>
                      <a:pt x="21" y="3"/>
                    </a:cubicBezTo>
                    <a:cubicBezTo>
                      <a:pt x="21" y="3"/>
                      <a:pt x="22" y="4"/>
                      <a:pt x="22" y="5"/>
                    </a:cubicBezTo>
                    <a:cubicBezTo>
                      <a:pt x="22" y="6"/>
                      <a:pt x="23" y="7"/>
                      <a:pt x="23" y="8"/>
                    </a:cubicBezTo>
                    <a:cubicBezTo>
                      <a:pt x="23" y="13"/>
                      <a:pt x="28" y="18"/>
                      <a:pt x="28" y="25"/>
                    </a:cubicBezTo>
                    <a:cubicBezTo>
                      <a:pt x="28" y="33"/>
                      <a:pt x="20" y="34"/>
                      <a:pt x="20" y="42"/>
                    </a:cubicBezTo>
                    <a:cubicBezTo>
                      <a:pt x="20" y="48"/>
                      <a:pt x="26" y="57"/>
                      <a:pt x="30" y="59"/>
                    </a:cubicBezTo>
                    <a:cubicBezTo>
                      <a:pt x="30" y="59"/>
                      <a:pt x="30" y="58"/>
                      <a:pt x="30" y="58"/>
                    </a:cubicBezTo>
                    <a:cubicBezTo>
                      <a:pt x="30" y="56"/>
                      <a:pt x="32" y="54"/>
                      <a:pt x="34" y="55"/>
                    </a:cubicBezTo>
                    <a:cubicBezTo>
                      <a:pt x="39" y="55"/>
                      <a:pt x="40" y="63"/>
                      <a:pt x="43" y="64"/>
                    </a:cubicBezTo>
                    <a:cubicBezTo>
                      <a:pt x="44" y="64"/>
                      <a:pt x="45" y="61"/>
                      <a:pt x="46" y="61"/>
                    </a:cubicBezTo>
                    <a:cubicBezTo>
                      <a:pt x="47" y="61"/>
                      <a:pt x="48" y="62"/>
                      <a:pt x="49" y="62"/>
                    </a:cubicBezTo>
                    <a:cubicBezTo>
                      <a:pt x="48" y="64"/>
                      <a:pt x="46" y="64"/>
                      <a:pt x="46" y="66"/>
                    </a:cubicBezTo>
                    <a:cubicBezTo>
                      <a:pt x="46" y="67"/>
                      <a:pt x="48" y="67"/>
                      <a:pt x="49" y="66"/>
                    </a:cubicBezTo>
                    <a:cubicBezTo>
                      <a:pt x="49" y="69"/>
                      <a:pt x="51" y="71"/>
                      <a:pt x="54" y="71"/>
                    </a:cubicBezTo>
                    <a:cubicBezTo>
                      <a:pt x="54" y="72"/>
                      <a:pt x="54" y="73"/>
                      <a:pt x="54" y="74"/>
                    </a:cubicBezTo>
                    <a:cubicBezTo>
                      <a:pt x="54" y="75"/>
                      <a:pt x="53" y="76"/>
                      <a:pt x="53" y="76"/>
                    </a:cubicBezTo>
                    <a:cubicBezTo>
                      <a:pt x="51" y="76"/>
                      <a:pt x="51" y="74"/>
                      <a:pt x="51" y="73"/>
                    </a:cubicBezTo>
                    <a:cubicBezTo>
                      <a:pt x="48" y="69"/>
                      <a:pt x="39" y="65"/>
                      <a:pt x="36" y="61"/>
                    </a:cubicBezTo>
                    <a:cubicBezTo>
                      <a:pt x="34" y="64"/>
                      <a:pt x="35" y="66"/>
                      <a:pt x="37" y="69"/>
                    </a:cubicBezTo>
                    <a:cubicBezTo>
                      <a:pt x="31" y="69"/>
                      <a:pt x="31" y="60"/>
                      <a:pt x="25" y="60"/>
                    </a:cubicBezTo>
                    <a:cubicBezTo>
                      <a:pt x="23" y="60"/>
                      <a:pt x="21" y="62"/>
                      <a:pt x="19" y="62"/>
                    </a:cubicBezTo>
                    <a:cubicBezTo>
                      <a:pt x="16" y="62"/>
                      <a:pt x="13" y="59"/>
                      <a:pt x="13" y="57"/>
                    </a:cubicBezTo>
                    <a:cubicBezTo>
                      <a:pt x="13" y="55"/>
                      <a:pt x="14" y="53"/>
                      <a:pt x="15" y="53"/>
                    </a:cubicBezTo>
                    <a:cubicBezTo>
                      <a:pt x="15" y="49"/>
                      <a:pt x="15" y="49"/>
                      <a:pt x="15" y="49"/>
                    </a:cubicBezTo>
                    <a:cubicBezTo>
                      <a:pt x="13" y="49"/>
                      <a:pt x="13" y="49"/>
                      <a:pt x="13" y="49"/>
                    </a:cubicBezTo>
                    <a:cubicBezTo>
                      <a:pt x="12" y="50"/>
                      <a:pt x="11" y="51"/>
                      <a:pt x="10" y="51"/>
                    </a:cubicBezTo>
                    <a:cubicBezTo>
                      <a:pt x="8" y="51"/>
                      <a:pt x="1" y="47"/>
                      <a:pt x="1" y="44"/>
                    </a:cubicBezTo>
                    <a:cubicBezTo>
                      <a:pt x="1" y="38"/>
                      <a:pt x="0" y="30"/>
                      <a:pt x="4"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6" name="Freeform 122"/>
              <p:cNvSpPr>
                <a:spLocks/>
              </p:cNvSpPr>
              <p:nvPr/>
            </p:nvSpPr>
            <p:spPr bwMode="auto">
              <a:xfrm>
                <a:off x="6457950" y="2665413"/>
                <a:ext cx="23813" cy="41275"/>
              </a:xfrm>
              <a:custGeom>
                <a:avLst/>
                <a:gdLst/>
                <a:ahLst/>
                <a:cxnLst>
                  <a:cxn ang="0">
                    <a:pos x="16" y="20"/>
                  </a:cxn>
                  <a:cxn ang="0">
                    <a:pos x="10" y="20"/>
                  </a:cxn>
                  <a:cxn ang="0">
                    <a:pos x="14" y="28"/>
                  </a:cxn>
                  <a:cxn ang="0">
                    <a:pos x="14" y="30"/>
                  </a:cxn>
                  <a:cxn ang="0">
                    <a:pos x="10" y="30"/>
                  </a:cxn>
                  <a:cxn ang="0">
                    <a:pos x="8" y="25"/>
                  </a:cxn>
                  <a:cxn ang="0">
                    <a:pos x="8" y="23"/>
                  </a:cxn>
                  <a:cxn ang="0">
                    <a:pos x="2" y="17"/>
                  </a:cxn>
                  <a:cxn ang="0">
                    <a:pos x="2" y="15"/>
                  </a:cxn>
                  <a:cxn ang="0">
                    <a:pos x="8" y="15"/>
                  </a:cxn>
                  <a:cxn ang="0">
                    <a:pos x="10" y="13"/>
                  </a:cxn>
                  <a:cxn ang="0">
                    <a:pos x="0" y="2"/>
                  </a:cxn>
                  <a:cxn ang="0">
                    <a:pos x="4" y="0"/>
                  </a:cxn>
                  <a:cxn ang="0">
                    <a:pos x="13" y="2"/>
                  </a:cxn>
                  <a:cxn ang="0">
                    <a:pos x="13" y="6"/>
                  </a:cxn>
                  <a:cxn ang="0">
                    <a:pos x="15" y="6"/>
                  </a:cxn>
                  <a:cxn ang="0">
                    <a:pos x="15" y="12"/>
                  </a:cxn>
                  <a:cxn ang="0">
                    <a:pos x="18" y="15"/>
                  </a:cxn>
                  <a:cxn ang="0">
                    <a:pos x="16" y="20"/>
                  </a:cxn>
                </a:cxnLst>
                <a:rect l="0" t="0" r="r" b="b"/>
                <a:pathLst>
                  <a:path w="18" h="30">
                    <a:moveTo>
                      <a:pt x="16" y="20"/>
                    </a:moveTo>
                    <a:cubicBezTo>
                      <a:pt x="10" y="20"/>
                      <a:pt x="10" y="20"/>
                      <a:pt x="10" y="20"/>
                    </a:cubicBezTo>
                    <a:cubicBezTo>
                      <a:pt x="11" y="23"/>
                      <a:pt x="12" y="27"/>
                      <a:pt x="14" y="28"/>
                    </a:cubicBezTo>
                    <a:cubicBezTo>
                      <a:pt x="14" y="30"/>
                      <a:pt x="14" y="30"/>
                      <a:pt x="14" y="30"/>
                    </a:cubicBezTo>
                    <a:cubicBezTo>
                      <a:pt x="13" y="30"/>
                      <a:pt x="11" y="30"/>
                      <a:pt x="10" y="30"/>
                    </a:cubicBezTo>
                    <a:cubicBezTo>
                      <a:pt x="7" y="30"/>
                      <a:pt x="7" y="27"/>
                      <a:pt x="8" y="25"/>
                    </a:cubicBezTo>
                    <a:cubicBezTo>
                      <a:pt x="8" y="23"/>
                      <a:pt x="8" y="23"/>
                      <a:pt x="8" y="23"/>
                    </a:cubicBezTo>
                    <a:cubicBezTo>
                      <a:pt x="5" y="23"/>
                      <a:pt x="3" y="19"/>
                      <a:pt x="2" y="17"/>
                    </a:cubicBezTo>
                    <a:cubicBezTo>
                      <a:pt x="2" y="15"/>
                      <a:pt x="2" y="15"/>
                      <a:pt x="2" y="15"/>
                    </a:cubicBezTo>
                    <a:cubicBezTo>
                      <a:pt x="4" y="15"/>
                      <a:pt x="7" y="15"/>
                      <a:pt x="8" y="15"/>
                    </a:cubicBezTo>
                    <a:cubicBezTo>
                      <a:pt x="8" y="15"/>
                      <a:pt x="10" y="14"/>
                      <a:pt x="10" y="13"/>
                    </a:cubicBezTo>
                    <a:cubicBezTo>
                      <a:pt x="10" y="8"/>
                      <a:pt x="1" y="5"/>
                      <a:pt x="0" y="2"/>
                    </a:cubicBezTo>
                    <a:cubicBezTo>
                      <a:pt x="1" y="1"/>
                      <a:pt x="3" y="0"/>
                      <a:pt x="4" y="0"/>
                    </a:cubicBezTo>
                    <a:cubicBezTo>
                      <a:pt x="7" y="0"/>
                      <a:pt x="9" y="2"/>
                      <a:pt x="13" y="2"/>
                    </a:cubicBezTo>
                    <a:cubicBezTo>
                      <a:pt x="13" y="3"/>
                      <a:pt x="13" y="5"/>
                      <a:pt x="13" y="6"/>
                    </a:cubicBezTo>
                    <a:cubicBezTo>
                      <a:pt x="13" y="6"/>
                      <a:pt x="14" y="6"/>
                      <a:pt x="15" y="6"/>
                    </a:cubicBezTo>
                    <a:cubicBezTo>
                      <a:pt x="15" y="8"/>
                      <a:pt x="15" y="12"/>
                      <a:pt x="15" y="12"/>
                    </a:cubicBezTo>
                    <a:cubicBezTo>
                      <a:pt x="15" y="12"/>
                      <a:pt x="18" y="15"/>
                      <a:pt x="18" y="15"/>
                    </a:cubicBezTo>
                    <a:cubicBezTo>
                      <a:pt x="18" y="18"/>
                      <a:pt x="17" y="19"/>
                      <a:pt x="16"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7" name="Freeform 123"/>
              <p:cNvSpPr>
                <a:spLocks/>
              </p:cNvSpPr>
              <p:nvPr/>
            </p:nvSpPr>
            <p:spPr bwMode="auto">
              <a:xfrm>
                <a:off x="6423025" y="2676525"/>
                <a:ext cx="19050" cy="25400"/>
              </a:xfrm>
              <a:custGeom>
                <a:avLst/>
                <a:gdLst/>
                <a:ahLst/>
                <a:cxnLst>
                  <a:cxn ang="0">
                    <a:pos x="3" y="1"/>
                  </a:cxn>
                  <a:cxn ang="0">
                    <a:pos x="14" y="7"/>
                  </a:cxn>
                  <a:cxn ang="0">
                    <a:pos x="1" y="19"/>
                  </a:cxn>
                  <a:cxn ang="0">
                    <a:pos x="0" y="2"/>
                  </a:cxn>
                  <a:cxn ang="0">
                    <a:pos x="2" y="0"/>
                  </a:cxn>
                  <a:cxn ang="0">
                    <a:pos x="5" y="2"/>
                  </a:cxn>
                  <a:cxn ang="0">
                    <a:pos x="3" y="1"/>
                  </a:cxn>
                </a:cxnLst>
                <a:rect l="0" t="0" r="r" b="b"/>
                <a:pathLst>
                  <a:path w="14" h="19">
                    <a:moveTo>
                      <a:pt x="3" y="1"/>
                    </a:moveTo>
                    <a:cubicBezTo>
                      <a:pt x="4" y="3"/>
                      <a:pt x="14" y="4"/>
                      <a:pt x="14" y="7"/>
                    </a:cubicBezTo>
                    <a:cubicBezTo>
                      <a:pt x="14" y="14"/>
                      <a:pt x="5" y="17"/>
                      <a:pt x="1" y="19"/>
                    </a:cubicBezTo>
                    <a:cubicBezTo>
                      <a:pt x="1" y="13"/>
                      <a:pt x="0" y="6"/>
                      <a:pt x="0" y="2"/>
                    </a:cubicBezTo>
                    <a:cubicBezTo>
                      <a:pt x="0" y="1"/>
                      <a:pt x="2" y="0"/>
                      <a:pt x="2" y="0"/>
                    </a:cubicBezTo>
                    <a:cubicBezTo>
                      <a:pt x="3" y="0"/>
                      <a:pt x="4" y="2"/>
                      <a:pt x="5" y="2"/>
                    </a:cubicBez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8" name="Freeform 124"/>
              <p:cNvSpPr>
                <a:spLocks/>
              </p:cNvSpPr>
              <p:nvPr/>
            </p:nvSpPr>
            <p:spPr bwMode="auto">
              <a:xfrm>
                <a:off x="6432550" y="2692400"/>
                <a:ext cx="19050" cy="31750"/>
              </a:xfrm>
              <a:custGeom>
                <a:avLst/>
                <a:gdLst/>
                <a:ahLst/>
                <a:cxnLst>
                  <a:cxn ang="0">
                    <a:pos x="14" y="5"/>
                  </a:cxn>
                  <a:cxn ang="0">
                    <a:pos x="9" y="17"/>
                  </a:cxn>
                  <a:cxn ang="0">
                    <a:pos x="11" y="22"/>
                  </a:cxn>
                  <a:cxn ang="0">
                    <a:pos x="9" y="24"/>
                  </a:cxn>
                  <a:cxn ang="0">
                    <a:pos x="0" y="14"/>
                  </a:cxn>
                  <a:cxn ang="0">
                    <a:pos x="4" y="12"/>
                  </a:cxn>
                  <a:cxn ang="0">
                    <a:pos x="8" y="1"/>
                  </a:cxn>
                  <a:cxn ang="0">
                    <a:pos x="14" y="5"/>
                  </a:cxn>
                </a:cxnLst>
                <a:rect l="0" t="0" r="r" b="b"/>
                <a:pathLst>
                  <a:path w="14" h="24">
                    <a:moveTo>
                      <a:pt x="14" y="5"/>
                    </a:moveTo>
                    <a:cubicBezTo>
                      <a:pt x="14" y="10"/>
                      <a:pt x="10" y="13"/>
                      <a:pt x="9" y="17"/>
                    </a:cubicBezTo>
                    <a:cubicBezTo>
                      <a:pt x="9" y="21"/>
                      <a:pt x="11" y="20"/>
                      <a:pt x="11" y="22"/>
                    </a:cubicBezTo>
                    <a:cubicBezTo>
                      <a:pt x="11" y="23"/>
                      <a:pt x="10" y="24"/>
                      <a:pt x="9" y="24"/>
                    </a:cubicBezTo>
                    <a:cubicBezTo>
                      <a:pt x="7" y="24"/>
                      <a:pt x="0" y="17"/>
                      <a:pt x="0" y="14"/>
                    </a:cubicBezTo>
                    <a:cubicBezTo>
                      <a:pt x="0" y="13"/>
                      <a:pt x="3" y="12"/>
                      <a:pt x="4" y="12"/>
                    </a:cubicBezTo>
                    <a:cubicBezTo>
                      <a:pt x="4" y="11"/>
                      <a:pt x="6" y="1"/>
                      <a:pt x="8" y="1"/>
                    </a:cubicBezTo>
                    <a:cubicBezTo>
                      <a:pt x="12" y="0"/>
                      <a:pt x="14" y="3"/>
                      <a:pt x="14"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39" name="Freeform 125"/>
              <p:cNvSpPr>
                <a:spLocks/>
              </p:cNvSpPr>
              <p:nvPr/>
            </p:nvSpPr>
            <p:spPr bwMode="auto">
              <a:xfrm>
                <a:off x="6450013" y="2693988"/>
                <a:ext cx="7938" cy="20638"/>
              </a:xfrm>
              <a:custGeom>
                <a:avLst/>
                <a:gdLst/>
                <a:ahLst/>
                <a:cxnLst>
                  <a:cxn ang="0">
                    <a:pos x="7" y="0"/>
                  </a:cxn>
                  <a:cxn ang="0">
                    <a:pos x="2" y="15"/>
                  </a:cxn>
                  <a:cxn ang="0">
                    <a:pos x="0" y="15"/>
                  </a:cxn>
                  <a:cxn ang="0">
                    <a:pos x="4" y="0"/>
                  </a:cxn>
                  <a:cxn ang="0">
                    <a:pos x="7" y="0"/>
                  </a:cxn>
                </a:cxnLst>
                <a:rect l="0" t="0" r="r" b="b"/>
                <a:pathLst>
                  <a:path w="7" h="15">
                    <a:moveTo>
                      <a:pt x="7" y="0"/>
                    </a:moveTo>
                    <a:cubicBezTo>
                      <a:pt x="7" y="7"/>
                      <a:pt x="2" y="9"/>
                      <a:pt x="2" y="15"/>
                    </a:cubicBezTo>
                    <a:cubicBezTo>
                      <a:pt x="2" y="15"/>
                      <a:pt x="0" y="15"/>
                      <a:pt x="0" y="15"/>
                    </a:cubicBezTo>
                    <a:cubicBezTo>
                      <a:pt x="1" y="10"/>
                      <a:pt x="4" y="7"/>
                      <a:pt x="4" y="0"/>
                    </a:cubicBezTo>
                    <a:cubicBezTo>
                      <a:pt x="5" y="0"/>
                      <a:pt x="6" y="0"/>
                      <a:pt x="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0" name="Freeform 126"/>
              <p:cNvSpPr>
                <a:spLocks/>
              </p:cNvSpPr>
              <p:nvPr/>
            </p:nvSpPr>
            <p:spPr bwMode="auto">
              <a:xfrm>
                <a:off x="6454775" y="2706688"/>
                <a:ext cx="11113" cy="11113"/>
              </a:xfrm>
              <a:custGeom>
                <a:avLst/>
                <a:gdLst/>
                <a:ahLst/>
                <a:cxnLst>
                  <a:cxn ang="0">
                    <a:pos x="8" y="0"/>
                  </a:cxn>
                  <a:cxn ang="0">
                    <a:pos x="2" y="8"/>
                  </a:cxn>
                  <a:cxn ang="0">
                    <a:pos x="0" y="6"/>
                  </a:cxn>
                  <a:cxn ang="0">
                    <a:pos x="3" y="0"/>
                  </a:cxn>
                  <a:cxn ang="0">
                    <a:pos x="8" y="0"/>
                  </a:cxn>
                </a:cxnLst>
                <a:rect l="0" t="0" r="r" b="b"/>
                <a:pathLst>
                  <a:path w="8" h="8">
                    <a:moveTo>
                      <a:pt x="8" y="0"/>
                    </a:moveTo>
                    <a:cubicBezTo>
                      <a:pt x="8" y="4"/>
                      <a:pt x="6" y="8"/>
                      <a:pt x="2" y="8"/>
                    </a:cubicBezTo>
                    <a:cubicBezTo>
                      <a:pt x="1" y="8"/>
                      <a:pt x="0" y="6"/>
                      <a:pt x="0" y="6"/>
                    </a:cubicBezTo>
                    <a:cubicBezTo>
                      <a:pt x="0" y="3"/>
                      <a:pt x="2" y="2"/>
                      <a:pt x="3" y="0"/>
                    </a:cubicBezTo>
                    <a:cubicBezTo>
                      <a:pt x="5" y="1"/>
                      <a:pt x="7" y="1"/>
                      <a:pt x="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1" name="Freeform 127"/>
              <p:cNvSpPr>
                <a:spLocks/>
              </p:cNvSpPr>
              <p:nvPr/>
            </p:nvSpPr>
            <p:spPr bwMode="auto">
              <a:xfrm>
                <a:off x="6442075" y="2665413"/>
                <a:ext cx="12700" cy="17463"/>
              </a:xfrm>
              <a:custGeom>
                <a:avLst/>
                <a:gdLst/>
                <a:ahLst/>
                <a:cxnLst>
                  <a:cxn ang="0">
                    <a:pos x="0" y="6"/>
                  </a:cxn>
                  <a:cxn ang="0">
                    <a:pos x="0" y="0"/>
                  </a:cxn>
                  <a:cxn ang="0">
                    <a:pos x="4" y="0"/>
                  </a:cxn>
                  <a:cxn ang="0">
                    <a:pos x="10" y="10"/>
                  </a:cxn>
                  <a:cxn ang="0">
                    <a:pos x="6" y="6"/>
                  </a:cxn>
                  <a:cxn ang="0">
                    <a:pos x="0" y="6"/>
                  </a:cxn>
                </a:cxnLst>
                <a:rect l="0" t="0" r="r" b="b"/>
                <a:pathLst>
                  <a:path w="10" h="12">
                    <a:moveTo>
                      <a:pt x="0" y="6"/>
                    </a:moveTo>
                    <a:cubicBezTo>
                      <a:pt x="0" y="3"/>
                      <a:pt x="0" y="2"/>
                      <a:pt x="0" y="0"/>
                    </a:cubicBezTo>
                    <a:cubicBezTo>
                      <a:pt x="4" y="0"/>
                      <a:pt x="4" y="0"/>
                      <a:pt x="4" y="0"/>
                    </a:cubicBezTo>
                    <a:cubicBezTo>
                      <a:pt x="5" y="4"/>
                      <a:pt x="10" y="5"/>
                      <a:pt x="10" y="10"/>
                    </a:cubicBezTo>
                    <a:cubicBezTo>
                      <a:pt x="10" y="12"/>
                      <a:pt x="6" y="8"/>
                      <a:pt x="6" y="6"/>
                    </a:cubicBezTo>
                    <a:cubicBezTo>
                      <a:pt x="4" y="5"/>
                      <a:pt x="2" y="6"/>
                      <a:pt x="0"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2" name="Freeform 128"/>
              <p:cNvSpPr>
                <a:spLocks/>
              </p:cNvSpPr>
              <p:nvPr/>
            </p:nvSpPr>
            <p:spPr bwMode="auto">
              <a:xfrm>
                <a:off x="6397625" y="2649538"/>
                <a:ext cx="19050" cy="20638"/>
              </a:xfrm>
              <a:custGeom>
                <a:avLst/>
                <a:gdLst/>
                <a:ahLst/>
                <a:cxnLst>
                  <a:cxn ang="0">
                    <a:pos x="11" y="15"/>
                  </a:cxn>
                  <a:cxn ang="0">
                    <a:pos x="0" y="0"/>
                  </a:cxn>
                  <a:cxn ang="0">
                    <a:pos x="4" y="0"/>
                  </a:cxn>
                  <a:cxn ang="0">
                    <a:pos x="14" y="7"/>
                  </a:cxn>
                  <a:cxn ang="0">
                    <a:pos x="11" y="15"/>
                  </a:cxn>
                </a:cxnLst>
                <a:rect l="0" t="0" r="r" b="b"/>
                <a:pathLst>
                  <a:path w="15" h="15">
                    <a:moveTo>
                      <a:pt x="11" y="15"/>
                    </a:moveTo>
                    <a:cubicBezTo>
                      <a:pt x="9" y="15"/>
                      <a:pt x="0" y="0"/>
                      <a:pt x="0" y="0"/>
                    </a:cubicBezTo>
                    <a:cubicBezTo>
                      <a:pt x="4" y="0"/>
                      <a:pt x="4" y="0"/>
                      <a:pt x="4" y="0"/>
                    </a:cubicBezTo>
                    <a:cubicBezTo>
                      <a:pt x="8" y="3"/>
                      <a:pt x="13" y="2"/>
                      <a:pt x="14" y="7"/>
                    </a:cubicBezTo>
                    <a:cubicBezTo>
                      <a:pt x="15" y="10"/>
                      <a:pt x="13" y="15"/>
                      <a:pt x="11"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3" name="Freeform 129"/>
              <p:cNvSpPr>
                <a:spLocks/>
              </p:cNvSpPr>
              <p:nvPr/>
            </p:nvSpPr>
            <p:spPr bwMode="auto">
              <a:xfrm>
                <a:off x="6416675" y="2652713"/>
                <a:ext cx="6350" cy="1588"/>
              </a:xfrm>
              <a:custGeom>
                <a:avLst/>
                <a:gdLst/>
                <a:ahLst/>
                <a:cxnLst>
                  <a:cxn ang="0">
                    <a:pos x="0" y="0"/>
                  </a:cxn>
                  <a:cxn ang="0">
                    <a:pos x="4" y="1"/>
                  </a:cxn>
                  <a:cxn ang="0">
                    <a:pos x="0" y="0"/>
                  </a:cxn>
                </a:cxnLst>
                <a:rect l="0" t="0" r="r" b="b"/>
                <a:pathLst>
                  <a:path w="4" h="1">
                    <a:moveTo>
                      <a:pt x="0" y="0"/>
                    </a:moveTo>
                    <a:cubicBezTo>
                      <a:pt x="1" y="1"/>
                      <a:pt x="3" y="1"/>
                      <a:pt x="4" y="1"/>
                    </a:cubicBezTo>
                    <a:cubicBezTo>
                      <a:pt x="3" y="0"/>
                      <a:pt x="1"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4" name="Freeform 130"/>
              <p:cNvSpPr>
                <a:spLocks/>
              </p:cNvSpPr>
              <p:nvPr/>
            </p:nvSpPr>
            <p:spPr bwMode="auto">
              <a:xfrm>
                <a:off x="6388100" y="2441575"/>
                <a:ext cx="36513" cy="50800"/>
              </a:xfrm>
              <a:custGeom>
                <a:avLst/>
                <a:gdLst/>
                <a:ahLst/>
                <a:cxnLst>
                  <a:cxn ang="0">
                    <a:pos x="8" y="39"/>
                  </a:cxn>
                  <a:cxn ang="0">
                    <a:pos x="1" y="26"/>
                  </a:cxn>
                  <a:cxn ang="0">
                    <a:pos x="16" y="0"/>
                  </a:cxn>
                  <a:cxn ang="0">
                    <a:pos x="8" y="39"/>
                  </a:cxn>
                </a:cxnLst>
                <a:rect l="0" t="0" r="r" b="b"/>
                <a:pathLst>
                  <a:path w="27" h="39">
                    <a:moveTo>
                      <a:pt x="8" y="39"/>
                    </a:moveTo>
                    <a:cubicBezTo>
                      <a:pt x="0" y="39"/>
                      <a:pt x="1" y="33"/>
                      <a:pt x="1" y="26"/>
                    </a:cubicBezTo>
                    <a:cubicBezTo>
                      <a:pt x="1" y="17"/>
                      <a:pt x="10" y="0"/>
                      <a:pt x="16" y="0"/>
                    </a:cubicBezTo>
                    <a:cubicBezTo>
                      <a:pt x="27" y="0"/>
                      <a:pt x="18" y="39"/>
                      <a:pt x="8"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5" name="Freeform 131"/>
              <p:cNvSpPr>
                <a:spLocks/>
              </p:cNvSpPr>
              <p:nvPr/>
            </p:nvSpPr>
            <p:spPr bwMode="auto">
              <a:xfrm>
                <a:off x="6194425" y="2532063"/>
                <a:ext cx="41275" cy="34925"/>
              </a:xfrm>
              <a:custGeom>
                <a:avLst/>
                <a:gdLst/>
                <a:ahLst/>
                <a:cxnLst>
                  <a:cxn ang="0">
                    <a:pos x="2" y="11"/>
                  </a:cxn>
                  <a:cxn ang="0">
                    <a:pos x="26" y="0"/>
                  </a:cxn>
                  <a:cxn ang="0">
                    <a:pos x="31" y="7"/>
                  </a:cxn>
                  <a:cxn ang="0">
                    <a:pos x="11" y="27"/>
                  </a:cxn>
                  <a:cxn ang="0">
                    <a:pos x="2" y="18"/>
                  </a:cxn>
                  <a:cxn ang="0">
                    <a:pos x="2" y="11"/>
                  </a:cxn>
                </a:cxnLst>
                <a:rect l="0" t="0" r="r" b="b"/>
                <a:pathLst>
                  <a:path w="31" h="27">
                    <a:moveTo>
                      <a:pt x="2" y="11"/>
                    </a:moveTo>
                    <a:cubicBezTo>
                      <a:pt x="5" y="11"/>
                      <a:pt x="20" y="0"/>
                      <a:pt x="26" y="0"/>
                    </a:cubicBezTo>
                    <a:cubicBezTo>
                      <a:pt x="28" y="0"/>
                      <a:pt x="31" y="4"/>
                      <a:pt x="31" y="7"/>
                    </a:cubicBezTo>
                    <a:cubicBezTo>
                      <a:pt x="31" y="13"/>
                      <a:pt x="18" y="27"/>
                      <a:pt x="11" y="27"/>
                    </a:cubicBezTo>
                    <a:cubicBezTo>
                      <a:pt x="5" y="27"/>
                      <a:pt x="2" y="24"/>
                      <a:pt x="2" y="18"/>
                    </a:cubicBezTo>
                    <a:cubicBezTo>
                      <a:pt x="2" y="15"/>
                      <a:pt x="0" y="11"/>
                      <a:pt x="2"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6" name="Freeform 132"/>
              <p:cNvSpPr>
                <a:spLocks/>
              </p:cNvSpPr>
              <p:nvPr/>
            </p:nvSpPr>
            <p:spPr bwMode="auto">
              <a:xfrm>
                <a:off x="6015038" y="2476500"/>
                <a:ext cx="195263" cy="374650"/>
              </a:xfrm>
              <a:custGeom>
                <a:avLst/>
                <a:gdLst/>
                <a:ahLst/>
                <a:cxnLst>
                  <a:cxn ang="0">
                    <a:pos x="12" y="172"/>
                  </a:cxn>
                  <a:cxn ang="0">
                    <a:pos x="21" y="152"/>
                  </a:cxn>
                  <a:cxn ang="0">
                    <a:pos x="25" y="147"/>
                  </a:cxn>
                  <a:cxn ang="0">
                    <a:pos x="15" y="119"/>
                  </a:cxn>
                  <a:cxn ang="0">
                    <a:pos x="8" y="109"/>
                  </a:cxn>
                  <a:cxn ang="0">
                    <a:pos x="8" y="105"/>
                  </a:cxn>
                  <a:cxn ang="0">
                    <a:pos x="8" y="106"/>
                  </a:cxn>
                  <a:cxn ang="0">
                    <a:pos x="12" y="96"/>
                  </a:cxn>
                  <a:cxn ang="0">
                    <a:pos x="9" y="77"/>
                  </a:cxn>
                  <a:cxn ang="0">
                    <a:pos x="0" y="65"/>
                  </a:cxn>
                  <a:cxn ang="0">
                    <a:pos x="8" y="47"/>
                  </a:cxn>
                  <a:cxn ang="0">
                    <a:pos x="19" y="43"/>
                  </a:cxn>
                  <a:cxn ang="0">
                    <a:pos x="45" y="19"/>
                  </a:cxn>
                  <a:cxn ang="0">
                    <a:pos x="47" y="19"/>
                  </a:cxn>
                  <a:cxn ang="0">
                    <a:pos x="50" y="24"/>
                  </a:cxn>
                  <a:cxn ang="0">
                    <a:pos x="52" y="20"/>
                  </a:cxn>
                  <a:cxn ang="0">
                    <a:pos x="52" y="9"/>
                  </a:cxn>
                  <a:cxn ang="0">
                    <a:pos x="64" y="6"/>
                  </a:cxn>
                  <a:cxn ang="0">
                    <a:pos x="78" y="6"/>
                  </a:cxn>
                  <a:cxn ang="0">
                    <a:pos x="96" y="0"/>
                  </a:cxn>
                  <a:cxn ang="0">
                    <a:pos x="115" y="5"/>
                  </a:cxn>
                  <a:cxn ang="0">
                    <a:pos x="130" y="22"/>
                  </a:cxn>
                  <a:cxn ang="0">
                    <a:pos x="100" y="58"/>
                  </a:cxn>
                  <a:cxn ang="0">
                    <a:pos x="104" y="64"/>
                  </a:cxn>
                  <a:cxn ang="0">
                    <a:pos x="129" y="93"/>
                  </a:cxn>
                  <a:cxn ang="0">
                    <a:pos x="147" y="134"/>
                  </a:cxn>
                  <a:cxn ang="0">
                    <a:pos x="142" y="156"/>
                  </a:cxn>
                  <a:cxn ang="0">
                    <a:pos x="115" y="170"/>
                  </a:cxn>
                  <a:cxn ang="0">
                    <a:pos x="105" y="180"/>
                  </a:cxn>
                  <a:cxn ang="0">
                    <a:pos x="104" y="176"/>
                  </a:cxn>
                  <a:cxn ang="0">
                    <a:pos x="104" y="181"/>
                  </a:cxn>
                  <a:cxn ang="0">
                    <a:pos x="93" y="192"/>
                  </a:cxn>
                  <a:cxn ang="0">
                    <a:pos x="90" y="183"/>
                  </a:cxn>
                  <a:cxn ang="0">
                    <a:pos x="91" y="177"/>
                  </a:cxn>
                  <a:cxn ang="0">
                    <a:pos x="88" y="170"/>
                  </a:cxn>
                  <a:cxn ang="0">
                    <a:pos x="73" y="161"/>
                  </a:cxn>
                  <a:cxn ang="0">
                    <a:pos x="63" y="149"/>
                  </a:cxn>
                  <a:cxn ang="0">
                    <a:pos x="43" y="141"/>
                  </a:cxn>
                  <a:cxn ang="0">
                    <a:pos x="41" y="135"/>
                  </a:cxn>
                  <a:cxn ang="0">
                    <a:pos x="30" y="129"/>
                  </a:cxn>
                  <a:cxn ang="0">
                    <a:pos x="27" y="134"/>
                  </a:cxn>
                  <a:cxn ang="0">
                    <a:pos x="29" y="142"/>
                  </a:cxn>
                  <a:cxn ang="0">
                    <a:pos x="16" y="171"/>
                  </a:cxn>
                  <a:cxn ang="0">
                    <a:pos x="31" y="192"/>
                  </a:cxn>
                  <a:cxn ang="0">
                    <a:pos x="30" y="192"/>
                  </a:cxn>
                  <a:cxn ang="0">
                    <a:pos x="35" y="206"/>
                  </a:cxn>
                  <a:cxn ang="0">
                    <a:pos x="73" y="243"/>
                  </a:cxn>
                  <a:cxn ang="0">
                    <a:pos x="71" y="251"/>
                  </a:cxn>
                  <a:cxn ang="0">
                    <a:pos x="80" y="267"/>
                  </a:cxn>
                  <a:cxn ang="0">
                    <a:pos x="84" y="280"/>
                  </a:cxn>
                  <a:cxn ang="0">
                    <a:pos x="78" y="280"/>
                  </a:cxn>
                  <a:cxn ang="0">
                    <a:pos x="75" y="282"/>
                  </a:cxn>
                  <a:cxn ang="0">
                    <a:pos x="68" y="278"/>
                  </a:cxn>
                  <a:cxn ang="0">
                    <a:pos x="37" y="246"/>
                  </a:cxn>
                  <a:cxn ang="0">
                    <a:pos x="27" y="214"/>
                  </a:cxn>
                  <a:cxn ang="0">
                    <a:pos x="14" y="192"/>
                  </a:cxn>
                  <a:cxn ang="0">
                    <a:pos x="8" y="192"/>
                  </a:cxn>
                  <a:cxn ang="0">
                    <a:pos x="8" y="189"/>
                  </a:cxn>
                  <a:cxn ang="0">
                    <a:pos x="10" y="172"/>
                  </a:cxn>
                  <a:cxn ang="0">
                    <a:pos x="11" y="172"/>
                  </a:cxn>
                  <a:cxn ang="0">
                    <a:pos x="12" y="172"/>
                  </a:cxn>
                </a:cxnLst>
                <a:rect l="0" t="0" r="r" b="b"/>
                <a:pathLst>
                  <a:path w="147" h="282">
                    <a:moveTo>
                      <a:pt x="12" y="172"/>
                    </a:moveTo>
                    <a:cubicBezTo>
                      <a:pt x="16" y="165"/>
                      <a:pt x="17" y="160"/>
                      <a:pt x="21" y="152"/>
                    </a:cubicBezTo>
                    <a:cubicBezTo>
                      <a:pt x="22" y="150"/>
                      <a:pt x="25" y="149"/>
                      <a:pt x="25" y="147"/>
                    </a:cubicBezTo>
                    <a:cubicBezTo>
                      <a:pt x="25" y="143"/>
                      <a:pt x="19" y="123"/>
                      <a:pt x="15" y="119"/>
                    </a:cubicBezTo>
                    <a:cubicBezTo>
                      <a:pt x="12" y="116"/>
                      <a:pt x="8" y="114"/>
                      <a:pt x="8" y="109"/>
                    </a:cubicBezTo>
                    <a:cubicBezTo>
                      <a:pt x="8" y="108"/>
                      <a:pt x="8" y="107"/>
                      <a:pt x="8" y="105"/>
                    </a:cubicBezTo>
                    <a:cubicBezTo>
                      <a:pt x="8" y="106"/>
                      <a:pt x="8" y="106"/>
                      <a:pt x="8" y="106"/>
                    </a:cubicBezTo>
                    <a:cubicBezTo>
                      <a:pt x="9" y="105"/>
                      <a:pt x="12" y="100"/>
                      <a:pt x="12" y="96"/>
                    </a:cubicBezTo>
                    <a:cubicBezTo>
                      <a:pt x="12" y="91"/>
                      <a:pt x="12" y="82"/>
                      <a:pt x="9" y="77"/>
                    </a:cubicBezTo>
                    <a:cubicBezTo>
                      <a:pt x="6" y="73"/>
                      <a:pt x="0" y="73"/>
                      <a:pt x="0" y="65"/>
                    </a:cubicBezTo>
                    <a:cubicBezTo>
                      <a:pt x="0" y="57"/>
                      <a:pt x="3" y="51"/>
                      <a:pt x="8" y="47"/>
                    </a:cubicBezTo>
                    <a:cubicBezTo>
                      <a:pt x="10" y="44"/>
                      <a:pt x="15" y="45"/>
                      <a:pt x="19" y="43"/>
                    </a:cubicBezTo>
                    <a:cubicBezTo>
                      <a:pt x="29" y="36"/>
                      <a:pt x="36" y="33"/>
                      <a:pt x="45" y="19"/>
                    </a:cubicBezTo>
                    <a:cubicBezTo>
                      <a:pt x="47" y="19"/>
                      <a:pt x="47" y="19"/>
                      <a:pt x="47" y="19"/>
                    </a:cubicBezTo>
                    <a:cubicBezTo>
                      <a:pt x="47" y="23"/>
                      <a:pt x="49" y="24"/>
                      <a:pt x="50" y="24"/>
                    </a:cubicBezTo>
                    <a:cubicBezTo>
                      <a:pt x="51" y="24"/>
                      <a:pt x="52" y="22"/>
                      <a:pt x="52" y="20"/>
                    </a:cubicBezTo>
                    <a:cubicBezTo>
                      <a:pt x="52" y="16"/>
                      <a:pt x="52" y="13"/>
                      <a:pt x="52" y="9"/>
                    </a:cubicBezTo>
                    <a:cubicBezTo>
                      <a:pt x="52" y="9"/>
                      <a:pt x="62" y="6"/>
                      <a:pt x="64" y="6"/>
                    </a:cubicBezTo>
                    <a:cubicBezTo>
                      <a:pt x="78" y="6"/>
                      <a:pt x="78" y="6"/>
                      <a:pt x="78" y="6"/>
                    </a:cubicBezTo>
                    <a:cubicBezTo>
                      <a:pt x="84" y="9"/>
                      <a:pt x="89" y="0"/>
                      <a:pt x="96" y="0"/>
                    </a:cubicBezTo>
                    <a:cubicBezTo>
                      <a:pt x="103" y="0"/>
                      <a:pt x="107" y="5"/>
                      <a:pt x="115" y="5"/>
                    </a:cubicBezTo>
                    <a:cubicBezTo>
                      <a:pt x="115" y="16"/>
                      <a:pt x="123" y="20"/>
                      <a:pt x="130" y="22"/>
                    </a:cubicBezTo>
                    <a:cubicBezTo>
                      <a:pt x="121" y="36"/>
                      <a:pt x="100" y="39"/>
                      <a:pt x="100" y="58"/>
                    </a:cubicBezTo>
                    <a:cubicBezTo>
                      <a:pt x="100" y="62"/>
                      <a:pt x="102" y="63"/>
                      <a:pt x="104" y="64"/>
                    </a:cubicBezTo>
                    <a:cubicBezTo>
                      <a:pt x="114" y="74"/>
                      <a:pt x="118" y="86"/>
                      <a:pt x="129" y="93"/>
                    </a:cubicBezTo>
                    <a:cubicBezTo>
                      <a:pt x="140" y="100"/>
                      <a:pt x="147" y="119"/>
                      <a:pt x="147" y="134"/>
                    </a:cubicBezTo>
                    <a:cubicBezTo>
                      <a:pt x="147" y="144"/>
                      <a:pt x="142" y="148"/>
                      <a:pt x="142" y="156"/>
                    </a:cubicBezTo>
                    <a:cubicBezTo>
                      <a:pt x="127" y="160"/>
                      <a:pt x="126" y="164"/>
                      <a:pt x="115" y="170"/>
                    </a:cubicBezTo>
                    <a:cubicBezTo>
                      <a:pt x="109" y="173"/>
                      <a:pt x="110" y="180"/>
                      <a:pt x="105" y="180"/>
                    </a:cubicBezTo>
                    <a:cubicBezTo>
                      <a:pt x="104" y="180"/>
                      <a:pt x="104" y="177"/>
                      <a:pt x="104" y="176"/>
                    </a:cubicBezTo>
                    <a:cubicBezTo>
                      <a:pt x="104" y="179"/>
                      <a:pt x="104" y="180"/>
                      <a:pt x="104" y="181"/>
                    </a:cubicBezTo>
                    <a:cubicBezTo>
                      <a:pt x="104" y="185"/>
                      <a:pt x="95" y="192"/>
                      <a:pt x="93" y="192"/>
                    </a:cubicBezTo>
                    <a:cubicBezTo>
                      <a:pt x="91" y="192"/>
                      <a:pt x="90" y="186"/>
                      <a:pt x="90" y="183"/>
                    </a:cubicBezTo>
                    <a:cubicBezTo>
                      <a:pt x="90" y="179"/>
                      <a:pt x="90" y="178"/>
                      <a:pt x="91" y="177"/>
                    </a:cubicBezTo>
                    <a:cubicBezTo>
                      <a:pt x="90" y="176"/>
                      <a:pt x="89" y="172"/>
                      <a:pt x="88" y="170"/>
                    </a:cubicBezTo>
                    <a:cubicBezTo>
                      <a:pt x="82" y="170"/>
                      <a:pt x="73" y="168"/>
                      <a:pt x="73" y="161"/>
                    </a:cubicBezTo>
                    <a:cubicBezTo>
                      <a:pt x="63" y="161"/>
                      <a:pt x="68" y="155"/>
                      <a:pt x="63" y="149"/>
                    </a:cubicBezTo>
                    <a:cubicBezTo>
                      <a:pt x="56" y="143"/>
                      <a:pt x="50" y="143"/>
                      <a:pt x="43" y="141"/>
                    </a:cubicBezTo>
                    <a:cubicBezTo>
                      <a:pt x="42" y="141"/>
                      <a:pt x="41" y="135"/>
                      <a:pt x="41" y="135"/>
                    </a:cubicBezTo>
                    <a:cubicBezTo>
                      <a:pt x="40" y="130"/>
                      <a:pt x="34" y="129"/>
                      <a:pt x="30" y="129"/>
                    </a:cubicBezTo>
                    <a:cubicBezTo>
                      <a:pt x="26" y="129"/>
                      <a:pt x="27" y="132"/>
                      <a:pt x="27" y="134"/>
                    </a:cubicBezTo>
                    <a:cubicBezTo>
                      <a:pt x="27" y="138"/>
                      <a:pt x="29" y="139"/>
                      <a:pt x="29" y="142"/>
                    </a:cubicBezTo>
                    <a:cubicBezTo>
                      <a:pt x="29" y="156"/>
                      <a:pt x="16" y="159"/>
                      <a:pt x="16" y="171"/>
                    </a:cubicBezTo>
                    <a:cubicBezTo>
                      <a:pt x="16" y="185"/>
                      <a:pt x="31" y="179"/>
                      <a:pt x="31" y="192"/>
                    </a:cubicBezTo>
                    <a:cubicBezTo>
                      <a:pt x="30" y="192"/>
                      <a:pt x="30" y="192"/>
                      <a:pt x="30" y="192"/>
                    </a:cubicBezTo>
                    <a:cubicBezTo>
                      <a:pt x="32" y="195"/>
                      <a:pt x="32" y="203"/>
                      <a:pt x="35" y="206"/>
                    </a:cubicBezTo>
                    <a:cubicBezTo>
                      <a:pt x="47" y="218"/>
                      <a:pt x="73" y="221"/>
                      <a:pt x="73" y="243"/>
                    </a:cubicBezTo>
                    <a:cubicBezTo>
                      <a:pt x="73" y="247"/>
                      <a:pt x="71" y="247"/>
                      <a:pt x="71" y="251"/>
                    </a:cubicBezTo>
                    <a:cubicBezTo>
                      <a:pt x="71" y="259"/>
                      <a:pt x="78" y="262"/>
                      <a:pt x="80" y="267"/>
                    </a:cubicBezTo>
                    <a:cubicBezTo>
                      <a:pt x="82" y="273"/>
                      <a:pt x="82" y="275"/>
                      <a:pt x="84" y="280"/>
                    </a:cubicBezTo>
                    <a:cubicBezTo>
                      <a:pt x="80" y="280"/>
                      <a:pt x="80" y="280"/>
                      <a:pt x="78" y="280"/>
                    </a:cubicBezTo>
                    <a:cubicBezTo>
                      <a:pt x="77" y="280"/>
                      <a:pt x="76" y="282"/>
                      <a:pt x="75" y="282"/>
                    </a:cubicBezTo>
                    <a:cubicBezTo>
                      <a:pt x="71" y="282"/>
                      <a:pt x="70" y="279"/>
                      <a:pt x="68" y="278"/>
                    </a:cubicBezTo>
                    <a:cubicBezTo>
                      <a:pt x="54" y="274"/>
                      <a:pt x="41" y="261"/>
                      <a:pt x="37" y="246"/>
                    </a:cubicBezTo>
                    <a:cubicBezTo>
                      <a:pt x="33" y="233"/>
                      <a:pt x="32" y="224"/>
                      <a:pt x="27" y="214"/>
                    </a:cubicBezTo>
                    <a:cubicBezTo>
                      <a:pt x="24" y="208"/>
                      <a:pt x="21" y="192"/>
                      <a:pt x="14" y="192"/>
                    </a:cubicBezTo>
                    <a:cubicBezTo>
                      <a:pt x="9" y="192"/>
                      <a:pt x="12" y="194"/>
                      <a:pt x="8" y="192"/>
                    </a:cubicBezTo>
                    <a:cubicBezTo>
                      <a:pt x="7" y="192"/>
                      <a:pt x="8" y="190"/>
                      <a:pt x="8" y="189"/>
                    </a:cubicBezTo>
                    <a:cubicBezTo>
                      <a:pt x="8" y="183"/>
                      <a:pt x="9" y="179"/>
                      <a:pt x="10" y="172"/>
                    </a:cubicBezTo>
                    <a:cubicBezTo>
                      <a:pt x="11" y="172"/>
                      <a:pt x="11" y="172"/>
                      <a:pt x="11" y="172"/>
                    </a:cubicBezTo>
                    <a:lnTo>
                      <a:pt x="12" y="1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7" name="Freeform 133"/>
              <p:cNvSpPr>
                <a:spLocks/>
              </p:cNvSpPr>
              <p:nvPr/>
            </p:nvSpPr>
            <p:spPr bwMode="auto">
              <a:xfrm>
                <a:off x="6142038" y="2898775"/>
                <a:ext cx="26988" cy="25400"/>
              </a:xfrm>
              <a:custGeom>
                <a:avLst/>
                <a:gdLst/>
                <a:ahLst/>
                <a:cxnLst>
                  <a:cxn ang="0">
                    <a:pos x="12" y="17"/>
                  </a:cxn>
                  <a:cxn ang="0">
                    <a:pos x="9" y="11"/>
                  </a:cxn>
                  <a:cxn ang="0">
                    <a:pos x="0" y="6"/>
                  </a:cxn>
                  <a:cxn ang="0">
                    <a:pos x="9" y="0"/>
                  </a:cxn>
                  <a:cxn ang="0">
                    <a:pos x="20" y="15"/>
                  </a:cxn>
                  <a:cxn ang="0">
                    <a:pos x="21" y="19"/>
                  </a:cxn>
                  <a:cxn ang="0">
                    <a:pos x="17" y="19"/>
                  </a:cxn>
                  <a:cxn ang="0">
                    <a:pos x="12" y="17"/>
                  </a:cxn>
                </a:cxnLst>
                <a:rect l="0" t="0" r="r" b="b"/>
                <a:pathLst>
                  <a:path w="21" h="19">
                    <a:moveTo>
                      <a:pt x="12" y="17"/>
                    </a:moveTo>
                    <a:cubicBezTo>
                      <a:pt x="11" y="17"/>
                      <a:pt x="9" y="12"/>
                      <a:pt x="9" y="11"/>
                    </a:cubicBezTo>
                    <a:cubicBezTo>
                      <a:pt x="7" y="7"/>
                      <a:pt x="0" y="9"/>
                      <a:pt x="0" y="6"/>
                    </a:cubicBezTo>
                    <a:cubicBezTo>
                      <a:pt x="0" y="3"/>
                      <a:pt x="6" y="0"/>
                      <a:pt x="9" y="0"/>
                    </a:cubicBezTo>
                    <a:cubicBezTo>
                      <a:pt x="11" y="7"/>
                      <a:pt x="14" y="15"/>
                      <a:pt x="20" y="15"/>
                    </a:cubicBezTo>
                    <a:cubicBezTo>
                      <a:pt x="20" y="16"/>
                      <a:pt x="20" y="18"/>
                      <a:pt x="21" y="19"/>
                    </a:cubicBezTo>
                    <a:cubicBezTo>
                      <a:pt x="20" y="19"/>
                      <a:pt x="18" y="19"/>
                      <a:pt x="17" y="19"/>
                    </a:cubicBezTo>
                    <a:cubicBezTo>
                      <a:pt x="15" y="19"/>
                      <a:pt x="14" y="17"/>
                      <a:pt x="12"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8" name="Freeform 134"/>
              <p:cNvSpPr>
                <a:spLocks/>
              </p:cNvSpPr>
              <p:nvPr/>
            </p:nvSpPr>
            <p:spPr bwMode="auto">
              <a:xfrm>
                <a:off x="6183313" y="2917825"/>
                <a:ext cx="11113" cy="11113"/>
              </a:xfrm>
              <a:custGeom>
                <a:avLst/>
                <a:gdLst/>
                <a:ahLst/>
                <a:cxnLst>
                  <a:cxn ang="0">
                    <a:pos x="1" y="0"/>
                  </a:cxn>
                  <a:cxn ang="0">
                    <a:pos x="5" y="0"/>
                  </a:cxn>
                  <a:cxn ang="0">
                    <a:pos x="9" y="3"/>
                  </a:cxn>
                  <a:cxn ang="0">
                    <a:pos x="4" y="8"/>
                  </a:cxn>
                  <a:cxn ang="0">
                    <a:pos x="1" y="3"/>
                  </a:cxn>
                  <a:cxn ang="0">
                    <a:pos x="1" y="0"/>
                  </a:cxn>
                </a:cxnLst>
                <a:rect l="0" t="0" r="r" b="b"/>
                <a:pathLst>
                  <a:path w="9" h="8">
                    <a:moveTo>
                      <a:pt x="1" y="0"/>
                    </a:moveTo>
                    <a:cubicBezTo>
                      <a:pt x="2" y="0"/>
                      <a:pt x="4" y="0"/>
                      <a:pt x="5" y="0"/>
                    </a:cubicBezTo>
                    <a:cubicBezTo>
                      <a:pt x="6" y="0"/>
                      <a:pt x="8" y="2"/>
                      <a:pt x="9" y="3"/>
                    </a:cubicBezTo>
                    <a:cubicBezTo>
                      <a:pt x="9" y="5"/>
                      <a:pt x="7" y="8"/>
                      <a:pt x="4" y="8"/>
                    </a:cubicBezTo>
                    <a:cubicBezTo>
                      <a:pt x="1" y="8"/>
                      <a:pt x="1" y="5"/>
                      <a:pt x="1" y="3"/>
                    </a:cubicBezTo>
                    <a:cubicBezTo>
                      <a:pt x="1" y="2"/>
                      <a:pt x="0"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49" name="Freeform 135"/>
              <p:cNvSpPr>
                <a:spLocks/>
              </p:cNvSpPr>
              <p:nvPr/>
            </p:nvSpPr>
            <p:spPr bwMode="auto">
              <a:xfrm>
                <a:off x="6035675" y="2892425"/>
                <a:ext cx="9525" cy="15875"/>
              </a:xfrm>
              <a:custGeom>
                <a:avLst/>
                <a:gdLst/>
                <a:ahLst/>
                <a:cxnLst>
                  <a:cxn ang="0">
                    <a:pos x="1" y="0"/>
                  </a:cxn>
                  <a:cxn ang="0">
                    <a:pos x="8" y="12"/>
                  </a:cxn>
                  <a:cxn ang="0">
                    <a:pos x="0" y="2"/>
                  </a:cxn>
                  <a:cxn ang="0">
                    <a:pos x="0" y="0"/>
                  </a:cxn>
                  <a:cxn ang="0">
                    <a:pos x="3" y="0"/>
                  </a:cxn>
                  <a:cxn ang="0">
                    <a:pos x="3" y="2"/>
                  </a:cxn>
                  <a:cxn ang="0">
                    <a:pos x="1" y="0"/>
                  </a:cxn>
                </a:cxnLst>
                <a:rect l="0" t="0" r="r" b="b"/>
                <a:pathLst>
                  <a:path w="8" h="12">
                    <a:moveTo>
                      <a:pt x="1" y="0"/>
                    </a:moveTo>
                    <a:cubicBezTo>
                      <a:pt x="5" y="4"/>
                      <a:pt x="8" y="7"/>
                      <a:pt x="8" y="12"/>
                    </a:cubicBezTo>
                    <a:cubicBezTo>
                      <a:pt x="5" y="12"/>
                      <a:pt x="0" y="5"/>
                      <a:pt x="0" y="2"/>
                    </a:cubicBezTo>
                    <a:cubicBezTo>
                      <a:pt x="0" y="1"/>
                      <a:pt x="0" y="1"/>
                      <a:pt x="0" y="0"/>
                    </a:cubicBezTo>
                    <a:cubicBezTo>
                      <a:pt x="3" y="0"/>
                      <a:pt x="3" y="0"/>
                      <a:pt x="3" y="0"/>
                    </a:cubicBezTo>
                    <a:cubicBezTo>
                      <a:pt x="3" y="1"/>
                      <a:pt x="3" y="2"/>
                      <a:pt x="3" y="2"/>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0" name="Freeform 136"/>
              <p:cNvSpPr>
                <a:spLocks/>
              </p:cNvSpPr>
              <p:nvPr/>
            </p:nvSpPr>
            <p:spPr bwMode="auto">
              <a:xfrm>
                <a:off x="6013450" y="2855913"/>
                <a:ext cx="15875" cy="15875"/>
              </a:xfrm>
              <a:custGeom>
                <a:avLst/>
                <a:gdLst/>
                <a:ahLst/>
                <a:cxnLst>
                  <a:cxn ang="0">
                    <a:pos x="2" y="0"/>
                  </a:cxn>
                  <a:cxn ang="0">
                    <a:pos x="8" y="11"/>
                  </a:cxn>
                  <a:cxn ang="0">
                    <a:pos x="0" y="1"/>
                  </a:cxn>
                  <a:cxn ang="0">
                    <a:pos x="0" y="1"/>
                  </a:cxn>
                  <a:cxn ang="0">
                    <a:pos x="2" y="0"/>
                  </a:cxn>
                </a:cxnLst>
                <a:rect l="0" t="0" r="r" b="b"/>
                <a:pathLst>
                  <a:path w="12" h="11">
                    <a:moveTo>
                      <a:pt x="2" y="0"/>
                    </a:moveTo>
                    <a:cubicBezTo>
                      <a:pt x="5" y="2"/>
                      <a:pt x="12" y="11"/>
                      <a:pt x="8" y="11"/>
                    </a:cubicBezTo>
                    <a:cubicBezTo>
                      <a:pt x="6" y="11"/>
                      <a:pt x="1" y="4"/>
                      <a:pt x="0" y="1"/>
                    </a:cubicBezTo>
                    <a:cubicBezTo>
                      <a:pt x="0" y="1"/>
                      <a:pt x="0" y="1"/>
                      <a:pt x="0" y="1"/>
                    </a:cubicBez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1" name="Freeform 137"/>
              <p:cNvSpPr>
                <a:spLocks/>
              </p:cNvSpPr>
              <p:nvPr/>
            </p:nvSpPr>
            <p:spPr bwMode="auto">
              <a:xfrm>
                <a:off x="6548438" y="2284413"/>
                <a:ext cx="41275" cy="49213"/>
              </a:xfrm>
              <a:custGeom>
                <a:avLst/>
                <a:gdLst/>
                <a:ahLst/>
                <a:cxnLst>
                  <a:cxn ang="0">
                    <a:pos x="12" y="22"/>
                  </a:cxn>
                  <a:cxn ang="0">
                    <a:pos x="14" y="16"/>
                  </a:cxn>
                  <a:cxn ang="0">
                    <a:pos x="10" y="10"/>
                  </a:cxn>
                  <a:cxn ang="0">
                    <a:pos x="10" y="14"/>
                  </a:cxn>
                  <a:cxn ang="0">
                    <a:pos x="5" y="16"/>
                  </a:cxn>
                  <a:cxn ang="0">
                    <a:pos x="0" y="11"/>
                  </a:cxn>
                  <a:cxn ang="0">
                    <a:pos x="14" y="0"/>
                  </a:cxn>
                  <a:cxn ang="0">
                    <a:pos x="26" y="3"/>
                  </a:cxn>
                  <a:cxn ang="0">
                    <a:pos x="26" y="8"/>
                  </a:cxn>
                  <a:cxn ang="0">
                    <a:pos x="30" y="11"/>
                  </a:cxn>
                  <a:cxn ang="0">
                    <a:pos x="30" y="16"/>
                  </a:cxn>
                  <a:cxn ang="0">
                    <a:pos x="26" y="16"/>
                  </a:cxn>
                  <a:cxn ang="0">
                    <a:pos x="15" y="37"/>
                  </a:cxn>
                  <a:cxn ang="0">
                    <a:pos x="14" y="33"/>
                  </a:cxn>
                  <a:cxn ang="0">
                    <a:pos x="14" y="36"/>
                  </a:cxn>
                  <a:cxn ang="0">
                    <a:pos x="7" y="29"/>
                  </a:cxn>
                  <a:cxn ang="0">
                    <a:pos x="12" y="22"/>
                  </a:cxn>
                </a:cxnLst>
                <a:rect l="0" t="0" r="r" b="b"/>
                <a:pathLst>
                  <a:path w="30" h="37">
                    <a:moveTo>
                      <a:pt x="12" y="22"/>
                    </a:moveTo>
                    <a:cubicBezTo>
                      <a:pt x="14" y="16"/>
                      <a:pt x="14" y="16"/>
                      <a:pt x="14" y="16"/>
                    </a:cubicBezTo>
                    <a:cubicBezTo>
                      <a:pt x="11" y="15"/>
                      <a:pt x="11" y="12"/>
                      <a:pt x="10" y="10"/>
                    </a:cubicBezTo>
                    <a:cubicBezTo>
                      <a:pt x="10" y="11"/>
                      <a:pt x="9" y="13"/>
                      <a:pt x="10" y="14"/>
                    </a:cubicBezTo>
                    <a:cubicBezTo>
                      <a:pt x="8" y="14"/>
                      <a:pt x="6" y="16"/>
                      <a:pt x="5" y="16"/>
                    </a:cubicBezTo>
                    <a:cubicBezTo>
                      <a:pt x="3" y="16"/>
                      <a:pt x="0" y="13"/>
                      <a:pt x="0" y="11"/>
                    </a:cubicBezTo>
                    <a:cubicBezTo>
                      <a:pt x="0" y="8"/>
                      <a:pt x="13" y="0"/>
                      <a:pt x="14" y="0"/>
                    </a:cubicBezTo>
                    <a:cubicBezTo>
                      <a:pt x="18" y="0"/>
                      <a:pt x="20" y="3"/>
                      <a:pt x="26" y="3"/>
                    </a:cubicBezTo>
                    <a:cubicBezTo>
                      <a:pt x="26" y="5"/>
                      <a:pt x="25" y="8"/>
                      <a:pt x="26" y="8"/>
                    </a:cubicBezTo>
                    <a:cubicBezTo>
                      <a:pt x="30" y="11"/>
                      <a:pt x="30" y="11"/>
                      <a:pt x="30" y="11"/>
                    </a:cubicBezTo>
                    <a:cubicBezTo>
                      <a:pt x="30" y="13"/>
                      <a:pt x="29" y="14"/>
                      <a:pt x="30" y="16"/>
                    </a:cubicBezTo>
                    <a:cubicBezTo>
                      <a:pt x="29" y="16"/>
                      <a:pt x="27" y="16"/>
                      <a:pt x="26" y="16"/>
                    </a:cubicBezTo>
                    <a:cubicBezTo>
                      <a:pt x="25" y="24"/>
                      <a:pt x="21" y="37"/>
                      <a:pt x="15" y="37"/>
                    </a:cubicBezTo>
                    <a:cubicBezTo>
                      <a:pt x="14" y="37"/>
                      <a:pt x="14" y="35"/>
                      <a:pt x="14" y="33"/>
                    </a:cubicBezTo>
                    <a:cubicBezTo>
                      <a:pt x="14" y="36"/>
                      <a:pt x="14" y="36"/>
                      <a:pt x="14" y="36"/>
                    </a:cubicBezTo>
                    <a:cubicBezTo>
                      <a:pt x="10" y="36"/>
                      <a:pt x="7" y="31"/>
                      <a:pt x="7" y="29"/>
                    </a:cubicBezTo>
                    <a:cubicBezTo>
                      <a:pt x="7" y="28"/>
                      <a:pt x="12" y="22"/>
                      <a:pt x="12"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2" name="Freeform 138"/>
              <p:cNvSpPr>
                <a:spLocks/>
              </p:cNvSpPr>
              <p:nvPr/>
            </p:nvSpPr>
            <p:spPr bwMode="auto">
              <a:xfrm>
                <a:off x="6596063" y="2271713"/>
                <a:ext cx="42863" cy="30163"/>
              </a:xfrm>
              <a:custGeom>
                <a:avLst/>
                <a:gdLst/>
                <a:ahLst/>
                <a:cxnLst>
                  <a:cxn ang="0">
                    <a:pos x="23" y="15"/>
                  </a:cxn>
                  <a:cxn ang="0">
                    <a:pos x="17" y="12"/>
                  </a:cxn>
                  <a:cxn ang="0">
                    <a:pos x="6" y="23"/>
                  </a:cxn>
                  <a:cxn ang="0">
                    <a:pos x="3" y="17"/>
                  </a:cxn>
                  <a:cxn ang="0">
                    <a:pos x="0" y="12"/>
                  </a:cxn>
                  <a:cxn ang="0">
                    <a:pos x="8" y="5"/>
                  </a:cxn>
                  <a:cxn ang="0">
                    <a:pos x="23" y="0"/>
                  </a:cxn>
                  <a:cxn ang="0">
                    <a:pos x="23" y="15"/>
                  </a:cxn>
                </a:cxnLst>
                <a:rect l="0" t="0" r="r" b="b"/>
                <a:pathLst>
                  <a:path w="33" h="23">
                    <a:moveTo>
                      <a:pt x="23" y="15"/>
                    </a:moveTo>
                    <a:cubicBezTo>
                      <a:pt x="20" y="15"/>
                      <a:pt x="18" y="13"/>
                      <a:pt x="17" y="12"/>
                    </a:cubicBezTo>
                    <a:cubicBezTo>
                      <a:pt x="13" y="16"/>
                      <a:pt x="12" y="23"/>
                      <a:pt x="6" y="23"/>
                    </a:cubicBezTo>
                    <a:cubicBezTo>
                      <a:pt x="4" y="23"/>
                      <a:pt x="3" y="19"/>
                      <a:pt x="3" y="17"/>
                    </a:cubicBezTo>
                    <a:cubicBezTo>
                      <a:pt x="1" y="15"/>
                      <a:pt x="0" y="14"/>
                      <a:pt x="0" y="12"/>
                    </a:cubicBezTo>
                    <a:cubicBezTo>
                      <a:pt x="0" y="12"/>
                      <a:pt x="8" y="6"/>
                      <a:pt x="8" y="5"/>
                    </a:cubicBezTo>
                    <a:cubicBezTo>
                      <a:pt x="16" y="7"/>
                      <a:pt x="17" y="0"/>
                      <a:pt x="23" y="0"/>
                    </a:cubicBezTo>
                    <a:cubicBezTo>
                      <a:pt x="33" y="0"/>
                      <a:pt x="28" y="15"/>
                      <a:pt x="23"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3" name="Freeform 139"/>
              <p:cNvSpPr>
                <a:spLocks/>
              </p:cNvSpPr>
              <p:nvPr/>
            </p:nvSpPr>
            <p:spPr bwMode="auto">
              <a:xfrm>
                <a:off x="6572250" y="2136775"/>
                <a:ext cx="185738" cy="153988"/>
              </a:xfrm>
              <a:custGeom>
                <a:avLst/>
                <a:gdLst/>
                <a:ahLst/>
                <a:cxnLst>
                  <a:cxn ang="0">
                    <a:pos x="55" y="110"/>
                  </a:cxn>
                  <a:cxn ang="0">
                    <a:pos x="55" y="107"/>
                  </a:cxn>
                  <a:cxn ang="0">
                    <a:pos x="56" y="99"/>
                  </a:cxn>
                  <a:cxn ang="0">
                    <a:pos x="43" y="95"/>
                  </a:cxn>
                  <a:cxn ang="0">
                    <a:pos x="39" y="99"/>
                  </a:cxn>
                  <a:cxn ang="0">
                    <a:pos x="29" y="100"/>
                  </a:cxn>
                  <a:cxn ang="0">
                    <a:pos x="6" y="106"/>
                  </a:cxn>
                  <a:cxn ang="0">
                    <a:pos x="0" y="104"/>
                  </a:cxn>
                  <a:cxn ang="0">
                    <a:pos x="5" y="101"/>
                  </a:cxn>
                  <a:cxn ang="0">
                    <a:pos x="30" y="84"/>
                  </a:cxn>
                  <a:cxn ang="0">
                    <a:pos x="57" y="84"/>
                  </a:cxn>
                  <a:cxn ang="0">
                    <a:pos x="72" y="70"/>
                  </a:cxn>
                  <a:cxn ang="0">
                    <a:pos x="79" y="59"/>
                  </a:cxn>
                  <a:cxn ang="0">
                    <a:pos x="77" y="64"/>
                  </a:cxn>
                  <a:cxn ang="0">
                    <a:pos x="79" y="66"/>
                  </a:cxn>
                  <a:cxn ang="0">
                    <a:pos x="92" y="60"/>
                  </a:cxn>
                  <a:cxn ang="0">
                    <a:pos x="116" y="25"/>
                  </a:cxn>
                  <a:cxn ang="0">
                    <a:pos x="114" y="19"/>
                  </a:cxn>
                  <a:cxn ang="0">
                    <a:pos x="125" y="3"/>
                  </a:cxn>
                  <a:cxn ang="0">
                    <a:pos x="130" y="4"/>
                  </a:cxn>
                  <a:cxn ang="0">
                    <a:pos x="129" y="4"/>
                  </a:cxn>
                  <a:cxn ang="0">
                    <a:pos x="128" y="0"/>
                  </a:cxn>
                  <a:cxn ang="0">
                    <a:pos x="133" y="2"/>
                  </a:cxn>
                  <a:cxn ang="0">
                    <a:pos x="134" y="11"/>
                  </a:cxn>
                  <a:cxn ang="0">
                    <a:pos x="140" y="26"/>
                  </a:cxn>
                  <a:cxn ang="0">
                    <a:pos x="134" y="40"/>
                  </a:cxn>
                  <a:cxn ang="0">
                    <a:pos x="134" y="43"/>
                  </a:cxn>
                  <a:cxn ang="0">
                    <a:pos x="130" y="44"/>
                  </a:cxn>
                  <a:cxn ang="0">
                    <a:pos x="127" y="63"/>
                  </a:cxn>
                  <a:cxn ang="0">
                    <a:pos x="122" y="76"/>
                  </a:cxn>
                  <a:cxn ang="0">
                    <a:pos x="125" y="84"/>
                  </a:cxn>
                  <a:cxn ang="0">
                    <a:pos x="114" y="93"/>
                  </a:cxn>
                  <a:cxn ang="0">
                    <a:pos x="114" y="86"/>
                  </a:cxn>
                  <a:cxn ang="0">
                    <a:pos x="102" y="96"/>
                  </a:cxn>
                  <a:cxn ang="0">
                    <a:pos x="100" y="94"/>
                  </a:cxn>
                  <a:cxn ang="0">
                    <a:pos x="96" y="94"/>
                  </a:cxn>
                  <a:cxn ang="0">
                    <a:pos x="87" y="100"/>
                  </a:cxn>
                  <a:cxn ang="0">
                    <a:pos x="74" y="92"/>
                  </a:cxn>
                  <a:cxn ang="0">
                    <a:pos x="72" y="96"/>
                  </a:cxn>
                  <a:cxn ang="0">
                    <a:pos x="76" y="103"/>
                  </a:cxn>
                  <a:cxn ang="0">
                    <a:pos x="72" y="103"/>
                  </a:cxn>
                  <a:cxn ang="0">
                    <a:pos x="61" y="115"/>
                  </a:cxn>
                  <a:cxn ang="0">
                    <a:pos x="55" y="110"/>
                  </a:cxn>
                </a:cxnLst>
                <a:rect l="0" t="0" r="r" b="b"/>
                <a:pathLst>
                  <a:path w="140" h="115">
                    <a:moveTo>
                      <a:pt x="55" y="110"/>
                    </a:moveTo>
                    <a:cubicBezTo>
                      <a:pt x="53" y="110"/>
                      <a:pt x="55" y="108"/>
                      <a:pt x="55" y="107"/>
                    </a:cubicBezTo>
                    <a:cubicBezTo>
                      <a:pt x="55" y="104"/>
                      <a:pt x="56" y="101"/>
                      <a:pt x="56" y="99"/>
                    </a:cubicBezTo>
                    <a:cubicBezTo>
                      <a:pt x="51" y="98"/>
                      <a:pt x="48" y="95"/>
                      <a:pt x="43" y="95"/>
                    </a:cubicBezTo>
                    <a:cubicBezTo>
                      <a:pt x="40" y="95"/>
                      <a:pt x="40" y="98"/>
                      <a:pt x="39" y="99"/>
                    </a:cubicBezTo>
                    <a:cubicBezTo>
                      <a:pt x="35" y="100"/>
                      <a:pt x="32" y="98"/>
                      <a:pt x="29" y="100"/>
                    </a:cubicBezTo>
                    <a:cubicBezTo>
                      <a:pt x="23" y="103"/>
                      <a:pt x="15" y="106"/>
                      <a:pt x="6" y="106"/>
                    </a:cubicBezTo>
                    <a:cubicBezTo>
                      <a:pt x="3" y="106"/>
                      <a:pt x="0" y="106"/>
                      <a:pt x="0" y="104"/>
                    </a:cubicBezTo>
                    <a:cubicBezTo>
                      <a:pt x="0" y="103"/>
                      <a:pt x="4" y="102"/>
                      <a:pt x="5" y="101"/>
                    </a:cubicBezTo>
                    <a:cubicBezTo>
                      <a:pt x="15" y="95"/>
                      <a:pt x="19" y="84"/>
                      <a:pt x="30" y="84"/>
                    </a:cubicBezTo>
                    <a:cubicBezTo>
                      <a:pt x="43" y="84"/>
                      <a:pt x="47" y="84"/>
                      <a:pt x="57" y="84"/>
                    </a:cubicBezTo>
                    <a:cubicBezTo>
                      <a:pt x="65" y="84"/>
                      <a:pt x="68" y="70"/>
                      <a:pt x="72" y="70"/>
                    </a:cubicBezTo>
                    <a:cubicBezTo>
                      <a:pt x="72" y="70"/>
                      <a:pt x="78" y="60"/>
                      <a:pt x="79" y="59"/>
                    </a:cubicBezTo>
                    <a:cubicBezTo>
                      <a:pt x="78" y="61"/>
                      <a:pt x="77" y="62"/>
                      <a:pt x="77" y="64"/>
                    </a:cubicBezTo>
                    <a:cubicBezTo>
                      <a:pt x="77" y="65"/>
                      <a:pt x="78" y="66"/>
                      <a:pt x="79" y="66"/>
                    </a:cubicBezTo>
                    <a:cubicBezTo>
                      <a:pt x="86" y="66"/>
                      <a:pt x="87" y="62"/>
                      <a:pt x="92" y="60"/>
                    </a:cubicBezTo>
                    <a:cubicBezTo>
                      <a:pt x="101" y="57"/>
                      <a:pt x="116" y="39"/>
                      <a:pt x="116" y="25"/>
                    </a:cubicBezTo>
                    <a:cubicBezTo>
                      <a:pt x="116" y="22"/>
                      <a:pt x="114" y="22"/>
                      <a:pt x="114" y="19"/>
                    </a:cubicBezTo>
                    <a:cubicBezTo>
                      <a:pt x="114" y="14"/>
                      <a:pt x="119" y="3"/>
                      <a:pt x="125" y="3"/>
                    </a:cubicBezTo>
                    <a:cubicBezTo>
                      <a:pt x="125" y="3"/>
                      <a:pt x="125" y="9"/>
                      <a:pt x="130" y="4"/>
                    </a:cubicBezTo>
                    <a:cubicBezTo>
                      <a:pt x="130" y="4"/>
                      <a:pt x="129" y="4"/>
                      <a:pt x="129" y="4"/>
                    </a:cubicBezTo>
                    <a:cubicBezTo>
                      <a:pt x="128" y="4"/>
                      <a:pt x="127" y="0"/>
                      <a:pt x="128" y="0"/>
                    </a:cubicBezTo>
                    <a:cubicBezTo>
                      <a:pt x="131" y="0"/>
                      <a:pt x="133" y="1"/>
                      <a:pt x="133" y="2"/>
                    </a:cubicBezTo>
                    <a:cubicBezTo>
                      <a:pt x="135" y="5"/>
                      <a:pt x="134" y="8"/>
                      <a:pt x="134" y="11"/>
                    </a:cubicBezTo>
                    <a:cubicBezTo>
                      <a:pt x="134" y="17"/>
                      <a:pt x="140" y="20"/>
                      <a:pt x="140" y="26"/>
                    </a:cubicBezTo>
                    <a:cubicBezTo>
                      <a:pt x="140" y="33"/>
                      <a:pt x="134" y="34"/>
                      <a:pt x="134" y="40"/>
                    </a:cubicBezTo>
                    <a:cubicBezTo>
                      <a:pt x="134" y="41"/>
                      <a:pt x="134" y="42"/>
                      <a:pt x="134" y="43"/>
                    </a:cubicBezTo>
                    <a:cubicBezTo>
                      <a:pt x="133" y="44"/>
                      <a:pt x="132" y="43"/>
                      <a:pt x="130" y="44"/>
                    </a:cubicBezTo>
                    <a:cubicBezTo>
                      <a:pt x="126" y="45"/>
                      <a:pt x="127" y="59"/>
                      <a:pt x="127" y="63"/>
                    </a:cubicBezTo>
                    <a:cubicBezTo>
                      <a:pt x="127" y="67"/>
                      <a:pt x="122" y="70"/>
                      <a:pt x="122" y="76"/>
                    </a:cubicBezTo>
                    <a:cubicBezTo>
                      <a:pt x="122" y="80"/>
                      <a:pt x="124" y="81"/>
                      <a:pt x="125" y="84"/>
                    </a:cubicBezTo>
                    <a:cubicBezTo>
                      <a:pt x="119" y="87"/>
                      <a:pt x="119" y="91"/>
                      <a:pt x="114" y="93"/>
                    </a:cubicBezTo>
                    <a:cubicBezTo>
                      <a:pt x="112" y="89"/>
                      <a:pt x="114" y="89"/>
                      <a:pt x="114" y="86"/>
                    </a:cubicBezTo>
                    <a:cubicBezTo>
                      <a:pt x="108" y="90"/>
                      <a:pt x="104" y="90"/>
                      <a:pt x="102" y="96"/>
                    </a:cubicBezTo>
                    <a:cubicBezTo>
                      <a:pt x="102" y="96"/>
                      <a:pt x="100" y="95"/>
                      <a:pt x="100" y="94"/>
                    </a:cubicBezTo>
                    <a:cubicBezTo>
                      <a:pt x="96" y="94"/>
                      <a:pt x="96" y="94"/>
                      <a:pt x="96" y="94"/>
                    </a:cubicBezTo>
                    <a:cubicBezTo>
                      <a:pt x="93" y="97"/>
                      <a:pt x="91" y="100"/>
                      <a:pt x="87" y="100"/>
                    </a:cubicBezTo>
                    <a:cubicBezTo>
                      <a:pt x="78" y="100"/>
                      <a:pt x="78" y="92"/>
                      <a:pt x="74" y="92"/>
                    </a:cubicBezTo>
                    <a:cubicBezTo>
                      <a:pt x="73" y="92"/>
                      <a:pt x="72" y="94"/>
                      <a:pt x="72" y="96"/>
                    </a:cubicBezTo>
                    <a:cubicBezTo>
                      <a:pt x="72" y="97"/>
                      <a:pt x="76" y="103"/>
                      <a:pt x="76" y="103"/>
                    </a:cubicBezTo>
                    <a:cubicBezTo>
                      <a:pt x="75" y="103"/>
                      <a:pt x="73" y="103"/>
                      <a:pt x="72" y="103"/>
                    </a:cubicBezTo>
                    <a:cubicBezTo>
                      <a:pt x="68" y="103"/>
                      <a:pt x="63" y="110"/>
                      <a:pt x="61" y="115"/>
                    </a:cubicBezTo>
                    <a:cubicBezTo>
                      <a:pt x="57" y="114"/>
                      <a:pt x="58" y="110"/>
                      <a:pt x="55" y="1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4" name="Freeform 140"/>
              <p:cNvSpPr>
                <a:spLocks/>
              </p:cNvSpPr>
              <p:nvPr/>
            </p:nvSpPr>
            <p:spPr bwMode="auto">
              <a:xfrm>
                <a:off x="6721475" y="2054225"/>
                <a:ext cx="96838" cy="80963"/>
              </a:xfrm>
              <a:custGeom>
                <a:avLst/>
                <a:gdLst/>
                <a:ahLst/>
                <a:cxnLst>
                  <a:cxn ang="0">
                    <a:pos x="11" y="33"/>
                  </a:cxn>
                  <a:cxn ang="0">
                    <a:pos x="15" y="33"/>
                  </a:cxn>
                  <a:cxn ang="0">
                    <a:pos x="26" y="10"/>
                  </a:cxn>
                  <a:cxn ang="0">
                    <a:pos x="23" y="6"/>
                  </a:cxn>
                  <a:cxn ang="0">
                    <a:pos x="26" y="0"/>
                  </a:cxn>
                  <a:cxn ang="0">
                    <a:pos x="60" y="22"/>
                  </a:cxn>
                  <a:cxn ang="0">
                    <a:pos x="70" y="21"/>
                  </a:cxn>
                  <a:cxn ang="0">
                    <a:pos x="67" y="26"/>
                  </a:cxn>
                  <a:cxn ang="0">
                    <a:pos x="72" y="32"/>
                  </a:cxn>
                  <a:cxn ang="0">
                    <a:pos x="59" y="36"/>
                  </a:cxn>
                  <a:cxn ang="0">
                    <a:pos x="43" y="51"/>
                  </a:cxn>
                  <a:cxn ang="0">
                    <a:pos x="24" y="41"/>
                  </a:cxn>
                  <a:cxn ang="0">
                    <a:pos x="21" y="45"/>
                  </a:cxn>
                  <a:cxn ang="0">
                    <a:pos x="8" y="48"/>
                  </a:cxn>
                  <a:cxn ang="0">
                    <a:pos x="16" y="54"/>
                  </a:cxn>
                  <a:cxn ang="0">
                    <a:pos x="5" y="61"/>
                  </a:cxn>
                  <a:cxn ang="0">
                    <a:pos x="3" y="61"/>
                  </a:cxn>
                  <a:cxn ang="0">
                    <a:pos x="3" y="51"/>
                  </a:cxn>
                  <a:cxn ang="0">
                    <a:pos x="0" y="46"/>
                  </a:cxn>
                  <a:cxn ang="0">
                    <a:pos x="8" y="35"/>
                  </a:cxn>
                  <a:cxn ang="0">
                    <a:pos x="8" y="32"/>
                  </a:cxn>
                  <a:cxn ang="0">
                    <a:pos x="12" y="34"/>
                  </a:cxn>
                  <a:cxn ang="0">
                    <a:pos x="11" y="33"/>
                  </a:cxn>
                </a:cxnLst>
                <a:rect l="0" t="0" r="r" b="b"/>
                <a:pathLst>
                  <a:path w="72" h="61">
                    <a:moveTo>
                      <a:pt x="11" y="33"/>
                    </a:moveTo>
                    <a:cubicBezTo>
                      <a:pt x="12" y="33"/>
                      <a:pt x="14" y="33"/>
                      <a:pt x="15" y="33"/>
                    </a:cubicBezTo>
                    <a:cubicBezTo>
                      <a:pt x="23" y="33"/>
                      <a:pt x="26" y="16"/>
                      <a:pt x="26" y="10"/>
                    </a:cubicBezTo>
                    <a:cubicBezTo>
                      <a:pt x="26" y="8"/>
                      <a:pt x="23" y="7"/>
                      <a:pt x="23" y="6"/>
                    </a:cubicBezTo>
                    <a:cubicBezTo>
                      <a:pt x="23" y="2"/>
                      <a:pt x="25" y="1"/>
                      <a:pt x="26" y="0"/>
                    </a:cubicBezTo>
                    <a:cubicBezTo>
                      <a:pt x="38" y="8"/>
                      <a:pt x="43" y="22"/>
                      <a:pt x="60" y="22"/>
                    </a:cubicBezTo>
                    <a:cubicBezTo>
                      <a:pt x="64" y="22"/>
                      <a:pt x="67" y="19"/>
                      <a:pt x="70" y="21"/>
                    </a:cubicBezTo>
                    <a:cubicBezTo>
                      <a:pt x="69" y="23"/>
                      <a:pt x="67" y="24"/>
                      <a:pt x="67" y="26"/>
                    </a:cubicBezTo>
                    <a:cubicBezTo>
                      <a:pt x="67" y="29"/>
                      <a:pt x="71" y="32"/>
                      <a:pt x="72" y="32"/>
                    </a:cubicBezTo>
                    <a:cubicBezTo>
                      <a:pt x="68" y="35"/>
                      <a:pt x="65" y="36"/>
                      <a:pt x="59" y="36"/>
                    </a:cubicBezTo>
                    <a:cubicBezTo>
                      <a:pt x="49" y="36"/>
                      <a:pt x="46" y="46"/>
                      <a:pt x="43" y="51"/>
                    </a:cubicBezTo>
                    <a:cubicBezTo>
                      <a:pt x="36" y="47"/>
                      <a:pt x="31" y="46"/>
                      <a:pt x="24" y="41"/>
                    </a:cubicBezTo>
                    <a:cubicBezTo>
                      <a:pt x="23" y="42"/>
                      <a:pt x="21" y="43"/>
                      <a:pt x="21" y="45"/>
                    </a:cubicBezTo>
                    <a:cubicBezTo>
                      <a:pt x="15" y="45"/>
                      <a:pt x="8" y="40"/>
                      <a:pt x="8" y="48"/>
                    </a:cubicBezTo>
                    <a:cubicBezTo>
                      <a:pt x="8" y="52"/>
                      <a:pt x="14" y="52"/>
                      <a:pt x="16" y="54"/>
                    </a:cubicBezTo>
                    <a:cubicBezTo>
                      <a:pt x="12" y="59"/>
                      <a:pt x="9" y="57"/>
                      <a:pt x="5" y="61"/>
                    </a:cubicBezTo>
                    <a:cubicBezTo>
                      <a:pt x="3" y="61"/>
                      <a:pt x="3" y="61"/>
                      <a:pt x="3" y="61"/>
                    </a:cubicBezTo>
                    <a:cubicBezTo>
                      <a:pt x="3" y="58"/>
                      <a:pt x="3" y="51"/>
                      <a:pt x="3" y="51"/>
                    </a:cubicBezTo>
                    <a:cubicBezTo>
                      <a:pt x="3" y="49"/>
                      <a:pt x="0" y="48"/>
                      <a:pt x="0" y="46"/>
                    </a:cubicBezTo>
                    <a:cubicBezTo>
                      <a:pt x="0" y="41"/>
                      <a:pt x="8" y="38"/>
                      <a:pt x="8" y="35"/>
                    </a:cubicBezTo>
                    <a:cubicBezTo>
                      <a:pt x="8" y="32"/>
                      <a:pt x="8" y="32"/>
                      <a:pt x="8" y="32"/>
                    </a:cubicBezTo>
                    <a:cubicBezTo>
                      <a:pt x="9" y="32"/>
                      <a:pt x="10" y="33"/>
                      <a:pt x="12" y="34"/>
                    </a:cubicBezTo>
                    <a:lnTo>
                      <a:pt x="11"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5" name="Freeform 141"/>
              <p:cNvSpPr>
                <a:spLocks/>
              </p:cNvSpPr>
              <p:nvPr/>
            </p:nvSpPr>
            <p:spPr bwMode="auto">
              <a:xfrm>
                <a:off x="6816725" y="2073275"/>
                <a:ext cx="15875" cy="14288"/>
              </a:xfrm>
              <a:custGeom>
                <a:avLst/>
                <a:gdLst/>
                <a:ahLst/>
                <a:cxnLst>
                  <a:cxn ang="0">
                    <a:pos x="10" y="0"/>
                  </a:cxn>
                  <a:cxn ang="0">
                    <a:pos x="12" y="2"/>
                  </a:cxn>
                  <a:cxn ang="0">
                    <a:pos x="1" y="11"/>
                  </a:cxn>
                  <a:cxn ang="0">
                    <a:pos x="1" y="7"/>
                  </a:cxn>
                  <a:cxn ang="0">
                    <a:pos x="11" y="0"/>
                  </a:cxn>
                  <a:cxn ang="0">
                    <a:pos x="10" y="0"/>
                  </a:cxn>
                </a:cxnLst>
                <a:rect l="0" t="0" r="r" b="b"/>
                <a:pathLst>
                  <a:path w="12" h="11">
                    <a:moveTo>
                      <a:pt x="10" y="0"/>
                    </a:moveTo>
                    <a:cubicBezTo>
                      <a:pt x="12" y="2"/>
                      <a:pt x="12" y="2"/>
                      <a:pt x="12" y="2"/>
                    </a:cubicBezTo>
                    <a:cubicBezTo>
                      <a:pt x="10" y="4"/>
                      <a:pt x="5" y="11"/>
                      <a:pt x="1" y="11"/>
                    </a:cubicBezTo>
                    <a:cubicBezTo>
                      <a:pt x="0" y="11"/>
                      <a:pt x="0" y="8"/>
                      <a:pt x="1" y="7"/>
                    </a:cubicBezTo>
                    <a:cubicBezTo>
                      <a:pt x="3" y="4"/>
                      <a:pt x="8" y="0"/>
                      <a:pt x="11" y="0"/>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6" name="Freeform 142"/>
              <p:cNvSpPr>
                <a:spLocks/>
              </p:cNvSpPr>
              <p:nvPr/>
            </p:nvSpPr>
            <p:spPr bwMode="auto">
              <a:xfrm>
                <a:off x="6848475" y="2052638"/>
                <a:ext cx="22225" cy="15875"/>
              </a:xfrm>
              <a:custGeom>
                <a:avLst/>
                <a:gdLst/>
                <a:ahLst/>
                <a:cxnLst>
                  <a:cxn ang="0">
                    <a:pos x="17" y="3"/>
                  </a:cxn>
                  <a:cxn ang="0">
                    <a:pos x="1" y="12"/>
                  </a:cxn>
                  <a:cxn ang="0">
                    <a:pos x="1" y="10"/>
                  </a:cxn>
                  <a:cxn ang="0">
                    <a:pos x="10" y="0"/>
                  </a:cxn>
                  <a:cxn ang="0">
                    <a:pos x="17" y="0"/>
                  </a:cxn>
                  <a:cxn ang="0">
                    <a:pos x="17" y="3"/>
                  </a:cxn>
                </a:cxnLst>
                <a:rect l="0" t="0" r="r" b="b"/>
                <a:pathLst>
                  <a:path w="17" h="12">
                    <a:moveTo>
                      <a:pt x="17" y="3"/>
                    </a:moveTo>
                    <a:cubicBezTo>
                      <a:pt x="7" y="3"/>
                      <a:pt x="7" y="12"/>
                      <a:pt x="1" y="12"/>
                    </a:cubicBezTo>
                    <a:cubicBezTo>
                      <a:pt x="0" y="12"/>
                      <a:pt x="1" y="10"/>
                      <a:pt x="1" y="10"/>
                    </a:cubicBezTo>
                    <a:cubicBezTo>
                      <a:pt x="1" y="10"/>
                      <a:pt x="5" y="0"/>
                      <a:pt x="10" y="0"/>
                    </a:cubicBezTo>
                    <a:cubicBezTo>
                      <a:pt x="13" y="0"/>
                      <a:pt x="15" y="0"/>
                      <a:pt x="17" y="0"/>
                    </a:cubicBezTo>
                    <a:lnTo>
                      <a:pt x="17"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7" name="Freeform 143"/>
              <p:cNvSpPr>
                <a:spLocks/>
              </p:cNvSpPr>
              <p:nvPr/>
            </p:nvSpPr>
            <p:spPr bwMode="auto">
              <a:xfrm>
                <a:off x="6888163" y="2035175"/>
                <a:ext cx="12700" cy="11113"/>
              </a:xfrm>
              <a:custGeom>
                <a:avLst/>
                <a:gdLst/>
                <a:ahLst/>
                <a:cxnLst>
                  <a:cxn ang="0">
                    <a:pos x="1" y="6"/>
                  </a:cxn>
                  <a:cxn ang="0">
                    <a:pos x="2" y="3"/>
                  </a:cxn>
                  <a:cxn ang="0">
                    <a:pos x="9" y="0"/>
                  </a:cxn>
                  <a:cxn ang="0">
                    <a:pos x="1" y="9"/>
                  </a:cxn>
                  <a:cxn ang="0">
                    <a:pos x="1" y="6"/>
                  </a:cxn>
                </a:cxnLst>
                <a:rect l="0" t="0" r="r" b="b"/>
                <a:pathLst>
                  <a:path w="9" h="9">
                    <a:moveTo>
                      <a:pt x="1" y="6"/>
                    </a:moveTo>
                    <a:cubicBezTo>
                      <a:pt x="3" y="6"/>
                      <a:pt x="1" y="4"/>
                      <a:pt x="2" y="3"/>
                    </a:cubicBezTo>
                    <a:cubicBezTo>
                      <a:pt x="3" y="0"/>
                      <a:pt x="8" y="0"/>
                      <a:pt x="9" y="0"/>
                    </a:cubicBezTo>
                    <a:cubicBezTo>
                      <a:pt x="8" y="3"/>
                      <a:pt x="5" y="9"/>
                      <a:pt x="1" y="9"/>
                    </a:cubicBezTo>
                    <a:cubicBezTo>
                      <a:pt x="0" y="9"/>
                      <a:pt x="0" y="6"/>
                      <a:pt x="1"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8" name="Freeform 144"/>
              <p:cNvSpPr>
                <a:spLocks/>
              </p:cNvSpPr>
              <p:nvPr/>
            </p:nvSpPr>
            <p:spPr bwMode="auto">
              <a:xfrm>
                <a:off x="6753225" y="1855788"/>
                <a:ext cx="47625" cy="184150"/>
              </a:xfrm>
              <a:custGeom>
                <a:avLst/>
                <a:gdLst/>
                <a:ahLst/>
                <a:cxnLst>
                  <a:cxn ang="0">
                    <a:pos x="26" y="84"/>
                  </a:cxn>
                  <a:cxn ang="0">
                    <a:pos x="13" y="109"/>
                  </a:cxn>
                  <a:cxn ang="0">
                    <a:pos x="26" y="132"/>
                  </a:cxn>
                  <a:cxn ang="0">
                    <a:pos x="25" y="132"/>
                  </a:cxn>
                  <a:cxn ang="0">
                    <a:pos x="20" y="128"/>
                  </a:cxn>
                  <a:cxn ang="0">
                    <a:pos x="16" y="128"/>
                  </a:cxn>
                  <a:cxn ang="0">
                    <a:pos x="5" y="138"/>
                  </a:cxn>
                  <a:cxn ang="0">
                    <a:pos x="5" y="125"/>
                  </a:cxn>
                  <a:cxn ang="0">
                    <a:pos x="7" y="105"/>
                  </a:cxn>
                  <a:cxn ang="0">
                    <a:pos x="4" y="93"/>
                  </a:cxn>
                  <a:cxn ang="0">
                    <a:pos x="7" y="79"/>
                  </a:cxn>
                  <a:cxn ang="0">
                    <a:pos x="7" y="53"/>
                  </a:cxn>
                  <a:cxn ang="0">
                    <a:pos x="0" y="37"/>
                  </a:cxn>
                  <a:cxn ang="0">
                    <a:pos x="9" y="15"/>
                  </a:cxn>
                  <a:cxn ang="0">
                    <a:pos x="11" y="9"/>
                  </a:cxn>
                  <a:cxn ang="0">
                    <a:pos x="11" y="0"/>
                  </a:cxn>
                  <a:cxn ang="0">
                    <a:pos x="14" y="0"/>
                  </a:cxn>
                  <a:cxn ang="0">
                    <a:pos x="19" y="20"/>
                  </a:cxn>
                  <a:cxn ang="0">
                    <a:pos x="21" y="37"/>
                  </a:cxn>
                  <a:cxn ang="0">
                    <a:pos x="21" y="47"/>
                  </a:cxn>
                  <a:cxn ang="0">
                    <a:pos x="24" y="59"/>
                  </a:cxn>
                  <a:cxn ang="0">
                    <a:pos x="36" y="90"/>
                  </a:cxn>
                  <a:cxn ang="0">
                    <a:pos x="26" y="84"/>
                  </a:cxn>
                </a:cxnLst>
                <a:rect l="0" t="0" r="r" b="b"/>
                <a:pathLst>
                  <a:path w="36" h="138">
                    <a:moveTo>
                      <a:pt x="26" y="84"/>
                    </a:moveTo>
                    <a:cubicBezTo>
                      <a:pt x="15" y="84"/>
                      <a:pt x="13" y="98"/>
                      <a:pt x="13" y="109"/>
                    </a:cubicBezTo>
                    <a:cubicBezTo>
                      <a:pt x="13" y="120"/>
                      <a:pt x="22" y="124"/>
                      <a:pt x="26" y="132"/>
                    </a:cubicBezTo>
                    <a:cubicBezTo>
                      <a:pt x="26" y="132"/>
                      <a:pt x="25" y="132"/>
                      <a:pt x="25" y="132"/>
                    </a:cubicBezTo>
                    <a:cubicBezTo>
                      <a:pt x="23" y="133"/>
                      <a:pt x="21" y="130"/>
                      <a:pt x="20" y="128"/>
                    </a:cubicBezTo>
                    <a:cubicBezTo>
                      <a:pt x="19" y="128"/>
                      <a:pt x="17" y="128"/>
                      <a:pt x="16" y="128"/>
                    </a:cubicBezTo>
                    <a:cubicBezTo>
                      <a:pt x="11" y="128"/>
                      <a:pt x="11" y="138"/>
                      <a:pt x="5" y="138"/>
                    </a:cubicBezTo>
                    <a:cubicBezTo>
                      <a:pt x="4" y="138"/>
                      <a:pt x="5" y="127"/>
                      <a:pt x="5" y="125"/>
                    </a:cubicBezTo>
                    <a:cubicBezTo>
                      <a:pt x="5" y="117"/>
                      <a:pt x="7" y="112"/>
                      <a:pt x="7" y="105"/>
                    </a:cubicBezTo>
                    <a:cubicBezTo>
                      <a:pt x="7" y="99"/>
                      <a:pt x="4" y="98"/>
                      <a:pt x="4" y="93"/>
                    </a:cubicBezTo>
                    <a:cubicBezTo>
                      <a:pt x="4" y="86"/>
                      <a:pt x="7" y="84"/>
                      <a:pt x="7" y="79"/>
                    </a:cubicBezTo>
                    <a:cubicBezTo>
                      <a:pt x="7" y="68"/>
                      <a:pt x="7" y="64"/>
                      <a:pt x="7" y="53"/>
                    </a:cubicBezTo>
                    <a:cubicBezTo>
                      <a:pt x="7" y="46"/>
                      <a:pt x="0" y="44"/>
                      <a:pt x="0" y="37"/>
                    </a:cubicBezTo>
                    <a:cubicBezTo>
                      <a:pt x="0" y="28"/>
                      <a:pt x="3" y="16"/>
                      <a:pt x="9" y="15"/>
                    </a:cubicBezTo>
                    <a:cubicBezTo>
                      <a:pt x="9" y="12"/>
                      <a:pt x="11" y="11"/>
                      <a:pt x="11" y="9"/>
                    </a:cubicBezTo>
                    <a:cubicBezTo>
                      <a:pt x="11" y="4"/>
                      <a:pt x="11" y="3"/>
                      <a:pt x="11" y="0"/>
                    </a:cubicBezTo>
                    <a:cubicBezTo>
                      <a:pt x="12" y="0"/>
                      <a:pt x="13" y="0"/>
                      <a:pt x="14" y="0"/>
                    </a:cubicBezTo>
                    <a:cubicBezTo>
                      <a:pt x="14" y="8"/>
                      <a:pt x="18" y="14"/>
                      <a:pt x="19" y="20"/>
                    </a:cubicBezTo>
                    <a:cubicBezTo>
                      <a:pt x="21" y="26"/>
                      <a:pt x="18" y="30"/>
                      <a:pt x="21" y="37"/>
                    </a:cubicBezTo>
                    <a:cubicBezTo>
                      <a:pt x="21" y="47"/>
                      <a:pt x="21" y="47"/>
                      <a:pt x="21" y="47"/>
                    </a:cubicBezTo>
                    <a:cubicBezTo>
                      <a:pt x="20" y="52"/>
                      <a:pt x="23" y="57"/>
                      <a:pt x="24" y="59"/>
                    </a:cubicBezTo>
                    <a:cubicBezTo>
                      <a:pt x="27" y="70"/>
                      <a:pt x="33" y="79"/>
                      <a:pt x="36" y="90"/>
                    </a:cubicBezTo>
                    <a:cubicBezTo>
                      <a:pt x="34" y="86"/>
                      <a:pt x="30" y="84"/>
                      <a:pt x="26" y="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59" name="Freeform 145"/>
              <p:cNvSpPr>
                <a:spLocks/>
              </p:cNvSpPr>
              <p:nvPr/>
            </p:nvSpPr>
            <p:spPr bwMode="auto">
              <a:xfrm>
                <a:off x="5241925" y="1219200"/>
                <a:ext cx="292100" cy="214313"/>
              </a:xfrm>
              <a:custGeom>
                <a:avLst/>
                <a:gdLst/>
                <a:ahLst/>
                <a:cxnLst>
                  <a:cxn ang="0">
                    <a:pos x="76" y="161"/>
                  </a:cxn>
                  <a:cxn ang="0">
                    <a:pos x="50" y="131"/>
                  </a:cxn>
                  <a:cxn ang="0">
                    <a:pos x="103" y="67"/>
                  </a:cxn>
                  <a:cxn ang="0">
                    <a:pos x="125" y="55"/>
                  </a:cxn>
                  <a:cxn ang="0">
                    <a:pos x="134" y="45"/>
                  </a:cxn>
                  <a:cxn ang="0">
                    <a:pos x="175" y="34"/>
                  </a:cxn>
                  <a:cxn ang="0">
                    <a:pos x="220" y="11"/>
                  </a:cxn>
                  <a:cxn ang="0">
                    <a:pos x="203" y="0"/>
                  </a:cxn>
                  <a:cxn ang="0">
                    <a:pos x="136" y="25"/>
                  </a:cxn>
                  <a:cxn ang="0">
                    <a:pos x="123" y="19"/>
                  </a:cxn>
                  <a:cxn ang="0">
                    <a:pos x="109" y="25"/>
                  </a:cxn>
                  <a:cxn ang="0">
                    <a:pos x="69" y="46"/>
                  </a:cxn>
                  <a:cxn ang="0">
                    <a:pos x="52" y="49"/>
                  </a:cxn>
                  <a:cxn ang="0">
                    <a:pos x="47" y="53"/>
                  </a:cxn>
                  <a:cxn ang="0">
                    <a:pos x="50" y="61"/>
                  </a:cxn>
                  <a:cxn ang="0">
                    <a:pos x="27" y="88"/>
                  </a:cxn>
                  <a:cxn ang="0">
                    <a:pos x="34" y="98"/>
                  </a:cxn>
                  <a:cxn ang="0">
                    <a:pos x="13" y="110"/>
                  </a:cxn>
                  <a:cxn ang="0">
                    <a:pos x="13" y="117"/>
                  </a:cxn>
                  <a:cxn ang="0">
                    <a:pos x="0" y="134"/>
                  </a:cxn>
                  <a:cxn ang="0">
                    <a:pos x="8" y="143"/>
                  </a:cxn>
                  <a:cxn ang="0">
                    <a:pos x="21" y="143"/>
                  </a:cxn>
                  <a:cxn ang="0">
                    <a:pos x="27" y="158"/>
                  </a:cxn>
                  <a:cxn ang="0">
                    <a:pos x="39" y="158"/>
                  </a:cxn>
                  <a:cxn ang="0">
                    <a:pos x="42" y="161"/>
                  </a:cxn>
                  <a:cxn ang="0">
                    <a:pos x="76" y="161"/>
                  </a:cxn>
                  <a:cxn ang="0">
                    <a:pos x="72" y="156"/>
                  </a:cxn>
                  <a:cxn ang="0">
                    <a:pos x="76" y="161"/>
                  </a:cxn>
                </a:cxnLst>
                <a:rect l="0" t="0" r="r" b="b"/>
                <a:pathLst>
                  <a:path w="220" h="161">
                    <a:moveTo>
                      <a:pt x="76" y="161"/>
                    </a:moveTo>
                    <a:cubicBezTo>
                      <a:pt x="66" y="151"/>
                      <a:pt x="50" y="147"/>
                      <a:pt x="50" y="131"/>
                    </a:cubicBezTo>
                    <a:cubicBezTo>
                      <a:pt x="50" y="102"/>
                      <a:pt x="81" y="73"/>
                      <a:pt x="103" y="67"/>
                    </a:cubicBezTo>
                    <a:cubicBezTo>
                      <a:pt x="111" y="64"/>
                      <a:pt x="113" y="55"/>
                      <a:pt x="125" y="55"/>
                    </a:cubicBezTo>
                    <a:cubicBezTo>
                      <a:pt x="130" y="55"/>
                      <a:pt x="132" y="46"/>
                      <a:pt x="134" y="45"/>
                    </a:cubicBezTo>
                    <a:cubicBezTo>
                      <a:pt x="149" y="38"/>
                      <a:pt x="160" y="41"/>
                      <a:pt x="175" y="34"/>
                    </a:cubicBezTo>
                    <a:cubicBezTo>
                      <a:pt x="186" y="28"/>
                      <a:pt x="220" y="26"/>
                      <a:pt x="220" y="11"/>
                    </a:cubicBezTo>
                    <a:cubicBezTo>
                      <a:pt x="220" y="6"/>
                      <a:pt x="208" y="0"/>
                      <a:pt x="203" y="0"/>
                    </a:cubicBezTo>
                    <a:cubicBezTo>
                      <a:pt x="181" y="0"/>
                      <a:pt x="160" y="25"/>
                      <a:pt x="136" y="25"/>
                    </a:cubicBezTo>
                    <a:cubicBezTo>
                      <a:pt x="131" y="25"/>
                      <a:pt x="128" y="19"/>
                      <a:pt x="123" y="19"/>
                    </a:cubicBezTo>
                    <a:cubicBezTo>
                      <a:pt x="115" y="19"/>
                      <a:pt x="115" y="25"/>
                      <a:pt x="109" y="25"/>
                    </a:cubicBezTo>
                    <a:cubicBezTo>
                      <a:pt x="93" y="25"/>
                      <a:pt x="80" y="46"/>
                      <a:pt x="69" y="46"/>
                    </a:cubicBezTo>
                    <a:cubicBezTo>
                      <a:pt x="63" y="46"/>
                      <a:pt x="58" y="49"/>
                      <a:pt x="52" y="49"/>
                    </a:cubicBezTo>
                    <a:cubicBezTo>
                      <a:pt x="49" y="49"/>
                      <a:pt x="47" y="52"/>
                      <a:pt x="47" y="53"/>
                    </a:cubicBezTo>
                    <a:cubicBezTo>
                      <a:pt x="47" y="56"/>
                      <a:pt x="50" y="58"/>
                      <a:pt x="50" y="61"/>
                    </a:cubicBezTo>
                    <a:cubicBezTo>
                      <a:pt x="50" y="74"/>
                      <a:pt x="27" y="80"/>
                      <a:pt x="27" y="88"/>
                    </a:cubicBezTo>
                    <a:cubicBezTo>
                      <a:pt x="27" y="91"/>
                      <a:pt x="34" y="92"/>
                      <a:pt x="34" y="98"/>
                    </a:cubicBezTo>
                    <a:cubicBezTo>
                      <a:pt x="27" y="99"/>
                      <a:pt x="13" y="102"/>
                      <a:pt x="13" y="110"/>
                    </a:cubicBezTo>
                    <a:cubicBezTo>
                      <a:pt x="13" y="115"/>
                      <a:pt x="13" y="117"/>
                      <a:pt x="13" y="117"/>
                    </a:cubicBezTo>
                    <a:cubicBezTo>
                      <a:pt x="13" y="124"/>
                      <a:pt x="0" y="124"/>
                      <a:pt x="0" y="134"/>
                    </a:cubicBezTo>
                    <a:cubicBezTo>
                      <a:pt x="0" y="139"/>
                      <a:pt x="8" y="143"/>
                      <a:pt x="8" y="143"/>
                    </a:cubicBezTo>
                    <a:cubicBezTo>
                      <a:pt x="8" y="143"/>
                      <a:pt x="20" y="143"/>
                      <a:pt x="21" y="143"/>
                    </a:cubicBezTo>
                    <a:cubicBezTo>
                      <a:pt x="28" y="145"/>
                      <a:pt x="24" y="152"/>
                      <a:pt x="27" y="158"/>
                    </a:cubicBezTo>
                    <a:cubicBezTo>
                      <a:pt x="28" y="161"/>
                      <a:pt x="35" y="158"/>
                      <a:pt x="39" y="158"/>
                    </a:cubicBezTo>
                    <a:cubicBezTo>
                      <a:pt x="40" y="158"/>
                      <a:pt x="41" y="161"/>
                      <a:pt x="42" y="161"/>
                    </a:cubicBezTo>
                    <a:cubicBezTo>
                      <a:pt x="76" y="161"/>
                      <a:pt x="76" y="161"/>
                      <a:pt x="76" y="161"/>
                    </a:cubicBezTo>
                    <a:cubicBezTo>
                      <a:pt x="75" y="159"/>
                      <a:pt x="73" y="157"/>
                      <a:pt x="72" y="156"/>
                    </a:cubicBezTo>
                    <a:lnTo>
                      <a:pt x="76"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0" name="Freeform 146"/>
              <p:cNvSpPr>
                <a:spLocks/>
              </p:cNvSpPr>
              <p:nvPr/>
            </p:nvSpPr>
            <p:spPr bwMode="auto">
              <a:xfrm>
                <a:off x="4713288" y="1196975"/>
                <a:ext cx="2847975" cy="1058863"/>
              </a:xfrm>
              <a:custGeom>
                <a:avLst/>
                <a:gdLst/>
                <a:ahLst/>
                <a:cxnLst>
                  <a:cxn ang="0">
                    <a:pos x="1515" y="585"/>
                  </a:cxn>
                  <a:cxn ang="0">
                    <a:pos x="1460" y="485"/>
                  </a:cxn>
                  <a:cxn ang="0">
                    <a:pos x="1665" y="408"/>
                  </a:cxn>
                  <a:cxn ang="0">
                    <a:pos x="1804" y="346"/>
                  </a:cxn>
                  <a:cxn ang="0">
                    <a:pos x="1709" y="465"/>
                  </a:cxn>
                  <a:cxn ang="0">
                    <a:pos x="1793" y="452"/>
                  </a:cxn>
                  <a:cxn ang="0">
                    <a:pos x="1989" y="313"/>
                  </a:cxn>
                  <a:cxn ang="0">
                    <a:pos x="2112" y="287"/>
                  </a:cxn>
                  <a:cxn ang="0">
                    <a:pos x="1892" y="194"/>
                  </a:cxn>
                  <a:cxn ang="0">
                    <a:pos x="1660" y="159"/>
                  </a:cxn>
                  <a:cxn ang="0">
                    <a:pos x="1435" y="157"/>
                  </a:cxn>
                  <a:cxn ang="0">
                    <a:pos x="1314" y="97"/>
                  </a:cxn>
                  <a:cxn ang="0">
                    <a:pos x="1102" y="104"/>
                  </a:cxn>
                  <a:cxn ang="0">
                    <a:pos x="1016" y="27"/>
                  </a:cxn>
                  <a:cxn ang="0">
                    <a:pos x="758" y="117"/>
                  </a:cxn>
                  <a:cxn ang="0">
                    <a:pos x="668" y="148"/>
                  </a:cxn>
                  <a:cxn ang="0">
                    <a:pos x="644" y="121"/>
                  </a:cxn>
                  <a:cxn ang="0">
                    <a:pos x="511" y="207"/>
                  </a:cxn>
                  <a:cxn ang="0">
                    <a:pos x="322" y="247"/>
                  </a:cxn>
                  <a:cxn ang="0">
                    <a:pos x="214" y="296"/>
                  </a:cxn>
                  <a:cxn ang="0">
                    <a:pos x="229" y="227"/>
                  </a:cxn>
                  <a:cxn ang="0">
                    <a:pos x="127" y="236"/>
                  </a:cxn>
                  <a:cxn ang="0">
                    <a:pos x="136" y="312"/>
                  </a:cxn>
                  <a:cxn ang="0">
                    <a:pos x="117" y="395"/>
                  </a:cxn>
                  <a:cxn ang="0">
                    <a:pos x="50" y="446"/>
                  </a:cxn>
                  <a:cxn ang="0">
                    <a:pos x="16" y="495"/>
                  </a:cxn>
                  <a:cxn ang="0">
                    <a:pos x="54" y="558"/>
                  </a:cxn>
                  <a:cxn ang="0">
                    <a:pos x="88" y="597"/>
                  </a:cxn>
                  <a:cxn ang="0">
                    <a:pos x="112" y="644"/>
                  </a:cxn>
                  <a:cxn ang="0">
                    <a:pos x="208" y="647"/>
                  </a:cxn>
                  <a:cxn ang="0">
                    <a:pos x="225" y="626"/>
                  </a:cxn>
                  <a:cxn ang="0">
                    <a:pos x="284" y="701"/>
                  </a:cxn>
                  <a:cxn ang="0">
                    <a:pos x="350" y="732"/>
                  </a:cxn>
                  <a:cxn ang="0">
                    <a:pos x="366" y="742"/>
                  </a:cxn>
                  <a:cxn ang="0">
                    <a:pos x="349" y="634"/>
                  </a:cxn>
                  <a:cxn ang="0">
                    <a:pos x="412" y="645"/>
                  </a:cxn>
                  <a:cxn ang="0">
                    <a:pos x="427" y="700"/>
                  </a:cxn>
                  <a:cxn ang="0">
                    <a:pos x="428" y="746"/>
                  </a:cxn>
                  <a:cxn ang="0">
                    <a:pos x="447" y="755"/>
                  </a:cxn>
                  <a:cxn ang="0">
                    <a:pos x="522" y="777"/>
                  </a:cxn>
                  <a:cxn ang="0">
                    <a:pos x="559" y="781"/>
                  </a:cxn>
                  <a:cxn ang="0">
                    <a:pos x="608" y="770"/>
                  </a:cxn>
                  <a:cxn ang="0">
                    <a:pos x="654" y="772"/>
                  </a:cxn>
                  <a:cxn ang="0">
                    <a:pos x="677" y="748"/>
                  </a:cxn>
                  <a:cxn ang="0">
                    <a:pos x="829" y="593"/>
                  </a:cxn>
                  <a:cxn ang="0">
                    <a:pos x="994" y="534"/>
                  </a:cxn>
                  <a:cxn ang="0">
                    <a:pos x="1224" y="569"/>
                  </a:cxn>
                  <a:cxn ang="0">
                    <a:pos x="1411" y="607"/>
                  </a:cxn>
                  <a:cxn ang="0">
                    <a:pos x="1400" y="655"/>
                  </a:cxn>
                </a:cxnLst>
                <a:rect l="0" t="0" r="r" b="b"/>
                <a:pathLst>
                  <a:path w="2139" h="795">
                    <a:moveTo>
                      <a:pt x="1398" y="684"/>
                    </a:moveTo>
                    <a:cubicBezTo>
                      <a:pt x="1398" y="684"/>
                      <a:pt x="1415" y="688"/>
                      <a:pt x="1429" y="688"/>
                    </a:cubicBezTo>
                    <a:cubicBezTo>
                      <a:pt x="1454" y="688"/>
                      <a:pt x="1478" y="635"/>
                      <a:pt x="1495" y="618"/>
                    </a:cubicBezTo>
                    <a:cubicBezTo>
                      <a:pt x="1502" y="610"/>
                      <a:pt x="1512" y="596"/>
                      <a:pt x="1515" y="585"/>
                    </a:cubicBezTo>
                    <a:cubicBezTo>
                      <a:pt x="1518" y="572"/>
                      <a:pt x="1513" y="564"/>
                      <a:pt x="1520" y="551"/>
                    </a:cubicBezTo>
                    <a:cubicBezTo>
                      <a:pt x="1522" y="547"/>
                      <a:pt x="1527" y="537"/>
                      <a:pt x="1527" y="527"/>
                    </a:cubicBezTo>
                    <a:cubicBezTo>
                      <a:pt x="1527" y="515"/>
                      <a:pt x="1508" y="492"/>
                      <a:pt x="1499" y="499"/>
                    </a:cubicBezTo>
                    <a:cubicBezTo>
                      <a:pt x="1473" y="518"/>
                      <a:pt x="1460" y="488"/>
                      <a:pt x="1460" y="485"/>
                    </a:cubicBezTo>
                    <a:cubicBezTo>
                      <a:pt x="1460" y="473"/>
                      <a:pt x="1483" y="459"/>
                      <a:pt x="1493" y="450"/>
                    </a:cubicBezTo>
                    <a:cubicBezTo>
                      <a:pt x="1506" y="436"/>
                      <a:pt x="1524" y="413"/>
                      <a:pt x="1543" y="408"/>
                    </a:cubicBezTo>
                    <a:cubicBezTo>
                      <a:pt x="1560" y="404"/>
                      <a:pt x="1613" y="399"/>
                      <a:pt x="1627" y="399"/>
                    </a:cubicBezTo>
                    <a:cubicBezTo>
                      <a:pt x="1645" y="399"/>
                      <a:pt x="1654" y="408"/>
                      <a:pt x="1665" y="408"/>
                    </a:cubicBezTo>
                    <a:cubicBezTo>
                      <a:pt x="1671" y="408"/>
                      <a:pt x="1675" y="408"/>
                      <a:pt x="1689" y="408"/>
                    </a:cubicBezTo>
                    <a:cubicBezTo>
                      <a:pt x="1696" y="379"/>
                      <a:pt x="1709" y="362"/>
                      <a:pt x="1740" y="362"/>
                    </a:cubicBezTo>
                    <a:cubicBezTo>
                      <a:pt x="1748" y="362"/>
                      <a:pt x="1751" y="360"/>
                      <a:pt x="1766" y="362"/>
                    </a:cubicBezTo>
                    <a:cubicBezTo>
                      <a:pt x="1759" y="368"/>
                      <a:pt x="1756" y="406"/>
                      <a:pt x="1804" y="346"/>
                    </a:cubicBezTo>
                    <a:cubicBezTo>
                      <a:pt x="1809" y="346"/>
                      <a:pt x="1832" y="355"/>
                      <a:pt x="1797" y="377"/>
                    </a:cubicBezTo>
                    <a:cubicBezTo>
                      <a:pt x="1785" y="385"/>
                      <a:pt x="1774" y="381"/>
                      <a:pt x="1766" y="393"/>
                    </a:cubicBezTo>
                    <a:cubicBezTo>
                      <a:pt x="1757" y="406"/>
                      <a:pt x="1749" y="423"/>
                      <a:pt x="1735" y="430"/>
                    </a:cubicBezTo>
                    <a:cubicBezTo>
                      <a:pt x="1724" y="436"/>
                      <a:pt x="1709" y="447"/>
                      <a:pt x="1709" y="465"/>
                    </a:cubicBezTo>
                    <a:cubicBezTo>
                      <a:pt x="1709" y="482"/>
                      <a:pt x="1714" y="535"/>
                      <a:pt x="1726" y="545"/>
                    </a:cubicBezTo>
                    <a:cubicBezTo>
                      <a:pt x="1735" y="532"/>
                      <a:pt x="1741" y="507"/>
                      <a:pt x="1760" y="503"/>
                    </a:cubicBezTo>
                    <a:cubicBezTo>
                      <a:pt x="1757" y="491"/>
                      <a:pt x="1777" y="488"/>
                      <a:pt x="1777" y="479"/>
                    </a:cubicBezTo>
                    <a:cubicBezTo>
                      <a:pt x="1777" y="464"/>
                      <a:pt x="1793" y="460"/>
                      <a:pt x="1793" y="452"/>
                    </a:cubicBezTo>
                    <a:cubicBezTo>
                      <a:pt x="1793" y="447"/>
                      <a:pt x="1788" y="442"/>
                      <a:pt x="1793" y="432"/>
                    </a:cubicBezTo>
                    <a:cubicBezTo>
                      <a:pt x="1828" y="356"/>
                      <a:pt x="1861" y="397"/>
                      <a:pt x="1874" y="397"/>
                    </a:cubicBezTo>
                    <a:cubicBezTo>
                      <a:pt x="1914" y="397"/>
                      <a:pt x="1941" y="347"/>
                      <a:pt x="1976" y="346"/>
                    </a:cubicBezTo>
                    <a:cubicBezTo>
                      <a:pt x="2041" y="345"/>
                      <a:pt x="1989" y="320"/>
                      <a:pt x="1989" y="313"/>
                    </a:cubicBezTo>
                    <a:cubicBezTo>
                      <a:pt x="1989" y="294"/>
                      <a:pt x="2015" y="297"/>
                      <a:pt x="2020" y="287"/>
                    </a:cubicBezTo>
                    <a:cubicBezTo>
                      <a:pt x="2022" y="282"/>
                      <a:pt x="2018" y="271"/>
                      <a:pt x="2026" y="271"/>
                    </a:cubicBezTo>
                    <a:cubicBezTo>
                      <a:pt x="2054" y="271"/>
                      <a:pt x="2077" y="309"/>
                      <a:pt x="2097" y="309"/>
                    </a:cubicBezTo>
                    <a:cubicBezTo>
                      <a:pt x="2106" y="309"/>
                      <a:pt x="2108" y="293"/>
                      <a:pt x="2112" y="287"/>
                    </a:cubicBezTo>
                    <a:cubicBezTo>
                      <a:pt x="2120" y="278"/>
                      <a:pt x="2127" y="279"/>
                      <a:pt x="2139" y="275"/>
                    </a:cubicBezTo>
                    <a:cubicBezTo>
                      <a:pt x="2123" y="254"/>
                      <a:pt x="2071" y="242"/>
                      <a:pt x="2046" y="227"/>
                    </a:cubicBezTo>
                    <a:cubicBezTo>
                      <a:pt x="2011" y="207"/>
                      <a:pt x="1965" y="185"/>
                      <a:pt x="1914" y="185"/>
                    </a:cubicBezTo>
                    <a:cubicBezTo>
                      <a:pt x="1900" y="185"/>
                      <a:pt x="1890" y="188"/>
                      <a:pt x="1892" y="194"/>
                    </a:cubicBezTo>
                    <a:cubicBezTo>
                      <a:pt x="1906" y="237"/>
                      <a:pt x="1872" y="194"/>
                      <a:pt x="1863" y="194"/>
                    </a:cubicBezTo>
                    <a:cubicBezTo>
                      <a:pt x="1762" y="192"/>
                      <a:pt x="1762" y="192"/>
                      <a:pt x="1762" y="192"/>
                    </a:cubicBezTo>
                    <a:cubicBezTo>
                      <a:pt x="1756" y="169"/>
                      <a:pt x="1741" y="161"/>
                      <a:pt x="1711" y="161"/>
                    </a:cubicBezTo>
                    <a:cubicBezTo>
                      <a:pt x="1695" y="161"/>
                      <a:pt x="1670" y="167"/>
                      <a:pt x="1660" y="159"/>
                    </a:cubicBezTo>
                    <a:cubicBezTo>
                      <a:pt x="1652" y="151"/>
                      <a:pt x="1651" y="141"/>
                      <a:pt x="1638" y="137"/>
                    </a:cubicBezTo>
                    <a:cubicBezTo>
                      <a:pt x="1611" y="128"/>
                      <a:pt x="1582" y="121"/>
                      <a:pt x="1548" y="121"/>
                    </a:cubicBezTo>
                    <a:cubicBezTo>
                      <a:pt x="1513" y="121"/>
                      <a:pt x="1509" y="140"/>
                      <a:pt x="1506" y="157"/>
                    </a:cubicBezTo>
                    <a:cubicBezTo>
                      <a:pt x="1473" y="157"/>
                      <a:pt x="1457" y="157"/>
                      <a:pt x="1435" y="157"/>
                    </a:cubicBezTo>
                    <a:cubicBezTo>
                      <a:pt x="1423" y="157"/>
                      <a:pt x="1421" y="147"/>
                      <a:pt x="1407" y="146"/>
                    </a:cubicBezTo>
                    <a:cubicBezTo>
                      <a:pt x="1405" y="152"/>
                      <a:pt x="1403" y="166"/>
                      <a:pt x="1396" y="166"/>
                    </a:cubicBezTo>
                    <a:cubicBezTo>
                      <a:pt x="1377" y="166"/>
                      <a:pt x="1369" y="143"/>
                      <a:pt x="1369" y="130"/>
                    </a:cubicBezTo>
                    <a:cubicBezTo>
                      <a:pt x="1369" y="127"/>
                      <a:pt x="1405" y="105"/>
                      <a:pt x="1314" y="97"/>
                    </a:cubicBezTo>
                    <a:cubicBezTo>
                      <a:pt x="1303" y="96"/>
                      <a:pt x="1296" y="101"/>
                      <a:pt x="1296" y="115"/>
                    </a:cubicBezTo>
                    <a:cubicBezTo>
                      <a:pt x="1248" y="115"/>
                      <a:pt x="1248" y="115"/>
                      <a:pt x="1248" y="115"/>
                    </a:cubicBezTo>
                    <a:cubicBezTo>
                      <a:pt x="1233" y="111"/>
                      <a:pt x="1157" y="102"/>
                      <a:pt x="1147" y="86"/>
                    </a:cubicBezTo>
                    <a:cubicBezTo>
                      <a:pt x="1089" y="133"/>
                      <a:pt x="1102" y="104"/>
                      <a:pt x="1102" y="104"/>
                    </a:cubicBezTo>
                    <a:cubicBezTo>
                      <a:pt x="1116" y="87"/>
                      <a:pt x="1249" y="51"/>
                      <a:pt x="1140" y="24"/>
                    </a:cubicBezTo>
                    <a:cubicBezTo>
                      <a:pt x="1094" y="24"/>
                      <a:pt x="1094" y="24"/>
                      <a:pt x="1094" y="24"/>
                    </a:cubicBezTo>
                    <a:cubicBezTo>
                      <a:pt x="1089" y="12"/>
                      <a:pt x="1079" y="0"/>
                      <a:pt x="1060" y="0"/>
                    </a:cubicBezTo>
                    <a:cubicBezTo>
                      <a:pt x="1038" y="0"/>
                      <a:pt x="1028" y="17"/>
                      <a:pt x="1016" y="27"/>
                    </a:cubicBezTo>
                    <a:cubicBezTo>
                      <a:pt x="1008" y="33"/>
                      <a:pt x="951" y="56"/>
                      <a:pt x="956" y="35"/>
                    </a:cubicBezTo>
                    <a:cubicBezTo>
                      <a:pt x="941" y="40"/>
                      <a:pt x="879" y="44"/>
                      <a:pt x="847" y="73"/>
                    </a:cubicBezTo>
                    <a:cubicBezTo>
                      <a:pt x="840" y="79"/>
                      <a:pt x="838" y="97"/>
                      <a:pt x="828" y="97"/>
                    </a:cubicBezTo>
                    <a:cubicBezTo>
                      <a:pt x="813" y="97"/>
                      <a:pt x="758" y="92"/>
                      <a:pt x="758" y="117"/>
                    </a:cubicBezTo>
                    <a:cubicBezTo>
                      <a:pt x="758" y="122"/>
                      <a:pt x="763" y="128"/>
                      <a:pt x="765" y="135"/>
                    </a:cubicBezTo>
                    <a:cubicBezTo>
                      <a:pt x="755" y="141"/>
                      <a:pt x="752" y="135"/>
                      <a:pt x="721" y="135"/>
                    </a:cubicBezTo>
                    <a:cubicBezTo>
                      <a:pt x="695" y="170"/>
                      <a:pt x="697" y="129"/>
                      <a:pt x="691" y="121"/>
                    </a:cubicBezTo>
                    <a:cubicBezTo>
                      <a:pt x="689" y="136"/>
                      <a:pt x="679" y="142"/>
                      <a:pt x="668" y="148"/>
                    </a:cubicBezTo>
                    <a:cubicBezTo>
                      <a:pt x="671" y="160"/>
                      <a:pt x="690" y="173"/>
                      <a:pt x="677" y="188"/>
                    </a:cubicBezTo>
                    <a:cubicBezTo>
                      <a:pt x="667" y="198"/>
                      <a:pt x="695" y="230"/>
                      <a:pt x="680" y="230"/>
                    </a:cubicBezTo>
                    <a:cubicBezTo>
                      <a:pt x="662" y="230"/>
                      <a:pt x="657" y="164"/>
                      <a:pt x="657" y="150"/>
                    </a:cubicBezTo>
                    <a:cubicBezTo>
                      <a:pt x="657" y="135"/>
                      <a:pt x="681" y="129"/>
                      <a:pt x="644" y="121"/>
                    </a:cubicBezTo>
                    <a:cubicBezTo>
                      <a:pt x="625" y="118"/>
                      <a:pt x="589" y="149"/>
                      <a:pt x="589" y="166"/>
                    </a:cubicBezTo>
                    <a:cubicBezTo>
                      <a:pt x="589" y="186"/>
                      <a:pt x="598" y="199"/>
                      <a:pt x="608" y="210"/>
                    </a:cubicBezTo>
                    <a:cubicBezTo>
                      <a:pt x="633" y="248"/>
                      <a:pt x="574" y="205"/>
                      <a:pt x="552" y="200"/>
                    </a:cubicBezTo>
                    <a:cubicBezTo>
                      <a:pt x="492" y="184"/>
                      <a:pt x="512" y="204"/>
                      <a:pt x="511" y="207"/>
                    </a:cubicBezTo>
                    <a:cubicBezTo>
                      <a:pt x="509" y="241"/>
                      <a:pt x="495" y="214"/>
                      <a:pt x="487" y="214"/>
                    </a:cubicBezTo>
                    <a:cubicBezTo>
                      <a:pt x="473" y="214"/>
                      <a:pt x="445" y="233"/>
                      <a:pt x="425" y="223"/>
                    </a:cubicBezTo>
                    <a:cubicBezTo>
                      <a:pt x="415" y="197"/>
                      <a:pt x="349" y="256"/>
                      <a:pt x="333" y="256"/>
                    </a:cubicBezTo>
                    <a:cubicBezTo>
                      <a:pt x="327" y="256"/>
                      <a:pt x="320" y="252"/>
                      <a:pt x="322" y="247"/>
                    </a:cubicBezTo>
                    <a:cubicBezTo>
                      <a:pt x="329" y="229"/>
                      <a:pt x="319" y="191"/>
                      <a:pt x="300" y="249"/>
                    </a:cubicBezTo>
                    <a:cubicBezTo>
                      <a:pt x="298" y="253"/>
                      <a:pt x="306" y="255"/>
                      <a:pt x="306" y="263"/>
                    </a:cubicBezTo>
                    <a:cubicBezTo>
                      <a:pt x="306" y="278"/>
                      <a:pt x="283" y="267"/>
                      <a:pt x="271" y="271"/>
                    </a:cubicBezTo>
                    <a:cubicBezTo>
                      <a:pt x="259" y="275"/>
                      <a:pt x="265" y="318"/>
                      <a:pt x="214" y="296"/>
                    </a:cubicBezTo>
                    <a:cubicBezTo>
                      <a:pt x="214" y="313"/>
                      <a:pt x="214" y="313"/>
                      <a:pt x="214" y="313"/>
                    </a:cubicBezTo>
                    <a:cubicBezTo>
                      <a:pt x="189" y="311"/>
                      <a:pt x="192" y="284"/>
                      <a:pt x="183" y="271"/>
                    </a:cubicBezTo>
                    <a:cubicBezTo>
                      <a:pt x="202" y="271"/>
                      <a:pt x="212" y="271"/>
                      <a:pt x="230" y="276"/>
                    </a:cubicBezTo>
                    <a:cubicBezTo>
                      <a:pt x="255" y="282"/>
                      <a:pt x="304" y="251"/>
                      <a:pt x="229" y="227"/>
                    </a:cubicBezTo>
                    <a:cubicBezTo>
                      <a:pt x="208" y="220"/>
                      <a:pt x="160" y="196"/>
                      <a:pt x="145" y="196"/>
                    </a:cubicBezTo>
                    <a:cubicBezTo>
                      <a:pt x="144" y="196"/>
                      <a:pt x="144" y="195"/>
                      <a:pt x="133" y="196"/>
                    </a:cubicBezTo>
                    <a:cubicBezTo>
                      <a:pt x="127" y="200"/>
                      <a:pt x="111" y="208"/>
                      <a:pt x="111" y="219"/>
                    </a:cubicBezTo>
                    <a:cubicBezTo>
                      <a:pt x="111" y="227"/>
                      <a:pt x="127" y="226"/>
                      <a:pt x="127" y="236"/>
                    </a:cubicBezTo>
                    <a:cubicBezTo>
                      <a:pt x="127" y="244"/>
                      <a:pt x="119" y="247"/>
                      <a:pt x="119" y="255"/>
                    </a:cubicBezTo>
                    <a:cubicBezTo>
                      <a:pt x="119" y="263"/>
                      <a:pt x="128" y="268"/>
                      <a:pt x="128" y="277"/>
                    </a:cubicBezTo>
                    <a:cubicBezTo>
                      <a:pt x="128" y="282"/>
                      <a:pt x="123" y="285"/>
                      <a:pt x="123" y="290"/>
                    </a:cubicBezTo>
                    <a:cubicBezTo>
                      <a:pt x="123" y="300"/>
                      <a:pt x="136" y="302"/>
                      <a:pt x="136" y="312"/>
                    </a:cubicBezTo>
                    <a:cubicBezTo>
                      <a:pt x="136" y="315"/>
                      <a:pt x="132" y="317"/>
                      <a:pt x="131" y="318"/>
                    </a:cubicBezTo>
                    <a:cubicBezTo>
                      <a:pt x="135" y="325"/>
                      <a:pt x="145" y="327"/>
                      <a:pt x="145" y="336"/>
                    </a:cubicBezTo>
                    <a:cubicBezTo>
                      <a:pt x="145" y="351"/>
                      <a:pt x="115" y="367"/>
                      <a:pt x="106" y="379"/>
                    </a:cubicBezTo>
                    <a:cubicBezTo>
                      <a:pt x="109" y="384"/>
                      <a:pt x="114" y="387"/>
                      <a:pt x="117" y="395"/>
                    </a:cubicBezTo>
                    <a:cubicBezTo>
                      <a:pt x="111" y="398"/>
                      <a:pt x="98" y="405"/>
                      <a:pt x="92" y="405"/>
                    </a:cubicBezTo>
                    <a:cubicBezTo>
                      <a:pt x="85" y="405"/>
                      <a:pt x="80" y="402"/>
                      <a:pt x="70" y="402"/>
                    </a:cubicBezTo>
                    <a:cubicBezTo>
                      <a:pt x="61" y="402"/>
                      <a:pt x="38" y="410"/>
                      <a:pt x="45" y="417"/>
                    </a:cubicBezTo>
                    <a:cubicBezTo>
                      <a:pt x="67" y="438"/>
                      <a:pt x="56" y="446"/>
                      <a:pt x="50" y="446"/>
                    </a:cubicBezTo>
                    <a:cubicBezTo>
                      <a:pt x="42" y="446"/>
                      <a:pt x="40" y="435"/>
                      <a:pt x="33" y="435"/>
                    </a:cubicBezTo>
                    <a:cubicBezTo>
                      <a:pt x="25" y="435"/>
                      <a:pt x="15" y="455"/>
                      <a:pt x="15" y="465"/>
                    </a:cubicBezTo>
                    <a:cubicBezTo>
                      <a:pt x="15" y="483"/>
                      <a:pt x="1" y="480"/>
                      <a:pt x="0" y="496"/>
                    </a:cubicBezTo>
                    <a:cubicBezTo>
                      <a:pt x="6" y="495"/>
                      <a:pt x="11" y="495"/>
                      <a:pt x="16" y="495"/>
                    </a:cubicBezTo>
                    <a:cubicBezTo>
                      <a:pt x="24" y="495"/>
                      <a:pt x="30" y="494"/>
                      <a:pt x="39" y="494"/>
                    </a:cubicBezTo>
                    <a:cubicBezTo>
                      <a:pt x="48" y="494"/>
                      <a:pt x="52" y="510"/>
                      <a:pt x="52" y="520"/>
                    </a:cubicBezTo>
                    <a:cubicBezTo>
                      <a:pt x="52" y="526"/>
                      <a:pt x="46" y="529"/>
                      <a:pt x="46" y="535"/>
                    </a:cubicBezTo>
                    <a:cubicBezTo>
                      <a:pt x="46" y="544"/>
                      <a:pt x="54" y="550"/>
                      <a:pt x="54" y="558"/>
                    </a:cubicBezTo>
                    <a:cubicBezTo>
                      <a:pt x="54" y="563"/>
                      <a:pt x="46" y="565"/>
                      <a:pt x="44" y="568"/>
                    </a:cubicBezTo>
                    <a:cubicBezTo>
                      <a:pt x="39" y="576"/>
                      <a:pt x="37" y="583"/>
                      <a:pt x="37" y="593"/>
                    </a:cubicBezTo>
                    <a:cubicBezTo>
                      <a:pt x="37" y="606"/>
                      <a:pt x="46" y="603"/>
                      <a:pt x="56" y="603"/>
                    </a:cubicBezTo>
                    <a:cubicBezTo>
                      <a:pt x="70" y="603"/>
                      <a:pt x="77" y="597"/>
                      <a:pt x="88" y="597"/>
                    </a:cubicBezTo>
                    <a:cubicBezTo>
                      <a:pt x="99" y="597"/>
                      <a:pt x="97" y="620"/>
                      <a:pt x="108" y="620"/>
                    </a:cubicBezTo>
                    <a:cubicBezTo>
                      <a:pt x="108" y="638"/>
                      <a:pt x="108" y="638"/>
                      <a:pt x="108" y="638"/>
                    </a:cubicBezTo>
                    <a:cubicBezTo>
                      <a:pt x="108" y="640"/>
                      <a:pt x="109" y="641"/>
                      <a:pt x="110" y="641"/>
                    </a:cubicBezTo>
                    <a:cubicBezTo>
                      <a:pt x="112" y="644"/>
                      <a:pt x="112" y="644"/>
                      <a:pt x="112" y="644"/>
                    </a:cubicBezTo>
                    <a:cubicBezTo>
                      <a:pt x="114" y="644"/>
                      <a:pt x="120" y="642"/>
                      <a:pt x="123" y="641"/>
                    </a:cubicBezTo>
                    <a:cubicBezTo>
                      <a:pt x="132" y="639"/>
                      <a:pt x="133" y="627"/>
                      <a:pt x="143" y="627"/>
                    </a:cubicBezTo>
                    <a:cubicBezTo>
                      <a:pt x="151" y="627"/>
                      <a:pt x="171" y="660"/>
                      <a:pt x="177" y="660"/>
                    </a:cubicBezTo>
                    <a:cubicBezTo>
                      <a:pt x="184" y="660"/>
                      <a:pt x="205" y="651"/>
                      <a:pt x="208" y="647"/>
                    </a:cubicBezTo>
                    <a:cubicBezTo>
                      <a:pt x="207" y="647"/>
                      <a:pt x="196" y="645"/>
                      <a:pt x="196" y="645"/>
                    </a:cubicBezTo>
                    <a:cubicBezTo>
                      <a:pt x="194" y="645"/>
                      <a:pt x="189" y="644"/>
                      <a:pt x="189" y="638"/>
                    </a:cubicBezTo>
                    <a:cubicBezTo>
                      <a:pt x="189" y="635"/>
                      <a:pt x="221" y="623"/>
                      <a:pt x="233" y="619"/>
                    </a:cubicBezTo>
                    <a:cubicBezTo>
                      <a:pt x="233" y="619"/>
                      <a:pt x="227" y="625"/>
                      <a:pt x="225" y="626"/>
                    </a:cubicBezTo>
                    <a:cubicBezTo>
                      <a:pt x="226" y="629"/>
                      <a:pt x="237" y="641"/>
                      <a:pt x="211" y="647"/>
                    </a:cubicBezTo>
                    <a:cubicBezTo>
                      <a:pt x="223" y="673"/>
                      <a:pt x="273" y="669"/>
                      <a:pt x="273" y="704"/>
                    </a:cubicBezTo>
                    <a:cubicBezTo>
                      <a:pt x="275" y="703"/>
                      <a:pt x="275" y="703"/>
                      <a:pt x="275" y="703"/>
                    </a:cubicBezTo>
                    <a:cubicBezTo>
                      <a:pt x="278" y="702"/>
                      <a:pt x="280" y="701"/>
                      <a:pt x="284" y="701"/>
                    </a:cubicBezTo>
                    <a:cubicBezTo>
                      <a:pt x="298" y="701"/>
                      <a:pt x="297" y="710"/>
                      <a:pt x="302" y="719"/>
                    </a:cubicBezTo>
                    <a:cubicBezTo>
                      <a:pt x="303" y="721"/>
                      <a:pt x="312" y="726"/>
                      <a:pt x="312" y="726"/>
                    </a:cubicBezTo>
                    <a:cubicBezTo>
                      <a:pt x="320" y="729"/>
                      <a:pt x="322" y="742"/>
                      <a:pt x="335" y="742"/>
                    </a:cubicBezTo>
                    <a:cubicBezTo>
                      <a:pt x="344" y="742"/>
                      <a:pt x="344" y="734"/>
                      <a:pt x="350" y="732"/>
                    </a:cubicBezTo>
                    <a:cubicBezTo>
                      <a:pt x="354" y="731"/>
                      <a:pt x="353" y="731"/>
                      <a:pt x="357" y="731"/>
                    </a:cubicBezTo>
                    <a:cubicBezTo>
                      <a:pt x="358" y="733"/>
                      <a:pt x="358" y="737"/>
                      <a:pt x="360" y="739"/>
                    </a:cubicBezTo>
                    <a:cubicBezTo>
                      <a:pt x="359" y="739"/>
                      <a:pt x="360" y="740"/>
                      <a:pt x="360" y="741"/>
                    </a:cubicBezTo>
                    <a:cubicBezTo>
                      <a:pt x="366" y="742"/>
                      <a:pt x="366" y="742"/>
                      <a:pt x="366" y="742"/>
                    </a:cubicBezTo>
                    <a:cubicBezTo>
                      <a:pt x="371" y="735"/>
                      <a:pt x="371" y="724"/>
                      <a:pt x="378" y="721"/>
                    </a:cubicBezTo>
                    <a:cubicBezTo>
                      <a:pt x="366" y="714"/>
                      <a:pt x="348" y="688"/>
                      <a:pt x="348" y="673"/>
                    </a:cubicBezTo>
                    <a:cubicBezTo>
                      <a:pt x="348" y="668"/>
                      <a:pt x="338" y="662"/>
                      <a:pt x="338" y="655"/>
                    </a:cubicBezTo>
                    <a:cubicBezTo>
                      <a:pt x="338" y="653"/>
                      <a:pt x="347" y="637"/>
                      <a:pt x="349" y="634"/>
                    </a:cubicBezTo>
                    <a:cubicBezTo>
                      <a:pt x="351" y="635"/>
                      <a:pt x="365" y="628"/>
                      <a:pt x="366" y="627"/>
                    </a:cubicBezTo>
                    <a:cubicBezTo>
                      <a:pt x="377" y="623"/>
                      <a:pt x="384" y="620"/>
                      <a:pt x="399" y="620"/>
                    </a:cubicBezTo>
                    <a:cubicBezTo>
                      <a:pt x="423" y="620"/>
                      <a:pt x="427" y="631"/>
                      <a:pt x="436" y="645"/>
                    </a:cubicBezTo>
                    <a:cubicBezTo>
                      <a:pt x="429" y="650"/>
                      <a:pt x="420" y="645"/>
                      <a:pt x="412" y="645"/>
                    </a:cubicBezTo>
                    <a:cubicBezTo>
                      <a:pt x="400" y="645"/>
                      <a:pt x="383" y="656"/>
                      <a:pt x="381" y="656"/>
                    </a:cubicBezTo>
                    <a:cubicBezTo>
                      <a:pt x="382" y="665"/>
                      <a:pt x="389" y="664"/>
                      <a:pt x="391" y="669"/>
                    </a:cubicBezTo>
                    <a:cubicBezTo>
                      <a:pt x="400" y="684"/>
                      <a:pt x="412" y="690"/>
                      <a:pt x="412" y="707"/>
                    </a:cubicBezTo>
                    <a:cubicBezTo>
                      <a:pt x="415" y="705"/>
                      <a:pt x="424" y="701"/>
                      <a:pt x="427" y="700"/>
                    </a:cubicBezTo>
                    <a:cubicBezTo>
                      <a:pt x="427" y="707"/>
                      <a:pt x="434" y="710"/>
                      <a:pt x="434" y="717"/>
                    </a:cubicBezTo>
                    <a:cubicBezTo>
                      <a:pt x="421" y="717"/>
                      <a:pt x="421" y="717"/>
                      <a:pt x="421" y="717"/>
                    </a:cubicBezTo>
                    <a:cubicBezTo>
                      <a:pt x="417" y="717"/>
                      <a:pt x="413" y="721"/>
                      <a:pt x="412" y="728"/>
                    </a:cubicBezTo>
                    <a:cubicBezTo>
                      <a:pt x="421" y="729"/>
                      <a:pt x="428" y="738"/>
                      <a:pt x="428" y="746"/>
                    </a:cubicBezTo>
                    <a:cubicBezTo>
                      <a:pt x="428" y="751"/>
                      <a:pt x="424" y="753"/>
                      <a:pt x="424" y="757"/>
                    </a:cubicBezTo>
                    <a:cubicBezTo>
                      <a:pt x="424" y="761"/>
                      <a:pt x="428" y="765"/>
                      <a:pt x="429" y="766"/>
                    </a:cubicBezTo>
                    <a:cubicBezTo>
                      <a:pt x="429" y="762"/>
                      <a:pt x="434" y="762"/>
                      <a:pt x="438" y="761"/>
                    </a:cubicBezTo>
                    <a:cubicBezTo>
                      <a:pt x="443" y="759"/>
                      <a:pt x="442" y="757"/>
                      <a:pt x="447" y="755"/>
                    </a:cubicBezTo>
                    <a:cubicBezTo>
                      <a:pt x="455" y="752"/>
                      <a:pt x="460" y="754"/>
                      <a:pt x="466" y="749"/>
                    </a:cubicBezTo>
                    <a:cubicBezTo>
                      <a:pt x="476" y="755"/>
                      <a:pt x="482" y="755"/>
                      <a:pt x="491" y="758"/>
                    </a:cubicBezTo>
                    <a:cubicBezTo>
                      <a:pt x="502" y="762"/>
                      <a:pt x="505" y="772"/>
                      <a:pt x="518" y="772"/>
                    </a:cubicBezTo>
                    <a:cubicBezTo>
                      <a:pt x="518" y="774"/>
                      <a:pt x="521" y="775"/>
                      <a:pt x="522" y="777"/>
                    </a:cubicBezTo>
                    <a:cubicBezTo>
                      <a:pt x="523" y="781"/>
                      <a:pt x="522" y="787"/>
                      <a:pt x="524" y="793"/>
                    </a:cubicBezTo>
                    <a:cubicBezTo>
                      <a:pt x="529" y="787"/>
                      <a:pt x="533" y="795"/>
                      <a:pt x="537" y="795"/>
                    </a:cubicBezTo>
                    <a:cubicBezTo>
                      <a:pt x="542" y="795"/>
                      <a:pt x="544" y="791"/>
                      <a:pt x="547" y="788"/>
                    </a:cubicBezTo>
                    <a:cubicBezTo>
                      <a:pt x="551" y="784"/>
                      <a:pt x="556" y="784"/>
                      <a:pt x="559" y="781"/>
                    </a:cubicBezTo>
                    <a:cubicBezTo>
                      <a:pt x="567" y="773"/>
                      <a:pt x="568" y="762"/>
                      <a:pt x="579" y="762"/>
                    </a:cubicBezTo>
                    <a:cubicBezTo>
                      <a:pt x="583" y="762"/>
                      <a:pt x="582" y="764"/>
                      <a:pt x="586" y="764"/>
                    </a:cubicBezTo>
                    <a:cubicBezTo>
                      <a:pt x="587" y="769"/>
                      <a:pt x="597" y="765"/>
                      <a:pt x="600" y="765"/>
                    </a:cubicBezTo>
                    <a:cubicBezTo>
                      <a:pt x="604" y="765"/>
                      <a:pt x="605" y="770"/>
                      <a:pt x="608" y="770"/>
                    </a:cubicBezTo>
                    <a:cubicBezTo>
                      <a:pt x="617" y="770"/>
                      <a:pt x="624" y="765"/>
                      <a:pt x="627" y="759"/>
                    </a:cubicBezTo>
                    <a:cubicBezTo>
                      <a:pt x="628" y="760"/>
                      <a:pt x="629" y="759"/>
                      <a:pt x="630" y="759"/>
                    </a:cubicBezTo>
                    <a:cubicBezTo>
                      <a:pt x="634" y="759"/>
                      <a:pt x="636" y="749"/>
                      <a:pt x="645" y="749"/>
                    </a:cubicBezTo>
                    <a:cubicBezTo>
                      <a:pt x="654" y="749"/>
                      <a:pt x="644" y="772"/>
                      <a:pt x="654" y="772"/>
                    </a:cubicBezTo>
                    <a:cubicBezTo>
                      <a:pt x="664" y="772"/>
                      <a:pt x="668" y="764"/>
                      <a:pt x="677" y="764"/>
                    </a:cubicBezTo>
                    <a:cubicBezTo>
                      <a:pt x="682" y="764"/>
                      <a:pt x="686" y="764"/>
                      <a:pt x="692" y="765"/>
                    </a:cubicBezTo>
                    <a:cubicBezTo>
                      <a:pt x="692" y="763"/>
                      <a:pt x="692" y="763"/>
                      <a:pt x="692" y="763"/>
                    </a:cubicBezTo>
                    <a:cubicBezTo>
                      <a:pt x="690" y="753"/>
                      <a:pt x="688" y="750"/>
                      <a:pt x="677" y="748"/>
                    </a:cubicBezTo>
                    <a:cubicBezTo>
                      <a:pt x="678" y="739"/>
                      <a:pt x="687" y="719"/>
                      <a:pt x="694" y="719"/>
                    </a:cubicBezTo>
                    <a:cubicBezTo>
                      <a:pt x="735" y="719"/>
                      <a:pt x="763" y="698"/>
                      <a:pt x="763" y="649"/>
                    </a:cubicBezTo>
                    <a:cubicBezTo>
                      <a:pt x="785" y="645"/>
                      <a:pt x="787" y="618"/>
                      <a:pt x="800" y="620"/>
                    </a:cubicBezTo>
                    <a:cubicBezTo>
                      <a:pt x="836" y="624"/>
                      <a:pt x="822" y="600"/>
                      <a:pt x="829" y="593"/>
                    </a:cubicBezTo>
                    <a:cubicBezTo>
                      <a:pt x="847" y="578"/>
                      <a:pt x="873" y="578"/>
                      <a:pt x="895" y="565"/>
                    </a:cubicBezTo>
                    <a:cubicBezTo>
                      <a:pt x="898" y="563"/>
                      <a:pt x="906" y="554"/>
                      <a:pt x="913" y="554"/>
                    </a:cubicBezTo>
                    <a:cubicBezTo>
                      <a:pt x="924" y="554"/>
                      <a:pt x="943" y="567"/>
                      <a:pt x="961" y="567"/>
                    </a:cubicBezTo>
                    <a:cubicBezTo>
                      <a:pt x="986" y="567"/>
                      <a:pt x="981" y="534"/>
                      <a:pt x="994" y="534"/>
                    </a:cubicBezTo>
                    <a:cubicBezTo>
                      <a:pt x="1002" y="534"/>
                      <a:pt x="1029" y="538"/>
                      <a:pt x="1032" y="545"/>
                    </a:cubicBezTo>
                    <a:cubicBezTo>
                      <a:pt x="1042" y="573"/>
                      <a:pt x="1060" y="558"/>
                      <a:pt x="1072" y="558"/>
                    </a:cubicBezTo>
                    <a:cubicBezTo>
                      <a:pt x="1099" y="558"/>
                      <a:pt x="1107" y="580"/>
                      <a:pt x="1135" y="580"/>
                    </a:cubicBezTo>
                    <a:cubicBezTo>
                      <a:pt x="1160" y="580"/>
                      <a:pt x="1192" y="557"/>
                      <a:pt x="1224" y="569"/>
                    </a:cubicBezTo>
                    <a:cubicBezTo>
                      <a:pt x="1266" y="586"/>
                      <a:pt x="1245" y="512"/>
                      <a:pt x="1301" y="512"/>
                    </a:cubicBezTo>
                    <a:cubicBezTo>
                      <a:pt x="1340" y="512"/>
                      <a:pt x="1339" y="543"/>
                      <a:pt x="1354" y="567"/>
                    </a:cubicBezTo>
                    <a:cubicBezTo>
                      <a:pt x="1360" y="576"/>
                      <a:pt x="1379" y="577"/>
                      <a:pt x="1387" y="585"/>
                    </a:cubicBezTo>
                    <a:cubicBezTo>
                      <a:pt x="1393" y="590"/>
                      <a:pt x="1398" y="607"/>
                      <a:pt x="1411" y="607"/>
                    </a:cubicBezTo>
                    <a:cubicBezTo>
                      <a:pt x="1426" y="607"/>
                      <a:pt x="1428" y="593"/>
                      <a:pt x="1446" y="593"/>
                    </a:cubicBezTo>
                    <a:cubicBezTo>
                      <a:pt x="1446" y="604"/>
                      <a:pt x="1446" y="604"/>
                      <a:pt x="1446" y="604"/>
                    </a:cubicBezTo>
                    <a:cubicBezTo>
                      <a:pt x="1437" y="614"/>
                      <a:pt x="1433" y="638"/>
                      <a:pt x="1422" y="644"/>
                    </a:cubicBezTo>
                    <a:cubicBezTo>
                      <a:pt x="1412" y="650"/>
                      <a:pt x="1394" y="651"/>
                      <a:pt x="1400" y="655"/>
                    </a:cubicBezTo>
                    <a:cubicBezTo>
                      <a:pt x="1415" y="665"/>
                      <a:pt x="1398" y="684"/>
                      <a:pt x="1398" y="6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1" name="Freeform 147"/>
              <p:cNvSpPr>
                <a:spLocks/>
              </p:cNvSpPr>
              <p:nvPr/>
            </p:nvSpPr>
            <p:spPr bwMode="auto">
              <a:xfrm>
                <a:off x="5614988" y="1879600"/>
                <a:ext cx="1023938" cy="646113"/>
              </a:xfrm>
              <a:custGeom>
                <a:avLst/>
                <a:gdLst/>
                <a:ahLst/>
                <a:cxnLst>
                  <a:cxn ang="0">
                    <a:pos x="585" y="307"/>
                  </a:cxn>
                  <a:cxn ang="0">
                    <a:pos x="573" y="287"/>
                  </a:cxn>
                  <a:cxn ang="0">
                    <a:pos x="614" y="256"/>
                  </a:cxn>
                  <a:cxn ang="0">
                    <a:pos x="588" y="246"/>
                  </a:cxn>
                  <a:cxn ang="0">
                    <a:pos x="570" y="255"/>
                  </a:cxn>
                  <a:cxn ang="0">
                    <a:pos x="552" y="236"/>
                  </a:cxn>
                  <a:cxn ang="0">
                    <a:pos x="590" y="209"/>
                  </a:cxn>
                  <a:cxn ang="0">
                    <a:pos x="606" y="212"/>
                  </a:cxn>
                  <a:cxn ang="0">
                    <a:pos x="634" y="216"/>
                  </a:cxn>
                  <a:cxn ang="0">
                    <a:pos x="648" y="231"/>
                  </a:cxn>
                  <a:cxn ang="0">
                    <a:pos x="648" y="248"/>
                  </a:cxn>
                  <a:cxn ang="0">
                    <a:pos x="666" y="254"/>
                  </a:cxn>
                  <a:cxn ang="0">
                    <a:pos x="659" y="264"/>
                  </a:cxn>
                  <a:cxn ang="0">
                    <a:pos x="665" y="275"/>
                  </a:cxn>
                  <a:cxn ang="0">
                    <a:pos x="664" y="290"/>
                  </a:cxn>
                  <a:cxn ang="0">
                    <a:pos x="668" y="295"/>
                  </a:cxn>
                  <a:cxn ang="0">
                    <a:pos x="690" y="286"/>
                  </a:cxn>
                  <a:cxn ang="0">
                    <a:pos x="683" y="232"/>
                  </a:cxn>
                  <a:cxn ang="0">
                    <a:pos x="688" y="210"/>
                  </a:cxn>
                  <a:cxn ang="0">
                    <a:pos x="721" y="172"/>
                  </a:cxn>
                  <a:cxn ang="0">
                    <a:pos x="745" y="132"/>
                  </a:cxn>
                  <a:cxn ang="0">
                    <a:pos x="769" y="81"/>
                  </a:cxn>
                  <a:cxn ang="0">
                    <a:pos x="710" y="73"/>
                  </a:cxn>
                  <a:cxn ang="0">
                    <a:pos x="624" y="0"/>
                  </a:cxn>
                  <a:cxn ang="0">
                    <a:pos x="458" y="68"/>
                  </a:cxn>
                  <a:cxn ang="0">
                    <a:pos x="355" y="33"/>
                  </a:cxn>
                  <a:cxn ang="0">
                    <a:pos x="284" y="55"/>
                  </a:cxn>
                  <a:cxn ang="0">
                    <a:pos x="218" y="53"/>
                  </a:cxn>
                  <a:cxn ang="0">
                    <a:pos x="123" y="108"/>
                  </a:cxn>
                  <a:cxn ang="0">
                    <a:pos x="17" y="207"/>
                  </a:cxn>
                  <a:cxn ang="0">
                    <a:pos x="15" y="251"/>
                  </a:cxn>
                  <a:cxn ang="0">
                    <a:pos x="25" y="261"/>
                  </a:cxn>
                  <a:cxn ang="0">
                    <a:pos x="50" y="280"/>
                  </a:cxn>
                  <a:cxn ang="0">
                    <a:pos x="83" y="284"/>
                  </a:cxn>
                  <a:cxn ang="0">
                    <a:pos x="73" y="317"/>
                  </a:cxn>
                  <a:cxn ang="0">
                    <a:pos x="63" y="326"/>
                  </a:cxn>
                  <a:cxn ang="0">
                    <a:pos x="73" y="343"/>
                  </a:cxn>
                  <a:cxn ang="0">
                    <a:pos x="110" y="357"/>
                  </a:cxn>
                  <a:cxn ang="0">
                    <a:pos x="132" y="373"/>
                  </a:cxn>
                  <a:cxn ang="0">
                    <a:pos x="160" y="384"/>
                  </a:cxn>
                  <a:cxn ang="0">
                    <a:pos x="186" y="382"/>
                  </a:cxn>
                  <a:cxn ang="0">
                    <a:pos x="210" y="381"/>
                  </a:cxn>
                  <a:cxn ang="0">
                    <a:pos x="255" y="372"/>
                  </a:cxn>
                  <a:cxn ang="0">
                    <a:pos x="275" y="366"/>
                  </a:cxn>
                  <a:cxn ang="0">
                    <a:pos x="282" y="362"/>
                  </a:cxn>
                  <a:cxn ang="0">
                    <a:pos x="316" y="400"/>
                  </a:cxn>
                  <a:cxn ang="0">
                    <a:pos x="306" y="439"/>
                  </a:cxn>
                  <a:cxn ang="0">
                    <a:pos x="324" y="450"/>
                  </a:cxn>
                  <a:cxn ang="0">
                    <a:pos x="346" y="467"/>
                  </a:cxn>
                  <a:cxn ang="0">
                    <a:pos x="351" y="472"/>
                  </a:cxn>
                  <a:cxn ang="0">
                    <a:pos x="353" y="457"/>
                  </a:cxn>
                  <a:cxn ang="0">
                    <a:pos x="379" y="454"/>
                  </a:cxn>
                  <a:cxn ang="0">
                    <a:pos x="416" y="453"/>
                  </a:cxn>
                  <a:cxn ang="0">
                    <a:pos x="431" y="470"/>
                  </a:cxn>
                  <a:cxn ang="0">
                    <a:pos x="454" y="486"/>
                  </a:cxn>
                  <a:cxn ang="0">
                    <a:pos x="476" y="470"/>
                  </a:cxn>
                  <a:cxn ang="0">
                    <a:pos x="503" y="455"/>
                  </a:cxn>
                  <a:cxn ang="0">
                    <a:pos x="552" y="439"/>
                  </a:cxn>
                  <a:cxn ang="0">
                    <a:pos x="576" y="406"/>
                  </a:cxn>
                  <a:cxn ang="0">
                    <a:pos x="604" y="355"/>
                  </a:cxn>
                  <a:cxn ang="0">
                    <a:pos x="586" y="307"/>
                  </a:cxn>
                </a:cxnLst>
                <a:rect l="0" t="0" r="r" b="b"/>
                <a:pathLst>
                  <a:path w="769" h="486">
                    <a:moveTo>
                      <a:pt x="586" y="307"/>
                    </a:moveTo>
                    <a:cubicBezTo>
                      <a:pt x="585" y="307"/>
                      <a:pt x="585" y="307"/>
                      <a:pt x="585" y="307"/>
                    </a:cubicBezTo>
                    <a:cubicBezTo>
                      <a:pt x="585" y="307"/>
                      <a:pt x="585" y="300"/>
                      <a:pt x="585" y="298"/>
                    </a:cubicBezTo>
                    <a:cubicBezTo>
                      <a:pt x="582" y="298"/>
                      <a:pt x="573" y="294"/>
                      <a:pt x="573" y="287"/>
                    </a:cubicBezTo>
                    <a:cubicBezTo>
                      <a:pt x="573" y="282"/>
                      <a:pt x="581" y="282"/>
                      <a:pt x="582" y="276"/>
                    </a:cubicBezTo>
                    <a:cubicBezTo>
                      <a:pt x="586" y="264"/>
                      <a:pt x="605" y="264"/>
                      <a:pt x="614" y="256"/>
                    </a:cubicBezTo>
                    <a:cubicBezTo>
                      <a:pt x="611" y="251"/>
                      <a:pt x="604" y="256"/>
                      <a:pt x="598" y="252"/>
                    </a:cubicBezTo>
                    <a:cubicBezTo>
                      <a:pt x="595" y="250"/>
                      <a:pt x="593" y="246"/>
                      <a:pt x="588" y="246"/>
                    </a:cubicBezTo>
                    <a:cubicBezTo>
                      <a:pt x="585" y="246"/>
                      <a:pt x="585" y="256"/>
                      <a:pt x="582" y="256"/>
                    </a:cubicBezTo>
                    <a:cubicBezTo>
                      <a:pt x="578" y="256"/>
                      <a:pt x="574" y="257"/>
                      <a:pt x="570" y="255"/>
                    </a:cubicBezTo>
                    <a:cubicBezTo>
                      <a:pt x="565" y="252"/>
                      <a:pt x="567" y="247"/>
                      <a:pt x="562" y="243"/>
                    </a:cubicBezTo>
                    <a:cubicBezTo>
                      <a:pt x="560" y="242"/>
                      <a:pt x="552" y="240"/>
                      <a:pt x="552" y="236"/>
                    </a:cubicBezTo>
                    <a:cubicBezTo>
                      <a:pt x="552" y="227"/>
                      <a:pt x="565" y="230"/>
                      <a:pt x="571" y="225"/>
                    </a:cubicBezTo>
                    <a:cubicBezTo>
                      <a:pt x="577" y="221"/>
                      <a:pt x="587" y="215"/>
                      <a:pt x="590" y="209"/>
                    </a:cubicBezTo>
                    <a:cubicBezTo>
                      <a:pt x="591" y="208"/>
                      <a:pt x="593" y="203"/>
                      <a:pt x="597" y="203"/>
                    </a:cubicBezTo>
                    <a:cubicBezTo>
                      <a:pt x="601" y="203"/>
                      <a:pt x="606" y="209"/>
                      <a:pt x="606" y="212"/>
                    </a:cubicBezTo>
                    <a:cubicBezTo>
                      <a:pt x="606" y="219"/>
                      <a:pt x="597" y="222"/>
                      <a:pt x="597" y="230"/>
                    </a:cubicBezTo>
                    <a:cubicBezTo>
                      <a:pt x="610" y="230"/>
                      <a:pt x="620" y="216"/>
                      <a:pt x="634" y="216"/>
                    </a:cubicBezTo>
                    <a:cubicBezTo>
                      <a:pt x="639" y="216"/>
                      <a:pt x="641" y="221"/>
                      <a:pt x="648" y="221"/>
                    </a:cubicBezTo>
                    <a:cubicBezTo>
                      <a:pt x="646" y="226"/>
                      <a:pt x="648" y="226"/>
                      <a:pt x="648" y="231"/>
                    </a:cubicBezTo>
                    <a:cubicBezTo>
                      <a:pt x="648" y="235"/>
                      <a:pt x="643" y="235"/>
                      <a:pt x="643" y="240"/>
                    </a:cubicBezTo>
                    <a:cubicBezTo>
                      <a:pt x="643" y="242"/>
                      <a:pt x="645" y="248"/>
                      <a:pt x="648" y="248"/>
                    </a:cubicBezTo>
                    <a:cubicBezTo>
                      <a:pt x="649" y="248"/>
                      <a:pt x="651" y="245"/>
                      <a:pt x="654" y="245"/>
                    </a:cubicBezTo>
                    <a:cubicBezTo>
                      <a:pt x="659" y="245"/>
                      <a:pt x="666" y="249"/>
                      <a:pt x="666" y="254"/>
                    </a:cubicBezTo>
                    <a:cubicBezTo>
                      <a:pt x="666" y="257"/>
                      <a:pt x="662" y="260"/>
                      <a:pt x="659" y="260"/>
                    </a:cubicBezTo>
                    <a:cubicBezTo>
                      <a:pt x="659" y="264"/>
                      <a:pt x="659" y="264"/>
                      <a:pt x="659" y="264"/>
                    </a:cubicBezTo>
                    <a:cubicBezTo>
                      <a:pt x="660" y="265"/>
                      <a:pt x="660" y="267"/>
                      <a:pt x="663" y="268"/>
                    </a:cubicBezTo>
                    <a:cubicBezTo>
                      <a:pt x="663" y="270"/>
                      <a:pt x="665" y="272"/>
                      <a:pt x="665" y="275"/>
                    </a:cubicBezTo>
                    <a:cubicBezTo>
                      <a:pt x="665" y="276"/>
                      <a:pt x="661" y="282"/>
                      <a:pt x="661" y="285"/>
                    </a:cubicBezTo>
                    <a:cubicBezTo>
                      <a:pt x="661" y="287"/>
                      <a:pt x="661" y="289"/>
                      <a:pt x="664" y="290"/>
                    </a:cubicBezTo>
                    <a:cubicBezTo>
                      <a:pt x="663" y="292"/>
                      <a:pt x="661" y="293"/>
                      <a:pt x="661" y="295"/>
                    </a:cubicBezTo>
                    <a:cubicBezTo>
                      <a:pt x="668" y="295"/>
                      <a:pt x="668" y="295"/>
                      <a:pt x="668" y="295"/>
                    </a:cubicBezTo>
                    <a:cubicBezTo>
                      <a:pt x="670" y="293"/>
                      <a:pt x="671" y="293"/>
                      <a:pt x="676" y="291"/>
                    </a:cubicBezTo>
                    <a:cubicBezTo>
                      <a:pt x="676" y="287"/>
                      <a:pt x="687" y="287"/>
                      <a:pt x="690" y="286"/>
                    </a:cubicBezTo>
                    <a:cubicBezTo>
                      <a:pt x="696" y="284"/>
                      <a:pt x="699" y="279"/>
                      <a:pt x="699" y="269"/>
                    </a:cubicBezTo>
                    <a:cubicBezTo>
                      <a:pt x="699" y="252"/>
                      <a:pt x="692" y="242"/>
                      <a:pt x="683" y="232"/>
                    </a:cubicBezTo>
                    <a:cubicBezTo>
                      <a:pt x="679" y="228"/>
                      <a:pt x="674" y="224"/>
                      <a:pt x="675" y="217"/>
                    </a:cubicBezTo>
                    <a:cubicBezTo>
                      <a:pt x="680" y="217"/>
                      <a:pt x="685" y="214"/>
                      <a:pt x="688" y="210"/>
                    </a:cubicBezTo>
                    <a:cubicBezTo>
                      <a:pt x="691" y="207"/>
                      <a:pt x="699" y="203"/>
                      <a:pt x="701" y="199"/>
                    </a:cubicBezTo>
                    <a:cubicBezTo>
                      <a:pt x="707" y="187"/>
                      <a:pt x="710" y="180"/>
                      <a:pt x="721" y="172"/>
                    </a:cubicBezTo>
                    <a:cubicBezTo>
                      <a:pt x="721" y="172"/>
                      <a:pt x="738" y="153"/>
                      <a:pt x="723" y="143"/>
                    </a:cubicBezTo>
                    <a:cubicBezTo>
                      <a:pt x="717" y="139"/>
                      <a:pt x="735" y="138"/>
                      <a:pt x="745" y="132"/>
                    </a:cubicBezTo>
                    <a:cubicBezTo>
                      <a:pt x="756" y="126"/>
                      <a:pt x="760" y="102"/>
                      <a:pt x="769" y="92"/>
                    </a:cubicBezTo>
                    <a:cubicBezTo>
                      <a:pt x="769" y="81"/>
                      <a:pt x="769" y="81"/>
                      <a:pt x="769" y="81"/>
                    </a:cubicBezTo>
                    <a:cubicBezTo>
                      <a:pt x="751" y="81"/>
                      <a:pt x="749" y="95"/>
                      <a:pt x="734" y="95"/>
                    </a:cubicBezTo>
                    <a:cubicBezTo>
                      <a:pt x="721" y="95"/>
                      <a:pt x="716" y="78"/>
                      <a:pt x="710" y="73"/>
                    </a:cubicBezTo>
                    <a:cubicBezTo>
                      <a:pt x="702" y="65"/>
                      <a:pt x="683" y="64"/>
                      <a:pt x="677" y="55"/>
                    </a:cubicBezTo>
                    <a:cubicBezTo>
                      <a:pt x="662" y="31"/>
                      <a:pt x="663" y="0"/>
                      <a:pt x="624" y="0"/>
                    </a:cubicBezTo>
                    <a:cubicBezTo>
                      <a:pt x="568" y="0"/>
                      <a:pt x="589" y="74"/>
                      <a:pt x="547" y="57"/>
                    </a:cubicBezTo>
                    <a:cubicBezTo>
                      <a:pt x="515" y="45"/>
                      <a:pt x="483" y="68"/>
                      <a:pt x="458" y="68"/>
                    </a:cubicBezTo>
                    <a:cubicBezTo>
                      <a:pt x="430" y="68"/>
                      <a:pt x="422" y="46"/>
                      <a:pt x="395" y="46"/>
                    </a:cubicBezTo>
                    <a:cubicBezTo>
                      <a:pt x="383" y="46"/>
                      <a:pt x="365" y="61"/>
                      <a:pt x="355" y="33"/>
                    </a:cubicBezTo>
                    <a:cubicBezTo>
                      <a:pt x="352" y="26"/>
                      <a:pt x="325" y="22"/>
                      <a:pt x="317" y="22"/>
                    </a:cubicBezTo>
                    <a:cubicBezTo>
                      <a:pt x="304" y="22"/>
                      <a:pt x="309" y="55"/>
                      <a:pt x="284" y="55"/>
                    </a:cubicBezTo>
                    <a:cubicBezTo>
                      <a:pt x="266" y="55"/>
                      <a:pt x="247" y="42"/>
                      <a:pt x="236" y="42"/>
                    </a:cubicBezTo>
                    <a:cubicBezTo>
                      <a:pt x="229" y="42"/>
                      <a:pt x="221" y="51"/>
                      <a:pt x="218" y="53"/>
                    </a:cubicBezTo>
                    <a:cubicBezTo>
                      <a:pt x="196" y="66"/>
                      <a:pt x="170" y="66"/>
                      <a:pt x="152" y="81"/>
                    </a:cubicBezTo>
                    <a:cubicBezTo>
                      <a:pt x="145" y="88"/>
                      <a:pt x="159" y="112"/>
                      <a:pt x="123" y="108"/>
                    </a:cubicBezTo>
                    <a:cubicBezTo>
                      <a:pt x="110" y="106"/>
                      <a:pt x="108" y="133"/>
                      <a:pt x="86" y="137"/>
                    </a:cubicBezTo>
                    <a:cubicBezTo>
                      <a:pt x="86" y="186"/>
                      <a:pt x="58" y="207"/>
                      <a:pt x="17" y="207"/>
                    </a:cubicBezTo>
                    <a:cubicBezTo>
                      <a:pt x="10" y="207"/>
                      <a:pt x="1" y="227"/>
                      <a:pt x="0" y="236"/>
                    </a:cubicBezTo>
                    <a:cubicBezTo>
                      <a:pt x="11" y="238"/>
                      <a:pt x="13" y="241"/>
                      <a:pt x="15" y="251"/>
                    </a:cubicBezTo>
                    <a:cubicBezTo>
                      <a:pt x="15" y="253"/>
                      <a:pt x="15" y="253"/>
                      <a:pt x="15" y="253"/>
                    </a:cubicBezTo>
                    <a:cubicBezTo>
                      <a:pt x="15" y="261"/>
                      <a:pt x="19" y="259"/>
                      <a:pt x="25" y="261"/>
                    </a:cubicBezTo>
                    <a:cubicBezTo>
                      <a:pt x="30" y="262"/>
                      <a:pt x="28" y="268"/>
                      <a:pt x="31" y="271"/>
                    </a:cubicBezTo>
                    <a:cubicBezTo>
                      <a:pt x="37" y="277"/>
                      <a:pt x="42" y="277"/>
                      <a:pt x="50" y="280"/>
                    </a:cubicBezTo>
                    <a:cubicBezTo>
                      <a:pt x="58" y="279"/>
                      <a:pt x="61" y="272"/>
                      <a:pt x="69" y="272"/>
                    </a:cubicBezTo>
                    <a:cubicBezTo>
                      <a:pt x="73" y="272"/>
                      <a:pt x="83" y="280"/>
                      <a:pt x="83" y="284"/>
                    </a:cubicBezTo>
                    <a:cubicBezTo>
                      <a:pt x="83" y="296"/>
                      <a:pt x="66" y="294"/>
                      <a:pt x="66" y="306"/>
                    </a:cubicBezTo>
                    <a:cubicBezTo>
                      <a:pt x="66" y="311"/>
                      <a:pt x="73" y="312"/>
                      <a:pt x="73" y="317"/>
                    </a:cubicBezTo>
                    <a:cubicBezTo>
                      <a:pt x="73" y="323"/>
                      <a:pt x="68" y="322"/>
                      <a:pt x="63" y="322"/>
                    </a:cubicBezTo>
                    <a:cubicBezTo>
                      <a:pt x="63" y="326"/>
                      <a:pt x="63" y="326"/>
                      <a:pt x="63" y="326"/>
                    </a:cubicBezTo>
                    <a:cubicBezTo>
                      <a:pt x="64" y="331"/>
                      <a:pt x="64" y="335"/>
                      <a:pt x="65" y="340"/>
                    </a:cubicBezTo>
                    <a:cubicBezTo>
                      <a:pt x="66" y="343"/>
                      <a:pt x="71" y="342"/>
                      <a:pt x="73" y="343"/>
                    </a:cubicBezTo>
                    <a:cubicBezTo>
                      <a:pt x="80" y="345"/>
                      <a:pt x="83" y="351"/>
                      <a:pt x="91" y="353"/>
                    </a:cubicBezTo>
                    <a:cubicBezTo>
                      <a:pt x="100" y="355"/>
                      <a:pt x="105" y="352"/>
                      <a:pt x="110" y="357"/>
                    </a:cubicBezTo>
                    <a:cubicBezTo>
                      <a:pt x="116" y="363"/>
                      <a:pt x="120" y="361"/>
                      <a:pt x="127" y="364"/>
                    </a:cubicBezTo>
                    <a:cubicBezTo>
                      <a:pt x="130" y="366"/>
                      <a:pt x="130" y="369"/>
                      <a:pt x="132" y="373"/>
                    </a:cubicBezTo>
                    <a:cubicBezTo>
                      <a:pt x="133" y="376"/>
                      <a:pt x="137" y="372"/>
                      <a:pt x="139" y="373"/>
                    </a:cubicBezTo>
                    <a:cubicBezTo>
                      <a:pt x="146" y="378"/>
                      <a:pt x="150" y="384"/>
                      <a:pt x="160" y="384"/>
                    </a:cubicBezTo>
                    <a:cubicBezTo>
                      <a:pt x="166" y="384"/>
                      <a:pt x="172" y="384"/>
                      <a:pt x="178" y="384"/>
                    </a:cubicBezTo>
                    <a:cubicBezTo>
                      <a:pt x="182" y="384"/>
                      <a:pt x="184" y="382"/>
                      <a:pt x="186" y="382"/>
                    </a:cubicBezTo>
                    <a:cubicBezTo>
                      <a:pt x="189" y="382"/>
                      <a:pt x="190" y="389"/>
                      <a:pt x="191" y="392"/>
                    </a:cubicBezTo>
                    <a:cubicBezTo>
                      <a:pt x="197" y="389"/>
                      <a:pt x="199" y="381"/>
                      <a:pt x="210" y="381"/>
                    </a:cubicBezTo>
                    <a:cubicBezTo>
                      <a:pt x="219" y="381"/>
                      <a:pt x="224" y="386"/>
                      <a:pt x="231" y="386"/>
                    </a:cubicBezTo>
                    <a:cubicBezTo>
                      <a:pt x="238" y="386"/>
                      <a:pt x="252" y="374"/>
                      <a:pt x="255" y="372"/>
                    </a:cubicBezTo>
                    <a:cubicBezTo>
                      <a:pt x="258" y="370"/>
                      <a:pt x="259" y="369"/>
                      <a:pt x="260" y="367"/>
                    </a:cubicBezTo>
                    <a:cubicBezTo>
                      <a:pt x="264" y="363"/>
                      <a:pt x="270" y="368"/>
                      <a:pt x="275" y="366"/>
                    </a:cubicBezTo>
                    <a:cubicBezTo>
                      <a:pt x="279" y="362"/>
                      <a:pt x="279" y="362"/>
                      <a:pt x="279" y="362"/>
                    </a:cubicBezTo>
                    <a:cubicBezTo>
                      <a:pt x="282" y="362"/>
                      <a:pt x="282" y="362"/>
                      <a:pt x="282" y="362"/>
                    </a:cubicBezTo>
                    <a:cubicBezTo>
                      <a:pt x="285" y="377"/>
                      <a:pt x="294" y="376"/>
                      <a:pt x="305" y="381"/>
                    </a:cubicBezTo>
                    <a:cubicBezTo>
                      <a:pt x="309" y="388"/>
                      <a:pt x="316" y="391"/>
                      <a:pt x="316" y="400"/>
                    </a:cubicBezTo>
                    <a:cubicBezTo>
                      <a:pt x="316" y="417"/>
                      <a:pt x="304" y="418"/>
                      <a:pt x="304" y="434"/>
                    </a:cubicBezTo>
                    <a:cubicBezTo>
                      <a:pt x="304" y="436"/>
                      <a:pt x="305" y="439"/>
                      <a:pt x="306" y="439"/>
                    </a:cubicBezTo>
                    <a:cubicBezTo>
                      <a:pt x="309" y="439"/>
                      <a:pt x="312" y="436"/>
                      <a:pt x="315" y="436"/>
                    </a:cubicBezTo>
                    <a:cubicBezTo>
                      <a:pt x="319" y="436"/>
                      <a:pt x="320" y="449"/>
                      <a:pt x="324" y="450"/>
                    </a:cubicBezTo>
                    <a:cubicBezTo>
                      <a:pt x="324" y="459"/>
                      <a:pt x="330" y="468"/>
                      <a:pt x="338" y="468"/>
                    </a:cubicBezTo>
                    <a:cubicBezTo>
                      <a:pt x="342" y="468"/>
                      <a:pt x="343" y="467"/>
                      <a:pt x="346" y="467"/>
                    </a:cubicBezTo>
                    <a:cubicBezTo>
                      <a:pt x="348" y="467"/>
                      <a:pt x="348" y="467"/>
                      <a:pt x="348" y="467"/>
                    </a:cubicBezTo>
                    <a:cubicBezTo>
                      <a:pt x="348" y="471"/>
                      <a:pt x="350" y="472"/>
                      <a:pt x="351" y="472"/>
                    </a:cubicBezTo>
                    <a:cubicBezTo>
                      <a:pt x="352" y="472"/>
                      <a:pt x="353" y="470"/>
                      <a:pt x="353" y="468"/>
                    </a:cubicBezTo>
                    <a:cubicBezTo>
                      <a:pt x="353" y="464"/>
                      <a:pt x="353" y="461"/>
                      <a:pt x="353" y="457"/>
                    </a:cubicBezTo>
                    <a:cubicBezTo>
                      <a:pt x="353" y="457"/>
                      <a:pt x="363" y="454"/>
                      <a:pt x="365" y="454"/>
                    </a:cubicBezTo>
                    <a:cubicBezTo>
                      <a:pt x="379" y="454"/>
                      <a:pt x="379" y="454"/>
                      <a:pt x="379" y="454"/>
                    </a:cubicBezTo>
                    <a:cubicBezTo>
                      <a:pt x="385" y="457"/>
                      <a:pt x="390" y="448"/>
                      <a:pt x="397" y="448"/>
                    </a:cubicBezTo>
                    <a:cubicBezTo>
                      <a:pt x="404" y="448"/>
                      <a:pt x="408" y="453"/>
                      <a:pt x="416" y="453"/>
                    </a:cubicBezTo>
                    <a:cubicBezTo>
                      <a:pt x="416" y="464"/>
                      <a:pt x="424" y="468"/>
                      <a:pt x="431" y="470"/>
                    </a:cubicBezTo>
                    <a:cubicBezTo>
                      <a:pt x="431" y="470"/>
                      <a:pt x="431" y="470"/>
                      <a:pt x="431" y="470"/>
                    </a:cubicBezTo>
                    <a:cubicBezTo>
                      <a:pt x="439" y="474"/>
                      <a:pt x="444" y="471"/>
                      <a:pt x="452" y="475"/>
                    </a:cubicBezTo>
                    <a:cubicBezTo>
                      <a:pt x="452" y="477"/>
                      <a:pt x="451" y="486"/>
                      <a:pt x="454" y="486"/>
                    </a:cubicBezTo>
                    <a:cubicBezTo>
                      <a:pt x="459" y="486"/>
                      <a:pt x="457" y="480"/>
                      <a:pt x="460" y="477"/>
                    </a:cubicBezTo>
                    <a:cubicBezTo>
                      <a:pt x="463" y="474"/>
                      <a:pt x="472" y="472"/>
                      <a:pt x="476" y="470"/>
                    </a:cubicBezTo>
                    <a:cubicBezTo>
                      <a:pt x="484" y="466"/>
                      <a:pt x="492" y="468"/>
                      <a:pt x="498" y="463"/>
                    </a:cubicBezTo>
                    <a:cubicBezTo>
                      <a:pt x="498" y="463"/>
                      <a:pt x="502" y="455"/>
                      <a:pt x="503" y="455"/>
                    </a:cubicBezTo>
                    <a:cubicBezTo>
                      <a:pt x="507" y="455"/>
                      <a:pt x="510" y="458"/>
                      <a:pt x="514" y="458"/>
                    </a:cubicBezTo>
                    <a:cubicBezTo>
                      <a:pt x="534" y="458"/>
                      <a:pt x="539" y="446"/>
                      <a:pt x="552" y="439"/>
                    </a:cubicBezTo>
                    <a:cubicBezTo>
                      <a:pt x="555" y="437"/>
                      <a:pt x="557" y="435"/>
                      <a:pt x="558" y="431"/>
                    </a:cubicBezTo>
                    <a:cubicBezTo>
                      <a:pt x="569" y="431"/>
                      <a:pt x="572" y="414"/>
                      <a:pt x="576" y="406"/>
                    </a:cubicBezTo>
                    <a:cubicBezTo>
                      <a:pt x="578" y="401"/>
                      <a:pt x="590" y="383"/>
                      <a:pt x="597" y="382"/>
                    </a:cubicBezTo>
                    <a:cubicBezTo>
                      <a:pt x="597" y="372"/>
                      <a:pt x="604" y="368"/>
                      <a:pt x="604" y="355"/>
                    </a:cubicBezTo>
                    <a:cubicBezTo>
                      <a:pt x="604" y="336"/>
                      <a:pt x="599" y="329"/>
                      <a:pt x="591" y="317"/>
                    </a:cubicBezTo>
                    <a:cubicBezTo>
                      <a:pt x="590" y="315"/>
                      <a:pt x="590" y="309"/>
                      <a:pt x="586" y="3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2" name="Freeform 148"/>
              <p:cNvSpPr>
                <a:spLocks/>
              </p:cNvSpPr>
              <p:nvPr/>
            </p:nvSpPr>
            <p:spPr bwMode="auto">
              <a:xfrm>
                <a:off x="7369175" y="1395413"/>
                <a:ext cx="58738" cy="25400"/>
              </a:xfrm>
              <a:custGeom>
                <a:avLst/>
                <a:gdLst/>
                <a:ahLst/>
                <a:cxnLst>
                  <a:cxn ang="0">
                    <a:pos x="4" y="19"/>
                  </a:cxn>
                  <a:cxn ang="0">
                    <a:pos x="0" y="14"/>
                  </a:cxn>
                  <a:cxn ang="0">
                    <a:pos x="20" y="0"/>
                  </a:cxn>
                  <a:cxn ang="0">
                    <a:pos x="44" y="11"/>
                  </a:cxn>
                  <a:cxn ang="0">
                    <a:pos x="4" y="19"/>
                  </a:cxn>
                </a:cxnLst>
                <a:rect l="0" t="0" r="r" b="b"/>
                <a:pathLst>
                  <a:path w="44" h="19">
                    <a:moveTo>
                      <a:pt x="4" y="19"/>
                    </a:moveTo>
                    <a:cubicBezTo>
                      <a:pt x="1" y="19"/>
                      <a:pt x="0" y="17"/>
                      <a:pt x="0" y="14"/>
                    </a:cubicBezTo>
                    <a:cubicBezTo>
                      <a:pt x="0" y="8"/>
                      <a:pt x="13" y="0"/>
                      <a:pt x="20" y="0"/>
                    </a:cubicBezTo>
                    <a:cubicBezTo>
                      <a:pt x="27" y="0"/>
                      <a:pt x="44" y="4"/>
                      <a:pt x="44" y="11"/>
                    </a:cubicBezTo>
                    <a:cubicBezTo>
                      <a:pt x="44" y="17"/>
                      <a:pt x="9" y="19"/>
                      <a:pt x="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3" name="Freeform 149"/>
              <p:cNvSpPr>
                <a:spLocks/>
              </p:cNvSpPr>
              <p:nvPr/>
            </p:nvSpPr>
            <p:spPr bwMode="auto">
              <a:xfrm>
                <a:off x="7191375" y="1443038"/>
                <a:ext cx="23813" cy="14288"/>
              </a:xfrm>
              <a:custGeom>
                <a:avLst/>
                <a:gdLst/>
                <a:ahLst/>
                <a:cxnLst>
                  <a:cxn ang="0">
                    <a:pos x="13" y="10"/>
                  </a:cxn>
                  <a:cxn ang="0">
                    <a:pos x="18" y="6"/>
                  </a:cxn>
                  <a:cxn ang="0">
                    <a:pos x="15" y="0"/>
                  </a:cxn>
                  <a:cxn ang="0">
                    <a:pos x="0" y="0"/>
                  </a:cxn>
                  <a:cxn ang="0">
                    <a:pos x="13" y="10"/>
                  </a:cxn>
                </a:cxnLst>
                <a:rect l="0" t="0" r="r" b="b"/>
                <a:pathLst>
                  <a:path w="18" h="10">
                    <a:moveTo>
                      <a:pt x="13" y="10"/>
                    </a:moveTo>
                    <a:cubicBezTo>
                      <a:pt x="15" y="10"/>
                      <a:pt x="18" y="8"/>
                      <a:pt x="18" y="6"/>
                    </a:cubicBezTo>
                    <a:cubicBezTo>
                      <a:pt x="18" y="3"/>
                      <a:pt x="15" y="2"/>
                      <a:pt x="15" y="0"/>
                    </a:cubicBezTo>
                    <a:cubicBezTo>
                      <a:pt x="0" y="0"/>
                      <a:pt x="0" y="0"/>
                      <a:pt x="0" y="0"/>
                    </a:cubicBezTo>
                    <a:cubicBezTo>
                      <a:pt x="3" y="6"/>
                      <a:pt x="7" y="10"/>
                      <a:pt x="13"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4" name="Freeform 150"/>
              <p:cNvSpPr>
                <a:spLocks/>
              </p:cNvSpPr>
              <p:nvPr/>
            </p:nvSpPr>
            <p:spPr bwMode="auto">
              <a:xfrm>
                <a:off x="6645275" y="1257300"/>
                <a:ext cx="11113" cy="12700"/>
              </a:xfrm>
              <a:custGeom>
                <a:avLst/>
                <a:gdLst/>
                <a:ahLst/>
                <a:cxnLst>
                  <a:cxn ang="0">
                    <a:pos x="8" y="5"/>
                  </a:cxn>
                  <a:cxn ang="0">
                    <a:pos x="3" y="0"/>
                  </a:cxn>
                  <a:cxn ang="0">
                    <a:pos x="0" y="7"/>
                  </a:cxn>
                  <a:cxn ang="0">
                    <a:pos x="3" y="10"/>
                  </a:cxn>
                  <a:cxn ang="0">
                    <a:pos x="8" y="4"/>
                  </a:cxn>
                  <a:cxn ang="0">
                    <a:pos x="6" y="4"/>
                  </a:cxn>
                  <a:cxn ang="0">
                    <a:pos x="8" y="5"/>
                  </a:cxn>
                </a:cxnLst>
                <a:rect l="0" t="0" r="r" b="b"/>
                <a:pathLst>
                  <a:path w="8" h="10">
                    <a:moveTo>
                      <a:pt x="8" y="5"/>
                    </a:moveTo>
                    <a:cubicBezTo>
                      <a:pt x="3" y="0"/>
                      <a:pt x="3" y="0"/>
                      <a:pt x="3" y="0"/>
                    </a:cubicBezTo>
                    <a:cubicBezTo>
                      <a:pt x="2" y="2"/>
                      <a:pt x="0" y="4"/>
                      <a:pt x="0" y="7"/>
                    </a:cubicBezTo>
                    <a:cubicBezTo>
                      <a:pt x="0" y="9"/>
                      <a:pt x="1" y="10"/>
                      <a:pt x="3" y="10"/>
                    </a:cubicBezTo>
                    <a:cubicBezTo>
                      <a:pt x="7" y="10"/>
                      <a:pt x="7" y="6"/>
                      <a:pt x="8" y="4"/>
                    </a:cubicBezTo>
                    <a:cubicBezTo>
                      <a:pt x="6" y="4"/>
                      <a:pt x="6" y="4"/>
                      <a:pt x="6" y="4"/>
                    </a:cubicBezTo>
                    <a:lnTo>
                      <a:pt x="8"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5" name="Freeform 151"/>
              <p:cNvSpPr>
                <a:spLocks/>
              </p:cNvSpPr>
              <p:nvPr/>
            </p:nvSpPr>
            <p:spPr bwMode="auto">
              <a:xfrm>
                <a:off x="6249988" y="1300163"/>
                <a:ext cx="26988" cy="15875"/>
              </a:xfrm>
              <a:custGeom>
                <a:avLst/>
                <a:gdLst/>
                <a:ahLst/>
                <a:cxnLst>
                  <a:cxn ang="0">
                    <a:pos x="20" y="9"/>
                  </a:cxn>
                  <a:cxn ang="0">
                    <a:pos x="10" y="12"/>
                  </a:cxn>
                  <a:cxn ang="0">
                    <a:pos x="0" y="7"/>
                  </a:cxn>
                  <a:cxn ang="0">
                    <a:pos x="10" y="0"/>
                  </a:cxn>
                  <a:cxn ang="0">
                    <a:pos x="20" y="7"/>
                  </a:cxn>
                  <a:cxn ang="0">
                    <a:pos x="17" y="12"/>
                  </a:cxn>
                  <a:cxn ang="0">
                    <a:pos x="20" y="9"/>
                  </a:cxn>
                </a:cxnLst>
                <a:rect l="0" t="0" r="r" b="b"/>
                <a:pathLst>
                  <a:path w="20" h="12">
                    <a:moveTo>
                      <a:pt x="20" y="9"/>
                    </a:moveTo>
                    <a:cubicBezTo>
                      <a:pt x="17" y="11"/>
                      <a:pt x="14" y="12"/>
                      <a:pt x="10" y="12"/>
                    </a:cubicBezTo>
                    <a:cubicBezTo>
                      <a:pt x="5" y="12"/>
                      <a:pt x="0" y="11"/>
                      <a:pt x="0" y="7"/>
                    </a:cubicBezTo>
                    <a:cubicBezTo>
                      <a:pt x="0" y="3"/>
                      <a:pt x="6" y="0"/>
                      <a:pt x="10" y="0"/>
                    </a:cubicBezTo>
                    <a:cubicBezTo>
                      <a:pt x="16" y="0"/>
                      <a:pt x="20" y="2"/>
                      <a:pt x="20" y="7"/>
                    </a:cubicBezTo>
                    <a:cubicBezTo>
                      <a:pt x="20" y="10"/>
                      <a:pt x="18" y="11"/>
                      <a:pt x="17" y="12"/>
                    </a:cubicBezTo>
                    <a:lnTo>
                      <a:pt x="20"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6" name="Freeform 152"/>
              <p:cNvSpPr>
                <a:spLocks/>
              </p:cNvSpPr>
              <p:nvPr/>
            </p:nvSpPr>
            <p:spPr bwMode="auto">
              <a:xfrm>
                <a:off x="6043613" y="1128713"/>
                <a:ext cx="100013" cy="57150"/>
              </a:xfrm>
              <a:custGeom>
                <a:avLst/>
                <a:gdLst/>
                <a:ahLst/>
                <a:cxnLst>
                  <a:cxn ang="0">
                    <a:pos x="6" y="43"/>
                  </a:cxn>
                  <a:cxn ang="0">
                    <a:pos x="0" y="37"/>
                  </a:cxn>
                  <a:cxn ang="0">
                    <a:pos x="8" y="27"/>
                  </a:cxn>
                  <a:cxn ang="0">
                    <a:pos x="39" y="0"/>
                  </a:cxn>
                  <a:cxn ang="0">
                    <a:pos x="45" y="0"/>
                  </a:cxn>
                  <a:cxn ang="0">
                    <a:pos x="44" y="10"/>
                  </a:cxn>
                  <a:cxn ang="0">
                    <a:pos x="52" y="6"/>
                  </a:cxn>
                  <a:cxn ang="0">
                    <a:pos x="76" y="23"/>
                  </a:cxn>
                  <a:cxn ang="0">
                    <a:pos x="45" y="34"/>
                  </a:cxn>
                  <a:cxn ang="0">
                    <a:pos x="30" y="37"/>
                  </a:cxn>
                  <a:cxn ang="0">
                    <a:pos x="6" y="43"/>
                  </a:cxn>
                </a:cxnLst>
                <a:rect l="0" t="0" r="r" b="b"/>
                <a:pathLst>
                  <a:path w="76" h="43">
                    <a:moveTo>
                      <a:pt x="6" y="43"/>
                    </a:moveTo>
                    <a:cubicBezTo>
                      <a:pt x="1" y="43"/>
                      <a:pt x="0" y="41"/>
                      <a:pt x="0" y="37"/>
                    </a:cubicBezTo>
                    <a:cubicBezTo>
                      <a:pt x="0" y="30"/>
                      <a:pt x="5" y="30"/>
                      <a:pt x="8" y="27"/>
                    </a:cubicBezTo>
                    <a:cubicBezTo>
                      <a:pt x="18" y="17"/>
                      <a:pt x="22" y="0"/>
                      <a:pt x="39" y="0"/>
                    </a:cubicBezTo>
                    <a:cubicBezTo>
                      <a:pt x="43" y="0"/>
                      <a:pt x="43" y="0"/>
                      <a:pt x="45" y="0"/>
                    </a:cubicBezTo>
                    <a:cubicBezTo>
                      <a:pt x="45" y="7"/>
                      <a:pt x="47" y="7"/>
                      <a:pt x="44" y="10"/>
                    </a:cubicBezTo>
                    <a:cubicBezTo>
                      <a:pt x="47" y="9"/>
                      <a:pt x="49" y="6"/>
                      <a:pt x="52" y="6"/>
                    </a:cubicBezTo>
                    <a:cubicBezTo>
                      <a:pt x="58" y="6"/>
                      <a:pt x="76" y="17"/>
                      <a:pt x="76" y="23"/>
                    </a:cubicBezTo>
                    <a:cubicBezTo>
                      <a:pt x="76" y="34"/>
                      <a:pt x="53" y="36"/>
                      <a:pt x="45" y="34"/>
                    </a:cubicBezTo>
                    <a:cubicBezTo>
                      <a:pt x="43" y="34"/>
                      <a:pt x="30" y="37"/>
                      <a:pt x="30" y="37"/>
                    </a:cubicBezTo>
                    <a:lnTo>
                      <a:pt x="6" y="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7" name="Freeform 153"/>
              <p:cNvSpPr>
                <a:spLocks/>
              </p:cNvSpPr>
              <p:nvPr/>
            </p:nvSpPr>
            <p:spPr bwMode="auto">
              <a:xfrm>
                <a:off x="5900738" y="1101725"/>
                <a:ext cx="39688" cy="20638"/>
              </a:xfrm>
              <a:custGeom>
                <a:avLst/>
                <a:gdLst/>
                <a:ahLst/>
                <a:cxnLst>
                  <a:cxn ang="0">
                    <a:pos x="12" y="0"/>
                  </a:cxn>
                  <a:cxn ang="0">
                    <a:pos x="30" y="7"/>
                  </a:cxn>
                  <a:cxn ang="0">
                    <a:pos x="9" y="16"/>
                  </a:cxn>
                  <a:cxn ang="0">
                    <a:pos x="0" y="5"/>
                  </a:cxn>
                  <a:cxn ang="0">
                    <a:pos x="12" y="0"/>
                  </a:cxn>
                </a:cxnLst>
                <a:rect l="0" t="0" r="r" b="b"/>
                <a:pathLst>
                  <a:path w="30" h="16">
                    <a:moveTo>
                      <a:pt x="12" y="0"/>
                    </a:moveTo>
                    <a:cubicBezTo>
                      <a:pt x="14" y="0"/>
                      <a:pt x="26" y="6"/>
                      <a:pt x="30" y="7"/>
                    </a:cubicBezTo>
                    <a:cubicBezTo>
                      <a:pt x="29" y="15"/>
                      <a:pt x="14" y="16"/>
                      <a:pt x="9" y="16"/>
                    </a:cubicBezTo>
                    <a:cubicBezTo>
                      <a:pt x="6" y="16"/>
                      <a:pt x="0" y="9"/>
                      <a:pt x="0" y="5"/>
                    </a:cubicBezTo>
                    <a:cubicBezTo>
                      <a:pt x="0" y="0"/>
                      <a:pt x="9" y="0"/>
                      <a:pt x="1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8" name="Freeform 154"/>
              <p:cNvSpPr>
                <a:spLocks/>
              </p:cNvSpPr>
              <p:nvPr/>
            </p:nvSpPr>
            <p:spPr bwMode="auto">
              <a:xfrm>
                <a:off x="5913438" y="1057275"/>
                <a:ext cx="139700" cy="98425"/>
              </a:xfrm>
              <a:custGeom>
                <a:avLst/>
                <a:gdLst/>
                <a:ahLst/>
                <a:cxnLst>
                  <a:cxn ang="0">
                    <a:pos x="99" y="68"/>
                  </a:cxn>
                  <a:cxn ang="0">
                    <a:pos x="90" y="74"/>
                  </a:cxn>
                  <a:cxn ang="0">
                    <a:pos x="41" y="66"/>
                  </a:cxn>
                  <a:cxn ang="0">
                    <a:pos x="17" y="50"/>
                  </a:cxn>
                  <a:cxn ang="0">
                    <a:pos x="50" y="36"/>
                  </a:cxn>
                  <a:cxn ang="0">
                    <a:pos x="32" y="36"/>
                  </a:cxn>
                  <a:cxn ang="0">
                    <a:pos x="0" y="26"/>
                  </a:cxn>
                  <a:cxn ang="0">
                    <a:pos x="46" y="0"/>
                  </a:cxn>
                  <a:cxn ang="0">
                    <a:pos x="72" y="17"/>
                  </a:cxn>
                  <a:cxn ang="0">
                    <a:pos x="67" y="18"/>
                  </a:cxn>
                  <a:cxn ang="0">
                    <a:pos x="67" y="27"/>
                  </a:cxn>
                  <a:cxn ang="0">
                    <a:pos x="59" y="35"/>
                  </a:cxn>
                  <a:cxn ang="0">
                    <a:pos x="68" y="35"/>
                  </a:cxn>
                  <a:cxn ang="0">
                    <a:pos x="81" y="39"/>
                  </a:cxn>
                  <a:cxn ang="0">
                    <a:pos x="90" y="39"/>
                  </a:cxn>
                  <a:cxn ang="0">
                    <a:pos x="105" y="48"/>
                  </a:cxn>
                  <a:cxn ang="0">
                    <a:pos x="101" y="57"/>
                  </a:cxn>
                  <a:cxn ang="0">
                    <a:pos x="92" y="62"/>
                  </a:cxn>
                  <a:cxn ang="0">
                    <a:pos x="99" y="68"/>
                  </a:cxn>
                </a:cxnLst>
                <a:rect l="0" t="0" r="r" b="b"/>
                <a:pathLst>
                  <a:path w="105" h="74">
                    <a:moveTo>
                      <a:pt x="99" y="68"/>
                    </a:moveTo>
                    <a:cubicBezTo>
                      <a:pt x="99" y="72"/>
                      <a:pt x="94" y="74"/>
                      <a:pt x="90" y="74"/>
                    </a:cubicBezTo>
                    <a:cubicBezTo>
                      <a:pt x="71" y="74"/>
                      <a:pt x="57" y="66"/>
                      <a:pt x="41" y="66"/>
                    </a:cubicBezTo>
                    <a:cubicBezTo>
                      <a:pt x="35" y="66"/>
                      <a:pt x="24" y="54"/>
                      <a:pt x="17" y="50"/>
                    </a:cubicBezTo>
                    <a:cubicBezTo>
                      <a:pt x="32" y="46"/>
                      <a:pt x="36" y="41"/>
                      <a:pt x="50" y="36"/>
                    </a:cubicBezTo>
                    <a:cubicBezTo>
                      <a:pt x="46" y="36"/>
                      <a:pt x="35" y="36"/>
                      <a:pt x="32" y="36"/>
                    </a:cubicBezTo>
                    <a:cubicBezTo>
                      <a:pt x="20" y="36"/>
                      <a:pt x="11" y="32"/>
                      <a:pt x="0" y="26"/>
                    </a:cubicBezTo>
                    <a:cubicBezTo>
                      <a:pt x="18" y="21"/>
                      <a:pt x="25" y="0"/>
                      <a:pt x="46" y="0"/>
                    </a:cubicBezTo>
                    <a:cubicBezTo>
                      <a:pt x="58" y="0"/>
                      <a:pt x="65" y="12"/>
                      <a:pt x="72" y="17"/>
                    </a:cubicBezTo>
                    <a:cubicBezTo>
                      <a:pt x="68" y="19"/>
                      <a:pt x="69" y="18"/>
                      <a:pt x="67" y="18"/>
                    </a:cubicBezTo>
                    <a:cubicBezTo>
                      <a:pt x="68" y="23"/>
                      <a:pt x="67" y="24"/>
                      <a:pt x="67" y="27"/>
                    </a:cubicBezTo>
                    <a:cubicBezTo>
                      <a:pt x="67" y="29"/>
                      <a:pt x="62" y="33"/>
                      <a:pt x="59" y="35"/>
                    </a:cubicBezTo>
                    <a:cubicBezTo>
                      <a:pt x="63" y="33"/>
                      <a:pt x="65" y="35"/>
                      <a:pt x="68" y="35"/>
                    </a:cubicBezTo>
                    <a:cubicBezTo>
                      <a:pt x="73" y="35"/>
                      <a:pt x="76" y="39"/>
                      <a:pt x="81" y="39"/>
                    </a:cubicBezTo>
                    <a:cubicBezTo>
                      <a:pt x="84" y="39"/>
                      <a:pt x="87" y="39"/>
                      <a:pt x="90" y="39"/>
                    </a:cubicBezTo>
                    <a:cubicBezTo>
                      <a:pt x="99" y="39"/>
                      <a:pt x="99" y="42"/>
                      <a:pt x="105" y="48"/>
                    </a:cubicBezTo>
                    <a:cubicBezTo>
                      <a:pt x="100" y="51"/>
                      <a:pt x="101" y="52"/>
                      <a:pt x="101" y="57"/>
                    </a:cubicBezTo>
                    <a:cubicBezTo>
                      <a:pt x="101" y="61"/>
                      <a:pt x="95" y="62"/>
                      <a:pt x="92" y="62"/>
                    </a:cubicBezTo>
                    <a:cubicBezTo>
                      <a:pt x="95" y="63"/>
                      <a:pt x="99" y="65"/>
                      <a:pt x="99"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69" name="Freeform 155"/>
              <p:cNvSpPr>
                <a:spLocks/>
              </p:cNvSpPr>
              <p:nvPr/>
            </p:nvSpPr>
            <p:spPr bwMode="auto">
              <a:xfrm>
                <a:off x="5973763" y="1212850"/>
                <a:ext cx="17463" cy="12700"/>
              </a:xfrm>
              <a:custGeom>
                <a:avLst/>
                <a:gdLst/>
                <a:ahLst/>
                <a:cxnLst>
                  <a:cxn ang="0">
                    <a:pos x="0" y="5"/>
                  </a:cxn>
                  <a:cxn ang="0">
                    <a:pos x="7" y="0"/>
                  </a:cxn>
                  <a:cxn ang="0">
                    <a:pos x="13" y="0"/>
                  </a:cxn>
                  <a:cxn ang="0">
                    <a:pos x="5" y="9"/>
                  </a:cxn>
                  <a:cxn ang="0">
                    <a:pos x="0" y="5"/>
                  </a:cxn>
                </a:cxnLst>
                <a:rect l="0" t="0" r="r" b="b"/>
                <a:pathLst>
                  <a:path w="13" h="9">
                    <a:moveTo>
                      <a:pt x="0" y="5"/>
                    </a:moveTo>
                    <a:cubicBezTo>
                      <a:pt x="3" y="3"/>
                      <a:pt x="5" y="1"/>
                      <a:pt x="7" y="0"/>
                    </a:cubicBezTo>
                    <a:cubicBezTo>
                      <a:pt x="13" y="0"/>
                      <a:pt x="13" y="0"/>
                      <a:pt x="13" y="0"/>
                    </a:cubicBezTo>
                    <a:cubicBezTo>
                      <a:pt x="12" y="6"/>
                      <a:pt x="10" y="9"/>
                      <a:pt x="5" y="9"/>
                    </a:cubicBezTo>
                    <a:cubicBezTo>
                      <a:pt x="2" y="9"/>
                      <a:pt x="1" y="7"/>
                      <a:pt x="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0" name="Freeform 156"/>
              <p:cNvSpPr>
                <a:spLocks/>
              </p:cNvSpPr>
              <p:nvPr/>
            </p:nvSpPr>
            <p:spPr bwMode="auto">
              <a:xfrm>
                <a:off x="5886450" y="1060450"/>
                <a:ext cx="23813" cy="7938"/>
              </a:xfrm>
              <a:custGeom>
                <a:avLst/>
                <a:gdLst/>
                <a:ahLst/>
                <a:cxnLst>
                  <a:cxn ang="0">
                    <a:pos x="18" y="4"/>
                  </a:cxn>
                  <a:cxn ang="0">
                    <a:pos x="0" y="0"/>
                  </a:cxn>
                  <a:cxn ang="0">
                    <a:pos x="16" y="0"/>
                  </a:cxn>
                  <a:cxn ang="0">
                    <a:pos x="18" y="4"/>
                  </a:cxn>
                </a:cxnLst>
                <a:rect l="0" t="0" r="r" b="b"/>
                <a:pathLst>
                  <a:path w="18" h="6">
                    <a:moveTo>
                      <a:pt x="18" y="4"/>
                    </a:moveTo>
                    <a:cubicBezTo>
                      <a:pt x="11" y="5"/>
                      <a:pt x="3" y="6"/>
                      <a:pt x="0" y="0"/>
                    </a:cubicBezTo>
                    <a:cubicBezTo>
                      <a:pt x="16" y="0"/>
                      <a:pt x="16" y="0"/>
                      <a:pt x="16" y="0"/>
                    </a:cubicBezTo>
                    <a:lnTo>
                      <a:pt x="18"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1" name="Freeform 157"/>
              <p:cNvSpPr>
                <a:spLocks/>
              </p:cNvSpPr>
              <p:nvPr/>
            </p:nvSpPr>
            <p:spPr bwMode="auto">
              <a:xfrm>
                <a:off x="6162675" y="1173163"/>
                <a:ext cx="20638" cy="9525"/>
              </a:xfrm>
              <a:custGeom>
                <a:avLst/>
                <a:gdLst/>
                <a:ahLst/>
                <a:cxnLst>
                  <a:cxn ang="0">
                    <a:pos x="15" y="1"/>
                  </a:cxn>
                  <a:cxn ang="0">
                    <a:pos x="9" y="7"/>
                  </a:cxn>
                  <a:cxn ang="0">
                    <a:pos x="0" y="2"/>
                  </a:cxn>
                  <a:cxn ang="0">
                    <a:pos x="15" y="1"/>
                  </a:cxn>
                </a:cxnLst>
                <a:rect l="0" t="0" r="r" b="b"/>
                <a:pathLst>
                  <a:path w="15" h="7">
                    <a:moveTo>
                      <a:pt x="15" y="1"/>
                    </a:moveTo>
                    <a:cubicBezTo>
                      <a:pt x="14" y="4"/>
                      <a:pt x="12" y="7"/>
                      <a:pt x="9" y="7"/>
                    </a:cubicBezTo>
                    <a:cubicBezTo>
                      <a:pt x="4" y="7"/>
                      <a:pt x="1" y="4"/>
                      <a:pt x="0" y="2"/>
                    </a:cubicBezTo>
                    <a:cubicBezTo>
                      <a:pt x="9" y="0"/>
                      <a:pt x="11" y="2"/>
                      <a:pt x="15"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2" name="Freeform 158"/>
              <p:cNvSpPr>
                <a:spLocks/>
              </p:cNvSpPr>
              <p:nvPr/>
            </p:nvSpPr>
            <p:spPr bwMode="auto">
              <a:xfrm>
                <a:off x="5119688" y="1074738"/>
                <a:ext cx="117475" cy="36513"/>
              </a:xfrm>
              <a:custGeom>
                <a:avLst/>
                <a:gdLst/>
                <a:ahLst/>
                <a:cxnLst>
                  <a:cxn ang="0">
                    <a:pos x="76" y="14"/>
                  </a:cxn>
                  <a:cxn ang="0">
                    <a:pos x="58" y="17"/>
                  </a:cxn>
                  <a:cxn ang="0">
                    <a:pos x="49" y="27"/>
                  </a:cxn>
                  <a:cxn ang="0">
                    <a:pos x="44" y="23"/>
                  </a:cxn>
                  <a:cxn ang="0">
                    <a:pos x="44" y="23"/>
                  </a:cxn>
                  <a:cxn ang="0">
                    <a:pos x="32" y="17"/>
                  </a:cxn>
                  <a:cxn ang="0">
                    <a:pos x="41" y="14"/>
                  </a:cxn>
                  <a:cxn ang="0">
                    <a:pos x="33" y="13"/>
                  </a:cxn>
                  <a:cxn ang="0">
                    <a:pos x="40" y="9"/>
                  </a:cxn>
                  <a:cxn ang="0">
                    <a:pos x="30" y="5"/>
                  </a:cxn>
                  <a:cxn ang="0">
                    <a:pos x="10" y="11"/>
                  </a:cxn>
                  <a:cxn ang="0">
                    <a:pos x="0" y="9"/>
                  </a:cxn>
                  <a:cxn ang="0">
                    <a:pos x="34" y="0"/>
                  </a:cxn>
                  <a:cxn ang="0">
                    <a:pos x="60" y="6"/>
                  </a:cxn>
                  <a:cxn ang="0">
                    <a:pos x="76" y="0"/>
                  </a:cxn>
                  <a:cxn ang="0">
                    <a:pos x="89" y="5"/>
                  </a:cxn>
                  <a:cxn ang="0">
                    <a:pos x="78" y="13"/>
                  </a:cxn>
                  <a:cxn ang="0">
                    <a:pos x="73" y="13"/>
                  </a:cxn>
                  <a:cxn ang="0">
                    <a:pos x="73" y="17"/>
                  </a:cxn>
                  <a:cxn ang="0">
                    <a:pos x="76" y="14"/>
                  </a:cxn>
                </a:cxnLst>
                <a:rect l="0" t="0" r="r" b="b"/>
                <a:pathLst>
                  <a:path w="89" h="27">
                    <a:moveTo>
                      <a:pt x="76" y="14"/>
                    </a:moveTo>
                    <a:cubicBezTo>
                      <a:pt x="69" y="19"/>
                      <a:pt x="65" y="13"/>
                      <a:pt x="58" y="17"/>
                    </a:cubicBezTo>
                    <a:cubicBezTo>
                      <a:pt x="54" y="19"/>
                      <a:pt x="53" y="27"/>
                      <a:pt x="49" y="27"/>
                    </a:cubicBezTo>
                    <a:cubicBezTo>
                      <a:pt x="47" y="26"/>
                      <a:pt x="45" y="24"/>
                      <a:pt x="44" y="23"/>
                    </a:cubicBezTo>
                    <a:cubicBezTo>
                      <a:pt x="44" y="23"/>
                      <a:pt x="44" y="23"/>
                      <a:pt x="44" y="23"/>
                    </a:cubicBezTo>
                    <a:cubicBezTo>
                      <a:pt x="38" y="23"/>
                      <a:pt x="33" y="21"/>
                      <a:pt x="32" y="17"/>
                    </a:cubicBezTo>
                    <a:cubicBezTo>
                      <a:pt x="36" y="15"/>
                      <a:pt x="38" y="15"/>
                      <a:pt x="41" y="14"/>
                    </a:cubicBezTo>
                    <a:cubicBezTo>
                      <a:pt x="37" y="14"/>
                      <a:pt x="35" y="13"/>
                      <a:pt x="33" y="13"/>
                    </a:cubicBezTo>
                    <a:cubicBezTo>
                      <a:pt x="36" y="11"/>
                      <a:pt x="38" y="11"/>
                      <a:pt x="40" y="9"/>
                    </a:cubicBezTo>
                    <a:cubicBezTo>
                      <a:pt x="36" y="8"/>
                      <a:pt x="34" y="5"/>
                      <a:pt x="30" y="5"/>
                    </a:cubicBezTo>
                    <a:cubicBezTo>
                      <a:pt x="25" y="5"/>
                      <a:pt x="17" y="11"/>
                      <a:pt x="10" y="11"/>
                    </a:cubicBezTo>
                    <a:cubicBezTo>
                      <a:pt x="7" y="11"/>
                      <a:pt x="4" y="9"/>
                      <a:pt x="0" y="9"/>
                    </a:cubicBezTo>
                    <a:cubicBezTo>
                      <a:pt x="4" y="2"/>
                      <a:pt x="25" y="0"/>
                      <a:pt x="34" y="0"/>
                    </a:cubicBezTo>
                    <a:cubicBezTo>
                      <a:pt x="45" y="0"/>
                      <a:pt x="52" y="6"/>
                      <a:pt x="60" y="6"/>
                    </a:cubicBezTo>
                    <a:cubicBezTo>
                      <a:pt x="67" y="6"/>
                      <a:pt x="70" y="0"/>
                      <a:pt x="76" y="0"/>
                    </a:cubicBezTo>
                    <a:cubicBezTo>
                      <a:pt x="82" y="0"/>
                      <a:pt x="87" y="4"/>
                      <a:pt x="89" y="5"/>
                    </a:cubicBezTo>
                    <a:cubicBezTo>
                      <a:pt x="89" y="13"/>
                      <a:pt x="83" y="9"/>
                      <a:pt x="78" y="13"/>
                    </a:cubicBezTo>
                    <a:cubicBezTo>
                      <a:pt x="76" y="13"/>
                      <a:pt x="75" y="13"/>
                      <a:pt x="73" y="13"/>
                    </a:cubicBezTo>
                    <a:cubicBezTo>
                      <a:pt x="73" y="17"/>
                      <a:pt x="73" y="17"/>
                      <a:pt x="73" y="17"/>
                    </a:cubicBezTo>
                    <a:lnTo>
                      <a:pt x="76"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3" name="Freeform 159"/>
              <p:cNvSpPr>
                <a:spLocks/>
              </p:cNvSpPr>
              <p:nvPr/>
            </p:nvSpPr>
            <p:spPr bwMode="auto">
              <a:xfrm>
                <a:off x="5427663" y="1052513"/>
                <a:ext cx="41275" cy="26988"/>
              </a:xfrm>
              <a:custGeom>
                <a:avLst/>
                <a:gdLst/>
                <a:ahLst/>
                <a:cxnLst>
                  <a:cxn ang="0">
                    <a:pos x="7" y="20"/>
                  </a:cxn>
                  <a:cxn ang="0">
                    <a:pos x="0" y="13"/>
                  </a:cxn>
                  <a:cxn ang="0">
                    <a:pos x="25" y="0"/>
                  </a:cxn>
                  <a:cxn ang="0">
                    <a:pos x="31" y="14"/>
                  </a:cxn>
                  <a:cxn ang="0">
                    <a:pos x="7" y="20"/>
                  </a:cxn>
                </a:cxnLst>
                <a:rect l="0" t="0" r="r" b="b"/>
                <a:pathLst>
                  <a:path w="31" h="20">
                    <a:moveTo>
                      <a:pt x="7" y="20"/>
                    </a:moveTo>
                    <a:cubicBezTo>
                      <a:pt x="2" y="20"/>
                      <a:pt x="0" y="17"/>
                      <a:pt x="0" y="13"/>
                    </a:cubicBezTo>
                    <a:cubicBezTo>
                      <a:pt x="0" y="7"/>
                      <a:pt x="18" y="0"/>
                      <a:pt x="25" y="0"/>
                    </a:cubicBezTo>
                    <a:cubicBezTo>
                      <a:pt x="31" y="14"/>
                      <a:pt x="31" y="14"/>
                      <a:pt x="31" y="14"/>
                    </a:cubicBezTo>
                    <a:cubicBezTo>
                      <a:pt x="28" y="16"/>
                      <a:pt x="11" y="20"/>
                      <a:pt x="7"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4" name="Freeform 160"/>
              <p:cNvSpPr>
                <a:spLocks/>
              </p:cNvSpPr>
              <p:nvPr/>
            </p:nvSpPr>
            <p:spPr bwMode="auto">
              <a:xfrm>
                <a:off x="5373688" y="1069975"/>
                <a:ext cx="44450" cy="25400"/>
              </a:xfrm>
              <a:custGeom>
                <a:avLst/>
                <a:gdLst/>
                <a:ahLst/>
                <a:cxnLst>
                  <a:cxn ang="0">
                    <a:pos x="33" y="4"/>
                  </a:cxn>
                  <a:cxn ang="0">
                    <a:pos x="33" y="10"/>
                  </a:cxn>
                  <a:cxn ang="0">
                    <a:pos x="22" y="12"/>
                  </a:cxn>
                  <a:cxn ang="0">
                    <a:pos x="24" y="18"/>
                  </a:cxn>
                  <a:cxn ang="0">
                    <a:pos x="0" y="18"/>
                  </a:cxn>
                  <a:cxn ang="0">
                    <a:pos x="9" y="6"/>
                  </a:cxn>
                  <a:cxn ang="0">
                    <a:pos x="9" y="0"/>
                  </a:cxn>
                  <a:cxn ang="0">
                    <a:pos x="23" y="0"/>
                  </a:cxn>
                  <a:cxn ang="0">
                    <a:pos x="19" y="4"/>
                  </a:cxn>
                  <a:cxn ang="0">
                    <a:pos x="33" y="4"/>
                  </a:cxn>
                </a:cxnLst>
                <a:rect l="0" t="0" r="r" b="b"/>
                <a:pathLst>
                  <a:path w="33" h="20">
                    <a:moveTo>
                      <a:pt x="33" y="4"/>
                    </a:moveTo>
                    <a:cubicBezTo>
                      <a:pt x="33" y="8"/>
                      <a:pt x="33" y="8"/>
                      <a:pt x="33" y="10"/>
                    </a:cubicBezTo>
                    <a:cubicBezTo>
                      <a:pt x="30" y="14"/>
                      <a:pt x="26" y="12"/>
                      <a:pt x="22" y="12"/>
                    </a:cubicBezTo>
                    <a:cubicBezTo>
                      <a:pt x="24" y="18"/>
                      <a:pt x="24" y="18"/>
                      <a:pt x="24" y="18"/>
                    </a:cubicBezTo>
                    <a:cubicBezTo>
                      <a:pt x="22" y="19"/>
                      <a:pt x="0" y="20"/>
                      <a:pt x="0" y="18"/>
                    </a:cubicBezTo>
                    <a:cubicBezTo>
                      <a:pt x="0" y="11"/>
                      <a:pt x="3" y="8"/>
                      <a:pt x="9" y="6"/>
                    </a:cubicBezTo>
                    <a:cubicBezTo>
                      <a:pt x="8" y="2"/>
                      <a:pt x="9" y="1"/>
                      <a:pt x="9" y="0"/>
                    </a:cubicBezTo>
                    <a:cubicBezTo>
                      <a:pt x="23" y="0"/>
                      <a:pt x="23" y="0"/>
                      <a:pt x="23" y="0"/>
                    </a:cubicBezTo>
                    <a:cubicBezTo>
                      <a:pt x="22" y="2"/>
                      <a:pt x="20" y="4"/>
                      <a:pt x="19" y="4"/>
                    </a:cubicBezTo>
                    <a:cubicBezTo>
                      <a:pt x="22" y="4"/>
                      <a:pt x="29" y="4"/>
                      <a:pt x="33"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5" name="Freeform 161"/>
              <p:cNvSpPr>
                <a:spLocks/>
              </p:cNvSpPr>
              <p:nvPr/>
            </p:nvSpPr>
            <p:spPr bwMode="auto">
              <a:xfrm>
                <a:off x="5314950" y="1092200"/>
                <a:ext cx="44450" cy="15875"/>
              </a:xfrm>
              <a:custGeom>
                <a:avLst/>
                <a:gdLst/>
                <a:ahLst/>
                <a:cxnLst>
                  <a:cxn ang="0">
                    <a:pos x="20" y="12"/>
                  </a:cxn>
                  <a:cxn ang="0">
                    <a:pos x="11" y="7"/>
                  </a:cxn>
                  <a:cxn ang="0">
                    <a:pos x="4" y="12"/>
                  </a:cxn>
                  <a:cxn ang="0">
                    <a:pos x="0" y="9"/>
                  </a:cxn>
                  <a:cxn ang="0">
                    <a:pos x="22" y="0"/>
                  </a:cxn>
                  <a:cxn ang="0">
                    <a:pos x="34" y="5"/>
                  </a:cxn>
                  <a:cxn ang="0">
                    <a:pos x="20" y="12"/>
                  </a:cxn>
                </a:cxnLst>
                <a:rect l="0" t="0" r="r" b="b"/>
                <a:pathLst>
                  <a:path w="34" h="12">
                    <a:moveTo>
                      <a:pt x="20" y="12"/>
                    </a:moveTo>
                    <a:cubicBezTo>
                      <a:pt x="17" y="12"/>
                      <a:pt x="14" y="7"/>
                      <a:pt x="11" y="7"/>
                    </a:cubicBezTo>
                    <a:cubicBezTo>
                      <a:pt x="10" y="12"/>
                      <a:pt x="8" y="12"/>
                      <a:pt x="4" y="12"/>
                    </a:cubicBezTo>
                    <a:cubicBezTo>
                      <a:pt x="2" y="12"/>
                      <a:pt x="0" y="10"/>
                      <a:pt x="0" y="9"/>
                    </a:cubicBezTo>
                    <a:cubicBezTo>
                      <a:pt x="0" y="2"/>
                      <a:pt x="17" y="0"/>
                      <a:pt x="22" y="0"/>
                    </a:cubicBezTo>
                    <a:cubicBezTo>
                      <a:pt x="28" y="0"/>
                      <a:pt x="32" y="2"/>
                      <a:pt x="34" y="5"/>
                    </a:cubicBezTo>
                    <a:cubicBezTo>
                      <a:pt x="25" y="5"/>
                      <a:pt x="26" y="12"/>
                      <a:pt x="2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6" name="Freeform 162"/>
              <p:cNvSpPr>
                <a:spLocks/>
              </p:cNvSpPr>
              <p:nvPr/>
            </p:nvSpPr>
            <p:spPr bwMode="auto">
              <a:xfrm>
                <a:off x="5287963" y="1038225"/>
                <a:ext cx="71438" cy="49213"/>
              </a:xfrm>
              <a:custGeom>
                <a:avLst/>
                <a:gdLst/>
                <a:ahLst/>
                <a:cxnLst>
                  <a:cxn ang="0">
                    <a:pos x="40" y="31"/>
                  </a:cxn>
                  <a:cxn ang="0">
                    <a:pos x="22" y="36"/>
                  </a:cxn>
                  <a:cxn ang="0">
                    <a:pos x="0" y="28"/>
                  </a:cxn>
                  <a:cxn ang="0">
                    <a:pos x="6" y="23"/>
                  </a:cxn>
                  <a:cxn ang="0">
                    <a:pos x="24" y="23"/>
                  </a:cxn>
                  <a:cxn ang="0">
                    <a:pos x="17" y="22"/>
                  </a:cxn>
                  <a:cxn ang="0">
                    <a:pos x="17" y="16"/>
                  </a:cxn>
                  <a:cxn ang="0">
                    <a:pos x="43" y="8"/>
                  </a:cxn>
                  <a:cxn ang="0">
                    <a:pos x="51" y="0"/>
                  </a:cxn>
                  <a:cxn ang="0">
                    <a:pos x="52" y="5"/>
                  </a:cxn>
                  <a:cxn ang="0">
                    <a:pos x="48" y="11"/>
                  </a:cxn>
                  <a:cxn ang="0">
                    <a:pos x="28" y="23"/>
                  </a:cxn>
                  <a:cxn ang="0">
                    <a:pos x="53" y="29"/>
                  </a:cxn>
                  <a:cxn ang="0">
                    <a:pos x="40" y="31"/>
                  </a:cxn>
                </a:cxnLst>
                <a:rect l="0" t="0" r="r" b="b"/>
                <a:pathLst>
                  <a:path w="53" h="36">
                    <a:moveTo>
                      <a:pt x="40" y="31"/>
                    </a:moveTo>
                    <a:cubicBezTo>
                      <a:pt x="34" y="31"/>
                      <a:pt x="27" y="36"/>
                      <a:pt x="22" y="36"/>
                    </a:cubicBezTo>
                    <a:cubicBezTo>
                      <a:pt x="19" y="36"/>
                      <a:pt x="1" y="28"/>
                      <a:pt x="0" y="28"/>
                    </a:cubicBezTo>
                    <a:cubicBezTo>
                      <a:pt x="3" y="26"/>
                      <a:pt x="4" y="25"/>
                      <a:pt x="6" y="23"/>
                    </a:cubicBezTo>
                    <a:cubicBezTo>
                      <a:pt x="24" y="23"/>
                      <a:pt x="24" y="23"/>
                      <a:pt x="24" y="23"/>
                    </a:cubicBezTo>
                    <a:cubicBezTo>
                      <a:pt x="19" y="21"/>
                      <a:pt x="21" y="20"/>
                      <a:pt x="17" y="22"/>
                    </a:cubicBezTo>
                    <a:cubicBezTo>
                      <a:pt x="17" y="16"/>
                      <a:pt x="17" y="16"/>
                      <a:pt x="17" y="16"/>
                    </a:cubicBezTo>
                    <a:cubicBezTo>
                      <a:pt x="30" y="16"/>
                      <a:pt x="30" y="8"/>
                      <a:pt x="43" y="8"/>
                    </a:cubicBezTo>
                    <a:cubicBezTo>
                      <a:pt x="44" y="4"/>
                      <a:pt x="47" y="0"/>
                      <a:pt x="51" y="0"/>
                    </a:cubicBezTo>
                    <a:cubicBezTo>
                      <a:pt x="52" y="0"/>
                      <a:pt x="52" y="4"/>
                      <a:pt x="52" y="5"/>
                    </a:cubicBezTo>
                    <a:cubicBezTo>
                      <a:pt x="50" y="7"/>
                      <a:pt x="48" y="9"/>
                      <a:pt x="48" y="11"/>
                    </a:cubicBezTo>
                    <a:cubicBezTo>
                      <a:pt x="41" y="16"/>
                      <a:pt x="32" y="18"/>
                      <a:pt x="28" y="23"/>
                    </a:cubicBezTo>
                    <a:cubicBezTo>
                      <a:pt x="40" y="24"/>
                      <a:pt x="43" y="25"/>
                      <a:pt x="53" y="29"/>
                    </a:cubicBezTo>
                    <a:cubicBezTo>
                      <a:pt x="49" y="32"/>
                      <a:pt x="45" y="31"/>
                      <a:pt x="40"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7" name="Freeform 164"/>
              <p:cNvSpPr>
                <a:spLocks/>
              </p:cNvSpPr>
              <p:nvPr/>
            </p:nvSpPr>
            <p:spPr bwMode="auto">
              <a:xfrm>
                <a:off x="6675438" y="1244600"/>
                <a:ext cx="128588" cy="49213"/>
              </a:xfrm>
              <a:custGeom>
                <a:avLst/>
                <a:gdLst/>
                <a:ahLst/>
                <a:cxnLst>
                  <a:cxn ang="0">
                    <a:pos x="77" y="29"/>
                  </a:cxn>
                  <a:cxn ang="0">
                    <a:pos x="66" y="34"/>
                  </a:cxn>
                  <a:cxn ang="0">
                    <a:pos x="58" y="29"/>
                  </a:cxn>
                  <a:cxn ang="0">
                    <a:pos x="50" y="32"/>
                  </a:cxn>
                  <a:cxn ang="0">
                    <a:pos x="40" y="36"/>
                  </a:cxn>
                  <a:cxn ang="0">
                    <a:pos x="32" y="31"/>
                  </a:cxn>
                  <a:cxn ang="0">
                    <a:pos x="22" y="38"/>
                  </a:cxn>
                  <a:cxn ang="0">
                    <a:pos x="0" y="18"/>
                  </a:cxn>
                  <a:cxn ang="0">
                    <a:pos x="20" y="0"/>
                  </a:cxn>
                  <a:cxn ang="0">
                    <a:pos x="47" y="15"/>
                  </a:cxn>
                  <a:cxn ang="0">
                    <a:pos x="54" y="3"/>
                  </a:cxn>
                  <a:cxn ang="0">
                    <a:pos x="97" y="15"/>
                  </a:cxn>
                  <a:cxn ang="0">
                    <a:pos x="89" y="29"/>
                  </a:cxn>
                  <a:cxn ang="0">
                    <a:pos x="77" y="29"/>
                  </a:cxn>
                </a:cxnLst>
                <a:rect l="0" t="0" r="r" b="b"/>
                <a:pathLst>
                  <a:path w="97" h="38">
                    <a:moveTo>
                      <a:pt x="77" y="29"/>
                    </a:moveTo>
                    <a:cubicBezTo>
                      <a:pt x="74" y="29"/>
                      <a:pt x="72" y="34"/>
                      <a:pt x="66" y="34"/>
                    </a:cubicBezTo>
                    <a:cubicBezTo>
                      <a:pt x="63" y="34"/>
                      <a:pt x="62" y="29"/>
                      <a:pt x="58" y="29"/>
                    </a:cubicBezTo>
                    <a:cubicBezTo>
                      <a:pt x="55" y="29"/>
                      <a:pt x="53" y="32"/>
                      <a:pt x="50" y="32"/>
                    </a:cubicBezTo>
                    <a:cubicBezTo>
                      <a:pt x="47" y="32"/>
                      <a:pt x="44" y="36"/>
                      <a:pt x="40" y="36"/>
                    </a:cubicBezTo>
                    <a:cubicBezTo>
                      <a:pt x="36" y="36"/>
                      <a:pt x="34" y="34"/>
                      <a:pt x="32" y="31"/>
                    </a:cubicBezTo>
                    <a:cubicBezTo>
                      <a:pt x="29" y="34"/>
                      <a:pt x="27" y="38"/>
                      <a:pt x="22" y="38"/>
                    </a:cubicBezTo>
                    <a:cubicBezTo>
                      <a:pt x="11" y="38"/>
                      <a:pt x="0" y="29"/>
                      <a:pt x="0" y="18"/>
                    </a:cubicBezTo>
                    <a:cubicBezTo>
                      <a:pt x="0" y="8"/>
                      <a:pt x="11" y="0"/>
                      <a:pt x="20" y="0"/>
                    </a:cubicBezTo>
                    <a:cubicBezTo>
                      <a:pt x="34" y="0"/>
                      <a:pt x="35" y="15"/>
                      <a:pt x="47" y="15"/>
                    </a:cubicBezTo>
                    <a:cubicBezTo>
                      <a:pt x="47" y="8"/>
                      <a:pt x="49" y="3"/>
                      <a:pt x="54" y="3"/>
                    </a:cubicBezTo>
                    <a:cubicBezTo>
                      <a:pt x="62" y="3"/>
                      <a:pt x="88" y="12"/>
                      <a:pt x="97" y="15"/>
                    </a:cubicBezTo>
                    <a:cubicBezTo>
                      <a:pt x="95" y="21"/>
                      <a:pt x="89" y="26"/>
                      <a:pt x="89" y="29"/>
                    </a:cubicBezTo>
                    <a:lnTo>
                      <a:pt x="77" y="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8" name="Freeform 165"/>
              <p:cNvSpPr>
                <a:spLocks/>
              </p:cNvSpPr>
              <p:nvPr/>
            </p:nvSpPr>
            <p:spPr bwMode="auto">
              <a:xfrm>
                <a:off x="4924425" y="2252663"/>
                <a:ext cx="34925" cy="17463"/>
              </a:xfrm>
              <a:custGeom>
                <a:avLst/>
                <a:gdLst/>
                <a:ahLst/>
                <a:cxnLst>
                  <a:cxn ang="0">
                    <a:pos x="5" y="13"/>
                  </a:cxn>
                  <a:cxn ang="0">
                    <a:pos x="2" y="11"/>
                  </a:cxn>
                  <a:cxn ang="0">
                    <a:pos x="0" y="9"/>
                  </a:cxn>
                  <a:cxn ang="0">
                    <a:pos x="26" y="0"/>
                  </a:cxn>
                  <a:cxn ang="0">
                    <a:pos x="20" y="4"/>
                  </a:cxn>
                  <a:cxn ang="0">
                    <a:pos x="19" y="8"/>
                  </a:cxn>
                  <a:cxn ang="0">
                    <a:pos x="5" y="13"/>
                  </a:cxn>
                </a:cxnLst>
                <a:rect l="0" t="0" r="r" b="b"/>
                <a:pathLst>
                  <a:path w="26" h="13">
                    <a:moveTo>
                      <a:pt x="5" y="13"/>
                    </a:moveTo>
                    <a:cubicBezTo>
                      <a:pt x="4" y="13"/>
                      <a:pt x="2" y="12"/>
                      <a:pt x="2" y="11"/>
                    </a:cubicBezTo>
                    <a:cubicBezTo>
                      <a:pt x="1" y="11"/>
                      <a:pt x="0" y="9"/>
                      <a:pt x="0" y="9"/>
                    </a:cubicBezTo>
                    <a:cubicBezTo>
                      <a:pt x="7" y="6"/>
                      <a:pt x="18" y="1"/>
                      <a:pt x="26" y="0"/>
                    </a:cubicBezTo>
                    <a:cubicBezTo>
                      <a:pt x="25" y="4"/>
                      <a:pt x="22" y="2"/>
                      <a:pt x="20" y="4"/>
                    </a:cubicBezTo>
                    <a:cubicBezTo>
                      <a:pt x="18" y="4"/>
                      <a:pt x="19" y="7"/>
                      <a:pt x="19" y="8"/>
                    </a:cubicBezTo>
                    <a:cubicBezTo>
                      <a:pt x="18" y="11"/>
                      <a:pt x="9" y="13"/>
                      <a:pt x="5"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9" name="Freeform 166"/>
              <p:cNvSpPr>
                <a:spLocks/>
              </p:cNvSpPr>
              <p:nvPr/>
            </p:nvSpPr>
            <p:spPr bwMode="auto">
              <a:xfrm>
                <a:off x="5183188" y="1463675"/>
                <a:ext cx="34925" cy="25400"/>
              </a:xfrm>
              <a:custGeom>
                <a:avLst/>
                <a:gdLst/>
                <a:ahLst/>
                <a:cxnLst>
                  <a:cxn ang="0">
                    <a:pos x="5" y="4"/>
                  </a:cxn>
                  <a:cxn ang="0">
                    <a:pos x="11" y="0"/>
                  </a:cxn>
                  <a:cxn ang="0">
                    <a:pos x="26" y="6"/>
                  </a:cxn>
                  <a:cxn ang="0">
                    <a:pos x="26" y="12"/>
                  </a:cxn>
                  <a:cxn ang="0">
                    <a:pos x="8" y="19"/>
                  </a:cxn>
                  <a:cxn ang="0">
                    <a:pos x="0" y="14"/>
                  </a:cxn>
                  <a:cxn ang="0">
                    <a:pos x="5" y="4"/>
                  </a:cxn>
                </a:cxnLst>
                <a:rect l="0" t="0" r="r" b="b"/>
                <a:pathLst>
                  <a:path w="26" h="19">
                    <a:moveTo>
                      <a:pt x="5" y="4"/>
                    </a:moveTo>
                    <a:cubicBezTo>
                      <a:pt x="8" y="4"/>
                      <a:pt x="8" y="0"/>
                      <a:pt x="11" y="0"/>
                    </a:cubicBezTo>
                    <a:cubicBezTo>
                      <a:pt x="17" y="0"/>
                      <a:pt x="20" y="5"/>
                      <a:pt x="26" y="6"/>
                    </a:cubicBezTo>
                    <a:cubicBezTo>
                      <a:pt x="26" y="12"/>
                      <a:pt x="26" y="12"/>
                      <a:pt x="26" y="12"/>
                    </a:cubicBezTo>
                    <a:cubicBezTo>
                      <a:pt x="20" y="15"/>
                      <a:pt x="15" y="19"/>
                      <a:pt x="8" y="19"/>
                    </a:cubicBezTo>
                    <a:cubicBezTo>
                      <a:pt x="2" y="19"/>
                      <a:pt x="0" y="19"/>
                      <a:pt x="0" y="14"/>
                    </a:cubicBezTo>
                    <a:cubicBezTo>
                      <a:pt x="0" y="12"/>
                      <a:pt x="4" y="4"/>
                      <a:pt x="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80" name="Freeform 167"/>
              <p:cNvSpPr>
                <a:spLocks/>
              </p:cNvSpPr>
              <p:nvPr/>
            </p:nvSpPr>
            <p:spPr bwMode="auto">
              <a:xfrm>
                <a:off x="5359400" y="1433513"/>
                <a:ext cx="26988" cy="25400"/>
              </a:xfrm>
              <a:custGeom>
                <a:avLst/>
                <a:gdLst/>
                <a:ahLst/>
                <a:cxnLst>
                  <a:cxn ang="0">
                    <a:pos x="21" y="17"/>
                  </a:cxn>
                  <a:cxn ang="0">
                    <a:pos x="15" y="19"/>
                  </a:cxn>
                  <a:cxn ang="0">
                    <a:pos x="0" y="8"/>
                  </a:cxn>
                  <a:cxn ang="0">
                    <a:pos x="21" y="17"/>
                  </a:cxn>
                </a:cxnLst>
                <a:rect l="0" t="0" r="r" b="b"/>
                <a:pathLst>
                  <a:path w="21" h="20">
                    <a:moveTo>
                      <a:pt x="21" y="17"/>
                    </a:moveTo>
                    <a:cubicBezTo>
                      <a:pt x="21" y="20"/>
                      <a:pt x="15" y="19"/>
                      <a:pt x="15" y="19"/>
                    </a:cubicBezTo>
                    <a:cubicBezTo>
                      <a:pt x="10" y="19"/>
                      <a:pt x="0" y="14"/>
                      <a:pt x="0" y="8"/>
                    </a:cubicBezTo>
                    <a:cubicBezTo>
                      <a:pt x="0" y="0"/>
                      <a:pt x="21" y="8"/>
                      <a:pt x="21"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81" name="Freeform 168"/>
              <p:cNvSpPr>
                <a:spLocks/>
              </p:cNvSpPr>
              <p:nvPr/>
            </p:nvSpPr>
            <p:spPr bwMode="auto">
              <a:xfrm>
                <a:off x="5549900" y="1338263"/>
                <a:ext cx="25400" cy="17463"/>
              </a:xfrm>
              <a:custGeom>
                <a:avLst/>
                <a:gdLst/>
                <a:ahLst/>
                <a:cxnLst>
                  <a:cxn ang="0">
                    <a:pos x="2" y="13"/>
                  </a:cxn>
                  <a:cxn ang="0">
                    <a:pos x="19" y="8"/>
                  </a:cxn>
                  <a:cxn ang="0">
                    <a:pos x="8" y="0"/>
                  </a:cxn>
                  <a:cxn ang="0">
                    <a:pos x="2" y="9"/>
                  </a:cxn>
                  <a:cxn ang="0">
                    <a:pos x="2" y="13"/>
                  </a:cxn>
                </a:cxnLst>
                <a:rect l="0" t="0" r="r" b="b"/>
                <a:pathLst>
                  <a:path w="19" h="13">
                    <a:moveTo>
                      <a:pt x="2" y="13"/>
                    </a:moveTo>
                    <a:cubicBezTo>
                      <a:pt x="7" y="13"/>
                      <a:pt x="17" y="10"/>
                      <a:pt x="19" y="8"/>
                    </a:cubicBezTo>
                    <a:cubicBezTo>
                      <a:pt x="15" y="5"/>
                      <a:pt x="13" y="0"/>
                      <a:pt x="8" y="0"/>
                    </a:cubicBezTo>
                    <a:cubicBezTo>
                      <a:pt x="4" y="0"/>
                      <a:pt x="2" y="5"/>
                      <a:pt x="2" y="9"/>
                    </a:cubicBezTo>
                    <a:cubicBezTo>
                      <a:pt x="2" y="10"/>
                      <a:pt x="0" y="13"/>
                      <a:pt x="2"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82" name="Freeform 169"/>
              <p:cNvSpPr>
                <a:spLocks/>
              </p:cNvSpPr>
              <p:nvPr/>
            </p:nvSpPr>
            <p:spPr bwMode="auto">
              <a:xfrm>
                <a:off x="6727825" y="1320800"/>
                <a:ext cx="53975" cy="22225"/>
              </a:xfrm>
              <a:custGeom>
                <a:avLst/>
                <a:gdLst/>
                <a:ahLst/>
                <a:cxnLst>
                  <a:cxn ang="0">
                    <a:pos x="0" y="13"/>
                  </a:cxn>
                  <a:cxn ang="0">
                    <a:pos x="21" y="0"/>
                  </a:cxn>
                  <a:cxn ang="0">
                    <a:pos x="41" y="17"/>
                  </a:cxn>
                  <a:cxn ang="0">
                    <a:pos x="28" y="17"/>
                  </a:cxn>
                  <a:cxn ang="0">
                    <a:pos x="2" y="11"/>
                  </a:cxn>
                  <a:cxn ang="0">
                    <a:pos x="0" y="13"/>
                  </a:cxn>
                </a:cxnLst>
                <a:rect l="0" t="0" r="r" b="b"/>
                <a:pathLst>
                  <a:path w="41" h="17">
                    <a:moveTo>
                      <a:pt x="0" y="13"/>
                    </a:moveTo>
                    <a:cubicBezTo>
                      <a:pt x="5" y="6"/>
                      <a:pt x="11" y="0"/>
                      <a:pt x="21" y="0"/>
                    </a:cubicBezTo>
                    <a:cubicBezTo>
                      <a:pt x="32" y="0"/>
                      <a:pt x="41" y="7"/>
                      <a:pt x="41" y="17"/>
                    </a:cubicBezTo>
                    <a:cubicBezTo>
                      <a:pt x="28" y="17"/>
                      <a:pt x="28" y="17"/>
                      <a:pt x="28" y="17"/>
                    </a:cubicBezTo>
                    <a:cubicBezTo>
                      <a:pt x="20" y="13"/>
                      <a:pt x="10" y="14"/>
                      <a:pt x="2" y="11"/>
                    </a:cubicBezTo>
                    <a:lnTo>
                      <a:pt x="0"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83" name="Freeform 170"/>
              <p:cNvSpPr>
                <a:spLocks/>
              </p:cNvSpPr>
              <p:nvPr/>
            </p:nvSpPr>
            <p:spPr bwMode="auto">
              <a:xfrm>
                <a:off x="6832600" y="1266825"/>
                <a:ext cx="74613" cy="26988"/>
              </a:xfrm>
              <a:custGeom>
                <a:avLst/>
                <a:gdLst/>
                <a:ahLst/>
                <a:cxnLst>
                  <a:cxn ang="0">
                    <a:pos x="0" y="0"/>
                  </a:cxn>
                  <a:cxn ang="0">
                    <a:pos x="52" y="9"/>
                  </a:cxn>
                  <a:cxn ang="0">
                    <a:pos x="56" y="13"/>
                  </a:cxn>
                  <a:cxn ang="0">
                    <a:pos x="37" y="20"/>
                  </a:cxn>
                  <a:cxn ang="0">
                    <a:pos x="4" y="3"/>
                  </a:cxn>
                  <a:cxn ang="0">
                    <a:pos x="0" y="0"/>
                  </a:cxn>
                </a:cxnLst>
                <a:rect l="0" t="0" r="r" b="b"/>
                <a:pathLst>
                  <a:path w="56" h="20">
                    <a:moveTo>
                      <a:pt x="0" y="0"/>
                    </a:moveTo>
                    <a:cubicBezTo>
                      <a:pt x="4" y="3"/>
                      <a:pt x="50" y="9"/>
                      <a:pt x="52" y="9"/>
                    </a:cubicBezTo>
                    <a:cubicBezTo>
                      <a:pt x="55" y="9"/>
                      <a:pt x="56" y="11"/>
                      <a:pt x="56" y="13"/>
                    </a:cubicBezTo>
                    <a:cubicBezTo>
                      <a:pt x="56" y="18"/>
                      <a:pt x="44" y="20"/>
                      <a:pt x="37" y="20"/>
                    </a:cubicBezTo>
                    <a:cubicBezTo>
                      <a:pt x="25" y="20"/>
                      <a:pt x="4" y="14"/>
                      <a:pt x="4" y="3"/>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84" name="Freeform 171"/>
              <p:cNvSpPr>
                <a:spLocks/>
              </p:cNvSpPr>
              <p:nvPr/>
            </p:nvSpPr>
            <p:spPr bwMode="auto">
              <a:xfrm>
                <a:off x="6726238" y="1303338"/>
                <a:ext cx="15875" cy="17463"/>
              </a:xfrm>
              <a:custGeom>
                <a:avLst/>
                <a:gdLst/>
                <a:ahLst/>
                <a:cxnLst>
                  <a:cxn ang="0">
                    <a:pos x="12" y="7"/>
                  </a:cxn>
                  <a:cxn ang="0">
                    <a:pos x="5" y="13"/>
                  </a:cxn>
                  <a:cxn ang="0">
                    <a:pos x="0" y="7"/>
                  </a:cxn>
                  <a:cxn ang="0">
                    <a:pos x="12" y="7"/>
                  </a:cxn>
                </a:cxnLst>
                <a:rect l="0" t="0" r="r" b="b"/>
                <a:pathLst>
                  <a:path w="12" h="13">
                    <a:moveTo>
                      <a:pt x="12" y="7"/>
                    </a:moveTo>
                    <a:cubicBezTo>
                      <a:pt x="12" y="11"/>
                      <a:pt x="8" y="13"/>
                      <a:pt x="5" y="13"/>
                    </a:cubicBezTo>
                    <a:cubicBezTo>
                      <a:pt x="0" y="13"/>
                      <a:pt x="0" y="11"/>
                      <a:pt x="0" y="7"/>
                    </a:cubicBezTo>
                    <a:cubicBezTo>
                      <a:pt x="0" y="0"/>
                      <a:pt x="12" y="1"/>
                      <a:pt x="12"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grpSp>
      </p:grpSp>
    </p:spTree>
    <p:extLst>
      <p:ext uri="{BB962C8B-B14F-4D97-AF65-F5344CB8AC3E}">
        <p14:creationId xmlns:p14="http://schemas.microsoft.com/office/powerpoint/2010/main" val="2868599987"/>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Social Network">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6" name="Group 5"/>
          <p:cNvGrpSpPr/>
          <p:nvPr userDrawn="1"/>
        </p:nvGrpSpPr>
        <p:grpSpPr>
          <a:xfrm>
            <a:off x="615835" y="695412"/>
            <a:ext cx="377186" cy="68580"/>
            <a:chOff x="792538" y="868707"/>
            <a:chExt cx="502914" cy="91440"/>
          </a:xfrm>
        </p:grpSpPr>
        <p:sp>
          <p:nvSpPr>
            <p:cNvPr id="7" name="Oval 6"/>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8" name="Oval 7"/>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9" name="Oval 8"/>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10" name="Oval 9"/>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
        <p:nvSpPr>
          <p:cNvPr id="185" name="Freeform 5"/>
          <p:cNvSpPr>
            <a:spLocks noEditPoints="1"/>
          </p:cNvSpPr>
          <p:nvPr userDrawn="1"/>
        </p:nvSpPr>
        <p:spPr bwMode="auto">
          <a:xfrm>
            <a:off x="876647" y="1135136"/>
            <a:ext cx="7390707" cy="3836941"/>
          </a:xfrm>
          <a:custGeom>
            <a:avLst/>
            <a:gdLst>
              <a:gd name="T0" fmla="*/ 1631 w 1765"/>
              <a:gd name="T1" fmla="*/ 822 h 915"/>
              <a:gd name="T2" fmla="*/ 1615 w 1765"/>
              <a:gd name="T3" fmla="*/ 679 h 915"/>
              <a:gd name="T4" fmla="*/ 1465 w 1765"/>
              <a:gd name="T5" fmla="*/ 648 h 915"/>
              <a:gd name="T6" fmla="*/ 1514 w 1765"/>
              <a:gd name="T7" fmla="*/ 800 h 915"/>
              <a:gd name="T8" fmla="*/ 1340 w 1765"/>
              <a:gd name="T9" fmla="*/ 612 h 915"/>
              <a:gd name="T10" fmla="*/ 1441 w 1765"/>
              <a:gd name="T11" fmla="*/ 589 h 915"/>
              <a:gd name="T12" fmla="*/ 1423 w 1765"/>
              <a:gd name="T13" fmla="*/ 581 h 915"/>
              <a:gd name="T14" fmla="*/ 436 w 1765"/>
              <a:gd name="T15" fmla="*/ 534 h 915"/>
              <a:gd name="T16" fmla="*/ 1398 w 1765"/>
              <a:gd name="T17" fmla="*/ 496 h 915"/>
              <a:gd name="T18" fmla="*/ 1431 w 1765"/>
              <a:gd name="T19" fmla="*/ 389 h 915"/>
              <a:gd name="T20" fmla="*/ 1479 w 1765"/>
              <a:gd name="T21" fmla="*/ 351 h 915"/>
              <a:gd name="T22" fmla="*/ 213 w 1765"/>
              <a:gd name="T23" fmla="*/ 277 h 915"/>
              <a:gd name="T24" fmla="*/ 1501 w 1765"/>
              <a:gd name="T25" fmla="*/ 286 h 915"/>
              <a:gd name="T26" fmla="*/ 1755 w 1765"/>
              <a:gd name="T27" fmla="*/ 243 h 915"/>
              <a:gd name="T28" fmla="*/ 788 w 1765"/>
              <a:gd name="T29" fmla="*/ 278 h 915"/>
              <a:gd name="T30" fmla="*/ 1718 w 1765"/>
              <a:gd name="T31" fmla="*/ 185 h 915"/>
              <a:gd name="T32" fmla="*/ 893 w 1765"/>
              <a:gd name="T33" fmla="*/ 137 h 915"/>
              <a:gd name="T34" fmla="*/ 570 w 1765"/>
              <a:gd name="T35" fmla="*/ 116 h 915"/>
              <a:gd name="T36" fmla="*/ 263 w 1765"/>
              <a:gd name="T37" fmla="*/ 116 h 915"/>
              <a:gd name="T38" fmla="*/ 421 w 1765"/>
              <a:gd name="T39" fmla="*/ 95 h 915"/>
              <a:gd name="T40" fmla="*/ 497 w 1765"/>
              <a:gd name="T41" fmla="*/ 160 h 915"/>
              <a:gd name="T42" fmla="*/ 356 w 1765"/>
              <a:gd name="T43" fmla="*/ 262 h 915"/>
              <a:gd name="T44" fmla="*/ 417 w 1765"/>
              <a:gd name="T45" fmla="*/ 301 h 915"/>
              <a:gd name="T46" fmla="*/ 629 w 1765"/>
              <a:gd name="T47" fmla="*/ 595 h 915"/>
              <a:gd name="T48" fmla="*/ 407 w 1765"/>
              <a:gd name="T49" fmla="*/ 487 h 915"/>
              <a:gd name="T50" fmla="*/ 481 w 1765"/>
              <a:gd name="T51" fmla="*/ 329 h 915"/>
              <a:gd name="T52" fmla="*/ 493 w 1765"/>
              <a:gd name="T53" fmla="*/ 214 h 915"/>
              <a:gd name="T54" fmla="*/ 402 w 1765"/>
              <a:gd name="T55" fmla="*/ 152 h 915"/>
              <a:gd name="T56" fmla="*/ 234 w 1765"/>
              <a:gd name="T57" fmla="*/ 129 h 915"/>
              <a:gd name="T58" fmla="*/ 44 w 1765"/>
              <a:gd name="T59" fmla="*/ 201 h 915"/>
              <a:gd name="T60" fmla="*/ 227 w 1765"/>
              <a:gd name="T61" fmla="*/ 276 h 915"/>
              <a:gd name="T62" fmla="*/ 401 w 1765"/>
              <a:gd name="T63" fmla="*/ 503 h 915"/>
              <a:gd name="T64" fmla="*/ 464 w 1765"/>
              <a:gd name="T65" fmla="*/ 881 h 915"/>
              <a:gd name="T66" fmla="*/ 638 w 1765"/>
              <a:gd name="T67" fmla="*/ 642 h 915"/>
              <a:gd name="T68" fmla="*/ 357 w 1765"/>
              <a:gd name="T69" fmla="*/ 78 h 915"/>
              <a:gd name="T70" fmla="*/ 343 w 1765"/>
              <a:gd name="T71" fmla="*/ 75 h 915"/>
              <a:gd name="T72" fmla="*/ 480 w 1765"/>
              <a:gd name="T73" fmla="*/ 62 h 915"/>
              <a:gd name="T74" fmla="*/ 1051 w 1765"/>
              <a:gd name="T75" fmla="*/ 346 h 915"/>
              <a:gd name="T76" fmla="*/ 953 w 1765"/>
              <a:gd name="T77" fmla="*/ 627 h 915"/>
              <a:gd name="T78" fmla="*/ 1614 w 1765"/>
              <a:gd name="T79" fmla="*/ 133 h 915"/>
              <a:gd name="T80" fmla="*/ 1346 w 1765"/>
              <a:gd name="T81" fmla="*/ 90 h 915"/>
              <a:gd name="T82" fmla="*/ 1187 w 1765"/>
              <a:gd name="T83" fmla="*/ 148 h 915"/>
              <a:gd name="T84" fmla="*/ 989 w 1765"/>
              <a:gd name="T85" fmla="*/ 175 h 915"/>
              <a:gd name="T86" fmla="*/ 841 w 1765"/>
              <a:gd name="T87" fmla="*/ 198 h 915"/>
              <a:gd name="T88" fmla="*/ 909 w 1765"/>
              <a:gd name="T89" fmla="*/ 249 h 915"/>
              <a:gd name="T90" fmla="*/ 860 w 1765"/>
              <a:gd name="T91" fmla="*/ 317 h 915"/>
              <a:gd name="T92" fmla="*/ 1005 w 1765"/>
              <a:gd name="T93" fmla="*/ 300 h 915"/>
              <a:gd name="T94" fmla="*/ 772 w 1765"/>
              <a:gd name="T95" fmla="*/ 393 h 915"/>
              <a:gd name="T96" fmla="*/ 888 w 1765"/>
              <a:gd name="T97" fmla="*/ 729 h 915"/>
              <a:gd name="T98" fmla="*/ 994 w 1765"/>
              <a:gd name="T99" fmla="*/ 458 h 915"/>
              <a:gd name="T100" fmla="*/ 1150 w 1765"/>
              <a:gd name="T101" fmla="*/ 451 h 915"/>
              <a:gd name="T102" fmla="*/ 1306 w 1765"/>
              <a:gd name="T103" fmla="*/ 515 h 915"/>
              <a:gd name="T104" fmla="*/ 1420 w 1765"/>
              <a:gd name="T105" fmla="*/ 350 h 915"/>
              <a:gd name="T106" fmla="*/ 1558 w 1765"/>
              <a:gd name="T107" fmla="*/ 253 h 915"/>
              <a:gd name="T108" fmla="*/ 256 w 1765"/>
              <a:gd name="T109" fmla="*/ 71 h 915"/>
              <a:gd name="T110" fmla="*/ 896 w 1765"/>
              <a:gd name="T111" fmla="*/ 61 h 915"/>
              <a:gd name="T112" fmla="*/ 1038 w 1765"/>
              <a:gd name="T113" fmla="*/ 34 h 915"/>
              <a:gd name="T114" fmla="*/ 371 w 1765"/>
              <a:gd name="T115" fmla="*/ 37 h 915"/>
              <a:gd name="T116" fmla="*/ 507 w 1765"/>
              <a:gd name="T117" fmla="*/ 23 h 915"/>
              <a:gd name="T118" fmla="*/ 363 w 1765"/>
              <a:gd name="T119" fmla="*/ 25 h 915"/>
              <a:gd name="T120" fmla="*/ 722 w 1765"/>
              <a:gd name="T121" fmla="*/ 60 h 915"/>
              <a:gd name="T122" fmla="*/ 572 w 1765"/>
              <a:gd name="T123" fmla="*/ 22 h 915"/>
              <a:gd name="T124" fmla="*/ 576 w 1765"/>
              <a:gd name="T125" fmla="*/ 14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5" h="915">
                <a:moveTo>
                  <a:pt x="492" y="914"/>
                </a:moveTo>
                <a:cubicBezTo>
                  <a:pt x="492" y="915"/>
                  <a:pt x="492" y="915"/>
                  <a:pt x="492" y="915"/>
                </a:cubicBezTo>
                <a:cubicBezTo>
                  <a:pt x="492" y="915"/>
                  <a:pt x="493" y="915"/>
                  <a:pt x="493" y="915"/>
                </a:cubicBezTo>
                <a:cubicBezTo>
                  <a:pt x="493" y="915"/>
                  <a:pt x="493" y="915"/>
                  <a:pt x="492" y="914"/>
                </a:cubicBezTo>
                <a:cubicBezTo>
                  <a:pt x="492" y="915"/>
                  <a:pt x="492" y="914"/>
                  <a:pt x="492" y="914"/>
                </a:cubicBezTo>
                <a:close/>
                <a:moveTo>
                  <a:pt x="493" y="914"/>
                </a:moveTo>
                <a:cubicBezTo>
                  <a:pt x="494" y="914"/>
                  <a:pt x="495" y="914"/>
                  <a:pt x="495" y="914"/>
                </a:cubicBezTo>
                <a:cubicBezTo>
                  <a:pt x="496" y="913"/>
                  <a:pt x="493" y="913"/>
                  <a:pt x="493" y="913"/>
                </a:cubicBezTo>
                <a:cubicBezTo>
                  <a:pt x="493" y="913"/>
                  <a:pt x="493" y="913"/>
                  <a:pt x="493" y="914"/>
                </a:cubicBezTo>
                <a:close/>
                <a:moveTo>
                  <a:pt x="489" y="911"/>
                </a:moveTo>
                <a:cubicBezTo>
                  <a:pt x="489" y="912"/>
                  <a:pt x="489" y="912"/>
                  <a:pt x="489" y="912"/>
                </a:cubicBezTo>
                <a:cubicBezTo>
                  <a:pt x="490" y="914"/>
                  <a:pt x="490" y="913"/>
                  <a:pt x="491" y="914"/>
                </a:cubicBezTo>
                <a:cubicBezTo>
                  <a:pt x="491" y="912"/>
                  <a:pt x="490" y="912"/>
                  <a:pt x="489" y="911"/>
                </a:cubicBezTo>
                <a:cubicBezTo>
                  <a:pt x="489" y="912"/>
                  <a:pt x="489" y="911"/>
                  <a:pt x="489" y="911"/>
                </a:cubicBezTo>
                <a:close/>
                <a:moveTo>
                  <a:pt x="490" y="911"/>
                </a:moveTo>
                <a:cubicBezTo>
                  <a:pt x="490" y="910"/>
                  <a:pt x="490" y="909"/>
                  <a:pt x="490" y="908"/>
                </a:cubicBezTo>
                <a:cubicBezTo>
                  <a:pt x="489" y="908"/>
                  <a:pt x="488" y="908"/>
                  <a:pt x="486" y="908"/>
                </a:cubicBezTo>
                <a:cubicBezTo>
                  <a:pt x="486" y="908"/>
                  <a:pt x="486" y="908"/>
                  <a:pt x="486" y="909"/>
                </a:cubicBezTo>
                <a:cubicBezTo>
                  <a:pt x="486" y="909"/>
                  <a:pt x="485" y="909"/>
                  <a:pt x="485" y="909"/>
                </a:cubicBezTo>
                <a:cubicBezTo>
                  <a:pt x="485" y="910"/>
                  <a:pt x="485" y="909"/>
                  <a:pt x="485" y="909"/>
                </a:cubicBezTo>
                <a:cubicBezTo>
                  <a:pt x="484" y="909"/>
                  <a:pt x="483" y="909"/>
                  <a:pt x="483" y="909"/>
                </a:cubicBezTo>
                <a:cubicBezTo>
                  <a:pt x="482" y="909"/>
                  <a:pt x="482" y="910"/>
                  <a:pt x="481" y="910"/>
                </a:cubicBezTo>
                <a:cubicBezTo>
                  <a:pt x="482" y="911"/>
                  <a:pt x="482" y="911"/>
                  <a:pt x="483" y="911"/>
                </a:cubicBezTo>
                <a:cubicBezTo>
                  <a:pt x="484" y="912"/>
                  <a:pt x="485" y="912"/>
                  <a:pt x="486" y="912"/>
                </a:cubicBezTo>
                <a:cubicBezTo>
                  <a:pt x="486" y="912"/>
                  <a:pt x="486" y="912"/>
                  <a:pt x="486" y="912"/>
                </a:cubicBezTo>
                <a:cubicBezTo>
                  <a:pt x="486" y="912"/>
                  <a:pt x="486" y="911"/>
                  <a:pt x="486" y="911"/>
                </a:cubicBezTo>
                <a:cubicBezTo>
                  <a:pt x="488" y="910"/>
                  <a:pt x="489" y="911"/>
                  <a:pt x="490" y="911"/>
                </a:cubicBezTo>
                <a:cubicBezTo>
                  <a:pt x="490" y="910"/>
                  <a:pt x="490" y="911"/>
                  <a:pt x="490" y="911"/>
                </a:cubicBezTo>
                <a:close/>
                <a:moveTo>
                  <a:pt x="477" y="909"/>
                </a:moveTo>
                <a:cubicBezTo>
                  <a:pt x="478" y="909"/>
                  <a:pt x="478" y="910"/>
                  <a:pt x="479" y="910"/>
                </a:cubicBezTo>
                <a:cubicBezTo>
                  <a:pt x="479" y="909"/>
                  <a:pt x="479" y="909"/>
                  <a:pt x="480" y="908"/>
                </a:cubicBezTo>
                <a:cubicBezTo>
                  <a:pt x="480" y="908"/>
                  <a:pt x="480" y="908"/>
                  <a:pt x="480" y="908"/>
                </a:cubicBezTo>
                <a:cubicBezTo>
                  <a:pt x="479" y="908"/>
                  <a:pt x="478" y="908"/>
                  <a:pt x="477" y="908"/>
                </a:cubicBezTo>
                <a:cubicBezTo>
                  <a:pt x="477" y="908"/>
                  <a:pt x="477" y="909"/>
                  <a:pt x="477" y="909"/>
                </a:cubicBezTo>
                <a:cubicBezTo>
                  <a:pt x="478" y="909"/>
                  <a:pt x="477" y="909"/>
                  <a:pt x="477" y="909"/>
                </a:cubicBezTo>
                <a:close/>
                <a:moveTo>
                  <a:pt x="476" y="907"/>
                </a:moveTo>
                <a:cubicBezTo>
                  <a:pt x="475" y="907"/>
                  <a:pt x="475" y="907"/>
                  <a:pt x="475" y="907"/>
                </a:cubicBezTo>
                <a:cubicBezTo>
                  <a:pt x="476" y="908"/>
                  <a:pt x="478" y="908"/>
                  <a:pt x="476" y="907"/>
                </a:cubicBezTo>
                <a:cubicBezTo>
                  <a:pt x="476" y="907"/>
                  <a:pt x="476" y="907"/>
                  <a:pt x="476" y="907"/>
                </a:cubicBezTo>
                <a:close/>
                <a:moveTo>
                  <a:pt x="510" y="904"/>
                </a:moveTo>
                <a:cubicBezTo>
                  <a:pt x="510" y="905"/>
                  <a:pt x="508" y="905"/>
                  <a:pt x="508" y="906"/>
                </a:cubicBezTo>
                <a:cubicBezTo>
                  <a:pt x="508" y="907"/>
                  <a:pt x="510" y="906"/>
                  <a:pt x="510" y="907"/>
                </a:cubicBezTo>
                <a:cubicBezTo>
                  <a:pt x="511" y="907"/>
                  <a:pt x="512" y="906"/>
                  <a:pt x="512" y="906"/>
                </a:cubicBezTo>
                <a:cubicBezTo>
                  <a:pt x="513" y="906"/>
                  <a:pt x="513" y="905"/>
                  <a:pt x="513" y="905"/>
                </a:cubicBezTo>
                <a:cubicBezTo>
                  <a:pt x="512" y="905"/>
                  <a:pt x="512" y="905"/>
                  <a:pt x="511" y="905"/>
                </a:cubicBezTo>
                <a:cubicBezTo>
                  <a:pt x="510" y="905"/>
                  <a:pt x="511" y="904"/>
                  <a:pt x="510" y="904"/>
                </a:cubicBezTo>
                <a:close/>
                <a:moveTo>
                  <a:pt x="472" y="901"/>
                </a:moveTo>
                <a:cubicBezTo>
                  <a:pt x="472" y="901"/>
                  <a:pt x="472" y="900"/>
                  <a:pt x="472" y="900"/>
                </a:cubicBezTo>
                <a:cubicBezTo>
                  <a:pt x="472" y="900"/>
                  <a:pt x="472" y="899"/>
                  <a:pt x="473" y="899"/>
                </a:cubicBezTo>
                <a:cubicBezTo>
                  <a:pt x="472" y="899"/>
                  <a:pt x="471" y="898"/>
                  <a:pt x="471" y="898"/>
                </a:cubicBezTo>
                <a:cubicBezTo>
                  <a:pt x="471" y="898"/>
                  <a:pt x="470" y="898"/>
                  <a:pt x="470" y="898"/>
                </a:cubicBezTo>
                <a:cubicBezTo>
                  <a:pt x="470" y="897"/>
                  <a:pt x="470" y="897"/>
                  <a:pt x="469" y="897"/>
                </a:cubicBezTo>
                <a:cubicBezTo>
                  <a:pt x="469" y="897"/>
                  <a:pt x="469" y="896"/>
                  <a:pt x="469" y="896"/>
                </a:cubicBezTo>
                <a:cubicBezTo>
                  <a:pt x="468" y="896"/>
                  <a:pt x="468" y="896"/>
                  <a:pt x="467" y="895"/>
                </a:cubicBezTo>
                <a:cubicBezTo>
                  <a:pt x="467" y="897"/>
                  <a:pt x="466" y="898"/>
                  <a:pt x="466" y="899"/>
                </a:cubicBezTo>
                <a:cubicBezTo>
                  <a:pt x="467" y="899"/>
                  <a:pt x="467" y="899"/>
                  <a:pt x="467" y="900"/>
                </a:cubicBezTo>
                <a:cubicBezTo>
                  <a:pt x="468" y="900"/>
                  <a:pt x="468" y="900"/>
                  <a:pt x="469" y="900"/>
                </a:cubicBezTo>
                <a:cubicBezTo>
                  <a:pt x="469" y="900"/>
                  <a:pt x="469" y="901"/>
                  <a:pt x="469" y="902"/>
                </a:cubicBezTo>
                <a:cubicBezTo>
                  <a:pt x="469" y="901"/>
                  <a:pt x="469" y="902"/>
                  <a:pt x="469" y="902"/>
                </a:cubicBezTo>
                <a:cubicBezTo>
                  <a:pt x="470" y="902"/>
                  <a:pt x="470" y="902"/>
                  <a:pt x="470" y="902"/>
                </a:cubicBezTo>
                <a:cubicBezTo>
                  <a:pt x="471" y="902"/>
                  <a:pt x="471" y="902"/>
                  <a:pt x="472" y="902"/>
                </a:cubicBezTo>
                <a:cubicBezTo>
                  <a:pt x="472" y="902"/>
                  <a:pt x="472" y="902"/>
                  <a:pt x="473" y="902"/>
                </a:cubicBezTo>
                <a:cubicBezTo>
                  <a:pt x="472" y="902"/>
                  <a:pt x="472" y="901"/>
                  <a:pt x="472" y="901"/>
                </a:cubicBezTo>
                <a:close/>
                <a:moveTo>
                  <a:pt x="495" y="907"/>
                </a:moveTo>
                <a:cubicBezTo>
                  <a:pt x="494" y="907"/>
                  <a:pt x="494" y="907"/>
                  <a:pt x="493" y="907"/>
                </a:cubicBezTo>
                <a:cubicBezTo>
                  <a:pt x="492" y="907"/>
                  <a:pt x="491" y="907"/>
                  <a:pt x="492" y="907"/>
                </a:cubicBezTo>
                <a:cubicBezTo>
                  <a:pt x="493" y="907"/>
                  <a:pt x="495" y="906"/>
                  <a:pt x="495" y="907"/>
                </a:cubicBezTo>
                <a:close/>
                <a:moveTo>
                  <a:pt x="503" y="905"/>
                </a:moveTo>
                <a:cubicBezTo>
                  <a:pt x="503" y="905"/>
                  <a:pt x="501" y="905"/>
                  <a:pt x="501" y="905"/>
                </a:cubicBezTo>
                <a:cubicBezTo>
                  <a:pt x="501" y="905"/>
                  <a:pt x="500" y="905"/>
                  <a:pt x="500" y="905"/>
                </a:cubicBezTo>
                <a:cubicBezTo>
                  <a:pt x="500" y="905"/>
                  <a:pt x="500" y="904"/>
                  <a:pt x="500" y="904"/>
                </a:cubicBezTo>
                <a:cubicBezTo>
                  <a:pt x="499" y="904"/>
                  <a:pt x="499" y="904"/>
                  <a:pt x="499" y="904"/>
                </a:cubicBezTo>
                <a:cubicBezTo>
                  <a:pt x="497" y="904"/>
                  <a:pt x="497" y="902"/>
                  <a:pt x="496" y="902"/>
                </a:cubicBezTo>
                <a:cubicBezTo>
                  <a:pt x="495" y="902"/>
                  <a:pt x="495" y="902"/>
                  <a:pt x="495" y="902"/>
                </a:cubicBezTo>
                <a:cubicBezTo>
                  <a:pt x="495" y="901"/>
                  <a:pt x="494" y="902"/>
                  <a:pt x="494" y="901"/>
                </a:cubicBezTo>
                <a:cubicBezTo>
                  <a:pt x="494" y="901"/>
                  <a:pt x="493" y="901"/>
                  <a:pt x="493" y="901"/>
                </a:cubicBezTo>
                <a:cubicBezTo>
                  <a:pt x="493" y="900"/>
                  <a:pt x="494" y="900"/>
                  <a:pt x="493" y="899"/>
                </a:cubicBezTo>
                <a:cubicBezTo>
                  <a:pt x="492" y="899"/>
                  <a:pt x="491" y="898"/>
                  <a:pt x="491" y="897"/>
                </a:cubicBezTo>
                <a:cubicBezTo>
                  <a:pt x="491" y="896"/>
                  <a:pt x="490" y="896"/>
                  <a:pt x="489" y="896"/>
                </a:cubicBezTo>
                <a:cubicBezTo>
                  <a:pt x="489" y="895"/>
                  <a:pt x="491" y="895"/>
                  <a:pt x="491" y="894"/>
                </a:cubicBezTo>
                <a:cubicBezTo>
                  <a:pt x="491" y="893"/>
                  <a:pt x="489" y="893"/>
                  <a:pt x="489" y="892"/>
                </a:cubicBezTo>
                <a:cubicBezTo>
                  <a:pt x="488" y="892"/>
                  <a:pt x="488" y="892"/>
                  <a:pt x="487" y="892"/>
                </a:cubicBezTo>
                <a:cubicBezTo>
                  <a:pt x="486" y="893"/>
                  <a:pt x="486" y="892"/>
                  <a:pt x="486" y="891"/>
                </a:cubicBezTo>
                <a:cubicBezTo>
                  <a:pt x="485" y="891"/>
                  <a:pt x="485" y="892"/>
                  <a:pt x="484" y="892"/>
                </a:cubicBezTo>
                <a:cubicBezTo>
                  <a:pt x="484" y="892"/>
                  <a:pt x="483" y="893"/>
                  <a:pt x="483" y="893"/>
                </a:cubicBezTo>
                <a:cubicBezTo>
                  <a:pt x="482" y="893"/>
                  <a:pt x="482" y="892"/>
                  <a:pt x="481" y="892"/>
                </a:cubicBezTo>
                <a:cubicBezTo>
                  <a:pt x="478" y="893"/>
                  <a:pt x="479" y="894"/>
                  <a:pt x="480" y="895"/>
                </a:cubicBezTo>
                <a:cubicBezTo>
                  <a:pt x="480" y="895"/>
                  <a:pt x="480" y="895"/>
                  <a:pt x="480" y="895"/>
                </a:cubicBezTo>
                <a:cubicBezTo>
                  <a:pt x="480" y="896"/>
                  <a:pt x="479" y="897"/>
                  <a:pt x="480" y="897"/>
                </a:cubicBezTo>
                <a:cubicBezTo>
                  <a:pt x="481" y="897"/>
                  <a:pt x="481" y="898"/>
                  <a:pt x="481" y="897"/>
                </a:cubicBezTo>
                <a:cubicBezTo>
                  <a:pt x="482" y="897"/>
                  <a:pt x="483" y="897"/>
                  <a:pt x="484" y="897"/>
                </a:cubicBezTo>
                <a:cubicBezTo>
                  <a:pt x="484" y="898"/>
                  <a:pt x="484" y="898"/>
                  <a:pt x="484" y="898"/>
                </a:cubicBezTo>
                <a:cubicBezTo>
                  <a:pt x="483" y="898"/>
                  <a:pt x="483" y="898"/>
                  <a:pt x="482" y="899"/>
                </a:cubicBezTo>
                <a:cubicBezTo>
                  <a:pt x="482" y="899"/>
                  <a:pt x="481" y="899"/>
                  <a:pt x="481" y="899"/>
                </a:cubicBezTo>
                <a:cubicBezTo>
                  <a:pt x="481" y="900"/>
                  <a:pt x="481" y="899"/>
                  <a:pt x="481" y="899"/>
                </a:cubicBezTo>
                <a:cubicBezTo>
                  <a:pt x="480" y="899"/>
                  <a:pt x="480" y="900"/>
                  <a:pt x="481" y="901"/>
                </a:cubicBezTo>
                <a:cubicBezTo>
                  <a:pt x="481" y="901"/>
                  <a:pt x="481" y="902"/>
                  <a:pt x="481" y="902"/>
                </a:cubicBezTo>
                <a:cubicBezTo>
                  <a:pt x="482" y="902"/>
                  <a:pt x="483" y="902"/>
                  <a:pt x="483" y="902"/>
                </a:cubicBezTo>
                <a:cubicBezTo>
                  <a:pt x="483" y="903"/>
                  <a:pt x="484" y="904"/>
                  <a:pt x="485" y="904"/>
                </a:cubicBezTo>
                <a:cubicBezTo>
                  <a:pt x="484" y="905"/>
                  <a:pt x="484" y="903"/>
                  <a:pt x="483" y="903"/>
                </a:cubicBezTo>
                <a:cubicBezTo>
                  <a:pt x="481" y="903"/>
                  <a:pt x="480" y="903"/>
                  <a:pt x="481" y="904"/>
                </a:cubicBezTo>
                <a:cubicBezTo>
                  <a:pt x="481" y="905"/>
                  <a:pt x="480" y="905"/>
                  <a:pt x="480" y="905"/>
                </a:cubicBezTo>
                <a:cubicBezTo>
                  <a:pt x="480" y="904"/>
                  <a:pt x="480" y="905"/>
                  <a:pt x="480" y="904"/>
                </a:cubicBezTo>
                <a:cubicBezTo>
                  <a:pt x="480" y="904"/>
                  <a:pt x="480" y="904"/>
                  <a:pt x="480" y="903"/>
                </a:cubicBezTo>
                <a:cubicBezTo>
                  <a:pt x="479" y="903"/>
                  <a:pt x="480" y="903"/>
                  <a:pt x="480" y="903"/>
                </a:cubicBezTo>
                <a:cubicBezTo>
                  <a:pt x="480" y="902"/>
                  <a:pt x="479" y="902"/>
                  <a:pt x="479" y="902"/>
                </a:cubicBezTo>
                <a:cubicBezTo>
                  <a:pt x="479" y="902"/>
                  <a:pt x="480" y="902"/>
                  <a:pt x="479" y="901"/>
                </a:cubicBezTo>
                <a:cubicBezTo>
                  <a:pt x="479" y="901"/>
                  <a:pt x="479" y="900"/>
                  <a:pt x="479" y="900"/>
                </a:cubicBezTo>
                <a:cubicBezTo>
                  <a:pt x="479" y="900"/>
                  <a:pt x="479" y="900"/>
                  <a:pt x="479" y="900"/>
                </a:cubicBezTo>
                <a:cubicBezTo>
                  <a:pt x="479" y="899"/>
                  <a:pt x="477" y="900"/>
                  <a:pt x="478" y="900"/>
                </a:cubicBezTo>
                <a:cubicBezTo>
                  <a:pt x="477" y="900"/>
                  <a:pt x="477" y="902"/>
                  <a:pt x="477" y="902"/>
                </a:cubicBezTo>
                <a:cubicBezTo>
                  <a:pt x="476" y="901"/>
                  <a:pt x="476" y="901"/>
                  <a:pt x="475" y="902"/>
                </a:cubicBezTo>
                <a:cubicBezTo>
                  <a:pt x="475" y="901"/>
                  <a:pt x="475" y="901"/>
                  <a:pt x="475" y="900"/>
                </a:cubicBezTo>
                <a:cubicBezTo>
                  <a:pt x="474" y="900"/>
                  <a:pt x="472" y="900"/>
                  <a:pt x="473" y="902"/>
                </a:cubicBezTo>
                <a:cubicBezTo>
                  <a:pt x="474" y="903"/>
                  <a:pt x="475" y="903"/>
                  <a:pt x="476" y="903"/>
                </a:cubicBezTo>
                <a:cubicBezTo>
                  <a:pt x="476" y="903"/>
                  <a:pt x="477" y="902"/>
                  <a:pt x="478" y="902"/>
                </a:cubicBezTo>
                <a:cubicBezTo>
                  <a:pt x="478" y="902"/>
                  <a:pt x="478" y="904"/>
                  <a:pt x="478" y="904"/>
                </a:cubicBezTo>
                <a:cubicBezTo>
                  <a:pt x="476" y="904"/>
                  <a:pt x="474" y="904"/>
                  <a:pt x="473" y="905"/>
                </a:cubicBezTo>
                <a:cubicBezTo>
                  <a:pt x="472" y="905"/>
                  <a:pt x="473" y="906"/>
                  <a:pt x="474" y="906"/>
                </a:cubicBezTo>
                <a:cubicBezTo>
                  <a:pt x="474" y="906"/>
                  <a:pt x="474" y="905"/>
                  <a:pt x="475" y="905"/>
                </a:cubicBezTo>
                <a:cubicBezTo>
                  <a:pt x="475" y="906"/>
                  <a:pt x="475" y="906"/>
                  <a:pt x="475" y="906"/>
                </a:cubicBezTo>
                <a:cubicBezTo>
                  <a:pt x="476" y="906"/>
                  <a:pt x="477" y="906"/>
                  <a:pt x="477" y="906"/>
                </a:cubicBezTo>
                <a:cubicBezTo>
                  <a:pt x="477" y="906"/>
                  <a:pt x="478" y="906"/>
                  <a:pt x="478" y="906"/>
                </a:cubicBezTo>
                <a:cubicBezTo>
                  <a:pt x="478" y="907"/>
                  <a:pt x="478" y="907"/>
                  <a:pt x="478" y="907"/>
                </a:cubicBezTo>
                <a:cubicBezTo>
                  <a:pt x="479" y="907"/>
                  <a:pt x="481" y="908"/>
                  <a:pt x="481" y="907"/>
                </a:cubicBezTo>
                <a:cubicBezTo>
                  <a:pt x="481" y="907"/>
                  <a:pt x="481" y="907"/>
                  <a:pt x="481" y="907"/>
                </a:cubicBezTo>
                <a:cubicBezTo>
                  <a:pt x="482" y="907"/>
                  <a:pt x="482" y="907"/>
                  <a:pt x="482" y="907"/>
                </a:cubicBezTo>
                <a:cubicBezTo>
                  <a:pt x="482" y="908"/>
                  <a:pt x="481" y="908"/>
                  <a:pt x="482" y="909"/>
                </a:cubicBezTo>
                <a:cubicBezTo>
                  <a:pt x="483" y="908"/>
                  <a:pt x="483" y="909"/>
                  <a:pt x="484" y="908"/>
                </a:cubicBezTo>
                <a:cubicBezTo>
                  <a:pt x="485" y="907"/>
                  <a:pt x="485" y="910"/>
                  <a:pt x="486" y="908"/>
                </a:cubicBezTo>
                <a:cubicBezTo>
                  <a:pt x="486" y="908"/>
                  <a:pt x="488" y="908"/>
                  <a:pt x="488" y="907"/>
                </a:cubicBezTo>
                <a:cubicBezTo>
                  <a:pt x="488" y="907"/>
                  <a:pt x="490" y="907"/>
                  <a:pt x="490" y="907"/>
                </a:cubicBezTo>
                <a:cubicBezTo>
                  <a:pt x="490" y="907"/>
                  <a:pt x="491" y="906"/>
                  <a:pt x="491" y="907"/>
                </a:cubicBezTo>
                <a:cubicBezTo>
                  <a:pt x="491" y="908"/>
                  <a:pt x="491" y="909"/>
                  <a:pt x="492" y="909"/>
                </a:cubicBezTo>
                <a:cubicBezTo>
                  <a:pt x="493" y="910"/>
                  <a:pt x="493" y="910"/>
                  <a:pt x="493" y="911"/>
                </a:cubicBezTo>
                <a:cubicBezTo>
                  <a:pt x="494" y="910"/>
                  <a:pt x="496" y="909"/>
                  <a:pt x="496" y="907"/>
                </a:cubicBezTo>
                <a:cubicBezTo>
                  <a:pt x="497" y="907"/>
                  <a:pt x="497" y="907"/>
                  <a:pt x="497" y="908"/>
                </a:cubicBezTo>
                <a:cubicBezTo>
                  <a:pt x="498" y="907"/>
                  <a:pt x="502" y="907"/>
                  <a:pt x="503" y="907"/>
                </a:cubicBezTo>
                <a:cubicBezTo>
                  <a:pt x="504" y="907"/>
                  <a:pt x="504" y="907"/>
                  <a:pt x="504" y="907"/>
                </a:cubicBezTo>
                <a:cubicBezTo>
                  <a:pt x="504" y="906"/>
                  <a:pt x="505" y="906"/>
                  <a:pt x="505" y="906"/>
                </a:cubicBezTo>
                <a:cubicBezTo>
                  <a:pt x="505" y="905"/>
                  <a:pt x="503" y="906"/>
                  <a:pt x="503" y="905"/>
                </a:cubicBezTo>
                <a:close/>
                <a:moveTo>
                  <a:pt x="466" y="895"/>
                </a:moveTo>
                <a:cubicBezTo>
                  <a:pt x="465" y="895"/>
                  <a:pt x="465" y="894"/>
                  <a:pt x="463" y="893"/>
                </a:cubicBezTo>
                <a:cubicBezTo>
                  <a:pt x="462" y="893"/>
                  <a:pt x="462" y="893"/>
                  <a:pt x="462" y="892"/>
                </a:cubicBezTo>
                <a:cubicBezTo>
                  <a:pt x="462" y="892"/>
                  <a:pt x="464" y="892"/>
                  <a:pt x="464" y="893"/>
                </a:cubicBezTo>
                <a:cubicBezTo>
                  <a:pt x="464" y="893"/>
                  <a:pt x="464" y="893"/>
                  <a:pt x="465" y="893"/>
                </a:cubicBezTo>
                <a:cubicBezTo>
                  <a:pt x="465" y="892"/>
                  <a:pt x="465" y="892"/>
                  <a:pt x="465" y="891"/>
                </a:cubicBezTo>
                <a:cubicBezTo>
                  <a:pt x="464" y="891"/>
                  <a:pt x="465" y="891"/>
                  <a:pt x="465" y="890"/>
                </a:cubicBezTo>
                <a:cubicBezTo>
                  <a:pt x="465" y="890"/>
                  <a:pt x="465" y="890"/>
                  <a:pt x="465" y="890"/>
                </a:cubicBezTo>
                <a:cubicBezTo>
                  <a:pt x="464" y="890"/>
                  <a:pt x="465" y="889"/>
                  <a:pt x="465" y="889"/>
                </a:cubicBezTo>
                <a:cubicBezTo>
                  <a:pt x="464" y="888"/>
                  <a:pt x="463" y="887"/>
                  <a:pt x="462" y="887"/>
                </a:cubicBezTo>
                <a:cubicBezTo>
                  <a:pt x="461" y="887"/>
                  <a:pt x="461" y="887"/>
                  <a:pt x="460" y="886"/>
                </a:cubicBezTo>
                <a:cubicBezTo>
                  <a:pt x="459" y="886"/>
                  <a:pt x="459" y="887"/>
                  <a:pt x="458" y="887"/>
                </a:cubicBezTo>
                <a:cubicBezTo>
                  <a:pt x="458" y="888"/>
                  <a:pt x="459" y="890"/>
                  <a:pt x="460" y="891"/>
                </a:cubicBezTo>
                <a:cubicBezTo>
                  <a:pt x="461" y="892"/>
                  <a:pt x="460" y="893"/>
                  <a:pt x="461" y="894"/>
                </a:cubicBezTo>
                <a:cubicBezTo>
                  <a:pt x="462" y="894"/>
                  <a:pt x="462" y="895"/>
                  <a:pt x="463" y="895"/>
                </a:cubicBezTo>
                <a:cubicBezTo>
                  <a:pt x="464" y="896"/>
                  <a:pt x="464" y="896"/>
                  <a:pt x="465" y="896"/>
                </a:cubicBezTo>
                <a:cubicBezTo>
                  <a:pt x="466" y="897"/>
                  <a:pt x="466" y="896"/>
                  <a:pt x="466" y="895"/>
                </a:cubicBezTo>
                <a:cubicBezTo>
                  <a:pt x="465" y="895"/>
                  <a:pt x="466" y="895"/>
                  <a:pt x="466" y="895"/>
                </a:cubicBezTo>
                <a:close/>
                <a:moveTo>
                  <a:pt x="540" y="884"/>
                </a:moveTo>
                <a:cubicBezTo>
                  <a:pt x="538" y="884"/>
                  <a:pt x="538" y="884"/>
                  <a:pt x="538" y="885"/>
                </a:cubicBezTo>
                <a:cubicBezTo>
                  <a:pt x="537" y="885"/>
                  <a:pt x="537" y="884"/>
                  <a:pt x="537" y="883"/>
                </a:cubicBezTo>
                <a:cubicBezTo>
                  <a:pt x="537" y="883"/>
                  <a:pt x="536" y="883"/>
                  <a:pt x="536" y="883"/>
                </a:cubicBezTo>
                <a:cubicBezTo>
                  <a:pt x="535" y="883"/>
                  <a:pt x="535" y="884"/>
                  <a:pt x="534" y="884"/>
                </a:cubicBezTo>
                <a:cubicBezTo>
                  <a:pt x="533" y="885"/>
                  <a:pt x="533" y="885"/>
                  <a:pt x="534" y="886"/>
                </a:cubicBezTo>
                <a:cubicBezTo>
                  <a:pt x="532" y="886"/>
                  <a:pt x="532" y="888"/>
                  <a:pt x="530" y="889"/>
                </a:cubicBezTo>
                <a:cubicBezTo>
                  <a:pt x="530" y="890"/>
                  <a:pt x="530" y="889"/>
                  <a:pt x="531" y="890"/>
                </a:cubicBezTo>
                <a:cubicBezTo>
                  <a:pt x="531" y="890"/>
                  <a:pt x="532" y="891"/>
                  <a:pt x="532" y="891"/>
                </a:cubicBezTo>
                <a:cubicBezTo>
                  <a:pt x="532" y="890"/>
                  <a:pt x="532" y="890"/>
                  <a:pt x="532" y="890"/>
                </a:cubicBezTo>
                <a:cubicBezTo>
                  <a:pt x="532" y="890"/>
                  <a:pt x="533" y="889"/>
                  <a:pt x="533" y="889"/>
                </a:cubicBezTo>
                <a:cubicBezTo>
                  <a:pt x="534" y="889"/>
                  <a:pt x="535" y="889"/>
                  <a:pt x="536" y="889"/>
                </a:cubicBezTo>
                <a:cubicBezTo>
                  <a:pt x="535" y="888"/>
                  <a:pt x="535" y="888"/>
                  <a:pt x="535" y="887"/>
                </a:cubicBezTo>
                <a:cubicBezTo>
                  <a:pt x="536" y="887"/>
                  <a:pt x="536" y="888"/>
                  <a:pt x="537" y="888"/>
                </a:cubicBezTo>
                <a:cubicBezTo>
                  <a:pt x="537" y="887"/>
                  <a:pt x="538" y="887"/>
                  <a:pt x="539" y="886"/>
                </a:cubicBezTo>
                <a:cubicBezTo>
                  <a:pt x="539" y="886"/>
                  <a:pt x="540" y="886"/>
                  <a:pt x="540" y="887"/>
                </a:cubicBezTo>
                <a:cubicBezTo>
                  <a:pt x="541" y="887"/>
                  <a:pt x="540" y="886"/>
                  <a:pt x="541" y="886"/>
                </a:cubicBezTo>
                <a:cubicBezTo>
                  <a:pt x="542" y="886"/>
                  <a:pt x="540" y="885"/>
                  <a:pt x="540" y="885"/>
                </a:cubicBezTo>
                <a:cubicBezTo>
                  <a:pt x="539" y="885"/>
                  <a:pt x="540" y="885"/>
                  <a:pt x="540" y="884"/>
                </a:cubicBezTo>
                <a:cubicBezTo>
                  <a:pt x="539" y="884"/>
                  <a:pt x="540" y="884"/>
                  <a:pt x="540" y="884"/>
                </a:cubicBezTo>
                <a:close/>
                <a:moveTo>
                  <a:pt x="531" y="885"/>
                </a:moveTo>
                <a:cubicBezTo>
                  <a:pt x="532" y="885"/>
                  <a:pt x="532" y="884"/>
                  <a:pt x="533" y="884"/>
                </a:cubicBezTo>
                <a:cubicBezTo>
                  <a:pt x="532" y="883"/>
                  <a:pt x="530" y="884"/>
                  <a:pt x="529" y="884"/>
                </a:cubicBezTo>
                <a:cubicBezTo>
                  <a:pt x="528" y="884"/>
                  <a:pt x="527" y="883"/>
                  <a:pt x="526" y="883"/>
                </a:cubicBezTo>
                <a:cubicBezTo>
                  <a:pt x="526" y="883"/>
                  <a:pt x="527" y="884"/>
                  <a:pt x="527" y="885"/>
                </a:cubicBezTo>
                <a:cubicBezTo>
                  <a:pt x="526" y="885"/>
                  <a:pt x="526" y="885"/>
                  <a:pt x="527" y="885"/>
                </a:cubicBezTo>
                <a:cubicBezTo>
                  <a:pt x="527" y="885"/>
                  <a:pt x="527" y="886"/>
                  <a:pt x="527" y="886"/>
                </a:cubicBezTo>
                <a:cubicBezTo>
                  <a:pt x="527" y="886"/>
                  <a:pt x="526" y="887"/>
                  <a:pt x="526" y="887"/>
                </a:cubicBezTo>
                <a:cubicBezTo>
                  <a:pt x="525" y="888"/>
                  <a:pt x="524" y="888"/>
                  <a:pt x="524" y="889"/>
                </a:cubicBezTo>
                <a:cubicBezTo>
                  <a:pt x="524" y="889"/>
                  <a:pt x="525" y="890"/>
                  <a:pt x="525" y="890"/>
                </a:cubicBezTo>
                <a:cubicBezTo>
                  <a:pt x="525" y="890"/>
                  <a:pt x="526" y="889"/>
                  <a:pt x="526" y="889"/>
                </a:cubicBezTo>
                <a:cubicBezTo>
                  <a:pt x="527" y="888"/>
                  <a:pt x="527" y="887"/>
                  <a:pt x="528" y="887"/>
                </a:cubicBezTo>
                <a:cubicBezTo>
                  <a:pt x="528" y="889"/>
                  <a:pt x="529" y="887"/>
                  <a:pt x="530" y="887"/>
                </a:cubicBezTo>
                <a:cubicBezTo>
                  <a:pt x="530" y="886"/>
                  <a:pt x="530" y="885"/>
                  <a:pt x="531" y="885"/>
                </a:cubicBezTo>
                <a:cubicBezTo>
                  <a:pt x="532" y="885"/>
                  <a:pt x="531" y="885"/>
                  <a:pt x="531" y="885"/>
                </a:cubicBezTo>
                <a:close/>
                <a:moveTo>
                  <a:pt x="462" y="882"/>
                </a:moveTo>
                <a:cubicBezTo>
                  <a:pt x="462" y="882"/>
                  <a:pt x="462" y="882"/>
                  <a:pt x="463" y="883"/>
                </a:cubicBezTo>
                <a:cubicBezTo>
                  <a:pt x="463" y="883"/>
                  <a:pt x="463" y="884"/>
                  <a:pt x="463" y="883"/>
                </a:cubicBezTo>
                <a:cubicBezTo>
                  <a:pt x="463" y="883"/>
                  <a:pt x="463" y="883"/>
                  <a:pt x="463" y="883"/>
                </a:cubicBezTo>
                <a:cubicBezTo>
                  <a:pt x="463" y="882"/>
                  <a:pt x="463" y="883"/>
                  <a:pt x="463" y="882"/>
                </a:cubicBezTo>
                <a:cubicBezTo>
                  <a:pt x="463" y="882"/>
                  <a:pt x="463" y="881"/>
                  <a:pt x="463" y="881"/>
                </a:cubicBezTo>
                <a:cubicBezTo>
                  <a:pt x="462" y="881"/>
                  <a:pt x="462" y="881"/>
                  <a:pt x="462" y="880"/>
                </a:cubicBezTo>
                <a:cubicBezTo>
                  <a:pt x="461" y="879"/>
                  <a:pt x="460" y="879"/>
                  <a:pt x="459" y="880"/>
                </a:cubicBezTo>
                <a:cubicBezTo>
                  <a:pt x="460" y="881"/>
                  <a:pt x="459" y="881"/>
                  <a:pt x="459" y="882"/>
                </a:cubicBezTo>
                <a:cubicBezTo>
                  <a:pt x="459" y="882"/>
                  <a:pt x="459" y="885"/>
                  <a:pt x="459" y="885"/>
                </a:cubicBezTo>
                <a:cubicBezTo>
                  <a:pt x="460" y="885"/>
                  <a:pt x="461" y="886"/>
                  <a:pt x="461" y="885"/>
                </a:cubicBezTo>
                <a:cubicBezTo>
                  <a:pt x="461" y="884"/>
                  <a:pt x="462" y="885"/>
                  <a:pt x="462" y="885"/>
                </a:cubicBezTo>
                <a:cubicBezTo>
                  <a:pt x="462" y="884"/>
                  <a:pt x="462" y="883"/>
                  <a:pt x="462" y="883"/>
                </a:cubicBezTo>
                <a:cubicBezTo>
                  <a:pt x="462" y="883"/>
                  <a:pt x="462" y="882"/>
                  <a:pt x="462" y="882"/>
                </a:cubicBezTo>
                <a:close/>
                <a:moveTo>
                  <a:pt x="458" y="880"/>
                </a:moveTo>
                <a:cubicBezTo>
                  <a:pt x="458" y="879"/>
                  <a:pt x="458" y="879"/>
                  <a:pt x="458" y="879"/>
                </a:cubicBezTo>
                <a:cubicBezTo>
                  <a:pt x="457" y="879"/>
                  <a:pt x="457" y="879"/>
                  <a:pt x="457" y="880"/>
                </a:cubicBezTo>
                <a:cubicBezTo>
                  <a:pt x="458" y="880"/>
                  <a:pt x="458" y="880"/>
                  <a:pt x="458" y="880"/>
                </a:cubicBezTo>
                <a:cubicBezTo>
                  <a:pt x="458" y="879"/>
                  <a:pt x="458" y="880"/>
                  <a:pt x="458" y="880"/>
                </a:cubicBezTo>
                <a:close/>
                <a:moveTo>
                  <a:pt x="462" y="878"/>
                </a:moveTo>
                <a:cubicBezTo>
                  <a:pt x="462" y="879"/>
                  <a:pt x="463" y="880"/>
                  <a:pt x="464" y="880"/>
                </a:cubicBezTo>
                <a:cubicBezTo>
                  <a:pt x="464" y="879"/>
                  <a:pt x="463" y="878"/>
                  <a:pt x="462" y="878"/>
                </a:cubicBezTo>
                <a:cubicBezTo>
                  <a:pt x="462" y="879"/>
                  <a:pt x="462" y="878"/>
                  <a:pt x="462" y="878"/>
                </a:cubicBezTo>
                <a:close/>
                <a:moveTo>
                  <a:pt x="459" y="875"/>
                </a:moveTo>
                <a:cubicBezTo>
                  <a:pt x="458" y="876"/>
                  <a:pt x="457" y="878"/>
                  <a:pt x="458" y="878"/>
                </a:cubicBezTo>
                <a:cubicBezTo>
                  <a:pt x="458" y="878"/>
                  <a:pt x="458" y="879"/>
                  <a:pt x="459" y="878"/>
                </a:cubicBezTo>
                <a:cubicBezTo>
                  <a:pt x="460" y="878"/>
                  <a:pt x="460" y="877"/>
                  <a:pt x="461" y="877"/>
                </a:cubicBezTo>
                <a:cubicBezTo>
                  <a:pt x="460" y="876"/>
                  <a:pt x="459" y="876"/>
                  <a:pt x="459" y="875"/>
                </a:cubicBezTo>
                <a:close/>
                <a:moveTo>
                  <a:pt x="457" y="863"/>
                </a:moveTo>
                <a:cubicBezTo>
                  <a:pt x="457" y="864"/>
                  <a:pt x="457" y="864"/>
                  <a:pt x="457" y="865"/>
                </a:cubicBezTo>
                <a:cubicBezTo>
                  <a:pt x="457" y="865"/>
                  <a:pt x="457" y="866"/>
                  <a:pt x="457" y="866"/>
                </a:cubicBezTo>
                <a:cubicBezTo>
                  <a:pt x="457" y="866"/>
                  <a:pt x="457" y="867"/>
                  <a:pt x="457" y="868"/>
                </a:cubicBezTo>
                <a:cubicBezTo>
                  <a:pt x="457" y="868"/>
                  <a:pt x="457" y="867"/>
                  <a:pt x="458" y="867"/>
                </a:cubicBezTo>
                <a:cubicBezTo>
                  <a:pt x="457" y="868"/>
                  <a:pt x="457" y="869"/>
                  <a:pt x="458" y="870"/>
                </a:cubicBezTo>
                <a:cubicBezTo>
                  <a:pt x="458" y="870"/>
                  <a:pt x="458" y="870"/>
                  <a:pt x="458" y="870"/>
                </a:cubicBezTo>
                <a:cubicBezTo>
                  <a:pt x="458" y="870"/>
                  <a:pt x="458" y="871"/>
                  <a:pt x="458" y="871"/>
                </a:cubicBezTo>
                <a:cubicBezTo>
                  <a:pt x="457" y="872"/>
                  <a:pt x="457" y="872"/>
                  <a:pt x="457" y="873"/>
                </a:cubicBezTo>
                <a:cubicBezTo>
                  <a:pt x="457" y="874"/>
                  <a:pt x="458" y="874"/>
                  <a:pt x="458" y="875"/>
                </a:cubicBezTo>
                <a:cubicBezTo>
                  <a:pt x="460" y="874"/>
                  <a:pt x="460" y="874"/>
                  <a:pt x="461" y="875"/>
                </a:cubicBezTo>
                <a:cubicBezTo>
                  <a:pt x="462" y="876"/>
                  <a:pt x="461" y="875"/>
                  <a:pt x="462" y="874"/>
                </a:cubicBezTo>
                <a:cubicBezTo>
                  <a:pt x="462" y="874"/>
                  <a:pt x="462" y="874"/>
                  <a:pt x="462" y="874"/>
                </a:cubicBezTo>
                <a:cubicBezTo>
                  <a:pt x="462" y="874"/>
                  <a:pt x="462" y="873"/>
                  <a:pt x="462" y="873"/>
                </a:cubicBezTo>
                <a:cubicBezTo>
                  <a:pt x="462" y="873"/>
                  <a:pt x="462" y="872"/>
                  <a:pt x="462" y="872"/>
                </a:cubicBezTo>
                <a:cubicBezTo>
                  <a:pt x="462" y="872"/>
                  <a:pt x="462" y="872"/>
                  <a:pt x="462" y="872"/>
                </a:cubicBezTo>
                <a:cubicBezTo>
                  <a:pt x="462" y="871"/>
                  <a:pt x="462" y="870"/>
                  <a:pt x="463" y="870"/>
                </a:cubicBezTo>
                <a:cubicBezTo>
                  <a:pt x="463" y="870"/>
                  <a:pt x="462" y="870"/>
                  <a:pt x="462" y="870"/>
                </a:cubicBezTo>
                <a:cubicBezTo>
                  <a:pt x="462" y="869"/>
                  <a:pt x="463" y="867"/>
                  <a:pt x="462" y="867"/>
                </a:cubicBezTo>
                <a:cubicBezTo>
                  <a:pt x="463" y="865"/>
                  <a:pt x="461" y="863"/>
                  <a:pt x="461" y="861"/>
                </a:cubicBezTo>
                <a:cubicBezTo>
                  <a:pt x="461" y="861"/>
                  <a:pt x="459" y="862"/>
                  <a:pt x="458" y="862"/>
                </a:cubicBezTo>
                <a:cubicBezTo>
                  <a:pt x="459" y="863"/>
                  <a:pt x="459" y="863"/>
                  <a:pt x="458" y="864"/>
                </a:cubicBezTo>
                <a:cubicBezTo>
                  <a:pt x="458" y="863"/>
                  <a:pt x="458" y="863"/>
                  <a:pt x="457" y="863"/>
                </a:cubicBezTo>
                <a:cubicBezTo>
                  <a:pt x="457" y="864"/>
                  <a:pt x="457" y="863"/>
                  <a:pt x="457" y="863"/>
                </a:cubicBezTo>
                <a:close/>
                <a:moveTo>
                  <a:pt x="1611" y="854"/>
                </a:moveTo>
                <a:cubicBezTo>
                  <a:pt x="1610" y="855"/>
                  <a:pt x="1611" y="856"/>
                  <a:pt x="1611" y="856"/>
                </a:cubicBezTo>
                <a:cubicBezTo>
                  <a:pt x="1610" y="858"/>
                  <a:pt x="1610" y="856"/>
                  <a:pt x="1610" y="857"/>
                </a:cubicBezTo>
                <a:cubicBezTo>
                  <a:pt x="1610" y="858"/>
                  <a:pt x="1610" y="858"/>
                  <a:pt x="1610" y="859"/>
                </a:cubicBezTo>
                <a:cubicBezTo>
                  <a:pt x="1611" y="859"/>
                  <a:pt x="1613" y="859"/>
                  <a:pt x="1614" y="857"/>
                </a:cubicBezTo>
                <a:cubicBezTo>
                  <a:pt x="1614" y="857"/>
                  <a:pt x="1614" y="857"/>
                  <a:pt x="1613" y="857"/>
                </a:cubicBezTo>
                <a:cubicBezTo>
                  <a:pt x="1612" y="857"/>
                  <a:pt x="1613" y="856"/>
                  <a:pt x="1612" y="856"/>
                </a:cubicBezTo>
                <a:cubicBezTo>
                  <a:pt x="1612" y="855"/>
                  <a:pt x="1612" y="854"/>
                  <a:pt x="1611" y="854"/>
                </a:cubicBezTo>
                <a:cubicBezTo>
                  <a:pt x="1611" y="855"/>
                  <a:pt x="1611" y="854"/>
                  <a:pt x="1611" y="854"/>
                </a:cubicBezTo>
                <a:close/>
                <a:moveTo>
                  <a:pt x="466" y="848"/>
                </a:moveTo>
                <a:cubicBezTo>
                  <a:pt x="466" y="848"/>
                  <a:pt x="466" y="848"/>
                  <a:pt x="466" y="848"/>
                </a:cubicBezTo>
                <a:cubicBezTo>
                  <a:pt x="466" y="848"/>
                  <a:pt x="466" y="848"/>
                  <a:pt x="466" y="848"/>
                </a:cubicBezTo>
                <a:cubicBezTo>
                  <a:pt x="466" y="848"/>
                  <a:pt x="466" y="848"/>
                  <a:pt x="466" y="848"/>
                </a:cubicBezTo>
                <a:close/>
                <a:moveTo>
                  <a:pt x="463" y="846"/>
                </a:moveTo>
                <a:cubicBezTo>
                  <a:pt x="463" y="847"/>
                  <a:pt x="462" y="846"/>
                  <a:pt x="462" y="846"/>
                </a:cubicBezTo>
                <a:cubicBezTo>
                  <a:pt x="461" y="847"/>
                  <a:pt x="462" y="848"/>
                  <a:pt x="462" y="848"/>
                </a:cubicBezTo>
                <a:cubicBezTo>
                  <a:pt x="462" y="848"/>
                  <a:pt x="463" y="847"/>
                  <a:pt x="463" y="847"/>
                </a:cubicBezTo>
                <a:cubicBezTo>
                  <a:pt x="463" y="846"/>
                  <a:pt x="464" y="847"/>
                  <a:pt x="465" y="847"/>
                </a:cubicBezTo>
                <a:cubicBezTo>
                  <a:pt x="465" y="847"/>
                  <a:pt x="464" y="846"/>
                  <a:pt x="465" y="846"/>
                </a:cubicBezTo>
                <a:cubicBezTo>
                  <a:pt x="465" y="846"/>
                  <a:pt x="466" y="846"/>
                  <a:pt x="466" y="846"/>
                </a:cubicBezTo>
                <a:cubicBezTo>
                  <a:pt x="466" y="845"/>
                  <a:pt x="466" y="845"/>
                  <a:pt x="465" y="845"/>
                </a:cubicBezTo>
                <a:cubicBezTo>
                  <a:pt x="465" y="845"/>
                  <a:pt x="464" y="845"/>
                  <a:pt x="464" y="845"/>
                </a:cubicBezTo>
                <a:cubicBezTo>
                  <a:pt x="464" y="844"/>
                  <a:pt x="464" y="844"/>
                  <a:pt x="465" y="844"/>
                </a:cubicBezTo>
                <a:cubicBezTo>
                  <a:pt x="466" y="843"/>
                  <a:pt x="466" y="842"/>
                  <a:pt x="466" y="841"/>
                </a:cubicBezTo>
                <a:cubicBezTo>
                  <a:pt x="465" y="841"/>
                  <a:pt x="464" y="841"/>
                  <a:pt x="464" y="842"/>
                </a:cubicBezTo>
                <a:cubicBezTo>
                  <a:pt x="463" y="842"/>
                  <a:pt x="463" y="841"/>
                  <a:pt x="463" y="842"/>
                </a:cubicBezTo>
                <a:cubicBezTo>
                  <a:pt x="463" y="843"/>
                  <a:pt x="463" y="843"/>
                  <a:pt x="462" y="843"/>
                </a:cubicBezTo>
                <a:cubicBezTo>
                  <a:pt x="462" y="844"/>
                  <a:pt x="463" y="845"/>
                  <a:pt x="464" y="845"/>
                </a:cubicBezTo>
                <a:cubicBezTo>
                  <a:pt x="464" y="846"/>
                  <a:pt x="463" y="846"/>
                  <a:pt x="463" y="846"/>
                </a:cubicBezTo>
                <a:close/>
                <a:moveTo>
                  <a:pt x="465" y="840"/>
                </a:moveTo>
                <a:cubicBezTo>
                  <a:pt x="464" y="840"/>
                  <a:pt x="465" y="840"/>
                  <a:pt x="465" y="840"/>
                </a:cubicBezTo>
                <a:cubicBezTo>
                  <a:pt x="465" y="840"/>
                  <a:pt x="465" y="840"/>
                  <a:pt x="465" y="839"/>
                </a:cubicBezTo>
                <a:cubicBezTo>
                  <a:pt x="465" y="839"/>
                  <a:pt x="465" y="840"/>
                  <a:pt x="465" y="840"/>
                </a:cubicBezTo>
                <a:close/>
                <a:moveTo>
                  <a:pt x="464" y="838"/>
                </a:moveTo>
                <a:cubicBezTo>
                  <a:pt x="464" y="838"/>
                  <a:pt x="464" y="838"/>
                  <a:pt x="463" y="838"/>
                </a:cubicBezTo>
                <a:cubicBezTo>
                  <a:pt x="464" y="839"/>
                  <a:pt x="464" y="839"/>
                  <a:pt x="465" y="839"/>
                </a:cubicBezTo>
                <a:cubicBezTo>
                  <a:pt x="465" y="838"/>
                  <a:pt x="464" y="838"/>
                  <a:pt x="464" y="838"/>
                </a:cubicBezTo>
                <a:close/>
                <a:moveTo>
                  <a:pt x="463" y="837"/>
                </a:moveTo>
                <a:cubicBezTo>
                  <a:pt x="464" y="837"/>
                  <a:pt x="464" y="838"/>
                  <a:pt x="464" y="837"/>
                </a:cubicBezTo>
                <a:cubicBezTo>
                  <a:pt x="464" y="835"/>
                  <a:pt x="463" y="836"/>
                  <a:pt x="463" y="837"/>
                </a:cubicBezTo>
                <a:close/>
                <a:moveTo>
                  <a:pt x="465" y="828"/>
                </a:moveTo>
                <a:cubicBezTo>
                  <a:pt x="465" y="829"/>
                  <a:pt x="464" y="829"/>
                  <a:pt x="464" y="829"/>
                </a:cubicBezTo>
                <a:cubicBezTo>
                  <a:pt x="464" y="830"/>
                  <a:pt x="464" y="830"/>
                  <a:pt x="464" y="831"/>
                </a:cubicBezTo>
                <a:cubicBezTo>
                  <a:pt x="464" y="831"/>
                  <a:pt x="466" y="831"/>
                  <a:pt x="466" y="831"/>
                </a:cubicBezTo>
                <a:cubicBezTo>
                  <a:pt x="466" y="830"/>
                  <a:pt x="467" y="831"/>
                  <a:pt x="467" y="830"/>
                </a:cubicBezTo>
                <a:cubicBezTo>
                  <a:pt x="467" y="829"/>
                  <a:pt x="467" y="828"/>
                  <a:pt x="468" y="829"/>
                </a:cubicBezTo>
                <a:cubicBezTo>
                  <a:pt x="468" y="828"/>
                  <a:pt x="468" y="827"/>
                  <a:pt x="467" y="827"/>
                </a:cubicBezTo>
                <a:cubicBezTo>
                  <a:pt x="469" y="826"/>
                  <a:pt x="468" y="826"/>
                  <a:pt x="467" y="825"/>
                </a:cubicBezTo>
                <a:cubicBezTo>
                  <a:pt x="467" y="825"/>
                  <a:pt x="467" y="824"/>
                  <a:pt x="467" y="823"/>
                </a:cubicBezTo>
                <a:cubicBezTo>
                  <a:pt x="468" y="823"/>
                  <a:pt x="468" y="824"/>
                  <a:pt x="468" y="823"/>
                </a:cubicBezTo>
                <a:cubicBezTo>
                  <a:pt x="468" y="822"/>
                  <a:pt x="468" y="821"/>
                  <a:pt x="468" y="821"/>
                </a:cubicBezTo>
                <a:cubicBezTo>
                  <a:pt x="467" y="821"/>
                  <a:pt x="466" y="821"/>
                  <a:pt x="466" y="821"/>
                </a:cubicBezTo>
                <a:cubicBezTo>
                  <a:pt x="466" y="821"/>
                  <a:pt x="465" y="821"/>
                  <a:pt x="465" y="821"/>
                </a:cubicBezTo>
                <a:cubicBezTo>
                  <a:pt x="465" y="822"/>
                  <a:pt x="465" y="823"/>
                  <a:pt x="465" y="824"/>
                </a:cubicBezTo>
                <a:cubicBezTo>
                  <a:pt x="465" y="824"/>
                  <a:pt x="465" y="828"/>
                  <a:pt x="465" y="828"/>
                </a:cubicBezTo>
                <a:close/>
                <a:moveTo>
                  <a:pt x="1640" y="818"/>
                </a:moveTo>
                <a:cubicBezTo>
                  <a:pt x="1640" y="818"/>
                  <a:pt x="1640" y="818"/>
                  <a:pt x="1640" y="818"/>
                </a:cubicBezTo>
                <a:cubicBezTo>
                  <a:pt x="1640" y="818"/>
                  <a:pt x="1640" y="818"/>
                  <a:pt x="1640" y="818"/>
                </a:cubicBezTo>
                <a:close/>
                <a:moveTo>
                  <a:pt x="1640" y="820"/>
                </a:moveTo>
                <a:cubicBezTo>
                  <a:pt x="1640" y="819"/>
                  <a:pt x="1640" y="818"/>
                  <a:pt x="1639" y="819"/>
                </a:cubicBezTo>
                <a:cubicBezTo>
                  <a:pt x="1639" y="819"/>
                  <a:pt x="1639" y="819"/>
                  <a:pt x="1639" y="820"/>
                </a:cubicBezTo>
                <a:cubicBezTo>
                  <a:pt x="1638" y="820"/>
                  <a:pt x="1638" y="820"/>
                  <a:pt x="1637" y="819"/>
                </a:cubicBezTo>
                <a:cubicBezTo>
                  <a:pt x="1637" y="819"/>
                  <a:pt x="1637" y="819"/>
                  <a:pt x="1637" y="818"/>
                </a:cubicBezTo>
                <a:cubicBezTo>
                  <a:pt x="1637" y="817"/>
                  <a:pt x="1636" y="818"/>
                  <a:pt x="1636" y="817"/>
                </a:cubicBezTo>
                <a:cubicBezTo>
                  <a:pt x="1635" y="817"/>
                  <a:pt x="1635" y="816"/>
                  <a:pt x="1635" y="816"/>
                </a:cubicBezTo>
                <a:cubicBezTo>
                  <a:pt x="1635" y="816"/>
                  <a:pt x="1636" y="816"/>
                  <a:pt x="1636" y="815"/>
                </a:cubicBezTo>
                <a:cubicBezTo>
                  <a:pt x="1636" y="815"/>
                  <a:pt x="1636" y="815"/>
                  <a:pt x="1636" y="815"/>
                </a:cubicBezTo>
                <a:cubicBezTo>
                  <a:pt x="1635" y="815"/>
                  <a:pt x="1635" y="815"/>
                  <a:pt x="1634" y="815"/>
                </a:cubicBezTo>
                <a:cubicBezTo>
                  <a:pt x="1633" y="816"/>
                  <a:pt x="1632" y="817"/>
                  <a:pt x="1631" y="818"/>
                </a:cubicBezTo>
                <a:cubicBezTo>
                  <a:pt x="1631" y="819"/>
                  <a:pt x="1631" y="820"/>
                  <a:pt x="1631" y="821"/>
                </a:cubicBezTo>
                <a:cubicBezTo>
                  <a:pt x="1631" y="821"/>
                  <a:pt x="1631" y="822"/>
                  <a:pt x="1631" y="822"/>
                </a:cubicBezTo>
                <a:cubicBezTo>
                  <a:pt x="1631" y="823"/>
                  <a:pt x="1629" y="823"/>
                  <a:pt x="1630" y="824"/>
                </a:cubicBezTo>
                <a:cubicBezTo>
                  <a:pt x="1630" y="824"/>
                  <a:pt x="1630" y="825"/>
                  <a:pt x="1629" y="825"/>
                </a:cubicBezTo>
                <a:cubicBezTo>
                  <a:pt x="1629" y="825"/>
                  <a:pt x="1628" y="825"/>
                  <a:pt x="1628" y="826"/>
                </a:cubicBezTo>
                <a:cubicBezTo>
                  <a:pt x="1628" y="826"/>
                  <a:pt x="1628" y="827"/>
                  <a:pt x="1628" y="827"/>
                </a:cubicBezTo>
                <a:cubicBezTo>
                  <a:pt x="1627" y="828"/>
                  <a:pt x="1627" y="829"/>
                  <a:pt x="1626" y="830"/>
                </a:cubicBezTo>
                <a:cubicBezTo>
                  <a:pt x="1626" y="831"/>
                  <a:pt x="1625" y="831"/>
                  <a:pt x="1625" y="832"/>
                </a:cubicBezTo>
                <a:cubicBezTo>
                  <a:pt x="1625" y="833"/>
                  <a:pt x="1624" y="833"/>
                  <a:pt x="1623" y="833"/>
                </a:cubicBezTo>
                <a:cubicBezTo>
                  <a:pt x="1623" y="833"/>
                  <a:pt x="1623" y="834"/>
                  <a:pt x="1622" y="834"/>
                </a:cubicBezTo>
                <a:cubicBezTo>
                  <a:pt x="1622" y="834"/>
                  <a:pt x="1622" y="834"/>
                  <a:pt x="1622" y="834"/>
                </a:cubicBezTo>
                <a:cubicBezTo>
                  <a:pt x="1622" y="835"/>
                  <a:pt x="1622" y="834"/>
                  <a:pt x="1621" y="834"/>
                </a:cubicBezTo>
                <a:cubicBezTo>
                  <a:pt x="1621" y="835"/>
                  <a:pt x="1621" y="836"/>
                  <a:pt x="1620" y="836"/>
                </a:cubicBezTo>
                <a:cubicBezTo>
                  <a:pt x="1620" y="836"/>
                  <a:pt x="1620" y="835"/>
                  <a:pt x="1620" y="836"/>
                </a:cubicBezTo>
                <a:cubicBezTo>
                  <a:pt x="1620" y="836"/>
                  <a:pt x="1619" y="836"/>
                  <a:pt x="1619" y="836"/>
                </a:cubicBezTo>
                <a:cubicBezTo>
                  <a:pt x="1618" y="837"/>
                  <a:pt x="1618" y="837"/>
                  <a:pt x="1617" y="837"/>
                </a:cubicBezTo>
                <a:cubicBezTo>
                  <a:pt x="1617" y="837"/>
                  <a:pt x="1616" y="837"/>
                  <a:pt x="1616" y="837"/>
                </a:cubicBezTo>
                <a:cubicBezTo>
                  <a:pt x="1616" y="838"/>
                  <a:pt x="1616" y="838"/>
                  <a:pt x="1615" y="838"/>
                </a:cubicBezTo>
                <a:cubicBezTo>
                  <a:pt x="1615" y="838"/>
                  <a:pt x="1615" y="838"/>
                  <a:pt x="1615" y="838"/>
                </a:cubicBezTo>
                <a:cubicBezTo>
                  <a:pt x="1615" y="838"/>
                  <a:pt x="1614" y="838"/>
                  <a:pt x="1614" y="838"/>
                </a:cubicBezTo>
                <a:cubicBezTo>
                  <a:pt x="1614" y="839"/>
                  <a:pt x="1614" y="839"/>
                  <a:pt x="1613" y="840"/>
                </a:cubicBezTo>
                <a:cubicBezTo>
                  <a:pt x="1613" y="840"/>
                  <a:pt x="1612" y="841"/>
                  <a:pt x="1612" y="841"/>
                </a:cubicBezTo>
                <a:cubicBezTo>
                  <a:pt x="1611" y="841"/>
                  <a:pt x="1610" y="841"/>
                  <a:pt x="1610" y="842"/>
                </a:cubicBezTo>
                <a:cubicBezTo>
                  <a:pt x="1610" y="842"/>
                  <a:pt x="1610" y="842"/>
                  <a:pt x="1609" y="843"/>
                </a:cubicBezTo>
                <a:cubicBezTo>
                  <a:pt x="1608" y="843"/>
                  <a:pt x="1608" y="844"/>
                  <a:pt x="1608" y="845"/>
                </a:cubicBezTo>
                <a:cubicBezTo>
                  <a:pt x="1607" y="845"/>
                  <a:pt x="1606" y="844"/>
                  <a:pt x="1606" y="845"/>
                </a:cubicBezTo>
                <a:cubicBezTo>
                  <a:pt x="1606" y="845"/>
                  <a:pt x="1606" y="846"/>
                  <a:pt x="1607" y="846"/>
                </a:cubicBezTo>
                <a:cubicBezTo>
                  <a:pt x="1607" y="847"/>
                  <a:pt x="1606" y="847"/>
                  <a:pt x="1606" y="849"/>
                </a:cubicBezTo>
                <a:cubicBezTo>
                  <a:pt x="1606" y="849"/>
                  <a:pt x="1605" y="849"/>
                  <a:pt x="1605" y="849"/>
                </a:cubicBezTo>
                <a:cubicBezTo>
                  <a:pt x="1605" y="849"/>
                  <a:pt x="1605" y="849"/>
                  <a:pt x="1605" y="849"/>
                </a:cubicBezTo>
                <a:cubicBezTo>
                  <a:pt x="1605" y="849"/>
                  <a:pt x="1605" y="849"/>
                  <a:pt x="1605" y="849"/>
                </a:cubicBezTo>
                <a:cubicBezTo>
                  <a:pt x="1605" y="850"/>
                  <a:pt x="1605" y="850"/>
                  <a:pt x="1605" y="851"/>
                </a:cubicBezTo>
                <a:cubicBezTo>
                  <a:pt x="1606" y="851"/>
                  <a:pt x="1606" y="851"/>
                  <a:pt x="1606" y="851"/>
                </a:cubicBezTo>
                <a:cubicBezTo>
                  <a:pt x="1606" y="851"/>
                  <a:pt x="1606" y="851"/>
                  <a:pt x="1607" y="852"/>
                </a:cubicBezTo>
                <a:cubicBezTo>
                  <a:pt x="1607" y="852"/>
                  <a:pt x="1607" y="852"/>
                  <a:pt x="1608" y="852"/>
                </a:cubicBezTo>
                <a:cubicBezTo>
                  <a:pt x="1609" y="852"/>
                  <a:pt x="1610" y="852"/>
                  <a:pt x="1611" y="851"/>
                </a:cubicBezTo>
                <a:cubicBezTo>
                  <a:pt x="1611" y="852"/>
                  <a:pt x="1611" y="853"/>
                  <a:pt x="1611" y="853"/>
                </a:cubicBezTo>
                <a:cubicBezTo>
                  <a:pt x="1612" y="853"/>
                  <a:pt x="1612" y="853"/>
                  <a:pt x="1613" y="853"/>
                </a:cubicBezTo>
                <a:cubicBezTo>
                  <a:pt x="1614" y="853"/>
                  <a:pt x="1614" y="854"/>
                  <a:pt x="1614" y="854"/>
                </a:cubicBezTo>
                <a:cubicBezTo>
                  <a:pt x="1615" y="854"/>
                  <a:pt x="1615" y="854"/>
                  <a:pt x="1615" y="854"/>
                </a:cubicBezTo>
                <a:cubicBezTo>
                  <a:pt x="1616" y="855"/>
                  <a:pt x="1617" y="854"/>
                  <a:pt x="1618" y="855"/>
                </a:cubicBezTo>
                <a:cubicBezTo>
                  <a:pt x="1619" y="854"/>
                  <a:pt x="1619" y="854"/>
                  <a:pt x="1620" y="853"/>
                </a:cubicBezTo>
                <a:cubicBezTo>
                  <a:pt x="1620" y="853"/>
                  <a:pt x="1621" y="853"/>
                  <a:pt x="1621" y="852"/>
                </a:cubicBezTo>
                <a:cubicBezTo>
                  <a:pt x="1622" y="852"/>
                  <a:pt x="1622" y="852"/>
                  <a:pt x="1622" y="851"/>
                </a:cubicBezTo>
                <a:cubicBezTo>
                  <a:pt x="1623" y="851"/>
                  <a:pt x="1623" y="850"/>
                  <a:pt x="1624" y="849"/>
                </a:cubicBezTo>
                <a:cubicBezTo>
                  <a:pt x="1624" y="849"/>
                  <a:pt x="1624" y="850"/>
                  <a:pt x="1624" y="849"/>
                </a:cubicBezTo>
                <a:cubicBezTo>
                  <a:pt x="1624" y="849"/>
                  <a:pt x="1624" y="849"/>
                  <a:pt x="1624" y="848"/>
                </a:cubicBezTo>
                <a:cubicBezTo>
                  <a:pt x="1624" y="848"/>
                  <a:pt x="1625" y="848"/>
                  <a:pt x="1625" y="848"/>
                </a:cubicBezTo>
                <a:cubicBezTo>
                  <a:pt x="1625" y="848"/>
                  <a:pt x="1625" y="848"/>
                  <a:pt x="1625" y="848"/>
                </a:cubicBezTo>
                <a:cubicBezTo>
                  <a:pt x="1625" y="847"/>
                  <a:pt x="1625" y="849"/>
                  <a:pt x="1625" y="847"/>
                </a:cubicBezTo>
                <a:cubicBezTo>
                  <a:pt x="1625" y="847"/>
                  <a:pt x="1625" y="846"/>
                  <a:pt x="1626" y="846"/>
                </a:cubicBezTo>
                <a:cubicBezTo>
                  <a:pt x="1626" y="846"/>
                  <a:pt x="1626" y="845"/>
                  <a:pt x="1626" y="845"/>
                </a:cubicBezTo>
                <a:cubicBezTo>
                  <a:pt x="1627" y="844"/>
                  <a:pt x="1626" y="844"/>
                  <a:pt x="1627" y="843"/>
                </a:cubicBezTo>
                <a:cubicBezTo>
                  <a:pt x="1627" y="843"/>
                  <a:pt x="1627" y="843"/>
                  <a:pt x="1627" y="843"/>
                </a:cubicBezTo>
                <a:cubicBezTo>
                  <a:pt x="1627" y="843"/>
                  <a:pt x="1627" y="843"/>
                  <a:pt x="1627" y="842"/>
                </a:cubicBezTo>
                <a:cubicBezTo>
                  <a:pt x="1627" y="842"/>
                  <a:pt x="1627" y="842"/>
                  <a:pt x="1627" y="841"/>
                </a:cubicBezTo>
                <a:cubicBezTo>
                  <a:pt x="1627" y="840"/>
                  <a:pt x="1627" y="839"/>
                  <a:pt x="1628" y="839"/>
                </a:cubicBezTo>
                <a:cubicBezTo>
                  <a:pt x="1629" y="839"/>
                  <a:pt x="1629" y="839"/>
                  <a:pt x="1629" y="839"/>
                </a:cubicBezTo>
                <a:cubicBezTo>
                  <a:pt x="1630" y="840"/>
                  <a:pt x="1630" y="839"/>
                  <a:pt x="1631" y="839"/>
                </a:cubicBezTo>
                <a:cubicBezTo>
                  <a:pt x="1632" y="838"/>
                  <a:pt x="1632" y="838"/>
                  <a:pt x="1632" y="837"/>
                </a:cubicBezTo>
                <a:cubicBezTo>
                  <a:pt x="1633" y="837"/>
                  <a:pt x="1635" y="837"/>
                  <a:pt x="1636" y="837"/>
                </a:cubicBezTo>
                <a:cubicBezTo>
                  <a:pt x="1636" y="837"/>
                  <a:pt x="1637" y="837"/>
                  <a:pt x="1637" y="837"/>
                </a:cubicBezTo>
                <a:cubicBezTo>
                  <a:pt x="1637" y="836"/>
                  <a:pt x="1636" y="837"/>
                  <a:pt x="1635" y="837"/>
                </a:cubicBezTo>
                <a:cubicBezTo>
                  <a:pt x="1635" y="837"/>
                  <a:pt x="1635" y="835"/>
                  <a:pt x="1635" y="835"/>
                </a:cubicBezTo>
                <a:cubicBezTo>
                  <a:pt x="1635" y="834"/>
                  <a:pt x="1634" y="834"/>
                  <a:pt x="1635" y="833"/>
                </a:cubicBezTo>
                <a:cubicBezTo>
                  <a:pt x="1636" y="833"/>
                  <a:pt x="1636" y="832"/>
                  <a:pt x="1637" y="832"/>
                </a:cubicBezTo>
                <a:cubicBezTo>
                  <a:pt x="1637" y="832"/>
                  <a:pt x="1637" y="832"/>
                  <a:pt x="1637" y="832"/>
                </a:cubicBezTo>
                <a:cubicBezTo>
                  <a:pt x="1637" y="832"/>
                  <a:pt x="1638" y="832"/>
                  <a:pt x="1638" y="831"/>
                </a:cubicBezTo>
                <a:cubicBezTo>
                  <a:pt x="1638" y="831"/>
                  <a:pt x="1638" y="831"/>
                  <a:pt x="1638" y="830"/>
                </a:cubicBezTo>
                <a:cubicBezTo>
                  <a:pt x="1638" y="830"/>
                  <a:pt x="1638" y="831"/>
                  <a:pt x="1638" y="830"/>
                </a:cubicBezTo>
                <a:cubicBezTo>
                  <a:pt x="1638" y="830"/>
                  <a:pt x="1639" y="830"/>
                  <a:pt x="1639" y="829"/>
                </a:cubicBezTo>
                <a:cubicBezTo>
                  <a:pt x="1639" y="828"/>
                  <a:pt x="1639" y="828"/>
                  <a:pt x="1640" y="828"/>
                </a:cubicBezTo>
                <a:cubicBezTo>
                  <a:pt x="1640" y="827"/>
                  <a:pt x="1641" y="824"/>
                  <a:pt x="1642" y="825"/>
                </a:cubicBezTo>
                <a:cubicBezTo>
                  <a:pt x="1642" y="824"/>
                  <a:pt x="1641" y="822"/>
                  <a:pt x="1642" y="822"/>
                </a:cubicBezTo>
                <a:cubicBezTo>
                  <a:pt x="1643" y="821"/>
                  <a:pt x="1643" y="820"/>
                  <a:pt x="1643" y="819"/>
                </a:cubicBezTo>
                <a:cubicBezTo>
                  <a:pt x="1642" y="819"/>
                  <a:pt x="1641" y="819"/>
                  <a:pt x="1640" y="820"/>
                </a:cubicBezTo>
                <a:cubicBezTo>
                  <a:pt x="1640" y="819"/>
                  <a:pt x="1640" y="820"/>
                  <a:pt x="1640" y="820"/>
                </a:cubicBezTo>
                <a:close/>
                <a:moveTo>
                  <a:pt x="1516" y="815"/>
                </a:moveTo>
                <a:cubicBezTo>
                  <a:pt x="1515" y="816"/>
                  <a:pt x="1515" y="816"/>
                  <a:pt x="1515" y="817"/>
                </a:cubicBezTo>
                <a:cubicBezTo>
                  <a:pt x="1514" y="817"/>
                  <a:pt x="1514" y="817"/>
                  <a:pt x="1513" y="817"/>
                </a:cubicBezTo>
                <a:cubicBezTo>
                  <a:pt x="1512" y="818"/>
                  <a:pt x="1511" y="818"/>
                  <a:pt x="1509" y="818"/>
                </a:cubicBezTo>
                <a:cubicBezTo>
                  <a:pt x="1509" y="818"/>
                  <a:pt x="1509" y="818"/>
                  <a:pt x="1508" y="818"/>
                </a:cubicBezTo>
                <a:cubicBezTo>
                  <a:pt x="1508" y="818"/>
                  <a:pt x="1508" y="818"/>
                  <a:pt x="1508" y="818"/>
                </a:cubicBezTo>
                <a:cubicBezTo>
                  <a:pt x="1508" y="817"/>
                  <a:pt x="1508" y="818"/>
                  <a:pt x="1507" y="818"/>
                </a:cubicBezTo>
                <a:cubicBezTo>
                  <a:pt x="1507" y="818"/>
                  <a:pt x="1507" y="817"/>
                  <a:pt x="1507" y="817"/>
                </a:cubicBezTo>
                <a:cubicBezTo>
                  <a:pt x="1506" y="817"/>
                  <a:pt x="1506" y="817"/>
                  <a:pt x="1506" y="817"/>
                </a:cubicBezTo>
                <a:cubicBezTo>
                  <a:pt x="1505" y="816"/>
                  <a:pt x="1505" y="816"/>
                  <a:pt x="1504" y="816"/>
                </a:cubicBezTo>
                <a:cubicBezTo>
                  <a:pt x="1504" y="816"/>
                  <a:pt x="1504" y="816"/>
                  <a:pt x="1503" y="816"/>
                </a:cubicBezTo>
                <a:cubicBezTo>
                  <a:pt x="1503" y="816"/>
                  <a:pt x="1504" y="815"/>
                  <a:pt x="1503" y="815"/>
                </a:cubicBezTo>
                <a:cubicBezTo>
                  <a:pt x="1502" y="815"/>
                  <a:pt x="1502" y="816"/>
                  <a:pt x="1502" y="816"/>
                </a:cubicBezTo>
                <a:cubicBezTo>
                  <a:pt x="1501" y="816"/>
                  <a:pt x="1501" y="815"/>
                  <a:pt x="1500" y="815"/>
                </a:cubicBezTo>
                <a:cubicBezTo>
                  <a:pt x="1499" y="815"/>
                  <a:pt x="1499" y="815"/>
                  <a:pt x="1499" y="816"/>
                </a:cubicBezTo>
                <a:cubicBezTo>
                  <a:pt x="1499" y="817"/>
                  <a:pt x="1499" y="818"/>
                  <a:pt x="1500" y="819"/>
                </a:cubicBezTo>
                <a:cubicBezTo>
                  <a:pt x="1500" y="819"/>
                  <a:pt x="1501" y="820"/>
                  <a:pt x="1501" y="820"/>
                </a:cubicBezTo>
                <a:cubicBezTo>
                  <a:pt x="1501" y="821"/>
                  <a:pt x="1501" y="820"/>
                  <a:pt x="1501" y="821"/>
                </a:cubicBezTo>
                <a:cubicBezTo>
                  <a:pt x="1501" y="822"/>
                  <a:pt x="1503" y="822"/>
                  <a:pt x="1503" y="823"/>
                </a:cubicBezTo>
                <a:cubicBezTo>
                  <a:pt x="1503" y="824"/>
                  <a:pt x="1503" y="824"/>
                  <a:pt x="1504" y="824"/>
                </a:cubicBezTo>
                <a:cubicBezTo>
                  <a:pt x="1504" y="824"/>
                  <a:pt x="1505" y="825"/>
                  <a:pt x="1505" y="825"/>
                </a:cubicBezTo>
                <a:cubicBezTo>
                  <a:pt x="1504" y="825"/>
                  <a:pt x="1503" y="825"/>
                  <a:pt x="1503" y="826"/>
                </a:cubicBezTo>
                <a:cubicBezTo>
                  <a:pt x="1503" y="826"/>
                  <a:pt x="1503" y="827"/>
                  <a:pt x="1503" y="827"/>
                </a:cubicBezTo>
                <a:cubicBezTo>
                  <a:pt x="1503" y="828"/>
                  <a:pt x="1504" y="828"/>
                  <a:pt x="1504" y="829"/>
                </a:cubicBezTo>
                <a:cubicBezTo>
                  <a:pt x="1504" y="830"/>
                  <a:pt x="1505" y="829"/>
                  <a:pt x="1505" y="830"/>
                </a:cubicBezTo>
                <a:cubicBezTo>
                  <a:pt x="1505" y="830"/>
                  <a:pt x="1505" y="830"/>
                  <a:pt x="1505" y="830"/>
                </a:cubicBezTo>
                <a:cubicBezTo>
                  <a:pt x="1506" y="831"/>
                  <a:pt x="1507" y="831"/>
                  <a:pt x="1507" y="832"/>
                </a:cubicBezTo>
                <a:cubicBezTo>
                  <a:pt x="1507" y="833"/>
                  <a:pt x="1507" y="832"/>
                  <a:pt x="1508" y="833"/>
                </a:cubicBezTo>
                <a:cubicBezTo>
                  <a:pt x="1508" y="833"/>
                  <a:pt x="1508" y="833"/>
                  <a:pt x="1509" y="833"/>
                </a:cubicBezTo>
                <a:cubicBezTo>
                  <a:pt x="1510" y="833"/>
                  <a:pt x="1509" y="833"/>
                  <a:pt x="1510" y="833"/>
                </a:cubicBezTo>
                <a:cubicBezTo>
                  <a:pt x="1511" y="833"/>
                  <a:pt x="1511" y="833"/>
                  <a:pt x="1511" y="832"/>
                </a:cubicBezTo>
                <a:cubicBezTo>
                  <a:pt x="1512" y="833"/>
                  <a:pt x="1512" y="833"/>
                  <a:pt x="1512" y="833"/>
                </a:cubicBezTo>
                <a:cubicBezTo>
                  <a:pt x="1513" y="832"/>
                  <a:pt x="1513" y="832"/>
                  <a:pt x="1513" y="831"/>
                </a:cubicBezTo>
                <a:cubicBezTo>
                  <a:pt x="1512" y="832"/>
                  <a:pt x="1512" y="832"/>
                  <a:pt x="1512" y="832"/>
                </a:cubicBezTo>
                <a:cubicBezTo>
                  <a:pt x="1511" y="832"/>
                  <a:pt x="1511" y="831"/>
                  <a:pt x="1511" y="830"/>
                </a:cubicBezTo>
                <a:cubicBezTo>
                  <a:pt x="1512" y="830"/>
                  <a:pt x="1513" y="829"/>
                  <a:pt x="1513" y="829"/>
                </a:cubicBezTo>
                <a:cubicBezTo>
                  <a:pt x="1514" y="829"/>
                  <a:pt x="1514" y="831"/>
                  <a:pt x="1515" y="831"/>
                </a:cubicBezTo>
                <a:cubicBezTo>
                  <a:pt x="1515" y="830"/>
                  <a:pt x="1515" y="831"/>
                  <a:pt x="1515" y="830"/>
                </a:cubicBezTo>
                <a:cubicBezTo>
                  <a:pt x="1515" y="829"/>
                  <a:pt x="1515" y="829"/>
                  <a:pt x="1515" y="829"/>
                </a:cubicBezTo>
                <a:cubicBezTo>
                  <a:pt x="1515" y="827"/>
                  <a:pt x="1515" y="827"/>
                  <a:pt x="1515" y="825"/>
                </a:cubicBezTo>
                <a:cubicBezTo>
                  <a:pt x="1515" y="824"/>
                  <a:pt x="1515" y="825"/>
                  <a:pt x="1516" y="824"/>
                </a:cubicBezTo>
                <a:cubicBezTo>
                  <a:pt x="1516" y="824"/>
                  <a:pt x="1516" y="823"/>
                  <a:pt x="1516" y="824"/>
                </a:cubicBezTo>
                <a:cubicBezTo>
                  <a:pt x="1517" y="824"/>
                  <a:pt x="1517" y="823"/>
                  <a:pt x="1517" y="822"/>
                </a:cubicBezTo>
                <a:cubicBezTo>
                  <a:pt x="1517" y="821"/>
                  <a:pt x="1517" y="820"/>
                  <a:pt x="1517" y="820"/>
                </a:cubicBezTo>
                <a:cubicBezTo>
                  <a:pt x="1517" y="819"/>
                  <a:pt x="1517" y="818"/>
                  <a:pt x="1516" y="817"/>
                </a:cubicBezTo>
                <a:cubicBezTo>
                  <a:pt x="1516" y="817"/>
                  <a:pt x="1516" y="816"/>
                  <a:pt x="1516" y="815"/>
                </a:cubicBezTo>
                <a:close/>
                <a:moveTo>
                  <a:pt x="1515" y="810"/>
                </a:moveTo>
                <a:cubicBezTo>
                  <a:pt x="1515" y="810"/>
                  <a:pt x="1514" y="811"/>
                  <a:pt x="1515" y="811"/>
                </a:cubicBezTo>
                <a:cubicBezTo>
                  <a:pt x="1516" y="812"/>
                  <a:pt x="1515" y="813"/>
                  <a:pt x="1516" y="813"/>
                </a:cubicBezTo>
                <a:cubicBezTo>
                  <a:pt x="1517" y="813"/>
                  <a:pt x="1517" y="812"/>
                  <a:pt x="1518" y="812"/>
                </a:cubicBezTo>
                <a:cubicBezTo>
                  <a:pt x="1517" y="812"/>
                  <a:pt x="1517" y="811"/>
                  <a:pt x="1517" y="811"/>
                </a:cubicBezTo>
                <a:cubicBezTo>
                  <a:pt x="1516" y="810"/>
                  <a:pt x="1516" y="810"/>
                  <a:pt x="1515" y="810"/>
                </a:cubicBezTo>
                <a:close/>
                <a:moveTo>
                  <a:pt x="1495" y="811"/>
                </a:moveTo>
                <a:cubicBezTo>
                  <a:pt x="1496" y="811"/>
                  <a:pt x="1496" y="809"/>
                  <a:pt x="1496" y="809"/>
                </a:cubicBezTo>
                <a:cubicBezTo>
                  <a:pt x="1495" y="808"/>
                  <a:pt x="1495" y="810"/>
                  <a:pt x="1495" y="811"/>
                </a:cubicBezTo>
                <a:close/>
                <a:moveTo>
                  <a:pt x="1650" y="790"/>
                </a:moveTo>
                <a:cubicBezTo>
                  <a:pt x="1650" y="790"/>
                  <a:pt x="1650" y="789"/>
                  <a:pt x="1650" y="789"/>
                </a:cubicBezTo>
                <a:cubicBezTo>
                  <a:pt x="1650" y="789"/>
                  <a:pt x="1650" y="789"/>
                  <a:pt x="1649" y="790"/>
                </a:cubicBezTo>
                <a:cubicBezTo>
                  <a:pt x="1650" y="789"/>
                  <a:pt x="1649" y="790"/>
                  <a:pt x="1650" y="790"/>
                </a:cubicBezTo>
                <a:close/>
                <a:moveTo>
                  <a:pt x="1467" y="783"/>
                </a:moveTo>
                <a:cubicBezTo>
                  <a:pt x="1467" y="783"/>
                  <a:pt x="1466" y="783"/>
                  <a:pt x="1465" y="783"/>
                </a:cubicBezTo>
                <a:cubicBezTo>
                  <a:pt x="1464" y="783"/>
                  <a:pt x="1465" y="784"/>
                  <a:pt x="1464" y="785"/>
                </a:cubicBezTo>
                <a:cubicBezTo>
                  <a:pt x="1466" y="785"/>
                  <a:pt x="1467" y="785"/>
                  <a:pt x="1469" y="785"/>
                </a:cubicBezTo>
                <a:cubicBezTo>
                  <a:pt x="1470" y="783"/>
                  <a:pt x="1467" y="784"/>
                  <a:pt x="1467" y="783"/>
                </a:cubicBezTo>
                <a:cubicBezTo>
                  <a:pt x="1467" y="783"/>
                  <a:pt x="1467" y="783"/>
                  <a:pt x="1467" y="783"/>
                </a:cubicBezTo>
                <a:close/>
                <a:moveTo>
                  <a:pt x="1662" y="799"/>
                </a:moveTo>
                <a:cubicBezTo>
                  <a:pt x="1660" y="799"/>
                  <a:pt x="1659" y="800"/>
                  <a:pt x="1657" y="800"/>
                </a:cubicBezTo>
                <a:cubicBezTo>
                  <a:pt x="1657" y="801"/>
                  <a:pt x="1657" y="801"/>
                  <a:pt x="1657" y="801"/>
                </a:cubicBezTo>
                <a:cubicBezTo>
                  <a:pt x="1657" y="800"/>
                  <a:pt x="1656" y="801"/>
                  <a:pt x="1656" y="801"/>
                </a:cubicBezTo>
                <a:cubicBezTo>
                  <a:pt x="1655" y="801"/>
                  <a:pt x="1656" y="800"/>
                  <a:pt x="1656" y="800"/>
                </a:cubicBezTo>
                <a:cubicBezTo>
                  <a:pt x="1656" y="800"/>
                  <a:pt x="1655" y="800"/>
                  <a:pt x="1655" y="800"/>
                </a:cubicBezTo>
                <a:cubicBezTo>
                  <a:pt x="1655" y="800"/>
                  <a:pt x="1655" y="800"/>
                  <a:pt x="1655" y="800"/>
                </a:cubicBezTo>
                <a:cubicBezTo>
                  <a:pt x="1654" y="800"/>
                  <a:pt x="1654" y="800"/>
                  <a:pt x="1653" y="800"/>
                </a:cubicBezTo>
                <a:cubicBezTo>
                  <a:pt x="1653" y="800"/>
                  <a:pt x="1652" y="799"/>
                  <a:pt x="1652" y="799"/>
                </a:cubicBezTo>
                <a:cubicBezTo>
                  <a:pt x="1651" y="798"/>
                  <a:pt x="1651" y="798"/>
                  <a:pt x="1651" y="797"/>
                </a:cubicBezTo>
                <a:cubicBezTo>
                  <a:pt x="1651" y="797"/>
                  <a:pt x="1652" y="796"/>
                  <a:pt x="1651" y="796"/>
                </a:cubicBezTo>
                <a:cubicBezTo>
                  <a:pt x="1651" y="796"/>
                  <a:pt x="1651" y="796"/>
                  <a:pt x="1651" y="795"/>
                </a:cubicBezTo>
                <a:cubicBezTo>
                  <a:pt x="1651" y="795"/>
                  <a:pt x="1651" y="794"/>
                  <a:pt x="1651" y="793"/>
                </a:cubicBezTo>
                <a:cubicBezTo>
                  <a:pt x="1651" y="793"/>
                  <a:pt x="1650" y="794"/>
                  <a:pt x="1650" y="794"/>
                </a:cubicBezTo>
                <a:cubicBezTo>
                  <a:pt x="1650" y="793"/>
                  <a:pt x="1650" y="793"/>
                  <a:pt x="1650" y="792"/>
                </a:cubicBezTo>
                <a:cubicBezTo>
                  <a:pt x="1649" y="792"/>
                  <a:pt x="1650" y="792"/>
                  <a:pt x="1650" y="791"/>
                </a:cubicBezTo>
                <a:cubicBezTo>
                  <a:pt x="1650" y="791"/>
                  <a:pt x="1649" y="791"/>
                  <a:pt x="1649" y="792"/>
                </a:cubicBezTo>
                <a:cubicBezTo>
                  <a:pt x="1649" y="792"/>
                  <a:pt x="1649" y="793"/>
                  <a:pt x="1649" y="793"/>
                </a:cubicBezTo>
                <a:cubicBezTo>
                  <a:pt x="1649" y="793"/>
                  <a:pt x="1648" y="793"/>
                  <a:pt x="1648" y="793"/>
                </a:cubicBezTo>
                <a:cubicBezTo>
                  <a:pt x="1648" y="794"/>
                  <a:pt x="1648" y="794"/>
                  <a:pt x="1648" y="794"/>
                </a:cubicBezTo>
                <a:cubicBezTo>
                  <a:pt x="1648" y="795"/>
                  <a:pt x="1649" y="795"/>
                  <a:pt x="1648" y="795"/>
                </a:cubicBezTo>
                <a:cubicBezTo>
                  <a:pt x="1648" y="795"/>
                  <a:pt x="1648" y="794"/>
                  <a:pt x="1647" y="794"/>
                </a:cubicBezTo>
                <a:cubicBezTo>
                  <a:pt x="1647" y="794"/>
                  <a:pt x="1646" y="794"/>
                  <a:pt x="1646" y="794"/>
                </a:cubicBezTo>
                <a:cubicBezTo>
                  <a:pt x="1646" y="794"/>
                  <a:pt x="1646" y="793"/>
                  <a:pt x="1646" y="792"/>
                </a:cubicBezTo>
                <a:cubicBezTo>
                  <a:pt x="1646" y="792"/>
                  <a:pt x="1646" y="791"/>
                  <a:pt x="1646" y="790"/>
                </a:cubicBezTo>
                <a:cubicBezTo>
                  <a:pt x="1646" y="790"/>
                  <a:pt x="1646" y="790"/>
                  <a:pt x="1646" y="790"/>
                </a:cubicBezTo>
                <a:cubicBezTo>
                  <a:pt x="1645" y="790"/>
                  <a:pt x="1645" y="789"/>
                  <a:pt x="1645" y="788"/>
                </a:cubicBezTo>
                <a:cubicBezTo>
                  <a:pt x="1645" y="788"/>
                  <a:pt x="1644" y="786"/>
                  <a:pt x="1645" y="786"/>
                </a:cubicBezTo>
                <a:cubicBezTo>
                  <a:pt x="1645" y="785"/>
                  <a:pt x="1645" y="784"/>
                  <a:pt x="1645" y="784"/>
                </a:cubicBezTo>
                <a:cubicBezTo>
                  <a:pt x="1644" y="784"/>
                  <a:pt x="1644" y="784"/>
                  <a:pt x="1643" y="784"/>
                </a:cubicBezTo>
                <a:cubicBezTo>
                  <a:pt x="1643" y="784"/>
                  <a:pt x="1643" y="783"/>
                  <a:pt x="1643" y="783"/>
                </a:cubicBezTo>
                <a:cubicBezTo>
                  <a:pt x="1643" y="782"/>
                  <a:pt x="1643" y="782"/>
                  <a:pt x="1642" y="782"/>
                </a:cubicBezTo>
                <a:cubicBezTo>
                  <a:pt x="1642" y="782"/>
                  <a:pt x="1642" y="782"/>
                  <a:pt x="1642" y="781"/>
                </a:cubicBezTo>
                <a:cubicBezTo>
                  <a:pt x="1641" y="781"/>
                  <a:pt x="1640" y="781"/>
                  <a:pt x="1640" y="781"/>
                </a:cubicBezTo>
                <a:cubicBezTo>
                  <a:pt x="1640" y="781"/>
                  <a:pt x="1640" y="780"/>
                  <a:pt x="1640" y="780"/>
                </a:cubicBezTo>
                <a:cubicBezTo>
                  <a:pt x="1640" y="780"/>
                  <a:pt x="1639" y="780"/>
                  <a:pt x="1639" y="780"/>
                </a:cubicBezTo>
                <a:cubicBezTo>
                  <a:pt x="1639" y="780"/>
                  <a:pt x="1639" y="781"/>
                  <a:pt x="1639" y="781"/>
                </a:cubicBezTo>
                <a:cubicBezTo>
                  <a:pt x="1639" y="781"/>
                  <a:pt x="1638" y="780"/>
                  <a:pt x="1638" y="780"/>
                </a:cubicBezTo>
                <a:cubicBezTo>
                  <a:pt x="1638" y="779"/>
                  <a:pt x="1637" y="779"/>
                  <a:pt x="1637" y="779"/>
                </a:cubicBezTo>
                <a:cubicBezTo>
                  <a:pt x="1637" y="779"/>
                  <a:pt x="1637" y="778"/>
                  <a:pt x="1636" y="778"/>
                </a:cubicBezTo>
                <a:cubicBezTo>
                  <a:pt x="1636" y="778"/>
                  <a:pt x="1636" y="777"/>
                  <a:pt x="1636" y="777"/>
                </a:cubicBezTo>
                <a:cubicBezTo>
                  <a:pt x="1636" y="777"/>
                  <a:pt x="1635" y="777"/>
                  <a:pt x="1635" y="778"/>
                </a:cubicBezTo>
                <a:cubicBezTo>
                  <a:pt x="1635" y="779"/>
                  <a:pt x="1636" y="780"/>
                  <a:pt x="1637" y="780"/>
                </a:cubicBezTo>
                <a:cubicBezTo>
                  <a:pt x="1637" y="780"/>
                  <a:pt x="1637" y="781"/>
                  <a:pt x="1637" y="781"/>
                </a:cubicBezTo>
                <a:cubicBezTo>
                  <a:pt x="1637" y="781"/>
                  <a:pt x="1638" y="781"/>
                  <a:pt x="1638" y="782"/>
                </a:cubicBezTo>
                <a:cubicBezTo>
                  <a:pt x="1638" y="782"/>
                  <a:pt x="1638" y="784"/>
                  <a:pt x="1638" y="784"/>
                </a:cubicBezTo>
                <a:cubicBezTo>
                  <a:pt x="1639" y="784"/>
                  <a:pt x="1639" y="785"/>
                  <a:pt x="1639" y="785"/>
                </a:cubicBezTo>
                <a:cubicBezTo>
                  <a:pt x="1640" y="785"/>
                  <a:pt x="1640" y="785"/>
                  <a:pt x="1640" y="786"/>
                </a:cubicBezTo>
                <a:cubicBezTo>
                  <a:pt x="1640" y="786"/>
                  <a:pt x="1640" y="787"/>
                  <a:pt x="1640" y="787"/>
                </a:cubicBezTo>
                <a:cubicBezTo>
                  <a:pt x="1641" y="787"/>
                  <a:pt x="1641" y="788"/>
                  <a:pt x="1642" y="789"/>
                </a:cubicBezTo>
                <a:cubicBezTo>
                  <a:pt x="1642" y="789"/>
                  <a:pt x="1642" y="789"/>
                  <a:pt x="1643" y="789"/>
                </a:cubicBezTo>
                <a:cubicBezTo>
                  <a:pt x="1644" y="790"/>
                  <a:pt x="1644" y="790"/>
                  <a:pt x="1644" y="791"/>
                </a:cubicBezTo>
                <a:cubicBezTo>
                  <a:pt x="1643" y="791"/>
                  <a:pt x="1643" y="791"/>
                  <a:pt x="1643" y="791"/>
                </a:cubicBezTo>
                <a:cubicBezTo>
                  <a:pt x="1643" y="792"/>
                  <a:pt x="1643" y="793"/>
                  <a:pt x="1643" y="793"/>
                </a:cubicBezTo>
                <a:cubicBezTo>
                  <a:pt x="1643" y="794"/>
                  <a:pt x="1644" y="794"/>
                  <a:pt x="1645" y="794"/>
                </a:cubicBezTo>
                <a:cubicBezTo>
                  <a:pt x="1645" y="795"/>
                  <a:pt x="1644" y="795"/>
                  <a:pt x="1644" y="796"/>
                </a:cubicBezTo>
                <a:cubicBezTo>
                  <a:pt x="1644" y="796"/>
                  <a:pt x="1645" y="797"/>
                  <a:pt x="1645" y="798"/>
                </a:cubicBezTo>
                <a:cubicBezTo>
                  <a:pt x="1645" y="798"/>
                  <a:pt x="1645" y="799"/>
                  <a:pt x="1645" y="800"/>
                </a:cubicBezTo>
                <a:cubicBezTo>
                  <a:pt x="1645" y="800"/>
                  <a:pt x="1645" y="800"/>
                  <a:pt x="1645" y="801"/>
                </a:cubicBezTo>
                <a:cubicBezTo>
                  <a:pt x="1645" y="801"/>
                  <a:pt x="1645" y="801"/>
                  <a:pt x="1645" y="802"/>
                </a:cubicBezTo>
                <a:cubicBezTo>
                  <a:pt x="1645" y="802"/>
                  <a:pt x="1644" y="802"/>
                  <a:pt x="1644" y="802"/>
                </a:cubicBezTo>
                <a:cubicBezTo>
                  <a:pt x="1644" y="803"/>
                  <a:pt x="1644" y="803"/>
                  <a:pt x="1644" y="804"/>
                </a:cubicBezTo>
                <a:cubicBezTo>
                  <a:pt x="1644" y="804"/>
                  <a:pt x="1643" y="804"/>
                  <a:pt x="1643" y="804"/>
                </a:cubicBezTo>
                <a:cubicBezTo>
                  <a:pt x="1643" y="804"/>
                  <a:pt x="1644" y="805"/>
                  <a:pt x="1643" y="805"/>
                </a:cubicBezTo>
                <a:cubicBezTo>
                  <a:pt x="1643" y="805"/>
                  <a:pt x="1643" y="805"/>
                  <a:pt x="1643" y="806"/>
                </a:cubicBezTo>
                <a:cubicBezTo>
                  <a:pt x="1643" y="806"/>
                  <a:pt x="1642" y="806"/>
                  <a:pt x="1641" y="806"/>
                </a:cubicBezTo>
                <a:cubicBezTo>
                  <a:pt x="1640" y="806"/>
                  <a:pt x="1639" y="807"/>
                  <a:pt x="1640" y="808"/>
                </a:cubicBezTo>
                <a:cubicBezTo>
                  <a:pt x="1641" y="810"/>
                  <a:pt x="1643" y="810"/>
                  <a:pt x="1644" y="810"/>
                </a:cubicBezTo>
                <a:cubicBezTo>
                  <a:pt x="1644" y="810"/>
                  <a:pt x="1644" y="811"/>
                  <a:pt x="1644" y="811"/>
                </a:cubicBezTo>
                <a:cubicBezTo>
                  <a:pt x="1644" y="811"/>
                  <a:pt x="1644" y="811"/>
                  <a:pt x="1645" y="811"/>
                </a:cubicBezTo>
                <a:cubicBezTo>
                  <a:pt x="1646" y="812"/>
                  <a:pt x="1646" y="812"/>
                  <a:pt x="1646" y="813"/>
                </a:cubicBezTo>
                <a:cubicBezTo>
                  <a:pt x="1647" y="814"/>
                  <a:pt x="1647" y="815"/>
                  <a:pt x="1647" y="815"/>
                </a:cubicBezTo>
                <a:cubicBezTo>
                  <a:pt x="1647" y="816"/>
                  <a:pt x="1646" y="816"/>
                  <a:pt x="1646" y="817"/>
                </a:cubicBezTo>
                <a:cubicBezTo>
                  <a:pt x="1646" y="818"/>
                  <a:pt x="1646" y="818"/>
                  <a:pt x="1645" y="819"/>
                </a:cubicBezTo>
                <a:cubicBezTo>
                  <a:pt x="1645" y="819"/>
                  <a:pt x="1645" y="820"/>
                  <a:pt x="1645" y="820"/>
                </a:cubicBezTo>
                <a:cubicBezTo>
                  <a:pt x="1646" y="820"/>
                  <a:pt x="1646" y="821"/>
                  <a:pt x="1646" y="821"/>
                </a:cubicBezTo>
                <a:cubicBezTo>
                  <a:pt x="1646" y="821"/>
                  <a:pt x="1647" y="821"/>
                  <a:pt x="1648" y="821"/>
                </a:cubicBezTo>
                <a:cubicBezTo>
                  <a:pt x="1648" y="821"/>
                  <a:pt x="1649" y="822"/>
                  <a:pt x="1649" y="822"/>
                </a:cubicBezTo>
                <a:cubicBezTo>
                  <a:pt x="1650" y="822"/>
                  <a:pt x="1650" y="821"/>
                  <a:pt x="1651" y="821"/>
                </a:cubicBezTo>
                <a:cubicBezTo>
                  <a:pt x="1651" y="821"/>
                  <a:pt x="1652" y="820"/>
                  <a:pt x="1652" y="820"/>
                </a:cubicBezTo>
                <a:cubicBezTo>
                  <a:pt x="1652" y="820"/>
                  <a:pt x="1652" y="819"/>
                  <a:pt x="1652" y="819"/>
                </a:cubicBezTo>
                <a:cubicBezTo>
                  <a:pt x="1652" y="819"/>
                  <a:pt x="1652" y="819"/>
                  <a:pt x="1652" y="819"/>
                </a:cubicBezTo>
                <a:cubicBezTo>
                  <a:pt x="1652" y="818"/>
                  <a:pt x="1652" y="818"/>
                  <a:pt x="1653" y="818"/>
                </a:cubicBezTo>
                <a:cubicBezTo>
                  <a:pt x="1653" y="817"/>
                  <a:pt x="1653" y="818"/>
                  <a:pt x="1653" y="817"/>
                </a:cubicBezTo>
                <a:cubicBezTo>
                  <a:pt x="1653" y="817"/>
                  <a:pt x="1653" y="816"/>
                  <a:pt x="1653" y="816"/>
                </a:cubicBezTo>
                <a:cubicBezTo>
                  <a:pt x="1653" y="816"/>
                  <a:pt x="1655" y="815"/>
                  <a:pt x="1655" y="814"/>
                </a:cubicBezTo>
                <a:cubicBezTo>
                  <a:pt x="1656" y="814"/>
                  <a:pt x="1656" y="814"/>
                  <a:pt x="1656" y="813"/>
                </a:cubicBezTo>
                <a:cubicBezTo>
                  <a:pt x="1656" y="812"/>
                  <a:pt x="1656" y="811"/>
                  <a:pt x="1657" y="811"/>
                </a:cubicBezTo>
                <a:cubicBezTo>
                  <a:pt x="1656" y="810"/>
                  <a:pt x="1655" y="810"/>
                  <a:pt x="1656" y="809"/>
                </a:cubicBezTo>
                <a:cubicBezTo>
                  <a:pt x="1657" y="808"/>
                  <a:pt x="1657" y="808"/>
                  <a:pt x="1658" y="808"/>
                </a:cubicBezTo>
                <a:cubicBezTo>
                  <a:pt x="1658" y="808"/>
                  <a:pt x="1659" y="807"/>
                  <a:pt x="1659" y="807"/>
                </a:cubicBezTo>
                <a:cubicBezTo>
                  <a:pt x="1659" y="807"/>
                  <a:pt x="1660" y="807"/>
                  <a:pt x="1660" y="808"/>
                </a:cubicBezTo>
                <a:cubicBezTo>
                  <a:pt x="1660" y="808"/>
                  <a:pt x="1660" y="808"/>
                  <a:pt x="1661" y="808"/>
                </a:cubicBezTo>
                <a:cubicBezTo>
                  <a:pt x="1661" y="807"/>
                  <a:pt x="1660" y="807"/>
                  <a:pt x="1660" y="806"/>
                </a:cubicBezTo>
                <a:cubicBezTo>
                  <a:pt x="1661" y="805"/>
                  <a:pt x="1661" y="805"/>
                  <a:pt x="1661" y="805"/>
                </a:cubicBezTo>
                <a:cubicBezTo>
                  <a:pt x="1661" y="804"/>
                  <a:pt x="1662" y="805"/>
                  <a:pt x="1662" y="804"/>
                </a:cubicBezTo>
                <a:cubicBezTo>
                  <a:pt x="1662" y="804"/>
                  <a:pt x="1662" y="804"/>
                  <a:pt x="1662" y="804"/>
                </a:cubicBezTo>
                <a:cubicBezTo>
                  <a:pt x="1662" y="803"/>
                  <a:pt x="1662" y="803"/>
                  <a:pt x="1662" y="803"/>
                </a:cubicBezTo>
                <a:cubicBezTo>
                  <a:pt x="1662" y="802"/>
                  <a:pt x="1662" y="803"/>
                  <a:pt x="1662" y="802"/>
                </a:cubicBezTo>
                <a:cubicBezTo>
                  <a:pt x="1662" y="802"/>
                  <a:pt x="1663" y="802"/>
                  <a:pt x="1663" y="801"/>
                </a:cubicBezTo>
                <a:cubicBezTo>
                  <a:pt x="1663" y="801"/>
                  <a:pt x="1663" y="801"/>
                  <a:pt x="1663" y="801"/>
                </a:cubicBezTo>
                <a:cubicBezTo>
                  <a:pt x="1664" y="800"/>
                  <a:pt x="1663" y="799"/>
                  <a:pt x="1662" y="799"/>
                </a:cubicBezTo>
                <a:cubicBezTo>
                  <a:pt x="1659" y="799"/>
                  <a:pt x="1662" y="799"/>
                  <a:pt x="1662" y="799"/>
                </a:cubicBezTo>
                <a:close/>
                <a:moveTo>
                  <a:pt x="566" y="763"/>
                </a:moveTo>
                <a:cubicBezTo>
                  <a:pt x="566" y="763"/>
                  <a:pt x="567" y="763"/>
                  <a:pt x="567" y="762"/>
                </a:cubicBezTo>
                <a:cubicBezTo>
                  <a:pt x="566" y="762"/>
                  <a:pt x="565" y="762"/>
                  <a:pt x="566" y="763"/>
                </a:cubicBezTo>
                <a:cubicBezTo>
                  <a:pt x="566" y="763"/>
                  <a:pt x="566" y="763"/>
                  <a:pt x="566" y="763"/>
                </a:cubicBezTo>
                <a:close/>
                <a:moveTo>
                  <a:pt x="568" y="762"/>
                </a:moveTo>
                <a:cubicBezTo>
                  <a:pt x="568" y="762"/>
                  <a:pt x="568" y="763"/>
                  <a:pt x="568" y="763"/>
                </a:cubicBezTo>
                <a:cubicBezTo>
                  <a:pt x="569" y="763"/>
                  <a:pt x="570" y="763"/>
                  <a:pt x="571" y="762"/>
                </a:cubicBezTo>
                <a:cubicBezTo>
                  <a:pt x="570" y="762"/>
                  <a:pt x="569" y="762"/>
                  <a:pt x="568" y="762"/>
                </a:cubicBezTo>
                <a:close/>
                <a:moveTo>
                  <a:pt x="570" y="760"/>
                </a:moveTo>
                <a:cubicBezTo>
                  <a:pt x="571" y="760"/>
                  <a:pt x="572" y="760"/>
                  <a:pt x="572" y="759"/>
                </a:cubicBezTo>
                <a:cubicBezTo>
                  <a:pt x="571" y="759"/>
                  <a:pt x="571" y="759"/>
                  <a:pt x="570" y="760"/>
                </a:cubicBezTo>
                <a:cubicBezTo>
                  <a:pt x="572" y="760"/>
                  <a:pt x="570" y="760"/>
                  <a:pt x="570" y="760"/>
                </a:cubicBezTo>
                <a:close/>
                <a:moveTo>
                  <a:pt x="1353" y="720"/>
                </a:moveTo>
                <a:cubicBezTo>
                  <a:pt x="1353" y="720"/>
                  <a:pt x="1353" y="720"/>
                  <a:pt x="1353" y="720"/>
                </a:cubicBezTo>
                <a:cubicBezTo>
                  <a:pt x="1353" y="720"/>
                  <a:pt x="1353" y="720"/>
                  <a:pt x="1353" y="720"/>
                </a:cubicBezTo>
                <a:close/>
                <a:moveTo>
                  <a:pt x="1613" y="703"/>
                </a:moveTo>
                <a:cubicBezTo>
                  <a:pt x="1613" y="702"/>
                  <a:pt x="1613" y="702"/>
                  <a:pt x="1612" y="702"/>
                </a:cubicBezTo>
                <a:cubicBezTo>
                  <a:pt x="1613" y="702"/>
                  <a:pt x="1613" y="702"/>
                  <a:pt x="1613" y="703"/>
                </a:cubicBezTo>
                <a:close/>
                <a:moveTo>
                  <a:pt x="1608" y="696"/>
                </a:moveTo>
                <a:cubicBezTo>
                  <a:pt x="1608" y="697"/>
                  <a:pt x="1608" y="698"/>
                  <a:pt x="1608" y="698"/>
                </a:cubicBezTo>
                <a:cubicBezTo>
                  <a:pt x="1608" y="699"/>
                  <a:pt x="1608" y="699"/>
                  <a:pt x="1609" y="699"/>
                </a:cubicBezTo>
                <a:cubicBezTo>
                  <a:pt x="1609" y="699"/>
                  <a:pt x="1609" y="699"/>
                  <a:pt x="1609" y="699"/>
                </a:cubicBezTo>
                <a:cubicBezTo>
                  <a:pt x="1609" y="698"/>
                  <a:pt x="1609" y="697"/>
                  <a:pt x="1608" y="696"/>
                </a:cubicBezTo>
                <a:cubicBezTo>
                  <a:pt x="1608" y="697"/>
                  <a:pt x="1608" y="696"/>
                  <a:pt x="1608" y="696"/>
                </a:cubicBezTo>
                <a:close/>
                <a:moveTo>
                  <a:pt x="1077" y="696"/>
                </a:moveTo>
                <a:cubicBezTo>
                  <a:pt x="1077" y="696"/>
                  <a:pt x="1077" y="697"/>
                  <a:pt x="1077" y="697"/>
                </a:cubicBezTo>
                <a:cubicBezTo>
                  <a:pt x="1077" y="697"/>
                  <a:pt x="1077" y="698"/>
                  <a:pt x="1078" y="698"/>
                </a:cubicBezTo>
                <a:cubicBezTo>
                  <a:pt x="1079" y="698"/>
                  <a:pt x="1079" y="698"/>
                  <a:pt x="1080" y="698"/>
                </a:cubicBezTo>
                <a:cubicBezTo>
                  <a:pt x="1080" y="697"/>
                  <a:pt x="1079" y="697"/>
                  <a:pt x="1079" y="696"/>
                </a:cubicBezTo>
                <a:cubicBezTo>
                  <a:pt x="1078" y="696"/>
                  <a:pt x="1078" y="696"/>
                  <a:pt x="1077" y="696"/>
                </a:cubicBezTo>
                <a:close/>
                <a:moveTo>
                  <a:pt x="1605" y="705"/>
                </a:moveTo>
                <a:cubicBezTo>
                  <a:pt x="1606" y="705"/>
                  <a:pt x="1606" y="706"/>
                  <a:pt x="1606" y="706"/>
                </a:cubicBezTo>
                <a:cubicBezTo>
                  <a:pt x="1607" y="706"/>
                  <a:pt x="1608" y="706"/>
                  <a:pt x="1608" y="706"/>
                </a:cubicBezTo>
                <a:cubicBezTo>
                  <a:pt x="1608" y="706"/>
                  <a:pt x="1609" y="706"/>
                  <a:pt x="1609" y="706"/>
                </a:cubicBezTo>
                <a:cubicBezTo>
                  <a:pt x="1609" y="705"/>
                  <a:pt x="1608" y="704"/>
                  <a:pt x="1607" y="704"/>
                </a:cubicBezTo>
                <a:cubicBezTo>
                  <a:pt x="1607" y="704"/>
                  <a:pt x="1607" y="703"/>
                  <a:pt x="1607" y="703"/>
                </a:cubicBezTo>
                <a:cubicBezTo>
                  <a:pt x="1607" y="703"/>
                  <a:pt x="1607" y="703"/>
                  <a:pt x="1606" y="703"/>
                </a:cubicBezTo>
                <a:cubicBezTo>
                  <a:pt x="1606" y="702"/>
                  <a:pt x="1606" y="702"/>
                  <a:pt x="1606" y="702"/>
                </a:cubicBezTo>
                <a:cubicBezTo>
                  <a:pt x="1605" y="701"/>
                  <a:pt x="1604" y="702"/>
                  <a:pt x="1603" y="701"/>
                </a:cubicBezTo>
                <a:cubicBezTo>
                  <a:pt x="1603" y="701"/>
                  <a:pt x="1603" y="700"/>
                  <a:pt x="1602" y="700"/>
                </a:cubicBezTo>
                <a:cubicBezTo>
                  <a:pt x="1602" y="699"/>
                  <a:pt x="1602" y="700"/>
                  <a:pt x="1602" y="699"/>
                </a:cubicBezTo>
                <a:cubicBezTo>
                  <a:pt x="1601" y="698"/>
                  <a:pt x="1601" y="699"/>
                  <a:pt x="1600" y="698"/>
                </a:cubicBezTo>
                <a:cubicBezTo>
                  <a:pt x="1600" y="698"/>
                  <a:pt x="1600" y="697"/>
                  <a:pt x="1600" y="697"/>
                </a:cubicBezTo>
                <a:cubicBezTo>
                  <a:pt x="1599" y="697"/>
                  <a:pt x="1599" y="697"/>
                  <a:pt x="1598" y="696"/>
                </a:cubicBezTo>
                <a:cubicBezTo>
                  <a:pt x="1598" y="696"/>
                  <a:pt x="1598" y="695"/>
                  <a:pt x="1598" y="694"/>
                </a:cubicBezTo>
                <a:cubicBezTo>
                  <a:pt x="1598" y="693"/>
                  <a:pt x="1598" y="693"/>
                  <a:pt x="1596" y="693"/>
                </a:cubicBezTo>
                <a:cubicBezTo>
                  <a:pt x="1595" y="693"/>
                  <a:pt x="1595" y="693"/>
                  <a:pt x="1595" y="693"/>
                </a:cubicBezTo>
                <a:cubicBezTo>
                  <a:pt x="1595" y="694"/>
                  <a:pt x="1595" y="694"/>
                  <a:pt x="1595" y="695"/>
                </a:cubicBezTo>
                <a:cubicBezTo>
                  <a:pt x="1596" y="695"/>
                  <a:pt x="1596" y="695"/>
                  <a:pt x="1596" y="696"/>
                </a:cubicBezTo>
                <a:cubicBezTo>
                  <a:pt x="1597" y="698"/>
                  <a:pt x="1596" y="696"/>
                  <a:pt x="1597" y="697"/>
                </a:cubicBezTo>
                <a:cubicBezTo>
                  <a:pt x="1597" y="697"/>
                  <a:pt x="1596" y="697"/>
                  <a:pt x="1597" y="697"/>
                </a:cubicBezTo>
                <a:cubicBezTo>
                  <a:pt x="1597" y="698"/>
                  <a:pt x="1598" y="698"/>
                  <a:pt x="1598" y="698"/>
                </a:cubicBezTo>
                <a:cubicBezTo>
                  <a:pt x="1598" y="698"/>
                  <a:pt x="1598" y="699"/>
                  <a:pt x="1598" y="700"/>
                </a:cubicBezTo>
                <a:cubicBezTo>
                  <a:pt x="1599" y="700"/>
                  <a:pt x="1599" y="701"/>
                  <a:pt x="1600" y="701"/>
                </a:cubicBezTo>
                <a:cubicBezTo>
                  <a:pt x="1601" y="701"/>
                  <a:pt x="1601" y="702"/>
                  <a:pt x="1601" y="703"/>
                </a:cubicBezTo>
                <a:cubicBezTo>
                  <a:pt x="1602" y="704"/>
                  <a:pt x="1602" y="704"/>
                  <a:pt x="1603" y="704"/>
                </a:cubicBezTo>
                <a:cubicBezTo>
                  <a:pt x="1604" y="704"/>
                  <a:pt x="1604" y="705"/>
                  <a:pt x="1605" y="705"/>
                </a:cubicBezTo>
                <a:close/>
                <a:moveTo>
                  <a:pt x="1088" y="691"/>
                </a:moveTo>
                <a:cubicBezTo>
                  <a:pt x="1087" y="691"/>
                  <a:pt x="1087" y="691"/>
                  <a:pt x="1087" y="692"/>
                </a:cubicBezTo>
                <a:cubicBezTo>
                  <a:pt x="1087" y="693"/>
                  <a:pt x="1087" y="693"/>
                  <a:pt x="1087" y="693"/>
                </a:cubicBezTo>
                <a:cubicBezTo>
                  <a:pt x="1088" y="693"/>
                  <a:pt x="1088" y="693"/>
                  <a:pt x="1088" y="694"/>
                </a:cubicBezTo>
                <a:cubicBezTo>
                  <a:pt x="1089" y="694"/>
                  <a:pt x="1089" y="694"/>
                  <a:pt x="1090" y="693"/>
                </a:cubicBezTo>
                <a:cubicBezTo>
                  <a:pt x="1090" y="692"/>
                  <a:pt x="1090" y="691"/>
                  <a:pt x="1089" y="689"/>
                </a:cubicBezTo>
                <a:cubicBezTo>
                  <a:pt x="1089" y="690"/>
                  <a:pt x="1088" y="690"/>
                  <a:pt x="1088" y="691"/>
                </a:cubicBezTo>
                <a:close/>
                <a:moveTo>
                  <a:pt x="1659" y="680"/>
                </a:moveTo>
                <a:cubicBezTo>
                  <a:pt x="1659" y="681"/>
                  <a:pt x="1658" y="682"/>
                  <a:pt x="1659" y="683"/>
                </a:cubicBezTo>
                <a:cubicBezTo>
                  <a:pt x="1660" y="683"/>
                  <a:pt x="1661" y="682"/>
                  <a:pt x="1661" y="683"/>
                </a:cubicBezTo>
                <a:cubicBezTo>
                  <a:pt x="1663" y="683"/>
                  <a:pt x="1665" y="683"/>
                  <a:pt x="1664" y="681"/>
                </a:cubicBezTo>
                <a:cubicBezTo>
                  <a:pt x="1664" y="680"/>
                  <a:pt x="1664" y="680"/>
                  <a:pt x="1663" y="679"/>
                </a:cubicBezTo>
                <a:cubicBezTo>
                  <a:pt x="1662" y="680"/>
                  <a:pt x="1661" y="680"/>
                  <a:pt x="1659" y="680"/>
                </a:cubicBezTo>
                <a:cubicBezTo>
                  <a:pt x="1659" y="681"/>
                  <a:pt x="1659" y="680"/>
                  <a:pt x="1659" y="680"/>
                </a:cubicBezTo>
                <a:close/>
                <a:moveTo>
                  <a:pt x="1615" y="675"/>
                </a:moveTo>
                <a:cubicBezTo>
                  <a:pt x="1615" y="675"/>
                  <a:pt x="1614" y="675"/>
                  <a:pt x="1614" y="675"/>
                </a:cubicBezTo>
                <a:cubicBezTo>
                  <a:pt x="1614" y="676"/>
                  <a:pt x="1615" y="678"/>
                  <a:pt x="1615" y="679"/>
                </a:cubicBezTo>
                <a:cubicBezTo>
                  <a:pt x="1616" y="679"/>
                  <a:pt x="1616" y="679"/>
                  <a:pt x="1617" y="679"/>
                </a:cubicBezTo>
                <a:cubicBezTo>
                  <a:pt x="1617" y="678"/>
                  <a:pt x="1616" y="678"/>
                  <a:pt x="1616" y="677"/>
                </a:cubicBezTo>
                <a:cubicBezTo>
                  <a:pt x="1616" y="677"/>
                  <a:pt x="1616" y="677"/>
                  <a:pt x="1616" y="677"/>
                </a:cubicBezTo>
                <a:cubicBezTo>
                  <a:pt x="1616" y="677"/>
                  <a:pt x="1615" y="677"/>
                  <a:pt x="1615" y="677"/>
                </a:cubicBezTo>
                <a:cubicBezTo>
                  <a:pt x="1615" y="676"/>
                  <a:pt x="1615" y="676"/>
                  <a:pt x="1615" y="675"/>
                </a:cubicBezTo>
                <a:close/>
                <a:moveTo>
                  <a:pt x="1053" y="675"/>
                </a:moveTo>
                <a:cubicBezTo>
                  <a:pt x="1054" y="675"/>
                  <a:pt x="1054" y="672"/>
                  <a:pt x="1053" y="675"/>
                </a:cubicBezTo>
                <a:close/>
                <a:moveTo>
                  <a:pt x="1664" y="676"/>
                </a:moveTo>
                <a:cubicBezTo>
                  <a:pt x="1665" y="676"/>
                  <a:pt x="1666" y="675"/>
                  <a:pt x="1667" y="675"/>
                </a:cubicBezTo>
                <a:cubicBezTo>
                  <a:pt x="1667" y="675"/>
                  <a:pt x="1669" y="675"/>
                  <a:pt x="1669" y="674"/>
                </a:cubicBezTo>
                <a:cubicBezTo>
                  <a:pt x="1669" y="674"/>
                  <a:pt x="1669" y="673"/>
                  <a:pt x="1669" y="673"/>
                </a:cubicBezTo>
                <a:cubicBezTo>
                  <a:pt x="1670" y="673"/>
                  <a:pt x="1670" y="672"/>
                  <a:pt x="1670" y="671"/>
                </a:cubicBezTo>
                <a:cubicBezTo>
                  <a:pt x="1668" y="672"/>
                  <a:pt x="1666" y="674"/>
                  <a:pt x="1663" y="675"/>
                </a:cubicBezTo>
                <a:cubicBezTo>
                  <a:pt x="1664" y="675"/>
                  <a:pt x="1664" y="675"/>
                  <a:pt x="1664" y="676"/>
                </a:cubicBezTo>
                <a:cubicBezTo>
                  <a:pt x="1666" y="675"/>
                  <a:pt x="1664" y="676"/>
                  <a:pt x="1664" y="676"/>
                </a:cubicBezTo>
                <a:close/>
                <a:moveTo>
                  <a:pt x="1477" y="674"/>
                </a:moveTo>
                <a:cubicBezTo>
                  <a:pt x="1477" y="673"/>
                  <a:pt x="1478" y="672"/>
                  <a:pt x="1478" y="672"/>
                </a:cubicBezTo>
                <a:cubicBezTo>
                  <a:pt x="1478" y="671"/>
                  <a:pt x="1477" y="671"/>
                  <a:pt x="1477" y="671"/>
                </a:cubicBezTo>
                <a:cubicBezTo>
                  <a:pt x="1476" y="673"/>
                  <a:pt x="1476" y="673"/>
                  <a:pt x="1477" y="674"/>
                </a:cubicBezTo>
                <a:cubicBezTo>
                  <a:pt x="1477" y="673"/>
                  <a:pt x="1477" y="674"/>
                  <a:pt x="1477" y="674"/>
                </a:cubicBezTo>
                <a:close/>
                <a:moveTo>
                  <a:pt x="1614" y="670"/>
                </a:moveTo>
                <a:cubicBezTo>
                  <a:pt x="1612" y="671"/>
                  <a:pt x="1613" y="668"/>
                  <a:pt x="1612" y="668"/>
                </a:cubicBezTo>
                <a:cubicBezTo>
                  <a:pt x="1611" y="668"/>
                  <a:pt x="1612" y="671"/>
                  <a:pt x="1612" y="671"/>
                </a:cubicBezTo>
                <a:cubicBezTo>
                  <a:pt x="1612" y="671"/>
                  <a:pt x="1612" y="673"/>
                  <a:pt x="1612" y="674"/>
                </a:cubicBezTo>
                <a:cubicBezTo>
                  <a:pt x="1614" y="673"/>
                  <a:pt x="1614" y="674"/>
                  <a:pt x="1615" y="673"/>
                </a:cubicBezTo>
                <a:cubicBezTo>
                  <a:pt x="1615" y="673"/>
                  <a:pt x="1615" y="672"/>
                  <a:pt x="1615" y="672"/>
                </a:cubicBezTo>
                <a:cubicBezTo>
                  <a:pt x="1615" y="671"/>
                  <a:pt x="1615" y="671"/>
                  <a:pt x="1614" y="671"/>
                </a:cubicBezTo>
                <a:cubicBezTo>
                  <a:pt x="1615" y="670"/>
                  <a:pt x="1615" y="670"/>
                  <a:pt x="1615" y="669"/>
                </a:cubicBezTo>
                <a:cubicBezTo>
                  <a:pt x="1614" y="669"/>
                  <a:pt x="1614" y="669"/>
                  <a:pt x="1614" y="670"/>
                </a:cubicBezTo>
                <a:close/>
                <a:moveTo>
                  <a:pt x="1465" y="659"/>
                </a:moveTo>
                <a:cubicBezTo>
                  <a:pt x="1465" y="659"/>
                  <a:pt x="1465" y="659"/>
                  <a:pt x="1465" y="658"/>
                </a:cubicBezTo>
                <a:cubicBezTo>
                  <a:pt x="1465" y="657"/>
                  <a:pt x="1465" y="657"/>
                  <a:pt x="1464" y="657"/>
                </a:cubicBezTo>
                <a:cubicBezTo>
                  <a:pt x="1464" y="656"/>
                  <a:pt x="1463" y="657"/>
                  <a:pt x="1463" y="657"/>
                </a:cubicBezTo>
                <a:cubicBezTo>
                  <a:pt x="1462" y="658"/>
                  <a:pt x="1462" y="658"/>
                  <a:pt x="1462" y="659"/>
                </a:cubicBezTo>
                <a:cubicBezTo>
                  <a:pt x="1463" y="659"/>
                  <a:pt x="1463" y="659"/>
                  <a:pt x="1464" y="659"/>
                </a:cubicBezTo>
                <a:cubicBezTo>
                  <a:pt x="1464" y="660"/>
                  <a:pt x="1465" y="659"/>
                  <a:pt x="1465" y="659"/>
                </a:cubicBezTo>
                <a:cubicBezTo>
                  <a:pt x="1464" y="658"/>
                  <a:pt x="1465" y="659"/>
                  <a:pt x="1465" y="659"/>
                </a:cubicBezTo>
                <a:close/>
                <a:moveTo>
                  <a:pt x="1055" y="660"/>
                </a:moveTo>
                <a:cubicBezTo>
                  <a:pt x="1055" y="660"/>
                  <a:pt x="1055" y="660"/>
                  <a:pt x="1054" y="659"/>
                </a:cubicBezTo>
                <a:cubicBezTo>
                  <a:pt x="1054" y="659"/>
                  <a:pt x="1055" y="659"/>
                  <a:pt x="1054" y="659"/>
                </a:cubicBezTo>
                <a:cubicBezTo>
                  <a:pt x="1054" y="658"/>
                  <a:pt x="1054" y="657"/>
                  <a:pt x="1054" y="656"/>
                </a:cubicBezTo>
                <a:cubicBezTo>
                  <a:pt x="1053" y="656"/>
                  <a:pt x="1054" y="653"/>
                  <a:pt x="1054" y="653"/>
                </a:cubicBezTo>
                <a:cubicBezTo>
                  <a:pt x="1053" y="653"/>
                  <a:pt x="1053" y="652"/>
                  <a:pt x="1053" y="652"/>
                </a:cubicBezTo>
                <a:cubicBezTo>
                  <a:pt x="1053" y="651"/>
                  <a:pt x="1053" y="650"/>
                  <a:pt x="1052" y="650"/>
                </a:cubicBezTo>
                <a:cubicBezTo>
                  <a:pt x="1051" y="650"/>
                  <a:pt x="1051" y="650"/>
                  <a:pt x="1051" y="649"/>
                </a:cubicBezTo>
                <a:cubicBezTo>
                  <a:pt x="1049" y="648"/>
                  <a:pt x="1049" y="649"/>
                  <a:pt x="1050" y="647"/>
                </a:cubicBezTo>
                <a:cubicBezTo>
                  <a:pt x="1049" y="647"/>
                  <a:pt x="1049" y="647"/>
                  <a:pt x="1049" y="647"/>
                </a:cubicBezTo>
                <a:cubicBezTo>
                  <a:pt x="1048" y="647"/>
                  <a:pt x="1048" y="647"/>
                  <a:pt x="1048" y="648"/>
                </a:cubicBezTo>
                <a:cubicBezTo>
                  <a:pt x="1048" y="648"/>
                  <a:pt x="1048" y="649"/>
                  <a:pt x="1048" y="649"/>
                </a:cubicBezTo>
                <a:cubicBezTo>
                  <a:pt x="1047" y="649"/>
                  <a:pt x="1047" y="650"/>
                  <a:pt x="1047" y="651"/>
                </a:cubicBezTo>
                <a:cubicBezTo>
                  <a:pt x="1047" y="651"/>
                  <a:pt x="1047" y="651"/>
                  <a:pt x="1047" y="651"/>
                </a:cubicBezTo>
                <a:cubicBezTo>
                  <a:pt x="1047" y="652"/>
                  <a:pt x="1047" y="653"/>
                  <a:pt x="1047" y="654"/>
                </a:cubicBezTo>
                <a:cubicBezTo>
                  <a:pt x="1047" y="654"/>
                  <a:pt x="1047" y="654"/>
                  <a:pt x="1047" y="654"/>
                </a:cubicBezTo>
                <a:cubicBezTo>
                  <a:pt x="1047" y="655"/>
                  <a:pt x="1047" y="654"/>
                  <a:pt x="1047" y="655"/>
                </a:cubicBezTo>
                <a:cubicBezTo>
                  <a:pt x="1047" y="655"/>
                  <a:pt x="1047" y="655"/>
                  <a:pt x="1047" y="655"/>
                </a:cubicBezTo>
                <a:cubicBezTo>
                  <a:pt x="1046" y="656"/>
                  <a:pt x="1046" y="656"/>
                  <a:pt x="1046" y="656"/>
                </a:cubicBezTo>
                <a:cubicBezTo>
                  <a:pt x="1045" y="656"/>
                  <a:pt x="1045" y="657"/>
                  <a:pt x="1044" y="657"/>
                </a:cubicBezTo>
                <a:cubicBezTo>
                  <a:pt x="1044" y="656"/>
                  <a:pt x="1044" y="656"/>
                  <a:pt x="1043" y="656"/>
                </a:cubicBezTo>
                <a:cubicBezTo>
                  <a:pt x="1043" y="656"/>
                  <a:pt x="1043" y="657"/>
                  <a:pt x="1043" y="657"/>
                </a:cubicBezTo>
                <a:cubicBezTo>
                  <a:pt x="1044" y="657"/>
                  <a:pt x="1044" y="659"/>
                  <a:pt x="1043" y="659"/>
                </a:cubicBezTo>
                <a:cubicBezTo>
                  <a:pt x="1042" y="659"/>
                  <a:pt x="1043" y="660"/>
                  <a:pt x="1043" y="661"/>
                </a:cubicBezTo>
                <a:cubicBezTo>
                  <a:pt x="1043" y="661"/>
                  <a:pt x="1042" y="660"/>
                  <a:pt x="1042" y="661"/>
                </a:cubicBezTo>
                <a:cubicBezTo>
                  <a:pt x="1042" y="662"/>
                  <a:pt x="1042" y="662"/>
                  <a:pt x="1041" y="662"/>
                </a:cubicBezTo>
                <a:cubicBezTo>
                  <a:pt x="1041" y="662"/>
                  <a:pt x="1041" y="662"/>
                  <a:pt x="1040" y="661"/>
                </a:cubicBezTo>
                <a:cubicBezTo>
                  <a:pt x="1040" y="662"/>
                  <a:pt x="1039" y="662"/>
                  <a:pt x="1039" y="662"/>
                </a:cubicBezTo>
                <a:cubicBezTo>
                  <a:pt x="1039" y="663"/>
                  <a:pt x="1039" y="664"/>
                  <a:pt x="1039" y="664"/>
                </a:cubicBezTo>
                <a:cubicBezTo>
                  <a:pt x="1039" y="665"/>
                  <a:pt x="1039" y="665"/>
                  <a:pt x="1039" y="666"/>
                </a:cubicBezTo>
                <a:cubicBezTo>
                  <a:pt x="1039" y="666"/>
                  <a:pt x="1038" y="665"/>
                  <a:pt x="1039" y="665"/>
                </a:cubicBezTo>
                <a:cubicBezTo>
                  <a:pt x="1037" y="665"/>
                  <a:pt x="1036" y="666"/>
                  <a:pt x="1035" y="666"/>
                </a:cubicBezTo>
                <a:cubicBezTo>
                  <a:pt x="1035" y="667"/>
                  <a:pt x="1034" y="667"/>
                  <a:pt x="1034" y="667"/>
                </a:cubicBezTo>
                <a:cubicBezTo>
                  <a:pt x="1032" y="666"/>
                  <a:pt x="1032" y="666"/>
                  <a:pt x="1032" y="668"/>
                </a:cubicBezTo>
                <a:cubicBezTo>
                  <a:pt x="1030" y="667"/>
                  <a:pt x="1030" y="668"/>
                  <a:pt x="1029" y="669"/>
                </a:cubicBezTo>
                <a:cubicBezTo>
                  <a:pt x="1028" y="669"/>
                  <a:pt x="1027" y="670"/>
                  <a:pt x="1027" y="670"/>
                </a:cubicBezTo>
                <a:cubicBezTo>
                  <a:pt x="1026" y="671"/>
                  <a:pt x="1026" y="671"/>
                  <a:pt x="1025" y="671"/>
                </a:cubicBezTo>
                <a:cubicBezTo>
                  <a:pt x="1025" y="672"/>
                  <a:pt x="1025" y="673"/>
                  <a:pt x="1024" y="674"/>
                </a:cubicBezTo>
                <a:cubicBezTo>
                  <a:pt x="1024" y="674"/>
                  <a:pt x="1024" y="675"/>
                  <a:pt x="1023" y="675"/>
                </a:cubicBezTo>
                <a:cubicBezTo>
                  <a:pt x="1023" y="675"/>
                  <a:pt x="1023" y="677"/>
                  <a:pt x="1023" y="677"/>
                </a:cubicBezTo>
                <a:cubicBezTo>
                  <a:pt x="1024" y="678"/>
                  <a:pt x="1024" y="678"/>
                  <a:pt x="1024" y="679"/>
                </a:cubicBezTo>
                <a:cubicBezTo>
                  <a:pt x="1025" y="679"/>
                  <a:pt x="1025" y="682"/>
                  <a:pt x="1025" y="683"/>
                </a:cubicBezTo>
                <a:cubicBezTo>
                  <a:pt x="1025" y="684"/>
                  <a:pt x="1025" y="683"/>
                  <a:pt x="1025" y="684"/>
                </a:cubicBezTo>
                <a:cubicBezTo>
                  <a:pt x="1025" y="684"/>
                  <a:pt x="1025" y="685"/>
                  <a:pt x="1025" y="685"/>
                </a:cubicBezTo>
                <a:cubicBezTo>
                  <a:pt x="1025" y="685"/>
                  <a:pt x="1026" y="685"/>
                  <a:pt x="1026" y="686"/>
                </a:cubicBezTo>
                <a:cubicBezTo>
                  <a:pt x="1026" y="687"/>
                  <a:pt x="1026" y="688"/>
                  <a:pt x="1026" y="689"/>
                </a:cubicBezTo>
                <a:cubicBezTo>
                  <a:pt x="1026" y="689"/>
                  <a:pt x="1026" y="690"/>
                  <a:pt x="1025" y="690"/>
                </a:cubicBezTo>
                <a:cubicBezTo>
                  <a:pt x="1025" y="690"/>
                  <a:pt x="1025" y="690"/>
                  <a:pt x="1025" y="690"/>
                </a:cubicBezTo>
                <a:cubicBezTo>
                  <a:pt x="1025" y="690"/>
                  <a:pt x="1025" y="691"/>
                  <a:pt x="1025" y="691"/>
                </a:cubicBezTo>
                <a:cubicBezTo>
                  <a:pt x="1025" y="692"/>
                  <a:pt x="1022" y="692"/>
                  <a:pt x="1022" y="694"/>
                </a:cubicBezTo>
                <a:cubicBezTo>
                  <a:pt x="1022" y="694"/>
                  <a:pt x="1022" y="695"/>
                  <a:pt x="1022" y="695"/>
                </a:cubicBezTo>
                <a:cubicBezTo>
                  <a:pt x="1022" y="696"/>
                  <a:pt x="1021" y="698"/>
                  <a:pt x="1020" y="697"/>
                </a:cubicBezTo>
                <a:cubicBezTo>
                  <a:pt x="1020" y="698"/>
                  <a:pt x="1020" y="699"/>
                  <a:pt x="1020" y="699"/>
                </a:cubicBezTo>
                <a:cubicBezTo>
                  <a:pt x="1020" y="700"/>
                  <a:pt x="1020" y="700"/>
                  <a:pt x="1020" y="700"/>
                </a:cubicBezTo>
                <a:cubicBezTo>
                  <a:pt x="1019" y="701"/>
                  <a:pt x="1020" y="701"/>
                  <a:pt x="1019" y="701"/>
                </a:cubicBezTo>
                <a:cubicBezTo>
                  <a:pt x="1019" y="702"/>
                  <a:pt x="1020" y="702"/>
                  <a:pt x="1020" y="703"/>
                </a:cubicBezTo>
                <a:cubicBezTo>
                  <a:pt x="1020" y="704"/>
                  <a:pt x="1019" y="705"/>
                  <a:pt x="1019" y="706"/>
                </a:cubicBezTo>
                <a:cubicBezTo>
                  <a:pt x="1020" y="706"/>
                  <a:pt x="1020" y="707"/>
                  <a:pt x="1020" y="707"/>
                </a:cubicBezTo>
                <a:cubicBezTo>
                  <a:pt x="1020" y="707"/>
                  <a:pt x="1020" y="707"/>
                  <a:pt x="1020" y="707"/>
                </a:cubicBezTo>
                <a:cubicBezTo>
                  <a:pt x="1020" y="708"/>
                  <a:pt x="1021" y="708"/>
                  <a:pt x="1021" y="709"/>
                </a:cubicBezTo>
                <a:cubicBezTo>
                  <a:pt x="1022" y="710"/>
                  <a:pt x="1022" y="710"/>
                  <a:pt x="1022" y="711"/>
                </a:cubicBezTo>
                <a:cubicBezTo>
                  <a:pt x="1022" y="711"/>
                  <a:pt x="1022" y="711"/>
                  <a:pt x="1022" y="712"/>
                </a:cubicBezTo>
                <a:cubicBezTo>
                  <a:pt x="1022" y="712"/>
                  <a:pt x="1022" y="712"/>
                  <a:pt x="1022" y="712"/>
                </a:cubicBezTo>
                <a:cubicBezTo>
                  <a:pt x="1022" y="713"/>
                  <a:pt x="1022" y="713"/>
                  <a:pt x="1022" y="714"/>
                </a:cubicBezTo>
                <a:cubicBezTo>
                  <a:pt x="1022" y="714"/>
                  <a:pt x="1023" y="714"/>
                  <a:pt x="1023" y="714"/>
                </a:cubicBezTo>
                <a:cubicBezTo>
                  <a:pt x="1023" y="715"/>
                  <a:pt x="1024" y="716"/>
                  <a:pt x="1024" y="717"/>
                </a:cubicBezTo>
                <a:cubicBezTo>
                  <a:pt x="1024" y="718"/>
                  <a:pt x="1025" y="718"/>
                  <a:pt x="1026" y="719"/>
                </a:cubicBezTo>
                <a:cubicBezTo>
                  <a:pt x="1026" y="719"/>
                  <a:pt x="1026" y="719"/>
                  <a:pt x="1026" y="719"/>
                </a:cubicBezTo>
                <a:cubicBezTo>
                  <a:pt x="1027" y="719"/>
                  <a:pt x="1027" y="720"/>
                  <a:pt x="1028" y="720"/>
                </a:cubicBezTo>
                <a:cubicBezTo>
                  <a:pt x="1028" y="720"/>
                  <a:pt x="1029" y="721"/>
                  <a:pt x="1030" y="721"/>
                </a:cubicBezTo>
                <a:cubicBezTo>
                  <a:pt x="1030" y="722"/>
                  <a:pt x="1031" y="722"/>
                  <a:pt x="1032" y="722"/>
                </a:cubicBezTo>
                <a:cubicBezTo>
                  <a:pt x="1032" y="722"/>
                  <a:pt x="1033" y="721"/>
                  <a:pt x="1033" y="721"/>
                </a:cubicBezTo>
                <a:cubicBezTo>
                  <a:pt x="1033" y="721"/>
                  <a:pt x="1034" y="720"/>
                  <a:pt x="1035" y="720"/>
                </a:cubicBezTo>
                <a:cubicBezTo>
                  <a:pt x="1035" y="720"/>
                  <a:pt x="1036" y="720"/>
                  <a:pt x="1036" y="720"/>
                </a:cubicBezTo>
                <a:cubicBezTo>
                  <a:pt x="1037" y="720"/>
                  <a:pt x="1037" y="719"/>
                  <a:pt x="1038" y="719"/>
                </a:cubicBezTo>
                <a:cubicBezTo>
                  <a:pt x="1038" y="718"/>
                  <a:pt x="1038" y="718"/>
                  <a:pt x="1038" y="717"/>
                </a:cubicBezTo>
                <a:cubicBezTo>
                  <a:pt x="1038" y="717"/>
                  <a:pt x="1039" y="717"/>
                  <a:pt x="1039" y="716"/>
                </a:cubicBezTo>
                <a:cubicBezTo>
                  <a:pt x="1039" y="716"/>
                  <a:pt x="1039" y="715"/>
                  <a:pt x="1039" y="715"/>
                </a:cubicBezTo>
                <a:cubicBezTo>
                  <a:pt x="1040" y="715"/>
                  <a:pt x="1040" y="713"/>
                  <a:pt x="1040" y="713"/>
                </a:cubicBezTo>
                <a:cubicBezTo>
                  <a:pt x="1040" y="712"/>
                  <a:pt x="1040" y="713"/>
                  <a:pt x="1040" y="712"/>
                </a:cubicBezTo>
                <a:cubicBezTo>
                  <a:pt x="1041" y="712"/>
                  <a:pt x="1041" y="709"/>
                  <a:pt x="1041" y="709"/>
                </a:cubicBezTo>
                <a:cubicBezTo>
                  <a:pt x="1041" y="709"/>
                  <a:pt x="1041" y="708"/>
                  <a:pt x="1041" y="708"/>
                </a:cubicBezTo>
                <a:cubicBezTo>
                  <a:pt x="1041" y="707"/>
                  <a:pt x="1042" y="707"/>
                  <a:pt x="1042" y="707"/>
                </a:cubicBezTo>
                <a:cubicBezTo>
                  <a:pt x="1042" y="707"/>
                  <a:pt x="1042" y="706"/>
                  <a:pt x="1042" y="706"/>
                </a:cubicBezTo>
                <a:cubicBezTo>
                  <a:pt x="1042" y="706"/>
                  <a:pt x="1043" y="706"/>
                  <a:pt x="1043" y="706"/>
                </a:cubicBezTo>
                <a:cubicBezTo>
                  <a:pt x="1043" y="705"/>
                  <a:pt x="1043" y="704"/>
                  <a:pt x="1043" y="703"/>
                </a:cubicBezTo>
                <a:cubicBezTo>
                  <a:pt x="1043" y="703"/>
                  <a:pt x="1043" y="702"/>
                  <a:pt x="1043" y="702"/>
                </a:cubicBezTo>
                <a:cubicBezTo>
                  <a:pt x="1043" y="702"/>
                  <a:pt x="1044" y="702"/>
                  <a:pt x="1044" y="702"/>
                </a:cubicBezTo>
                <a:cubicBezTo>
                  <a:pt x="1044" y="701"/>
                  <a:pt x="1044" y="701"/>
                  <a:pt x="1044" y="701"/>
                </a:cubicBezTo>
                <a:cubicBezTo>
                  <a:pt x="1044" y="701"/>
                  <a:pt x="1044" y="700"/>
                  <a:pt x="1044" y="700"/>
                </a:cubicBezTo>
                <a:cubicBezTo>
                  <a:pt x="1044" y="700"/>
                  <a:pt x="1044" y="699"/>
                  <a:pt x="1044" y="698"/>
                </a:cubicBezTo>
                <a:cubicBezTo>
                  <a:pt x="1044" y="698"/>
                  <a:pt x="1045" y="698"/>
                  <a:pt x="1045" y="698"/>
                </a:cubicBezTo>
                <a:cubicBezTo>
                  <a:pt x="1045" y="698"/>
                  <a:pt x="1045" y="697"/>
                  <a:pt x="1045" y="697"/>
                </a:cubicBezTo>
                <a:cubicBezTo>
                  <a:pt x="1045" y="697"/>
                  <a:pt x="1046" y="697"/>
                  <a:pt x="1046" y="696"/>
                </a:cubicBezTo>
                <a:cubicBezTo>
                  <a:pt x="1046" y="696"/>
                  <a:pt x="1046" y="695"/>
                  <a:pt x="1046" y="695"/>
                </a:cubicBezTo>
                <a:cubicBezTo>
                  <a:pt x="1046" y="694"/>
                  <a:pt x="1046" y="695"/>
                  <a:pt x="1046" y="695"/>
                </a:cubicBezTo>
                <a:cubicBezTo>
                  <a:pt x="1046" y="694"/>
                  <a:pt x="1046" y="694"/>
                  <a:pt x="1046" y="694"/>
                </a:cubicBezTo>
                <a:cubicBezTo>
                  <a:pt x="1046" y="693"/>
                  <a:pt x="1046" y="694"/>
                  <a:pt x="1046" y="694"/>
                </a:cubicBezTo>
                <a:cubicBezTo>
                  <a:pt x="1046" y="693"/>
                  <a:pt x="1046" y="691"/>
                  <a:pt x="1047" y="692"/>
                </a:cubicBezTo>
                <a:cubicBezTo>
                  <a:pt x="1047" y="691"/>
                  <a:pt x="1046" y="690"/>
                  <a:pt x="1046" y="689"/>
                </a:cubicBezTo>
                <a:cubicBezTo>
                  <a:pt x="1047" y="689"/>
                  <a:pt x="1048" y="687"/>
                  <a:pt x="1048" y="686"/>
                </a:cubicBezTo>
                <a:cubicBezTo>
                  <a:pt x="1048" y="686"/>
                  <a:pt x="1048" y="685"/>
                  <a:pt x="1048" y="685"/>
                </a:cubicBezTo>
                <a:cubicBezTo>
                  <a:pt x="1049" y="685"/>
                  <a:pt x="1048" y="684"/>
                  <a:pt x="1049" y="684"/>
                </a:cubicBezTo>
                <a:cubicBezTo>
                  <a:pt x="1049" y="684"/>
                  <a:pt x="1050" y="681"/>
                  <a:pt x="1050" y="680"/>
                </a:cubicBezTo>
                <a:cubicBezTo>
                  <a:pt x="1050" y="680"/>
                  <a:pt x="1051" y="680"/>
                  <a:pt x="1051" y="679"/>
                </a:cubicBezTo>
                <a:cubicBezTo>
                  <a:pt x="1051" y="679"/>
                  <a:pt x="1050" y="678"/>
                  <a:pt x="1051" y="678"/>
                </a:cubicBezTo>
                <a:cubicBezTo>
                  <a:pt x="1051" y="678"/>
                  <a:pt x="1051" y="678"/>
                  <a:pt x="1051" y="678"/>
                </a:cubicBezTo>
                <a:cubicBezTo>
                  <a:pt x="1051" y="677"/>
                  <a:pt x="1051" y="676"/>
                  <a:pt x="1051" y="676"/>
                </a:cubicBezTo>
                <a:cubicBezTo>
                  <a:pt x="1051" y="675"/>
                  <a:pt x="1052" y="674"/>
                  <a:pt x="1052" y="673"/>
                </a:cubicBezTo>
                <a:cubicBezTo>
                  <a:pt x="1052" y="673"/>
                  <a:pt x="1052" y="673"/>
                  <a:pt x="1052" y="673"/>
                </a:cubicBezTo>
                <a:cubicBezTo>
                  <a:pt x="1052" y="673"/>
                  <a:pt x="1052" y="672"/>
                  <a:pt x="1053" y="672"/>
                </a:cubicBezTo>
                <a:cubicBezTo>
                  <a:pt x="1053" y="671"/>
                  <a:pt x="1053" y="670"/>
                  <a:pt x="1052" y="669"/>
                </a:cubicBezTo>
                <a:cubicBezTo>
                  <a:pt x="1052" y="669"/>
                  <a:pt x="1052" y="669"/>
                  <a:pt x="1052" y="668"/>
                </a:cubicBezTo>
                <a:cubicBezTo>
                  <a:pt x="1052" y="668"/>
                  <a:pt x="1052" y="667"/>
                  <a:pt x="1052" y="667"/>
                </a:cubicBezTo>
                <a:cubicBezTo>
                  <a:pt x="1051" y="667"/>
                  <a:pt x="1051" y="666"/>
                  <a:pt x="1051" y="665"/>
                </a:cubicBezTo>
                <a:cubicBezTo>
                  <a:pt x="1051" y="665"/>
                  <a:pt x="1051" y="665"/>
                  <a:pt x="1052" y="665"/>
                </a:cubicBezTo>
                <a:cubicBezTo>
                  <a:pt x="1052" y="665"/>
                  <a:pt x="1052" y="665"/>
                  <a:pt x="1052" y="665"/>
                </a:cubicBezTo>
                <a:cubicBezTo>
                  <a:pt x="1053" y="665"/>
                  <a:pt x="1053" y="665"/>
                  <a:pt x="1053" y="666"/>
                </a:cubicBezTo>
                <a:cubicBezTo>
                  <a:pt x="1053" y="666"/>
                  <a:pt x="1054" y="668"/>
                  <a:pt x="1054" y="667"/>
                </a:cubicBezTo>
                <a:cubicBezTo>
                  <a:pt x="1055" y="666"/>
                  <a:pt x="1057" y="660"/>
                  <a:pt x="1055" y="660"/>
                </a:cubicBezTo>
                <a:close/>
                <a:moveTo>
                  <a:pt x="1437" y="644"/>
                </a:moveTo>
                <a:cubicBezTo>
                  <a:pt x="1436" y="644"/>
                  <a:pt x="1436" y="644"/>
                  <a:pt x="1436" y="646"/>
                </a:cubicBezTo>
                <a:cubicBezTo>
                  <a:pt x="1437" y="646"/>
                  <a:pt x="1437" y="646"/>
                  <a:pt x="1437" y="644"/>
                </a:cubicBezTo>
                <a:cubicBezTo>
                  <a:pt x="1437" y="644"/>
                  <a:pt x="1437" y="644"/>
                  <a:pt x="1437" y="644"/>
                </a:cubicBezTo>
                <a:close/>
                <a:moveTo>
                  <a:pt x="1433" y="646"/>
                </a:moveTo>
                <a:cubicBezTo>
                  <a:pt x="1433" y="646"/>
                  <a:pt x="1433" y="646"/>
                  <a:pt x="1434" y="646"/>
                </a:cubicBezTo>
                <a:cubicBezTo>
                  <a:pt x="1434" y="646"/>
                  <a:pt x="1434" y="644"/>
                  <a:pt x="1434" y="644"/>
                </a:cubicBezTo>
                <a:cubicBezTo>
                  <a:pt x="1433" y="644"/>
                  <a:pt x="1433" y="645"/>
                  <a:pt x="1433" y="646"/>
                </a:cubicBezTo>
                <a:cubicBezTo>
                  <a:pt x="1433" y="646"/>
                  <a:pt x="1433" y="646"/>
                  <a:pt x="1433" y="646"/>
                </a:cubicBezTo>
                <a:close/>
                <a:moveTo>
                  <a:pt x="1437" y="645"/>
                </a:moveTo>
                <a:cubicBezTo>
                  <a:pt x="1438" y="645"/>
                  <a:pt x="1439" y="645"/>
                  <a:pt x="1439" y="644"/>
                </a:cubicBezTo>
                <a:cubicBezTo>
                  <a:pt x="1439" y="644"/>
                  <a:pt x="1438" y="644"/>
                  <a:pt x="1438" y="644"/>
                </a:cubicBezTo>
                <a:cubicBezTo>
                  <a:pt x="1437" y="643"/>
                  <a:pt x="1437" y="644"/>
                  <a:pt x="1437" y="645"/>
                </a:cubicBezTo>
                <a:close/>
                <a:moveTo>
                  <a:pt x="1468" y="757"/>
                </a:moveTo>
                <a:cubicBezTo>
                  <a:pt x="1468" y="757"/>
                  <a:pt x="1466" y="754"/>
                  <a:pt x="1466" y="753"/>
                </a:cubicBezTo>
                <a:cubicBezTo>
                  <a:pt x="1468" y="753"/>
                  <a:pt x="1468" y="755"/>
                  <a:pt x="1468" y="757"/>
                </a:cubicBezTo>
                <a:close/>
                <a:moveTo>
                  <a:pt x="1461" y="760"/>
                </a:moveTo>
                <a:cubicBezTo>
                  <a:pt x="1461" y="760"/>
                  <a:pt x="1461" y="760"/>
                  <a:pt x="1461" y="760"/>
                </a:cubicBezTo>
                <a:cubicBezTo>
                  <a:pt x="1460" y="760"/>
                  <a:pt x="1460" y="760"/>
                  <a:pt x="1460" y="760"/>
                </a:cubicBezTo>
                <a:cubicBezTo>
                  <a:pt x="1459" y="760"/>
                  <a:pt x="1459" y="759"/>
                  <a:pt x="1459" y="758"/>
                </a:cubicBezTo>
                <a:cubicBezTo>
                  <a:pt x="1459" y="757"/>
                  <a:pt x="1458" y="756"/>
                  <a:pt x="1458" y="756"/>
                </a:cubicBezTo>
                <a:cubicBezTo>
                  <a:pt x="1460" y="756"/>
                  <a:pt x="1461" y="758"/>
                  <a:pt x="1461" y="760"/>
                </a:cubicBezTo>
                <a:close/>
                <a:moveTo>
                  <a:pt x="1457" y="757"/>
                </a:moveTo>
                <a:cubicBezTo>
                  <a:pt x="1456" y="757"/>
                  <a:pt x="1456" y="757"/>
                  <a:pt x="1457" y="756"/>
                </a:cubicBezTo>
                <a:cubicBezTo>
                  <a:pt x="1457" y="757"/>
                  <a:pt x="1457" y="757"/>
                  <a:pt x="1457" y="757"/>
                </a:cubicBezTo>
                <a:close/>
                <a:moveTo>
                  <a:pt x="1542" y="738"/>
                </a:moveTo>
                <a:cubicBezTo>
                  <a:pt x="1541" y="738"/>
                  <a:pt x="1540" y="737"/>
                  <a:pt x="1540" y="737"/>
                </a:cubicBezTo>
                <a:cubicBezTo>
                  <a:pt x="1540" y="737"/>
                  <a:pt x="1540" y="737"/>
                  <a:pt x="1540" y="736"/>
                </a:cubicBezTo>
                <a:cubicBezTo>
                  <a:pt x="1540" y="736"/>
                  <a:pt x="1540" y="736"/>
                  <a:pt x="1540" y="736"/>
                </a:cubicBezTo>
                <a:cubicBezTo>
                  <a:pt x="1540" y="736"/>
                  <a:pt x="1540" y="736"/>
                  <a:pt x="1540" y="736"/>
                </a:cubicBezTo>
                <a:cubicBezTo>
                  <a:pt x="1539" y="736"/>
                  <a:pt x="1539" y="733"/>
                  <a:pt x="1539" y="733"/>
                </a:cubicBezTo>
                <a:cubicBezTo>
                  <a:pt x="1540" y="733"/>
                  <a:pt x="1539" y="733"/>
                  <a:pt x="1539" y="732"/>
                </a:cubicBezTo>
                <a:cubicBezTo>
                  <a:pt x="1539" y="731"/>
                  <a:pt x="1539" y="731"/>
                  <a:pt x="1539" y="731"/>
                </a:cubicBezTo>
                <a:cubicBezTo>
                  <a:pt x="1539" y="731"/>
                  <a:pt x="1539" y="730"/>
                  <a:pt x="1539" y="730"/>
                </a:cubicBezTo>
                <a:cubicBezTo>
                  <a:pt x="1539" y="729"/>
                  <a:pt x="1539" y="729"/>
                  <a:pt x="1539" y="729"/>
                </a:cubicBezTo>
                <a:cubicBezTo>
                  <a:pt x="1539" y="729"/>
                  <a:pt x="1539" y="728"/>
                  <a:pt x="1539" y="728"/>
                </a:cubicBezTo>
                <a:cubicBezTo>
                  <a:pt x="1539" y="727"/>
                  <a:pt x="1539" y="728"/>
                  <a:pt x="1540" y="727"/>
                </a:cubicBezTo>
                <a:cubicBezTo>
                  <a:pt x="1540" y="727"/>
                  <a:pt x="1539" y="727"/>
                  <a:pt x="1539" y="726"/>
                </a:cubicBezTo>
                <a:cubicBezTo>
                  <a:pt x="1539" y="726"/>
                  <a:pt x="1540" y="725"/>
                  <a:pt x="1539" y="724"/>
                </a:cubicBezTo>
                <a:cubicBezTo>
                  <a:pt x="1539" y="724"/>
                  <a:pt x="1539" y="724"/>
                  <a:pt x="1539" y="723"/>
                </a:cubicBezTo>
                <a:cubicBezTo>
                  <a:pt x="1539" y="722"/>
                  <a:pt x="1539" y="722"/>
                  <a:pt x="1538" y="722"/>
                </a:cubicBezTo>
                <a:cubicBezTo>
                  <a:pt x="1537" y="722"/>
                  <a:pt x="1538" y="722"/>
                  <a:pt x="1538" y="721"/>
                </a:cubicBezTo>
                <a:cubicBezTo>
                  <a:pt x="1538" y="721"/>
                  <a:pt x="1537" y="721"/>
                  <a:pt x="1537" y="721"/>
                </a:cubicBezTo>
                <a:cubicBezTo>
                  <a:pt x="1537" y="721"/>
                  <a:pt x="1537" y="720"/>
                  <a:pt x="1536" y="720"/>
                </a:cubicBezTo>
                <a:cubicBezTo>
                  <a:pt x="1536" y="720"/>
                  <a:pt x="1536" y="719"/>
                  <a:pt x="1536" y="719"/>
                </a:cubicBezTo>
                <a:cubicBezTo>
                  <a:pt x="1535" y="719"/>
                  <a:pt x="1535" y="719"/>
                  <a:pt x="1535" y="719"/>
                </a:cubicBezTo>
                <a:cubicBezTo>
                  <a:pt x="1535" y="717"/>
                  <a:pt x="1535" y="717"/>
                  <a:pt x="1534" y="716"/>
                </a:cubicBezTo>
                <a:cubicBezTo>
                  <a:pt x="1533" y="716"/>
                  <a:pt x="1531" y="714"/>
                  <a:pt x="1531" y="714"/>
                </a:cubicBezTo>
                <a:cubicBezTo>
                  <a:pt x="1531" y="714"/>
                  <a:pt x="1531" y="714"/>
                  <a:pt x="1531" y="714"/>
                </a:cubicBezTo>
                <a:cubicBezTo>
                  <a:pt x="1531" y="714"/>
                  <a:pt x="1531" y="713"/>
                  <a:pt x="1530" y="713"/>
                </a:cubicBezTo>
                <a:cubicBezTo>
                  <a:pt x="1529" y="712"/>
                  <a:pt x="1530" y="711"/>
                  <a:pt x="1530" y="710"/>
                </a:cubicBezTo>
                <a:cubicBezTo>
                  <a:pt x="1530" y="709"/>
                  <a:pt x="1530" y="709"/>
                  <a:pt x="1530" y="708"/>
                </a:cubicBezTo>
                <a:cubicBezTo>
                  <a:pt x="1530" y="708"/>
                  <a:pt x="1529" y="708"/>
                  <a:pt x="1529" y="708"/>
                </a:cubicBezTo>
                <a:cubicBezTo>
                  <a:pt x="1529" y="708"/>
                  <a:pt x="1529" y="707"/>
                  <a:pt x="1529" y="707"/>
                </a:cubicBezTo>
                <a:cubicBezTo>
                  <a:pt x="1528" y="707"/>
                  <a:pt x="1527" y="706"/>
                  <a:pt x="1527" y="705"/>
                </a:cubicBezTo>
                <a:cubicBezTo>
                  <a:pt x="1527" y="705"/>
                  <a:pt x="1526" y="705"/>
                  <a:pt x="1526" y="706"/>
                </a:cubicBezTo>
                <a:cubicBezTo>
                  <a:pt x="1525" y="705"/>
                  <a:pt x="1523" y="704"/>
                  <a:pt x="1524" y="702"/>
                </a:cubicBezTo>
                <a:cubicBezTo>
                  <a:pt x="1524" y="702"/>
                  <a:pt x="1524" y="702"/>
                  <a:pt x="1524" y="702"/>
                </a:cubicBezTo>
                <a:cubicBezTo>
                  <a:pt x="1524" y="702"/>
                  <a:pt x="1524" y="701"/>
                  <a:pt x="1524" y="700"/>
                </a:cubicBezTo>
                <a:cubicBezTo>
                  <a:pt x="1524" y="700"/>
                  <a:pt x="1524" y="700"/>
                  <a:pt x="1524" y="699"/>
                </a:cubicBezTo>
                <a:cubicBezTo>
                  <a:pt x="1524" y="698"/>
                  <a:pt x="1523" y="699"/>
                  <a:pt x="1523" y="698"/>
                </a:cubicBezTo>
                <a:cubicBezTo>
                  <a:pt x="1523" y="698"/>
                  <a:pt x="1523" y="698"/>
                  <a:pt x="1523" y="697"/>
                </a:cubicBezTo>
                <a:cubicBezTo>
                  <a:pt x="1522" y="696"/>
                  <a:pt x="1522" y="697"/>
                  <a:pt x="1521" y="697"/>
                </a:cubicBezTo>
                <a:cubicBezTo>
                  <a:pt x="1521" y="697"/>
                  <a:pt x="1522" y="696"/>
                  <a:pt x="1520" y="696"/>
                </a:cubicBezTo>
                <a:cubicBezTo>
                  <a:pt x="1520" y="696"/>
                  <a:pt x="1520" y="695"/>
                  <a:pt x="1520" y="695"/>
                </a:cubicBezTo>
                <a:cubicBezTo>
                  <a:pt x="1521" y="694"/>
                  <a:pt x="1521" y="694"/>
                  <a:pt x="1521" y="693"/>
                </a:cubicBezTo>
                <a:cubicBezTo>
                  <a:pt x="1521" y="692"/>
                  <a:pt x="1520" y="692"/>
                  <a:pt x="1519" y="692"/>
                </a:cubicBezTo>
                <a:cubicBezTo>
                  <a:pt x="1518" y="690"/>
                  <a:pt x="1519" y="689"/>
                  <a:pt x="1517" y="689"/>
                </a:cubicBezTo>
                <a:cubicBezTo>
                  <a:pt x="1517" y="689"/>
                  <a:pt x="1515" y="688"/>
                  <a:pt x="1516" y="689"/>
                </a:cubicBezTo>
                <a:cubicBezTo>
                  <a:pt x="1515" y="689"/>
                  <a:pt x="1514" y="689"/>
                  <a:pt x="1514" y="689"/>
                </a:cubicBezTo>
                <a:cubicBezTo>
                  <a:pt x="1514" y="688"/>
                  <a:pt x="1514" y="688"/>
                  <a:pt x="1514" y="687"/>
                </a:cubicBezTo>
                <a:cubicBezTo>
                  <a:pt x="1513" y="687"/>
                  <a:pt x="1512" y="687"/>
                  <a:pt x="1511" y="687"/>
                </a:cubicBezTo>
                <a:cubicBezTo>
                  <a:pt x="1510" y="687"/>
                  <a:pt x="1510" y="686"/>
                  <a:pt x="1510" y="686"/>
                </a:cubicBezTo>
                <a:cubicBezTo>
                  <a:pt x="1509" y="686"/>
                  <a:pt x="1509" y="685"/>
                  <a:pt x="1509" y="684"/>
                </a:cubicBezTo>
                <a:cubicBezTo>
                  <a:pt x="1509" y="683"/>
                  <a:pt x="1509" y="684"/>
                  <a:pt x="1509" y="683"/>
                </a:cubicBezTo>
                <a:cubicBezTo>
                  <a:pt x="1509" y="683"/>
                  <a:pt x="1509" y="682"/>
                  <a:pt x="1509" y="682"/>
                </a:cubicBezTo>
                <a:cubicBezTo>
                  <a:pt x="1509" y="682"/>
                  <a:pt x="1508" y="681"/>
                  <a:pt x="1508" y="681"/>
                </a:cubicBezTo>
                <a:cubicBezTo>
                  <a:pt x="1508" y="680"/>
                  <a:pt x="1508" y="679"/>
                  <a:pt x="1508" y="678"/>
                </a:cubicBezTo>
                <a:cubicBezTo>
                  <a:pt x="1508" y="678"/>
                  <a:pt x="1508" y="677"/>
                  <a:pt x="1508" y="677"/>
                </a:cubicBezTo>
                <a:cubicBezTo>
                  <a:pt x="1508" y="676"/>
                  <a:pt x="1508" y="677"/>
                  <a:pt x="1508" y="676"/>
                </a:cubicBezTo>
                <a:cubicBezTo>
                  <a:pt x="1508" y="676"/>
                  <a:pt x="1508" y="675"/>
                  <a:pt x="1508" y="675"/>
                </a:cubicBezTo>
                <a:cubicBezTo>
                  <a:pt x="1508" y="675"/>
                  <a:pt x="1507" y="675"/>
                  <a:pt x="1507" y="675"/>
                </a:cubicBezTo>
                <a:cubicBezTo>
                  <a:pt x="1507" y="674"/>
                  <a:pt x="1507" y="674"/>
                  <a:pt x="1507" y="673"/>
                </a:cubicBezTo>
                <a:cubicBezTo>
                  <a:pt x="1507" y="673"/>
                  <a:pt x="1507" y="673"/>
                  <a:pt x="1507" y="673"/>
                </a:cubicBezTo>
                <a:cubicBezTo>
                  <a:pt x="1506" y="672"/>
                  <a:pt x="1506" y="672"/>
                  <a:pt x="1506" y="671"/>
                </a:cubicBezTo>
                <a:cubicBezTo>
                  <a:pt x="1505" y="671"/>
                  <a:pt x="1505" y="671"/>
                  <a:pt x="1505" y="670"/>
                </a:cubicBezTo>
                <a:cubicBezTo>
                  <a:pt x="1505" y="670"/>
                  <a:pt x="1505" y="670"/>
                  <a:pt x="1504" y="670"/>
                </a:cubicBezTo>
                <a:cubicBezTo>
                  <a:pt x="1504" y="669"/>
                  <a:pt x="1505" y="669"/>
                  <a:pt x="1505" y="669"/>
                </a:cubicBezTo>
                <a:cubicBezTo>
                  <a:pt x="1505" y="668"/>
                  <a:pt x="1504" y="669"/>
                  <a:pt x="1504" y="668"/>
                </a:cubicBezTo>
                <a:cubicBezTo>
                  <a:pt x="1504" y="668"/>
                  <a:pt x="1504" y="667"/>
                  <a:pt x="1504" y="667"/>
                </a:cubicBezTo>
                <a:cubicBezTo>
                  <a:pt x="1504" y="666"/>
                  <a:pt x="1505" y="667"/>
                  <a:pt x="1505" y="667"/>
                </a:cubicBezTo>
                <a:cubicBezTo>
                  <a:pt x="1505" y="666"/>
                  <a:pt x="1505" y="666"/>
                  <a:pt x="1505" y="666"/>
                </a:cubicBezTo>
                <a:cubicBezTo>
                  <a:pt x="1505" y="665"/>
                  <a:pt x="1504" y="665"/>
                  <a:pt x="1504" y="665"/>
                </a:cubicBezTo>
                <a:cubicBezTo>
                  <a:pt x="1504" y="665"/>
                  <a:pt x="1504" y="664"/>
                  <a:pt x="1505" y="664"/>
                </a:cubicBezTo>
                <a:cubicBezTo>
                  <a:pt x="1505" y="663"/>
                  <a:pt x="1504" y="663"/>
                  <a:pt x="1504" y="662"/>
                </a:cubicBezTo>
                <a:cubicBezTo>
                  <a:pt x="1503" y="662"/>
                  <a:pt x="1503" y="662"/>
                  <a:pt x="1503" y="662"/>
                </a:cubicBezTo>
                <a:cubicBezTo>
                  <a:pt x="1502" y="661"/>
                  <a:pt x="1503" y="661"/>
                  <a:pt x="1502" y="661"/>
                </a:cubicBezTo>
                <a:cubicBezTo>
                  <a:pt x="1502" y="660"/>
                  <a:pt x="1502" y="662"/>
                  <a:pt x="1501" y="660"/>
                </a:cubicBezTo>
                <a:cubicBezTo>
                  <a:pt x="1501" y="659"/>
                  <a:pt x="1501" y="659"/>
                  <a:pt x="1500" y="659"/>
                </a:cubicBezTo>
                <a:cubicBezTo>
                  <a:pt x="1500" y="660"/>
                  <a:pt x="1498" y="660"/>
                  <a:pt x="1498" y="661"/>
                </a:cubicBezTo>
                <a:cubicBezTo>
                  <a:pt x="1496" y="660"/>
                  <a:pt x="1496" y="660"/>
                  <a:pt x="1496" y="658"/>
                </a:cubicBezTo>
                <a:cubicBezTo>
                  <a:pt x="1496" y="658"/>
                  <a:pt x="1496" y="657"/>
                  <a:pt x="1496" y="657"/>
                </a:cubicBezTo>
                <a:cubicBezTo>
                  <a:pt x="1496" y="657"/>
                  <a:pt x="1497" y="656"/>
                  <a:pt x="1497" y="656"/>
                </a:cubicBezTo>
                <a:cubicBezTo>
                  <a:pt x="1497" y="655"/>
                  <a:pt x="1497" y="654"/>
                  <a:pt x="1497" y="653"/>
                </a:cubicBezTo>
                <a:cubicBezTo>
                  <a:pt x="1497" y="653"/>
                  <a:pt x="1497" y="653"/>
                  <a:pt x="1497" y="652"/>
                </a:cubicBezTo>
                <a:cubicBezTo>
                  <a:pt x="1496" y="652"/>
                  <a:pt x="1496" y="652"/>
                  <a:pt x="1496" y="652"/>
                </a:cubicBezTo>
                <a:cubicBezTo>
                  <a:pt x="1496" y="652"/>
                  <a:pt x="1496" y="651"/>
                  <a:pt x="1496" y="651"/>
                </a:cubicBezTo>
                <a:cubicBezTo>
                  <a:pt x="1495" y="650"/>
                  <a:pt x="1495" y="650"/>
                  <a:pt x="1495" y="650"/>
                </a:cubicBezTo>
                <a:cubicBezTo>
                  <a:pt x="1495" y="649"/>
                  <a:pt x="1494" y="649"/>
                  <a:pt x="1494" y="649"/>
                </a:cubicBezTo>
                <a:cubicBezTo>
                  <a:pt x="1494" y="649"/>
                  <a:pt x="1494" y="648"/>
                  <a:pt x="1494" y="648"/>
                </a:cubicBezTo>
                <a:cubicBezTo>
                  <a:pt x="1494" y="647"/>
                  <a:pt x="1493" y="647"/>
                  <a:pt x="1493" y="646"/>
                </a:cubicBezTo>
                <a:cubicBezTo>
                  <a:pt x="1493" y="645"/>
                  <a:pt x="1493" y="645"/>
                  <a:pt x="1491" y="644"/>
                </a:cubicBezTo>
                <a:cubicBezTo>
                  <a:pt x="1491" y="643"/>
                  <a:pt x="1491" y="642"/>
                  <a:pt x="1491" y="642"/>
                </a:cubicBezTo>
                <a:cubicBezTo>
                  <a:pt x="1490" y="641"/>
                  <a:pt x="1490" y="641"/>
                  <a:pt x="1489" y="641"/>
                </a:cubicBezTo>
                <a:cubicBezTo>
                  <a:pt x="1488" y="641"/>
                  <a:pt x="1489" y="642"/>
                  <a:pt x="1488" y="643"/>
                </a:cubicBezTo>
                <a:cubicBezTo>
                  <a:pt x="1488" y="644"/>
                  <a:pt x="1488" y="645"/>
                  <a:pt x="1488" y="647"/>
                </a:cubicBezTo>
                <a:cubicBezTo>
                  <a:pt x="1487" y="647"/>
                  <a:pt x="1487" y="647"/>
                  <a:pt x="1487" y="648"/>
                </a:cubicBezTo>
                <a:cubicBezTo>
                  <a:pt x="1487" y="649"/>
                  <a:pt x="1487" y="649"/>
                  <a:pt x="1487" y="649"/>
                </a:cubicBezTo>
                <a:cubicBezTo>
                  <a:pt x="1487" y="649"/>
                  <a:pt x="1487" y="649"/>
                  <a:pt x="1488" y="649"/>
                </a:cubicBezTo>
                <a:cubicBezTo>
                  <a:pt x="1487" y="650"/>
                  <a:pt x="1487" y="652"/>
                  <a:pt x="1487" y="653"/>
                </a:cubicBezTo>
                <a:cubicBezTo>
                  <a:pt x="1488" y="653"/>
                  <a:pt x="1488" y="654"/>
                  <a:pt x="1487" y="655"/>
                </a:cubicBezTo>
                <a:cubicBezTo>
                  <a:pt x="1487" y="655"/>
                  <a:pt x="1487" y="656"/>
                  <a:pt x="1486" y="656"/>
                </a:cubicBezTo>
                <a:cubicBezTo>
                  <a:pt x="1486" y="657"/>
                  <a:pt x="1487" y="663"/>
                  <a:pt x="1487" y="663"/>
                </a:cubicBezTo>
                <a:cubicBezTo>
                  <a:pt x="1487" y="663"/>
                  <a:pt x="1487" y="664"/>
                  <a:pt x="1487" y="664"/>
                </a:cubicBezTo>
                <a:cubicBezTo>
                  <a:pt x="1487" y="664"/>
                  <a:pt x="1488" y="665"/>
                  <a:pt x="1487" y="665"/>
                </a:cubicBezTo>
                <a:cubicBezTo>
                  <a:pt x="1487" y="665"/>
                  <a:pt x="1487" y="665"/>
                  <a:pt x="1487" y="665"/>
                </a:cubicBezTo>
                <a:cubicBezTo>
                  <a:pt x="1486" y="666"/>
                  <a:pt x="1486" y="666"/>
                  <a:pt x="1486" y="666"/>
                </a:cubicBezTo>
                <a:cubicBezTo>
                  <a:pt x="1486" y="667"/>
                  <a:pt x="1486" y="668"/>
                  <a:pt x="1486" y="668"/>
                </a:cubicBezTo>
                <a:cubicBezTo>
                  <a:pt x="1486" y="669"/>
                  <a:pt x="1486" y="669"/>
                  <a:pt x="1486" y="669"/>
                </a:cubicBezTo>
                <a:cubicBezTo>
                  <a:pt x="1486" y="670"/>
                  <a:pt x="1486" y="669"/>
                  <a:pt x="1486" y="670"/>
                </a:cubicBezTo>
                <a:cubicBezTo>
                  <a:pt x="1486" y="670"/>
                  <a:pt x="1485" y="670"/>
                  <a:pt x="1485" y="671"/>
                </a:cubicBezTo>
                <a:cubicBezTo>
                  <a:pt x="1485" y="671"/>
                  <a:pt x="1484" y="671"/>
                  <a:pt x="1485" y="672"/>
                </a:cubicBezTo>
                <a:cubicBezTo>
                  <a:pt x="1485" y="673"/>
                  <a:pt x="1485" y="673"/>
                  <a:pt x="1485" y="674"/>
                </a:cubicBezTo>
                <a:cubicBezTo>
                  <a:pt x="1483" y="675"/>
                  <a:pt x="1484" y="678"/>
                  <a:pt x="1483" y="678"/>
                </a:cubicBezTo>
                <a:cubicBezTo>
                  <a:pt x="1482" y="679"/>
                  <a:pt x="1481" y="679"/>
                  <a:pt x="1480" y="679"/>
                </a:cubicBezTo>
                <a:cubicBezTo>
                  <a:pt x="1479" y="679"/>
                  <a:pt x="1479" y="679"/>
                  <a:pt x="1478" y="679"/>
                </a:cubicBezTo>
                <a:cubicBezTo>
                  <a:pt x="1478" y="678"/>
                  <a:pt x="1478" y="678"/>
                  <a:pt x="1478" y="677"/>
                </a:cubicBezTo>
                <a:cubicBezTo>
                  <a:pt x="1477" y="677"/>
                  <a:pt x="1477" y="677"/>
                  <a:pt x="1477" y="676"/>
                </a:cubicBezTo>
                <a:cubicBezTo>
                  <a:pt x="1477" y="675"/>
                  <a:pt x="1476" y="676"/>
                  <a:pt x="1476" y="675"/>
                </a:cubicBezTo>
                <a:cubicBezTo>
                  <a:pt x="1476" y="674"/>
                  <a:pt x="1474" y="674"/>
                  <a:pt x="1474" y="674"/>
                </a:cubicBezTo>
                <a:cubicBezTo>
                  <a:pt x="1473" y="673"/>
                  <a:pt x="1472" y="673"/>
                  <a:pt x="1472" y="672"/>
                </a:cubicBezTo>
                <a:cubicBezTo>
                  <a:pt x="1471" y="672"/>
                  <a:pt x="1470" y="672"/>
                  <a:pt x="1470" y="671"/>
                </a:cubicBezTo>
                <a:cubicBezTo>
                  <a:pt x="1470" y="671"/>
                  <a:pt x="1470" y="670"/>
                  <a:pt x="1470" y="670"/>
                </a:cubicBezTo>
                <a:cubicBezTo>
                  <a:pt x="1468" y="670"/>
                  <a:pt x="1468" y="670"/>
                  <a:pt x="1467" y="668"/>
                </a:cubicBezTo>
                <a:cubicBezTo>
                  <a:pt x="1466" y="668"/>
                  <a:pt x="1465" y="668"/>
                  <a:pt x="1465" y="668"/>
                </a:cubicBezTo>
                <a:cubicBezTo>
                  <a:pt x="1465" y="667"/>
                  <a:pt x="1464" y="668"/>
                  <a:pt x="1464" y="668"/>
                </a:cubicBezTo>
                <a:cubicBezTo>
                  <a:pt x="1463" y="668"/>
                  <a:pt x="1463" y="667"/>
                  <a:pt x="1463" y="667"/>
                </a:cubicBezTo>
                <a:cubicBezTo>
                  <a:pt x="1463" y="666"/>
                  <a:pt x="1462" y="666"/>
                  <a:pt x="1462" y="666"/>
                </a:cubicBezTo>
                <a:cubicBezTo>
                  <a:pt x="1460" y="665"/>
                  <a:pt x="1462" y="666"/>
                  <a:pt x="1461" y="665"/>
                </a:cubicBezTo>
                <a:cubicBezTo>
                  <a:pt x="1461" y="665"/>
                  <a:pt x="1461" y="665"/>
                  <a:pt x="1460" y="665"/>
                </a:cubicBezTo>
                <a:cubicBezTo>
                  <a:pt x="1460" y="665"/>
                  <a:pt x="1460" y="664"/>
                  <a:pt x="1460" y="664"/>
                </a:cubicBezTo>
                <a:cubicBezTo>
                  <a:pt x="1458" y="664"/>
                  <a:pt x="1458" y="662"/>
                  <a:pt x="1459" y="661"/>
                </a:cubicBezTo>
                <a:cubicBezTo>
                  <a:pt x="1459" y="660"/>
                  <a:pt x="1459" y="659"/>
                  <a:pt x="1459" y="659"/>
                </a:cubicBezTo>
                <a:cubicBezTo>
                  <a:pt x="1460" y="659"/>
                  <a:pt x="1460" y="657"/>
                  <a:pt x="1460" y="656"/>
                </a:cubicBezTo>
                <a:cubicBezTo>
                  <a:pt x="1459" y="656"/>
                  <a:pt x="1460" y="655"/>
                  <a:pt x="1460" y="654"/>
                </a:cubicBezTo>
                <a:cubicBezTo>
                  <a:pt x="1461" y="654"/>
                  <a:pt x="1462" y="654"/>
                  <a:pt x="1463" y="655"/>
                </a:cubicBezTo>
                <a:cubicBezTo>
                  <a:pt x="1463" y="654"/>
                  <a:pt x="1463" y="653"/>
                  <a:pt x="1463" y="652"/>
                </a:cubicBezTo>
                <a:cubicBezTo>
                  <a:pt x="1462" y="652"/>
                  <a:pt x="1462" y="651"/>
                  <a:pt x="1463" y="651"/>
                </a:cubicBezTo>
                <a:cubicBezTo>
                  <a:pt x="1464" y="651"/>
                  <a:pt x="1464" y="650"/>
                  <a:pt x="1465" y="650"/>
                </a:cubicBezTo>
                <a:cubicBezTo>
                  <a:pt x="1465" y="650"/>
                  <a:pt x="1465" y="649"/>
                  <a:pt x="1465" y="648"/>
                </a:cubicBezTo>
                <a:cubicBezTo>
                  <a:pt x="1465" y="648"/>
                  <a:pt x="1464" y="649"/>
                  <a:pt x="1464" y="649"/>
                </a:cubicBezTo>
                <a:cubicBezTo>
                  <a:pt x="1464" y="648"/>
                  <a:pt x="1464" y="647"/>
                  <a:pt x="1464" y="647"/>
                </a:cubicBezTo>
                <a:cubicBezTo>
                  <a:pt x="1464" y="647"/>
                  <a:pt x="1464" y="647"/>
                  <a:pt x="1464" y="646"/>
                </a:cubicBezTo>
                <a:cubicBezTo>
                  <a:pt x="1463" y="647"/>
                  <a:pt x="1463" y="647"/>
                  <a:pt x="1462" y="647"/>
                </a:cubicBezTo>
                <a:cubicBezTo>
                  <a:pt x="1461" y="648"/>
                  <a:pt x="1461" y="647"/>
                  <a:pt x="1461" y="649"/>
                </a:cubicBezTo>
                <a:cubicBezTo>
                  <a:pt x="1460" y="648"/>
                  <a:pt x="1458" y="645"/>
                  <a:pt x="1457" y="647"/>
                </a:cubicBezTo>
                <a:cubicBezTo>
                  <a:pt x="1456" y="647"/>
                  <a:pt x="1456" y="647"/>
                  <a:pt x="1455" y="647"/>
                </a:cubicBezTo>
                <a:cubicBezTo>
                  <a:pt x="1455" y="646"/>
                  <a:pt x="1454" y="646"/>
                  <a:pt x="1453" y="647"/>
                </a:cubicBezTo>
                <a:cubicBezTo>
                  <a:pt x="1453" y="647"/>
                  <a:pt x="1453" y="647"/>
                  <a:pt x="1452" y="646"/>
                </a:cubicBezTo>
                <a:cubicBezTo>
                  <a:pt x="1451" y="646"/>
                  <a:pt x="1450" y="646"/>
                  <a:pt x="1449" y="646"/>
                </a:cubicBezTo>
                <a:cubicBezTo>
                  <a:pt x="1449" y="646"/>
                  <a:pt x="1450" y="646"/>
                  <a:pt x="1449" y="646"/>
                </a:cubicBezTo>
                <a:cubicBezTo>
                  <a:pt x="1449" y="645"/>
                  <a:pt x="1449" y="645"/>
                  <a:pt x="1448" y="644"/>
                </a:cubicBezTo>
                <a:cubicBezTo>
                  <a:pt x="1448" y="644"/>
                  <a:pt x="1448" y="644"/>
                  <a:pt x="1448" y="644"/>
                </a:cubicBezTo>
                <a:cubicBezTo>
                  <a:pt x="1448" y="645"/>
                  <a:pt x="1448" y="645"/>
                  <a:pt x="1448" y="645"/>
                </a:cubicBezTo>
                <a:cubicBezTo>
                  <a:pt x="1448" y="645"/>
                  <a:pt x="1447" y="645"/>
                  <a:pt x="1447" y="645"/>
                </a:cubicBezTo>
                <a:cubicBezTo>
                  <a:pt x="1446" y="645"/>
                  <a:pt x="1446" y="646"/>
                  <a:pt x="1445" y="645"/>
                </a:cubicBezTo>
                <a:cubicBezTo>
                  <a:pt x="1445" y="645"/>
                  <a:pt x="1445" y="644"/>
                  <a:pt x="1445" y="644"/>
                </a:cubicBezTo>
                <a:cubicBezTo>
                  <a:pt x="1445" y="644"/>
                  <a:pt x="1445" y="643"/>
                  <a:pt x="1444" y="643"/>
                </a:cubicBezTo>
                <a:cubicBezTo>
                  <a:pt x="1444" y="643"/>
                  <a:pt x="1443" y="644"/>
                  <a:pt x="1443" y="644"/>
                </a:cubicBezTo>
                <a:cubicBezTo>
                  <a:pt x="1443" y="643"/>
                  <a:pt x="1441" y="643"/>
                  <a:pt x="1441" y="643"/>
                </a:cubicBezTo>
                <a:cubicBezTo>
                  <a:pt x="1441" y="644"/>
                  <a:pt x="1442" y="645"/>
                  <a:pt x="1443" y="645"/>
                </a:cubicBezTo>
                <a:cubicBezTo>
                  <a:pt x="1443" y="645"/>
                  <a:pt x="1444" y="645"/>
                  <a:pt x="1444" y="645"/>
                </a:cubicBezTo>
                <a:cubicBezTo>
                  <a:pt x="1445" y="646"/>
                  <a:pt x="1445" y="646"/>
                  <a:pt x="1445" y="646"/>
                </a:cubicBezTo>
                <a:cubicBezTo>
                  <a:pt x="1445" y="647"/>
                  <a:pt x="1446" y="647"/>
                  <a:pt x="1446" y="648"/>
                </a:cubicBezTo>
                <a:cubicBezTo>
                  <a:pt x="1446" y="649"/>
                  <a:pt x="1446" y="648"/>
                  <a:pt x="1445" y="649"/>
                </a:cubicBezTo>
                <a:cubicBezTo>
                  <a:pt x="1445" y="649"/>
                  <a:pt x="1444" y="649"/>
                  <a:pt x="1444" y="650"/>
                </a:cubicBezTo>
                <a:cubicBezTo>
                  <a:pt x="1444" y="650"/>
                  <a:pt x="1444" y="649"/>
                  <a:pt x="1443" y="649"/>
                </a:cubicBezTo>
                <a:cubicBezTo>
                  <a:pt x="1442" y="649"/>
                  <a:pt x="1442" y="649"/>
                  <a:pt x="1441" y="649"/>
                </a:cubicBezTo>
                <a:cubicBezTo>
                  <a:pt x="1441" y="648"/>
                  <a:pt x="1440" y="648"/>
                  <a:pt x="1440" y="648"/>
                </a:cubicBezTo>
                <a:cubicBezTo>
                  <a:pt x="1439" y="648"/>
                  <a:pt x="1439" y="649"/>
                  <a:pt x="1439" y="649"/>
                </a:cubicBezTo>
                <a:cubicBezTo>
                  <a:pt x="1438" y="649"/>
                  <a:pt x="1438" y="648"/>
                  <a:pt x="1438" y="648"/>
                </a:cubicBezTo>
                <a:cubicBezTo>
                  <a:pt x="1438" y="648"/>
                  <a:pt x="1438" y="648"/>
                  <a:pt x="1437" y="648"/>
                </a:cubicBezTo>
                <a:cubicBezTo>
                  <a:pt x="1437" y="649"/>
                  <a:pt x="1437" y="649"/>
                  <a:pt x="1436" y="649"/>
                </a:cubicBezTo>
                <a:cubicBezTo>
                  <a:pt x="1436" y="650"/>
                  <a:pt x="1435" y="649"/>
                  <a:pt x="1434" y="649"/>
                </a:cubicBezTo>
                <a:cubicBezTo>
                  <a:pt x="1434" y="649"/>
                  <a:pt x="1434" y="650"/>
                  <a:pt x="1435" y="650"/>
                </a:cubicBezTo>
                <a:cubicBezTo>
                  <a:pt x="1435" y="650"/>
                  <a:pt x="1434" y="651"/>
                  <a:pt x="1434" y="651"/>
                </a:cubicBezTo>
                <a:cubicBezTo>
                  <a:pt x="1433" y="651"/>
                  <a:pt x="1432" y="651"/>
                  <a:pt x="1433" y="652"/>
                </a:cubicBezTo>
                <a:cubicBezTo>
                  <a:pt x="1433" y="653"/>
                  <a:pt x="1434" y="654"/>
                  <a:pt x="1434" y="655"/>
                </a:cubicBezTo>
                <a:cubicBezTo>
                  <a:pt x="1434" y="655"/>
                  <a:pt x="1433" y="655"/>
                  <a:pt x="1433" y="655"/>
                </a:cubicBezTo>
                <a:cubicBezTo>
                  <a:pt x="1432" y="654"/>
                  <a:pt x="1432" y="655"/>
                  <a:pt x="1432" y="655"/>
                </a:cubicBezTo>
                <a:cubicBezTo>
                  <a:pt x="1431" y="655"/>
                  <a:pt x="1431" y="655"/>
                  <a:pt x="1431" y="656"/>
                </a:cubicBezTo>
                <a:cubicBezTo>
                  <a:pt x="1431" y="657"/>
                  <a:pt x="1431" y="658"/>
                  <a:pt x="1431" y="658"/>
                </a:cubicBezTo>
                <a:cubicBezTo>
                  <a:pt x="1430" y="658"/>
                  <a:pt x="1430" y="658"/>
                  <a:pt x="1429" y="658"/>
                </a:cubicBezTo>
                <a:cubicBezTo>
                  <a:pt x="1429" y="658"/>
                  <a:pt x="1429" y="658"/>
                  <a:pt x="1429" y="658"/>
                </a:cubicBezTo>
                <a:cubicBezTo>
                  <a:pt x="1429" y="660"/>
                  <a:pt x="1429" y="661"/>
                  <a:pt x="1430" y="662"/>
                </a:cubicBezTo>
                <a:cubicBezTo>
                  <a:pt x="1431" y="663"/>
                  <a:pt x="1431" y="662"/>
                  <a:pt x="1431" y="664"/>
                </a:cubicBezTo>
                <a:cubicBezTo>
                  <a:pt x="1430" y="664"/>
                  <a:pt x="1429" y="663"/>
                  <a:pt x="1429" y="663"/>
                </a:cubicBezTo>
                <a:cubicBezTo>
                  <a:pt x="1428" y="664"/>
                  <a:pt x="1428" y="663"/>
                  <a:pt x="1427" y="663"/>
                </a:cubicBezTo>
                <a:cubicBezTo>
                  <a:pt x="1427" y="662"/>
                  <a:pt x="1426" y="663"/>
                  <a:pt x="1426" y="662"/>
                </a:cubicBezTo>
                <a:cubicBezTo>
                  <a:pt x="1425" y="661"/>
                  <a:pt x="1424" y="662"/>
                  <a:pt x="1424" y="663"/>
                </a:cubicBezTo>
                <a:cubicBezTo>
                  <a:pt x="1424" y="665"/>
                  <a:pt x="1424" y="665"/>
                  <a:pt x="1422" y="666"/>
                </a:cubicBezTo>
                <a:cubicBezTo>
                  <a:pt x="1422" y="664"/>
                  <a:pt x="1423" y="662"/>
                  <a:pt x="1423" y="661"/>
                </a:cubicBezTo>
                <a:cubicBezTo>
                  <a:pt x="1422" y="661"/>
                  <a:pt x="1422" y="659"/>
                  <a:pt x="1421" y="659"/>
                </a:cubicBezTo>
                <a:cubicBezTo>
                  <a:pt x="1420" y="659"/>
                  <a:pt x="1420" y="657"/>
                  <a:pt x="1419" y="657"/>
                </a:cubicBezTo>
                <a:cubicBezTo>
                  <a:pt x="1417" y="656"/>
                  <a:pt x="1417" y="656"/>
                  <a:pt x="1416" y="657"/>
                </a:cubicBezTo>
                <a:cubicBezTo>
                  <a:pt x="1415" y="658"/>
                  <a:pt x="1416" y="658"/>
                  <a:pt x="1415" y="658"/>
                </a:cubicBezTo>
                <a:cubicBezTo>
                  <a:pt x="1414" y="658"/>
                  <a:pt x="1415" y="657"/>
                  <a:pt x="1415" y="657"/>
                </a:cubicBezTo>
                <a:cubicBezTo>
                  <a:pt x="1414" y="658"/>
                  <a:pt x="1414" y="659"/>
                  <a:pt x="1414" y="660"/>
                </a:cubicBezTo>
                <a:cubicBezTo>
                  <a:pt x="1413" y="660"/>
                  <a:pt x="1413" y="660"/>
                  <a:pt x="1413" y="659"/>
                </a:cubicBezTo>
                <a:cubicBezTo>
                  <a:pt x="1412" y="659"/>
                  <a:pt x="1411" y="659"/>
                  <a:pt x="1412" y="660"/>
                </a:cubicBezTo>
                <a:cubicBezTo>
                  <a:pt x="1412" y="660"/>
                  <a:pt x="1412" y="661"/>
                  <a:pt x="1412" y="661"/>
                </a:cubicBezTo>
                <a:cubicBezTo>
                  <a:pt x="1411" y="661"/>
                  <a:pt x="1411" y="660"/>
                  <a:pt x="1410" y="662"/>
                </a:cubicBezTo>
                <a:cubicBezTo>
                  <a:pt x="1411" y="662"/>
                  <a:pt x="1412" y="662"/>
                  <a:pt x="1411" y="663"/>
                </a:cubicBezTo>
                <a:cubicBezTo>
                  <a:pt x="1411" y="663"/>
                  <a:pt x="1410" y="663"/>
                  <a:pt x="1410" y="663"/>
                </a:cubicBezTo>
                <a:cubicBezTo>
                  <a:pt x="1410" y="664"/>
                  <a:pt x="1410" y="665"/>
                  <a:pt x="1410" y="665"/>
                </a:cubicBezTo>
                <a:cubicBezTo>
                  <a:pt x="1410" y="665"/>
                  <a:pt x="1409" y="665"/>
                  <a:pt x="1409" y="665"/>
                </a:cubicBezTo>
                <a:cubicBezTo>
                  <a:pt x="1409" y="664"/>
                  <a:pt x="1409" y="665"/>
                  <a:pt x="1409" y="665"/>
                </a:cubicBezTo>
                <a:cubicBezTo>
                  <a:pt x="1408" y="665"/>
                  <a:pt x="1409" y="665"/>
                  <a:pt x="1408" y="665"/>
                </a:cubicBezTo>
                <a:cubicBezTo>
                  <a:pt x="1408" y="665"/>
                  <a:pt x="1407" y="665"/>
                  <a:pt x="1407" y="665"/>
                </a:cubicBezTo>
                <a:cubicBezTo>
                  <a:pt x="1407" y="666"/>
                  <a:pt x="1407" y="667"/>
                  <a:pt x="1407" y="668"/>
                </a:cubicBezTo>
                <a:cubicBezTo>
                  <a:pt x="1406" y="668"/>
                  <a:pt x="1406" y="670"/>
                  <a:pt x="1405" y="670"/>
                </a:cubicBezTo>
                <a:cubicBezTo>
                  <a:pt x="1405" y="670"/>
                  <a:pt x="1405" y="669"/>
                  <a:pt x="1405" y="669"/>
                </a:cubicBezTo>
                <a:cubicBezTo>
                  <a:pt x="1404" y="669"/>
                  <a:pt x="1404" y="669"/>
                  <a:pt x="1404" y="668"/>
                </a:cubicBezTo>
                <a:cubicBezTo>
                  <a:pt x="1404" y="668"/>
                  <a:pt x="1403" y="669"/>
                  <a:pt x="1403" y="669"/>
                </a:cubicBezTo>
                <a:cubicBezTo>
                  <a:pt x="1402" y="669"/>
                  <a:pt x="1402" y="669"/>
                  <a:pt x="1402" y="670"/>
                </a:cubicBezTo>
                <a:cubicBezTo>
                  <a:pt x="1402" y="671"/>
                  <a:pt x="1402" y="672"/>
                  <a:pt x="1402" y="673"/>
                </a:cubicBezTo>
                <a:cubicBezTo>
                  <a:pt x="1402" y="673"/>
                  <a:pt x="1404" y="674"/>
                  <a:pt x="1403" y="674"/>
                </a:cubicBezTo>
                <a:cubicBezTo>
                  <a:pt x="1403" y="674"/>
                  <a:pt x="1403" y="675"/>
                  <a:pt x="1402" y="675"/>
                </a:cubicBezTo>
                <a:cubicBezTo>
                  <a:pt x="1402" y="675"/>
                  <a:pt x="1402" y="676"/>
                  <a:pt x="1402" y="676"/>
                </a:cubicBezTo>
                <a:cubicBezTo>
                  <a:pt x="1402" y="676"/>
                  <a:pt x="1401" y="675"/>
                  <a:pt x="1401" y="675"/>
                </a:cubicBezTo>
                <a:cubicBezTo>
                  <a:pt x="1400" y="675"/>
                  <a:pt x="1400" y="675"/>
                  <a:pt x="1400" y="674"/>
                </a:cubicBezTo>
                <a:cubicBezTo>
                  <a:pt x="1400" y="674"/>
                  <a:pt x="1400" y="674"/>
                  <a:pt x="1400" y="674"/>
                </a:cubicBezTo>
                <a:cubicBezTo>
                  <a:pt x="1400" y="673"/>
                  <a:pt x="1400" y="673"/>
                  <a:pt x="1400" y="672"/>
                </a:cubicBezTo>
                <a:cubicBezTo>
                  <a:pt x="1400" y="671"/>
                  <a:pt x="1399" y="671"/>
                  <a:pt x="1399" y="671"/>
                </a:cubicBezTo>
                <a:cubicBezTo>
                  <a:pt x="1399" y="671"/>
                  <a:pt x="1399" y="672"/>
                  <a:pt x="1399" y="672"/>
                </a:cubicBezTo>
                <a:cubicBezTo>
                  <a:pt x="1399" y="672"/>
                  <a:pt x="1397" y="673"/>
                  <a:pt x="1397" y="673"/>
                </a:cubicBezTo>
                <a:cubicBezTo>
                  <a:pt x="1396" y="673"/>
                  <a:pt x="1396" y="675"/>
                  <a:pt x="1396" y="675"/>
                </a:cubicBezTo>
                <a:cubicBezTo>
                  <a:pt x="1396" y="676"/>
                  <a:pt x="1396" y="677"/>
                  <a:pt x="1396" y="678"/>
                </a:cubicBezTo>
                <a:cubicBezTo>
                  <a:pt x="1395" y="678"/>
                  <a:pt x="1395" y="678"/>
                  <a:pt x="1395" y="679"/>
                </a:cubicBezTo>
                <a:cubicBezTo>
                  <a:pt x="1395" y="680"/>
                  <a:pt x="1396" y="680"/>
                  <a:pt x="1396" y="681"/>
                </a:cubicBezTo>
                <a:cubicBezTo>
                  <a:pt x="1396" y="682"/>
                  <a:pt x="1395" y="681"/>
                  <a:pt x="1395" y="682"/>
                </a:cubicBezTo>
                <a:cubicBezTo>
                  <a:pt x="1395" y="682"/>
                  <a:pt x="1394" y="682"/>
                  <a:pt x="1394" y="683"/>
                </a:cubicBezTo>
                <a:cubicBezTo>
                  <a:pt x="1394" y="683"/>
                  <a:pt x="1393" y="683"/>
                  <a:pt x="1393" y="683"/>
                </a:cubicBezTo>
                <a:cubicBezTo>
                  <a:pt x="1393" y="684"/>
                  <a:pt x="1393" y="684"/>
                  <a:pt x="1393" y="684"/>
                </a:cubicBezTo>
                <a:cubicBezTo>
                  <a:pt x="1392" y="685"/>
                  <a:pt x="1392" y="685"/>
                  <a:pt x="1392" y="686"/>
                </a:cubicBezTo>
                <a:cubicBezTo>
                  <a:pt x="1392" y="686"/>
                  <a:pt x="1391" y="687"/>
                  <a:pt x="1391" y="687"/>
                </a:cubicBezTo>
                <a:cubicBezTo>
                  <a:pt x="1390" y="687"/>
                  <a:pt x="1390" y="687"/>
                  <a:pt x="1390" y="688"/>
                </a:cubicBezTo>
                <a:cubicBezTo>
                  <a:pt x="1390" y="688"/>
                  <a:pt x="1389" y="688"/>
                  <a:pt x="1389" y="688"/>
                </a:cubicBezTo>
                <a:cubicBezTo>
                  <a:pt x="1389" y="688"/>
                  <a:pt x="1389" y="688"/>
                  <a:pt x="1389" y="688"/>
                </a:cubicBezTo>
                <a:cubicBezTo>
                  <a:pt x="1388" y="688"/>
                  <a:pt x="1388" y="688"/>
                  <a:pt x="1388" y="688"/>
                </a:cubicBezTo>
                <a:cubicBezTo>
                  <a:pt x="1387" y="688"/>
                  <a:pt x="1387" y="689"/>
                  <a:pt x="1387" y="689"/>
                </a:cubicBezTo>
                <a:cubicBezTo>
                  <a:pt x="1387" y="689"/>
                  <a:pt x="1386" y="689"/>
                  <a:pt x="1386" y="689"/>
                </a:cubicBezTo>
                <a:cubicBezTo>
                  <a:pt x="1385" y="689"/>
                  <a:pt x="1385" y="689"/>
                  <a:pt x="1383" y="689"/>
                </a:cubicBezTo>
                <a:cubicBezTo>
                  <a:pt x="1383" y="690"/>
                  <a:pt x="1383" y="690"/>
                  <a:pt x="1382" y="690"/>
                </a:cubicBezTo>
                <a:cubicBezTo>
                  <a:pt x="1381" y="690"/>
                  <a:pt x="1381" y="690"/>
                  <a:pt x="1380" y="690"/>
                </a:cubicBezTo>
                <a:cubicBezTo>
                  <a:pt x="1380" y="690"/>
                  <a:pt x="1380" y="690"/>
                  <a:pt x="1380" y="690"/>
                </a:cubicBezTo>
                <a:cubicBezTo>
                  <a:pt x="1379" y="690"/>
                  <a:pt x="1379" y="691"/>
                  <a:pt x="1379" y="692"/>
                </a:cubicBezTo>
                <a:cubicBezTo>
                  <a:pt x="1379" y="692"/>
                  <a:pt x="1378" y="693"/>
                  <a:pt x="1378" y="693"/>
                </a:cubicBezTo>
                <a:cubicBezTo>
                  <a:pt x="1378" y="693"/>
                  <a:pt x="1376" y="693"/>
                  <a:pt x="1375" y="693"/>
                </a:cubicBezTo>
                <a:cubicBezTo>
                  <a:pt x="1375" y="694"/>
                  <a:pt x="1375" y="694"/>
                  <a:pt x="1374" y="694"/>
                </a:cubicBezTo>
                <a:cubicBezTo>
                  <a:pt x="1373" y="695"/>
                  <a:pt x="1371" y="695"/>
                  <a:pt x="1371" y="694"/>
                </a:cubicBezTo>
                <a:cubicBezTo>
                  <a:pt x="1370" y="694"/>
                  <a:pt x="1370" y="694"/>
                  <a:pt x="1369" y="695"/>
                </a:cubicBezTo>
                <a:cubicBezTo>
                  <a:pt x="1369" y="697"/>
                  <a:pt x="1367" y="695"/>
                  <a:pt x="1366" y="696"/>
                </a:cubicBezTo>
                <a:cubicBezTo>
                  <a:pt x="1366" y="697"/>
                  <a:pt x="1365" y="699"/>
                  <a:pt x="1364" y="699"/>
                </a:cubicBezTo>
                <a:cubicBezTo>
                  <a:pt x="1363" y="699"/>
                  <a:pt x="1364" y="700"/>
                  <a:pt x="1363" y="700"/>
                </a:cubicBezTo>
                <a:cubicBezTo>
                  <a:pt x="1363" y="700"/>
                  <a:pt x="1362" y="700"/>
                  <a:pt x="1362" y="700"/>
                </a:cubicBezTo>
                <a:cubicBezTo>
                  <a:pt x="1362" y="700"/>
                  <a:pt x="1362" y="700"/>
                  <a:pt x="1362" y="701"/>
                </a:cubicBezTo>
                <a:cubicBezTo>
                  <a:pt x="1362" y="701"/>
                  <a:pt x="1360" y="702"/>
                  <a:pt x="1360" y="702"/>
                </a:cubicBezTo>
                <a:cubicBezTo>
                  <a:pt x="1360" y="704"/>
                  <a:pt x="1358" y="703"/>
                  <a:pt x="1358" y="704"/>
                </a:cubicBezTo>
                <a:cubicBezTo>
                  <a:pt x="1358" y="704"/>
                  <a:pt x="1357" y="704"/>
                  <a:pt x="1357" y="705"/>
                </a:cubicBezTo>
                <a:cubicBezTo>
                  <a:pt x="1357" y="705"/>
                  <a:pt x="1356" y="704"/>
                  <a:pt x="1356" y="704"/>
                </a:cubicBezTo>
                <a:cubicBezTo>
                  <a:pt x="1357" y="704"/>
                  <a:pt x="1357" y="703"/>
                  <a:pt x="1357" y="702"/>
                </a:cubicBezTo>
                <a:cubicBezTo>
                  <a:pt x="1356" y="702"/>
                  <a:pt x="1356" y="702"/>
                  <a:pt x="1356" y="703"/>
                </a:cubicBezTo>
                <a:cubicBezTo>
                  <a:pt x="1356" y="703"/>
                  <a:pt x="1355" y="703"/>
                  <a:pt x="1355" y="703"/>
                </a:cubicBezTo>
                <a:cubicBezTo>
                  <a:pt x="1355" y="704"/>
                  <a:pt x="1355" y="704"/>
                  <a:pt x="1355" y="704"/>
                </a:cubicBezTo>
                <a:cubicBezTo>
                  <a:pt x="1355" y="704"/>
                  <a:pt x="1355" y="705"/>
                  <a:pt x="1355" y="705"/>
                </a:cubicBezTo>
                <a:cubicBezTo>
                  <a:pt x="1355" y="705"/>
                  <a:pt x="1355" y="705"/>
                  <a:pt x="1354" y="706"/>
                </a:cubicBezTo>
                <a:cubicBezTo>
                  <a:pt x="1354" y="707"/>
                  <a:pt x="1355" y="706"/>
                  <a:pt x="1355" y="707"/>
                </a:cubicBezTo>
                <a:cubicBezTo>
                  <a:pt x="1356" y="708"/>
                  <a:pt x="1356" y="707"/>
                  <a:pt x="1356" y="708"/>
                </a:cubicBezTo>
                <a:cubicBezTo>
                  <a:pt x="1356" y="708"/>
                  <a:pt x="1355" y="709"/>
                  <a:pt x="1355" y="709"/>
                </a:cubicBezTo>
                <a:cubicBezTo>
                  <a:pt x="1355" y="710"/>
                  <a:pt x="1355" y="710"/>
                  <a:pt x="1355" y="710"/>
                </a:cubicBezTo>
                <a:cubicBezTo>
                  <a:pt x="1355" y="711"/>
                  <a:pt x="1355" y="711"/>
                  <a:pt x="1355" y="712"/>
                </a:cubicBezTo>
                <a:cubicBezTo>
                  <a:pt x="1355" y="712"/>
                  <a:pt x="1355" y="712"/>
                  <a:pt x="1355" y="712"/>
                </a:cubicBezTo>
                <a:cubicBezTo>
                  <a:pt x="1354" y="713"/>
                  <a:pt x="1354" y="713"/>
                  <a:pt x="1354" y="714"/>
                </a:cubicBezTo>
                <a:cubicBezTo>
                  <a:pt x="1354" y="714"/>
                  <a:pt x="1353" y="714"/>
                  <a:pt x="1353" y="714"/>
                </a:cubicBezTo>
                <a:cubicBezTo>
                  <a:pt x="1353" y="716"/>
                  <a:pt x="1354" y="716"/>
                  <a:pt x="1355" y="717"/>
                </a:cubicBezTo>
                <a:cubicBezTo>
                  <a:pt x="1356" y="718"/>
                  <a:pt x="1355" y="720"/>
                  <a:pt x="1356" y="720"/>
                </a:cubicBezTo>
                <a:cubicBezTo>
                  <a:pt x="1356" y="720"/>
                  <a:pt x="1356" y="720"/>
                  <a:pt x="1356" y="721"/>
                </a:cubicBezTo>
                <a:cubicBezTo>
                  <a:pt x="1356" y="721"/>
                  <a:pt x="1356" y="722"/>
                  <a:pt x="1356" y="722"/>
                </a:cubicBezTo>
                <a:cubicBezTo>
                  <a:pt x="1357" y="724"/>
                  <a:pt x="1357" y="725"/>
                  <a:pt x="1357" y="726"/>
                </a:cubicBezTo>
                <a:cubicBezTo>
                  <a:pt x="1356" y="726"/>
                  <a:pt x="1355" y="726"/>
                  <a:pt x="1355" y="725"/>
                </a:cubicBezTo>
                <a:cubicBezTo>
                  <a:pt x="1355" y="724"/>
                  <a:pt x="1355" y="723"/>
                  <a:pt x="1354" y="724"/>
                </a:cubicBezTo>
                <a:cubicBezTo>
                  <a:pt x="1354" y="725"/>
                  <a:pt x="1354" y="725"/>
                  <a:pt x="1354" y="726"/>
                </a:cubicBezTo>
                <a:cubicBezTo>
                  <a:pt x="1355" y="727"/>
                  <a:pt x="1355" y="727"/>
                  <a:pt x="1355" y="727"/>
                </a:cubicBezTo>
                <a:cubicBezTo>
                  <a:pt x="1355" y="728"/>
                  <a:pt x="1355" y="728"/>
                  <a:pt x="1356" y="729"/>
                </a:cubicBezTo>
                <a:cubicBezTo>
                  <a:pt x="1355" y="729"/>
                  <a:pt x="1355" y="729"/>
                  <a:pt x="1354" y="729"/>
                </a:cubicBezTo>
                <a:cubicBezTo>
                  <a:pt x="1354" y="728"/>
                  <a:pt x="1354" y="727"/>
                  <a:pt x="1353" y="727"/>
                </a:cubicBezTo>
                <a:cubicBezTo>
                  <a:pt x="1353" y="726"/>
                  <a:pt x="1353" y="724"/>
                  <a:pt x="1352" y="724"/>
                </a:cubicBezTo>
                <a:cubicBezTo>
                  <a:pt x="1352" y="725"/>
                  <a:pt x="1353" y="726"/>
                  <a:pt x="1353" y="728"/>
                </a:cubicBezTo>
                <a:cubicBezTo>
                  <a:pt x="1353" y="728"/>
                  <a:pt x="1353" y="728"/>
                  <a:pt x="1354" y="729"/>
                </a:cubicBezTo>
                <a:cubicBezTo>
                  <a:pt x="1354" y="729"/>
                  <a:pt x="1354" y="729"/>
                  <a:pt x="1354" y="730"/>
                </a:cubicBezTo>
                <a:cubicBezTo>
                  <a:pt x="1354" y="730"/>
                  <a:pt x="1356" y="731"/>
                  <a:pt x="1356" y="732"/>
                </a:cubicBezTo>
                <a:cubicBezTo>
                  <a:pt x="1356" y="732"/>
                  <a:pt x="1356" y="732"/>
                  <a:pt x="1357" y="732"/>
                </a:cubicBezTo>
                <a:cubicBezTo>
                  <a:pt x="1357" y="732"/>
                  <a:pt x="1357" y="733"/>
                  <a:pt x="1357" y="734"/>
                </a:cubicBezTo>
                <a:cubicBezTo>
                  <a:pt x="1357" y="734"/>
                  <a:pt x="1357" y="735"/>
                  <a:pt x="1358" y="735"/>
                </a:cubicBezTo>
                <a:cubicBezTo>
                  <a:pt x="1358" y="735"/>
                  <a:pt x="1358" y="735"/>
                  <a:pt x="1358" y="735"/>
                </a:cubicBezTo>
                <a:cubicBezTo>
                  <a:pt x="1357" y="736"/>
                  <a:pt x="1358" y="737"/>
                  <a:pt x="1358" y="737"/>
                </a:cubicBezTo>
                <a:cubicBezTo>
                  <a:pt x="1358" y="737"/>
                  <a:pt x="1360" y="740"/>
                  <a:pt x="1361" y="739"/>
                </a:cubicBezTo>
                <a:cubicBezTo>
                  <a:pt x="1360" y="740"/>
                  <a:pt x="1360" y="741"/>
                  <a:pt x="1360" y="742"/>
                </a:cubicBezTo>
                <a:cubicBezTo>
                  <a:pt x="1360" y="742"/>
                  <a:pt x="1361" y="742"/>
                  <a:pt x="1361" y="743"/>
                </a:cubicBezTo>
                <a:cubicBezTo>
                  <a:pt x="1363" y="745"/>
                  <a:pt x="1361" y="747"/>
                  <a:pt x="1362" y="748"/>
                </a:cubicBezTo>
                <a:cubicBezTo>
                  <a:pt x="1362" y="749"/>
                  <a:pt x="1362" y="749"/>
                  <a:pt x="1362" y="750"/>
                </a:cubicBezTo>
                <a:cubicBezTo>
                  <a:pt x="1362" y="750"/>
                  <a:pt x="1362" y="750"/>
                  <a:pt x="1362" y="751"/>
                </a:cubicBezTo>
                <a:cubicBezTo>
                  <a:pt x="1362" y="751"/>
                  <a:pt x="1362" y="751"/>
                  <a:pt x="1362" y="751"/>
                </a:cubicBezTo>
                <a:cubicBezTo>
                  <a:pt x="1362" y="751"/>
                  <a:pt x="1362" y="752"/>
                  <a:pt x="1363" y="752"/>
                </a:cubicBezTo>
                <a:cubicBezTo>
                  <a:pt x="1364" y="753"/>
                  <a:pt x="1363" y="755"/>
                  <a:pt x="1364" y="755"/>
                </a:cubicBezTo>
                <a:cubicBezTo>
                  <a:pt x="1363" y="756"/>
                  <a:pt x="1364" y="757"/>
                  <a:pt x="1364" y="758"/>
                </a:cubicBezTo>
                <a:cubicBezTo>
                  <a:pt x="1364" y="758"/>
                  <a:pt x="1365" y="759"/>
                  <a:pt x="1365" y="760"/>
                </a:cubicBezTo>
                <a:cubicBezTo>
                  <a:pt x="1365" y="760"/>
                  <a:pt x="1364" y="761"/>
                  <a:pt x="1364" y="762"/>
                </a:cubicBezTo>
                <a:cubicBezTo>
                  <a:pt x="1365" y="763"/>
                  <a:pt x="1365" y="764"/>
                  <a:pt x="1364" y="764"/>
                </a:cubicBezTo>
                <a:cubicBezTo>
                  <a:pt x="1364" y="765"/>
                  <a:pt x="1364" y="766"/>
                  <a:pt x="1364" y="766"/>
                </a:cubicBezTo>
                <a:cubicBezTo>
                  <a:pt x="1364" y="767"/>
                  <a:pt x="1364" y="766"/>
                  <a:pt x="1364" y="767"/>
                </a:cubicBezTo>
                <a:cubicBezTo>
                  <a:pt x="1364" y="768"/>
                  <a:pt x="1364" y="770"/>
                  <a:pt x="1363" y="771"/>
                </a:cubicBezTo>
                <a:cubicBezTo>
                  <a:pt x="1363" y="770"/>
                  <a:pt x="1362" y="770"/>
                  <a:pt x="1361" y="769"/>
                </a:cubicBezTo>
                <a:cubicBezTo>
                  <a:pt x="1361" y="770"/>
                  <a:pt x="1361" y="770"/>
                  <a:pt x="1361" y="770"/>
                </a:cubicBezTo>
                <a:cubicBezTo>
                  <a:pt x="1361" y="771"/>
                  <a:pt x="1361" y="772"/>
                  <a:pt x="1362" y="773"/>
                </a:cubicBezTo>
                <a:cubicBezTo>
                  <a:pt x="1362" y="774"/>
                  <a:pt x="1363" y="774"/>
                  <a:pt x="1364" y="774"/>
                </a:cubicBezTo>
                <a:cubicBezTo>
                  <a:pt x="1364" y="774"/>
                  <a:pt x="1364" y="774"/>
                  <a:pt x="1365" y="774"/>
                </a:cubicBezTo>
                <a:cubicBezTo>
                  <a:pt x="1365" y="775"/>
                  <a:pt x="1365" y="774"/>
                  <a:pt x="1365" y="775"/>
                </a:cubicBezTo>
                <a:cubicBezTo>
                  <a:pt x="1365" y="775"/>
                  <a:pt x="1366" y="776"/>
                  <a:pt x="1366" y="776"/>
                </a:cubicBezTo>
                <a:cubicBezTo>
                  <a:pt x="1367" y="777"/>
                  <a:pt x="1367" y="777"/>
                  <a:pt x="1368" y="777"/>
                </a:cubicBezTo>
                <a:cubicBezTo>
                  <a:pt x="1369" y="777"/>
                  <a:pt x="1369" y="778"/>
                  <a:pt x="1370" y="778"/>
                </a:cubicBezTo>
                <a:cubicBezTo>
                  <a:pt x="1370" y="777"/>
                  <a:pt x="1371" y="777"/>
                  <a:pt x="1372" y="777"/>
                </a:cubicBezTo>
                <a:cubicBezTo>
                  <a:pt x="1372" y="777"/>
                  <a:pt x="1372" y="777"/>
                  <a:pt x="1373" y="778"/>
                </a:cubicBezTo>
                <a:cubicBezTo>
                  <a:pt x="1373" y="778"/>
                  <a:pt x="1373" y="778"/>
                  <a:pt x="1374" y="778"/>
                </a:cubicBezTo>
                <a:cubicBezTo>
                  <a:pt x="1374" y="778"/>
                  <a:pt x="1374" y="779"/>
                  <a:pt x="1375" y="777"/>
                </a:cubicBezTo>
                <a:cubicBezTo>
                  <a:pt x="1375" y="777"/>
                  <a:pt x="1376" y="777"/>
                  <a:pt x="1376" y="777"/>
                </a:cubicBezTo>
                <a:cubicBezTo>
                  <a:pt x="1376" y="776"/>
                  <a:pt x="1377" y="776"/>
                  <a:pt x="1378" y="775"/>
                </a:cubicBezTo>
                <a:cubicBezTo>
                  <a:pt x="1378" y="774"/>
                  <a:pt x="1379" y="774"/>
                  <a:pt x="1379" y="774"/>
                </a:cubicBezTo>
                <a:cubicBezTo>
                  <a:pt x="1380" y="774"/>
                  <a:pt x="1380" y="774"/>
                  <a:pt x="1380" y="775"/>
                </a:cubicBezTo>
                <a:cubicBezTo>
                  <a:pt x="1381" y="775"/>
                  <a:pt x="1381" y="776"/>
                  <a:pt x="1382" y="774"/>
                </a:cubicBezTo>
                <a:cubicBezTo>
                  <a:pt x="1382" y="774"/>
                  <a:pt x="1382" y="773"/>
                  <a:pt x="1382" y="772"/>
                </a:cubicBezTo>
                <a:cubicBezTo>
                  <a:pt x="1383" y="772"/>
                  <a:pt x="1384" y="773"/>
                  <a:pt x="1385" y="772"/>
                </a:cubicBezTo>
                <a:cubicBezTo>
                  <a:pt x="1385" y="772"/>
                  <a:pt x="1384" y="772"/>
                  <a:pt x="1385" y="772"/>
                </a:cubicBezTo>
                <a:cubicBezTo>
                  <a:pt x="1385" y="772"/>
                  <a:pt x="1385" y="772"/>
                  <a:pt x="1385" y="772"/>
                </a:cubicBezTo>
                <a:cubicBezTo>
                  <a:pt x="1386" y="772"/>
                  <a:pt x="1387" y="772"/>
                  <a:pt x="1387" y="772"/>
                </a:cubicBezTo>
                <a:cubicBezTo>
                  <a:pt x="1387" y="771"/>
                  <a:pt x="1388" y="771"/>
                  <a:pt x="1388" y="771"/>
                </a:cubicBezTo>
                <a:cubicBezTo>
                  <a:pt x="1389" y="771"/>
                  <a:pt x="1389" y="771"/>
                  <a:pt x="1391" y="771"/>
                </a:cubicBezTo>
                <a:cubicBezTo>
                  <a:pt x="1391" y="771"/>
                  <a:pt x="1393" y="771"/>
                  <a:pt x="1392" y="772"/>
                </a:cubicBezTo>
                <a:cubicBezTo>
                  <a:pt x="1393" y="771"/>
                  <a:pt x="1393" y="771"/>
                  <a:pt x="1394" y="771"/>
                </a:cubicBezTo>
                <a:cubicBezTo>
                  <a:pt x="1394" y="771"/>
                  <a:pt x="1395" y="772"/>
                  <a:pt x="1395" y="772"/>
                </a:cubicBezTo>
                <a:cubicBezTo>
                  <a:pt x="1395" y="772"/>
                  <a:pt x="1395" y="771"/>
                  <a:pt x="1395" y="771"/>
                </a:cubicBezTo>
                <a:cubicBezTo>
                  <a:pt x="1396" y="771"/>
                  <a:pt x="1397" y="771"/>
                  <a:pt x="1398" y="771"/>
                </a:cubicBezTo>
                <a:cubicBezTo>
                  <a:pt x="1398" y="770"/>
                  <a:pt x="1399" y="771"/>
                  <a:pt x="1399" y="772"/>
                </a:cubicBezTo>
                <a:cubicBezTo>
                  <a:pt x="1401" y="771"/>
                  <a:pt x="1400" y="771"/>
                  <a:pt x="1402" y="771"/>
                </a:cubicBezTo>
                <a:cubicBezTo>
                  <a:pt x="1402" y="771"/>
                  <a:pt x="1403" y="770"/>
                  <a:pt x="1403" y="770"/>
                </a:cubicBezTo>
                <a:cubicBezTo>
                  <a:pt x="1403" y="769"/>
                  <a:pt x="1403" y="769"/>
                  <a:pt x="1404" y="768"/>
                </a:cubicBezTo>
                <a:cubicBezTo>
                  <a:pt x="1404" y="768"/>
                  <a:pt x="1404" y="767"/>
                  <a:pt x="1405" y="767"/>
                </a:cubicBezTo>
                <a:cubicBezTo>
                  <a:pt x="1406" y="766"/>
                  <a:pt x="1406" y="766"/>
                  <a:pt x="1407" y="766"/>
                </a:cubicBezTo>
                <a:cubicBezTo>
                  <a:pt x="1408" y="766"/>
                  <a:pt x="1408" y="766"/>
                  <a:pt x="1408" y="765"/>
                </a:cubicBezTo>
                <a:cubicBezTo>
                  <a:pt x="1409" y="765"/>
                  <a:pt x="1409" y="765"/>
                  <a:pt x="1409" y="764"/>
                </a:cubicBezTo>
                <a:cubicBezTo>
                  <a:pt x="1409" y="764"/>
                  <a:pt x="1409" y="764"/>
                  <a:pt x="1410" y="764"/>
                </a:cubicBezTo>
                <a:cubicBezTo>
                  <a:pt x="1410" y="764"/>
                  <a:pt x="1410" y="764"/>
                  <a:pt x="1411" y="764"/>
                </a:cubicBezTo>
                <a:cubicBezTo>
                  <a:pt x="1411" y="764"/>
                  <a:pt x="1411" y="763"/>
                  <a:pt x="1411" y="763"/>
                </a:cubicBezTo>
                <a:cubicBezTo>
                  <a:pt x="1412" y="763"/>
                  <a:pt x="1412" y="763"/>
                  <a:pt x="1412" y="762"/>
                </a:cubicBezTo>
                <a:cubicBezTo>
                  <a:pt x="1413" y="762"/>
                  <a:pt x="1415" y="762"/>
                  <a:pt x="1416" y="762"/>
                </a:cubicBezTo>
                <a:cubicBezTo>
                  <a:pt x="1416" y="761"/>
                  <a:pt x="1420" y="762"/>
                  <a:pt x="1420" y="761"/>
                </a:cubicBezTo>
                <a:cubicBezTo>
                  <a:pt x="1420" y="761"/>
                  <a:pt x="1421" y="761"/>
                  <a:pt x="1421" y="761"/>
                </a:cubicBezTo>
                <a:cubicBezTo>
                  <a:pt x="1421" y="760"/>
                  <a:pt x="1423" y="761"/>
                  <a:pt x="1423" y="761"/>
                </a:cubicBezTo>
                <a:cubicBezTo>
                  <a:pt x="1423" y="759"/>
                  <a:pt x="1426" y="760"/>
                  <a:pt x="1425" y="759"/>
                </a:cubicBezTo>
                <a:cubicBezTo>
                  <a:pt x="1426" y="760"/>
                  <a:pt x="1427" y="760"/>
                  <a:pt x="1427" y="760"/>
                </a:cubicBezTo>
                <a:cubicBezTo>
                  <a:pt x="1427" y="759"/>
                  <a:pt x="1427" y="759"/>
                  <a:pt x="1427" y="759"/>
                </a:cubicBezTo>
                <a:cubicBezTo>
                  <a:pt x="1428" y="759"/>
                  <a:pt x="1428" y="759"/>
                  <a:pt x="1428" y="759"/>
                </a:cubicBezTo>
                <a:cubicBezTo>
                  <a:pt x="1429" y="759"/>
                  <a:pt x="1430" y="759"/>
                  <a:pt x="1431" y="759"/>
                </a:cubicBezTo>
                <a:cubicBezTo>
                  <a:pt x="1432" y="759"/>
                  <a:pt x="1431" y="758"/>
                  <a:pt x="1432" y="758"/>
                </a:cubicBezTo>
                <a:cubicBezTo>
                  <a:pt x="1432" y="758"/>
                  <a:pt x="1432" y="758"/>
                  <a:pt x="1432" y="758"/>
                </a:cubicBezTo>
                <a:cubicBezTo>
                  <a:pt x="1433" y="758"/>
                  <a:pt x="1433" y="758"/>
                  <a:pt x="1433" y="758"/>
                </a:cubicBezTo>
                <a:cubicBezTo>
                  <a:pt x="1434" y="758"/>
                  <a:pt x="1435" y="759"/>
                  <a:pt x="1436" y="758"/>
                </a:cubicBezTo>
                <a:cubicBezTo>
                  <a:pt x="1436" y="758"/>
                  <a:pt x="1436" y="757"/>
                  <a:pt x="1437" y="757"/>
                </a:cubicBezTo>
                <a:cubicBezTo>
                  <a:pt x="1437" y="757"/>
                  <a:pt x="1438" y="758"/>
                  <a:pt x="1439" y="758"/>
                </a:cubicBezTo>
                <a:cubicBezTo>
                  <a:pt x="1440" y="758"/>
                  <a:pt x="1440" y="759"/>
                  <a:pt x="1441" y="759"/>
                </a:cubicBezTo>
                <a:cubicBezTo>
                  <a:pt x="1441" y="759"/>
                  <a:pt x="1441" y="760"/>
                  <a:pt x="1441" y="760"/>
                </a:cubicBezTo>
                <a:cubicBezTo>
                  <a:pt x="1442" y="761"/>
                  <a:pt x="1443" y="761"/>
                  <a:pt x="1443" y="760"/>
                </a:cubicBezTo>
                <a:cubicBezTo>
                  <a:pt x="1443" y="760"/>
                  <a:pt x="1445" y="760"/>
                  <a:pt x="1445" y="760"/>
                </a:cubicBezTo>
                <a:cubicBezTo>
                  <a:pt x="1445" y="760"/>
                  <a:pt x="1446" y="760"/>
                  <a:pt x="1446" y="760"/>
                </a:cubicBezTo>
                <a:cubicBezTo>
                  <a:pt x="1447" y="762"/>
                  <a:pt x="1447" y="761"/>
                  <a:pt x="1448" y="760"/>
                </a:cubicBezTo>
                <a:cubicBezTo>
                  <a:pt x="1448" y="761"/>
                  <a:pt x="1449" y="761"/>
                  <a:pt x="1449" y="761"/>
                </a:cubicBezTo>
                <a:cubicBezTo>
                  <a:pt x="1450" y="762"/>
                  <a:pt x="1450" y="762"/>
                  <a:pt x="1449" y="764"/>
                </a:cubicBezTo>
                <a:cubicBezTo>
                  <a:pt x="1451" y="764"/>
                  <a:pt x="1451" y="764"/>
                  <a:pt x="1452" y="764"/>
                </a:cubicBezTo>
                <a:cubicBezTo>
                  <a:pt x="1452" y="764"/>
                  <a:pt x="1452" y="765"/>
                  <a:pt x="1451" y="765"/>
                </a:cubicBezTo>
                <a:cubicBezTo>
                  <a:pt x="1451" y="765"/>
                  <a:pt x="1451" y="765"/>
                  <a:pt x="1451" y="765"/>
                </a:cubicBezTo>
                <a:cubicBezTo>
                  <a:pt x="1449" y="766"/>
                  <a:pt x="1454" y="767"/>
                  <a:pt x="1454" y="767"/>
                </a:cubicBezTo>
                <a:cubicBezTo>
                  <a:pt x="1455" y="768"/>
                  <a:pt x="1454" y="770"/>
                  <a:pt x="1454" y="771"/>
                </a:cubicBezTo>
                <a:cubicBezTo>
                  <a:pt x="1455" y="771"/>
                  <a:pt x="1455" y="772"/>
                  <a:pt x="1455" y="772"/>
                </a:cubicBezTo>
                <a:cubicBezTo>
                  <a:pt x="1456" y="773"/>
                  <a:pt x="1457" y="772"/>
                  <a:pt x="1456" y="774"/>
                </a:cubicBezTo>
                <a:cubicBezTo>
                  <a:pt x="1457" y="774"/>
                  <a:pt x="1456" y="775"/>
                  <a:pt x="1457" y="775"/>
                </a:cubicBezTo>
                <a:cubicBezTo>
                  <a:pt x="1457" y="775"/>
                  <a:pt x="1457" y="775"/>
                  <a:pt x="1458" y="775"/>
                </a:cubicBezTo>
                <a:cubicBezTo>
                  <a:pt x="1458" y="775"/>
                  <a:pt x="1459" y="775"/>
                  <a:pt x="1459" y="775"/>
                </a:cubicBezTo>
                <a:cubicBezTo>
                  <a:pt x="1460" y="775"/>
                  <a:pt x="1460" y="774"/>
                  <a:pt x="1460" y="774"/>
                </a:cubicBezTo>
                <a:cubicBezTo>
                  <a:pt x="1460" y="773"/>
                  <a:pt x="1460" y="773"/>
                  <a:pt x="1461" y="772"/>
                </a:cubicBezTo>
                <a:cubicBezTo>
                  <a:pt x="1461" y="772"/>
                  <a:pt x="1461" y="772"/>
                  <a:pt x="1461" y="772"/>
                </a:cubicBezTo>
                <a:cubicBezTo>
                  <a:pt x="1462" y="772"/>
                  <a:pt x="1462" y="772"/>
                  <a:pt x="1462" y="771"/>
                </a:cubicBezTo>
                <a:cubicBezTo>
                  <a:pt x="1462" y="771"/>
                  <a:pt x="1463" y="770"/>
                  <a:pt x="1463" y="770"/>
                </a:cubicBezTo>
                <a:cubicBezTo>
                  <a:pt x="1464" y="770"/>
                  <a:pt x="1464" y="769"/>
                  <a:pt x="1465" y="769"/>
                </a:cubicBezTo>
                <a:cubicBezTo>
                  <a:pt x="1465" y="769"/>
                  <a:pt x="1466" y="769"/>
                  <a:pt x="1466" y="769"/>
                </a:cubicBezTo>
                <a:cubicBezTo>
                  <a:pt x="1466" y="768"/>
                  <a:pt x="1467" y="766"/>
                  <a:pt x="1468" y="766"/>
                </a:cubicBezTo>
                <a:cubicBezTo>
                  <a:pt x="1468" y="767"/>
                  <a:pt x="1468" y="770"/>
                  <a:pt x="1468" y="770"/>
                </a:cubicBezTo>
                <a:cubicBezTo>
                  <a:pt x="1467" y="770"/>
                  <a:pt x="1467" y="772"/>
                  <a:pt x="1467" y="773"/>
                </a:cubicBezTo>
                <a:cubicBezTo>
                  <a:pt x="1467" y="774"/>
                  <a:pt x="1466" y="773"/>
                  <a:pt x="1466" y="774"/>
                </a:cubicBezTo>
                <a:cubicBezTo>
                  <a:pt x="1466" y="775"/>
                  <a:pt x="1466" y="776"/>
                  <a:pt x="1466" y="776"/>
                </a:cubicBezTo>
                <a:cubicBezTo>
                  <a:pt x="1466" y="778"/>
                  <a:pt x="1465" y="778"/>
                  <a:pt x="1463" y="778"/>
                </a:cubicBezTo>
                <a:cubicBezTo>
                  <a:pt x="1463" y="779"/>
                  <a:pt x="1464" y="780"/>
                  <a:pt x="1464" y="780"/>
                </a:cubicBezTo>
                <a:cubicBezTo>
                  <a:pt x="1464" y="779"/>
                  <a:pt x="1466" y="780"/>
                  <a:pt x="1465" y="779"/>
                </a:cubicBezTo>
                <a:cubicBezTo>
                  <a:pt x="1466" y="779"/>
                  <a:pt x="1466" y="779"/>
                  <a:pt x="1467" y="779"/>
                </a:cubicBezTo>
                <a:cubicBezTo>
                  <a:pt x="1467" y="778"/>
                  <a:pt x="1467" y="778"/>
                  <a:pt x="1468" y="778"/>
                </a:cubicBezTo>
                <a:cubicBezTo>
                  <a:pt x="1468" y="778"/>
                  <a:pt x="1468" y="777"/>
                  <a:pt x="1467" y="776"/>
                </a:cubicBezTo>
                <a:cubicBezTo>
                  <a:pt x="1468" y="777"/>
                  <a:pt x="1468" y="775"/>
                  <a:pt x="1468" y="775"/>
                </a:cubicBezTo>
                <a:cubicBezTo>
                  <a:pt x="1468" y="774"/>
                  <a:pt x="1469" y="774"/>
                  <a:pt x="1470" y="774"/>
                </a:cubicBezTo>
                <a:cubicBezTo>
                  <a:pt x="1470" y="774"/>
                  <a:pt x="1470" y="776"/>
                  <a:pt x="1471" y="776"/>
                </a:cubicBezTo>
                <a:cubicBezTo>
                  <a:pt x="1471" y="776"/>
                  <a:pt x="1471" y="777"/>
                  <a:pt x="1471" y="777"/>
                </a:cubicBezTo>
                <a:cubicBezTo>
                  <a:pt x="1471" y="777"/>
                  <a:pt x="1471" y="779"/>
                  <a:pt x="1471" y="779"/>
                </a:cubicBezTo>
                <a:cubicBezTo>
                  <a:pt x="1471" y="780"/>
                  <a:pt x="1471" y="782"/>
                  <a:pt x="1471" y="783"/>
                </a:cubicBezTo>
                <a:cubicBezTo>
                  <a:pt x="1473" y="783"/>
                  <a:pt x="1474" y="782"/>
                  <a:pt x="1475" y="782"/>
                </a:cubicBezTo>
                <a:cubicBezTo>
                  <a:pt x="1475" y="782"/>
                  <a:pt x="1475" y="783"/>
                  <a:pt x="1475" y="783"/>
                </a:cubicBezTo>
                <a:cubicBezTo>
                  <a:pt x="1475" y="784"/>
                  <a:pt x="1476" y="784"/>
                  <a:pt x="1476" y="784"/>
                </a:cubicBezTo>
                <a:cubicBezTo>
                  <a:pt x="1476" y="785"/>
                  <a:pt x="1476" y="784"/>
                  <a:pt x="1476" y="785"/>
                </a:cubicBezTo>
                <a:cubicBezTo>
                  <a:pt x="1476" y="785"/>
                  <a:pt x="1476" y="785"/>
                  <a:pt x="1476" y="785"/>
                </a:cubicBezTo>
                <a:cubicBezTo>
                  <a:pt x="1476" y="786"/>
                  <a:pt x="1477" y="785"/>
                  <a:pt x="1477" y="786"/>
                </a:cubicBezTo>
                <a:cubicBezTo>
                  <a:pt x="1477" y="786"/>
                  <a:pt x="1477" y="786"/>
                  <a:pt x="1477" y="786"/>
                </a:cubicBezTo>
                <a:cubicBezTo>
                  <a:pt x="1477" y="787"/>
                  <a:pt x="1477" y="787"/>
                  <a:pt x="1477" y="787"/>
                </a:cubicBezTo>
                <a:cubicBezTo>
                  <a:pt x="1478" y="787"/>
                  <a:pt x="1478" y="788"/>
                  <a:pt x="1478" y="788"/>
                </a:cubicBezTo>
                <a:cubicBezTo>
                  <a:pt x="1478" y="788"/>
                  <a:pt x="1477" y="788"/>
                  <a:pt x="1477" y="788"/>
                </a:cubicBezTo>
                <a:cubicBezTo>
                  <a:pt x="1477" y="789"/>
                  <a:pt x="1477" y="789"/>
                  <a:pt x="1477" y="789"/>
                </a:cubicBezTo>
                <a:cubicBezTo>
                  <a:pt x="1477" y="791"/>
                  <a:pt x="1477" y="792"/>
                  <a:pt x="1477" y="793"/>
                </a:cubicBezTo>
                <a:cubicBezTo>
                  <a:pt x="1478" y="794"/>
                  <a:pt x="1478" y="794"/>
                  <a:pt x="1479" y="795"/>
                </a:cubicBezTo>
                <a:cubicBezTo>
                  <a:pt x="1479" y="795"/>
                  <a:pt x="1481" y="796"/>
                  <a:pt x="1481" y="797"/>
                </a:cubicBezTo>
                <a:cubicBezTo>
                  <a:pt x="1481" y="798"/>
                  <a:pt x="1481" y="798"/>
                  <a:pt x="1482" y="798"/>
                </a:cubicBezTo>
                <a:cubicBezTo>
                  <a:pt x="1483" y="798"/>
                  <a:pt x="1483" y="798"/>
                  <a:pt x="1484" y="799"/>
                </a:cubicBezTo>
                <a:cubicBezTo>
                  <a:pt x="1485" y="799"/>
                  <a:pt x="1486" y="800"/>
                  <a:pt x="1486" y="800"/>
                </a:cubicBezTo>
                <a:cubicBezTo>
                  <a:pt x="1487" y="799"/>
                  <a:pt x="1486" y="799"/>
                  <a:pt x="1488" y="799"/>
                </a:cubicBezTo>
                <a:cubicBezTo>
                  <a:pt x="1488" y="799"/>
                  <a:pt x="1489" y="799"/>
                  <a:pt x="1489" y="800"/>
                </a:cubicBezTo>
                <a:cubicBezTo>
                  <a:pt x="1489" y="801"/>
                  <a:pt x="1490" y="800"/>
                  <a:pt x="1490" y="800"/>
                </a:cubicBezTo>
                <a:cubicBezTo>
                  <a:pt x="1490" y="801"/>
                  <a:pt x="1491" y="802"/>
                  <a:pt x="1491" y="803"/>
                </a:cubicBezTo>
                <a:cubicBezTo>
                  <a:pt x="1492" y="802"/>
                  <a:pt x="1492" y="802"/>
                  <a:pt x="1493" y="803"/>
                </a:cubicBezTo>
                <a:cubicBezTo>
                  <a:pt x="1494" y="803"/>
                  <a:pt x="1494" y="804"/>
                  <a:pt x="1495" y="804"/>
                </a:cubicBezTo>
                <a:cubicBezTo>
                  <a:pt x="1495" y="804"/>
                  <a:pt x="1496" y="804"/>
                  <a:pt x="1496" y="803"/>
                </a:cubicBezTo>
                <a:cubicBezTo>
                  <a:pt x="1496" y="803"/>
                  <a:pt x="1496" y="803"/>
                  <a:pt x="1496" y="803"/>
                </a:cubicBezTo>
                <a:cubicBezTo>
                  <a:pt x="1496" y="802"/>
                  <a:pt x="1497" y="802"/>
                  <a:pt x="1497" y="802"/>
                </a:cubicBezTo>
                <a:cubicBezTo>
                  <a:pt x="1497" y="801"/>
                  <a:pt x="1497" y="802"/>
                  <a:pt x="1498" y="802"/>
                </a:cubicBezTo>
                <a:cubicBezTo>
                  <a:pt x="1498" y="801"/>
                  <a:pt x="1498" y="800"/>
                  <a:pt x="1499" y="800"/>
                </a:cubicBezTo>
                <a:cubicBezTo>
                  <a:pt x="1499" y="800"/>
                  <a:pt x="1500" y="799"/>
                  <a:pt x="1500" y="799"/>
                </a:cubicBezTo>
                <a:cubicBezTo>
                  <a:pt x="1500" y="799"/>
                  <a:pt x="1499" y="798"/>
                  <a:pt x="1499" y="798"/>
                </a:cubicBezTo>
                <a:cubicBezTo>
                  <a:pt x="1499" y="798"/>
                  <a:pt x="1501" y="797"/>
                  <a:pt x="1501" y="797"/>
                </a:cubicBezTo>
                <a:cubicBezTo>
                  <a:pt x="1502" y="797"/>
                  <a:pt x="1501" y="796"/>
                  <a:pt x="1502" y="796"/>
                </a:cubicBezTo>
                <a:cubicBezTo>
                  <a:pt x="1503" y="796"/>
                  <a:pt x="1503" y="797"/>
                  <a:pt x="1503" y="797"/>
                </a:cubicBezTo>
                <a:cubicBezTo>
                  <a:pt x="1503" y="798"/>
                  <a:pt x="1503" y="798"/>
                  <a:pt x="1502" y="799"/>
                </a:cubicBezTo>
                <a:cubicBezTo>
                  <a:pt x="1502" y="800"/>
                  <a:pt x="1501" y="799"/>
                  <a:pt x="1501" y="800"/>
                </a:cubicBezTo>
                <a:cubicBezTo>
                  <a:pt x="1502" y="800"/>
                  <a:pt x="1503" y="800"/>
                  <a:pt x="1503" y="800"/>
                </a:cubicBezTo>
                <a:cubicBezTo>
                  <a:pt x="1504" y="799"/>
                  <a:pt x="1504" y="799"/>
                  <a:pt x="1505" y="800"/>
                </a:cubicBezTo>
                <a:cubicBezTo>
                  <a:pt x="1504" y="800"/>
                  <a:pt x="1504" y="800"/>
                  <a:pt x="1503" y="801"/>
                </a:cubicBezTo>
                <a:cubicBezTo>
                  <a:pt x="1504" y="802"/>
                  <a:pt x="1505" y="802"/>
                  <a:pt x="1506" y="802"/>
                </a:cubicBezTo>
                <a:cubicBezTo>
                  <a:pt x="1506" y="803"/>
                  <a:pt x="1507" y="804"/>
                  <a:pt x="1507" y="804"/>
                </a:cubicBezTo>
                <a:cubicBezTo>
                  <a:pt x="1507" y="804"/>
                  <a:pt x="1507" y="804"/>
                  <a:pt x="1508" y="804"/>
                </a:cubicBezTo>
                <a:cubicBezTo>
                  <a:pt x="1508" y="805"/>
                  <a:pt x="1508" y="805"/>
                  <a:pt x="1509" y="806"/>
                </a:cubicBezTo>
                <a:cubicBezTo>
                  <a:pt x="1509" y="805"/>
                  <a:pt x="1509" y="805"/>
                  <a:pt x="1509" y="804"/>
                </a:cubicBezTo>
                <a:cubicBezTo>
                  <a:pt x="1509" y="804"/>
                  <a:pt x="1511" y="803"/>
                  <a:pt x="1512" y="803"/>
                </a:cubicBezTo>
                <a:cubicBezTo>
                  <a:pt x="1512" y="802"/>
                  <a:pt x="1513" y="801"/>
                  <a:pt x="1514" y="800"/>
                </a:cubicBezTo>
                <a:cubicBezTo>
                  <a:pt x="1514" y="800"/>
                  <a:pt x="1514" y="800"/>
                  <a:pt x="1514" y="800"/>
                </a:cubicBezTo>
                <a:cubicBezTo>
                  <a:pt x="1515" y="799"/>
                  <a:pt x="1514" y="799"/>
                  <a:pt x="1514" y="798"/>
                </a:cubicBezTo>
                <a:cubicBezTo>
                  <a:pt x="1515" y="798"/>
                  <a:pt x="1514" y="797"/>
                  <a:pt x="1515" y="797"/>
                </a:cubicBezTo>
                <a:cubicBezTo>
                  <a:pt x="1516" y="796"/>
                  <a:pt x="1515" y="796"/>
                  <a:pt x="1516" y="796"/>
                </a:cubicBezTo>
                <a:cubicBezTo>
                  <a:pt x="1517" y="796"/>
                  <a:pt x="1518" y="796"/>
                  <a:pt x="1519" y="796"/>
                </a:cubicBezTo>
                <a:cubicBezTo>
                  <a:pt x="1519" y="796"/>
                  <a:pt x="1519" y="797"/>
                  <a:pt x="1520" y="797"/>
                </a:cubicBezTo>
                <a:cubicBezTo>
                  <a:pt x="1521" y="796"/>
                  <a:pt x="1521" y="796"/>
                  <a:pt x="1521" y="796"/>
                </a:cubicBezTo>
                <a:cubicBezTo>
                  <a:pt x="1522" y="797"/>
                  <a:pt x="1523" y="797"/>
                  <a:pt x="1523" y="797"/>
                </a:cubicBezTo>
                <a:cubicBezTo>
                  <a:pt x="1524" y="797"/>
                  <a:pt x="1523" y="796"/>
                  <a:pt x="1524" y="796"/>
                </a:cubicBezTo>
                <a:cubicBezTo>
                  <a:pt x="1524" y="796"/>
                  <a:pt x="1524" y="796"/>
                  <a:pt x="1524" y="796"/>
                </a:cubicBezTo>
                <a:cubicBezTo>
                  <a:pt x="1524" y="795"/>
                  <a:pt x="1525" y="795"/>
                  <a:pt x="1525" y="795"/>
                </a:cubicBezTo>
                <a:cubicBezTo>
                  <a:pt x="1525" y="795"/>
                  <a:pt x="1524" y="794"/>
                  <a:pt x="1525" y="794"/>
                </a:cubicBezTo>
                <a:cubicBezTo>
                  <a:pt x="1526" y="793"/>
                  <a:pt x="1526" y="793"/>
                  <a:pt x="1526" y="793"/>
                </a:cubicBezTo>
                <a:cubicBezTo>
                  <a:pt x="1526" y="793"/>
                  <a:pt x="1524" y="792"/>
                  <a:pt x="1524" y="792"/>
                </a:cubicBezTo>
                <a:cubicBezTo>
                  <a:pt x="1524" y="791"/>
                  <a:pt x="1525" y="791"/>
                  <a:pt x="1524" y="791"/>
                </a:cubicBezTo>
                <a:cubicBezTo>
                  <a:pt x="1524" y="790"/>
                  <a:pt x="1525" y="789"/>
                  <a:pt x="1526" y="788"/>
                </a:cubicBezTo>
                <a:cubicBezTo>
                  <a:pt x="1526" y="788"/>
                  <a:pt x="1526" y="785"/>
                  <a:pt x="1527" y="784"/>
                </a:cubicBezTo>
                <a:cubicBezTo>
                  <a:pt x="1526" y="784"/>
                  <a:pt x="1526" y="784"/>
                  <a:pt x="1526" y="784"/>
                </a:cubicBezTo>
                <a:cubicBezTo>
                  <a:pt x="1527" y="784"/>
                  <a:pt x="1527" y="783"/>
                  <a:pt x="1527" y="783"/>
                </a:cubicBezTo>
                <a:cubicBezTo>
                  <a:pt x="1527" y="782"/>
                  <a:pt x="1527" y="782"/>
                  <a:pt x="1528" y="781"/>
                </a:cubicBezTo>
                <a:cubicBezTo>
                  <a:pt x="1528" y="781"/>
                  <a:pt x="1528" y="780"/>
                  <a:pt x="1528" y="779"/>
                </a:cubicBezTo>
                <a:cubicBezTo>
                  <a:pt x="1528" y="779"/>
                  <a:pt x="1529" y="780"/>
                  <a:pt x="1529" y="779"/>
                </a:cubicBezTo>
                <a:cubicBezTo>
                  <a:pt x="1529" y="779"/>
                  <a:pt x="1529" y="779"/>
                  <a:pt x="1529" y="778"/>
                </a:cubicBezTo>
                <a:cubicBezTo>
                  <a:pt x="1529" y="778"/>
                  <a:pt x="1529" y="778"/>
                  <a:pt x="1529" y="778"/>
                </a:cubicBezTo>
                <a:cubicBezTo>
                  <a:pt x="1529" y="777"/>
                  <a:pt x="1530" y="777"/>
                  <a:pt x="1530" y="776"/>
                </a:cubicBezTo>
                <a:cubicBezTo>
                  <a:pt x="1530" y="776"/>
                  <a:pt x="1529" y="775"/>
                  <a:pt x="1530" y="775"/>
                </a:cubicBezTo>
                <a:cubicBezTo>
                  <a:pt x="1530" y="775"/>
                  <a:pt x="1530" y="775"/>
                  <a:pt x="1530" y="775"/>
                </a:cubicBezTo>
                <a:cubicBezTo>
                  <a:pt x="1530" y="774"/>
                  <a:pt x="1530" y="775"/>
                  <a:pt x="1530" y="775"/>
                </a:cubicBezTo>
                <a:cubicBezTo>
                  <a:pt x="1531" y="773"/>
                  <a:pt x="1531" y="772"/>
                  <a:pt x="1531" y="770"/>
                </a:cubicBezTo>
                <a:cubicBezTo>
                  <a:pt x="1530" y="770"/>
                  <a:pt x="1530" y="769"/>
                  <a:pt x="1531" y="769"/>
                </a:cubicBezTo>
                <a:cubicBezTo>
                  <a:pt x="1533" y="769"/>
                  <a:pt x="1532" y="769"/>
                  <a:pt x="1532" y="768"/>
                </a:cubicBezTo>
                <a:cubicBezTo>
                  <a:pt x="1532" y="767"/>
                  <a:pt x="1533" y="767"/>
                  <a:pt x="1533" y="766"/>
                </a:cubicBezTo>
                <a:cubicBezTo>
                  <a:pt x="1533" y="766"/>
                  <a:pt x="1534" y="767"/>
                  <a:pt x="1534" y="766"/>
                </a:cubicBezTo>
                <a:cubicBezTo>
                  <a:pt x="1534" y="766"/>
                  <a:pt x="1535" y="766"/>
                  <a:pt x="1535" y="765"/>
                </a:cubicBezTo>
                <a:cubicBezTo>
                  <a:pt x="1535" y="765"/>
                  <a:pt x="1536" y="765"/>
                  <a:pt x="1537" y="764"/>
                </a:cubicBezTo>
                <a:cubicBezTo>
                  <a:pt x="1538" y="764"/>
                  <a:pt x="1537" y="764"/>
                  <a:pt x="1538" y="763"/>
                </a:cubicBezTo>
                <a:cubicBezTo>
                  <a:pt x="1537" y="763"/>
                  <a:pt x="1538" y="760"/>
                  <a:pt x="1539" y="760"/>
                </a:cubicBezTo>
                <a:cubicBezTo>
                  <a:pt x="1539" y="760"/>
                  <a:pt x="1540" y="757"/>
                  <a:pt x="1540" y="756"/>
                </a:cubicBezTo>
                <a:cubicBezTo>
                  <a:pt x="1540" y="756"/>
                  <a:pt x="1540" y="756"/>
                  <a:pt x="1540" y="756"/>
                </a:cubicBezTo>
                <a:cubicBezTo>
                  <a:pt x="1540" y="756"/>
                  <a:pt x="1540" y="756"/>
                  <a:pt x="1540" y="755"/>
                </a:cubicBezTo>
                <a:cubicBezTo>
                  <a:pt x="1540" y="755"/>
                  <a:pt x="1540" y="754"/>
                  <a:pt x="1540" y="754"/>
                </a:cubicBezTo>
                <a:cubicBezTo>
                  <a:pt x="1540" y="754"/>
                  <a:pt x="1541" y="752"/>
                  <a:pt x="1540" y="752"/>
                </a:cubicBezTo>
                <a:cubicBezTo>
                  <a:pt x="1540" y="751"/>
                  <a:pt x="1540" y="749"/>
                  <a:pt x="1541" y="748"/>
                </a:cubicBezTo>
                <a:cubicBezTo>
                  <a:pt x="1541" y="748"/>
                  <a:pt x="1541" y="747"/>
                  <a:pt x="1541" y="747"/>
                </a:cubicBezTo>
                <a:cubicBezTo>
                  <a:pt x="1540" y="747"/>
                  <a:pt x="1539" y="747"/>
                  <a:pt x="1540" y="746"/>
                </a:cubicBezTo>
                <a:cubicBezTo>
                  <a:pt x="1540" y="746"/>
                  <a:pt x="1541" y="745"/>
                  <a:pt x="1541" y="745"/>
                </a:cubicBezTo>
                <a:cubicBezTo>
                  <a:pt x="1542" y="744"/>
                  <a:pt x="1541" y="744"/>
                  <a:pt x="1541" y="743"/>
                </a:cubicBezTo>
                <a:cubicBezTo>
                  <a:pt x="1542" y="742"/>
                  <a:pt x="1542" y="742"/>
                  <a:pt x="1542" y="741"/>
                </a:cubicBezTo>
                <a:cubicBezTo>
                  <a:pt x="1542" y="740"/>
                  <a:pt x="1542" y="740"/>
                  <a:pt x="1542" y="739"/>
                </a:cubicBezTo>
                <a:cubicBezTo>
                  <a:pt x="1542" y="739"/>
                  <a:pt x="1541" y="739"/>
                  <a:pt x="1542" y="738"/>
                </a:cubicBezTo>
                <a:cubicBezTo>
                  <a:pt x="1541" y="738"/>
                  <a:pt x="1542" y="738"/>
                  <a:pt x="1542" y="738"/>
                </a:cubicBezTo>
                <a:close/>
                <a:moveTo>
                  <a:pt x="1580" y="637"/>
                </a:moveTo>
                <a:cubicBezTo>
                  <a:pt x="1580" y="638"/>
                  <a:pt x="1580" y="638"/>
                  <a:pt x="1580" y="638"/>
                </a:cubicBezTo>
                <a:cubicBezTo>
                  <a:pt x="1580" y="638"/>
                  <a:pt x="1580" y="639"/>
                  <a:pt x="1581" y="639"/>
                </a:cubicBezTo>
                <a:cubicBezTo>
                  <a:pt x="1582" y="640"/>
                  <a:pt x="1583" y="640"/>
                  <a:pt x="1584" y="641"/>
                </a:cubicBezTo>
                <a:cubicBezTo>
                  <a:pt x="1584" y="639"/>
                  <a:pt x="1582" y="638"/>
                  <a:pt x="1580" y="637"/>
                </a:cubicBezTo>
                <a:close/>
                <a:moveTo>
                  <a:pt x="1531" y="636"/>
                </a:moveTo>
                <a:cubicBezTo>
                  <a:pt x="1532" y="635"/>
                  <a:pt x="1531" y="635"/>
                  <a:pt x="1531" y="635"/>
                </a:cubicBezTo>
                <a:cubicBezTo>
                  <a:pt x="1530" y="635"/>
                  <a:pt x="1531" y="636"/>
                  <a:pt x="1531" y="636"/>
                </a:cubicBezTo>
                <a:cubicBezTo>
                  <a:pt x="1531" y="636"/>
                  <a:pt x="1531" y="636"/>
                  <a:pt x="1531" y="636"/>
                </a:cubicBezTo>
                <a:close/>
                <a:moveTo>
                  <a:pt x="1385" y="637"/>
                </a:moveTo>
                <a:cubicBezTo>
                  <a:pt x="1386" y="637"/>
                  <a:pt x="1386" y="637"/>
                  <a:pt x="1387" y="637"/>
                </a:cubicBezTo>
                <a:cubicBezTo>
                  <a:pt x="1389" y="637"/>
                  <a:pt x="1388" y="637"/>
                  <a:pt x="1389" y="635"/>
                </a:cubicBezTo>
                <a:cubicBezTo>
                  <a:pt x="1388" y="635"/>
                  <a:pt x="1388" y="634"/>
                  <a:pt x="1388" y="634"/>
                </a:cubicBezTo>
                <a:cubicBezTo>
                  <a:pt x="1387" y="634"/>
                  <a:pt x="1387" y="634"/>
                  <a:pt x="1386" y="634"/>
                </a:cubicBezTo>
                <a:cubicBezTo>
                  <a:pt x="1383" y="634"/>
                  <a:pt x="1386" y="634"/>
                  <a:pt x="1385" y="634"/>
                </a:cubicBezTo>
                <a:cubicBezTo>
                  <a:pt x="1385" y="633"/>
                  <a:pt x="1384" y="633"/>
                  <a:pt x="1383" y="633"/>
                </a:cubicBezTo>
                <a:cubicBezTo>
                  <a:pt x="1382" y="633"/>
                  <a:pt x="1382" y="633"/>
                  <a:pt x="1381" y="633"/>
                </a:cubicBezTo>
                <a:cubicBezTo>
                  <a:pt x="1380" y="633"/>
                  <a:pt x="1381" y="634"/>
                  <a:pt x="1380" y="634"/>
                </a:cubicBezTo>
                <a:cubicBezTo>
                  <a:pt x="1382" y="635"/>
                  <a:pt x="1384" y="635"/>
                  <a:pt x="1385" y="637"/>
                </a:cubicBezTo>
                <a:close/>
                <a:moveTo>
                  <a:pt x="1576" y="633"/>
                </a:moveTo>
                <a:cubicBezTo>
                  <a:pt x="1575" y="633"/>
                  <a:pt x="1575" y="633"/>
                  <a:pt x="1575" y="632"/>
                </a:cubicBezTo>
                <a:cubicBezTo>
                  <a:pt x="1575" y="632"/>
                  <a:pt x="1574" y="632"/>
                  <a:pt x="1574" y="632"/>
                </a:cubicBezTo>
                <a:cubicBezTo>
                  <a:pt x="1573" y="632"/>
                  <a:pt x="1572" y="632"/>
                  <a:pt x="1571" y="632"/>
                </a:cubicBezTo>
                <a:cubicBezTo>
                  <a:pt x="1571" y="632"/>
                  <a:pt x="1571" y="632"/>
                  <a:pt x="1571" y="632"/>
                </a:cubicBezTo>
                <a:cubicBezTo>
                  <a:pt x="1571" y="633"/>
                  <a:pt x="1572" y="634"/>
                  <a:pt x="1572" y="634"/>
                </a:cubicBezTo>
                <a:cubicBezTo>
                  <a:pt x="1573" y="635"/>
                  <a:pt x="1574" y="635"/>
                  <a:pt x="1575" y="635"/>
                </a:cubicBezTo>
                <a:cubicBezTo>
                  <a:pt x="1575" y="635"/>
                  <a:pt x="1577" y="635"/>
                  <a:pt x="1577" y="634"/>
                </a:cubicBezTo>
                <a:cubicBezTo>
                  <a:pt x="1577" y="633"/>
                  <a:pt x="1576" y="634"/>
                  <a:pt x="1576" y="633"/>
                </a:cubicBezTo>
                <a:close/>
                <a:moveTo>
                  <a:pt x="1528" y="633"/>
                </a:moveTo>
                <a:cubicBezTo>
                  <a:pt x="1529" y="633"/>
                  <a:pt x="1529" y="633"/>
                  <a:pt x="1530" y="633"/>
                </a:cubicBezTo>
                <a:cubicBezTo>
                  <a:pt x="1530" y="633"/>
                  <a:pt x="1530" y="632"/>
                  <a:pt x="1530" y="632"/>
                </a:cubicBezTo>
                <a:cubicBezTo>
                  <a:pt x="1529" y="632"/>
                  <a:pt x="1529" y="632"/>
                  <a:pt x="1528" y="633"/>
                </a:cubicBezTo>
                <a:cubicBezTo>
                  <a:pt x="1529" y="633"/>
                  <a:pt x="1528" y="633"/>
                  <a:pt x="1528" y="633"/>
                </a:cubicBezTo>
                <a:close/>
                <a:moveTo>
                  <a:pt x="1580" y="632"/>
                </a:moveTo>
                <a:cubicBezTo>
                  <a:pt x="1579" y="632"/>
                  <a:pt x="1579" y="632"/>
                  <a:pt x="1579" y="631"/>
                </a:cubicBezTo>
                <a:cubicBezTo>
                  <a:pt x="1579" y="630"/>
                  <a:pt x="1579" y="631"/>
                  <a:pt x="1579" y="630"/>
                </a:cubicBezTo>
                <a:cubicBezTo>
                  <a:pt x="1579" y="630"/>
                  <a:pt x="1579" y="630"/>
                  <a:pt x="1578" y="630"/>
                </a:cubicBezTo>
                <a:cubicBezTo>
                  <a:pt x="1578" y="630"/>
                  <a:pt x="1578" y="629"/>
                  <a:pt x="1578" y="629"/>
                </a:cubicBezTo>
                <a:cubicBezTo>
                  <a:pt x="1578" y="628"/>
                  <a:pt x="1577" y="627"/>
                  <a:pt x="1576" y="627"/>
                </a:cubicBezTo>
                <a:cubicBezTo>
                  <a:pt x="1576" y="628"/>
                  <a:pt x="1576" y="628"/>
                  <a:pt x="1577" y="629"/>
                </a:cubicBezTo>
                <a:cubicBezTo>
                  <a:pt x="1577" y="629"/>
                  <a:pt x="1577" y="629"/>
                  <a:pt x="1577" y="630"/>
                </a:cubicBezTo>
                <a:cubicBezTo>
                  <a:pt x="1577" y="630"/>
                  <a:pt x="1577" y="630"/>
                  <a:pt x="1577" y="631"/>
                </a:cubicBezTo>
                <a:cubicBezTo>
                  <a:pt x="1577" y="631"/>
                  <a:pt x="1578" y="630"/>
                  <a:pt x="1578" y="631"/>
                </a:cubicBezTo>
                <a:cubicBezTo>
                  <a:pt x="1578" y="631"/>
                  <a:pt x="1580" y="633"/>
                  <a:pt x="1580" y="632"/>
                </a:cubicBezTo>
                <a:close/>
                <a:moveTo>
                  <a:pt x="1397" y="640"/>
                </a:moveTo>
                <a:cubicBezTo>
                  <a:pt x="1398" y="640"/>
                  <a:pt x="1398" y="640"/>
                  <a:pt x="1399" y="640"/>
                </a:cubicBezTo>
                <a:cubicBezTo>
                  <a:pt x="1400" y="639"/>
                  <a:pt x="1400" y="639"/>
                  <a:pt x="1400" y="638"/>
                </a:cubicBezTo>
                <a:cubicBezTo>
                  <a:pt x="1400" y="638"/>
                  <a:pt x="1401" y="638"/>
                  <a:pt x="1401" y="638"/>
                </a:cubicBezTo>
                <a:cubicBezTo>
                  <a:pt x="1402" y="638"/>
                  <a:pt x="1402" y="637"/>
                  <a:pt x="1402" y="637"/>
                </a:cubicBezTo>
                <a:cubicBezTo>
                  <a:pt x="1403" y="636"/>
                  <a:pt x="1403" y="637"/>
                  <a:pt x="1404" y="637"/>
                </a:cubicBezTo>
                <a:cubicBezTo>
                  <a:pt x="1404" y="637"/>
                  <a:pt x="1404" y="636"/>
                  <a:pt x="1405" y="636"/>
                </a:cubicBezTo>
                <a:cubicBezTo>
                  <a:pt x="1405" y="636"/>
                  <a:pt x="1406" y="636"/>
                  <a:pt x="1406" y="636"/>
                </a:cubicBezTo>
                <a:cubicBezTo>
                  <a:pt x="1407" y="636"/>
                  <a:pt x="1407" y="636"/>
                  <a:pt x="1407" y="635"/>
                </a:cubicBezTo>
                <a:cubicBezTo>
                  <a:pt x="1407" y="635"/>
                  <a:pt x="1408" y="635"/>
                  <a:pt x="1408" y="635"/>
                </a:cubicBezTo>
                <a:cubicBezTo>
                  <a:pt x="1409" y="634"/>
                  <a:pt x="1408" y="633"/>
                  <a:pt x="1409" y="633"/>
                </a:cubicBezTo>
                <a:cubicBezTo>
                  <a:pt x="1411" y="633"/>
                  <a:pt x="1410" y="632"/>
                  <a:pt x="1410" y="632"/>
                </a:cubicBezTo>
                <a:cubicBezTo>
                  <a:pt x="1412" y="632"/>
                  <a:pt x="1413" y="631"/>
                  <a:pt x="1413" y="630"/>
                </a:cubicBezTo>
                <a:cubicBezTo>
                  <a:pt x="1413" y="630"/>
                  <a:pt x="1415" y="629"/>
                  <a:pt x="1414" y="629"/>
                </a:cubicBezTo>
                <a:cubicBezTo>
                  <a:pt x="1415" y="629"/>
                  <a:pt x="1415" y="629"/>
                  <a:pt x="1416" y="629"/>
                </a:cubicBezTo>
                <a:cubicBezTo>
                  <a:pt x="1416" y="629"/>
                  <a:pt x="1417" y="628"/>
                  <a:pt x="1417" y="628"/>
                </a:cubicBezTo>
                <a:cubicBezTo>
                  <a:pt x="1418" y="627"/>
                  <a:pt x="1418" y="628"/>
                  <a:pt x="1418" y="627"/>
                </a:cubicBezTo>
                <a:cubicBezTo>
                  <a:pt x="1418" y="627"/>
                  <a:pt x="1415" y="627"/>
                  <a:pt x="1415" y="627"/>
                </a:cubicBezTo>
                <a:cubicBezTo>
                  <a:pt x="1415" y="627"/>
                  <a:pt x="1415" y="627"/>
                  <a:pt x="1415" y="627"/>
                </a:cubicBezTo>
                <a:cubicBezTo>
                  <a:pt x="1414" y="627"/>
                  <a:pt x="1413" y="627"/>
                  <a:pt x="1413" y="627"/>
                </a:cubicBezTo>
                <a:cubicBezTo>
                  <a:pt x="1413" y="627"/>
                  <a:pt x="1412" y="628"/>
                  <a:pt x="1412" y="628"/>
                </a:cubicBezTo>
                <a:cubicBezTo>
                  <a:pt x="1411" y="628"/>
                  <a:pt x="1411" y="628"/>
                  <a:pt x="1410" y="628"/>
                </a:cubicBezTo>
                <a:cubicBezTo>
                  <a:pt x="1410" y="628"/>
                  <a:pt x="1410" y="628"/>
                  <a:pt x="1409" y="628"/>
                </a:cubicBezTo>
                <a:cubicBezTo>
                  <a:pt x="1408" y="628"/>
                  <a:pt x="1408" y="628"/>
                  <a:pt x="1407" y="629"/>
                </a:cubicBezTo>
                <a:cubicBezTo>
                  <a:pt x="1407" y="630"/>
                  <a:pt x="1407" y="631"/>
                  <a:pt x="1406" y="631"/>
                </a:cubicBezTo>
                <a:cubicBezTo>
                  <a:pt x="1405" y="631"/>
                  <a:pt x="1405" y="631"/>
                  <a:pt x="1404" y="632"/>
                </a:cubicBezTo>
                <a:cubicBezTo>
                  <a:pt x="1404" y="633"/>
                  <a:pt x="1403" y="633"/>
                  <a:pt x="1403" y="633"/>
                </a:cubicBezTo>
                <a:cubicBezTo>
                  <a:pt x="1403" y="633"/>
                  <a:pt x="1403" y="634"/>
                  <a:pt x="1402" y="634"/>
                </a:cubicBezTo>
                <a:cubicBezTo>
                  <a:pt x="1402" y="634"/>
                  <a:pt x="1401" y="635"/>
                  <a:pt x="1400" y="634"/>
                </a:cubicBezTo>
                <a:cubicBezTo>
                  <a:pt x="1401" y="635"/>
                  <a:pt x="1402" y="637"/>
                  <a:pt x="1400" y="637"/>
                </a:cubicBezTo>
                <a:cubicBezTo>
                  <a:pt x="1399" y="637"/>
                  <a:pt x="1399" y="637"/>
                  <a:pt x="1399" y="638"/>
                </a:cubicBezTo>
                <a:cubicBezTo>
                  <a:pt x="1398" y="638"/>
                  <a:pt x="1398" y="637"/>
                  <a:pt x="1397" y="637"/>
                </a:cubicBezTo>
                <a:cubicBezTo>
                  <a:pt x="1397" y="637"/>
                  <a:pt x="1396" y="638"/>
                  <a:pt x="1396" y="639"/>
                </a:cubicBezTo>
                <a:cubicBezTo>
                  <a:pt x="1396" y="639"/>
                  <a:pt x="1396" y="639"/>
                  <a:pt x="1396" y="639"/>
                </a:cubicBezTo>
                <a:cubicBezTo>
                  <a:pt x="1396" y="639"/>
                  <a:pt x="1397" y="640"/>
                  <a:pt x="1397" y="640"/>
                </a:cubicBezTo>
                <a:cubicBezTo>
                  <a:pt x="1398" y="640"/>
                  <a:pt x="1397" y="640"/>
                  <a:pt x="1397" y="640"/>
                </a:cubicBezTo>
                <a:close/>
                <a:moveTo>
                  <a:pt x="1404" y="627"/>
                </a:moveTo>
                <a:cubicBezTo>
                  <a:pt x="1404" y="627"/>
                  <a:pt x="1403" y="627"/>
                  <a:pt x="1403" y="628"/>
                </a:cubicBezTo>
                <a:cubicBezTo>
                  <a:pt x="1404" y="627"/>
                  <a:pt x="1404" y="627"/>
                  <a:pt x="1404" y="627"/>
                </a:cubicBezTo>
                <a:cubicBezTo>
                  <a:pt x="1404" y="627"/>
                  <a:pt x="1404" y="627"/>
                  <a:pt x="1404" y="627"/>
                </a:cubicBezTo>
                <a:cubicBezTo>
                  <a:pt x="1404" y="627"/>
                  <a:pt x="1404" y="627"/>
                  <a:pt x="1404" y="627"/>
                </a:cubicBezTo>
                <a:close/>
                <a:moveTo>
                  <a:pt x="1402" y="627"/>
                </a:moveTo>
                <a:cubicBezTo>
                  <a:pt x="1402" y="627"/>
                  <a:pt x="1402" y="627"/>
                  <a:pt x="1402" y="627"/>
                </a:cubicBezTo>
                <a:cubicBezTo>
                  <a:pt x="1402" y="626"/>
                  <a:pt x="1401" y="626"/>
                  <a:pt x="1401" y="627"/>
                </a:cubicBezTo>
                <a:cubicBezTo>
                  <a:pt x="1401" y="627"/>
                  <a:pt x="1401" y="627"/>
                  <a:pt x="1402" y="627"/>
                </a:cubicBezTo>
                <a:close/>
                <a:moveTo>
                  <a:pt x="1406" y="627"/>
                </a:moveTo>
                <a:cubicBezTo>
                  <a:pt x="1406" y="627"/>
                  <a:pt x="1408" y="627"/>
                  <a:pt x="1408" y="626"/>
                </a:cubicBezTo>
                <a:cubicBezTo>
                  <a:pt x="1407" y="626"/>
                  <a:pt x="1406" y="626"/>
                  <a:pt x="1406" y="626"/>
                </a:cubicBezTo>
                <a:cubicBezTo>
                  <a:pt x="1406" y="626"/>
                  <a:pt x="1405" y="627"/>
                  <a:pt x="1406" y="627"/>
                </a:cubicBezTo>
                <a:close/>
                <a:moveTo>
                  <a:pt x="1392" y="629"/>
                </a:moveTo>
                <a:cubicBezTo>
                  <a:pt x="1393" y="628"/>
                  <a:pt x="1393" y="629"/>
                  <a:pt x="1394" y="629"/>
                </a:cubicBezTo>
                <a:cubicBezTo>
                  <a:pt x="1395" y="629"/>
                  <a:pt x="1395" y="628"/>
                  <a:pt x="1396" y="628"/>
                </a:cubicBezTo>
                <a:cubicBezTo>
                  <a:pt x="1397" y="628"/>
                  <a:pt x="1397" y="627"/>
                  <a:pt x="1398" y="628"/>
                </a:cubicBezTo>
                <a:cubicBezTo>
                  <a:pt x="1398" y="628"/>
                  <a:pt x="1398" y="629"/>
                  <a:pt x="1398" y="629"/>
                </a:cubicBezTo>
                <a:cubicBezTo>
                  <a:pt x="1398" y="629"/>
                  <a:pt x="1398" y="628"/>
                  <a:pt x="1398" y="628"/>
                </a:cubicBezTo>
                <a:cubicBezTo>
                  <a:pt x="1398" y="627"/>
                  <a:pt x="1399" y="627"/>
                  <a:pt x="1399" y="627"/>
                </a:cubicBezTo>
                <a:cubicBezTo>
                  <a:pt x="1398" y="626"/>
                  <a:pt x="1398" y="626"/>
                  <a:pt x="1398" y="626"/>
                </a:cubicBezTo>
                <a:cubicBezTo>
                  <a:pt x="1397" y="626"/>
                  <a:pt x="1396" y="627"/>
                  <a:pt x="1395" y="627"/>
                </a:cubicBezTo>
                <a:cubicBezTo>
                  <a:pt x="1395" y="627"/>
                  <a:pt x="1394" y="627"/>
                  <a:pt x="1394" y="626"/>
                </a:cubicBezTo>
                <a:cubicBezTo>
                  <a:pt x="1393" y="626"/>
                  <a:pt x="1392" y="626"/>
                  <a:pt x="1391" y="626"/>
                </a:cubicBezTo>
                <a:cubicBezTo>
                  <a:pt x="1391" y="626"/>
                  <a:pt x="1390" y="626"/>
                  <a:pt x="1390" y="626"/>
                </a:cubicBezTo>
                <a:cubicBezTo>
                  <a:pt x="1389" y="626"/>
                  <a:pt x="1390" y="626"/>
                  <a:pt x="1389" y="626"/>
                </a:cubicBezTo>
                <a:cubicBezTo>
                  <a:pt x="1388" y="626"/>
                  <a:pt x="1386" y="626"/>
                  <a:pt x="1385" y="625"/>
                </a:cubicBezTo>
                <a:cubicBezTo>
                  <a:pt x="1386" y="626"/>
                  <a:pt x="1384" y="626"/>
                  <a:pt x="1383" y="626"/>
                </a:cubicBezTo>
                <a:cubicBezTo>
                  <a:pt x="1383" y="627"/>
                  <a:pt x="1383" y="627"/>
                  <a:pt x="1383" y="627"/>
                </a:cubicBezTo>
                <a:cubicBezTo>
                  <a:pt x="1384" y="628"/>
                  <a:pt x="1384" y="628"/>
                  <a:pt x="1385" y="628"/>
                </a:cubicBezTo>
                <a:cubicBezTo>
                  <a:pt x="1386" y="628"/>
                  <a:pt x="1388" y="628"/>
                  <a:pt x="1388" y="629"/>
                </a:cubicBezTo>
                <a:cubicBezTo>
                  <a:pt x="1389" y="629"/>
                  <a:pt x="1390" y="629"/>
                  <a:pt x="1391" y="629"/>
                </a:cubicBezTo>
                <a:cubicBezTo>
                  <a:pt x="1392" y="629"/>
                  <a:pt x="1391" y="630"/>
                  <a:pt x="1392" y="629"/>
                </a:cubicBezTo>
                <a:cubicBezTo>
                  <a:pt x="1392" y="629"/>
                  <a:pt x="1392" y="629"/>
                  <a:pt x="1392" y="629"/>
                </a:cubicBezTo>
                <a:close/>
                <a:moveTo>
                  <a:pt x="1423" y="626"/>
                </a:moveTo>
                <a:cubicBezTo>
                  <a:pt x="1423" y="625"/>
                  <a:pt x="1423" y="625"/>
                  <a:pt x="1422" y="625"/>
                </a:cubicBezTo>
                <a:cubicBezTo>
                  <a:pt x="1422" y="626"/>
                  <a:pt x="1423" y="626"/>
                  <a:pt x="1423" y="626"/>
                </a:cubicBezTo>
                <a:close/>
                <a:moveTo>
                  <a:pt x="1373" y="630"/>
                </a:moveTo>
                <a:cubicBezTo>
                  <a:pt x="1373" y="629"/>
                  <a:pt x="1375" y="629"/>
                  <a:pt x="1375" y="629"/>
                </a:cubicBezTo>
                <a:cubicBezTo>
                  <a:pt x="1376" y="629"/>
                  <a:pt x="1377" y="629"/>
                  <a:pt x="1377" y="629"/>
                </a:cubicBezTo>
                <a:cubicBezTo>
                  <a:pt x="1377" y="628"/>
                  <a:pt x="1379" y="629"/>
                  <a:pt x="1380" y="629"/>
                </a:cubicBezTo>
                <a:cubicBezTo>
                  <a:pt x="1380" y="629"/>
                  <a:pt x="1380" y="629"/>
                  <a:pt x="1380" y="629"/>
                </a:cubicBezTo>
                <a:cubicBezTo>
                  <a:pt x="1380" y="628"/>
                  <a:pt x="1380" y="628"/>
                  <a:pt x="1380" y="627"/>
                </a:cubicBezTo>
                <a:cubicBezTo>
                  <a:pt x="1379" y="626"/>
                  <a:pt x="1378" y="626"/>
                  <a:pt x="1378" y="626"/>
                </a:cubicBezTo>
                <a:cubicBezTo>
                  <a:pt x="1376" y="626"/>
                  <a:pt x="1376" y="626"/>
                  <a:pt x="1376" y="625"/>
                </a:cubicBezTo>
                <a:cubicBezTo>
                  <a:pt x="1375" y="625"/>
                  <a:pt x="1375" y="625"/>
                  <a:pt x="1374" y="624"/>
                </a:cubicBezTo>
                <a:cubicBezTo>
                  <a:pt x="1374" y="625"/>
                  <a:pt x="1374" y="626"/>
                  <a:pt x="1374" y="626"/>
                </a:cubicBezTo>
                <a:cubicBezTo>
                  <a:pt x="1374" y="626"/>
                  <a:pt x="1375" y="626"/>
                  <a:pt x="1375" y="626"/>
                </a:cubicBezTo>
                <a:cubicBezTo>
                  <a:pt x="1375" y="627"/>
                  <a:pt x="1375" y="627"/>
                  <a:pt x="1375" y="628"/>
                </a:cubicBezTo>
                <a:cubicBezTo>
                  <a:pt x="1374" y="627"/>
                  <a:pt x="1373" y="627"/>
                  <a:pt x="1372" y="627"/>
                </a:cubicBezTo>
                <a:cubicBezTo>
                  <a:pt x="1372" y="627"/>
                  <a:pt x="1371" y="626"/>
                  <a:pt x="1371" y="626"/>
                </a:cubicBezTo>
                <a:cubicBezTo>
                  <a:pt x="1371" y="626"/>
                  <a:pt x="1370" y="627"/>
                  <a:pt x="1370" y="627"/>
                </a:cubicBezTo>
                <a:cubicBezTo>
                  <a:pt x="1370" y="628"/>
                  <a:pt x="1369" y="629"/>
                  <a:pt x="1369" y="630"/>
                </a:cubicBezTo>
                <a:cubicBezTo>
                  <a:pt x="1370" y="629"/>
                  <a:pt x="1371" y="629"/>
                  <a:pt x="1372" y="629"/>
                </a:cubicBezTo>
                <a:cubicBezTo>
                  <a:pt x="1371" y="630"/>
                  <a:pt x="1373" y="630"/>
                  <a:pt x="1373" y="630"/>
                </a:cubicBezTo>
                <a:close/>
                <a:moveTo>
                  <a:pt x="1369" y="627"/>
                </a:moveTo>
                <a:cubicBezTo>
                  <a:pt x="1369" y="626"/>
                  <a:pt x="1369" y="625"/>
                  <a:pt x="1369" y="624"/>
                </a:cubicBezTo>
                <a:cubicBezTo>
                  <a:pt x="1369" y="624"/>
                  <a:pt x="1369" y="624"/>
                  <a:pt x="1368" y="624"/>
                </a:cubicBezTo>
                <a:cubicBezTo>
                  <a:pt x="1367" y="624"/>
                  <a:pt x="1367" y="626"/>
                  <a:pt x="1366" y="627"/>
                </a:cubicBezTo>
                <a:cubicBezTo>
                  <a:pt x="1367" y="627"/>
                  <a:pt x="1367" y="627"/>
                  <a:pt x="1367" y="628"/>
                </a:cubicBezTo>
                <a:cubicBezTo>
                  <a:pt x="1368" y="627"/>
                  <a:pt x="1368" y="627"/>
                  <a:pt x="1369" y="627"/>
                </a:cubicBezTo>
                <a:cubicBezTo>
                  <a:pt x="1369" y="626"/>
                  <a:pt x="1369" y="627"/>
                  <a:pt x="1369" y="627"/>
                </a:cubicBezTo>
                <a:close/>
                <a:moveTo>
                  <a:pt x="1562" y="624"/>
                </a:moveTo>
                <a:cubicBezTo>
                  <a:pt x="1561" y="624"/>
                  <a:pt x="1560" y="625"/>
                  <a:pt x="1560" y="626"/>
                </a:cubicBezTo>
                <a:cubicBezTo>
                  <a:pt x="1560" y="626"/>
                  <a:pt x="1561" y="626"/>
                  <a:pt x="1561" y="626"/>
                </a:cubicBezTo>
                <a:cubicBezTo>
                  <a:pt x="1561" y="627"/>
                  <a:pt x="1562" y="627"/>
                  <a:pt x="1563" y="627"/>
                </a:cubicBezTo>
                <a:cubicBezTo>
                  <a:pt x="1563" y="626"/>
                  <a:pt x="1563" y="626"/>
                  <a:pt x="1562" y="625"/>
                </a:cubicBezTo>
                <a:cubicBezTo>
                  <a:pt x="1562" y="624"/>
                  <a:pt x="1562" y="624"/>
                  <a:pt x="1562" y="624"/>
                </a:cubicBezTo>
                <a:cubicBezTo>
                  <a:pt x="1561" y="624"/>
                  <a:pt x="1562" y="624"/>
                  <a:pt x="1562" y="624"/>
                </a:cubicBezTo>
                <a:close/>
                <a:moveTo>
                  <a:pt x="1412" y="623"/>
                </a:moveTo>
                <a:cubicBezTo>
                  <a:pt x="1412" y="624"/>
                  <a:pt x="1411" y="624"/>
                  <a:pt x="1413" y="624"/>
                </a:cubicBezTo>
                <a:cubicBezTo>
                  <a:pt x="1414" y="624"/>
                  <a:pt x="1415" y="624"/>
                  <a:pt x="1417" y="624"/>
                </a:cubicBezTo>
                <a:cubicBezTo>
                  <a:pt x="1416" y="624"/>
                  <a:pt x="1416" y="623"/>
                  <a:pt x="1416" y="623"/>
                </a:cubicBezTo>
                <a:cubicBezTo>
                  <a:pt x="1415" y="623"/>
                  <a:pt x="1415" y="623"/>
                  <a:pt x="1414" y="623"/>
                </a:cubicBezTo>
                <a:cubicBezTo>
                  <a:pt x="1414" y="623"/>
                  <a:pt x="1414" y="623"/>
                  <a:pt x="1414" y="623"/>
                </a:cubicBezTo>
                <a:cubicBezTo>
                  <a:pt x="1413" y="623"/>
                  <a:pt x="1414" y="623"/>
                  <a:pt x="1414" y="623"/>
                </a:cubicBezTo>
                <a:cubicBezTo>
                  <a:pt x="1413" y="623"/>
                  <a:pt x="1413" y="623"/>
                  <a:pt x="1412" y="623"/>
                </a:cubicBezTo>
                <a:close/>
                <a:moveTo>
                  <a:pt x="1362" y="626"/>
                </a:moveTo>
                <a:cubicBezTo>
                  <a:pt x="1363" y="626"/>
                  <a:pt x="1363" y="625"/>
                  <a:pt x="1364" y="624"/>
                </a:cubicBezTo>
                <a:cubicBezTo>
                  <a:pt x="1364" y="624"/>
                  <a:pt x="1364" y="622"/>
                  <a:pt x="1363" y="622"/>
                </a:cubicBezTo>
                <a:cubicBezTo>
                  <a:pt x="1363" y="623"/>
                  <a:pt x="1362" y="623"/>
                  <a:pt x="1362" y="623"/>
                </a:cubicBezTo>
                <a:cubicBezTo>
                  <a:pt x="1362" y="623"/>
                  <a:pt x="1361" y="622"/>
                  <a:pt x="1361" y="622"/>
                </a:cubicBezTo>
                <a:cubicBezTo>
                  <a:pt x="1361" y="622"/>
                  <a:pt x="1361" y="622"/>
                  <a:pt x="1360" y="622"/>
                </a:cubicBezTo>
                <a:cubicBezTo>
                  <a:pt x="1360" y="622"/>
                  <a:pt x="1360" y="623"/>
                  <a:pt x="1361" y="624"/>
                </a:cubicBezTo>
                <a:cubicBezTo>
                  <a:pt x="1361" y="624"/>
                  <a:pt x="1362" y="624"/>
                  <a:pt x="1362" y="625"/>
                </a:cubicBezTo>
                <a:cubicBezTo>
                  <a:pt x="1361" y="626"/>
                  <a:pt x="1362" y="626"/>
                  <a:pt x="1362" y="626"/>
                </a:cubicBezTo>
                <a:close/>
                <a:moveTo>
                  <a:pt x="1571" y="626"/>
                </a:moveTo>
                <a:cubicBezTo>
                  <a:pt x="1571" y="626"/>
                  <a:pt x="1572" y="626"/>
                  <a:pt x="1572" y="626"/>
                </a:cubicBezTo>
                <a:cubicBezTo>
                  <a:pt x="1572" y="626"/>
                  <a:pt x="1570" y="624"/>
                  <a:pt x="1570" y="624"/>
                </a:cubicBezTo>
                <a:cubicBezTo>
                  <a:pt x="1569" y="623"/>
                  <a:pt x="1569" y="622"/>
                  <a:pt x="1569" y="622"/>
                </a:cubicBezTo>
                <a:cubicBezTo>
                  <a:pt x="1568" y="622"/>
                  <a:pt x="1568" y="623"/>
                  <a:pt x="1567" y="622"/>
                </a:cubicBezTo>
                <a:cubicBezTo>
                  <a:pt x="1566" y="621"/>
                  <a:pt x="1566" y="621"/>
                  <a:pt x="1566" y="623"/>
                </a:cubicBezTo>
                <a:cubicBezTo>
                  <a:pt x="1567" y="622"/>
                  <a:pt x="1567" y="624"/>
                  <a:pt x="1568" y="624"/>
                </a:cubicBezTo>
                <a:cubicBezTo>
                  <a:pt x="1568" y="624"/>
                  <a:pt x="1568" y="624"/>
                  <a:pt x="1569" y="624"/>
                </a:cubicBezTo>
                <a:cubicBezTo>
                  <a:pt x="1569" y="624"/>
                  <a:pt x="1569" y="625"/>
                  <a:pt x="1569" y="625"/>
                </a:cubicBezTo>
                <a:cubicBezTo>
                  <a:pt x="1570" y="626"/>
                  <a:pt x="1571" y="626"/>
                  <a:pt x="1571" y="626"/>
                </a:cubicBezTo>
                <a:cubicBezTo>
                  <a:pt x="1571" y="626"/>
                  <a:pt x="1571" y="626"/>
                  <a:pt x="1571" y="626"/>
                </a:cubicBezTo>
                <a:cubicBezTo>
                  <a:pt x="1571" y="626"/>
                  <a:pt x="1571" y="626"/>
                  <a:pt x="1571" y="626"/>
                </a:cubicBezTo>
                <a:close/>
                <a:moveTo>
                  <a:pt x="1436" y="624"/>
                </a:moveTo>
                <a:cubicBezTo>
                  <a:pt x="1437" y="624"/>
                  <a:pt x="1437" y="623"/>
                  <a:pt x="1437" y="622"/>
                </a:cubicBezTo>
                <a:cubicBezTo>
                  <a:pt x="1437" y="622"/>
                  <a:pt x="1438" y="622"/>
                  <a:pt x="1438" y="622"/>
                </a:cubicBezTo>
                <a:cubicBezTo>
                  <a:pt x="1438" y="621"/>
                  <a:pt x="1438" y="621"/>
                  <a:pt x="1438" y="620"/>
                </a:cubicBezTo>
                <a:cubicBezTo>
                  <a:pt x="1437" y="620"/>
                  <a:pt x="1437" y="621"/>
                  <a:pt x="1437" y="622"/>
                </a:cubicBezTo>
                <a:cubicBezTo>
                  <a:pt x="1436" y="622"/>
                  <a:pt x="1436" y="622"/>
                  <a:pt x="1436" y="622"/>
                </a:cubicBezTo>
                <a:cubicBezTo>
                  <a:pt x="1436" y="622"/>
                  <a:pt x="1436" y="622"/>
                  <a:pt x="1436" y="622"/>
                </a:cubicBezTo>
                <a:cubicBezTo>
                  <a:pt x="1436" y="623"/>
                  <a:pt x="1435" y="624"/>
                  <a:pt x="1436" y="624"/>
                </a:cubicBezTo>
                <a:cubicBezTo>
                  <a:pt x="1436" y="624"/>
                  <a:pt x="1436" y="624"/>
                  <a:pt x="1436" y="624"/>
                </a:cubicBezTo>
                <a:cubicBezTo>
                  <a:pt x="1437" y="624"/>
                  <a:pt x="1436" y="624"/>
                  <a:pt x="1436" y="624"/>
                </a:cubicBezTo>
                <a:close/>
                <a:moveTo>
                  <a:pt x="1472" y="618"/>
                </a:moveTo>
                <a:cubicBezTo>
                  <a:pt x="1471" y="618"/>
                  <a:pt x="1471" y="618"/>
                  <a:pt x="1471" y="619"/>
                </a:cubicBezTo>
                <a:cubicBezTo>
                  <a:pt x="1471" y="620"/>
                  <a:pt x="1472" y="620"/>
                  <a:pt x="1472" y="620"/>
                </a:cubicBezTo>
                <a:cubicBezTo>
                  <a:pt x="1472" y="619"/>
                  <a:pt x="1472" y="618"/>
                  <a:pt x="1472" y="618"/>
                </a:cubicBezTo>
                <a:cubicBezTo>
                  <a:pt x="1471" y="618"/>
                  <a:pt x="1472" y="618"/>
                  <a:pt x="1472" y="618"/>
                </a:cubicBezTo>
                <a:close/>
                <a:moveTo>
                  <a:pt x="1559" y="619"/>
                </a:moveTo>
                <a:cubicBezTo>
                  <a:pt x="1558" y="618"/>
                  <a:pt x="1558" y="617"/>
                  <a:pt x="1557" y="617"/>
                </a:cubicBezTo>
                <a:cubicBezTo>
                  <a:pt x="1557" y="618"/>
                  <a:pt x="1557" y="620"/>
                  <a:pt x="1559" y="620"/>
                </a:cubicBezTo>
                <a:cubicBezTo>
                  <a:pt x="1559" y="621"/>
                  <a:pt x="1560" y="621"/>
                  <a:pt x="1561" y="621"/>
                </a:cubicBezTo>
                <a:cubicBezTo>
                  <a:pt x="1561" y="620"/>
                  <a:pt x="1559" y="620"/>
                  <a:pt x="1559" y="619"/>
                </a:cubicBezTo>
                <a:cubicBezTo>
                  <a:pt x="1558" y="618"/>
                  <a:pt x="1559" y="619"/>
                  <a:pt x="1559" y="619"/>
                </a:cubicBezTo>
                <a:close/>
                <a:moveTo>
                  <a:pt x="1353" y="613"/>
                </a:moveTo>
                <a:cubicBezTo>
                  <a:pt x="1352" y="613"/>
                  <a:pt x="1352" y="614"/>
                  <a:pt x="1353" y="614"/>
                </a:cubicBezTo>
                <a:cubicBezTo>
                  <a:pt x="1353" y="615"/>
                  <a:pt x="1354" y="615"/>
                  <a:pt x="1355" y="615"/>
                </a:cubicBezTo>
                <a:cubicBezTo>
                  <a:pt x="1355" y="615"/>
                  <a:pt x="1357" y="614"/>
                  <a:pt x="1357" y="614"/>
                </a:cubicBezTo>
                <a:cubicBezTo>
                  <a:pt x="1357" y="613"/>
                  <a:pt x="1355" y="613"/>
                  <a:pt x="1355" y="613"/>
                </a:cubicBezTo>
                <a:cubicBezTo>
                  <a:pt x="1354" y="613"/>
                  <a:pt x="1354" y="613"/>
                  <a:pt x="1354" y="613"/>
                </a:cubicBezTo>
                <a:cubicBezTo>
                  <a:pt x="1354" y="613"/>
                  <a:pt x="1353" y="613"/>
                  <a:pt x="1353" y="613"/>
                </a:cubicBezTo>
                <a:close/>
                <a:moveTo>
                  <a:pt x="1004" y="614"/>
                </a:moveTo>
                <a:cubicBezTo>
                  <a:pt x="1005" y="614"/>
                  <a:pt x="1004" y="613"/>
                  <a:pt x="1005" y="613"/>
                </a:cubicBezTo>
                <a:cubicBezTo>
                  <a:pt x="1005" y="613"/>
                  <a:pt x="1004" y="611"/>
                  <a:pt x="1003" y="611"/>
                </a:cubicBezTo>
                <a:cubicBezTo>
                  <a:pt x="1004" y="612"/>
                  <a:pt x="1003" y="612"/>
                  <a:pt x="1003" y="612"/>
                </a:cubicBezTo>
                <a:cubicBezTo>
                  <a:pt x="1003" y="613"/>
                  <a:pt x="1003" y="613"/>
                  <a:pt x="1004" y="614"/>
                </a:cubicBezTo>
                <a:close/>
                <a:moveTo>
                  <a:pt x="1454" y="613"/>
                </a:moveTo>
                <a:cubicBezTo>
                  <a:pt x="1454" y="613"/>
                  <a:pt x="1455" y="612"/>
                  <a:pt x="1455" y="612"/>
                </a:cubicBezTo>
                <a:cubicBezTo>
                  <a:pt x="1454" y="612"/>
                  <a:pt x="1454" y="611"/>
                  <a:pt x="1454" y="611"/>
                </a:cubicBezTo>
                <a:cubicBezTo>
                  <a:pt x="1453" y="610"/>
                  <a:pt x="1453" y="610"/>
                  <a:pt x="1452" y="610"/>
                </a:cubicBezTo>
                <a:cubicBezTo>
                  <a:pt x="1451" y="611"/>
                  <a:pt x="1452" y="611"/>
                  <a:pt x="1452" y="611"/>
                </a:cubicBezTo>
                <a:cubicBezTo>
                  <a:pt x="1453" y="612"/>
                  <a:pt x="1452" y="612"/>
                  <a:pt x="1452" y="612"/>
                </a:cubicBezTo>
                <a:cubicBezTo>
                  <a:pt x="1452" y="612"/>
                  <a:pt x="1452" y="612"/>
                  <a:pt x="1452" y="613"/>
                </a:cubicBezTo>
                <a:cubicBezTo>
                  <a:pt x="1452" y="613"/>
                  <a:pt x="1452" y="614"/>
                  <a:pt x="1452" y="615"/>
                </a:cubicBezTo>
                <a:cubicBezTo>
                  <a:pt x="1451" y="616"/>
                  <a:pt x="1450" y="615"/>
                  <a:pt x="1451" y="617"/>
                </a:cubicBezTo>
                <a:cubicBezTo>
                  <a:pt x="1451" y="617"/>
                  <a:pt x="1452" y="618"/>
                  <a:pt x="1452" y="618"/>
                </a:cubicBezTo>
                <a:cubicBezTo>
                  <a:pt x="1453" y="619"/>
                  <a:pt x="1452" y="618"/>
                  <a:pt x="1452" y="617"/>
                </a:cubicBezTo>
                <a:cubicBezTo>
                  <a:pt x="1452" y="616"/>
                  <a:pt x="1452" y="616"/>
                  <a:pt x="1452" y="616"/>
                </a:cubicBezTo>
                <a:cubicBezTo>
                  <a:pt x="1452" y="616"/>
                  <a:pt x="1453" y="616"/>
                  <a:pt x="1453" y="616"/>
                </a:cubicBezTo>
                <a:cubicBezTo>
                  <a:pt x="1453" y="616"/>
                  <a:pt x="1453" y="616"/>
                  <a:pt x="1453" y="615"/>
                </a:cubicBezTo>
                <a:cubicBezTo>
                  <a:pt x="1454" y="615"/>
                  <a:pt x="1455" y="615"/>
                  <a:pt x="1455" y="614"/>
                </a:cubicBezTo>
                <a:cubicBezTo>
                  <a:pt x="1455" y="613"/>
                  <a:pt x="1454" y="614"/>
                  <a:pt x="1454" y="614"/>
                </a:cubicBezTo>
                <a:cubicBezTo>
                  <a:pt x="1453" y="613"/>
                  <a:pt x="1454" y="613"/>
                  <a:pt x="1454" y="613"/>
                </a:cubicBezTo>
                <a:cubicBezTo>
                  <a:pt x="1454" y="612"/>
                  <a:pt x="1454" y="613"/>
                  <a:pt x="1454" y="613"/>
                </a:cubicBezTo>
                <a:close/>
                <a:moveTo>
                  <a:pt x="1516" y="610"/>
                </a:moveTo>
                <a:cubicBezTo>
                  <a:pt x="1516" y="610"/>
                  <a:pt x="1516" y="610"/>
                  <a:pt x="1516" y="609"/>
                </a:cubicBezTo>
                <a:cubicBezTo>
                  <a:pt x="1516" y="609"/>
                  <a:pt x="1516" y="609"/>
                  <a:pt x="1515" y="609"/>
                </a:cubicBezTo>
                <a:cubicBezTo>
                  <a:pt x="1515" y="609"/>
                  <a:pt x="1515" y="610"/>
                  <a:pt x="1515" y="610"/>
                </a:cubicBezTo>
                <a:cubicBezTo>
                  <a:pt x="1515" y="610"/>
                  <a:pt x="1516" y="610"/>
                  <a:pt x="1516" y="610"/>
                </a:cubicBezTo>
                <a:cubicBezTo>
                  <a:pt x="1516" y="610"/>
                  <a:pt x="1516" y="610"/>
                  <a:pt x="1516" y="610"/>
                </a:cubicBezTo>
                <a:close/>
                <a:moveTo>
                  <a:pt x="1393" y="608"/>
                </a:moveTo>
                <a:cubicBezTo>
                  <a:pt x="1393" y="609"/>
                  <a:pt x="1393" y="609"/>
                  <a:pt x="1394" y="609"/>
                </a:cubicBezTo>
                <a:cubicBezTo>
                  <a:pt x="1394" y="609"/>
                  <a:pt x="1394" y="609"/>
                  <a:pt x="1393" y="608"/>
                </a:cubicBezTo>
                <a:close/>
                <a:moveTo>
                  <a:pt x="1354" y="622"/>
                </a:moveTo>
                <a:cubicBezTo>
                  <a:pt x="1354" y="623"/>
                  <a:pt x="1355" y="623"/>
                  <a:pt x="1355" y="624"/>
                </a:cubicBezTo>
                <a:cubicBezTo>
                  <a:pt x="1355" y="624"/>
                  <a:pt x="1356" y="624"/>
                  <a:pt x="1356" y="624"/>
                </a:cubicBezTo>
                <a:cubicBezTo>
                  <a:pt x="1357" y="624"/>
                  <a:pt x="1357" y="624"/>
                  <a:pt x="1357" y="624"/>
                </a:cubicBezTo>
                <a:cubicBezTo>
                  <a:pt x="1358" y="624"/>
                  <a:pt x="1359" y="624"/>
                  <a:pt x="1359" y="625"/>
                </a:cubicBezTo>
                <a:cubicBezTo>
                  <a:pt x="1359" y="625"/>
                  <a:pt x="1360" y="625"/>
                  <a:pt x="1360" y="625"/>
                </a:cubicBezTo>
                <a:cubicBezTo>
                  <a:pt x="1360" y="625"/>
                  <a:pt x="1360" y="625"/>
                  <a:pt x="1360" y="624"/>
                </a:cubicBezTo>
                <a:cubicBezTo>
                  <a:pt x="1360" y="624"/>
                  <a:pt x="1359" y="624"/>
                  <a:pt x="1359" y="624"/>
                </a:cubicBezTo>
                <a:cubicBezTo>
                  <a:pt x="1359" y="623"/>
                  <a:pt x="1359" y="623"/>
                  <a:pt x="1359" y="623"/>
                </a:cubicBezTo>
                <a:cubicBezTo>
                  <a:pt x="1359" y="622"/>
                  <a:pt x="1359" y="623"/>
                  <a:pt x="1359" y="623"/>
                </a:cubicBezTo>
                <a:cubicBezTo>
                  <a:pt x="1358" y="622"/>
                  <a:pt x="1358" y="621"/>
                  <a:pt x="1359" y="620"/>
                </a:cubicBezTo>
                <a:cubicBezTo>
                  <a:pt x="1359" y="619"/>
                  <a:pt x="1359" y="619"/>
                  <a:pt x="1357" y="618"/>
                </a:cubicBezTo>
                <a:cubicBezTo>
                  <a:pt x="1357" y="618"/>
                  <a:pt x="1357" y="618"/>
                  <a:pt x="1357" y="618"/>
                </a:cubicBezTo>
                <a:cubicBezTo>
                  <a:pt x="1356" y="618"/>
                  <a:pt x="1356" y="618"/>
                  <a:pt x="1356" y="618"/>
                </a:cubicBezTo>
                <a:cubicBezTo>
                  <a:pt x="1355" y="618"/>
                  <a:pt x="1356" y="618"/>
                  <a:pt x="1355" y="618"/>
                </a:cubicBezTo>
                <a:cubicBezTo>
                  <a:pt x="1355" y="618"/>
                  <a:pt x="1353" y="617"/>
                  <a:pt x="1354" y="618"/>
                </a:cubicBezTo>
                <a:cubicBezTo>
                  <a:pt x="1352" y="618"/>
                  <a:pt x="1351" y="618"/>
                  <a:pt x="1351" y="617"/>
                </a:cubicBezTo>
                <a:cubicBezTo>
                  <a:pt x="1351" y="616"/>
                  <a:pt x="1351" y="616"/>
                  <a:pt x="1351" y="615"/>
                </a:cubicBezTo>
                <a:cubicBezTo>
                  <a:pt x="1352" y="614"/>
                  <a:pt x="1351" y="615"/>
                  <a:pt x="1351" y="614"/>
                </a:cubicBezTo>
                <a:cubicBezTo>
                  <a:pt x="1351" y="613"/>
                  <a:pt x="1351" y="613"/>
                  <a:pt x="1351" y="612"/>
                </a:cubicBezTo>
                <a:cubicBezTo>
                  <a:pt x="1350" y="612"/>
                  <a:pt x="1350" y="612"/>
                  <a:pt x="1349" y="613"/>
                </a:cubicBezTo>
                <a:cubicBezTo>
                  <a:pt x="1348" y="613"/>
                  <a:pt x="1348" y="613"/>
                  <a:pt x="1348" y="612"/>
                </a:cubicBezTo>
                <a:cubicBezTo>
                  <a:pt x="1347" y="612"/>
                  <a:pt x="1347" y="612"/>
                  <a:pt x="1346" y="612"/>
                </a:cubicBezTo>
                <a:cubicBezTo>
                  <a:pt x="1345" y="612"/>
                  <a:pt x="1346" y="611"/>
                  <a:pt x="1345" y="611"/>
                </a:cubicBezTo>
                <a:cubicBezTo>
                  <a:pt x="1344" y="611"/>
                  <a:pt x="1343" y="612"/>
                  <a:pt x="1343" y="611"/>
                </a:cubicBezTo>
                <a:cubicBezTo>
                  <a:pt x="1342" y="611"/>
                  <a:pt x="1343" y="610"/>
                  <a:pt x="1342" y="611"/>
                </a:cubicBezTo>
                <a:cubicBezTo>
                  <a:pt x="1341" y="611"/>
                  <a:pt x="1341" y="611"/>
                  <a:pt x="1341" y="611"/>
                </a:cubicBezTo>
                <a:cubicBezTo>
                  <a:pt x="1340" y="612"/>
                  <a:pt x="1341" y="612"/>
                  <a:pt x="1340" y="612"/>
                </a:cubicBezTo>
                <a:cubicBezTo>
                  <a:pt x="1339" y="612"/>
                  <a:pt x="1338" y="612"/>
                  <a:pt x="1337" y="612"/>
                </a:cubicBezTo>
                <a:cubicBezTo>
                  <a:pt x="1336" y="612"/>
                  <a:pt x="1334" y="612"/>
                  <a:pt x="1334" y="612"/>
                </a:cubicBezTo>
                <a:cubicBezTo>
                  <a:pt x="1334" y="611"/>
                  <a:pt x="1332" y="611"/>
                  <a:pt x="1331" y="611"/>
                </a:cubicBezTo>
                <a:cubicBezTo>
                  <a:pt x="1331" y="611"/>
                  <a:pt x="1331" y="609"/>
                  <a:pt x="1330" y="609"/>
                </a:cubicBezTo>
                <a:cubicBezTo>
                  <a:pt x="1330" y="609"/>
                  <a:pt x="1329" y="609"/>
                  <a:pt x="1328" y="609"/>
                </a:cubicBezTo>
                <a:cubicBezTo>
                  <a:pt x="1327" y="609"/>
                  <a:pt x="1327" y="609"/>
                  <a:pt x="1327" y="609"/>
                </a:cubicBezTo>
                <a:cubicBezTo>
                  <a:pt x="1326" y="608"/>
                  <a:pt x="1325" y="608"/>
                  <a:pt x="1324" y="608"/>
                </a:cubicBezTo>
                <a:cubicBezTo>
                  <a:pt x="1323" y="608"/>
                  <a:pt x="1323" y="609"/>
                  <a:pt x="1322" y="609"/>
                </a:cubicBezTo>
                <a:cubicBezTo>
                  <a:pt x="1321" y="609"/>
                  <a:pt x="1320" y="609"/>
                  <a:pt x="1319" y="609"/>
                </a:cubicBezTo>
                <a:cubicBezTo>
                  <a:pt x="1318" y="609"/>
                  <a:pt x="1317" y="608"/>
                  <a:pt x="1317" y="609"/>
                </a:cubicBezTo>
                <a:cubicBezTo>
                  <a:pt x="1317" y="610"/>
                  <a:pt x="1317" y="611"/>
                  <a:pt x="1317" y="611"/>
                </a:cubicBezTo>
                <a:cubicBezTo>
                  <a:pt x="1317" y="612"/>
                  <a:pt x="1316" y="612"/>
                  <a:pt x="1316" y="613"/>
                </a:cubicBezTo>
                <a:cubicBezTo>
                  <a:pt x="1315" y="613"/>
                  <a:pt x="1315" y="613"/>
                  <a:pt x="1315" y="614"/>
                </a:cubicBezTo>
                <a:cubicBezTo>
                  <a:pt x="1316" y="615"/>
                  <a:pt x="1317" y="615"/>
                  <a:pt x="1317" y="614"/>
                </a:cubicBezTo>
                <a:cubicBezTo>
                  <a:pt x="1317" y="614"/>
                  <a:pt x="1321" y="614"/>
                  <a:pt x="1320" y="615"/>
                </a:cubicBezTo>
                <a:cubicBezTo>
                  <a:pt x="1320" y="615"/>
                  <a:pt x="1319" y="615"/>
                  <a:pt x="1319" y="616"/>
                </a:cubicBezTo>
                <a:cubicBezTo>
                  <a:pt x="1319" y="616"/>
                  <a:pt x="1319" y="616"/>
                  <a:pt x="1320" y="617"/>
                </a:cubicBezTo>
                <a:cubicBezTo>
                  <a:pt x="1320" y="617"/>
                  <a:pt x="1322" y="616"/>
                  <a:pt x="1322" y="617"/>
                </a:cubicBezTo>
                <a:cubicBezTo>
                  <a:pt x="1322" y="617"/>
                  <a:pt x="1323" y="617"/>
                  <a:pt x="1323" y="617"/>
                </a:cubicBezTo>
                <a:cubicBezTo>
                  <a:pt x="1323" y="617"/>
                  <a:pt x="1323" y="617"/>
                  <a:pt x="1323" y="617"/>
                </a:cubicBezTo>
                <a:cubicBezTo>
                  <a:pt x="1324" y="617"/>
                  <a:pt x="1325" y="617"/>
                  <a:pt x="1325" y="617"/>
                </a:cubicBezTo>
                <a:cubicBezTo>
                  <a:pt x="1325" y="618"/>
                  <a:pt x="1326" y="618"/>
                  <a:pt x="1327" y="618"/>
                </a:cubicBezTo>
                <a:cubicBezTo>
                  <a:pt x="1327" y="619"/>
                  <a:pt x="1327" y="619"/>
                  <a:pt x="1328" y="619"/>
                </a:cubicBezTo>
                <a:cubicBezTo>
                  <a:pt x="1329" y="619"/>
                  <a:pt x="1330" y="620"/>
                  <a:pt x="1330" y="619"/>
                </a:cubicBezTo>
                <a:cubicBezTo>
                  <a:pt x="1331" y="619"/>
                  <a:pt x="1332" y="619"/>
                  <a:pt x="1334" y="619"/>
                </a:cubicBezTo>
                <a:cubicBezTo>
                  <a:pt x="1334" y="619"/>
                  <a:pt x="1334" y="619"/>
                  <a:pt x="1335" y="619"/>
                </a:cubicBezTo>
                <a:cubicBezTo>
                  <a:pt x="1335" y="619"/>
                  <a:pt x="1337" y="619"/>
                  <a:pt x="1337" y="620"/>
                </a:cubicBezTo>
                <a:cubicBezTo>
                  <a:pt x="1338" y="620"/>
                  <a:pt x="1338" y="620"/>
                  <a:pt x="1339" y="620"/>
                </a:cubicBezTo>
                <a:cubicBezTo>
                  <a:pt x="1341" y="620"/>
                  <a:pt x="1339" y="620"/>
                  <a:pt x="1339" y="620"/>
                </a:cubicBezTo>
                <a:cubicBezTo>
                  <a:pt x="1340" y="620"/>
                  <a:pt x="1340" y="620"/>
                  <a:pt x="1340" y="620"/>
                </a:cubicBezTo>
                <a:cubicBezTo>
                  <a:pt x="1340" y="620"/>
                  <a:pt x="1340" y="621"/>
                  <a:pt x="1340" y="621"/>
                </a:cubicBezTo>
                <a:cubicBezTo>
                  <a:pt x="1340" y="621"/>
                  <a:pt x="1341" y="621"/>
                  <a:pt x="1341" y="621"/>
                </a:cubicBezTo>
                <a:cubicBezTo>
                  <a:pt x="1342" y="621"/>
                  <a:pt x="1341" y="621"/>
                  <a:pt x="1342" y="621"/>
                </a:cubicBezTo>
                <a:cubicBezTo>
                  <a:pt x="1342" y="621"/>
                  <a:pt x="1342" y="621"/>
                  <a:pt x="1343" y="621"/>
                </a:cubicBezTo>
                <a:cubicBezTo>
                  <a:pt x="1343" y="621"/>
                  <a:pt x="1344" y="621"/>
                  <a:pt x="1344" y="622"/>
                </a:cubicBezTo>
                <a:cubicBezTo>
                  <a:pt x="1345" y="622"/>
                  <a:pt x="1346" y="621"/>
                  <a:pt x="1347" y="621"/>
                </a:cubicBezTo>
                <a:cubicBezTo>
                  <a:pt x="1347" y="622"/>
                  <a:pt x="1347" y="622"/>
                  <a:pt x="1347" y="622"/>
                </a:cubicBezTo>
                <a:cubicBezTo>
                  <a:pt x="1348" y="622"/>
                  <a:pt x="1347" y="622"/>
                  <a:pt x="1347" y="622"/>
                </a:cubicBezTo>
                <a:cubicBezTo>
                  <a:pt x="1348" y="622"/>
                  <a:pt x="1348" y="622"/>
                  <a:pt x="1349" y="622"/>
                </a:cubicBezTo>
                <a:cubicBezTo>
                  <a:pt x="1349" y="622"/>
                  <a:pt x="1349" y="622"/>
                  <a:pt x="1349" y="622"/>
                </a:cubicBezTo>
                <a:cubicBezTo>
                  <a:pt x="1350" y="622"/>
                  <a:pt x="1350" y="623"/>
                  <a:pt x="1351" y="623"/>
                </a:cubicBezTo>
                <a:cubicBezTo>
                  <a:pt x="1352" y="622"/>
                  <a:pt x="1352" y="621"/>
                  <a:pt x="1354" y="622"/>
                </a:cubicBezTo>
                <a:cubicBezTo>
                  <a:pt x="1354" y="623"/>
                  <a:pt x="1354" y="622"/>
                  <a:pt x="1354" y="622"/>
                </a:cubicBezTo>
                <a:close/>
                <a:moveTo>
                  <a:pt x="1511" y="608"/>
                </a:moveTo>
                <a:cubicBezTo>
                  <a:pt x="1511" y="608"/>
                  <a:pt x="1512" y="608"/>
                  <a:pt x="1512" y="608"/>
                </a:cubicBezTo>
                <a:cubicBezTo>
                  <a:pt x="1511" y="608"/>
                  <a:pt x="1512" y="607"/>
                  <a:pt x="1512" y="608"/>
                </a:cubicBezTo>
                <a:cubicBezTo>
                  <a:pt x="1512" y="607"/>
                  <a:pt x="1511" y="607"/>
                  <a:pt x="1511" y="607"/>
                </a:cubicBezTo>
                <a:cubicBezTo>
                  <a:pt x="1511" y="607"/>
                  <a:pt x="1511" y="608"/>
                  <a:pt x="1511" y="608"/>
                </a:cubicBezTo>
                <a:close/>
                <a:moveTo>
                  <a:pt x="1552" y="613"/>
                </a:moveTo>
                <a:cubicBezTo>
                  <a:pt x="1552" y="612"/>
                  <a:pt x="1550" y="612"/>
                  <a:pt x="1550" y="611"/>
                </a:cubicBezTo>
                <a:cubicBezTo>
                  <a:pt x="1550" y="610"/>
                  <a:pt x="1550" y="610"/>
                  <a:pt x="1549" y="609"/>
                </a:cubicBezTo>
                <a:cubicBezTo>
                  <a:pt x="1548" y="609"/>
                  <a:pt x="1548" y="609"/>
                  <a:pt x="1548" y="607"/>
                </a:cubicBezTo>
                <a:cubicBezTo>
                  <a:pt x="1548" y="607"/>
                  <a:pt x="1547" y="606"/>
                  <a:pt x="1547" y="607"/>
                </a:cubicBezTo>
                <a:cubicBezTo>
                  <a:pt x="1547" y="607"/>
                  <a:pt x="1547" y="609"/>
                  <a:pt x="1547" y="608"/>
                </a:cubicBezTo>
                <a:cubicBezTo>
                  <a:pt x="1547" y="609"/>
                  <a:pt x="1547" y="610"/>
                  <a:pt x="1547" y="611"/>
                </a:cubicBezTo>
                <a:cubicBezTo>
                  <a:pt x="1547" y="611"/>
                  <a:pt x="1547" y="611"/>
                  <a:pt x="1547" y="611"/>
                </a:cubicBezTo>
                <a:cubicBezTo>
                  <a:pt x="1547" y="612"/>
                  <a:pt x="1547" y="612"/>
                  <a:pt x="1548" y="612"/>
                </a:cubicBezTo>
                <a:cubicBezTo>
                  <a:pt x="1548" y="613"/>
                  <a:pt x="1548" y="614"/>
                  <a:pt x="1548" y="614"/>
                </a:cubicBezTo>
                <a:cubicBezTo>
                  <a:pt x="1549" y="614"/>
                  <a:pt x="1549" y="615"/>
                  <a:pt x="1549" y="615"/>
                </a:cubicBezTo>
                <a:cubicBezTo>
                  <a:pt x="1550" y="616"/>
                  <a:pt x="1550" y="616"/>
                  <a:pt x="1551" y="617"/>
                </a:cubicBezTo>
                <a:cubicBezTo>
                  <a:pt x="1551" y="617"/>
                  <a:pt x="1551" y="617"/>
                  <a:pt x="1551" y="617"/>
                </a:cubicBezTo>
                <a:cubicBezTo>
                  <a:pt x="1552" y="617"/>
                  <a:pt x="1552" y="618"/>
                  <a:pt x="1553" y="618"/>
                </a:cubicBezTo>
                <a:cubicBezTo>
                  <a:pt x="1554" y="617"/>
                  <a:pt x="1554" y="617"/>
                  <a:pt x="1554" y="616"/>
                </a:cubicBezTo>
                <a:cubicBezTo>
                  <a:pt x="1554" y="615"/>
                  <a:pt x="1553" y="614"/>
                  <a:pt x="1553" y="613"/>
                </a:cubicBezTo>
                <a:cubicBezTo>
                  <a:pt x="1553" y="613"/>
                  <a:pt x="1552" y="613"/>
                  <a:pt x="1552" y="613"/>
                </a:cubicBezTo>
                <a:close/>
                <a:moveTo>
                  <a:pt x="1399" y="605"/>
                </a:moveTo>
                <a:cubicBezTo>
                  <a:pt x="1399" y="606"/>
                  <a:pt x="1399" y="606"/>
                  <a:pt x="1399" y="606"/>
                </a:cubicBezTo>
                <a:cubicBezTo>
                  <a:pt x="1398" y="606"/>
                  <a:pt x="1399" y="605"/>
                  <a:pt x="1398" y="605"/>
                </a:cubicBezTo>
                <a:cubicBezTo>
                  <a:pt x="1398" y="605"/>
                  <a:pt x="1398" y="605"/>
                  <a:pt x="1397" y="605"/>
                </a:cubicBezTo>
                <a:cubicBezTo>
                  <a:pt x="1397" y="605"/>
                  <a:pt x="1398" y="606"/>
                  <a:pt x="1397" y="606"/>
                </a:cubicBezTo>
                <a:cubicBezTo>
                  <a:pt x="1397" y="607"/>
                  <a:pt x="1397" y="607"/>
                  <a:pt x="1398" y="607"/>
                </a:cubicBezTo>
                <a:cubicBezTo>
                  <a:pt x="1398" y="608"/>
                  <a:pt x="1398" y="608"/>
                  <a:pt x="1399" y="609"/>
                </a:cubicBezTo>
                <a:cubicBezTo>
                  <a:pt x="1399" y="609"/>
                  <a:pt x="1400" y="609"/>
                  <a:pt x="1400" y="609"/>
                </a:cubicBezTo>
                <a:cubicBezTo>
                  <a:pt x="1401" y="608"/>
                  <a:pt x="1401" y="608"/>
                  <a:pt x="1402" y="607"/>
                </a:cubicBezTo>
                <a:cubicBezTo>
                  <a:pt x="1399" y="606"/>
                  <a:pt x="1402" y="604"/>
                  <a:pt x="1401" y="603"/>
                </a:cubicBezTo>
                <a:cubicBezTo>
                  <a:pt x="1400" y="603"/>
                  <a:pt x="1399" y="603"/>
                  <a:pt x="1399" y="604"/>
                </a:cubicBezTo>
                <a:cubicBezTo>
                  <a:pt x="1399" y="604"/>
                  <a:pt x="1399" y="605"/>
                  <a:pt x="1399" y="605"/>
                </a:cubicBezTo>
                <a:close/>
                <a:moveTo>
                  <a:pt x="1524" y="611"/>
                </a:moveTo>
                <a:cubicBezTo>
                  <a:pt x="1523" y="611"/>
                  <a:pt x="1523" y="610"/>
                  <a:pt x="1522" y="610"/>
                </a:cubicBezTo>
                <a:cubicBezTo>
                  <a:pt x="1521" y="610"/>
                  <a:pt x="1520" y="610"/>
                  <a:pt x="1519" y="611"/>
                </a:cubicBezTo>
                <a:cubicBezTo>
                  <a:pt x="1520" y="611"/>
                  <a:pt x="1520" y="612"/>
                  <a:pt x="1521" y="612"/>
                </a:cubicBezTo>
                <a:cubicBezTo>
                  <a:pt x="1521" y="612"/>
                  <a:pt x="1522" y="612"/>
                  <a:pt x="1522" y="612"/>
                </a:cubicBezTo>
                <a:cubicBezTo>
                  <a:pt x="1522" y="612"/>
                  <a:pt x="1522" y="613"/>
                  <a:pt x="1522" y="613"/>
                </a:cubicBezTo>
                <a:cubicBezTo>
                  <a:pt x="1523" y="613"/>
                  <a:pt x="1526" y="614"/>
                  <a:pt x="1527" y="613"/>
                </a:cubicBezTo>
                <a:cubicBezTo>
                  <a:pt x="1527" y="613"/>
                  <a:pt x="1528" y="613"/>
                  <a:pt x="1528" y="613"/>
                </a:cubicBezTo>
                <a:cubicBezTo>
                  <a:pt x="1530" y="613"/>
                  <a:pt x="1528" y="613"/>
                  <a:pt x="1528" y="613"/>
                </a:cubicBezTo>
                <a:cubicBezTo>
                  <a:pt x="1529" y="613"/>
                  <a:pt x="1530" y="612"/>
                  <a:pt x="1530" y="612"/>
                </a:cubicBezTo>
                <a:cubicBezTo>
                  <a:pt x="1531" y="612"/>
                  <a:pt x="1531" y="611"/>
                  <a:pt x="1532" y="611"/>
                </a:cubicBezTo>
                <a:cubicBezTo>
                  <a:pt x="1534" y="611"/>
                  <a:pt x="1533" y="609"/>
                  <a:pt x="1535" y="609"/>
                </a:cubicBezTo>
                <a:cubicBezTo>
                  <a:pt x="1535" y="609"/>
                  <a:pt x="1536" y="609"/>
                  <a:pt x="1536" y="608"/>
                </a:cubicBezTo>
                <a:cubicBezTo>
                  <a:pt x="1536" y="608"/>
                  <a:pt x="1536" y="608"/>
                  <a:pt x="1537" y="608"/>
                </a:cubicBezTo>
                <a:cubicBezTo>
                  <a:pt x="1537" y="607"/>
                  <a:pt x="1536" y="607"/>
                  <a:pt x="1536" y="606"/>
                </a:cubicBezTo>
                <a:cubicBezTo>
                  <a:pt x="1536" y="606"/>
                  <a:pt x="1537" y="606"/>
                  <a:pt x="1537" y="606"/>
                </a:cubicBezTo>
                <a:cubicBezTo>
                  <a:pt x="1537" y="606"/>
                  <a:pt x="1538" y="605"/>
                  <a:pt x="1537" y="605"/>
                </a:cubicBezTo>
                <a:cubicBezTo>
                  <a:pt x="1537" y="605"/>
                  <a:pt x="1537" y="604"/>
                  <a:pt x="1537" y="604"/>
                </a:cubicBezTo>
                <a:cubicBezTo>
                  <a:pt x="1537" y="604"/>
                  <a:pt x="1537" y="604"/>
                  <a:pt x="1537" y="604"/>
                </a:cubicBezTo>
                <a:cubicBezTo>
                  <a:pt x="1536" y="603"/>
                  <a:pt x="1537" y="603"/>
                  <a:pt x="1537" y="603"/>
                </a:cubicBezTo>
                <a:cubicBezTo>
                  <a:pt x="1536" y="603"/>
                  <a:pt x="1535" y="603"/>
                  <a:pt x="1535" y="603"/>
                </a:cubicBezTo>
                <a:cubicBezTo>
                  <a:pt x="1534" y="603"/>
                  <a:pt x="1534" y="604"/>
                  <a:pt x="1534" y="604"/>
                </a:cubicBezTo>
                <a:cubicBezTo>
                  <a:pt x="1534" y="605"/>
                  <a:pt x="1534" y="605"/>
                  <a:pt x="1534" y="606"/>
                </a:cubicBezTo>
                <a:cubicBezTo>
                  <a:pt x="1534" y="606"/>
                  <a:pt x="1533" y="606"/>
                  <a:pt x="1533" y="606"/>
                </a:cubicBezTo>
                <a:cubicBezTo>
                  <a:pt x="1533" y="606"/>
                  <a:pt x="1532" y="606"/>
                  <a:pt x="1532" y="606"/>
                </a:cubicBezTo>
                <a:cubicBezTo>
                  <a:pt x="1532" y="606"/>
                  <a:pt x="1533" y="607"/>
                  <a:pt x="1532" y="607"/>
                </a:cubicBezTo>
                <a:cubicBezTo>
                  <a:pt x="1532" y="607"/>
                  <a:pt x="1532" y="607"/>
                  <a:pt x="1532" y="608"/>
                </a:cubicBezTo>
                <a:cubicBezTo>
                  <a:pt x="1532" y="608"/>
                  <a:pt x="1532" y="608"/>
                  <a:pt x="1532" y="609"/>
                </a:cubicBezTo>
                <a:cubicBezTo>
                  <a:pt x="1531" y="609"/>
                  <a:pt x="1530" y="609"/>
                  <a:pt x="1530" y="609"/>
                </a:cubicBezTo>
                <a:cubicBezTo>
                  <a:pt x="1529" y="609"/>
                  <a:pt x="1528" y="609"/>
                  <a:pt x="1527" y="608"/>
                </a:cubicBezTo>
                <a:cubicBezTo>
                  <a:pt x="1527" y="608"/>
                  <a:pt x="1528" y="608"/>
                  <a:pt x="1527" y="607"/>
                </a:cubicBezTo>
                <a:cubicBezTo>
                  <a:pt x="1527" y="607"/>
                  <a:pt x="1526" y="609"/>
                  <a:pt x="1526" y="609"/>
                </a:cubicBezTo>
                <a:cubicBezTo>
                  <a:pt x="1526" y="610"/>
                  <a:pt x="1526" y="610"/>
                  <a:pt x="1525" y="610"/>
                </a:cubicBezTo>
                <a:cubicBezTo>
                  <a:pt x="1524" y="610"/>
                  <a:pt x="1524" y="610"/>
                  <a:pt x="1524" y="611"/>
                </a:cubicBezTo>
                <a:cubicBezTo>
                  <a:pt x="1522" y="611"/>
                  <a:pt x="1524" y="611"/>
                  <a:pt x="1524" y="611"/>
                </a:cubicBezTo>
                <a:close/>
                <a:moveTo>
                  <a:pt x="1539" y="605"/>
                </a:moveTo>
                <a:cubicBezTo>
                  <a:pt x="1540" y="604"/>
                  <a:pt x="1539" y="603"/>
                  <a:pt x="1540" y="603"/>
                </a:cubicBezTo>
                <a:cubicBezTo>
                  <a:pt x="1540" y="601"/>
                  <a:pt x="1539" y="602"/>
                  <a:pt x="1539" y="601"/>
                </a:cubicBezTo>
                <a:cubicBezTo>
                  <a:pt x="1538" y="600"/>
                  <a:pt x="1537" y="599"/>
                  <a:pt x="1536" y="598"/>
                </a:cubicBezTo>
                <a:cubicBezTo>
                  <a:pt x="1536" y="600"/>
                  <a:pt x="1537" y="600"/>
                  <a:pt x="1538" y="601"/>
                </a:cubicBezTo>
                <a:cubicBezTo>
                  <a:pt x="1538" y="602"/>
                  <a:pt x="1538" y="603"/>
                  <a:pt x="1538" y="603"/>
                </a:cubicBezTo>
                <a:cubicBezTo>
                  <a:pt x="1538" y="604"/>
                  <a:pt x="1537" y="604"/>
                  <a:pt x="1538" y="605"/>
                </a:cubicBezTo>
                <a:cubicBezTo>
                  <a:pt x="1539" y="605"/>
                  <a:pt x="1539" y="605"/>
                  <a:pt x="1539" y="605"/>
                </a:cubicBezTo>
                <a:cubicBezTo>
                  <a:pt x="1540" y="604"/>
                  <a:pt x="1539" y="605"/>
                  <a:pt x="1539" y="605"/>
                </a:cubicBezTo>
                <a:close/>
                <a:moveTo>
                  <a:pt x="1530" y="596"/>
                </a:moveTo>
                <a:cubicBezTo>
                  <a:pt x="1531" y="596"/>
                  <a:pt x="1534" y="597"/>
                  <a:pt x="1534" y="598"/>
                </a:cubicBezTo>
                <a:cubicBezTo>
                  <a:pt x="1534" y="598"/>
                  <a:pt x="1535" y="598"/>
                  <a:pt x="1535" y="598"/>
                </a:cubicBezTo>
                <a:cubicBezTo>
                  <a:pt x="1536" y="597"/>
                  <a:pt x="1534" y="597"/>
                  <a:pt x="1534" y="597"/>
                </a:cubicBezTo>
                <a:cubicBezTo>
                  <a:pt x="1533" y="596"/>
                  <a:pt x="1531" y="595"/>
                  <a:pt x="1530" y="595"/>
                </a:cubicBezTo>
                <a:cubicBezTo>
                  <a:pt x="1530" y="595"/>
                  <a:pt x="1530" y="595"/>
                  <a:pt x="1530" y="596"/>
                </a:cubicBezTo>
                <a:cubicBezTo>
                  <a:pt x="1531" y="596"/>
                  <a:pt x="1530" y="596"/>
                  <a:pt x="1530" y="596"/>
                </a:cubicBezTo>
                <a:close/>
                <a:moveTo>
                  <a:pt x="1412" y="595"/>
                </a:moveTo>
                <a:cubicBezTo>
                  <a:pt x="1412" y="596"/>
                  <a:pt x="1412" y="596"/>
                  <a:pt x="1413" y="597"/>
                </a:cubicBezTo>
                <a:cubicBezTo>
                  <a:pt x="1414" y="597"/>
                  <a:pt x="1415" y="597"/>
                  <a:pt x="1415" y="598"/>
                </a:cubicBezTo>
                <a:cubicBezTo>
                  <a:pt x="1415" y="598"/>
                  <a:pt x="1415" y="598"/>
                  <a:pt x="1416" y="598"/>
                </a:cubicBezTo>
                <a:cubicBezTo>
                  <a:pt x="1416" y="598"/>
                  <a:pt x="1416" y="598"/>
                  <a:pt x="1416" y="598"/>
                </a:cubicBezTo>
                <a:cubicBezTo>
                  <a:pt x="1417" y="598"/>
                  <a:pt x="1417" y="598"/>
                  <a:pt x="1418" y="598"/>
                </a:cubicBezTo>
                <a:cubicBezTo>
                  <a:pt x="1419" y="598"/>
                  <a:pt x="1419" y="597"/>
                  <a:pt x="1419" y="596"/>
                </a:cubicBezTo>
                <a:cubicBezTo>
                  <a:pt x="1418" y="596"/>
                  <a:pt x="1418" y="596"/>
                  <a:pt x="1418" y="595"/>
                </a:cubicBezTo>
                <a:cubicBezTo>
                  <a:pt x="1416" y="595"/>
                  <a:pt x="1414" y="595"/>
                  <a:pt x="1412" y="595"/>
                </a:cubicBezTo>
                <a:close/>
                <a:moveTo>
                  <a:pt x="1427" y="594"/>
                </a:moveTo>
                <a:cubicBezTo>
                  <a:pt x="1427" y="594"/>
                  <a:pt x="1427" y="595"/>
                  <a:pt x="1427" y="595"/>
                </a:cubicBezTo>
                <a:cubicBezTo>
                  <a:pt x="1426" y="595"/>
                  <a:pt x="1425" y="594"/>
                  <a:pt x="1424" y="594"/>
                </a:cubicBezTo>
                <a:cubicBezTo>
                  <a:pt x="1424" y="595"/>
                  <a:pt x="1424" y="595"/>
                  <a:pt x="1423" y="595"/>
                </a:cubicBezTo>
                <a:cubicBezTo>
                  <a:pt x="1422" y="595"/>
                  <a:pt x="1422" y="595"/>
                  <a:pt x="1422" y="596"/>
                </a:cubicBezTo>
                <a:cubicBezTo>
                  <a:pt x="1422" y="596"/>
                  <a:pt x="1423" y="596"/>
                  <a:pt x="1423" y="596"/>
                </a:cubicBezTo>
                <a:cubicBezTo>
                  <a:pt x="1424" y="596"/>
                  <a:pt x="1423" y="596"/>
                  <a:pt x="1423" y="596"/>
                </a:cubicBezTo>
                <a:cubicBezTo>
                  <a:pt x="1424" y="597"/>
                  <a:pt x="1424" y="597"/>
                  <a:pt x="1425" y="597"/>
                </a:cubicBezTo>
                <a:cubicBezTo>
                  <a:pt x="1426" y="597"/>
                  <a:pt x="1425" y="596"/>
                  <a:pt x="1426" y="596"/>
                </a:cubicBezTo>
                <a:cubicBezTo>
                  <a:pt x="1426" y="596"/>
                  <a:pt x="1427" y="596"/>
                  <a:pt x="1427" y="596"/>
                </a:cubicBezTo>
                <a:cubicBezTo>
                  <a:pt x="1427" y="596"/>
                  <a:pt x="1427" y="597"/>
                  <a:pt x="1427" y="597"/>
                </a:cubicBezTo>
                <a:cubicBezTo>
                  <a:pt x="1427" y="597"/>
                  <a:pt x="1428" y="597"/>
                  <a:pt x="1428" y="597"/>
                </a:cubicBezTo>
                <a:cubicBezTo>
                  <a:pt x="1429" y="597"/>
                  <a:pt x="1429" y="597"/>
                  <a:pt x="1429" y="597"/>
                </a:cubicBezTo>
                <a:cubicBezTo>
                  <a:pt x="1429" y="596"/>
                  <a:pt x="1430" y="597"/>
                  <a:pt x="1430" y="596"/>
                </a:cubicBezTo>
                <a:cubicBezTo>
                  <a:pt x="1430" y="597"/>
                  <a:pt x="1433" y="597"/>
                  <a:pt x="1433" y="598"/>
                </a:cubicBezTo>
                <a:cubicBezTo>
                  <a:pt x="1434" y="598"/>
                  <a:pt x="1435" y="598"/>
                  <a:pt x="1435" y="597"/>
                </a:cubicBezTo>
                <a:cubicBezTo>
                  <a:pt x="1434" y="596"/>
                  <a:pt x="1434" y="595"/>
                  <a:pt x="1433" y="595"/>
                </a:cubicBezTo>
                <a:cubicBezTo>
                  <a:pt x="1433" y="595"/>
                  <a:pt x="1432" y="595"/>
                  <a:pt x="1431" y="595"/>
                </a:cubicBezTo>
                <a:cubicBezTo>
                  <a:pt x="1430" y="594"/>
                  <a:pt x="1429" y="595"/>
                  <a:pt x="1428" y="595"/>
                </a:cubicBezTo>
                <a:cubicBezTo>
                  <a:pt x="1428" y="594"/>
                  <a:pt x="1427" y="594"/>
                  <a:pt x="1427" y="594"/>
                </a:cubicBezTo>
                <a:close/>
                <a:moveTo>
                  <a:pt x="1526" y="594"/>
                </a:moveTo>
                <a:cubicBezTo>
                  <a:pt x="1526" y="594"/>
                  <a:pt x="1526" y="594"/>
                  <a:pt x="1526" y="594"/>
                </a:cubicBezTo>
                <a:cubicBezTo>
                  <a:pt x="1527" y="594"/>
                  <a:pt x="1528" y="596"/>
                  <a:pt x="1529" y="594"/>
                </a:cubicBezTo>
                <a:cubicBezTo>
                  <a:pt x="1529" y="593"/>
                  <a:pt x="1527" y="594"/>
                  <a:pt x="1526" y="594"/>
                </a:cubicBezTo>
                <a:cubicBezTo>
                  <a:pt x="1526" y="594"/>
                  <a:pt x="1526" y="594"/>
                  <a:pt x="1526" y="594"/>
                </a:cubicBezTo>
                <a:close/>
                <a:moveTo>
                  <a:pt x="1326" y="593"/>
                </a:moveTo>
                <a:cubicBezTo>
                  <a:pt x="1326" y="594"/>
                  <a:pt x="1326" y="594"/>
                  <a:pt x="1326" y="595"/>
                </a:cubicBezTo>
                <a:cubicBezTo>
                  <a:pt x="1327" y="595"/>
                  <a:pt x="1327" y="595"/>
                  <a:pt x="1327" y="596"/>
                </a:cubicBezTo>
                <a:cubicBezTo>
                  <a:pt x="1327" y="596"/>
                  <a:pt x="1327" y="596"/>
                  <a:pt x="1328" y="596"/>
                </a:cubicBezTo>
                <a:cubicBezTo>
                  <a:pt x="1328" y="596"/>
                  <a:pt x="1327" y="596"/>
                  <a:pt x="1328" y="596"/>
                </a:cubicBezTo>
                <a:cubicBezTo>
                  <a:pt x="1329" y="596"/>
                  <a:pt x="1329" y="596"/>
                  <a:pt x="1329" y="595"/>
                </a:cubicBezTo>
                <a:cubicBezTo>
                  <a:pt x="1330" y="595"/>
                  <a:pt x="1330" y="594"/>
                  <a:pt x="1330" y="593"/>
                </a:cubicBezTo>
                <a:cubicBezTo>
                  <a:pt x="1329" y="593"/>
                  <a:pt x="1328" y="593"/>
                  <a:pt x="1326" y="593"/>
                </a:cubicBezTo>
                <a:cubicBezTo>
                  <a:pt x="1326" y="594"/>
                  <a:pt x="1326" y="593"/>
                  <a:pt x="1326" y="593"/>
                </a:cubicBezTo>
                <a:close/>
                <a:moveTo>
                  <a:pt x="1291" y="592"/>
                </a:moveTo>
                <a:cubicBezTo>
                  <a:pt x="1291" y="592"/>
                  <a:pt x="1291" y="592"/>
                  <a:pt x="1291" y="592"/>
                </a:cubicBezTo>
                <a:cubicBezTo>
                  <a:pt x="1291" y="592"/>
                  <a:pt x="1291" y="592"/>
                  <a:pt x="1291" y="592"/>
                </a:cubicBezTo>
                <a:cubicBezTo>
                  <a:pt x="1291" y="593"/>
                  <a:pt x="1291" y="593"/>
                  <a:pt x="1292" y="593"/>
                </a:cubicBezTo>
                <a:cubicBezTo>
                  <a:pt x="1292" y="592"/>
                  <a:pt x="1292" y="593"/>
                  <a:pt x="1291" y="592"/>
                </a:cubicBezTo>
                <a:cubicBezTo>
                  <a:pt x="1291" y="592"/>
                  <a:pt x="1291" y="592"/>
                  <a:pt x="1291" y="592"/>
                </a:cubicBezTo>
                <a:close/>
                <a:moveTo>
                  <a:pt x="1509" y="592"/>
                </a:moveTo>
                <a:cubicBezTo>
                  <a:pt x="1511" y="592"/>
                  <a:pt x="1512" y="593"/>
                  <a:pt x="1513" y="592"/>
                </a:cubicBezTo>
                <a:cubicBezTo>
                  <a:pt x="1512" y="591"/>
                  <a:pt x="1511" y="591"/>
                  <a:pt x="1510" y="591"/>
                </a:cubicBezTo>
                <a:cubicBezTo>
                  <a:pt x="1510" y="590"/>
                  <a:pt x="1510" y="591"/>
                  <a:pt x="1509" y="592"/>
                </a:cubicBezTo>
                <a:cubicBezTo>
                  <a:pt x="1511" y="592"/>
                  <a:pt x="1509" y="592"/>
                  <a:pt x="1509" y="592"/>
                </a:cubicBezTo>
                <a:close/>
                <a:moveTo>
                  <a:pt x="978" y="590"/>
                </a:moveTo>
                <a:cubicBezTo>
                  <a:pt x="977" y="589"/>
                  <a:pt x="977" y="589"/>
                  <a:pt x="975" y="589"/>
                </a:cubicBezTo>
                <a:cubicBezTo>
                  <a:pt x="976" y="590"/>
                  <a:pt x="976" y="590"/>
                  <a:pt x="978" y="590"/>
                </a:cubicBezTo>
                <a:cubicBezTo>
                  <a:pt x="978" y="589"/>
                  <a:pt x="978" y="590"/>
                  <a:pt x="978" y="590"/>
                </a:cubicBezTo>
                <a:close/>
                <a:moveTo>
                  <a:pt x="1408" y="588"/>
                </a:moveTo>
                <a:cubicBezTo>
                  <a:pt x="1407" y="588"/>
                  <a:pt x="1404" y="587"/>
                  <a:pt x="1404" y="589"/>
                </a:cubicBezTo>
                <a:cubicBezTo>
                  <a:pt x="1404" y="589"/>
                  <a:pt x="1409" y="589"/>
                  <a:pt x="1408" y="588"/>
                </a:cubicBezTo>
                <a:cubicBezTo>
                  <a:pt x="1407" y="588"/>
                  <a:pt x="1408" y="588"/>
                  <a:pt x="1408" y="588"/>
                </a:cubicBezTo>
                <a:close/>
                <a:moveTo>
                  <a:pt x="1414" y="587"/>
                </a:moveTo>
                <a:cubicBezTo>
                  <a:pt x="1413" y="587"/>
                  <a:pt x="1411" y="587"/>
                  <a:pt x="1410" y="587"/>
                </a:cubicBezTo>
                <a:cubicBezTo>
                  <a:pt x="1410" y="588"/>
                  <a:pt x="1410" y="588"/>
                  <a:pt x="1410" y="588"/>
                </a:cubicBezTo>
                <a:cubicBezTo>
                  <a:pt x="1411" y="588"/>
                  <a:pt x="1414" y="588"/>
                  <a:pt x="1414" y="587"/>
                </a:cubicBezTo>
                <a:cubicBezTo>
                  <a:pt x="1412" y="587"/>
                  <a:pt x="1414" y="587"/>
                  <a:pt x="1414" y="587"/>
                </a:cubicBezTo>
                <a:close/>
                <a:moveTo>
                  <a:pt x="1431" y="588"/>
                </a:moveTo>
                <a:cubicBezTo>
                  <a:pt x="1432" y="588"/>
                  <a:pt x="1432" y="588"/>
                  <a:pt x="1433" y="588"/>
                </a:cubicBezTo>
                <a:cubicBezTo>
                  <a:pt x="1433" y="588"/>
                  <a:pt x="1433" y="587"/>
                  <a:pt x="1433" y="587"/>
                </a:cubicBezTo>
                <a:cubicBezTo>
                  <a:pt x="1432" y="587"/>
                  <a:pt x="1431" y="587"/>
                  <a:pt x="1431" y="588"/>
                </a:cubicBezTo>
                <a:cubicBezTo>
                  <a:pt x="1432" y="588"/>
                  <a:pt x="1431" y="588"/>
                  <a:pt x="1431" y="588"/>
                </a:cubicBezTo>
                <a:close/>
                <a:moveTo>
                  <a:pt x="1318" y="589"/>
                </a:moveTo>
                <a:cubicBezTo>
                  <a:pt x="1319" y="590"/>
                  <a:pt x="1319" y="590"/>
                  <a:pt x="1319" y="590"/>
                </a:cubicBezTo>
                <a:cubicBezTo>
                  <a:pt x="1319" y="590"/>
                  <a:pt x="1318" y="591"/>
                  <a:pt x="1319" y="591"/>
                </a:cubicBezTo>
                <a:cubicBezTo>
                  <a:pt x="1319" y="591"/>
                  <a:pt x="1319" y="592"/>
                  <a:pt x="1319" y="592"/>
                </a:cubicBezTo>
                <a:cubicBezTo>
                  <a:pt x="1319" y="592"/>
                  <a:pt x="1319" y="592"/>
                  <a:pt x="1319" y="592"/>
                </a:cubicBezTo>
                <a:cubicBezTo>
                  <a:pt x="1319" y="593"/>
                  <a:pt x="1320" y="594"/>
                  <a:pt x="1321" y="594"/>
                </a:cubicBezTo>
                <a:cubicBezTo>
                  <a:pt x="1322" y="595"/>
                  <a:pt x="1321" y="595"/>
                  <a:pt x="1322" y="594"/>
                </a:cubicBezTo>
                <a:cubicBezTo>
                  <a:pt x="1322" y="593"/>
                  <a:pt x="1322" y="591"/>
                  <a:pt x="1321" y="591"/>
                </a:cubicBezTo>
                <a:cubicBezTo>
                  <a:pt x="1321" y="590"/>
                  <a:pt x="1321" y="591"/>
                  <a:pt x="1321" y="590"/>
                </a:cubicBezTo>
                <a:cubicBezTo>
                  <a:pt x="1321" y="590"/>
                  <a:pt x="1321" y="590"/>
                  <a:pt x="1321" y="590"/>
                </a:cubicBezTo>
                <a:cubicBezTo>
                  <a:pt x="1320" y="589"/>
                  <a:pt x="1321" y="589"/>
                  <a:pt x="1320" y="588"/>
                </a:cubicBezTo>
                <a:cubicBezTo>
                  <a:pt x="1320" y="588"/>
                  <a:pt x="1320" y="588"/>
                  <a:pt x="1320" y="587"/>
                </a:cubicBezTo>
                <a:cubicBezTo>
                  <a:pt x="1319" y="588"/>
                  <a:pt x="1319" y="588"/>
                  <a:pt x="1318" y="587"/>
                </a:cubicBezTo>
                <a:cubicBezTo>
                  <a:pt x="1318" y="586"/>
                  <a:pt x="1317" y="587"/>
                  <a:pt x="1317" y="587"/>
                </a:cubicBezTo>
                <a:cubicBezTo>
                  <a:pt x="1317" y="588"/>
                  <a:pt x="1317" y="589"/>
                  <a:pt x="1317" y="589"/>
                </a:cubicBezTo>
                <a:cubicBezTo>
                  <a:pt x="1317" y="589"/>
                  <a:pt x="1318" y="589"/>
                  <a:pt x="1318" y="589"/>
                </a:cubicBezTo>
                <a:close/>
                <a:moveTo>
                  <a:pt x="1400" y="588"/>
                </a:moveTo>
                <a:cubicBezTo>
                  <a:pt x="1400" y="588"/>
                  <a:pt x="1400" y="587"/>
                  <a:pt x="1401" y="587"/>
                </a:cubicBezTo>
                <a:cubicBezTo>
                  <a:pt x="1401" y="587"/>
                  <a:pt x="1401" y="587"/>
                  <a:pt x="1401" y="587"/>
                </a:cubicBezTo>
                <a:cubicBezTo>
                  <a:pt x="1401" y="586"/>
                  <a:pt x="1400" y="586"/>
                  <a:pt x="1399" y="586"/>
                </a:cubicBezTo>
                <a:cubicBezTo>
                  <a:pt x="1399" y="586"/>
                  <a:pt x="1398" y="586"/>
                  <a:pt x="1398" y="586"/>
                </a:cubicBezTo>
                <a:cubicBezTo>
                  <a:pt x="1397" y="587"/>
                  <a:pt x="1397" y="587"/>
                  <a:pt x="1397" y="588"/>
                </a:cubicBezTo>
                <a:cubicBezTo>
                  <a:pt x="1398" y="588"/>
                  <a:pt x="1399" y="588"/>
                  <a:pt x="1400" y="588"/>
                </a:cubicBezTo>
                <a:cubicBezTo>
                  <a:pt x="1400" y="588"/>
                  <a:pt x="1400" y="588"/>
                  <a:pt x="1400" y="588"/>
                </a:cubicBezTo>
                <a:cubicBezTo>
                  <a:pt x="1400" y="588"/>
                  <a:pt x="1400" y="588"/>
                  <a:pt x="1400" y="588"/>
                </a:cubicBezTo>
                <a:close/>
                <a:moveTo>
                  <a:pt x="1422" y="585"/>
                </a:moveTo>
                <a:cubicBezTo>
                  <a:pt x="1419" y="586"/>
                  <a:pt x="1422" y="586"/>
                  <a:pt x="1422" y="585"/>
                </a:cubicBezTo>
                <a:cubicBezTo>
                  <a:pt x="1421" y="585"/>
                  <a:pt x="1422" y="585"/>
                  <a:pt x="1422" y="585"/>
                </a:cubicBezTo>
                <a:close/>
                <a:moveTo>
                  <a:pt x="1435" y="586"/>
                </a:moveTo>
                <a:cubicBezTo>
                  <a:pt x="1436" y="586"/>
                  <a:pt x="1436" y="586"/>
                  <a:pt x="1436" y="585"/>
                </a:cubicBezTo>
                <a:cubicBezTo>
                  <a:pt x="1436" y="585"/>
                  <a:pt x="1436" y="585"/>
                  <a:pt x="1436" y="584"/>
                </a:cubicBezTo>
                <a:cubicBezTo>
                  <a:pt x="1435" y="585"/>
                  <a:pt x="1434" y="585"/>
                  <a:pt x="1435" y="586"/>
                </a:cubicBezTo>
                <a:cubicBezTo>
                  <a:pt x="1436" y="586"/>
                  <a:pt x="1435" y="586"/>
                  <a:pt x="1435" y="586"/>
                </a:cubicBezTo>
                <a:close/>
                <a:moveTo>
                  <a:pt x="1433" y="584"/>
                </a:moveTo>
                <a:cubicBezTo>
                  <a:pt x="1433" y="583"/>
                  <a:pt x="1434" y="584"/>
                  <a:pt x="1434" y="584"/>
                </a:cubicBezTo>
                <a:cubicBezTo>
                  <a:pt x="1434" y="583"/>
                  <a:pt x="1433" y="583"/>
                  <a:pt x="1433" y="583"/>
                </a:cubicBezTo>
                <a:cubicBezTo>
                  <a:pt x="1433" y="583"/>
                  <a:pt x="1433" y="584"/>
                  <a:pt x="1433" y="584"/>
                </a:cubicBezTo>
                <a:close/>
                <a:moveTo>
                  <a:pt x="1285" y="584"/>
                </a:moveTo>
                <a:cubicBezTo>
                  <a:pt x="1285" y="585"/>
                  <a:pt x="1286" y="586"/>
                  <a:pt x="1286" y="588"/>
                </a:cubicBezTo>
                <a:cubicBezTo>
                  <a:pt x="1287" y="588"/>
                  <a:pt x="1288" y="588"/>
                  <a:pt x="1288" y="588"/>
                </a:cubicBezTo>
                <a:cubicBezTo>
                  <a:pt x="1288" y="587"/>
                  <a:pt x="1287" y="586"/>
                  <a:pt x="1287" y="584"/>
                </a:cubicBezTo>
                <a:cubicBezTo>
                  <a:pt x="1287" y="584"/>
                  <a:pt x="1287" y="583"/>
                  <a:pt x="1286" y="583"/>
                </a:cubicBezTo>
                <a:cubicBezTo>
                  <a:pt x="1286" y="583"/>
                  <a:pt x="1285" y="583"/>
                  <a:pt x="1285" y="584"/>
                </a:cubicBezTo>
                <a:cubicBezTo>
                  <a:pt x="1285" y="585"/>
                  <a:pt x="1285" y="584"/>
                  <a:pt x="1285" y="584"/>
                </a:cubicBezTo>
                <a:close/>
                <a:moveTo>
                  <a:pt x="1436" y="583"/>
                </a:moveTo>
                <a:cubicBezTo>
                  <a:pt x="1436" y="583"/>
                  <a:pt x="1433" y="583"/>
                  <a:pt x="1436" y="583"/>
                </a:cubicBezTo>
                <a:close/>
                <a:moveTo>
                  <a:pt x="571" y="583"/>
                </a:moveTo>
                <a:cubicBezTo>
                  <a:pt x="572" y="583"/>
                  <a:pt x="572" y="583"/>
                  <a:pt x="572" y="582"/>
                </a:cubicBezTo>
                <a:cubicBezTo>
                  <a:pt x="571" y="582"/>
                  <a:pt x="571" y="582"/>
                  <a:pt x="571" y="583"/>
                </a:cubicBezTo>
                <a:cubicBezTo>
                  <a:pt x="572" y="583"/>
                  <a:pt x="571" y="583"/>
                  <a:pt x="571" y="583"/>
                </a:cubicBezTo>
                <a:close/>
                <a:moveTo>
                  <a:pt x="1505" y="607"/>
                </a:moveTo>
                <a:cubicBezTo>
                  <a:pt x="1506" y="607"/>
                  <a:pt x="1506" y="607"/>
                  <a:pt x="1506" y="606"/>
                </a:cubicBezTo>
                <a:cubicBezTo>
                  <a:pt x="1505" y="607"/>
                  <a:pt x="1505" y="605"/>
                  <a:pt x="1504" y="604"/>
                </a:cubicBezTo>
                <a:cubicBezTo>
                  <a:pt x="1504" y="604"/>
                  <a:pt x="1504" y="603"/>
                  <a:pt x="1503" y="603"/>
                </a:cubicBezTo>
                <a:cubicBezTo>
                  <a:pt x="1503" y="601"/>
                  <a:pt x="1501" y="603"/>
                  <a:pt x="1500" y="602"/>
                </a:cubicBezTo>
                <a:cubicBezTo>
                  <a:pt x="1500" y="602"/>
                  <a:pt x="1500" y="601"/>
                  <a:pt x="1499" y="601"/>
                </a:cubicBezTo>
                <a:cubicBezTo>
                  <a:pt x="1499" y="600"/>
                  <a:pt x="1499" y="601"/>
                  <a:pt x="1499" y="601"/>
                </a:cubicBezTo>
                <a:cubicBezTo>
                  <a:pt x="1499" y="600"/>
                  <a:pt x="1499" y="599"/>
                  <a:pt x="1498" y="599"/>
                </a:cubicBezTo>
                <a:cubicBezTo>
                  <a:pt x="1498" y="599"/>
                  <a:pt x="1497" y="599"/>
                  <a:pt x="1496" y="599"/>
                </a:cubicBezTo>
                <a:cubicBezTo>
                  <a:pt x="1496" y="599"/>
                  <a:pt x="1496" y="599"/>
                  <a:pt x="1496" y="598"/>
                </a:cubicBezTo>
                <a:cubicBezTo>
                  <a:pt x="1495" y="598"/>
                  <a:pt x="1495" y="599"/>
                  <a:pt x="1495" y="598"/>
                </a:cubicBezTo>
                <a:cubicBezTo>
                  <a:pt x="1495" y="598"/>
                  <a:pt x="1495" y="598"/>
                  <a:pt x="1495" y="598"/>
                </a:cubicBezTo>
                <a:cubicBezTo>
                  <a:pt x="1494" y="598"/>
                  <a:pt x="1494" y="598"/>
                  <a:pt x="1494" y="598"/>
                </a:cubicBezTo>
                <a:cubicBezTo>
                  <a:pt x="1493" y="598"/>
                  <a:pt x="1493" y="598"/>
                  <a:pt x="1492" y="597"/>
                </a:cubicBezTo>
                <a:cubicBezTo>
                  <a:pt x="1492" y="597"/>
                  <a:pt x="1490" y="597"/>
                  <a:pt x="1490" y="597"/>
                </a:cubicBezTo>
                <a:cubicBezTo>
                  <a:pt x="1490" y="597"/>
                  <a:pt x="1490" y="597"/>
                  <a:pt x="1490" y="597"/>
                </a:cubicBezTo>
                <a:cubicBezTo>
                  <a:pt x="1489" y="597"/>
                  <a:pt x="1490" y="596"/>
                  <a:pt x="1489" y="596"/>
                </a:cubicBezTo>
                <a:cubicBezTo>
                  <a:pt x="1489" y="596"/>
                  <a:pt x="1488" y="596"/>
                  <a:pt x="1487" y="596"/>
                </a:cubicBezTo>
                <a:cubicBezTo>
                  <a:pt x="1487" y="595"/>
                  <a:pt x="1487" y="595"/>
                  <a:pt x="1486" y="595"/>
                </a:cubicBezTo>
                <a:cubicBezTo>
                  <a:pt x="1485" y="595"/>
                  <a:pt x="1485" y="594"/>
                  <a:pt x="1484" y="594"/>
                </a:cubicBezTo>
                <a:cubicBezTo>
                  <a:pt x="1484" y="594"/>
                  <a:pt x="1484" y="594"/>
                  <a:pt x="1484" y="594"/>
                </a:cubicBezTo>
                <a:cubicBezTo>
                  <a:pt x="1484" y="593"/>
                  <a:pt x="1483" y="594"/>
                  <a:pt x="1483" y="593"/>
                </a:cubicBezTo>
                <a:cubicBezTo>
                  <a:pt x="1483" y="593"/>
                  <a:pt x="1482" y="594"/>
                  <a:pt x="1482" y="593"/>
                </a:cubicBezTo>
                <a:cubicBezTo>
                  <a:pt x="1482" y="592"/>
                  <a:pt x="1481" y="592"/>
                  <a:pt x="1481" y="592"/>
                </a:cubicBezTo>
                <a:cubicBezTo>
                  <a:pt x="1481" y="592"/>
                  <a:pt x="1480" y="592"/>
                  <a:pt x="1479" y="592"/>
                </a:cubicBezTo>
                <a:cubicBezTo>
                  <a:pt x="1479" y="592"/>
                  <a:pt x="1479" y="592"/>
                  <a:pt x="1479" y="592"/>
                </a:cubicBezTo>
                <a:cubicBezTo>
                  <a:pt x="1478" y="592"/>
                  <a:pt x="1479" y="592"/>
                  <a:pt x="1478" y="592"/>
                </a:cubicBezTo>
                <a:cubicBezTo>
                  <a:pt x="1477" y="592"/>
                  <a:pt x="1476" y="592"/>
                  <a:pt x="1476" y="592"/>
                </a:cubicBezTo>
                <a:cubicBezTo>
                  <a:pt x="1475" y="591"/>
                  <a:pt x="1476" y="591"/>
                  <a:pt x="1475" y="591"/>
                </a:cubicBezTo>
                <a:cubicBezTo>
                  <a:pt x="1475" y="591"/>
                  <a:pt x="1475" y="591"/>
                  <a:pt x="1474" y="591"/>
                </a:cubicBezTo>
                <a:cubicBezTo>
                  <a:pt x="1474" y="591"/>
                  <a:pt x="1474" y="591"/>
                  <a:pt x="1474" y="591"/>
                </a:cubicBezTo>
                <a:cubicBezTo>
                  <a:pt x="1474" y="590"/>
                  <a:pt x="1473" y="590"/>
                  <a:pt x="1473" y="590"/>
                </a:cubicBezTo>
                <a:cubicBezTo>
                  <a:pt x="1472" y="589"/>
                  <a:pt x="1472" y="589"/>
                  <a:pt x="1472" y="589"/>
                </a:cubicBezTo>
                <a:cubicBezTo>
                  <a:pt x="1471" y="589"/>
                  <a:pt x="1471" y="588"/>
                  <a:pt x="1470" y="588"/>
                </a:cubicBezTo>
                <a:cubicBezTo>
                  <a:pt x="1470" y="588"/>
                  <a:pt x="1469" y="588"/>
                  <a:pt x="1469" y="588"/>
                </a:cubicBezTo>
                <a:cubicBezTo>
                  <a:pt x="1469" y="587"/>
                  <a:pt x="1468" y="588"/>
                  <a:pt x="1467" y="587"/>
                </a:cubicBezTo>
                <a:cubicBezTo>
                  <a:pt x="1467" y="588"/>
                  <a:pt x="1466" y="588"/>
                  <a:pt x="1465" y="589"/>
                </a:cubicBezTo>
                <a:cubicBezTo>
                  <a:pt x="1465" y="589"/>
                  <a:pt x="1464" y="591"/>
                  <a:pt x="1464" y="591"/>
                </a:cubicBezTo>
                <a:cubicBezTo>
                  <a:pt x="1462" y="591"/>
                  <a:pt x="1463" y="591"/>
                  <a:pt x="1462" y="591"/>
                </a:cubicBezTo>
                <a:cubicBezTo>
                  <a:pt x="1462" y="591"/>
                  <a:pt x="1462" y="591"/>
                  <a:pt x="1461" y="592"/>
                </a:cubicBezTo>
                <a:cubicBezTo>
                  <a:pt x="1461" y="592"/>
                  <a:pt x="1461" y="592"/>
                  <a:pt x="1461" y="593"/>
                </a:cubicBezTo>
                <a:cubicBezTo>
                  <a:pt x="1460" y="594"/>
                  <a:pt x="1460" y="593"/>
                  <a:pt x="1460" y="594"/>
                </a:cubicBezTo>
                <a:cubicBezTo>
                  <a:pt x="1460" y="595"/>
                  <a:pt x="1459" y="595"/>
                  <a:pt x="1459" y="596"/>
                </a:cubicBezTo>
                <a:cubicBezTo>
                  <a:pt x="1458" y="596"/>
                  <a:pt x="1458" y="596"/>
                  <a:pt x="1457" y="596"/>
                </a:cubicBezTo>
                <a:cubicBezTo>
                  <a:pt x="1457" y="596"/>
                  <a:pt x="1457" y="596"/>
                  <a:pt x="1457" y="597"/>
                </a:cubicBezTo>
                <a:cubicBezTo>
                  <a:pt x="1455" y="596"/>
                  <a:pt x="1455" y="597"/>
                  <a:pt x="1455" y="595"/>
                </a:cubicBezTo>
                <a:cubicBezTo>
                  <a:pt x="1455" y="595"/>
                  <a:pt x="1455" y="594"/>
                  <a:pt x="1454" y="595"/>
                </a:cubicBezTo>
                <a:cubicBezTo>
                  <a:pt x="1454" y="596"/>
                  <a:pt x="1454" y="594"/>
                  <a:pt x="1454" y="594"/>
                </a:cubicBezTo>
                <a:cubicBezTo>
                  <a:pt x="1454" y="593"/>
                  <a:pt x="1454" y="593"/>
                  <a:pt x="1453" y="592"/>
                </a:cubicBezTo>
                <a:cubicBezTo>
                  <a:pt x="1453" y="593"/>
                  <a:pt x="1452" y="593"/>
                  <a:pt x="1452" y="593"/>
                </a:cubicBezTo>
                <a:cubicBezTo>
                  <a:pt x="1452" y="592"/>
                  <a:pt x="1451" y="591"/>
                  <a:pt x="1451" y="590"/>
                </a:cubicBezTo>
                <a:cubicBezTo>
                  <a:pt x="1451" y="589"/>
                  <a:pt x="1451" y="588"/>
                  <a:pt x="1451" y="587"/>
                </a:cubicBezTo>
                <a:cubicBezTo>
                  <a:pt x="1451" y="586"/>
                  <a:pt x="1452" y="587"/>
                  <a:pt x="1452" y="587"/>
                </a:cubicBezTo>
                <a:cubicBezTo>
                  <a:pt x="1452" y="586"/>
                  <a:pt x="1451" y="586"/>
                  <a:pt x="1452" y="586"/>
                </a:cubicBezTo>
                <a:cubicBezTo>
                  <a:pt x="1452" y="585"/>
                  <a:pt x="1452" y="584"/>
                  <a:pt x="1451" y="583"/>
                </a:cubicBezTo>
                <a:cubicBezTo>
                  <a:pt x="1451" y="583"/>
                  <a:pt x="1450" y="583"/>
                  <a:pt x="1450" y="582"/>
                </a:cubicBezTo>
                <a:cubicBezTo>
                  <a:pt x="1450" y="582"/>
                  <a:pt x="1449" y="582"/>
                  <a:pt x="1448" y="583"/>
                </a:cubicBezTo>
                <a:cubicBezTo>
                  <a:pt x="1449" y="582"/>
                  <a:pt x="1447" y="582"/>
                  <a:pt x="1447" y="583"/>
                </a:cubicBezTo>
                <a:cubicBezTo>
                  <a:pt x="1446" y="582"/>
                  <a:pt x="1445" y="582"/>
                  <a:pt x="1444" y="582"/>
                </a:cubicBezTo>
                <a:cubicBezTo>
                  <a:pt x="1443" y="581"/>
                  <a:pt x="1442" y="582"/>
                  <a:pt x="1441" y="582"/>
                </a:cubicBezTo>
                <a:cubicBezTo>
                  <a:pt x="1440" y="583"/>
                  <a:pt x="1441" y="583"/>
                  <a:pt x="1440" y="583"/>
                </a:cubicBezTo>
                <a:cubicBezTo>
                  <a:pt x="1439" y="583"/>
                  <a:pt x="1439" y="583"/>
                  <a:pt x="1438" y="583"/>
                </a:cubicBezTo>
                <a:cubicBezTo>
                  <a:pt x="1437" y="583"/>
                  <a:pt x="1437" y="583"/>
                  <a:pt x="1437" y="584"/>
                </a:cubicBezTo>
                <a:cubicBezTo>
                  <a:pt x="1438" y="584"/>
                  <a:pt x="1437" y="587"/>
                  <a:pt x="1437" y="587"/>
                </a:cubicBezTo>
                <a:cubicBezTo>
                  <a:pt x="1437" y="588"/>
                  <a:pt x="1439" y="587"/>
                  <a:pt x="1440" y="587"/>
                </a:cubicBezTo>
                <a:cubicBezTo>
                  <a:pt x="1441" y="587"/>
                  <a:pt x="1440" y="588"/>
                  <a:pt x="1441" y="588"/>
                </a:cubicBezTo>
                <a:cubicBezTo>
                  <a:pt x="1442" y="588"/>
                  <a:pt x="1441" y="588"/>
                  <a:pt x="1441" y="589"/>
                </a:cubicBezTo>
                <a:cubicBezTo>
                  <a:pt x="1441" y="589"/>
                  <a:pt x="1442" y="590"/>
                  <a:pt x="1441" y="590"/>
                </a:cubicBezTo>
                <a:cubicBezTo>
                  <a:pt x="1442" y="590"/>
                  <a:pt x="1445" y="590"/>
                  <a:pt x="1445" y="591"/>
                </a:cubicBezTo>
                <a:cubicBezTo>
                  <a:pt x="1446" y="591"/>
                  <a:pt x="1446" y="590"/>
                  <a:pt x="1447" y="590"/>
                </a:cubicBezTo>
                <a:cubicBezTo>
                  <a:pt x="1447" y="590"/>
                  <a:pt x="1448" y="591"/>
                  <a:pt x="1449" y="591"/>
                </a:cubicBezTo>
                <a:cubicBezTo>
                  <a:pt x="1450" y="591"/>
                  <a:pt x="1450" y="591"/>
                  <a:pt x="1450" y="592"/>
                </a:cubicBezTo>
                <a:cubicBezTo>
                  <a:pt x="1449" y="592"/>
                  <a:pt x="1447" y="592"/>
                  <a:pt x="1448" y="592"/>
                </a:cubicBezTo>
                <a:cubicBezTo>
                  <a:pt x="1447" y="592"/>
                  <a:pt x="1447" y="592"/>
                  <a:pt x="1446" y="592"/>
                </a:cubicBezTo>
                <a:cubicBezTo>
                  <a:pt x="1446" y="593"/>
                  <a:pt x="1442" y="593"/>
                  <a:pt x="1441" y="593"/>
                </a:cubicBezTo>
                <a:cubicBezTo>
                  <a:pt x="1440" y="593"/>
                  <a:pt x="1441" y="593"/>
                  <a:pt x="1440" y="593"/>
                </a:cubicBezTo>
                <a:cubicBezTo>
                  <a:pt x="1441" y="594"/>
                  <a:pt x="1441" y="594"/>
                  <a:pt x="1442" y="594"/>
                </a:cubicBezTo>
                <a:cubicBezTo>
                  <a:pt x="1443" y="593"/>
                  <a:pt x="1443" y="594"/>
                  <a:pt x="1443" y="594"/>
                </a:cubicBezTo>
                <a:cubicBezTo>
                  <a:pt x="1443" y="595"/>
                  <a:pt x="1443" y="596"/>
                  <a:pt x="1444" y="596"/>
                </a:cubicBezTo>
                <a:cubicBezTo>
                  <a:pt x="1444" y="596"/>
                  <a:pt x="1445" y="596"/>
                  <a:pt x="1445" y="597"/>
                </a:cubicBezTo>
                <a:cubicBezTo>
                  <a:pt x="1445" y="597"/>
                  <a:pt x="1445" y="597"/>
                  <a:pt x="1445" y="597"/>
                </a:cubicBezTo>
                <a:cubicBezTo>
                  <a:pt x="1445" y="598"/>
                  <a:pt x="1445" y="598"/>
                  <a:pt x="1445" y="599"/>
                </a:cubicBezTo>
                <a:cubicBezTo>
                  <a:pt x="1446" y="601"/>
                  <a:pt x="1447" y="597"/>
                  <a:pt x="1448" y="597"/>
                </a:cubicBezTo>
                <a:cubicBezTo>
                  <a:pt x="1448" y="597"/>
                  <a:pt x="1448" y="596"/>
                  <a:pt x="1448" y="596"/>
                </a:cubicBezTo>
                <a:cubicBezTo>
                  <a:pt x="1448" y="596"/>
                  <a:pt x="1448" y="597"/>
                  <a:pt x="1448" y="597"/>
                </a:cubicBezTo>
                <a:cubicBezTo>
                  <a:pt x="1448" y="597"/>
                  <a:pt x="1449" y="597"/>
                  <a:pt x="1449" y="597"/>
                </a:cubicBezTo>
                <a:cubicBezTo>
                  <a:pt x="1449" y="598"/>
                  <a:pt x="1449" y="598"/>
                  <a:pt x="1449" y="598"/>
                </a:cubicBezTo>
                <a:cubicBezTo>
                  <a:pt x="1450" y="598"/>
                  <a:pt x="1450" y="598"/>
                  <a:pt x="1450" y="598"/>
                </a:cubicBezTo>
                <a:cubicBezTo>
                  <a:pt x="1450" y="598"/>
                  <a:pt x="1450" y="598"/>
                  <a:pt x="1451" y="599"/>
                </a:cubicBezTo>
                <a:cubicBezTo>
                  <a:pt x="1452" y="599"/>
                  <a:pt x="1452" y="599"/>
                  <a:pt x="1452" y="599"/>
                </a:cubicBezTo>
                <a:cubicBezTo>
                  <a:pt x="1452" y="599"/>
                  <a:pt x="1453" y="599"/>
                  <a:pt x="1453" y="599"/>
                </a:cubicBezTo>
                <a:cubicBezTo>
                  <a:pt x="1453" y="599"/>
                  <a:pt x="1453" y="600"/>
                  <a:pt x="1453" y="600"/>
                </a:cubicBezTo>
                <a:cubicBezTo>
                  <a:pt x="1453" y="602"/>
                  <a:pt x="1453" y="601"/>
                  <a:pt x="1454" y="602"/>
                </a:cubicBezTo>
                <a:cubicBezTo>
                  <a:pt x="1454" y="602"/>
                  <a:pt x="1454" y="602"/>
                  <a:pt x="1454" y="602"/>
                </a:cubicBezTo>
                <a:cubicBezTo>
                  <a:pt x="1454" y="602"/>
                  <a:pt x="1455" y="602"/>
                  <a:pt x="1455" y="602"/>
                </a:cubicBezTo>
                <a:cubicBezTo>
                  <a:pt x="1455" y="602"/>
                  <a:pt x="1456" y="602"/>
                  <a:pt x="1457" y="602"/>
                </a:cubicBezTo>
                <a:cubicBezTo>
                  <a:pt x="1457" y="603"/>
                  <a:pt x="1458" y="602"/>
                  <a:pt x="1458" y="603"/>
                </a:cubicBezTo>
                <a:cubicBezTo>
                  <a:pt x="1458" y="603"/>
                  <a:pt x="1459" y="602"/>
                  <a:pt x="1460" y="602"/>
                </a:cubicBezTo>
                <a:cubicBezTo>
                  <a:pt x="1460" y="603"/>
                  <a:pt x="1460" y="603"/>
                  <a:pt x="1461" y="603"/>
                </a:cubicBezTo>
                <a:cubicBezTo>
                  <a:pt x="1461" y="604"/>
                  <a:pt x="1462" y="604"/>
                  <a:pt x="1462" y="604"/>
                </a:cubicBezTo>
                <a:cubicBezTo>
                  <a:pt x="1463" y="604"/>
                  <a:pt x="1463" y="605"/>
                  <a:pt x="1463" y="606"/>
                </a:cubicBezTo>
                <a:cubicBezTo>
                  <a:pt x="1464" y="607"/>
                  <a:pt x="1465" y="606"/>
                  <a:pt x="1466" y="606"/>
                </a:cubicBezTo>
                <a:cubicBezTo>
                  <a:pt x="1467" y="606"/>
                  <a:pt x="1467" y="606"/>
                  <a:pt x="1467" y="607"/>
                </a:cubicBezTo>
                <a:cubicBezTo>
                  <a:pt x="1468" y="607"/>
                  <a:pt x="1468" y="607"/>
                  <a:pt x="1469" y="607"/>
                </a:cubicBezTo>
                <a:cubicBezTo>
                  <a:pt x="1470" y="607"/>
                  <a:pt x="1470" y="608"/>
                  <a:pt x="1470" y="608"/>
                </a:cubicBezTo>
                <a:cubicBezTo>
                  <a:pt x="1471" y="608"/>
                  <a:pt x="1470" y="609"/>
                  <a:pt x="1470" y="610"/>
                </a:cubicBezTo>
                <a:cubicBezTo>
                  <a:pt x="1471" y="610"/>
                  <a:pt x="1471" y="610"/>
                  <a:pt x="1471" y="611"/>
                </a:cubicBezTo>
                <a:cubicBezTo>
                  <a:pt x="1471" y="612"/>
                  <a:pt x="1471" y="612"/>
                  <a:pt x="1471" y="612"/>
                </a:cubicBezTo>
                <a:cubicBezTo>
                  <a:pt x="1471" y="613"/>
                  <a:pt x="1471" y="613"/>
                  <a:pt x="1471" y="613"/>
                </a:cubicBezTo>
                <a:cubicBezTo>
                  <a:pt x="1471" y="613"/>
                  <a:pt x="1471" y="613"/>
                  <a:pt x="1471" y="614"/>
                </a:cubicBezTo>
                <a:cubicBezTo>
                  <a:pt x="1470" y="615"/>
                  <a:pt x="1472" y="615"/>
                  <a:pt x="1472" y="616"/>
                </a:cubicBezTo>
                <a:cubicBezTo>
                  <a:pt x="1472" y="616"/>
                  <a:pt x="1472" y="617"/>
                  <a:pt x="1472" y="617"/>
                </a:cubicBezTo>
                <a:cubicBezTo>
                  <a:pt x="1472" y="617"/>
                  <a:pt x="1472" y="617"/>
                  <a:pt x="1473" y="617"/>
                </a:cubicBezTo>
                <a:cubicBezTo>
                  <a:pt x="1473" y="617"/>
                  <a:pt x="1473" y="617"/>
                  <a:pt x="1473" y="618"/>
                </a:cubicBezTo>
                <a:cubicBezTo>
                  <a:pt x="1473" y="618"/>
                  <a:pt x="1473" y="618"/>
                  <a:pt x="1473" y="618"/>
                </a:cubicBezTo>
                <a:cubicBezTo>
                  <a:pt x="1473" y="618"/>
                  <a:pt x="1473" y="619"/>
                  <a:pt x="1473" y="619"/>
                </a:cubicBezTo>
                <a:cubicBezTo>
                  <a:pt x="1474" y="619"/>
                  <a:pt x="1473" y="620"/>
                  <a:pt x="1473" y="620"/>
                </a:cubicBezTo>
                <a:cubicBezTo>
                  <a:pt x="1473" y="620"/>
                  <a:pt x="1473" y="621"/>
                  <a:pt x="1473" y="621"/>
                </a:cubicBezTo>
                <a:cubicBezTo>
                  <a:pt x="1474" y="622"/>
                  <a:pt x="1474" y="622"/>
                  <a:pt x="1474" y="623"/>
                </a:cubicBezTo>
                <a:cubicBezTo>
                  <a:pt x="1473" y="622"/>
                  <a:pt x="1473" y="622"/>
                  <a:pt x="1473" y="622"/>
                </a:cubicBezTo>
                <a:cubicBezTo>
                  <a:pt x="1472" y="621"/>
                  <a:pt x="1471" y="621"/>
                  <a:pt x="1470" y="622"/>
                </a:cubicBezTo>
                <a:cubicBezTo>
                  <a:pt x="1470" y="622"/>
                  <a:pt x="1470" y="622"/>
                  <a:pt x="1470" y="622"/>
                </a:cubicBezTo>
                <a:cubicBezTo>
                  <a:pt x="1470" y="623"/>
                  <a:pt x="1469" y="623"/>
                  <a:pt x="1469" y="623"/>
                </a:cubicBezTo>
                <a:cubicBezTo>
                  <a:pt x="1469" y="623"/>
                  <a:pt x="1468" y="624"/>
                  <a:pt x="1467" y="625"/>
                </a:cubicBezTo>
                <a:cubicBezTo>
                  <a:pt x="1468" y="625"/>
                  <a:pt x="1469" y="625"/>
                  <a:pt x="1470" y="625"/>
                </a:cubicBezTo>
                <a:cubicBezTo>
                  <a:pt x="1471" y="625"/>
                  <a:pt x="1471" y="625"/>
                  <a:pt x="1472" y="625"/>
                </a:cubicBezTo>
                <a:cubicBezTo>
                  <a:pt x="1473" y="624"/>
                  <a:pt x="1473" y="624"/>
                  <a:pt x="1473" y="623"/>
                </a:cubicBezTo>
                <a:cubicBezTo>
                  <a:pt x="1473" y="623"/>
                  <a:pt x="1473" y="624"/>
                  <a:pt x="1474" y="624"/>
                </a:cubicBezTo>
                <a:cubicBezTo>
                  <a:pt x="1474" y="624"/>
                  <a:pt x="1475" y="624"/>
                  <a:pt x="1476" y="624"/>
                </a:cubicBezTo>
                <a:cubicBezTo>
                  <a:pt x="1477" y="624"/>
                  <a:pt x="1478" y="623"/>
                  <a:pt x="1479" y="624"/>
                </a:cubicBezTo>
                <a:cubicBezTo>
                  <a:pt x="1479" y="625"/>
                  <a:pt x="1479" y="625"/>
                  <a:pt x="1479" y="625"/>
                </a:cubicBezTo>
                <a:cubicBezTo>
                  <a:pt x="1480" y="626"/>
                  <a:pt x="1480" y="626"/>
                  <a:pt x="1480" y="627"/>
                </a:cubicBezTo>
                <a:cubicBezTo>
                  <a:pt x="1480" y="628"/>
                  <a:pt x="1481" y="628"/>
                  <a:pt x="1481" y="628"/>
                </a:cubicBezTo>
                <a:cubicBezTo>
                  <a:pt x="1482" y="629"/>
                  <a:pt x="1482" y="629"/>
                  <a:pt x="1482" y="629"/>
                </a:cubicBezTo>
                <a:cubicBezTo>
                  <a:pt x="1482" y="629"/>
                  <a:pt x="1482" y="629"/>
                  <a:pt x="1483" y="629"/>
                </a:cubicBezTo>
                <a:cubicBezTo>
                  <a:pt x="1483" y="629"/>
                  <a:pt x="1483" y="629"/>
                  <a:pt x="1483" y="629"/>
                </a:cubicBezTo>
                <a:cubicBezTo>
                  <a:pt x="1484" y="629"/>
                  <a:pt x="1485" y="629"/>
                  <a:pt x="1486" y="629"/>
                </a:cubicBezTo>
                <a:cubicBezTo>
                  <a:pt x="1487" y="629"/>
                  <a:pt x="1489" y="629"/>
                  <a:pt x="1489" y="628"/>
                </a:cubicBezTo>
                <a:cubicBezTo>
                  <a:pt x="1490" y="628"/>
                  <a:pt x="1489" y="629"/>
                  <a:pt x="1490" y="629"/>
                </a:cubicBezTo>
                <a:cubicBezTo>
                  <a:pt x="1490" y="629"/>
                  <a:pt x="1491" y="629"/>
                  <a:pt x="1491" y="629"/>
                </a:cubicBezTo>
                <a:cubicBezTo>
                  <a:pt x="1492" y="629"/>
                  <a:pt x="1492" y="629"/>
                  <a:pt x="1493" y="629"/>
                </a:cubicBezTo>
                <a:cubicBezTo>
                  <a:pt x="1493" y="629"/>
                  <a:pt x="1493" y="629"/>
                  <a:pt x="1493" y="629"/>
                </a:cubicBezTo>
                <a:cubicBezTo>
                  <a:pt x="1493" y="628"/>
                  <a:pt x="1493" y="629"/>
                  <a:pt x="1493" y="629"/>
                </a:cubicBezTo>
                <a:cubicBezTo>
                  <a:pt x="1493" y="628"/>
                  <a:pt x="1493" y="628"/>
                  <a:pt x="1493" y="628"/>
                </a:cubicBezTo>
                <a:cubicBezTo>
                  <a:pt x="1494" y="628"/>
                  <a:pt x="1494" y="628"/>
                  <a:pt x="1494" y="628"/>
                </a:cubicBezTo>
                <a:cubicBezTo>
                  <a:pt x="1494" y="627"/>
                  <a:pt x="1496" y="627"/>
                  <a:pt x="1496" y="626"/>
                </a:cubicBezTo>
                <a:cubicBezTo>
                  <a:pt x="1495" y="625"/>
                  <a:pt x="1495" y="625"/>
                  <a:pt x="1495" y="624"/>
                </a:cubicBezTo>
                <a:cubicBezTo>
                  <a:pt x="1495" y="624"/>
                  <a:pt x="1496" y="623"/>
                  <a:pt x="1496" y="623"/>
                </a:cubicBezTo>
                <a:cubicBezTo>
                  <a:pt x="1497" y="623"/>
                  <a:pt x="1497" y="623"/>
                  <a:pt x="1498" y="623"/>
                </a:cubicBezTo>
                <a:cubicBezTo>
                  <a:pt x="1498" y="623"/>
                  <a:pt x="1498" y="623"/>
                  <a:pt x="1498" y="623"/>
                </a:cubicBezTo>
                <a:cubicBezTo>
                  <a:pt x="1499" y="623"/>
                  <a:pt x="1500" y="624"/>
                  <a:pt x="1502" y="624"/>
                </a:cubicBezTo>
                <a:cubicBezTo>
                  <a:pt x="1502" y="624"/>
                  <a:pt x="1502" y="623"/>
                  <a:pt x="1503" y="623"/>
                </a:cubicBezTo>
                <a:cubicBezTo>
                  <a:pt x="1503" y="623"/>
                  <a:pt x="1503" y="624"/>
                  <a:pt x="1504" y="624"/>
                </a:cubicBezTo>
                <a:cubicBezTo>
                  <a:pt x="1504" y="624"/>
                  <a:pt x="1504" y="624"/>
                  <a:pt x="1505" y="624"/>
                </a:cubicBezTo>
                <a:cubicBezTo>
                  <a:pt x="1505" y="624"/>
                  <a:pt x="1505" y="624"/>
                  <a:pt x="1505" y="624"/>
                </a:cubicBezTo>
                <a:cubicBezTo>
                  <a:pt x="1505" y="624"/>
                  <a:pt x="1505" y="624"/>
                  <a:pt x="1506" y="624"/>
                </a:cubicBezTo>
                <a:cubicBezTo>
                  <a:pt x="1506" y="624"/>
                  <a:pt x="1506" y="624"/>
                  <a:pt x="1506" y="624"/>
                </a:cubicBezTo>
                <a:cubicBezTo>
                  <a:pt x="1506" y="625"/>
                  <a:pt x="1508" y="625"/>
                  <a:pt x="1508" y="626"/>
                </a:cubicBezTo>
                <a:cubicBezTo>
                  <a:pt x="1508" y="626"/>
                  <a:pt x="1509" y="627"/>
                  <a:pt x="1509" y="628"/>
                </a:cubicBezTo>
                <a:cubicBezTo>
                  <a:pt x="1509" y="628"/>
                  <a:pt x="1509" y="629"/>
                  <a:pt x="1509" y="629"/>
                </a:cubicBezTo>
                <a:cubicBezTo>
                  <a:pt x="1509" y="629"/>
                  <a:pt x="1510" y="629"/>
                  <a:pt x="1510" y="629"/>
                </a:cubicBezTo>
                <a:cubicBezTo>
                  <a:pt x="1510" y="630"/>
                  <a:pt x="1511" y="631"/>
                  <a:pt x="1512" y="631"/>
                </a:cubicBezTo>
                <a:cubicBezTo>
                  <a:pt x="1514" y="632"/>
                  <a:pt x="1512" y="632"/>
                  <a:pt x="1513" y="632"/>
                </a:cubicBezTo>
                <a:cubicBezTo>
                  <a:pt x="1513" y="633"/>
                  <a:pt x="1514" y="633"/>
                  <a:pt x="1514" y="633"/>
                </a:cubicBezTo>
                <a:cubicBezTo>
                  <a:pt x="1515" y="634"/>
                  <a:pt x="1515" y="634"/>
                  <a:pt x="1515" y="634"/>
                </a:cubicBezTo>
                <a:cubicBezTo>
                  <a:pt x="1515" y="636"/>
                  <a:pt x="1516" y="635"/>
                  <a:pt x="1517" y="635"/>
                </a:cubicBezTo>
                <a:cubicBezTo>
                  <a:pt x="1517" y="635"/>
                  <a:pt x="1518" y="636"/>
                  <a:pt x="1518" y="636"/>
                </a:cubicBezTo>
                <a:cubicBezTo>
                  <a:pt x="1518" y="637"/>
                  <a:pt x="1519" y="636"/>
                  <a:pt x="1519" y="636"/>
                </a:cubicBezTo>
                <a:cubicBezTo>
                  <a:pt x="1519" y="636"/>
                  <a:pt x="1520" y="637"/>
                  <a:pt x="1521" y="637"/>
                </a:cubicBezTo>
                <a:cubicBezTo>
                  <a:pt x="1522" y="637"/>
                  <a:pt x="1523" y="637"/>
                  <a:pt x="1524" y="637"/>
                </a:cubicBezTo>
                <a:cubicBezTo>
                  <a:pt x="1524" y="637"/>
                  <a:pt x="1524" y="638"/>
                  <a:pt x="1525" y="638"/>
                </a:cubicBezTo>
                <a:cubicBezTo>
                  <a:pt x="1526" y="638"/>
                  <a:pt x="1527" y="638"/>
                  <a:pt x="1528" y="638"/>
                </a:cubicBezTo>
                <a:cubicBezTo>
                  <a:pt x="1528" y="637"/>
                  <a:pt x="1528" y="637"/>
                  <a:pt x="1528" y="636"/>
                </a:cubicBezTo>
                <a:cubicBezTo>
                  <a:pt x="1527" y="636"/>
                  <a:pt x="1526" y="636"/>
                  <a:pt x="1526" y="636"/>
                </a:cubicBezTo>
                <a:cubicBezTo>
                  <a:pt x="1526" y="635"/>
                  <a:pt x="1525" y="635"/>
                  <a:pt x="1525" y="635"/>
                </a:cubicBezTo>
                <a:cubicBezTo>
                  <a:pt x="1525" y="634"/>
                  <a:pt x="1525" y="633"/>
                  <a:pt x="1524" y="633"/>
                </a:cubicBezTo>
                <a:cubicBezTo>
                  <a:pt x="1523" y="633"/>
                  <a:pt x="1523" y="633"/>
                  <a:pt x="1522" y="632"/>
                </a:cubicBezTo>
                <a:cubicBezTo>
                  <a:pt x="1522" y="631"/>
                  <a:pt x="1522" y="631"/>
                  <a:pt x="1522" y="630"/>
                </a:cubicBezTo>
                <a:cubicBezTo>
                  <a:pt x="1521" y="630"/>
                  <a:pt x="1521" y="629"/>
                  <a:pt x="1520" y="629"/>
                </a:cubicBezTo>
                <a:cubicBezTo>
                  <a:pt x="1519" y="629"/>
                  <a:pt x="1519" y="629"/>
                  <a:pt x="1519" y="629"/>
                </a:cubicBezTo>
                <a:cubicBezTo>
                  <a:pt x="1519" y="629"/>
                  <a:pt x="1519" y="628"/>
                  <a:pt x="1519" y="627"/>
                </a:cubicBezTo>
                <a:cubicBezTo>
                  <a:pt x="1518" y="627"/>
                  <a:pt x="1518" y="627"/>
                  <a:pt x="1518" y="626"/>
                </a:cubicBezTo>
                <a:cubicBezTo>
                  <a:pt x="1517" y="626"/>
                  <a:pt x="1518" y="625"/>
                  <a:pt x="1518" y="625"/>
                </a:cubicBezTo>
                <a:cubicBezTo>
                  <a:pt x="1517" y="624"/>
                  <a:pt x="1516" y="624"/>
                  <a:pt x="1516" y="624"/>
                </a:cubicBezTo>
                <a:cubicBezTo>
                  <a:pt x="1516" y="623"/>
                  <a:pt x="1515" y="624"/>
                  <a:pt x="1515" y="624"/>
                </a:cubicBezTo>
                <a:cubicBezTo>
                  <a:pt x="1515" y="624"/>
                  <a:pt x="1515" y="623"/>
                  <a:pt x="1514" y="623"/>
                </a:cubicBezTo>
                <a:cubicBezTo>
                  <a:pt x="1514" y="623"/>
                  <a:pt x="1514" y="623"/>
                  <a:pt x="1513" y="622"/>
                </a:cubicBezTo>
                <a:cubicBezTo>
                  <a:pt x="1513" y="622"/>
                  <a:pt x="1513" y="621"/>
                  <a:pt x="1513" y="621"/>
                </a:cubicBezTo>
                <a:cubicBezTo>
                  <a:pt x="1513" y="620"/>
                  <a:pt x="1513" y="619"/>
                  <a:pt x="1513" y="618"/>
                </a:cubicBezTo>
                <a:cubicBezTo>
                  <a:pt x="1513" y="618"/>
                  <a:pt x="1512" y="618"/>
                  <a:pt x="1512" y="618"/>
                </a:cubicBezTo>
                <a:cubicBezTo>
                  <a:pt x="1513" y="618"/>
                  <a:pt x="1512" y="617"/>
                  <a:pt x="1513" y="617"/>
                </a:cubicBezTo>
                <a:cubicBezTo>
                  <a:pt x="1513" y="617"/>
                  <a:pt x="1513" y="617"/>
                  <a:pt x="1514" y="617"/>
                </a:cubicBezTo>
                <a:cubicBezTo>
                  <a:pt x="1514" y="617"/>
                  <a:pt x="1514" y="617"/>
                  <a:pt x="1515" y="617"/>
                </a:cubicBezTo>
                <a:cubicBezTo>
                  <a:pt x="1516" y="616"/>
                  <a:pt x="1517" y="615"/>
                  <a:pt x="1516" y="614"/>
                </a:cubicBezTo>
                <a:cubicBezTo>
                  <a:pt x="1515" y="613"/>
                  <a:pt x="1515" y="614"/>
                  <a:pt x="1515" y="613"/>
                </a:cubicBezTo>
                <a:cubicBezTo>
                  <a:pt x="1515" y="612"/>
                  <a:pt x="1514" y="612"/>
                  <a:pt x="1514" y="612"/>
                </a:cubicBezTo>
                <a:cubicBezTo>
                  <a:pt x="1513" y="612"/>
                  <a:pt x="1513" y="613"/>
                  <a:pt x="1512" y="612"/>
                </a:cubicBezTo>
                <a:cubicBezTo>
                  <a:pt x="1511" y="612"/>
                  <a:pt x="1511" y="611"/>
                  <a:pt x="1510" y="610"/>
                </a:cubicBezTo>
                <a:cubicBezTo>
                  <a:pt x="1510" y="610"/>
                  <a:pt x="1510" y="610"/>
                  <a:pt x="1510" y="609"/>
                </a:cubicBezTo>
                <a:cubicBezTo>
                  <a:pt x="1510" y="609"/>
                  <a:pt x="1508" y="609"/>
                  <a:pt x="1508" y="609"/>
                </a:cubicBezTo>
                <a:cubicBezTo>
                  <a:pt x="1507" y="609"/>
                  <a:pt x="1505" y="609"/>
                  <a:pt x="1505" y="607"/>
                </a:cubicBezTo>
                <a:close/>
                <a:moveTo>
                  <a:pt x="573" y="581"/>
                </a:moveTo>
                <a:cubicBezTo>
                  <a:pt x="573" y="581"/>
                  <a:pt x="573" y="581"/>
                  <a:pt x="574" y="581"/>
                </a:cubicBezTo>
                <a:cubicBezTo>
                  <a:pt x="573" y="581"/>
                  <a:pt x="574" y="581"/>
                  <a:pt x="573" y="580"/>
                </a:cubicBezTo>
                <a:cubicBezTo>
                  <a:pt x="573" y="581"/>
                  <a:pt x="573" y="581"/>
                  <a:pt x="573" y="581"/>
                </a:cubicBezTo>
                <a:close/>
                <a:moveTo>
                  <a:pt x="1421" y="582"/>
                </a:moveTo>
                <a:cubicBezTo>
                  <a:pt x="1421" y="581"/>
                  <a:pt x="1420" y="581"/>
                  <a:pt x="1420" y="581"/>
                </a:cubicBezTo>
                <a:cubicBezTo>
                  <a:pt x="1420" y="581"/>
                  <a:pt x="1420" y="580"/>
                  <a:pt x="1419" y="580"/>
                </a:cubicBezTo>
                <a:cubicBezTo>
                  <a:pt x="1419" y="580"/>
                  <a:pt x="1419" y="582"/>
                  <a:pt x="1419" y="583"/>
                </a:cubicBezTo>
                <a:cubicBezTo>
                  <a:pt x="1420" y="582"/>
                  <a:pt x="1421" y="582"/>
                  <a:pt x="1421" y="582"/>
                </a:cubicBezTo>
                <a:cubicBezTo>
                  <a:pt x="1420" y="581"/>
                  <a:pt x="1421" y="582"/>
                  <a:pt x="1421" y="582"/>
                </a:cubicBezTo>
                <a:close/>
                <a:moveTo>
                  <a:pt x="1309" y="580"/>
                </a:moveTo>
                <a:cubicBezTo>
                  <a:pt x="1309" y="580"/>
                  <a:pt x="1310" y="580"/>
                  <a:pt x="1309" y="579"/>
                </a:cubicBezTo>
                <a:cubicBezTo>
                  <a:pt x="1309" y="580"/>
                  <a:pt x="1308" y="580"/>
                  <a:pt x="1309" y="580"/>
                </a:cubicBezTo>
                <a:close/>
                <a:moveTo>
                  <a:pt x="572" y="579"/>
                </a:moveTo>
                <a:cubicBezTo>
                  <a:pt x="573" y="579"/>
                  <a:pt x="573" y="579"/>
                  <a:pt x="573" y="579"/>
                </a:cubicBezTo>
                <a:cubicBezTo>
                  <a:pt x="572" y="579"/>
                  <a:pt x="572" y="579"/>
                  <a:pt x="572" y="579"/>
                </a:cubicBezTo>
                <a:cubicBezTo>
                  <a:pt x="572" y="580"/>
                  <a:pt x="572" y="579"/>
                  <a:pt x="572" y="579"/>
                </a:cubicBezTo>
                <a:cubicBezTo>
                  <a:pt x="573" y="579"/>
                  <a:pt x="572" y="579"/>
                  <a:pt x="572" y="579"/>
                </a:cubicBezTo>
                <a:close/>
                <a:moveTo>
                  <a:pt x="1438" y="580"/>
                </a:moveTo>
                <a:cubicBezTo>
                  <a:pt x="1438" y="579"/>
                  <a:pt x="1437" y="579"/>
                  <a:pt x="1437" y="579"/>
                </a:cubicBezTo>
                <a:cubicBezTo>
                  <a:pt x="1436" y="579"/>
                  <a:pt x="1435" y="579"/>
                  <a:pt x="1435" y="578"/>
                </a:cubicBezTo>
                <a:cubicBezTo>
                  <a:pt x="1434" y="578"/>
                  <a:pt x="1434" y="579"/>
                  <a:pt x="1433" y="579"/>
                </a:cubicBezTo>
                <a:cubicBezTo>
                  <a:pt x="1432" y="579"/>
                  <a:pt x="1432" y="579"/>
                  <a:pt x="1432" y="579"/>
                </a:cubicBezTo>
                <a:cubicBezTo>
                  <a:pt x="1432" y="580"/>
                  <a:pt x="1432" y="580"/>
                  <a:pt x="1433" y="580"/>
                </a:cubicBezTo>
                <a:cubicBezTo>
                  <a:pt x="1434" y="579"/>
                  <a:pt x="1434" y="580"/>
                  <a:pt x="1434" y="580"/>
                </a:cubicBezTo>
                <a:cubicBezTo>
                  <a:pt x="1435" y="580"/>
                  <a:pt x="1437" y="581"/>
                  <a:pt x="1438" y="580"/>
                </a:cubicBezTo>
                <a:close/>
                <a:moveTo>
                  <a:pt x="583" y="576"/>
                </a:moveTo>
                <a:cubicBezTo>
                  <a:pt x="583" y="575"/>
                  <a:pt x="582" y="575"/>
                  <a:pt x="581" y="575"/>
                </a:cubicBezTo>
                <a:cubicBezTo>
                  <a:pt x="581" y="575"/>
                  <a:pt x="580" y="576"/>
                  <a:pt x="579" y="576"/>
                </a:cubicBezTo>
                <a:cubicBezTo>
                  <a:pt x="580" y="576"/>
                  <a:pt x="580" y="576"/>
                  <a:pt x="580" y="577"/>
                </a:cubicBezTo>
                <a:cubicBezTo>
                  <a:pt x="579" y="577"/>
                  <a:pt x="577" y="578"/>
                  <a:pt x="577" y="579"/>
                </a:cubicBezTo>
                <a:cubicBezTo>
                  <a:pt x="577" y="580"/>
                  <a:pt x="577" y="580"/>
                  <a:pt x="576" y="580"/>
                </a:cubicBezTo>
                <a:cubicBezTo>
                  <a:pt x="575" y="581"/>
                  <a:pt x="575" y="581"/>
                  <a:pt x="575" y="582"/>
                </a:cubicBezTo>
                <a:cubicBezTo>
                  <a:pt x="575" y="583"/>
                  <a:pt x="575" y="584"/>
                  <a:pt x="576" y="585"/>
                </a:cubicBezTo>
                <a:cubicBezTo>
                  <a:pt x="576" y="585"/>
                  <a:pt x="576" y="585"/>
                  <a:pt x="577" y="586"/>
                </a:cubicBezTo>
                <a:cubicBezTo>
                  <a:pt x="577" y="586"/>
                  <a:pt x="579" y="587"/>
                  <a:pt x="579" y="586"/>
                </a:cubicBezTo>
                <a:cubicBezTo>
                  <a:pt x="580" y="586"/>
                  <a:pt x="581" y="586"/>
                  <a:pt x="582" y="586"/>
                </a:cubicBezTo>
                <a:cubicBezTo>
                  <a:pt x="582" y="586"/>
                  <a:pt x="583" y="586"/>
                  <a:pt x="583" y="585"/>
                </a:cubicBezTo>
                <a:cubicBezTo>
                  <a:pt x="583" y="585"/>
                  <a:pt x="584" y="585"/>
                  <a:pt x="584" y="585"/>
                </a:cubicBezTo>
                <a:cubicBezTo>
                  <a:pt x="584" y="584"/>
                  <a:pt x="585" y="584"/>
                  <a:pt x="585" y="584"/>
                </a:cubicBezTo>
                <a:cubicBezTo>
                  <a:pt x="586" y="583"/>
                  <a:pt x="585" y="582"/>
                  <a:pt x="586" y="582"/>
                </a:cubicBezTo>
                <a:cubicBezTo>
                  <a:pt x="587" y="581"/>
                  <a:pt x="587" y="581"/>
                  <a:pt x="586" y="580"/>
                </a:cubicBezTo>
                <a:cubicBezTo>
                  <a:pt x="586" y="580"/>
                  <a:pt x="586" y="580"/>
                  <a:pt x="586" y="579"/>
                </a:cubicBezTo>
                <a:cubicBezTo>
                  <a:pt x="586" y="578"/>
                  <a:pt x="586" y="578"/>
                  <a:pt x="586" y="577"/>
                </a:cubicBezTo>
                <a:cubicBezTo>
                  <a:pt x="585" y="577"/>
                  <a:pt x="585" y="577"/>
                  <a:pt x="584" y="577"/>
                </a:cubicBezTo>
                <a:cubicBezTo>
                  <a:pt x="583" y="577"/>
                  <a:pt x="583" y="577"/>
                  <a:pt x="582" y="577"/>
                </a:cubicBezTo>
                <a:cubicBezTo>
                  <a:pt x="583" y="577"/>
                  <a:pt x="583" y="577"/>
                  <a:pt x="583" y="576"/>
                </a:cubicBezTo>
                <a:cubicBezTo>
                  <a:pt x="583" y="575"/>
                  <a:pt x="583" y="576"/>
                  <a:pt x="583" y="576"/>
                </a:cubicBezTo>
                <a:close/>
                <a:moveTo>
                  <a:pt x="1312" y="570"/>
                </a:moveTo>
                <a:cubicBezTo>
                  <a:pt x="1311" y="570"/>
                  <a:pt x="1312" y="571"/>
                  <a:pt x="1313" y="570"/>
                </a:cubicBezTo>
                <a:cubicBezTo>
                  <a:pt x="1313" y="570"/>
                  <a:pt x="1312" y="570"/>
                  <a:pt x="1312" y="570"/>
                </a:cubicBezTo>
                <a:close/>
                <a:moveTo>
                  <a:pt x="1303" y="571"/>
                </a:moveTo>
                <a:cubicBezTo>
                  <a:pt x="1303" y="570"/>
                  <a:pt x="1303" y="570"/>
                  <a:pt x="1302" y="570"/>
                </a:cubicBezTo>
                <a:cubicBezTo>
                  <a:pt x="1302" y="571"/>
                  <a:pt x="1302" y="571"/>
                  <a:pt x="1303" y="571"/>
                </a:cubicBezTo>
                <a:cubicBezTo>
                  <a:pt x="1303" y="570"/>
                  <a:pt x="1303" y="571"/>
                  <a:pt x="1303" y="571"/>
                </a:cubicBezTo>
                <a:close/>
                <a:moveTo>
                  <a:pt x="1382" y="583"/>
                </a:moveTo>
                <a:cubicBezTo>
                  <a:pt x="1381" y="584"/>
                  <a:pt x="1381" y="585"/>
                  <a:pt x="1381" y="586"/>
                </a:cubicBezTo>
                <a:cubicBezTo>
                  <a:pt x="1381" y="587"/>
                  <a:pt x="1381" y="588"/>
                  <a:pt x="1381" y="588"/>
                </a:cubicBezTo>
                <a:cubicBezTo>
                  <a:pt x="1381" y="589"/>
                  <a:pt x="1381" y="589"/>
                  <a:pt x="1381" y="589"/>
                </a:cubicBezTo>
                <a:cubicBezTo>
                  <a:pt x="1381" y="589"/>
                  <a:pt x="1381" y="590"/>
                  <a:pt x="1381" y="591"/>
                </a:cubicBezTo>
                <a:cubicBezTo>
                  <a:pt x="1381" y="590"/>
                  <a:pt x="1380" y="592"/>
                  <a:pt x="1380" y="592"/>
                </a:cubicBezTo>
                <a:cubicBezTo>
                  <a:pt x="1379" y="592"/>
                  <a:pt x="1380" y="592"/>
                  <a:pt x="1380" y="593"/>
                </a:cubicBezTo>
                <a:cubicBezTo>
                  <a:pt x="1380" y="594"/>
                  <a:pt x="1380" y="594"/>
                  <a:pt x="1379" y="594"/>
                </a:cubicBezTo>
                <a:cubicBezTo>
                  <a:pt x="1379" y="595"/>
                  <a:pt x="1380" y="596"/>
                  <a:pt x="1380" y="597"/>
                </a:cubicBezTo>
                <a:cubicBezTo>
                  <a:pt x="1380" y="597"/>
                  <a:pt x="1381" y="597"/>
                  <a:pt x="1382" y="598"/>
                </a:cubicBezTo>
                <a:cubicBezTo>
                  <a:pt x="1383" y="598"/>
                  <a:pt x="1382" y="599"/>
                  <a:pt x="1382" y="599"/>
                </a:cubicBezTo>
                <a:cubicBezTo>
                  <a:pt x="1382" y="600"/>
                  <a:pt x="1383" y="601"/>
                  <a:pt x="1382" y="601"/>
                </a:cubicBezTo>
                <a:cubicBezTo>
                  <a:pt x="1382" y="602"/>
                  <a:pt x="1382" y="602"/>
                  <a:pt x="1382" y="602"/>
                </a:cubicBezTo>
                <a:cubicBezTo>
                  <a:pt x="1382" y="602"/>
                  <a:pt x="1381" y="602"/>
                  <a:pt x="1381" y="603"/>
                </a:cubicBezTo>
                <a:cubicBezTo>
                  <a:pt x="1381" y="603"/>
                  <a:pt x="1381" y="603"/>
                  <a:pt x="1381" y="603"/>
                </a:cubicBezTo>
                <a:cubicBezTo>
                  <a:pt x="1380" y="603"/>
                  <a:pt x="1381" y="604"/>
                  <a:pt x="1381" y="605"/>
                </a:cubicBezTo>
                <a:cubicBezTo>
                  <a:pt x="1381" y="606"/>
                  <a:pt x="1381" y="607"/>
                  <a:pt x="1381" y="608"/>
                </a:cubicBezTo>
                <a:cubicBezTo>
                  <a:pt x="1381" y="609"/>
                  <a:pt x="1382" y="608"/>
                  <a:pt x="1383" y="608"/>
                </a:cubicBezTo>
                <a:cubicBezTo>
                  <a:pt x="1383" y="608"/>
                  <a:pt x="1383" y="609"/>
                  <a:pt x="1383" y="608"/>
                </a:cubicBezTo>
                <a:cubicBezTo>
                  <a:pt x="1383" y="608"/>
                  <a:pt x="1385" y="608"/>
                  <a:pt x="1385" y="608"/>
                </a:cubicBezTo>
                <a:cubicBezTo>
                  <a:pt x="1387" y="608"/>
                  <a:pt x="1387" y="608"/>
                  <a:pt x="1387" y="607"/>
                </a:cubicBezTo>
                <a:cubicBezTo>
                  <a:pt x="1387" y="606"/>
                  <a:pt x="1386" y="606"/>
                  <a:pt x="1386" y="605"/>
                </a:cubicBezTo>
                <a:cubicBezTo>
                  <a:pt x="1387" y="605"/>
                  <a:pt x="1387" y="604"/>
                  <a:pt x="1387" y="603"/>
                </a:cubicBezTo>
                <a:cubicBezTo>
                  <a:pt x="1386" y="603"/>
                  <a:pt x="1386" y="602"/>
                  <a:pt x="1386" y="602"/>
                </a:cubicBezTo>
                <a:cubicBezTo>
                  <a:pt x="1386" y="601"/>
                  <a:pt x="1386" y="601"/>
                  <a:pt x="1387" y="600"/>
                </a:cubicBezTo>
                <a:cubicBezTo>
                  <a:pt x="1388" y="600"/>
                  <a:pt x="1387" y="599"/>
                  <a:pt x="1387" y="598"/>
                </a:cubicBezTo>
                <a:cubicBezTo>
                  <a:pt x="1387" y="597"/>
                  <a:pt x="1387" y="597"/>
                  <a:pt x="1387" y="596"/>
                </a:cubicBezTo>
                <a:cubicBezTo>
                  <a:pt x="1387" y="596"/>
                  <a:pt x="1388" y="596"/>
                  <a:pt x="1388" y="596"/>
                </a:cubicBezTo>
                <a:cubicBezTo>
                  <a:pt x="1388" y="595"/>
                  <a:pt x="1389" y="595"/>
                  <a:pt x="1389" y="595"/>
                </a:cubicBezTo>
                <a:cubicBezTo>
                  <a:pt x="1390" y="595"/>
                  <a:pt x="1389" y="595"/>
                  <a:pt x="1390" y="596"/>
                </a:cubicBezTo>
                <a:cubicBezTo>
                  <a:pt x="1391" y="596"/>
                  <a:pt x="1390" y="600"/>
                  <a:pt x="1391" y="600"/>
                </a:cubicBezTo>
                <a:cubicBezTo>
                  <a:pt x="1391" y="600"/>
                  <a:pt x="1391" y="600"/>
                  <a:pt x="1391" y="601"/>
                </a:cubicBezTo>
                <a:cubicBezTo>
                  <a:pt x="1392" y="601"/>
                  <a:pt x="1392" y="601"/>
                  <a:pt x="1392" y="602"/>
                </a:cubicBezTo>
                <a:cubicBezTo>
                  <a:pt x="1392" y="602"/>
                  <a:pt x="1392" y="602"/>
                  <a:pt x="1392" y="602"/>
                </a:cubicBezTo>
                <a:cubicBezTo>
                  <a:pt x="1392" y="603"/>
                  <a:pt x="1392" y="604"/>
                  <a:pt x="1392" y="605"/>
                </a:cubicBezTo>
                <a:cubicBezTo>
                  <a:pt x="1392" y="605"/>
                  <a:pt x="1392" y="606"/>
                  <a:pt x="1393" y="606"/>
                </a:cubicBezTo>
                <a:cubicBezTo>
                  <a:pt x="1393" y="606"/>
                  <a:pt x="1393" y="606"/>
                  <a:pt x="1393" y="606"/>
                </a:cubicBezTo>
                <a:cubicBezTo>
                  <a:pt x="1394" y="606"/>
                  <a:pt x="1395" y="606"/>
                  <a:pt x="1395" y="606"/>
                </a:cubicBezTo>
                <a:cubicBezTo>
                  <a:pt x="1396" y="605"/>
                  <a:pt x="1395" y="604"/>
                  <a:pt x="1395" y="603"/>
                </a:cubicBezTo>
                <a:cubicBezTo>
                  <a:pt x="1397" y="603"/>
                  <a:pt x="1399" y="604"/>
                  <a:pt x="1399" y="602"/>
                </a:cubicBezTo>
                <a:cubicBezTo>
                  <a:pt x="1399" y="601"/>
                  <a:pt x="1398" y="601"/>
                  <a:pt x="1398" y="600"/>
                </a:cubicBezTo>
                <a:cubicBezTo>
                  <a:pt x="1398" y="600"/>
                  <a:pt x="1397" y="600"/>
                  <a:pt x="1397" y="600"/>
                </a:cubicBezTo>
                <a:cubicBezTo>
                  <a:pt x="1397" y="599"/>
                  <a:pt x="1397" y="598"/>
                  <a:pt x="1396" y="598"/>
                </a:cubicBezTo>
                <a:cubicBezTo>
                  <a:pt x="1396" y="598"/>
                  <a:pt x="1397" y="597"/>
                  <a:pt x="1397" y="596"/>
                </a:cubicBezTo>
                <a:cubicBezTo>
                  <a:pt x="1396" y="597"/>
                  <a:pt x="1397" y="595"/>
                  <a:pt x="1395" y="595"/>
                </a:cubicBezTo>
                <a:cubicBezTo>
                  <a:pt x="1395" y="595"/>
                  <a:pt x="1395" y="595"/>
                  <a:pt x="1394" y="595"/>
                </a:cubicBezTo>
                <a:cubicBezTo>
                  <a:pt x="1394" y="595"/>
                  <a:pt x="1394" y="595"/>
                  <a:pt x="1394" y="595"/>
                </a:cubicBezTo>
                <a:cubicBezTo>
                  <a:pt x="1394" y="594"/>
                  <a:pt x="1393" y="593"/>
                  <a:pt x="1393" y="592"/>
                </a:cubicBezTo>
                <a:cubicBezTo>
                  <a:pt x="1393" y="591"/>
                  <a:pt x="1393" y="592"/>
                  <a:pt x="1392" y="591"/>
                </a:cubicBezTo>
                <a:cubicBezTo>
                  <a:pt x="1391" y="591"/>
                  <a:pt x="1391" y="591"/>
                  <a:pt x="1390" y="590"/>
                </a:cubicBezTo>
                <a:cubicBezTo>
                  <a:pt x="1390" y="590"/>
                  <a:pt x="1390" y="590"/>
                  <a:pt x="1390" y="590"/>
                </a:cubicBezTo>
                <a:cubicBezTo>
                  <a:pt x="1391" y="589"/>
                  <a:pt x="1391" y="589"/>
                  <a:pt x="1392" y="589"/>
                </a:cubicBezTo>
                <a:cubicBezTo>
                  <a:pt x="1392" y="589"/>
                  <a:pt x="1392" y="589"/>
                  <a:pt x="1393" y="589"/>
                </a:cubicBezTo>
                <a:cubicBezTo>
                  <a:pt x="1393" y="589"/>
                  <a:pt x="1393" y="589"/>
                  <a:pt x="1393" y="589"/>
                </a:cubicBezTo>
                <a:cubicBezTo>
                  <a:pt x="1394" y="589"/>
                  <a:pt x="1395" y="588"/>
                  <a:pt x="1395" y="588"/>
                </a:cubicBezTo>
                <a:cubicBezTo>
                  <a:pt x="1395" y="588"/>
                  <a:pt x="1396" y="588"/>
                  <a:pt x="1396" y="587"/>
                </a:cubicBezTo>
                <a:cubicBezTo>
                  <a:pt x="1396" y="587"/>
                  <a:pt x="1397" y="587"/>
                  <a:pt x="1397" y="587"/>
                </a:cubicBezTo>
                <a:cubicBezTo>
                  <a:pt x="1397" y="586"/>
                  <a:pt x="1397" y="586"/>
                  <a:pt x="1398" y="585"/>
                </a:cubicBezTo>
                <a:cubicBezTo>
                  <a:pt x="1398" y="585"/>
                  <a:pt x="1398" y="585"/>
                  <a:pt x="1399" y="585"/>
                </a:cubicBezTo>
                <a:cubicBezTo>
                  <a:pt x="1399" y="585"/>
                  <a:pt x="1399" y="585"/>
                  <a:pt x="1400" y="585"/>
                </a:cubicBezTo>
                <a:cubicBezTo>
                  <a:pt x="1400" y="584"/>
                  <a:pt x="1400" y="584"/>
                  <a:pt x="1400" y="583"/>
                </a:cubicBezTo>
                <a:cubicBezTo>
                  <a:pt x="1398" y="583"/>
                  <a:pt x="1395" y="583"/>
                  <a:pt x="1393" y="583"/>
                </a:cubicBezTo>
                <a:cubicBezTo>
                  <a:pt x="1391" y="582"/>
                  <a:pt x="1392" y="583"/>
                  <a:pt x="1391" y="584"/>
                </a:cubicBezTo>
                <a:cubicBezTo>
                  <a:pt x="1391" y="584"/>
                  <a:pt x="1390" y="584"/>
                  <a:pt x="1389" y="585"/>
                </a:cubicBezTo>
                <a:cubicBezTo>
                  <a:pt x="1389" y="584"/>
                  <a:pt x="1389" y="583"/>
                  <a:pt x="1388" y="583"/>
                </a:cubicBezTo>
                <a:cubicBezTo>
                  <a:pt x="1387" y="583"/>
                  <a:pt x="1388" y="583"/>
                  <a:pt x="1387" y="582"/>
                </a:cubicBezTo>
                <a:cubicBezTo>
                  <a:pt x="1385" y="582"/>
                  <a:pt x="1387" y="577"/>
                  <a:pt x="1387" y="575"/>
                </a:cubicBezTo>
                <a:cubicBezTo>
                  <a:pt x="1387" y="575"/>
                  <a:pt x="1388" y="576"/>
                  <a:pt x="1388" y="576"/>
                </a:cubicBezTo>
                <a:cubicBezTo>
                  <a:pt x="1388" y="575"/>
                  <a:pt x="1389" y="575"/>
                  <a:pt x="1389" y="575"/>
                </a:cubicBezTo>
                <a:cubicBezTo>
                  <a:pt x="1390" y="575"/>
                  <a:pt x="1390" y="575"/>
                  <a:pt x="1390" y="575"/>
                </a:cubicBezTo>
                <a:cubicBezTo>
                  <a:pt x="1391" y="575"/>
                  <a:pt x="1391" y="575"/>
                  <a:pt x="1391" y="575"/>
                </a:cubicBezTo>
                <a:cubicBezTo>
                  <a:pt x="1391" y="576"/>
                  <a:pt x="1392" y="575"/>
                  <a:pt x="1393" y="576"/>
                </a:cubicBezTo>
                <a:cubicBezTo>
                  <a:pt x="1393" y="575"/>
                  <a:pt x="1398" y="575"/>
                  <a:pt x="1398" y="575"/>
                </a:cubicBezTo>
                <a:cubicBezTo>
                  <a:pt x="1398" y="575"/>
                  <a:pt x="1400" y="576"/>
                  <a:pt x="1400" y="576"/>
                </a:cubicBezTo>
                <a:cubicBezTo>
                  <a:pt x="1400" y="576"/>
                  <a:pt x="1400" y="577"/>
                  <a:pt x="1401" y="576"/>
                </a:cubicBezTo>
                <a:cubicBezTo>
                  <a:pt x="1402" y="576"/>
                  <a:pt x="1403" y="576"/>
                  <a:pt x="1404" y="576"/>
                </a:cubicBezTo>
                <a:cubicBezTo>
                  <a:pt x="1404" y="576"/>
                  <a:pt x="1404" y="576"/>
                  <a:pt x="1404" y="575"/>
                </a:cubicBezTo>
                <a:cubicBezTo>
                  <a:pt x="1406" y="575"/>
                  <a:pt x="1405" y="575"/>
                  <a:pt x="1406" y="574"/>
                </a:cubicBezTo>
                <a:cubicBezTo>
                  <a:pt x="1406" y="573"/>
                  <a:pt x="1407" y="573"/>
                  <a:pt x="1407" y="572"/>
                </a:cubicBezTo>
                <a:cubicBezTo>
                  <a:pt x="1408" y="572"/>
                  <a:pt x="1408" y="572"/>
                  <a:pt x="1409" y="570"/>
                </a:cubicBezTo>
                <a:cubicBezTo>
                  <a:pt x="1409" y="570"/>
                  <a:pt x="1409" y="569"/>
                  <a:pt x="1409" y="569"/>
                </a:cubicBezTo>
                <a:cubicBezTo>
                  <a:pt x="1408" y="568"/>
                  <a:pt x="1408" y="568"/>
                  <a:pt x="1408" y="568"/>
                </a:cubicBezTo>
                <a:cubicBezTo>
                  <a:pt x="1407" y="568"/>
                  <a:pt x="1407" y="569"/>
                  <a:pt x="1407" y="570"/>
                </a:cubicBezTo>
                <a:cubicBezTo>
                  <a:pt x="1405" y="570"/>
                  <a:pt x="1405" y="570"/>
                  <a:pt x="1405" y="571"/>
                </a:cubicBezTo>
                <a:cubicBezTo>
                  <a:pt x="1405" y="571"/>
                  <a:pt x="1404" y="572"/>
                  <a:pt x="1403" y="572"/>
                </a:cubicBezTo>
                <a:cubicBezTo>
                  <a:pt x="1403" y="572"/>
                  <a:pt x="1403" y="572"/>
                  <a:pt x="1403" y="572"/>
                </a:cubicBezTo>
                <a:cubicBezTo>
                  <a:pt x="1403" y="572"/>
                  <a:pt x="1403" y="572"/>
                  <a:pt x="1402" y="572"/>
                </a:cubicBezTo>
                <a:cubicBezTo>
                  <a:pt x="1402" y="572"/>
                  <a:pt x="1402" y="572"/>
                  <a:pt x="1402" y="572"/>
                </a:cubicBezTo>
                <a:cubicBezTo>
                  <a:pt x="1400" y="573"/>
                  <a:pt x="1398" y="572"/>
                  <a:pt x="1396" y="573"/>
                </a:cubicBezTo>
                <a:cubicBezTo>
                  <a:pt x="1396" y="572"/>
                  <a:pt x="1395" y="572"/>
                  <a:pt x="1395" y="572"/>
                </a:cubicBezTo>
                <a:cubicBezTo>
                  <a:pt x="1394" y="572"/>
                  <a:pt x="1393" y="573"/>
                  <a:pt x="1392" y="572"/>
                </a:cubicBezTo>
                <a:cubicBezTo>
                  <a:pt x="1392" y="572"/>
                  <a:pt x="1391" y="572"/>
                  <a:pt x="1391" y="572"/>
                </a:cubicBezTo>
                <a:cubicBezTo>
                  <a:pt x="1391" y="571"/>
                  <a:pt x="1391" y="571"/>
                  <a:pt x="1391" y="571"/>
                </a:cubicBezTo>
                <a:cubicBezTo>
                  <a:pt x="1390" y="571"/>
                  <a:pt x="1390" y="571"/>
                  <a:pt x="1389" y="571"/>
                </a:cubicBezTo>
                <a:cubicBezTo>
                  <a:pt x="1388" y="571"/>
                  <a:pt x="1386" y="571"/>
                  <a:pt x="1386" y="572"/>
                </a:cubicBezTo>
                <a:cubicBezTo>
                  <a:pt x="1385" y="572"/>
                  <a:pt x="1385" y="572"/>
                  <a:pt x="1384" y="573"/>
                </a:cubicBezTo>
                <a:cubicBezTo>
                  <a:pt x="1384" y="573"/>
                  <a:pt x="1383" y="575"/>
                  <a:pt x="1383" y="575"/>
                </a:cubicBezTo>
                <a:cubicBezTo>
                  <a:pt x="1383" y="575"/>
                  <a:pt x="1383" y="575"/>
                  <a:pt x="1383" y="576"/>
                </a:cubicBezTo>
                <a:cubicBezTo>
                  <a:pt x="1383" y="576"/>
                  <a:pt x="1383" y="576"/>
                  <a:pt x="1383" y="576"/>
                </a:cubicBezTo>
                <a:cubicBezTo>
                  <a:pt x="1383" y="577"/>
                  <a:pt x="1383" y="577"/>
                  <a:pt x="1383" y="577"/>
                </a:cubicBezTo>
                <a:cubicBezTo>
                  <a:pt x="1383" y="578"/>
                  <a:pt x="1383" y="579"/>
                  <a:pt x="1383" y="580"/>
                </a:cubicBezTo>
                <a:cubicBezTo>
                  <a:pt x="1383" y="581"/>
                  <a:pt x="1383" y="583"/>
                  <a:pt x="1382" y="583"/>
                </a:cubicBezTo>
                <a:cubicBezTo>
                  <a:pt x="1382" y="583"/>
                  <a:pt x="1382" y="583"/>
                  <a:pt x="1382" y="583"/>
                </a:cubicBezTo>
                <a:close/>
                <a:moveTo>
                  <a:pt x="1279" y="569"/>
                </a:moveTo>
                <a:cubicBezTo>
                  <a:pt x="1279" y="567"/>
                  <a:pt x="1278" y="568"/>
                  <a:pt x="1278" y="568"/>
                </a:cubicBezTo>
                <a:cubicBezTo>
                  <a:pt x="1277" y="568"/>
                  <a:pt x="1278" y="569"/>
                  <a:pt x="1278" y="569"/>
                </a:cubicBezTo>
                <a:cubicBezTo>
                  <a:pt x="1278" y="569"/>
                  <a:pt x="1279" y="570"/>
                  <a:pt x="1279" y="570"/>
                </a:cubicBezTo>
                <a:cubicBezTo>
                  <a:pt x="1279" y="570"/>
                  <a:pt x="1279" y="570"/>
                  <a:pt x="1279" y="571"/>
                </a:cubicBezTo>
                <a:cubicBezTo>
                  <a:pt x="1280" y="571"/>
                  <a:pt x="1281" y="574"/>
                  <a:pt x="1281" y="572"/>
                </a:cubicBezTo>
                <a:cubicBezTo>
                  <a:pt x="1281" y="572"/>
                  <a:pt x="1281" y="571"/>
                  <a:pt x="1281" y="570"/>
                </a:cubicBezTo>
                <a:cubicBezTo>
                  <a:pt x="1280" y="570"/>
                  <a:pt x="1280" y="569"/>
                  <a:pt x="1279" y="569"/>
                </a:cubicBezTo>
                <a:close/>
                <a:moveTo>
                  <a:pt x="1302" y="567"/>
                </a:moveTo>
                <a:cubicBezTo>
                  <a:pt x="1302" y="568"/>
                  <a:pt x="1301" y="568"/>
                  <a:pt x="1302" y="568"/>
                </a:cubicBezTo>
                <a:cubicBezTo>
                  <a:pt x="1303" y="569"/>
                  <a:pt x="1303" y="569"/>
                  <a:pt x="1303" y="569"/>
                </a:cubicBezTo>
                <a:cubicBezTo>
                  <a:pt x="1303" y="568"/>
                  <a:pt x="1303" y="568"/>
                  <a:pt x="1302" y="567"/>
                </a:cubicBezTo>
                <a:close/>
                <a:moveTo>
                  <a:pt x="1299" y="567"/>
                </a:moveTo>
                <a:cubicBezTo>
                  <a:pt x="1299" y="566"/>
                  <a:pt x="1300" y="564"/>
                  <a:pt x="1299" y="565"/>
                </a:cubicBezTo>
                <a:cubicBezTo>
                  <a:pt x="1298" y="566"/>
                  <a:pt x="1299" y="567"/>
                  <a:pt x="1299" y="567"/>
                </a:cubicBezTo>
                <a:close/>
                <a:moveTo>
                  <a:pt x="1419" y="570"/>
                </a:moveTo>
                <a:cubicBezTo>
                  <a:pt x="1419" y="571"/>
                  <a:pt x="1419" y="572"/>
                  <a:pt x="1421" y="572"/>
                </a:cubicBezTo>
                <a:cubicBezTo>
                  <a:pt x="1421" y="573"/>
                  <a:pt x="1421" y="573"/>
                  <a:pt x="1420" y="573"/>
                </a:cubicBezTo>
                <a:cubicBezTo>
                  <a:pt x="1420" y="574"/>
                  <a:pt x="1420" y="575"/>
                  <a:pt x="1420" y="576"/>
                </a:cubicBezTo>
                <a:cubicBezTo>
                  <a:pt x="1419" y="576"/>
                  <a:pt x="1420" y="576"/>
                  <a:pt x="1419" y="577"/>
                </a:cubicBezTo>
                <a:cubicBezTo>
                  <a:pt x="1420" y="577"/>
                  <a:pt x="1420" y="578"/>
                  <a:pt x="1420" y="578"/>
                </a:cubicBezTo>
                <a:cubicBezTo>
                  <a:pt x="1420" y="579"/>
                  <a:pt x="1420" y="578"/>
                  <a:pt x="1421" y="578"/>
                </a:cubicBezTo>
                <a:cubicBezTo>
                  <a:pt x="1421" y="579"/>
                  <a:pt x="1420" y="579"/>
                  <a:pt x="1421" y="579"/>
                </a:cubicBezTo>
                <a:cubicBezTo>
                  <a:pt x="1421" y="579"/>
                  <a:pt x="1421" y="580"/>
                  <a:pt x="1422" y="580"/>
                </a:cubicBezTo>
                <a:cubicBezTo>
                  <a:pt x="1422" y="580"/>
                  <a:pt x="1423" y="581"/>
                  <a:pt x="1423" y="581"/>
                </a:cubicBezTo>
                <a:cubicBezTo>
                  <a:pt x="1423" y="580"/>
                  <a:pt x="1423" y="580"/>
                  <a:pt x="1422" y="579"/>
                </a:cubicBezTo>
                <a:cubicBezTo>
                  <a:pt x="1422" y="579"/>
                  <a:pt x="1422" y="580"/>
                  <a:pt x="1422" y="579"/>
                </a:cubicBezTo>
                <a:cubicBezTo>
                  <a:pt x="1421" y="578"/>
                  <a:pt x="1420" y="576"/>
                  <a:pt x="1421" y="575"/>
                </a:cubicBezTo>
                <a:cubicBezTo>
                  <a:pt x="1422" y="574"/>
                  <a:pt x="1423" y="575"/>
                  <a:pt x="1424" y="575"/>
                </a:cubicBezTo>
                <a:cubicBezTo>
                  <a:pt x="1425" y="576"/>
                  <a:pt x="1425" y="576"/>
                  <a:pt x="1426" y="576"/>
                </a:cubicBezTo>
                <a:cubicBezTo>
                  <a:pt x="1426" y="576"/>
                  <a:pt x="1425" y="573"/>
                  <a:pt x="1425" y="573"/>
                </a:cubicBezTo>
                <a:cubicBezTo>
                  <a:pt x="1424" y="573"/>
                  <a:pt x="1424" y="573"/>
                  <a:pt x="1423" y="573"/>
                </a:cubicBezTo>
                <a:cubicBezTo>
                  <a:pt x="1424" y="572"/>
                  <a:pt x="1425" y="572"/>
                  <a:pt x="1426" y="571"/>
                </a:cubicBezTo>
                <a:cubicBezTo>
                  <a:pt x="1426" y="570"/>
                  <a:pt x="1425" y="570"/>
                  <a:pt x="1424" y="569"/>
                </a:cubicBezTo>
                <a:cubicBezTo>
                  <a:pt x="1424" y="570"/>
                  <a:pt x="1423" y="571"/>
                  <a:pt x="1423" y="571"/>
                </a:cubicBezTo>
                <a:cubicBezTo>
                  <a:pt x="1423" y="572"/>
                  <a:pt x="1423" y="572"/>
                  <a:pt x="1422" y="572"/>
                </a:cubicBezTo>
                <a:cubicBezTo>
                  <a:pt x="1422" y="571"/>
                  <a:pt x="1422" y="568"/>
                  <a:pt x="1423" y="568"/>
                </a:cubicBezTo>
                <a:cubicBezTo>
                  <a:pt x="1422" y="568"/>
                  <a:pt x="1421" y="567"/>
                  <a:pt x="1422" y="566"/>
                </a:cubicBezTo>
                <a:cubicBezTo>
                  <a:pt x="1423" y="566"/>
                  <a:pt x="1423" y="566"/>
                  <a:pt x="1423" y="565"/>
                </a:cubicBezTo>
                <a:cubicBezTo>
                  <a:pt x="1422" y="564"/>
                  <a:pt x="1422" y="565"/>
                  <a:pt x="1421" y="564"/>
                </a:cubicBezTo>
                <a:cubicBezTo>
                  <a:pt x="1421" y="565"/>
                  <a:pt x="1421" y="565"/>
                  <a:pt x="1421" y="565"/>
                </a:cubicBezTo>
                <a:cubicBezTo>
                  <a:pt x="1420" y="566"/>
                  <a:pt x="1420" y="565"/>
                  <a:pt x="1420" y="566"/>
                </a:cubicBezTo>
                <a:cubicBezTo>
                  <a:pt x="1420" y="565"/>
                  <a:pt x="1420" y="567"/>
                  <a:pt x="1420" y="566"/>
                </a:cubicBezTo>
                <a:cubicBezTo>
                  <a:pt x="1420" y="567"/>
                  <a:pt x="1419" y="570"/>
                  <a:pt x="1419" y="570"/>
                </a:cubicBezTo>
                <a:cubicBezTo>
                  <a:pt x="1419" y="571"/>
                  <a:pt x="1419" y="570"/>
                  <a:pt x="1419" y="570"/>
                </a:cubicBezTo>
                <a:close/>
                <a:moveTo>
                  <a:pt x="578" y="563"/>
                </a:moveTo>
                <a:cubicBezTo>
                  <a:pt x="578" y="563"/>
                  <a:pt x="578" y="563"/>
                  <a:pt x="578" y="563"/>
                </a:cubicBezTo>
                <a:cubicBezTo>
                  <a:pt x="578" y="563"/>
                  <a:pt x="578" y="563"/>
                  <a:pt x="578" y="563"/>
                </a:cubicBezTo>
                <a:cubicBezTo>
                  <a:pt x="578" y="563"/>
                  <a:pt x="578" y="563"/>
                  <a:pt x="578" y="563"/>
                </a:cubicBezTo>
                <a:close/>
                <a:moveTo>
                  <a:pt x="1424" y="562"/>
                </a:moveTo>
                <a:cubicBezTo>
                  <a:pt x="1424" y="563"/>
                  <a:pt x="1424" y="563"/>
                  <a:pt x="1424" y="564"/>
                </a:cubicBezTo>
                <a:cubicBezTo>
                  <a:pt x="1424" y="565"/>
                  <a:pt x="1424" y="564"/>
                  <a:pt x="1424" y="565"/>
                </a:cubicBezTo>
                <a:cubicBezTo>
                  <a:pt x="1425" y="566"/>
                  <a:pt x="1424" y="566"/>
                  <a:pt x="1425" y="566"/>
                </a:cubicBezTo>
                <a:cubicBezTo>
                  <a:pt x="1426" y="566"/>
                  <a:pt x="1426" y="566"/>
                  <a:pt x="1426" y="566"/>
                </a:cubicBezTo>
                <a:cubicBezTo>
                  <a:pt x="1426" y="565"/>
                  <a:pt x="1426" y="565"/>
                  <a:pt x="1426" y="564"/>
                </a:cubicBezTo>
                <a:cubicBezTo>
                  <a:pt x="1426" y="562"/>
                  <a:pt x="1426" y="564"/>
                  <a:pt x="1425" y="563"/>
                </a:cubicBezTo>
                <a:cubicBezTo>
                  <a:pt x="1425" y="563"/>
                  <a:pt x="1425" y="562"/>
                  <a:pt x="1424" y="562"/>
                </a:cubicBezTo>
                <a:close/>
                <a:moveTo>
                  <a:pt x="1273" y="562"/>
                </a:moveTo>
                <a:cubicBezTo>
                  <a:pt x="1273" y="562"/>
                  <a:pt x="1272" y="561"/>
                  <a:pt x="1271" y="561"/>
                </a:cubicBezTo>
                <a:cubicBezTo>
                  <a:pt x="1271" y="561"/>
                  <a:pt x="1272" y="562"/>
                  <a:pt x="1273" y="562"/>
                </a:cubicBezTo>
                <a:close/>
                <a:moveTo>
                  <a:pt x="857" y="555"/>
                </a:moveTo>
                <a:cubicBezTo>
                  <a:pt x="856" y="556"/>
                  <a:pt x="855" y="556"/>
                  <a:pt x="857" y="557"/>
                </a:cubicBezTo>
                <a:cubicBezTo>
                  <a:pt x="858" y="556"/>
                  <a:pt x="858" y="555"/>
                  <a:pt x="858" y="555"/>
                </a:cubicBezTo>
                <a:cubicBezTo>
                  <a:pt x="857" y="555"/>
                  <a:pt x="857" y="555"/>
                  <a:pt x="857" y="555"/>
                </a:cubicBezTo>
                <a:cubicBezTo>
                  <a:pt x="857" y="555"/>
                  <a:pt x="857" y="555"/>
                  <a:pt x="857" y="555"/>
                </a:cubicBezTo>
                <a:close/>
                <a:moveTo>
                  <a:pt x="1328" y="554"/>
                </a:moveTo>
                <a:cubicBezTo>
                  <a:pt x="1328" y="555"/>
                  <a:pt x="1328" y="555"/>
                  <a:pt x="1328" y="556"/>
                </a:cubicBezTo>
                <a:cubicBezTo>
                  <a:pt x="1329" y="556"/>
                  <a:pt x="1330" y="555"/>
                  <a:pt x="1329" y="554"/>
                </a:cubicBezTo>
                <a:cubicBezTo>
                  <a:pt x="1330" y="554"/>
                  <a:pt x="1329" y="554"/>
                  <a:pt x="1329" y="554"/>
                </a:cubicBezTo>
                <a:cubicBezTo>
                  <a:pt x="1329" y="554"/>
                  <a:pt x="1328" y="554"/>
                  <a:pt x="1328" y="554"/>
                </a:cubicBezTo>
                <a:close/>
                <a:moveTo>
                  <a:pt x="1313" y="606"/>
                </a:moveTo>
                <a:cubicBezTo>
                  <a:pt x="1313" y="606"/>
                  <a:pt x="1313" y="606"/>
                  <a:pt x="1313" y="606"/>
                </a:cubicBezTo>
                <a:cubicBezTo>
                  <a:pt x="1314" y="606"/>
                  <a:pt x="1315" y="607"/>
                  <a:pt x="1316" y="607"/>
                </a:cubicBezTo>
                <a:cubicBezTo>
                  <a:pt x="1316" y="607"/>
                  <a:pt x="1316" y="606"/>
                  <a:pt x="1316" y="606"/>
                </a:cubicBezTo>
                <a:cubicBezTo>
                  <a:pt x="1317" y="606"/>
                  <a:pt x="1318" y="607"/>
                  <a:pt x="1318" y="607"/>
                </a:cubicBezTo>
                <a:cubicBezTo>
                  <a:pt x="1319" y="606"/>
                  <a:pt x="1319" y="607"/>
                  <a:pt x="1319" y="606"/>
                </a:cubicBezTo>
                <a:cubicBezTo>
                  <a:pt x="1319" y="605"/>
                  <a:pt x="1319" y="603"/>
                  <a:pt x="1318" y="602"/>
                </a:cubicBezTo>
                <a:cubicBezTo>
                  <a:pt x="1319" y="602"/>
                  <a:pt x="1319" y="601"/>
                  <a:pt x="1318" y="601"/>
                </a:cubicBezTo>
                <a:cubicBezTo>
                  <a:pt x="1319" y="601"/>
                  <a:pt x="1319" y="598"/>
                  <a:pt x="1319" y="597"/>
                </a:cubicBezTo>
                <a:cubicBezTo>
                  <a:pt x="1319" y="597"/>
                  <a:pt x="1321" y="596"/>
                  <a:pt x="1320" y="595"/>
                </a:cubicBezTo>
                <a:cubicBezTo>
                  <a:pt x="1319" y="594"/>
                  <a:pt x="1318" y="594"/>
                  <a:pt x="1318" y="594"/>
                </a:cubicBezTo>
                <a:cubicBezTo>
                  <a:pt x="1318" y="594"/>
                  <a:pt x="1319" y="593"/>
                  <a:pt x="1318" y="593"/>
                </a:cubicBezTo>
                <a:cubicBezTo>
                  <a:pt x="1318" y="593"/>
                  <a:pt x="1318" y="592"/>
                  <a:pt x="1318" y="591"/>
                </a:cubicBezTo>
                <a:cubicBezTo>
                  <a:pt x="1318" y="589"/>
                  <a:pt x="1315" y="591"/>
                  <a:pt x="1315" y="590"/>
                </a:cubicBezTo>
                <a:cubicBezTo>
                  <a:pt x="1314" y="590"/>
                  <a:pt x="1314" y="591"/>
                  <a:pt x="1314" y="590"/>
                </a:cubicBezTo>
                <a:cubicBezTo>
                  <a:pt x="1314" y="589"/>
                  <a:pt x="1314" y="590"/>
                  <a:pt x="1314" y="589"/>
                </a:cubicBezTo>
                <a:cubicBezTo>
                  <a:pt x="1314" y="588"/>
                  <a:pt x="1313" y="587"/>
                  <a:pt x="1312" y="587"/>
                </a:cubicBezTo>
                <a:cubicBezTo>
                  <a:pt x="1313" y="586"/>
                  <a:pt x="1313" y="585"/>
                  <a:pt x="1313" y="584"/>
                </a:cubicBezTo>
                <a:cubicBezTo>
                  <a:pt x="1312" y="584"/>
                  <a:pt x="1310" y="584"/>
                  <a:pt x="1310" y="583"/>
                </a:cubicBezTo>
                <a:cubicBezTo>
                  <a:pt x="1310" y="583"/>
                  <a:pt x="1309" y="583"/>
                  <a:pt x="1309" y="584"/>
                </a:cubicBezTo>
                <a:cubicBezTo>
                  <a:pt x="1309" y="584"/>
                  <a:pt x="1309" y="583"/>
                  <a:pt x="1308" y="583"/>
                </a:cubicBezTo>
                <a:cubicBezTo>
                  <a:pt x="1307" y="583"/>
                  <a:pt x="1307" y="582"/>
                  <a:pt x="1307" y="581"/>
                </a:cubicBezTo>
                <a:cubicBezTo>
                  <a:pt x="1307" y="581"/>
                  <a:pt x="1307" y="580"/>
                  <a:pt x="1307" y="580"/>
                </a:cubicBezTo>
                <a:cubicBezTo>
                  <a:pt x="1308" y="579"/>
                  <a:pt x="1309" y="579"/>
                  <a:pt x="1309" y="578"/>
                </a:cubicBezTo>
                <a:cubicBezTo>
                  <a:pt x="1309" y="578"/>
                  <a:pt x="1308" y="576"/>
                  <a:pt x="1308" y="576"/>
                </a:cubicBezTo>
                <a:cubicBezTo>
                  <a:pt x="1308" y="576"/>
                  <a:pt x="1308" y="575"/>
                  <a:pt x="1308" y="575"/>
                </a:cubicBezTo>
                <a:cubicBezTo>
                  <a:pt x="1308" y="575"/>
                  <a:pt x="1308" y="575"/>
                  <a:pt x="1307" y="575"/>
                </a:cubicBezTo>
                <a:cubicBezTo>
                  <a:pt x="1307" y="575"/>
                  <a:pt x="1307" y="574"/>
                  <a:pt x="1307" y="574"/>
                </a:cubicBezTo>
                <a:cubicBezTo>
                  <a:pt x="1307" y="573"/>
                  <a:pt x="1306" y="573"/>
                  <a:pt x="1305" y="573"/>
                </a:cubicBezTo>
                <a:cubicBezTo>
                  <a:pt x="1305" y="572"/>
                  <a:pt x="1306" y="572"/>
                  <a:pt x="1306" y="572"/>
                </a:cubicBezTo>
                <a:cubicBezTo>
                  <a:pt x="1306" y="571"/>
                  <a:pt x="1306" y="571"/>
                  <a:pt x="1305" y="571"/>
                </a:cubicBezTo>
                <a:cubicBezTo>
                  <a:pt x="1305" y="570"/>
                  <a:pt x="1305" y="570"/>
                  <a:pt x="1305" y="571"/>
                </a:cubicBezTo>
                <a:cubicBezTo>
                  <a:pt x="1304" y="572"/>
                  <a:pt x="1304" y="572"/>
                  <a:pt x="1304" y="572"/>
                </a:cubicBezTo>
                <a:cubicBezTo>
                  <a:pt x="1304" y="572"/>
                  <a:pt x="1303" y="572"/>
                  <a:pt x="1303" y="572"/>
                </a:cubicBezTo>
                <a:cubicBezTo>
                  <a:pt x="1302" y="572"/>
                  <a:pt x="1302" y="572"/>
                  <a:pt x="1302" y="572"/>
                </a:cubicBezTo>
                <a:cubicBezTo>
                  <a:pt x="1302" y="571"/>
                  <a:pt x="1301" y="571"/>
                  <a:pt x="1301" y="571"/>
                </a:cubicBezTo>
                <a:cubicBezTo>
                  <a:pt x="1301" y="570"/>
                  <a:pt x="1301" y="570"/>
                  <a:pt x="1301" y="569"/>
                </a:cubicBezTo>
                <a:cubicBezTo>
                  <a:pt x="1300" y="568"/>
                  <a:pt x="1299" y="568"/>
                  <a:pt x="1298" y="567"/>
                </a:cubicBezTo>
                <a:cubicBezTo>
                  <a:pt x="1298" y="567"/>
                  <a:pt x="1298" y="566"/>
                  <a:pt x="1297" y="565"/>
                </a:cubicBezTo>
                <a:cubicBezTo>
                  <a:pt x="1296" y="564"/>
                  <a:pt x="1296" y="564"/>
                  <a:pt x="1296" y="566"/>
                </a:cubicBezTo>
                <a:cubicBezTo>
                  <a:pt x="1295" y="565"/>
                  <a:pt x="1293" y="563"/>
                  <a:pt x="1293" y="562"/>
                </a:cubicBezTo>
                <a:cubicBezTo>
                  <a:pt x="1293" y="561"/>
                  <a:pt x="1293" y="561"/>
                  <a:pt x="1293" y="560"/>
                </a:cubicBezTo>
                <a:cubicBezTo>
                  <a:pt x="1293" y="560"/>
                  <a:pt x="1291" y="560"/>
                  <a:pt x="1291" y="560"/>
                </a:cubicBezTo>
                <a:cubicBezTo>
                  <a:pt x="1291" y="559"/>
                  <a:pt x="1292" y="557"/>
                  <a:pt x="1290" y="557"/>
                </a:cubicBezTo>
                <a:cubicBezTo>
                  <a:pt x="1290" y="557"/>
                  <a:pt x="1289" y="557"/>
                  <a:pt x="1289" y="557"/>
                </a:cubicBezTo>
                <a:cubicBezTo>
                  <a:pt x="1289" y="556"/>
                  <a:pt x="1288" y="557"/>
                  <a:pt x="1288" y="557"/>
                </a:cubicBezTo>
                <a:cubicBezTo>
                  <a:pt x="1288" y="556"/>
                  <a:pt x="1288" y="556"/>
                  <a:pt x="1287" y="556"/>
                </a:cubicBezTo>
                <a:cubicBezTo>
                  <a:pt x="1287" y="555"/>
                  <a:pt x="1286" y="555"/>
                  <a:pt x="1286" y="555"/>
                </a:cubicBezTo>
                <a:cubicBezTo>
                  <a:pt x="1286" y="554"/>
                  <a:pt x="1286" y="554"/>
                  <a:pt x="1285" y="553"/>
                </a:cubicBezTo>
                <a:cubicBezTo>
                  <a:pt x="1285" y="553"/>
                  <a:pt x="1285" y="553"/>
                  <a:pt x="1285" y="553"/>
                </a:cubicBezTo>
                <a:cubicBezTo>
                  <a:pt x="1284" y="552"/>
                  <a:pt x="1284" y="551"/>
                  <a:pt x="1283" y="551"/>
                </a:cubicBezTo>
                <a:cubicBezTo>
                  <a:pt x="1282" y="551"/>
                  <a:pt x="1282" y="550"/>
                  <a:pt x="1282" y="549"/>
                </a:cubicBezTo>
                <a:cubicBezTo>
                  <a:pt x="1282" y="549"/>
                  <a:pt x="1281" y="548"/>
                  <a:pt x="1281" y="548"/>
                </a:cubicBezTo>
                <a:cubicBezTo>
                  <a:pt x="1281" y="547"/>
                  <a:pt x="1281" y="548"/>
                  <a:pt x="1280" y="548"/>
                </a:cubicBezTo>
                <a:cubicBezTo>
                  <a:pt x="1280" y="547"/>
                  <a:pt x="1280" y="547"/>
                  <a:pt x="1280" y="547"/>
                </a:cubicBezTo>
                <a:cubicBezTo>
                  <a:pt x="1280" y="546"/>
                  <a:pt x="1279" y="546"/>
                  <a:pt x="1278" y="546"/>
                </a:cubicBezTo>
                <a:cubicBezTo>
                  <a:pt x="1277" y="546"/>
                  <a:pt x="1276" y="546"/>
                  <a:pt x="1275" y="546"/>
                </a:cubicBezTo>
                <a:cubicBezTo>
                  <a:pt x="1275" y="546"/>
                  <a:pt x="1275" y="546"/>
                  <a:pt x="1275" y="546"/>
                </a:cubicBezTo>
                <a:cubicBezTo>
                  <a:pt x="1275" y="546"/>
                  <a:pt x="1273" y="547"/>
                  <a:pt x="1273" y="546"/>
                </a:cubicBezTo>
                <a:cubicBezTo>
                  <a:pt x="1273" y="546"/>
                  <a:pt x="1273" y="546"/>
                  <a:pt x="1273" y="546"/>
                </a:cubicBezTo>
                <a:cubicBezTo>
                  <a:pt x="1273" y="546"/>
                  <a:pt x="1272" y="545"/>
                  <a:pt x="1272" y="545"/>
                </a:cubicBezTo>
                <a:cubicBezTo>
                  <a:pt x="1271" y="544"/>
                  <a:pt x="1270" y="544"/>
                  <a:pt x="1269" y="544"/>
                </a:cubicBezTo>
                <a:cubicBezTo>
                  <a:pt x="1267" y="544"/>
                  <a:pt x="1268" y="544"/>
                  <a:pt x="1268" y="545"/>
                </a:cubicBezTo>
                <a:cubicBezTo>
                  <a:pt x="1268" y="546"/>
                  <a:pt x="1268" y="547"/>
                  <a:pt x="1268" y="547"/>
                </a:cubicBezTo>
                <a:cubicBezTo>
                  <a:pt x="1268" y="548"/>
                  <a:pt x="1268" y="548"/>
                  <a:pt x="1268" y="548"/>
                </a:cubicBezTo>
                <a:cubicBezTo>
                  <a:pt x="1268" y="549"/>
                  <a:pt x="1269" y="548"/>
                  <a:pt x="1269" y="549"/>
                </a:cubicBezTo>
                <a:cubicBezTo>
                  <a:pt x="1269" y="549"/>
                  <a:pt x="1269" y="549"/>
                  <a:pt x="1269" y="549"/>
                </a:cubicBezTo>
                <a:cubicBezTo>
                  <a:pt x="1269" y="550"/>
                  <a:pt x="1269" y="549"/>
                  <a:pt x="1269" y="549"/>
                </a:cubicBezTo>
                <a:cubicBezTo>
                  <a:pt x="1269" y="550"/>
                  <a:pt x="1269" y="550"/>
                  <a:pt x="1270" y="551"/>
                </a:cubicBezTo>
                <a:cubicBezTo>
                  <a:pt x="1270" y="551"/>
                  <a:pt x="1270" y="551"/>
                  <a:pt x="1270" y="552"/>
                </a:cubicBezTo>
                <a:cubicBezTo>
                  <a:pt x="1270" y="552"/>
                  <a:pt x="1271" y="552"/>
                  <a:pt x="1271" y="552"/>
                </a:cubicBezTo>
                <a:cubicBezTo>
                  <a:pt x="1272" y="553"/>
                  <a:pt x="1270" y="552"/>
                  <a:pt x="1272" y="553"/>
                </a:cubicBezTo>
                <a:cubicBezTo>
                  <a:pt x="1273" y="553"/>
                  <a:pt x="1272" y="553"/>
                  <a:pt x="1272" y="554"/>
                </a:cubicBezTo>
                <a:cubicBezTo>
                  <a:pt x="1272" y="554"/>
                  <a:pt x="1274" y="556"/>
                  <a:pt x="1274" y="556"/>
                </a:cubicBezTo>
                <a:cubicBezTo>
                  <a:pt x="1274" y="556"/>
                  <a:pt x="1275" y="555"/>
                  <a:pt x="1275" y="556"/>
                </a:cubicBezTo>
                <a:cubicBezTo>
                  <a:pt x="1275" y="556"/>
                  <a:pt x="1275" y="556"/>
                  <a:pt x="1275" y="556"/>
                </a:cubicBezTo>
                <a:cubicBezTo>
                  <a:pt x="1276" y="556"/>
                  <a:pt x="1276" y="556"/>
                  <a:pt x="1276" y="557"/>
                </a:cubicBezTo>
                <a:cubicBezTo>
                  <a:pt x="1276" y="557"/>
                  <a:pt x="1276" y="558"/>
                  <a:pt x="1277" y="558"/>
                </a:cubicBezTo>
                <a:cubicBezTo>
                  <a:pt x="1277" y="559"/>
                  <a:pt x="1279" y="560"/>
                  <a:pt x="1279" y="560"/>
                </a:cubicBezTo>
                <a:cubicBezTo>
                  <a:pt x="1279" y="561"/>
                  <a:pt x="1279" y="560"/>
                  <a:pt x="1279" y="561"/>
                </a:cubicBezTo>
                <a:cubicBezTo>
                  <a:pt x="1279" y="561"/>
                  <a:pt x="1280" y="562"/>
                  <a:pt x="1280" y="562"/>
                </a:cubicBezTo>
                <a:cubicBezTo>
                  <a:pt x="1280" y="563"/>
                  <a:pt x="1280" y="564"/>
                  <a:pt x="1280" y="565"/>
                </a:cubicBezTo>
                <a:cubicBezTo>
                  <a:pt x="1282" y="565"/>
                  <a:pt x="1286" y="566"/>
                  <a:pt x="1286" y="568"/>
                </a:cubicBezTo>
                <a:cubicBezTo>
                  <a:pt x="1285" y="569"/>
                  <a:pt x="1285" y="570"/>
                  <a:pt x="1285" y="570"/>
                </a:cubicBezTo>
                <a:cubicBezTo>
                  <a:pt x="1286" y="572"/>
                  <a:pt x="1286" y="570"/>
                  <a:pt x="1286" y="571"/>
                </a:cubicBezTo>
                <a:cubicBezTo>
                  <a:pt x="1286" y="571"/>
                  <a:pt x="1286" y="572"/>
                  <a:pt x="1286" y="573"/>
                </a:cubicBezTo>
                <a:cubicBezTo>
                  <a:pt x="1286" y="573"/>
                  <a:pt x="1287" y="573"/>
                  <a:pt x="1287" y="573"/>
                </a:cubicBezTo>
                <a:cubicBezTo>
                  <a:pt x="1287" y="574"/>
                  <a:pt x="1287" y="574"/>
                  <a:pt x="1287" y="574"/>
                </a:cubicBezTo>
                <a:cubicBezTo>
                  <a:pt x="1287" y="575"/>
                  <a:pt x="1287" y="575"/>
                  <a:pt x="1288" y="575"/>
                </a:cubicBezTo>
                <a:cubicBezTo>
                  <a:pt x="1288" y="576"/>
                  <a:pt x="1288" y="576"/>
                  <a:pt x="1288" y="576"/>
                </a:cubicBezTo>
                <a:cubicBezTo>
                  <a:pt x="1289" y="576"/>
                  <a:pt x="1289" y="576"/>
                  <a:pt x="1289" y="577"/>
                </a:cubicBezTo>
                <a:cubicBezTo>
                  <a:pt x="1290" y="578"/>
                  <a:pt x="1290" y="578"/>
                  <a:pt x="1290" y="579"/>
                </a:cubicBezTo>
                <a:cubicBezTo>
                  <a:pt x="1290" y="579"/>
                  <a:pt x="1292" y="580"/>
                  <a:pt x="1292" y="580"/>
                </a:cubicBezTo>
                <a:cubicBezTo>
                  <a:pt x="1292" y="580"/>
                  <a:pt x="1293" y="580"/>
                  <a:pt x="1293" y="581"/>
                </a:cubicBezTo>
                <a:cubicBezTo>
                  <a:pt x="1293" y="582"/>
                  <a:pt x="1294" y="582"/>
                  <a:pt x="1294" y="583"/>
                </a:cubicBezTo>
                <a:cubicBezTo>
                  <a:pt x="1294" y="583"/>
                  <a:pt x="1294" y="584"/>
                  <a:pt x="1294" y="584"/>
                </a:cubicBezTo>
                <a:cubicBezTo>
                  <a:pt x="1295" y="585"/>
                  <a:pt x="1294" y="582"/>
                  <a:pt x="1295" y="585"/>
                </a:cubicBezTo>
                <a:cubicBezTo>
                  <a:pt x="1295" y="587"/>
                  <a:pt x="1295" y="585"/>
                  <a:pt x="1295" y="585"/>
                </a:cubicBezTo>
                <a:cubicBezTo>
                  <a:pt x="1296" y="586"/>
                  <a:pt x="1296" y="586"/>
                  <a:pt x="1296" y="587"/>
                </a:cubicBezTo>
                <a:cubicBezTo>
                  <a:pt x="1297" y="587"/>
                  <a:pt x="1297" y="587"/>
                  <a:pt x="1297" y="587"/>
                </a:cubicBezTo>
                <a:cubicBezTo>
                  <a:pt x="1297" y="588"/>
                  <a:pt x="1297" y="588"/>
                  <a:pt x="1297" y="589"/>
                </a:cubicBezTo>
                <a:cubicBezTo>
                  <a:pt x="1297" y="590"/>
                  <a:pt x="1298" y="590"/>
                  <a:pt x="1298" y="590"/>
                </a:cubicBezTo>
                <a:cubicBezTo>
                  <a:pt x="1298" y="591"/>
                  <a:pt x="1298" y="591"/>
                  <a:pt x="1298" y="592"/>
                </a:cubicBezTo>
                <a:cubicBezTo>
                  <a:pt x="1298" y="592"/>
                  <a:pt x="1298" y="592"/>
                  <a:pt x="1298" y="592"/>
                </a:cubicBezTo>
                <a:cubicBezTo>
                  <a:pt x="1298" y="593"/>
                  <a:pt x="1299" y="592"/>
                  <a:pt x="1299" y="592"/>
                </a:cubicBezTo>
                <a:cubicBezTo>
                  <a:pt x="1299" y="593"/>
                  <a:pt x="1299" y="594"/>
                  <a:pt x="1299" y="594"/>
                </a:cubicBezTo>
                <a:cubicBezTo>
                  <a:pt x="1300" y="595"/>
                  <a:pt x="1300" y="595"/>
                  <a:pt x="1300" y="595"/>
                </a:cubicBezTo>
                <a:cubicBezTo>
                  <a:pt x="1301" y="595"/>
                  <a:pt x="1301" y="597"/>
                  <a:pt x="1301" y="597"/>
                </a:cubicBezTo>
                <a:cubicBezTo>
                  <a:pt x="1302" y="598"/>
                  <a:pt x="1302" y="598"/>
                  <a:pt x="1302" y="599"/>
                </a:cubicBezTo>
                <a:cubicBezTo>
                  <a:pt x="1302" y="599"/>
                  <a:pt x="1302" y="599"/>
                  <a:pt x="1302" y="599"/>
                </a:cubicBezTo>
                <a:cubicBezTo>
                  <a:pt x="1302" y="599"/>
                  <a:pt x="1302" y="600"/>
                  <a:pt x="1303" y="600"/>
                </a:cubicBezTo>
                <a:cubicBezTo>
                  <a:pt x="1303" y="600"/>
                  <a:pt x="1303" y="601"/>
                  <a:pt x="1303" y="601"/>
                </a:cubicBezTo>
                <a:cubicBezTo>
                  <a:pt x="1304" y="602"/>
                  <a:pt x="1303" y="603"/>
                  <a:pt x="1304" y="603"/>
                </a:cubicBezTo>
                <a:cubicBezTo>
                  <a:pt x="1306" y="604"/>
                  <a:pt x="1306" y="604"/>
                  <a:pt x="1307" y="605"/>
                </a:cubicBezTo>
                <a:cubicBezTo>
                  <a:pt x="1307" y="605"/>
                  <a:pt x="1308" y="605"/>
                  <a:pt x="1308" y="605"/>
                </a:cubicBezTo>
                <a:cubicBezTo>
                  <a:pt x="1309" y="605"/>
                  <a:pt x="1309" y="606"/>
                  <a:pt x="1309" y="606"/>
                </a:cubicBezTo>
                <a:cubicBezTo>
                  <a:pt x="1310" y="606"/>
                  <a:pt x="1310" y="606"/>
                  <a:pt x="1310" y="606"/>
                </a:cubicBezTo>
                <a:cubicBezTo>
                  <a:pt x="1311" y="608"/>
                  <a:pt x="1312" y="608"/>
                  <a:pt x="1314" y="608"/>
                </a:cubicBezTo>
                <a:cubicBezTo>
                  <a:pt x="1314" y="607"/>
                  <a:pt x="1313" y="607"/>
                  <a:pt x="1313" y="606"/>
                </a:cubicBezTo>
                <a:close/>
                <a:moveTo>
                  <a:pt x="1393" y="540"/>
                </a:moveTo>
                <a:cubicBezTo>
                  <a:pt x="1394" y="540"/>
                  <a:pt x="1393" y="540"/>
                  <a:pt x="1393" y="540"/>
                </a:cubicBezTo>
                <a:cubicBezTo>
                  <a:pt x="1393" y="540"/>
                  <a:pt x="1393" y="540"/>
                  <a:pt x="1393" y="540"/>
                </a:cubicBezTo>
                <a:close/>
                <a:moveTo>
                  <a:pt x="1344" y="569"/>
                </a:moveTo>
                <a:cubicBezTo>
                  <a:pt x="1344" y="569"/>
                  <a:pt x="1344" y="569"/>
                  <a:pt x="1344" y="569"/>
                </a:cubicBezTo>
                <a:cubicBezTo>
                  <a:pt x="1344" y="569"/>
                  <a:pt x="1344" y="569"/>
                  <a:pt x="1344" y="569"/>
                </a:cubicBezTo>
                <a:cubicBezTo>
                  <a:pt x="1344" y="569"/>
                  <a:pt x="1344" y="569"/>
                  <a:pt x="1344" y="569"/>
                </a:cubicBezTo>
                <a:close/>
                <a:moveTo>
                  <a:pt x="1332" y="573"/>
                </a:moveTo>
                <a:cubicBezTo>
                  <a:pt x="1332" y="573"/>
                  <a:pt x="1332" y="574"/>
                  <a:pt x="1332" y="575"/>
                </a:cubicBezTo>
                <a:cubicBezTo>
                  <a:pt x="1333" y="575"/>
                  <a:pt x="1332" y="575"/>
                  <a:pt x="1332" y="576"/>
                </a:cubicBezTo>
                <a:cubicBezTo>
                  <a:pt x="1332" y="576"/>
                  <a:pt x="1333" y="577"/>
                  <a:pt x="1333" y="577"/>
                </a:cubicBezTo>
                <a:cubicBezTo>
                  <a:pt x="1334" y="578"/>
                  <a:pt x="1334" y="579"/>
                  <a:pt x="1334" y="579"/>
                </a:cubicBezTo>
                <a:cubicBezTo>
                  <a:pt x="1333" y="579"/>
                  <a:pt x="1334" y="581"/>
                  <a:pt x="1334" y="581"/>
                </a:cubicBezTo>
                <a:cubicBezTo>
                  <a:pt x="1335" y="582"/>
                  <a:pt x="1334" y="582"/>
                  <a:pt x="1335" y="583"/>
                </a:cubicBezTo>
                <a:cubicBezTo>
                  <a:pt x="1336" y="583"/>
                  <a:pt x="1335" y="584"/>
                  <a:pt x="1335" y="585"/>
                </a:cubicBezTo>
                <a:cubicBezTo>
                  <a:pt x="1335" y="585"/>
                  <a:pt x="1336" y="585"/>
                  <a:pt x="1336" y="584"/>
                </a:cubicBezTo>
                <a:cubicBezTo>
                  <a:pt x="1337" y="584"/>
                  <a:pt x="1337" y="584"/>
                  <a:pt x="1338" y="585"/>
                </a:cubicBezTo>
                <a:cubicBezTo>
                  <a:pt x="1338" y="585"/>
                  <a:pt x="1338" y="586"/>
                  <a:pt x="1338" y="586"/>
                </a:cubicBezTo>
                <a:cubicBezTo>
                  <a:pt x="1339" y="586"/>
                  <a:pt x="1339" y="588"/>
                  <a:pt x="1339" y="588"/>
                </a:cubicBezTo>
                <a:cubicBezTo>
                  <a:pt x="1339" y="589"/>
                  <a:pt x="1339" y="590"/>
                  <a:pt x="1339" y="590"/>
                </a:cubicBezTo>
                <a:cubicBezTo>
                  <a:pt x="1340" y="590"/>
                  <a:pt x="1340" y="591"/>
                  <a:pt x="1340" y="591"/>
                </a:cubicBezTo>
                <a:cubicBezTo>
                  <a:pt x="1340" y="592"/>
                  <a:pt x="1340" y="593"/>
                  <a:pt x="1340" y="593"/>
                </a:cubicBezTo>
                <a:cubicBezTo>
                  <a:pt x="1340" y="594"/>
                  <a:pt x="1341" y="594"/>
                  <a:pt x="1342" y="594"/>
                </a:cubicBezTo>
                <a:cubicBezTo>
                  <a:pt x="1343" y="595"/>
                  <a:pt x="1344" y="595"/>
                  <a:pt x="1345" y="594"/>
                </a:cubicBezTo>
                <a:cubicBezTo>
                  <a:pt x="1345" y="593"/>
                  <a:pt x="1346" y="594"/>
                  <a:pt x="1346" y="594"/>
                </a:cubicBezTo>
                <a:cubicBezTo>
                  <a:pt x="1348" y="595"/>
                  <a:pt x="1348" y="594"/>
                  <a:pt x="1348" y="595"/>
                </a:cubicBezTo>
                <a:cubicBezTo>
                  <a:pt x="1348" y="597"/>
                  <a:pt x="1350" y="596"/>
                  <a:pt x="1351" y="596"/>
                </a:cubicBezTo>
                <a:cubicBezTo>
                  <a:pt x="1351" y="596"/>
                  <a:pt x="1352" y="596"/>
                  <a:pt x="1352" y="596"/>
                </a:cubicBezTo>
                <a:cubicBezTo>
                  <a:pt x="1353" y="596"/>
                  <a:pt x="1353" y="595"/>
                  <a:pt x="1354" y="595"/>
                </a:cubicBezTo>
                <a:cubicBezTo>
                  <a:pt x="1355" y="595"/>
                  <a:pt x="1355" y="596"/>
                  <a:pt x="1356" y="596"/>
                </a:cubicBezTo>
                <a:cubicBezTo>
                  <a:pt x="1356" y="597"/>
                  <a:pt x="1358" y="596"/>
                  <a:pt x="1358" y="595"/>
                </a:cubicBezTo>
                <a:cubicBezTo>
                  <a:pt x="1359" y="596"/>
                  <a:pt x="1359" y="596"/>
                  <a:pt x="1360" y="596"/>
                </a:cubicBezTo>
                <a:cubicBezTo>
                  <a:pt x="1361" y="596"/>
                  <a:pt x="1360" y="598"/>
                  <a:pt x="1362" y="598"/>
                </a:cubicBezTo>
                <a:cubicBezTo>
                  <a:pt x="1363" y="597"/>
                  <a:pt x="1362" y="597"/>
                  <a:pt x="1363" y="597"/>
                </a:cubicBezTo>
                <a:cubicBezTo>
                  <a:pt x="1363" y="597"/>
                  <a:pt x="1363" y="597"/>
                  <a:pt x="1363" y="597"/>
                </a:cubicBezTo>
                <a:cubicBezTo>
                  <a:pt x="1363" y="597"/>
                  <a:pt x="1365" y="597"/>
                  <a:pt x="1365" y="596"/>
                </a:cubicBezTo>
                <a:cubicBezTo>
                  <a:pt x="1365" y="596"/>
                  <a:pt x="1366" y="596"/>
                  <a:pt x="1367" y="596"/>
                </a:cubicBezTo>
                <a:cubicBezTo>
                  <a:pt x="1367" y="596"/>
                  <a:pt x="1367" y="595"/>
                  <a:pt x="1367" y="595"/>
                </a:cubicBezTo>
                <a:cubicBezTo>
                  <a:pt x="1368" y="595"/>
                  <a:pt x="1368" y="594"/>
                  <a:pt x="1368" y="594"/>
                </a:cubicBezTo>
                <a:cubicBezTo>
                  <a:pt x="1368" y="593"/>
                  <a:pt x="1369" y="593"/>
                  <a:pt x="1369" y="593"/>
                </a:cubicBezTo>
                <a:cubicBezTo>
                  <a:pt x="1369" y="592"/>
                  <a:pt x="1369" y="593"/>
                  <a:pt x="1369" y="592"/>
                </a:cubicBezTo>
                <a:cubicBezTo>
                  <a:pt x="1369" y="592"/>
                  <a:pt x="1370" y="592"/>
                  <a:pt x="1370" y="591"/>
                </a:cubicBezTo>
                <a:cubicBezTo>
                  <a:pt x="1370" y="591"/>
                  <a:pt x="1371" y="590"/>
                  <a:pt x="1372" y="590"/>
                </a:cubicBezTo>
                <a:cubicBezTo>
                  <a:pt x="1372" y="589"/>
                  <a:pt x="1371" y="588"/>
                  <a:pt x="1370" y="588"/>
                </a:cubicBezTo>
                <a:cubicBezTo>
                  <a:pt x="1370" y="587"/>
                  <a:pt x="1370" y="587"/>
                  <a:pt x="1371" y="586"/>
                </a:cubicBezTo>
                <a:cubicBezTo>
                  <a:pt x="1371" y="586"/>
                  <a:pt x="1372" y="586"/>
                  <a:pt x="1372" y="585"/>
                </a:cubicBezTo>
                <a:cubicBezTo>
                  <a:pt x="1373" y="584"/>
                  <a:pt x="1374" y="584"/>
                  <a:pt x="1373" y="583"/>
                </a:cubicBezTo>
                <a:cubicBezTo>
                  <a:pt x="1373" y="582"/>
                  <a:pt x="1373" y="582"/>
                  <a:pt x="1372" y="581"/>
                </a:cubicBezTo>
                <a:cubicBezTo>
                  <a:pt x="1372" y="581"/>
                  <a:pt x="1373" y="581"/>
                  <a:pt x="1373" y="581"/>
                </a:cubicBezTo>
                <a:cubicBezTo>
                  <a:pt x="1373" y="581"/>
                  <a:pt x="1373" y="580"/>
                  <a:pt x="1373" y="580"/>
                </a:cubicBezTo>
                <a:cubicBezTo>
                  <a:pt x="1373" y="580"/>
                  <a:pt x="1374" y="580"/>
                  <a:pt x="1374" y="580"/>
                </a:cubicBezTo>
                <a:cubicBezTo>
                  <a:pt x="1374" y="579"/>
                  <a:pt x="1374" y="579"/>
                  <a:pt x="1374" y="579"/>
                </a:cubicBezTo>
                <a:cubicBezTo>
                  <a:pt x="1374" y="579"/>
                  <a:pt x="1375" y="578"/>
                  <a:pt x="1374" y="578"/>
                </a:cubicBezTo>
                <a:cubicBezTo>
                  <a:pt x="1373" y="578"/>
                  <a:pt x="1374" y="577"/>
                  <a:pt x="1374" y="576"/>
                </a:cubicBezTo>
                <a:cubicBezTo>
                  <a:pt x="1373" y="576"/>
                  <a:pt x="1374" y="574"/>
                  <a:pt x="1374" y="574"/>
                </a:cubicBezTo>
                <a:cubicBezTo>
                  <a:pt x="1376" y="573"/>
                  <a:pt x="1378" y="572"/>
                  <a:pt x="1380" y="572"/>
                </a:cubicBezTo>
                <a:cubicBezTo>
                  <a:pt x="1379" y="571"/>
                  <a:pt x="1379" y="571"/>
                  <a:pt x="1378" y="571"/>
                </a:cubicBezTo>
                <a:cubicBezTo>
                  <a:pt x="1377" y="570"/>
                  <a:pt x="1377" y="570"/>
                  <a:pt x="1376" y="569"/>
                </a:cubicBezTo>
                <a:cubicBezTo>
                  <a:pt x="1376" y="569"/>
                  <a:pt x="1375" y="569"/>
                  <a:pt x="1375" y="568"/>
                </a:cubicBezTo>
                <a:cubicBezTo>
                  <a:pt x="1375" y="568"/>
                  <a:pt x="1375" y="568"/>
                  <a:pt x="1374" y="568"/>
                </a:cubicBezTo>
                <a:cubicBezTo>
                  <a:pt x="1375" y="567"/>
                  <a:pt x="1375" y="565"/>
                  <a:pt x="1375" y="565"/>
                </a:cubicBezTo>
                <a:cubicBezTo>
                  <a:pt x="1376" y="565"/>
                  <a:pt x="1375" y="565"/>
                  <a:pt x="1375" y="565"/>
                </a:cubicBezTo>
                <a:cubicBezTo>
                  <a:pt x="1375" y="564"/>
                  <a:pt x="1376" y="564"/>
                  <a:pt x="1374" y="563"/>
                </a:cubicBezTo>
                <a:cubicBezTo>
                  <a:pt x="1374" y="563"/>
                  <a:pt x="1375" y="562"/>
                  <a:pt x="1374" y="561"/>
                </a:cubicBezTo>
                <a:cubicBezTo>
                  <a:pt x="1375" y="562"/>
                  <a:pt x="1374" y="561"/>
                  <a:pt x="1374" y="561"/>
                </a:cubicBezTo>
                <a:cubicBezTo>
                  <a:pt x="1374" y="561"/>
                  <a:pt x="1373" y="560"/>
                  <a:pt x="1373" y="560"/>
                </a:cubicBezTo>
                <a:cubicBezTo>
                  <a:pt x="1373" y="559"/>
                  <a:pt x="1373" y="559"/>
                  <a:pt x="1373" y="559"/>
                </a:cubicBezTo>
                <a:cubicBezTo>
                  <a:pt x="1373" y="558"/>
                  <a:pt x="1373" y="559"/>
                  <a:pt x="1373" y="558"/>
                </a:cubicBezTo>
                <a:cubicBezTo>
                  <a:pt x="1374" y="558"/>
                  <a:pt x="1375" y="556"/>
                  <a:pt x="1373" y="556"/>
                </a:cubicBezTo>
                <a:cubicBezTo>
                  <a:pt x="1372" y="556"/>
                  <a:pt x="1373" y="556"/>
                  <a:pt x="1373" y="555"/>
                </a:cubicBezTo>
                <a:cubicBezTo>
                  <a:pt x="1373" y="555"/>
                  <a:pt x="1373" y="555"/>
                  <a:pt x="1373" y="555"/>
                </a:cubicBezTo>
                <a:cubicBezTo>
                  <a:pt x="1373" y="554"/>
                  <a:pt x="1373" y="554"/>
                  <a:pt x="1374" y="554"/>
                </a:cubicBezTo>
                <a:cubicBezTo>
                  <a:pt x="1374" y="554"/>
                  <a:pt x="1375" y="554"/>
                  <a:pt x="1375" y="555"/>
                </a:cubicBezTo>
                <a:cubicBezTo>
                  <a:pt x="1377" y="554"/>
                  <a:pt x="1376" y="554"/>
                  <a:pt x="1377" y="553"/>
                </a:cubicBezTo>
                <a:cubicBezTo>
                  <a:pt x="1378" y="553"/>
                  <a:pt x="1378" y="552"/>
                  <a:pt x="1378" y="552"/>
                </a:cubicBezTo>
                <a:cubicBezTo>
                  <a:pt x="1377" y="552"/>
                  <a:pt x="1377" y="552"/>
                  <a:pt x="1377" y="551"/>
                </a:cubicBezTo>
                <a:cubicBezTo>
                  <a:pt x="1377" y="551"/>
                  <a:pt x="1376" y="550"/>
                  <a:pt x="1377" y="550"/>
                </a:cubicBezTo>
                <a:cubicBezTo>
                  <a:pt x="1377" y="550"/>
                  <a:pt x="1377" y="550"/>
                  <a:pt x="1377" y="550"/>
                </a:cubicBezTo>
                <a:cubicBezTo>
                  <a:pt x="1377" y="550"/>
                  <a:pt x="1378" y="550"/>
                  <a:pt x="1378" y="550"/>
                </a:cubicBezTo>
                <a:cubicBezTo>
                  <a:pt x="1378" y="550"/>
                  <a:pt x="1378" y="550"/>
                  <a:pt x="1378" y="550"/>
                </a:cubicBezTo>
                <a:cubicBezTo>
                  <a:pt x="1378" y="550"/>
                  <a:pt x="1379" y="550"/>
                  <a:pt x="1379" y="550"/>
                </a:cubicBezTo>
                <a:cubicBezTo>
                  <a:pt x="1380" y="550"/>
                  <a:pt x="1380" y="549"/>
                  <a:pt x="1381" y="549"/>
                </a:cubicBezTo>
                <a:cubicBezTo>
                  <a:pt x="1381" y="549"/>
                  <a:pt x="1381" y="549"/>
                  <a:pt x="1381" y="548"/>
                </a:cubicBezTo>
                <a:cubicBezTo>
                  <a:pt x="1381" y="547"/>
                  <a:pt x="1381" y="548"/>
                  <a:pt x="1380" y="548"/>
                </a:cubicBezTo>
                <a:cubicBezTo>
                  <a:pt x="1380" y="547"/>
                  <a:pt x="1380" y="547"/>
                  <a:pt x="1380" y="546"/>
                </a:cubicBezTo>
                <a:cubicBezTo>
                  <a:pt x="1380" y="545"/>
                  <a:pt x="1378" y="545"/>
                  <a:pt x="1377" y="546"/>
                </a:cubicBezTo>
                <a:cubicBezTo>
                  <a:pt x="1377" y="545"/>
                  <a:pt x="1377" y="544"/>
                  <a:pt x="1377" y="544"/>
                </a:cubicBezTo>
                <a:cubicBezTo>
                  <a:pt x="1376" y="544"/>
                  <a:pt x="1376" y="544"/>
                  <a:pt x="1376" y="544"/>
                </a:cubicBezTo>
                <a:cubicBezTo>
                  <a:pt x="1376" y="543"/>
                  <a:pt x="1376" y="542"/>
                  <a:pt x="1376" y="542"/>
                </a:cubicBezTo>
                <a:cubicBezTo>
                  <a:pt x="1376" y="541"/>
                  <a:pt x="1375" y="540"/>
                  <a:pt x="1375" y="540"/>
                </a:cubicBezTo>
                <a:cubicBezTo>
                  <a:pt x="1375" y="540"/>
                  <a:pt x="1374" y="540"/>
                  <a:pt x="1374" y="540"/>
                </a:cubicBezTo>
                <a:cubicBezTo>
                  <a:pt x="1374" y="540"/>
                  <a:pt x="1374" y="539"/>
                  <a:pt x="1374" y="539"/>
                </a:cubicBezTo>
                <a:cubicBezTo>
                  <a:pt x="1373" y="539"/>
                  <a:pt x="1373" y="539"/>
                  <a:pt x="1373" y="540"/>
                </a:cubicBezTo>
                <a:cubicBezTo>
                  <a:pt x="1373" y="540"/>
                  <a:pt x="1372" y="540"/>
                  <a:pt x="1372" y="540"/>
                </a:cubicBezTo>
                <a:cubicBezTo>
                  <a:pt x="1371" y="540"/>
                  <a:pt x="1371" y="538"/>
                  <a:pt x="1370" y="538"/>
                </a:cubicBezTo>
                <a:cubicBezTo>
                  <a:pt x="1370" y="539"/>
                  <a:pt x="1370" y="539"/>
                  <a:pt x="1370" y="539"/>
                </a:cubicBezTo>
                <a:cubicBezTo>
                  <a:pt x="1370" y="540"/>
                  <a:pt x="1370" y="540"/>
                  <a:pt x="1370" y="541"/>
                </a:cubicBezTo>
                <a:cubicBezTo>
                  <a:pt x="1370" y="541"/>
                  <a:pt x="1369" y="541"/>
                  <a:pt x="1369" y="541"/>
                </a:cubicBezTo>
                <a:cubicBezTo>
                  <a:pt x="1369" y="541"/>
                  <a:pt x="1369" y="541"/>
                  <a:pt x="1369" y="541"/>
                </a:cubicBezTo>
                <a:cubicBezTo>
                  <a:pt x="1369" y="542"/>
                  <a:pt x="1369" y="541"/>
                  <a:pt x="1369" y="542"/>
                </a:cubicBezTo>
                <a:cubicBezTo>
                  <a:pt x="1369" y="542"/>
                  <a:pt x="1369" y="542"/>
                  <a:pt x="1369" y="542"/>
                </a:cubicBezTo>
                <a:cubicBezTo>
                  <a:pt x="1368" y="543"/>
                  <a:pt x="1369" y="543"/>
                  <a:pt x="1368" y="543"/>
                </a:cubicBezTo>
                <a:cubicBezTo>
                  <a:pt x="1367" y="544"/>
                  <a:pt x="1368" y="544"/>
                  <a:pt x="1367" y="544"/>
                </a:cubicBezTo>
                <a:cubicBezTo>
                  <a:pt x="1367" y="545"/>
                  <a:pt x="1366" y="545"/>
                  <a:pt x="1366" y="545"/>
                </a:cubicBezTo>
                <a:cubicBezTo>
                  <a:pt x="1365" y="546"/>
                  <a:pt x="1365" y="546"/>
                  <a:pt x="1364" y="547"/>
                </a:cubicBezTo>
                <a:cubicBezTo>
                  <a:pt x="1365" y="547"/>
                  <a:pt x="1365" y="547"/>
                  <a:pt x="1365" y="548"/>
                </a:cubicBezTo>
                <a:cubicBezTo>
                  <a:pt x="1365" y="548"/>
                  <a:pt x="1365" y="549"/>
                  <a:pt x="1366" y="549"/>
                </a:cubicBezTo>
                <a:cubicBezTo>
                  <a:pt x="1365" y="550"/>
                  <a:pt x="1364" y="551"/>
                  <a:pt x="1363" y="551"/>
                </a:cubicBezTo>
                <a:cubicBezTo>
                  <a:pt x="1362" y="551"/>
                  <a:pt x="1361" y="552"/>
                  <a:pt x="1361" y="553"/>
                </a:cubicBezTo>
                <a:cubicBezTo>
                  <a:pt x="1360" y="553"/>
                  <a:pt x="1359" y="553"/>
                  <a:pt x="1358" y="553"/>
                </a:cubicBezTo>
                <a:cubicBezTo>
                  <a:pt x="1357" y="553"/>
                  <a:pt x="1358" y="554"/>
                  <a:pt x="1358" y="554"/>
                </a:cubicBezTo>
                <a:cubicBezTo>
                  <a:pt x="1358" y="554"/>
                  <a:pt x="1357" y="554"/>
                  <a:pt x="1357" y="555"/>
                </a:cubicBezTo>
                <a:cubicBezTo>
                  <a:pt x="1357" y="555"/>
                  <a:pt x="1357" y="555"/>
                  <a:pt x="1357" y="555"/>
                </a:cubicBezTo>
                <a:cubicBezTo>
                  <a:pt x="1356" y="555"/>
                  <a:pt x="1357" y="556"/>
                  <a:pt x="1357" y="556"/>
                </a:cubicBezTo>
                <a:cubicBezTo>
                  <a:pt x="1356" y="556"/>
                  <a:pt x="1356" y="556"/>
                  <a:pt x="1356" y="556"/>
                </a:cubicBezTo>
                <a:cubicBezTo>
                  <a:pt x="1356" y="556"/>
                  <a:pt x="1356" y="556"/>
                  <a:pt x="1356" y="557"/>
                </a:cubicBezTo>
                <a:cubicBezTo>
                  <a:pt x="1356" y="557"/>
                  <a:pt x="1355" y="558"/>
                  <a:pt x="1355" y="558"/>
                </a:cubicBezTo>
                <a:cubicBezTo>
                  <a:pt x="1355" y="558"/>
                  <a:pt x="1355" y="558"/>
                  <a:pt x="1355" y="558"/>
                </a:cubicBezTo>
                <a:cubicBezTo>
                  <a:pt x="1354" y="559"/>
                  <a:pt x="1354" y="560"/>
                  <a:pt x="1354" y="560"/>
                </a:cubicBezTo>
                <a:cubicBezTo>
                  <a:pt x="1354" y="561"/>
                  <a:pt x="1351" y="560"/>
                  <a:pt x="1351" y="560"/>
                </a:cubicBezTo>
                <a:cubicBezTo>
                  <a:pt x="1351" y="560"/>
                  <a:pt x="1351" y="561"/>
                  <a:pt x="1350" y="561"/>
                </a:cubicBezTo>
                <a:cubicBezTo>
                  <a:pt x="1350" y="561"/>
                  <a:pt x="1350" y="561"/>
                  <a:pt x="1349" y="561"/>
                </a:cubicBezTo>
                <a:cubicBezTo>
                  <a:pt x="1349" y="561"/>
                  <a:pt x="1349" y="561"/>
                  <a:pt x="1349" y="561"/>
                </a:cubicBezTo>
                <a:cubicBezTo>
                  <a:pt x="1348" y="561"/>
                  <a:pt x="1347" y="561"/>
                  <a:pt x="1346" y="562"/>
                </a:cubicBezTo>
                <a:cubicBezTo>
                  <a:pt x="1346" y="562"/>
                  <a:pt x="1345" y="563"/>
                  <a:pt x="1345" y="563"/>
                </a:cubicBezTo>
                <a:cubicBezTo>
                  <a:pt x="1344" y="563"/>
                  <a:pt x="1345" y="565"/>
                  <a:pt x="1345" y="565"/>
                </a:cubicBezTo>
                <a:cubicBezTo>
                  <a:pt x="1344" y="565"/>
                  <a:pt x="1344" y="567"/>
                  <a:pt x="1344" y="567"/>
                </a:cubicBezTo>
                <a:cubicBezTo>
                  <a:pt x="1344" y="568"/>
                  <a:pt x="1343" y="567"/>
                  <a:pt x="1343" y="568"/>
                </a:cubicBezTo>
                <a:cubicBezTo>
                  <a:pt x="1343" y="568"/>
                  <a:pt x="1343" y="568"/>
                  <a:pt x="1343" y="569"/>
                </a:cubicBezTo>
                <a:cubicBezTo>
                  <a:pt x="1343" y="569"/>
                  <a:pt x="1341" y="569"/>
                  <a:pt x="1341" y="568"/>
                </a:cubicBezTo>
                <a:cubicBezTo>
                  <a:pt x="1341" y="567"/>
                  <a:pt x="1341" y="567"/>
                  <a:pt x="1340" y="567"/>
                </a:cubicBezTo>
                <a:cubicBezTo>
                  <a:pt x="1340" y="567"/>
                  <a:pt x="1339" y="567"/>
                  <a:pt x="1338" y="567"/>
                </a:cubicBezTo>
                <a:cubicBezTo>
                  <a:pt x="1338" y="567"/>
                  <a:pt x="1338" y="567"/>
                  <a:pt x="1337" y="566"/>
                </a:cubicBezTo>
                <a:cubicBezTo>
                  <a:pt x="1337" y="566"/>
                  <a:pt x="1337" y="566"/>
                  <a:pt x="1336" y="566"/>
                </a:cubicBezTo>
                <a:cubicBezTo>
                  <a:pt x="1335" y="565"/>
                  <a:pt x="1336" y="566"/>
                  <a:pt x="1335" y="567"/>
                </a:cubicBezTo>
                <a:cubicBezTo>
                  <a:pt x="1336" y="567"/>
                  <a:pt x="1335" y="568"/>
                  <a:pt x="1335" y="567"/>
                </a:cubicBezTo>
                <a:cubicBezTo>
                  <a:pt x="1334" y="568"/>
                  <a:pt x="1334" y="568"/>
                  <a:pt x="1334" y="569"/>
                </a:cubicBezTo>
                <a:cubicBezTo>
                  <a:pt x="1334" y="569"/>
                  <a:pt x="1333" y="571"/>
                  <a:pt x="1332" y="571"/>
                </a:cubicBezTo>
                <a:cubicBezTo>
                  <a:pt x="1332" y="572"/>
                  <a:pt x="1333" y="573"/>
                  <a:pt x="1332" y="573"/>
                </a:cubicBezTo>
                <a:cubicBezTo>
                  <a:pt x="1332" y="573"/>
                  <a:pt x="1332" y="573"/>
                  <a:pt x="1332" y="573"/>
                </a:cubicBezTo>
                <a:close/>
                <a:moveTo>
                  <a:pt x="1262" y="538"/>
                </a:moveTo>
                <a:cubicBezTo>
                  <a:pt x="1263" y="538"/>
                  <a:pt x="1263" y="538"/>
                  <a:pt x="1263" y="537"/>
                </a:cubicBezTo>
                <a:cubicBezTo>
                  <a:pt x="1263" y="537"/>
                  <a:pt x="1262" y="537"/>
                  <a:pt x="1262" y="537"/>
                </a:cubicBezTo>
                <a:cubicBezTo>
                  <a:pt x="1262" y="538"/>
                  <a:pt x="1262" y="538"/>
                  <a:pt x="1262" y="538"/>
                </a:cubicBezTo>
                <a:close/>
                <a:moveTo>
                  <a:pt x="755" y="535"/>
                </a:moveTo>
                <a:cubicBezTo>
                  <a:pt x="755" y="535"/>
                  <a:pt x="755" y="535"/>
                  <a:pt x="755" y="535"/>
                </a:cubicBezTo>
                <a:cubicBezTo>
                  <a:pt x="755" y="535"/>
                  <a:pt x="755" y="535"/>
                  <a:pt x="755" y="535"/>
                </a:cubicBezTo>
                <a:cubicBezTo>
                  <a:pt x="755" y="534"/>
                  <a:pt x="755" y="534"/>
                  <a:pt x="754" y="534"/>
                </a:cubicBezTo>
                <a:cubicBezTo>
                  <a:pt x="754" y="535"/>
                  <a:pt x="754" y="534"/>
                  <a:pt x="755" y="535"/>
                </a:cubicBezTo>
                <a:close/>
                <a:moveTo>
                  <a:pt x="436" y="534"/>
                </a:moveTo>
                <a:cubicBezTo>
                  <a:pt x="436" y="534"/>
                  <a:pt x="436" y="534"/>
                  <a:pt x="436" y="534"/>
                </a:cubicBezTo>
                <a:cubicBezTo>
                  <a:pt x="436" y="534"/>
                  <a:pt x="436" y="534"/>
                  <a:pt x="436" y="534"/>
                </a:cubicBezTo>
                <a:close/>
                <a:moveTo>
                  <a:pt x="436" y="534"/>
                </a:moveTo>
                <a:cubicBezTo>
                  <a:pt x="436" y="534"/>
                  <a:pt x="436" y="534"/>
                  <a:pt x="435" y="534"/>
                </a:cubicBezTo>
                <a:cubicBezTo>
                  <a:pt x="435" y="534"/>
                  <a:pt x="435" y="534"/>
                  <a:pt x="435" y="535"/>
                </a:cubicBezTo>
                <a:cubicBezTo>
                  <a:pt x="435" y="535"/>
                  <a:pt x="435" y="535"/>
                  <a:pt x="436" y="534"/>
                </a:cubicBezTo>
                <a:cubicBezTo>
                  <a:pt x="436" y="534"/>
                  <a:pt x="436" y="534"/>
                  <a:pt x="436" y="534"/>
                </a:cubicBezTo>
                <a:close/>
                <a:moveTo>
                  <a:pt x="428" y="534"/>
                </a:moveTo>
                <a:cubicBezTo>
                  <a:pt x="428" y="535"/>
                  <a:pt x="428" y="535"/>
                  <a:pt x="429" y="535"/>
                </a:cubicBezTo>
                <a:cubicBezTo>
                  <a:pt x="429" y="534"/>
                  <a:pt x="429" y="534"/>
                  <a:pt x="428" y="534"/>
                </a:cubicBezTo>
                <a:cubicBezTo>
                  <a:pt x="428" y="535"/>
                  <a:pt x="428" y="534"/>
                  <a:pt x="428" y="534"/>
                </a:cubicBezTo>
                <a:close/>
                <a:moveTo>
                  <a:pt x="530" y="527"/>
                </a:moveTo>
                <a:cubicBezTo>
                  <a:pt x="530" y="527"/>
                  <a:pt x="529" y="527"/>
                  <a:pt x="529" y="526"/>
                </a:cubicBezTo>
                <a:cubicBezTo>
                  <a:pt x="528" y="528"/>
                  <a:pt x="530" y="527"/>
                  <a:pt x="530" y="527"/>
                </a:cubicBezTo>
                <a:cubicBezTo>
                  <a:pt x="529" y="527"/>
                  <a:pt x="530" y="527"/>
                  <a:pt x="530" y="527"/>
                </a:cubicBezTo>
                <a:close/>
                <a:moveTo>
                  <a:pt x="1410" y="525"/>
                </a:moveTo>
                <a:cubicBezTo>
                  <a:pt x="1410" y="526"/>
                  <a:pt x="1410" y="526"/>
                  <a:pt x="1410" y="526"/>
                </a:cubicBezTo>
                <a:cubicBezTo>
                  <a:pt x="1410" y="527"/>
                  <a:pt x="1410" y="526"/>
                  <a:pt x="1410" y="527"/>
                </a:cubicBezTo>
                <a:cubicBezTo>
                  <a:pt x="1410" y="527"/>
                  <a:pt x="1410" y="527"/>
                  <a:pt x="1410" y="528"/>
                </a:cubicBezTo>
                <a:cubicBezTo>
                  <a:pt x="1410" y="528"/>
                  <a:pt x="1410" y="528"/>
                  <a:pt x="1409" y="528"/>
                </a:cubicBezTo>
                <a:cubicBezTo>
                  <a:pt x="1409" y="528"/>
                  <a:pt x="1408" y="528"/>
                  <a:pt x="1408" y="528"/>
                </a:cubicBezTo>
                <a:cubicBezTo>
                  <a:pt x="1408" y="528"/>
                  <a:pt x="1408" y="528"/>
                  <a:pt x="1408" y="528"/>
                </a:cubicBezTo>
                <a:cubicBezTo>
                  <a:pt x="1407" y="529"/>
                  <a:pt x="1407" y="529"/>
                  <a:pt x="1407" y="530"/>
                </a:cubicBezTo>
                <a:cubicBezTo>
                  <a:pt x="1407" y="531"/>
                  <a:pt x="1405" y="530"/>
                  <a:pt x="1405" y="530"/>
                </a:cubicBezTo>
                <a:cubicBezTo>
                  <a:pt x="1403" y="530"/>
                  <a:pt x="1404" y="530"/>
                  <a:pt x="1404" y="531"/>
                </a:cubicBezTo>
                <a:cubicBezTo>
                  <a:pt x="1403" y="531"/>
                  <a:pt x="1402" y="531"/>
                  <a:pt x="1401" y="532"/>
                </a:cubicBezTo>
                <a:cubicBezTo>
                  <a:pt x="1401" y="531"/>
                  <a:pt x="1401" y="530"/>
                  <a:pt x="1401" y="530"/>
                </a:cubicBezTo>
                <a:cubicBezTo>
                  <a:pt x="1401" y="529"/>
                  <a:pt x="1401" y="530"/>
                  <a:pt x="1401" y="529"/>
                </a:cubicBezTo>
                <a:cubicBezTo>
                  <a:pt x="1400" y="530"/>
                  <a:pt x="1398" y="529"/>
                  <a:pt x="1398" y="531"/>
                </a:cubicBezTo>
                <a:cubicBezTo>
                  <a:pt x="1398" y="533"/>
                  <a:pt x="1393" y="531"/>
                  <a:pt x="1394" y="534"/>
                </a:cubicBezTo>
                <a:cubicBezTo>
                  <a:pt x="1395" y="535"/>
                  <a:pt x="1394" y="535"/>
                  <a:pt x="1394" y="535"/>
                </a:cubicBezTo>
                <a:cubicBezTo>
                  <a:pt x="1394" y="536"/>
                  <a:pt x="1394" y="536"/>
                  <a:pt x="1393" y="537"/>
                </a:cubicBezTo>
                <a:cubicBezTo>
                  <a:pt x="1393" y="537"/>
                  <a:pt x="1393" y="538"/>
                  <a:pt x="1393" y="538"/>
                </a:cubicBezTo>
                <a:cubicBezTo>
                  <a:pt x="1394" y="538"/>
                  <a:pt x="1394" y="538"/>
                  <a:pt x="1395" y="537"/>
                </a:cubicBezTo>
                <a:cubicBezTo>
                  <a:pt x="1395" y="536"/>
                  <a:pt x="1395" y="536"/>
                  <a:pt x="1395" y="535"/>
                </a:cubicBezTo>
                <a:cubicBezTo>
                  <a:pt x="1396" y="535"/>
                  <a:pt x="1396" y="535"/>
                  <a:pt x="1397" y="535"/>
                </a:cubicBezTo>
                <a:cubicBezTo>
                  <a:pt x="1397" y="535"/>
                  <a:pt x="1397" y="536"/>
                  <a:pt x="1398" y="536"/>
                </a:cubicBezTo>
                <a:cubicBezTo>
                  <a:pt x="1398" y="536"/>
                  <a:pt x="1399" y="536"/>
                  <a:pt x="1399" y="536"/>
                </a:cubicBezTo>
                <a:cubicBezTo>
                  <a:pt x="1400" y="536"/>
                  <a:pt x="1400" y="536"/>
                  <a:pt x="1401" y="536"/>
                </a:cubicBezTo>
                <a:cubicBezTo>
                  <a:pt x="1401" y="536"/>
                  <a:pt x="1401" y="536"/>
                  <a:pt x="1401" y="535"/>
                </a:cubicBezTo>
                <a:cubicBezTo>
                  <a:pt x="1401" y="536"/>
                  <a:pt x="1402" y="535"/>
                  <a:pt x="1402" y="536"/>
                </a:cubicBezTo>
                <a:cubicBezTo>
                  <a:pt x="1402" y="536"/>
                  <a:pt x="1402" y="536"/>
                  <a:pt x="1402" y="536"/>
                </a:cubicBezTo>
                <a:cubicBezTo>
                  <a:pt x="1403" y="536"/>
                  <a:pt x="1403" y="536"/>
                  <a:pt x="1403" y="536"/>
                </a:cubicBezTo>
                <a:cubicBezTo>
                  <a:pt x="1403" y="537"/>
                  <a:pt x="1404" y="536"/>
                  <a:pt x="1404" y="537"/>
                </a:cubicBezTo>
                <a:cubicBezTo>
                  <a:pt x="1404" y="537"/>
                  <a:pt x="1404" y="537"/>
                  <a:pt x="1404" y="537"/>
                </a:cubicBezTo>
                <a:cubicBezTo>
                  <a:pt x="1404" y="538"/>
                  <a:pt x="1403" y="537"/>
                  <a:pt x="1403" y="538"/>
                </a:cubicBezTo>
                <a:cubicBezTo>
                  <a:pt x="1403" y="538"/>
                  <a:pt x="1403" y="538"/>
                  <a:pt x="1402" y="539"/>
                </a:cubicBezTo>
                <a:cubicBezTo>
                  <a:pt x="1402" y="539"/>
                  <a:pt x="1402" y="540"/>
                  <a:pt x="1402" y="540"/>
                </a:cubicBezTo>
                <a:cubicBezTo>
                  <a:pt x="1402" y="541"/>
                  <a:pt x="1402" y="542"/>
                  <a:pt x="1403" y="543"/>
                </a:cubicBezTo>
                <a:cubicBezTo>
                  <a:pt x="1404" y="543"/>
                  <a:pt x="1404" y="543"/>
                  <a:pt x="1405" y="543"/>
                </a:cubicBezTo>
                <a:cubicBezTo>
                  <a:pt x="1405" y="544"/>
                  <a:pt x="1405" y="545"/>
                  <a:pt x="1406" y="545"/>
                </a:cubicBezTo>
                <a:cubicBezTo>
                  <a:pt x="1407" y="545"/>
                  <a:pt x="1408" y="544"/>
                  <a:pt x="1409" y="544"/>
                </a:cubicBezTo>
                <a:cubicBezTo>
                  <a:pt x="1409" y="545"/>
                  <a:pt x="1408" y="546"/>
                  <a:pt x="1409" y="546"/>
                </a:cubicBezTo>
                <a:cubicBezTo>
                  <a:pt x="1410" y="546"/>
                  <a:pt x="1411" y="544"/>
                  <a:pt x="1411" y="543"/>
                </a:cubicBezTo>
                <a:cubicBezTo>
                  <a:pt x="1411" y="543"/>
                  <a:pt x="1411" y="543"/>
                  <a:pt x="1411" y="543"/>
                </a:cubicBezTo>
                <a:cubicBezTo>
                  <a:pt x="1411" y="543"/>
                  <a:pt x="1411" y="542"/>
                  <a:pt x="1411" y="542"/>
                </a:cubicBezTo>
                <a:cubicBezTo>
                  <a:pt x="1411" y="542"/>
                  <a:pt x="1410" y="542"/>
                  <a:pt x="1410" y="542"/>
                </a:cubicBezTo>
                <a:cubicBezTo>
                  <a:pt x="1410" y="541"/>
                  <a:pt x="1410" y="541"/>
                  <a:pt x="1410" y="540"/>
                </a:cubicBezTo>
                <a:cubicBezTo>
                  <a:pt x="1410" y="540"/>
                  <a:pt x="1411" y="540"/>
                  <a:pt x="1411" y="540"/>
                </a:cubicBezTo>
                <a:cubicBezTo>
                  <a:pt x="1411" y="540"/>
                  <a:pt x="1412" y="540"/>
                  <a:pt x="1412" y="540"/>
                </a:cubicBezTo>
                <a:cubicBezTo>
                  <a:pt x="1412" y="541"/>
                  <a:pt x="1412" y="542"/>
                  <a:pt x="1412" y="542"/>
                </a:cubicBezTo>
                <a:cubicBezTo>
                  <a:pt x="1412" y="541"/>
                  <a:pt x="1412" y="540"/>
                  <a:pt x="1411" y="539"/>
                </a:cubicBezTo>
                <a:cubicBezTo>
                  <a:pt x="1411" y="538"/>
                  <a:pt x="1412" y="537"/>
                  <a:pt x="1413" y="536"/>
                </a:cubicBezTo>
                <a:cubicBezTo>
                  <a:pt x="1413" y="536"/>
                  <a:pt x="1413" y="536"/>
                  <a:pt x="1413" y="536"/>
                </a:cubicBezTo>
                <a:cubicBezTo>
                  <a:pt x="1413" y="535"/>
                  <a:pt x="1413" y="536"/>
                  <a:pt x="1414" y="535"/>
                </a:cubicBezTo>
                <a:cubicBezTo>
                  <a:pt x="1414" y="535"/>
                  <a:pt x="1414" y="534"/>
                  <a:pt x="1415" y="534"/>
                </a:cubicBezTo>
                <a:cubicBezTo>
                  <a:pt x="1415" y="532"/>
                  <a:pt x="1414" y="530"/>
                  <a:pt x="1414" y="528"/>
                </a:cubicBezTo>
                <a:cubicBezTo>
                  <a:pt x="1413" y="527"/>
                  <a:pt x="1413" y="526"/>
                  <a:pt x="1413" y="525"/>
                </a:cubicBezTo>
                <a:cubicBezTo>
                  <a:pt x="1412" y="525"/>
                  <a:pt x="1411" y="525"/>
                  <a:pt x="1410" y="525"/>
                </a:cubicBezTo>
                <a:close/>
                <a:moveTo>
                  <a:pt x="1203" y="533"/>
                </a:moveTo>
                <a:cubicBezTo>
                  <a:pt x="1201" y="533"/>
                  <a:pt x="1201" y="532"/>
                  <a:pt x="1201" y="531"/>
                </a:cubicBezTo>
                <a:cubicBezTo>
                  <a:pt x="1201" y="530"/>
                  <a:pt x="1200" y="530"/>
                  <a:pt x="1200" y="529"/>
                </a:cubicBezTo>
                <a:cubicBezTo>
                  <a:pt x="1200" y="529"/>
                  <a:pt x="1199" y="529"/>
                  <a:pt x="1199" y="528"/>
                </a:cubicBezTo>
                <a:cubicBezTo>
                  <a:pt x="1199" y="527"/>
                  <a:pt x="1197" y="527"/>
                  <a:pt x="1197" y="527"/>
                </a:cubicBezTo>
                <a:cubicBezTo>
                  <a:pt x="1197" y="526"/>
                  <a:pt x="1197" y="526"/>
                  <a:pt x="1197" y="525"/>
                </a:cubicBezTo>
                <a:cubicBezTo>
                  <a:pt x="1197" y="525"/>
                  <a:pt x="1197" y="524"/>
                  <a:pt x="1196" y="524"/>
                </a:cubicBezTo>
                <a:cubicBezTo>
                  <a:pt x="1196" y="524"/>
                  <a:pt x="1196" y="523"/>
                  <a:pt x="1196" y="523"/>
                </a:cubicBezTo>
                <a:cubicBezTo>
                  <a:pt x="1196" y="523"/>
                  <a:pt x="1195" y="523"/>
                  <a:pt x="1195" y="523"/>
                </a:cubicBezTo>
                <a:cubicBezTo>
                  <a:pt x="1194" y="523"/>
                  <a:pt x="1194" y="524"/>
                  <a:pt x="1194" y="525"/>
                </a:cubicBezTo>
                <a:cubicBezTo>
                  <a:pt x="1195" y="525"/>
                  <a:pt x="1195" y="526"/>
                  <a:pt x="1195" y="527"/>
                </a:cubicBezTo>
                <a:cubicBezTo>
                  <a:pt x="1194" y="527"/>
                  <a:pt x="1194" y="528"/>
                  <a:pt x="1194" y="529"/>
                </a:cubicBezTo>
                <a:cubicBezTo>
                  <a:pt x="1194" y="529"/>
                  <a:pt x="1194" y="531"/>
                  <a:pt x="1194" y="531"/>
                </a:cubicBezTo>
                <a:cubicBezTo>
                  <a:pt x="1194" y="531"/>
                  <a:pt x="1193" y="532"/>
                  <a:pt x="1193" y="532"/>
                </a:cubicBezTo>
                <a:cubicBezTo>
                  <a:pt x="1192" y="533"/>
                  <a:pt x="1193" y="533"/>
                  <a:pt x="1193" y="534"/>
                </a:cubicBezTo>
                <a:cubicBezTo>
                  <a:pt x="1193" y="534"/>
                  <a:pt x="1193" y="534"/>
                  <a:pt x="1193" y="534"/>
                </a:cubicBezTo>
                <a:cubicBezTo>
                  <a:pt x="1193" y="534"/>
                  <a:pt x="1193" y="535"/>
                  <a:pt x="1193" y="535"/>
                </a:cubicBezTo>
                <a:cubicBezTo>
                  <a:pt x="1194" y="535"/>
                  <a:pt x="1194" y="537"/>
                  <a:pt x="1194" y="538"/>
                </a:cubicBezTo>
                <a:cubicBezTo>
                  <a:pt x="1194" y="539"/>
                  <a:pt x="1194" y="540"/>
                  <a:pt x="1194" y="541"/>
                </a:cubicBezTo>
                <a:cubicBezTo>
                  <a:pt x="1194" y="542"/>
                  <a:pt x="1194" y="542"/>
                  <a:pt x="1195" y="542"/>
                </a:cubicBezTo>
                <a:cubicBezTo>
                  <a:pt x="1196" y="543"/>
                  <a:pt x="1196" y="544"/>
                  <a:pt x="1196" y="544"/>
                </a:cubicBezTo>
                <a:cubicBezTo>
                  <a:pt x="1197" y="544"/>
                  <a:pt x="1197" y="544"/>
                  <a:pt x="1199" y="544"/>
                </a:cubicBezTo>
                <a:cubicBezTo>
                  <a:pt x="1199" y="543"/>
                  <a:pt x="1200" y="543"/>
                  <a:pt x="1200" y="543"/>
                </a:cubicBezTo>
                <a:cubicBezTo>
                  <a:pt x="1201" y="543"/>
                  <a:pt x="1200" y="542"/>
                  <a:pt x="1201" y="542"/>
                </a:cubicBezTo>
                <a:cubicBezTo>
                  <a:pt x="1202" y="542"/>
                  <a:pt x="1201" y="542"/>
                  <a:pt x="1201" y="542"/>
                </a:cubicBezTo>
                <a:cubicBezTo>
                  <a:pt x="1202" y="541"/>
                  <a:pt x="1203" y="541"/>
                  <a:pt x="1203" y="540"/>
                </a:cubicBezTo>
                <a:cubicBezTo>
                  <a:pt x="1203" y="539"/>
                  <a:pt x="1203" y="538"/>
                  <a:pt x="1203" y="537"/>
                </a:cubicBezTo>
                <a:cubicBezTo>
                  <a:pt x="1204" y="536"/>
                  <a:pt x="1204" y="536"/>
                  <a:pt x="1203" y="535"/>
                </a:cubicBezTo>
                <a:cubicBezTo>
                  <a:pt x="1203" y="535"/>
                  <a:pt x="1203" y="534"/>
                  <a:pt x="1203" y="533"/>
                </a:cubicBezTo>
                <a:cubicBezTo>
                  <a:pt x="1202" y="533"/>
                  <a:pt x="1203" y="533"/>
                  <a:pt x="1203" y="533"/>
                </a:cubicBezTo>
                <a:close/>
                <a:moveTo>
                  <a:pt x="1403" y="522"/>
                </a:moveTo>
                <a:cubicBezTo>
                  <a:pt x="1404" y="522"/>
                  <a:pt x="1405" y="523"/>
                  <a:pt x="1406" y="523"/>
                </a:cubicBezTo>
                <a:cubicBezTo>
                  <a:pt x="1407" y="522"/>
                  <a:pt x="1407" y="522"/>
                  <a:pt x="1407" y="521"/>
                </a:cubicBezTo>
                <a:cubicBezTo>
                  <a:pt x="1406" y="520"/>
                  <a:pt x="1405" y="520"/>
                  <a:pt x="1404" y="521"/>
                </a:cubicBezTo>
                <a:cubicBezTo>
                  <a:pt x="1403" y="521"/>
                  <a:pt x="1403" y="521"/>
                  <a:pt x="1403" y="522"/>
                </a:cubicBezTo>
                <a:cubicBezTo>
                  <a:pt x="1404" y="522"/>
                  <a:pt x="1403" y="522"/>
                  <a:pt x="1403" y="522"/>
                </a:cubicBezTo>
                <a:close/>
                <a:moveTo>
                  <a:pt x="1397" y="518"/>
                </a:moveTo>
                <a:cubicBezTo>
                  <a:pt x="1397" y="518"/>
                  <a:pt x="1397" y="518"/>
                  <a:pt x="1396" y="519"/>
                </a:cubicBezTo>
                <a:cubicBezTo>
                  <a:pt x="1397" y="519"/>
                  <a:pt x="1397" y="519"/>
                  <a:pt x="1397" y="519"/>
                </a:cubicBezTo>
                <a:cubicBezTo>
                  <a:pt x="1397" y="518"/>
                  <a:pt x="1397" y="518"/>
                  <a:pt x="1397" y="518"/>
                </a:cubicBezTo>
                <a:close/>
                <a:moveTo>
                  <a:pt x="1257" y="518"/>
                </a:moveTo>
                <a:cubicBezTo>
                  <a:pt x="1257" y="518"/>
                  <a:pt x="1257" y="518"/>
                  <a:pt x="1257" y="519"/>
                </a:cubicBezTo>
                <a:cubicBezTo>
                  <a:pt x="1257" y="518"/>
                  <a:pt x="1257" y="518"/>
                  <a:pt x="1258" y="518"/>
                </a:cubicBezTo>
                <a:cubicBezTo>
                  <a:pt x="1257" y="518"/>
                  <a:pt x="1258" y="518"/>
                  <a:pt x="1257" y="518"/>
                </a:cubicBezTo>
                <a:close/>
                <a:moveTo>
                  <a:pt x="1398" y="520"/>
                </a:moveTo>
                <a:cubicBezTo>
                  <a:pt x="1397" y="520"/>
                  <a:pt x="1397" y="520"/>
                  <a:pt x="1396" y="520"/>
                </a:cubicBezTo>
                <a:cubicBezTo>
                  <a:pt x="1395" y="521"/>
                  <a:pt x="1395" y="520"/>
                  <a:pt x="1395" y="522"/>
                </a:cubicBezTo>
                <a:cubicBezTo>
                  <a:pt x="1395" y="522"/>
                  <a:pt x="1395" y="522"/>
                  <a:pt x="1395" y="523"/>
                </a:cubicBezTo>
                <a:cubicBezTo>
                  <a:pt x="1396" y="523"/>
                  <a:pt x="1396" y="524"/>
                  <a:pt x="1396" y="524"/>
                </a:cubicBezTo>
                <a:cubicBezTo>
                  <a:pt x="1397" y="524"/>
                  <a:pt x="1397" y="524"/>
                  <a:pt x="1397" y="524"/>
                </a:cubicBezTo>
                <a:cubicBezTo>
                  <a:pt x="1397" y="524"/>
                  <a:pt x="1398" y="524"/>
                  <a:pt x="1398" y="524"/>
                </a:cubicBezTo>
                <a:cubicBezTo>
                  <a:pt x="1398" y="525"/>
                  <a:pt x="1398" y="525"/>
                  <a:pt x="1399" y="525"/>
                </a:cubicBezTo>
                <a:cubicBezTo>
                  <a:pt x="1400" y="525"/>
                  <a:pt x="1399" y="524"/>
                  <a:pt x="1399" y="524"/>
                </a:cubicBezTo>
                <a:cubicBezTo>
                  <a:pt x="1399" y="522"/>
                  <a:pt x="1399" y="521"/>
                  <a:pt x="1400" y="520"/>
                </a:cubicBezTo>
                <a:cubicBezTo>
                  <a:pt x="1400" y="520"/>
                  <a:pt x="1400" y="519"/>
                  <a:pt x="1400" y="519"/>
                </a:cubicBezTo>
                <a:cubicBezTo>
                  <a:pt x="1400" y="519"/>
                  <a:pt x="1401" y="518"/>
                  <a:pt x="1401" y="518"/>
                </a:cubicBezTo>
                <a:cubicBezTo>
                  <a:pt x="1401" y="518"/>
                  <a:pt x="1401" y="517"/>
                  <a:pt x="1401" y="517"/>
                </a:cubicBezTo>
                <a:cubicBezTo>
                  <a:pt x="1401" y="517"/>
                  <a:pt x="1401" y="516"/>
                  <a:pt x="1400" y="516"/>
                </a:cubicBezTo>
                <a:cubicBezTo>
                  <a:pt x="1400" y="516"/>
                  <a:pt x="1399" y="516"/>
                  <a:pt x="1399" y="516"/>
                </a:cubicBezTo>
                <a:cubicBezTo>
                  <a:pt x="1398" y="517"/>
                  <a:pt x="1399" y="519"/>
                  <a:pt x="1398" y="520"/>
                </a:cubicBezTo>
                <a:close/>
                <a:moveTo>
                  <a:pt x="527" y="516"/>
                </a:moveTo>
                <a:cubicBezTo>
                  <a:pt x="527" y="516"/>
                  <a:pt x="526" y="516"/>
                  <a:pt x="526" y="516"/>
                </a:cubicBezTo>
                <a:cubicBezTo>
                  <a:pt x="525" y="516"/>
                  <a:pt x="525" y="516"/>
                  <a:pt x="525" y="516"/>
                </a:cubicBezTo>
                <a:cubicBezTo>
                  <a:pt x="525" y="517"/>
                  <a:pt x="525" y="518"/>
                  <a:pt x="525" y="519"/>
                </a:cubicBezTo>
                <a:cubicBezTo>
                  <a:pt x="525" y="519"/>
                  <a:pt x="526" y="520"/>
                  <a:pt x="527" y="519"/>
                </a:cubicBezTo>
                <a:cubicBezTo>
                  <a:pt x="527" y="519"/>
                  <a:pt x="528" y="519"/>
                  <a:pt x="527" y="518"/>
                </a:cubicBezTo>
                <a:cubicBezTo>
                  <a:pt x="527" y="517"/>
                  <a:pt x="527" y="517"/>
                  <a:pt x="527" y="516"/>
                </a:cubicBezTo>
                <a:close/>
                <a:moveTo>
                  <a:pt x="1404" y="519"/>
                </a:moveTo>
                <a:cubicBezTo>
                  <a:pt x="1404" y="518"/>
                  <a:pt x="1404" y="517"/>
                  <a:pt x="1404" y="516"/>
                </a:cubicBezTo>
                <a:cubicBezTo>
                  <a:pt x="1404" y="515"/>
                  <a:pt x="1403" y="515"/>
                  <a:pt x="1403" y="515"/>
                </a:cubicBezTo>
                <a:cubicBezTo>
                  <a:pt x="1403" y="516"/>
                  <a:pt x="1403" y="516"/>
                  <a:pt x="1403" y="516"/>
                </a:cubicBezTo>
                <a:cubicBezTo>
                  <a:pt x="1403" y="517"/>
                  <a:pt x="1402" y="517"/>
                  <a:pt x="1402" y="518"/>
                </a:cubicBezTo>
                <a:cubicBezTo>
                  <a:pt x="1402" y="518"/>
                  <a:pt x="1402" y="518"/>
                  <a:pt x="1402" y="519"/>
                </a:cubicBezTo>
                <a:cubicBezTo>
                  <a:pt x="1401" y="519"/>
                  <a:pt x="1401" y="519"/>
                  <a:pt x="1401" y="520"/>
                </a:cubicBezTo>
                <a:cubicBezTo>
                  <a:pt x="1400" y="521"/>
                  <a:pt x="1400" y="522"/>
                  <a:pt x="1400" y="523"/>
                </a:cubicBezTo>
                <a:cubicBezTo>
                  <a:pt x="1401" y="523"/>
                  <a:pt x="1402" y="522"/>
                  <a:pt x="1402" y="521"/>
                </a:cubicBezTo>
                <a:cubicBezTo>
                  <a:pt x="1402" y="520"/>
                  <a:pt x="1403" y="519"/>
                  <a:pt x="1404" y="519"/>
                </a:cubicBezTo>
                <a:cubicBezTo>
                  <a:pt x="1404" y="519"/>
                  <a:pt x="1404" y="519"/>
                  <a:pt x="1404" y="519"/>
                </a:cubicBezTo>
                <a:close/>
                <a:moveTo>
                  <a:pt x="514" y="515"/>
                </a:moveTo>
                <a:cubicBezTo>
                  <a:pt x="516" y="515"/>
                  <a:pt x="513" y="514"/>
                  <a:pt x="514" y="515"/>
                </a:cubicBezTo>
                <a:cubicBezTo>
                  <a:pt x="514" y="515"/>
                  <a:pt x="514" y="515"/>
                  <a:pt x="514" y="515"/>
                </a:cubicBezTo>
                <a:close/>
                <a:moveTo>
                  <a:pt x="1378" y="521"/>
                </a:moveTo>
                <a:cubicBezTo>
                  <a:pt x="1378" y="521"/>
                  <a:pt x="1377" y="522"/>
                  <a:pt x="1377" y="523"/>
                </a:cubicBezTo>
                <a:cubicBezTo>
                  <a:pt x="1376" y="524"/>
                  <a:pt x="1376" y="524"/>
                  <a:pt x="1375" y="524"/>
                </a:cubicBezTo>
                <a:cubicBezTo>
                  <a:pt x="1375" y="525"/>
                  <a:pt x="1376" y="525"/>
                  <a:pt x="1375" y="526"/>
                </a:cubicBezTo>
                <a:cubicBezTo>
                  <a:pt x="1374" y="526"/>
                  <a:pt x="1373" y="526"/>
                  <a:pt x="1373" y="526"/>
                </a:cubicBezTo>
                <a:cubicBezTo>
                  <a:pt x="1373" y="527"/>
                  <a:pt x="1372" y="526"/>
                  <a:pt x="1372" y="527"/>
                </a:cubicBezTo>
                <a:cubicBezTo>
                  <a:pt x="1372" y="527"/>
                  <a:pt x="1371" y="528"/>
                  <a:pt x="1371" y="528"/>
                </a:cubicBezTo>
                <a:cubicBezTo>
                  <a:pt x="1371" y="529"/>
                  <a:pt x="1370" y="530"/>
                  <a:pt x="1370" y="530"/>
                </a:cubicBezTo>
                <a:cubicBezTo>
                  <a:pt x="1371" y="531"/>
                  <a:pt x="1371" y="529"/>
                  <a:pt x="1372" y="529"/>
                </a:cubicBezTo>
                <a:cubicBezTo>
                  <a:pt x="1372" y="529"/>
                  <a:pt x="1372" y="529"/>
                  <a:pt x="1373" y="529"/>
                </a:cubicBezTo>
                <a:cubicBezTo>
                  <a:pt x="1373" y="529"/>
                  <a:pt x="1374" y="528"/>
                  <a:pt x="1374" y="528"/>
                </a:cubicBezTo>
                <a:cubicBezTo>
                  <a:pt x="1375" y="528"/>
                  <a:pt x="1374" y="528"/>
                  <a:pt x="1375" y="528"/>
                </a:cubicBezTo>
                <a:cubicBezTo>
                  <a:pt x="1375" y="528"/>
                  <a:pt x="1375" y="527"/>
                  <a:pt x="1376" y="527"/>
                </a:cubicBezTo>
                <a:cubicBezTo>
                  <a:pt x="1376" y="527"/>
                  <a:pt x="1376" y="527"/>
                  <a:pt x="1377" y="527"/>
                </a:cubicBezTo>
                <a:cubicBezTo>
                  <a:pt x="1377" y="525"/>
                  <a:pt x="1378" y="524"/>
                  <a:pt x="1379" y="522"/>
                </a:cubicBezTo>
                <a:cubicBezTo>
                  <a:pt x="1379" y="522"/>
                  <a:pt x="1381" y="521"/>
                  <a:pt x="1381" y="521"/>
                </a:cubicBezTo>
                <a:cubicBezTo>
                  <a:pt x="1381" y="520"/>
                  <a:pt x="1381" y="520"/>
                  <a:pt x="1382" y="519"/>
                </a:cubicBezTo>
                <a:cubicBezTo>
                  <a:pt x="1383" y="519"/>
                  <a:pt x="1383" y="519"/>
                  <a:pt x="1383" y="519"/>
                </a:cubicBezTo>
                <a:cubicBezTo>
                  <a:pt x="1383" y="518"/>
                  <a:pt x="1382" y="516"/>
                  <a:pt x="1383" y="516"/>
                </a:cubicBezTo>
                <a:cubicBezTo>
                  <a:pt x="1382" y="515"/>
                  <a:pt x="1382" y="515"/>
                  <a:pt x="1382" y="514"/>
                </a:cubicBezTo>
                <a:cubicBezTo>
                  <a:pt x="1381" y="514"/>
                  <a:pt x="1381" y="514"/>
                  <a:pt x="1381" y="515"/>
                </a:cubicBezTo>
                <a:cubicBezTo>
                  <a:pt x="1381" y="515"/>
                  <a:pt x="1381" y="516"/>
                  <a:pt x="1381" y="516"/>
                </a:cubicBezTo>
                <a:cubicBezTo>
                  <a:pt x="1380" y="516"/>
                  <a:pt x="1380" y="518"/>
                  <a:pt x="1379" y="518"/>
                </a:cubicBezTo>
                <a:cubicBezTo>
                  <a:pt x="1379" y="519"/>
                  <a:pt x="1379" y="518"/>
                  <a:pt x="1379" y="519"/>
                </a:cubicBezTo>
                <a:cubicBezTo>
                  <a:pt x="1379" y="519"/>
                  <a:pt x="1379" y="519"/>
                  <a:pt x="1379" y="520"/>
                </a:cubicBezTo>
                <a:cubicBezTo>
                  <a:pt x="1379" y="520"/>
                  <a:pt x="1378" y="520"/>
                  <a:pt x="1378" y="521"/>
                </a:cubicBezTo>
                <a:cubicBezTo>
                  <a:pt x="1378" y="521"/>
                  <a:pt x="1378" y="521"/>
                  <a:pt x="1378" y="521"/>
                </a:cubicBezTo>
                <a:close/>
                <a:moveTo>
                  <a:pt x="1409" y="514"/>
                </a:moveTo>
                <a:cubicBezTo>
                  <a:pt x="1408" y="514"/>
                  <a:pt x="1407" y="514"/>
                  <a:pt x="1406" y="514"/>
                </a:cubicBezTo>
                <a:cubicBezTo>
                  <a:pt x="1406" y="515"/>
                  <a:pt x="1406" y="515"/>
                  <a:pt x="1408" y="515"/>
                </a:cubicBezTo>
                <a:cubicBezTo>
                  <a:pt x="1408" y="515"/>
                  <a:pt x="1408" y="515"/>
                  <a:pt x="1408" y="516"/>
                </a:cubicBezTo>
                <a:cubicBezTo>
                  <a:pt x="1408" y="516"/>
                  <a:pt x="1408" y="516"/>
                  <a:pt x="1407" y="516"/>
                </a:cubicBezTo>
                <a:cubicBezTo>
                  <a:pt x="1407" y="517"/>
                  <a:pt x="1408" y="518"/>
                  <a:pt x="1408" y="519"/>
                </a:cubicBezTo>
                <a:cubicBezTo>
                  <a:pt x="1408" y="519"/>
                  <a:pt x="1409" y="520"/>
                  <a:pt x="1409" y="520"/>
                </a:cubicBezTo>
                <a:cubicBezTo>
                  <a:pt x="1409" y="521"/>
                  <a:pt x="1410" y="520"/>
                  <a:pt x="1410" y="520"/>
                </a:cubicBezTo>
                <a:cubicBezTo>
                  <a:pt x="1410" y="521"/>
                  <a:pt x="1411" y="520"/>
                  <a:pt x="1411" y="520"/>
                </a:cubicBezTo>
                <a:cubicBezTo>
                  <a:pt x="1411" y="520"/>
                  <a:pt x="1410" y="520"/>
                  <a:pt x="1410" y="520"/>
                </a:cubicBezTo>
                <a:cubicBezTo>
                  <a:pt x="1410" y="519"/>
                  <a:pt x="1410" y="518"/>
                  <a:pt x="1410" y="518"/>
                </a:cubicBezTo>
                <a:cubicBezTo>
                  <a:pt x="1410" y="518"/>
                  <a:pt x="1410" y="518"/>
                  <a:pt x="1410" y="518"/>
                </a:cubicBezTo>
                <a:cubicBezTo>
                  <a:pt x="1410" y="517"/>
                  <a:pt x="1410" y="517"/>
                  <a:pt x="1410" y="517"/>
                </a:cubicBezTo>
                <a:cubicBezTo>
                  <a:pt x="1409" y="516"/>
                  <a:pt x="1409" y="516"/>
                  <a:pt x="1410" y="515"/>
                </a:cubicBezTo>
                <a:cubicBezTo>
                  <a:pt x="1410" y="514"/>
                  <a:pt x="1409" y="515"/>
                  <a:pt x="1409" y="514"/>
                </a:cubicBezTo>
                <a:cubicBezTo>
                  <a:pt x="1408" y="514"/>
                  <a:pt x="1409" y="514"/>
                  <a:pt x="1409" y="514"/>
                </a:cubicBezTo>
                <a:close/>
                <a:moveTo>
                  <a:pt x="1393" y="519"/>
                </a:moveTo>
                <a:cubicBezTo>
                  <a:pt x="1394" y="519"/>
                  <a:pt x="1395" y="518"/>
                  <a:pt x="1395" y="518"/>
                </a:cubicBezTo>
                <a:cubicBezTo>
                  <a:pt x="1396" y="517"/>
                  <a:pt x="1397" y="517"/>
                  <a:pt x="1397" y="517"/>
                </a:cubicBezTo>
                <a:cubicBezTo>
                  <a:pt x="1397" y="517"/>
                  <a:pt x="1398" y="516"/>
                  <a:pt x="1398" y="516"/>
                </a:cubicBezTo>
                <a:cubicBezTo>
                  <a:pt x="1398" y="515"/>
                  <a:pt x="1399" y="513"/>
                  <a:pt x="1398" y="513"/>
                </a:cubicBezTo>
                <a:cubicBezTo>
                  <a:pt x="1396" y="513"/>
                  <a:pt x="1395" y="512"/>
                  <a:pt x="1394" y="512"/>
                </a:cubicBezTo>
                <a:cubicBezTo>
                  <a:pt x="1394" y="514"/>
                  <a:pt x="1394" y="516"/>
                  <a:pt x="1393" y="517"/>
                </a:cubicBezTo>
                <a:cubicBezTo>
                  <a:pt x="1393" y="517"/>
                  <a:pt x="1393" y="518"/>
                  <a:pt x="1393" y="519"/>
                </a:cubicBezTo>
                <a:cubicBezTo>
                  <a:pt x="1395" y="518"/>
                  <a:pt x="1393" y="519"/>
                  <a:pt x="1393" y="519"/>
                </a:cubicBezTo>
                <a:close/>
                <a:moveTo>
                  <a:pt x="1258" y="512"/>
                </a:moveTo>
                <a:cubicBezTo>
                  <a:pt x="1259" y="513"/>
                  <a:pt x="1259" y="511"/>
                  <a:pt x="1258" y="511"/>
                </a:cubicBezTo>
                <a:cubicBezTo>
                  <a:pt x="1258" y="511"/>
                  <a:pt x="1258" y="511"/>
                  <a:pt x="1258" y="512"/>
                </a:cubicBezTo>
                <a:close/>
                <a:moveTo>
                  <a:pt x="1404" y="511"/>
                </a:moveTo>
                <a:cubicBezTo>
                  <a:pt x="1402" y="510"/>
                  <a:pt x="1401" y="509"/>
                  <a:pt x="1400" y="509"/>
                </a:cubicBezTo>
                <a:cubicBezTo>
                  <a:pt x="1400" y="510"/>
                  <a:pt x="1399" y="511"/>
                  <a:pt x="1400" y="511"/>
                </a:cubicBezTo>
                <a:cubicBezTo>
                  <a:pt x="1401" y="511"/>
                  <a:pt x="1403" y="511"/>
                  <a:pt x="1404" y="512"/>
                </a:cubicBezTo>
                <a:cubicBezTo>
                  <a:pt x="1404" y="511"/>
                  <a:pt x="1404" y="511"/>
                  <a:pt x="1404" y="511"/>
                </a:cubicBezTo>
                <a:cubicBezTo>
                  <a:pt x="1402" y="510"/>
                  <a:pt x="1404" y="511"/>
                  <a:pt x="1404" y="511"/>
                </a:cubicBezTo>
                <a:close/>
                <a:moveTo>
                  <a:pt x="1383" y="510"/>
                </a:moveTo>
                <a:cubicBezTo>
                  <a:pt x="1384" y="510"/>
                  <a:pt x="1384" y="510"/>
                  <a:pt x="1385" y="511"/>
                </a:cubicBezTo>
                <a:cubicBezTo>
                  <a:pt x="1385" y="510"/>
                  <a:pt x="1384" y="509"/>
                  <a:pt x="1383" y="509"/>
                </a:cubicBezTo>
                <a:cubicBezTo>
                  <a:pt x="1383" y="509"/>
                  <a:pt x="1383" y="509"/>
                  <a:pt x="1383" y="509"/>
                </a:cubicBezTo>
                <a:cubicBezTo>
                  <a:pt x="1383" y="510"/>
                  <a:pt x="1383" y="510"/>
                  <a:pt x="1383" y="510"/>
                </a:cubicBezTo>
                <a:cubicBezTo>
                  <a:pt x="1384" y="510"/>
                  <a:pt x="1383" y="510"/>
                  <a:pt x="1383" y="510"/>
                </a:cubicBezTo>
                <a:close/>
                <a:moveTo>
                  <a:pt x="1259" y="508"/>
                </a:moveTo>
                <a:cubicBezTo>
                  <a:pt x="1259" y="508"/>
                  <a:pt x="1259" y="507"/>
                  <a:pt x="1259" y="508"/>
                </a:cubicBezTo>
                <a:cubicBezTo>
                  <a:pt x="1259" y="509"/>
                  <a:pt x="1259" y="509"/>
                  <a:pt x="1260" y="509"/>
                </a:cubicBezTo>
                <a:cubicBezTo>
                  <a:pt x="1259" y="509"/>
                  <a:pt x="1260" y="509"/>
                  <a:pt x="1259" y="508"/>
                </a:cubicBezTo>
                <a:close/>
                <a:moveTo>
                  <a:pt x="1074" y="508"/>
                </a:moveTo>
                <a:cubicBezTo>
                  <a:pt x="1074" y="508"/>
                  <a:pt x="1073" y="508"/>
                  <a:pt x="1073" y="508"/>
                </a:cubicBezTo>
                <a:cubicBezTo>
                  <a:pt x="1073" y="508"/>
                  <a:pt x="1073" y="508"/>
                  <a:pt x="1073" y="508"/>
                </a:cubicBezTo>
                <a:cubicBezTo>
                  <a:pt x="1072" y="508"/>
                  <a:pt x="1071" y="508"/>
                  <a:pt x="1070" y="508"/>
                </a:cubicBezTo>
                <a:cubicBezTo>
                  <a:pt x="1071" y="508"/>
                  <a:pt x="1072" y="508"/>
                  <a:pt x="1072" y="509"/>
                </a:cubicBezTo>
                <a:cubicBezTo>
                  <a:pt x="1072" y="509"/>
                  <a:pt x="1073" y="509"/>
                  <a:pt x="1074" y="509"/>
                </a:cubicBezTo>
                <a:cubicBezTo>
                  <a:pt x="1075" y="509"/>
                  <a:pt x="1075" y="508"/>
                  <a:pt x="1074" y="508"/>
                </a:cubicBezTo>
                <a:cubicBezTo>
                  <a:pt x="1074" y="508"/>
                  <a:pt x="1074" y="508"/>
                  <a:pt x="1074" y="508"/>
                </a:cubicBezTo>
                <a:close/>
                <a:moveTo>
                  <a:pt x="1395" y="508"/>
                </a:moveTo>
                <a:cubicBezTo>
                  <a:pt x="1395" y="507"/>
                  <a:pt x="1394" y="507"/>
                  <a:pt x="1393" y="507"/>
                </a:cubicBezTo>
                <a:cubicBezTo>
                  <a:pt x="1393" y="508"/>
                  <a:pt x="1394" y="508"/>
                  <a:pt x="1395" y="508"/>
                </a:cubicBezTo>
                <a:close/>
                <a:moveTo>
                  <a:pt x="1409" y="506"/>
                </a:moveTo>
                <a:cubicBezTo>
                  <a:pt x="1408" y="506"/>
                  <a:pt x="1407" y="506"/>
                  <a:pt x="1406" y="506"/>
                </a:cubicBezTo>
                <a:cubicBezTo>
                  <a:pt x="1405" y="507"/>
                  <a:pt x="1406" y="508"/>
                  <a:pt x="1405" y="507"/>
                </a:cubicBezTo>
                <a:cubicBezTo>
                  <a:pt x="1405" y="508"/>
                  <a:pt x="1406" y="509"/>
                  <a:pt x="1406" y="509"/>
                </a:cubicBezTo>
                <a:cubicBezTo>
                  <a:pt x="1406" y="510"/>
                  <a:pt x="1406" y="510"/>
                  <a:pt x="1407" y="510"/>
                </a:cubicBezTo>
                <a:cubicBezTo>
                  <a:pt x="1407" y="511"/>
                  <a:pt x="1407" y="511"/>
                  <a:pt x="1407" y="511"/>
                </a:cubicBezTo>
                <a:cubicBezTo>
                  <a:pt x="1408" y="511"/>
                  <a:pt x="1408" y="512"/>
                  <a:pt x="1408" y="513"/>
                </a:cubicBezTo>
                <a:cubicBezTo>
                  <a:pt x="1408" y="513"/>
                  <a:pt x="1408" y="513"/>
                  <a:pt x="1409" y="513"/>
                </a:cubicBezTo>
                <a:cubicBezTo>
                  <a:pt x="1409" y="513"/>
                  <a:pt x="1409" y="513"/>
                  <a:pt x="1409" y="513"/>
                </a:cubicBezTo>
                <a:cubicBezTo>
                  <a:pt x="1410" y="513"/>
                  <a:pt x="1410" y="513"/>
                  <a:pt x="1410" y="514"/>
                </a:cubicBezTo>
                <a:cubicBezTo>
                  <a:pt x="1410" y="514"/>
                  <a:pt x="1410" y="514"/>
                  <a:pt x="1410" y="514"/>
                </a:cubicBezTo>
                <a:cubicBezTo>
                  <a:pt x="1411" y="514"/>
                  <a:pt x="1411" y="515"/>
                  <a:pt x="1412" y="515"/>
                </a:cubicBezTo>
                <a:cubicBezTo>
                  <a:pt x="1412" y="514"/>
                  <a:pt x="1411" y="513"/>
                  <a:pt x="1411" y="513"/>
                </a:cubicBezTo>
                <a:cubicBezTo>
                  <a:pt x="1410" y="513"/>
                  <a:pt x="1411" y="512"/>
                  <a:pt x="1410" y="512"/>
                </a:cubicBezTo>
                <a:cubicBezTo>
                  <a:pt x="1409" y="512"/>
                  <a:pt x="1410" y="508"/>
                  <a:pt x="1410" y="507"/>
                </a:cubicBezTo>
                <a:cubicBezTo>
                  <a:pt x="1409" y="508"/>
                  <a:pt x="1409" y="507"/>
                  <a:pt x="1409" y="506"/>
                </a:cubicBezTo>
                <a:cubicBezTo>
                  <a:pt x="1407" y="506"/>
                  <a:pt x="1409" y="506"/>
                  <a:pt x="1409" y="506"/>
                </a:cubicBezTo>
                <a:close/>
                <a:moveTo>
                  <a:pt x="1259" y="506"/>
                </a:moveTo>
                <a:cubicBezTo>
                  <a:pt x="1259" y="506"/>
                  <a:pt x="1259" y="506"/>
                  <a:pt x="1259" y="506"/>
                </a:cubicBezTo>
                <a:cubicBezTo>
                  <a:pt x="1259" y="506"/>
                  <a:pt x="1259" y="506"/>
                  <a:pt x="1259" y="506"/>
                </a:cubicBezTo>
                <a:close/>
                <a:moveTo>
                  <a:pt x="533" y="504"/>
                </a:moveTo>
                <a:cubicBezTo>
                  <a:pt x="534" y="504"/>
                  <a:pt x="533" y="503"/>
                  <a:pt x="533" y="502"/>
                </a:cubicBezTo>
                <a:cubicBezTo>
                  <a:pt x="533" y="503"/>
                  <a:pt x="533" y="503"/>
                  <a:pt x="533" y="504"/>
                </a:cubicBezTo>
                <a:close/>
                <a:moveTo>
                  <a:pt x="1392" y="508"/>
                </a:moveTo>
                <a:cubicBezTo>
                  <a:pt x="1392" y="506"/>
                  <a:pt x="1391" y="504"/>
                  <a:pt x="1390" y="502"/>
                </a:cubicBezTo>
                <a:cubicBezTo>
                  <a:pt x="1389" y="502"/>
                  <a:pt x="1384" y="501"/>
                  <a:pt x="1385" y="502"/>
                </a:cubicBezTo>
                <a:cubicBezTo>
                  <a:pt x="1386" y="502"/>
                  <a:pt x="1387" y="502"/>
                  <a:pt x="1387" y="503"/>
                </a:cubicBezTo>
                <a:cubicBezTo>
                  <a:pt x="1387" y="503"/>
                  <a:pt x="1387" y="503"/>
                  <a:pt x="1387" y="503"/>
                </a:cubicBezTo>
                <a:cubicBezTo>
                  <a:pt x="1388" y="504"/>
                  <a:pt x="1388" y="503"/>
                  <a:pt x="1388" y="504"/>
                </a:cubicBezTo>
                <a:cubicBezTo>
                  <a:pt x="1388" y="505"/>
                  <a:pt x="1388" y="505"/>
                  <a:pt x="1389" y="505"/>
                </a:cubicBezTo>
                <a:cubicBezTo>
                  <a:pt x="1389" y="505"/>
                  <a:pt x="1389" y="506"/>
                  <a:pt x="1389" y="506"/>
                </a:cubicBezTo>
                <a:cubicBezTo>
                  <a:pt x="1390" y="506"/>
                  <a:pt x="1390" y="506"/>
                  <a:pt x="1391" y="506"/>
                </a:cubicBezTo>
                <a:cubicBezTo>
                  <a:pt x="1390" y="507"/>
                  <a:pt x="1390" y="507"/>
                  <a:pt x="1390" y="508"/>
                </a:cubicBezTo>
                <a:cubicBezTo>
                  <a:pt x="1390" y="508"/>
                  <a:pt x="1391" y="508"/>
                  <a:pt x="1391" y="508"/>
                </a:cubicBezTo>
                <a:cubicBezTo>
                  <a:pt x="1391" y="508"/>
                  <a:pt x="1391" y="508"/>
                  <a:pt x="1392" y="508"/>
                </a:cubicBezTo>
                <a:cubicBezTo>
                  <a:pt x="1391" y="505"/>
                  <a:pt x="1392" y="508"/>
                  <a:pt x="1392" y="508"/>
                </a:cubicBezTo>
                <a:close/>
                <a:moveTo>
                  <a:pt x="1259" y="501"/>
                </a:moveTo>
                <a:cubicBezTo>
                  <a:pt x="1259" y="501"/>
                  <a:pt x="1259" y="502"/>
                  <a:pt x="1259" y="502"/>
                </a:cubicBezTo>
                <a:cubicBezTo>
                  <a:pt x="1260" y="502"/>
                  <a:pt x="1260" y="501"/>
                  <a:pt x="1259" y="501"/>
                </a:cubicBezTo>
                <a:cubicBezTo>
                  <a:pt x="1259" y="501"/>
                  <a:pt x="1259" y="501"/>
                  <a:pt x="1259" y="501"/>
                </a:cubicBezTo>
                <a:close/>
                <a:moveTo>
                  <a:pt x="1404" y="499"/>
                </a:moveTo>
                <a:cubicBezTo>
                  <a:pt x="1404" y="500"/>
                  <a:pt x="1404" y="501"/>
                  <a:pt x="1406" y="501"/>
                </a:cubicBezTo>
                <a:cubicBezTo>
                  <a:pt x="1405" y="500"/>
                  <a:pt x="1405" y="499"/>
                  <a:pt x="1404" y="499"/>
                </a:cubicBezTo>
                <a:close/>
                <a:moveTo>
                  <a:pt x="527" y="494"/>
                </a:moveTo>
                <a:cubicBezTo>
                  <a:pt x="527" y="494"/>
                  <a:pt x="527" y="494"/>
                  <a:pt x="526" y="494"/>
                </a:cubicBezTo>
                <a:cubicBezTo>
                  <a:pt x="527" y="495"/>
                  <a:pt x="527" y="496"/>
                  <a:pt x="528" y="496"/>
                </a:cubicBezTo>
                <a:cubicBezTo>
                  <a:pt x="528" y="495"/>
                  <a:pt x="528" y="495"/>
                  <a:pt x="527" y="494"/>
                </a:cubicBezTo>
                <a:close/>
                <a:moveTo>
                  <a:pt x="525" y="491"/>
                </a:moveTo>
                <a:cubicBezTo>
                  <a:pt x="526" y="491"/>
                  <a:pt x="525" y="490"/>
                  <a:pt x="525" y="490"/>
                </a:cubicBezTo>
                <a:cubicBezTo>
                  <a:pt x="525" y="489"/>
                  <a:pt x="525" y="489"/>
                  <a:pt x="524" y="489"/>
                </a:cubicBezTo>
                <a:cubicBezTo>
                  <a:pt x="524" y="490"/>
                  <a:pt x="524" y="491"/>
                  <a:pt x="525" y="491"/>
                </a:cubicBezTo>
                <a:cubicBezTo>
                  <a:pt x="526" y="490"/>
                  <a:pt x="525" y="491"/>
                  <a:pt x="525" y="491"/>
                </a:cubicBezTo>
                <a:close/>
                <a:moveTo>
                  <a:pt x="525" y="485"/>
                </a:moveTo>
                <a:cubicBezTo>
                  <a:pt x="524" y="485"/>
                  <a:pt x="524" y="485"/>
                  <a:pt x="523" y="485"/>
                </a:cubicBezTo>
                <a:cubicBezTo>
                  <a:pt x="523" y="486"/>
                  <a:pt x="523" y="486"/>
                  <a:pt x="524" y="486"/>
                </a:cubicBezTo>
                <a:cubicBezTo>
                  <a:pt x="525" y="485"/>
                  <a:pt x="526" y="485"/>
                  <a:pt x="525" y="485"/>
                </a:cubicBezTo>
                <a:close/>
                <a:moveTo>
                  <a:pt x="1383" y="486"/>
                </a:moveTo>
                <a:cubicBezTo>
                  <a:pt x="1383" y="486"/>
                  <a:pt x="1383" y="486"/>
                  <a:pt x="1383" y="486"/>
                </a:cubicBezTo>
                <a:cubicBezTo>
                  <a:pt x="1383" y="487"/>
                  <a:pt x="1383" y="488"/>
                  <a:pt x="1383" y="489"/>
                </a:cubicBezTo>
                <a:cubicBezTo>
                  <a:pt x="1384" y="489"/>
                  <a:pt x="1384" y="489"/>
                  <a:pt x="1384" y="489"/>
                </a:cubicBezTo>
                <a:cubicBezTo>
                  <a:pt x="1384" y="490"/>
                  <a:pt x="1384" y="489"/>
                  <a:pt x="1384" y="490"/>
                </a:cubicBezTo>
                <a:cubicBezTo>
                  <a:pt x="1384" y="490"/>
                  <a:pt x="1384" y="491"/>
                  <a:pt x="1384" y="491"/>
                </a:cubicBezTo>
                <a:cubicBezTo>
                  <a:pt x="1384" y="493"/>
                  <a:pt x="1385" y="494"/>
                  <a:pt x="1387" y="495"/>
                </a:cubicBezTo>
                <a:cubicBezTo>
                  <a:pt x="1387" y="495"/>
                  <a:pt x="1387" y="494"/>
                  <a:pt x="1387" y="494"/>
                </a:cubicBezTo>
                <a:cubicBezTo>
                  <a:pt x="1388" y="494"/>
                  <a:pt x="1388" y="493"/>
                  <a:pt x="1388" y="494"/>
                </a:cubicBezTo>
                <a:cubicBezTo>
                  <a:pt x="1388" y="495"/>
                  <a:pt x="1388" y="495"/>
                  <a:pt x="1388" y="496"/>
                </a:cubicBezTo>
                <a:cubicBezTo>
                  <a:pt x="1388" y="496"/>
                  <a:pt x="1387" y="497"/>
                  <a:pt x="1387" y="498"/>
                </a:cubicBezTo>
                <a:cubicBezTo>
                  <a:pt x="1388" y="498"/>
                  <a:pt x="1388" y="498"/>
                  <a:pt x="1388" y="498"/>
                </a:cubicBezTo>
                <a:cubicBezTo>
                  <a:pt x="1388" y="500"/>
                  <a:pt x="1388" y="498"/>
                  <a:pt x="1389" y="499"/>
                </a:cubicBezTo>
                <a:cubicBezTo>
                  <a:pt x="1389" y="500"/>
                  <a:pt x="1390" y="501"/>
                  <a:pt x="1390" y="501"/>
                </a:cubicBezTo>
                <a:cubicBezTo>
                  <a:pt x="1391" y="501"/>
                  <a:pt x="1392" y="501"/>
                  <a:pt x="1392" y="499"/>
                </a:cubicBezTo>
                <a:cubicBezTo>
                  <a:pt x="1393" y="499"/>
                  <a:pt x="1394" y="500"/>
                  <a:pt x="1395" y="500"/>
                </a:cubicBezTo>
                <a:cubicBezTo>
                  <a:pt x="1396" y="500"/>
                  <a:pt x="1396" y="501"/>
                  <a:pt x="1396" y="502"/>
                </a:cubicBezTo>
                <a:cubicBezTo>
                  <a:pt x="1397" y="502"/>
                  <a:pt x="1397" y="502"/>
                  <a:pt x="1398" y="502"/>
                </a:cubicBezTo>
                <a:cubicBezTo>
                  <a:pt x="1397" y="501"/>
                  <a:pt x="1397" y="501"/>
                  <a:pt x="1397" y="500"/>
                </a:cubicBezTo>
                <a:cubicBezTo>
                  <a:pt x="1397" y="499"/>
                  <a:pt x="1398" y="499"/>
                  <a:pt x="1398" y="499"/>
                </a:cubicBezTo>
                <a:cubicBezTo>
                  <a:pt x="1398" y="499"/>
                  <a:pt x="1398" y="501"/>
                  <a:pt x="1399" y="501"/>
                </a:cubicBezTo>
                <a:cubicBezTo>
                  <a:pt x="1399" y="501"/>
                  <a:pt x="1400" y="502"/>
                  <a:pt x="1400" y="502"/>
                </a:cubicBezTo>
                <a:cubicBezTo>
                  <a:pt x="1400" y="503"/>
                  <a:pt x="1400" y="504"/>
                  <a:pt x="1401" y="504"/>
                </a:cubicBezTo>
                <a:cubicBezTo>
                  <a:pt x="1402" y="504"/>
                  <a:pt x="1402" y="505"/>
                  <a:pt x="1403" y="506"/>
                </a:cubicBezTo>
                <a:cubicBezTo>
                  <a:pt x="1403" y="505"/>
                  <a:pt x="1403" y="505"/>
                  <a:pt x="1403" y="505"/>
                </a:cubicBezTo>
                <a:cubicBezTo>
                  <a:pt x="1403" y="504"/>
                  <a:pt x="1404" y="504"/>
                  <a:pt x="1404" y="504"/>
                </a:cubicBezTo>
                <a:cubicBezTo>
                  <a:pt x="1404" y="504"/>
                  <a:pt x="1404" y="503"/>
                  <a:pt x="1404" y="503"/>
                </a:cubicBezTo>
                <a:cubicBezTo>
                  <a:pt x="1403" y="503"/>
                  <a:pt x="1403" y="502"/>
                  <a:pt x="1403" y="502"/>
                </a:cubicBezTo>
                <a:cubicBezTo>
                  <a:pt x="1402" y="502"/>
                  <a:pt x="1402" y="502"/>
                  <a:pt x="1402" y="501"/>
                </a:cubicBezTo>
                <a:cubicBezTo>
                  <a:pt x="1402" y="500"/>
                  <a:pt x="1403" y="498"/>
                  <a:pt x="1401" y="498"/>
                </a:cubicBezTo>
                <a:cubicBezTo>
                  <a:pt x="1400" y="497"/>
                  <a:pt x="1400" y="500"/>
                  <a:pt x="1399" y="497"/>
                </a:cubicBezTo>
                <a:cubicBezTo>
                  <a:pt x="1400" y="498"/>
                  <a:pt x="1398" y="496"/>
                  <a:pt x="1398" y="496"/>
                </a:cubicBezTo>
                <a:cubicBezTo>
                  <a:pt x="1398" y="496"/>
                  <a:pt x="1398" y="497"/>
                  <a:pt x="1397" y="497"/>
                </a:cubicBezTo>
                <a:cubicBezTo>
                  <a:pt x="1397" y="497"/>
                  <a:pt x="1396" y="497"/>
                  <a:pt x="1396" y="497"/>
                </a:cubicBezTo>
                <a:cubicBezTo>
                  <a:pt x="1395" y="497"/>
                  <a:pt x="1395" y="497"/>
                  <a:pt x="1395" y="497"/>
                </a:cubicBezTo>
                <a:cubicBezTo>
                  <a:pt x="1395" y="498"/>
                  <a:pt x="1394" y="497"/>
                  <a:pt x="1394" y="498"/>
                </a:cubicBezTo>
                <a:cubicBezTo>
                  <a:pt x="1392" y="497"/>
                  <a:pt x="1392" y="497"/>
                  <a:pt x="1392" y="494"/>
                </a:cubicBezTo>
                <a:cubicBezTo>
                  <a:pt x="1392" y="494"/>
                  <a:pt x="1391" y="494"/>
                  <a:pt x="1391" y="493"/>
                </a:cubicBezTo>
                <a:cubicBezTo>
                  <a:pt x="1391" y="492"/>
                  <a:pt x="1392" y="491"/>
                  <a:pt x="1391" y="491"/>
                </a:cubicBezTo>
                <a:cubicBezTo>
                  <a:pt x="1391" y="490"/>
                  <a:pt x="1391" y="487"/>
                  <a:pt x="1392" y="487"/>
                </a:cubicBezTo>
                <a:cubicBezTo>
                  <a:pt x="1393" y="487"/>
                  <a:pt x="1393" y="487"/>
                  <a:pt x="1394" y="486"/>
                </a:cubicBezTo>
                <a:cubicBezTo>
                  <a:pt x="1394" y="486"/>
                  <a:pt x="1394" y="485"/>
                  <a:pt x="1394" y="485"/>
                </a:cubicBezTo>
                <a:cubicBezTo>
                  <a:pt x="1394" y="485"/>
                  <a:pt x="1394" y="485"/>
                  <a:pt x="1394" y="485"/>
                </a:cubicBezTo>
                <a:cubicBezTo>
                  <a:pt x="1394" y="483"/>
                  <a:pt x="1394" y="483"/>
                  <a:pt x="1396" y="484"/>
                </a:cubicBezTo>
                <a:cubicBezTo>
                  <a:pt x="1396" y="482"/>
                  <a:pt x="1397" y="482"/>
                  <a:pt x="1396" y="481"/>
                </a:cubicBezTo>
                <a:cubicBezTo>
                  <a:pt x="1396" y="480"/>
                  <a:pt x="1396" y="481"/>
                  <a:pt x="1396" y="480"/>
                </a:cubicBezTo>
                <a:cubicBezTo>
                  <a:pt x="1396" y="480"/>
                  <a:pt x="1396" y="480"/>
                  <a:pt x="1396" y="479"/>
                </a:cubicBezTo>
                <a:cubicBezTo>
                  <a:pt x="1396" y="478"/>
                  <a:pt x="1395" y="479"/>
                  <a:pt x="1395" y="478"/>
                </a:cubicBezTo>
                <a:cubicBezTo>
                  <a:pt x="1395" y="477"/>
                  <a:pt x="1395" y="476"/>
                  <a:pt x="1394" y="476"/>
                </a:cubicBezTo>
                <a:cubicBezTo>
                  <a:pt x="1394" y="476"/>
                  <a:pt x="1395" y="476"/>
                  <a:pt x="1395" y="476"/>
                </a:cubicBezTo>
                <a:cubicBezTo>
                  <a:pt x="1395" y="475"/>
                  <a:pt x="1395" y="475"/>
                  <a:pt x="1395" y="474"/>
                </a:cubicBezTo>
                <a:cubicBezTo>
                  <a:pt x="1395" y="474"/>
                  <a:pt x="1395" y="474"/>
                  <a:pt x="1395" y="474"/>
                </a:cubicBezTo>
                <a:cubicBezTo>
                  <a:pt x="1395" y="473"/>
                  <a:pt x="1395" y="473"/>
                  <a:pt x="1395" y="473"/>
                </a:cubicBezTo>
                <a:cubicBezTo>
                  <a:pt x="1395" y="472"/>
                  <a:pt x="1394" y="472"/>
                  <a:pt x="1394" y="473"/>
                </a:cubicBezTo>
                <a:cubicBezTo>
                  <a:pt x="1393" y="473"/>
                  <a:pt x="1392" y="474"/>
                  <a:pt x="1392" y="473"/>
                </a:cubicBezTo>
                <a:cubicBezTo>
                  <a:pt x="1391" y="473"/>
                  <a:pt x="1390" y="473"/>
                  <a:pt x="1390" y="472"/>
                </a:cubicBezTo>
                <a:cubicBezTo>
                  <a:pt x="1389" y="472"/>
                  <a:pt x="1388" y="472"/>
                  <a:pt x="1388" y="473"/>
                </a:cubicBezTo>
                <a:cubicBezTo>
                  <a:pt x="1388" y="473"/>
                  <a:pt x="1388" y="474"/>
                  <a:pt x="1388" y="474"/>
                </a:cubicBezTo>
                <a:cubicBezTo>
                  <a:pt x="1388" y="474"/>
                  <a:pt x="1387" y="474"/>
                  <a:pt x="1387" y="474"/>
                </a:cubicBezTo>
                <a:cubicBezTo>
                  <a:pt x="1387" y="475"/>
                  <a:pt x="1387" y="475"/>
                  <a:pt x="1388" y="475"/>
                </a:cubicBezTo>
                <a:cubicBezTo>
                  <a:pt x="1388" y="475"/>
                  <a:pt x="1387" y="475"/>
                  <a:pt x="1387" y="476"/>
                </a:cubicBezTo>
                <a:cubicBezTo>
                  <a:pt x="1387" y="476"/>
                  <a:pt x="1387" y="476"/>
                  <a:pt x="1387" y="476"/>
                </a:cubicBezTo>
                <a:cubicBezTo>
                  <a:pt x="1387" y="477"/>
                  <a:pt x="1387" y="476"/>
                  <a:pt x="1387" y="477"/>
                </a:cubicBezTo>
                <a:cubicBezTo>
                  <a:pt x="1387" y="478"/>
                  <a:pt x="1386" y="478"/>
                  <a:pt x="1386" y="480"/>
                </a:cubicBezTo>
                <a:cubicBezTo>
                  <a:pt x="1387" y="480"/>
                  <a:pt x="1386" y="481"/>
                  <a:pt x="1387" y="481"/>
                </a:cubicBezTo>
                <a:cubicBezTo>
                  <a:pt x="1387" y="481"/>
                  <a:pt x="1387" y="481"/>
                  <a:pt x="1387" y="481"/>
                </a:cubicBezTo>
                <a:cubicBezTo>
                  <a:pt x="1387" y="481"/>
                  <a:pt x="1387" y="482"/>
                  <a:pt x="1387" y="482"/>
                </a:cubicBezTo>
                <a:cubicBezTo>
                  <a:pt x="1387" y="483"/>
                  <a:pt x="1387" y="483"/>
                  <a:pt x="1386" y="483"/>
                </a:cubicBezTo>
                <a:cubicBezTo>
                  <a:pt x="1385" y="484"/>
                  <a:pt x="1386" y="485"/>
                  <a:pt x="1386" y="486"/>
                </a:cubicBezTo>
                <a:cubicBezTo>
                  <a:pt x="1386" y="486"/>
                  <a:pt x="1386" y="487"/>
                  <a:pt x="1385" y="487"/>
                </a:cubicBezTo>
                <a:cubicBezTo>
                  <a:pt x="1384" y="487"/>
                  <a:pt x="1384" y="486"/>
                  <a:pt x="1383" y="486"/>
                </a:cubicBezTo>
                <a:close/>
                <a:moveTo>
                  <a:pt x="506" y="472"/>
                </a:moveTo>
                <a:cubicBezTo>
                  <a:pt x="506" y="472"/>
                  <a:pt x="506" y="471"/>
                  <a:pt x="506" y="471"/>
                </a:cubicBezTo>
                <a:cubicBezTo>
                  <a:pt x="505" y="471"/>
                  <a:pt x="505" y="472"/>
                  <a:pt x="505" y="471"/>
                </a:cubicBezTo>
                <a:cubicBezTo>
                  <a:pt x="504" y="471"/>
                  <a:pt x="503" y="471"/>
                  <a:pt x="503" y="471"/>
                </a:cubicBezTo>
                <a:cubicBezTo>
                  <a:pt x="503" y="471"/>
                  <a:pt x="503" y="471"/>
                  <a:pt x="503" y="471"/>
                </a:cubicBezTo>
                <a:cubicBezTo>
                  <a:pt x="502" y="471"/>
                  <a:pt x="500" y="471"/>
                  <a:pt x="499" y="471"/>
                </a:cubicBezTo>
                <a:cubicBezTo>
                  <a:pt x="499" y="472"/>
                  <a:pt x="500" y="473"/>
                  <a:pt x="500" y="473"/>
                </a:cubicBezTo>
                <a:cubicBezTo>
                  <a:pt x="501" y="474"/>
                  <a:pt x="502" y="474"/>
                  <a:pt x="502" y="474"/>
                </a:cubicBezTo>
                <a:cubicBezTo>
                  <a:pt x="504" y="474"/>
                  <a:pt x="505" y="473"/>
                  <a:pt x="506" y="472"/>
                </a:cubicBezTo>
                <a:close/>
                <a:moveTo>
                  <a:pt x="452" y="474"/>
                </a:moveTo>
                <a:cubicBezTo>
                  <a:pt x="453" y="474"/>
                  <a:pt x="454" y="474"/>
                  <a:pt x="455" y="474"/>
                </a:cubicBezTo>
                <a:cubicBezTo>
                  <a:pt x="455" y="472"/>
                  <a:pt x="455" y="472"/>
                  <a:pt x="454" y="472"/>
                </a:cubicBezTo>
                <a:cubicBezTo>
                  <a:pt x="453" y="472"/>
                  <a:pt x="453" y="471"/>
                  <a:pt x="452" y="471"/>
                </a:cubicBezTo>
                <a:cubicBezTo>
                  <a:pt x="451" y="471"/>
                  <a:pt x="450" y="471"/>
                  <a:pt x="449" y="471"/>
                </a:cubicBezTo>
                <a:cubicBezTo>
                  <a:pt x="449" y="471"/>
                  <a:pt x="449" y="470"/>
                  <a:pt x="449" y="470"/>
                </a:cubicBezTo>
                <a:cubicBezTo>
                  <a:pt x="449" y="470"/>
                  <a:pt x="448" y="470"/>
                  <a:pt x="448" y="470"/>
                </a:cubicBezTo>
                <a:cubicBezTo>
                  <a:pt x="447" y="470"/>
                  <a:pt x="446" y="470"/>
                  <a:pt x="446" y="470"/>
                </a:cubicBezTo>
                <a:cubicBezTo>
                  <a:pt x="445" y="471"/>
                  <a:pt x="444" y="471"/>
                  <a:pt x="444" y="472"/>
                </a:cubicBezTo>
                <a:cubicBezTo>
                  <a:pt x="444" y="472"/>
                  <a:pt x="445" y="472"/>
                  <a:pt x="445" y="472"/>
                </a:cubicBezTo>
                <a:cubicBezTo>
                  <a:pt x="445" y="472"/>
                  <a:pt x="446" y="472"/>
                  <a:pt x="446" y="472"/>
                </a:cubicBezTo>
                <a:cubicBezTo>
                  <a:pt x="446" y="473"/>
                  <a:pt x="447" y="473"/>
                  <a:pt x="447" y="474"/>
                </a:cubicBezTo>
                <a:cubicBezTo>
                  <a:pt x="447" y="473"/>
                  <a:pt x="448" y="474"/>
                  <a:pt x="448" y="474"/>
                </a:cubicBezTo>
                <a:cubicBezTo>
                  <a:pt x="448" y="474"/>
                  <a:pt x="450" y="474"/>
                  <a:pt x="450" y="475"/>
                </a:cubicBezTo>
                <a:cubicBezTo>
                  <a:pt x="451" y="475"/>
                  <a:pt x="452" y="475"/>
                  <a:pt x="452" y="474"/>
                </a:cubicBezTo>
                <a:close/>
                <a:moveTo>
                  <a:pt x="1335" y="476"/>
                </a:moveTo>
                <a:cubicBezTo>
                  <a:pt x="1336" y="477"/>
                  <a:pt x="1336" y="477"/>
                  <a:pt x="1336" y="477"/>
                </a:cubicBezTo>
                <a:cubicBezTo>
                  <a:pt x="1337" y="477"/>
                  <a:pt x="1336" y="477"/>
                  <a:pt x="1337" y="477"/>
                </a:cubicBezTo>
                <a:cubicBezTo>
                  <a:pt x="1337" y="477"/>
                  <a:pt x="1337" y="477"/>
                  <a:pt x="1338" y="477"/>
                </a:cubicBezTo>
                <a:cubicBezTo>
                  <a:pt x="1338" y="477"/>
                  <a:pt x="1338" y="476"/>
                  <a:pt x="1338" y="476"/>
                </a:cubicBezTo>
                <a:cubicBezTo>
                  <a:pt x="1339" y="476"/>
                  <a:pt x="1340" y="476"/>
                  <a:pt x="1340" y="475"/>
                </a:cubicBezTo>
                <a:cubicBezTo>
                  <a:pt x="1340" y="474"/>
                  <a:pt x="1340" y="475"/>
                  <a:pt x="1341" y="475"/>
                </a:cubicBezTo>
                <a:cubicBezTo>
                  <a:pt x="1341" y="475"/>
                  <a:pt x="1342" y="474"/>
                  <a:pt x="1342" y="474"/>
                </a:cubicBezTo>
                <a:cubicBezTo>
                  <a:pt x="1342" y="473"/>
                  <a:pt x="1342" y="473"/>
                  <a:pt x="1342" y="472"/>
                </a:cubicBezTo>
                <a:cubicBezTo>
                  <a:pt x="1342" y="473"/>
                  <a:pt x="1342" y="472"/>
                  <a:pt x="1342" y="472"/>
                </a:cubicBezTo>
                <a:cubicBezTo>
                  <a:pt x="1342" y="472"/>
                  <a:pt x="1343" y="471"/>
                  <a:pt x="1343" y="471"/>
                </a:cubicBezTo>
                <a:cubicBezTo>
                  <a:pt x="1343" y="471"/>
                  <a:pt x="1343" y="469"/>
                  <a:pt x="1343" y="469"/>
                </a:cubicBezTo>
                <a:cubicBezTo>
                  <a:pt x="1343" y="469"/>
                  <a:pt x="1344" y="469"/>
                  <a:pt x="1344" y="469"/>
                </a:cubicBezTo>
                <a:cubicBezTo>
                  <a:pt x="1344" y="468"/>
                  <a:pt x="1345" y="469"/>
                  <a:pt x="1344" y="468"/>
                </a:cubicBezTo>
                <a:cubicBezTo>
                  <a:pt x="1344" y="467"/>
                  <a:pt x="1343" y="466"/>
                  <a:pt x="1343" y="466"/>
                </a:cubicBezTo>
                <a:cubicBezTo>
                  <a:pt x="1342" y="466"/>
                  <a:pt x="1339" y="466"/>
                  <a:pt x="1339" y="466"/>
                </a:cubicBezTo>
                <a:cubicBezTo>
                  <a:pt x="1339" y="466"/>
                  <a:pt x="1338" y="467"/>
                  <a:pt x="1337" y="467"/>
                </a:cubicBezTo>
                <a:cubicBezTo>
                  <a:pt x="1336" y="467"/>
                  <a:pt x="1335" y="467"/>
                  <a:pt x="1335" y="469"/>
                </a:cubicBezTo>
                <a:cubicBezTo>
                  <a:pt x="1335" y="469"/>
                  <a:pt x="1334" y="469"/>
                  <a:pt x="1333" y="469"/>
                </a:cubicBezTo>
                <a:cubicBezTo>
                  <a:pt x="1333" y="470"/>
                  <a:pt x="1333" y="470"/>
                  <a:pt x="1332" y="470"/>
                </a:cubicBezTo>
                <a:cubicBezTo>
                  <a:pt x="1330" y="470"/>
                  <a:pt x="1332" y="474"/>
                  <a:pt x="1332" y="475"/>
                </a:cubicBezTo>
                <a:cubicBezTo>
                  <a:pt x="1333" y="476"/>
                  <a:pt x="1334" y="476"/>
                  <a:pt x="1335" y="476"/>
                </a:cubicBezTo>
                <a:cubicBezTo>
                  <a:pt x="1336" y="477"/>
                  <a:pt x="1335" y="476"/>
                  <a:pt x="1335" y="476"/>
                </a:cubicBezTo>
                <a:close/>
                <a:moveTo>
                  <a:pt x="493" y="471"/>
                </a:moveTo>
                <a:cubicBezTo>
                  <a:pt x="493" y="470"/>
                  <a:pt x="492" y="469"/>
                  <a:pt x="492" y="468"/>
                </a:cubicBezTo>
                <a:cubicBezTo>
                  <a:pt x="491" y="468"/>
                  <a:pt x="491" y="467"/>
                  <a:pt x="490" y="467"/>
                </a:cubicBezTo>
                <a:cubicBezTo>
                  <a:pt x="489" y="468"/>
                  <a:pt x="488" y="468"/>
                  <a:pt x="487" y="467"/>
                </a:cubicBezTo>
                <a:cubicBezTo>
                  <a:pt x="487" y="467"/>
                  <a:pt x="487" y="467"/>
                  <a:pt x="487" y="467"/>
                </a:cubicBezTo>
                <a:cubicBezTo>
                  <a:pt x="487" y="467"/>
                  <a:pt x="486" y="467"/>
                  <a:pt x="486" y="467"/>
                </a:cubicBezTo>
                <a:cubicBezTo>
                  <a:pt x="486" y="466"/>
                  <a:pt x="485" y="466"/>
                  <a:pt x="485" y="465"/>
                </a:cubicBezTo>
                <a:cubicBezTo>
                  <a:pt x="485" y="466"/>
                  <a:pt x="484" y="465"/>
                  <a:pt x="484" y="465"/>
                </a:cubicBezTo>
                <a:cubicBezTo>
                  <a:pt x="483" y="465"/>
                  <a:pt x="483" y="465"/>
                  <a:pt x="482" y="465"/>
                </a:cubicBezTo>
                <a:cubicBezTo>
                  <a:pt x="482" y="465"/>
                  <a:pt x="481" y="464"/>
                  <a:pt x="481" y="463"/>
                </a:cubicBezTo>
                <a:cubicBezTo>
                  <a:pt x="481" y="464"/>
                  <a:pt x="480" y="464"/>
                  <a:pt x="479" y="464"/>
                </a:cubicBezTo>
                <a:cubicBezTo>
                  <a:pt x="479" y="462"/>
                  <a:pt x="478" y="464"/>
                  <a:pt x="478" y="464"/>
                </a:cubicBezTo>
                <a:cubicBezTo>
                  <a:pt x="477" y="464"/>
                  <a:pt x="477" y="464"/>
                  <a:pt x="477" y="465"/>
                </a:cubicBezTo>
                <a:cubicBezTo>
                  <a:pt x="476" y="465"/>
                  <a:pt x="475" y="464"/>
                  <a:pt x="474" y="464"/>
                </a:cubicBezTo>
                <a:cubicBezTo>
                  <a:pt x="474" y="464"/>
                  <a:pt x="474" y="465"/>
                  <a:pt x="474" y="464"/>
                </a:cubicBezTo>
                <a:cubicBezTo>
                  <a:pt x="474" y="464"/>
                  <a:pt x="473" y="463"/>
                  <a:pt x="473" y="463"/>
                </a:cubicBezTo>
                <a:cubicBezTo>
                  <a:pt x="472" y="463"/>
                  <a:pt x="471" y="463"/>
                  <a:pt x="470" y="463"/>
                </a:cubicBezTo>
                <a:cubicBezTo>
                  <a:pt x="471" y="464"/>
                  <a:pt x="472" y="464"/>
                  <a:pt x="472" y="465"/>
                </a:cubicBezTo>
                <a:cubicBezTo>
                  <a:pt x="472" y="466"/>
                  <a:pt x="472" y="468"/>
                  <a:pt x="472" y="468"/>
                </a:cubicBezTo>
                <a:cubicBezTo>
                  <a:pt x="472" y="468"/>
                  <a:pt x="473" y="469"/>
                  <a:pt x="473" y="469"/>
                </a:cubicBezTo>
                <a:cubicBezTo>
                  <a:pt x="473" y="470"/>
                  <a:pt x="474" y="469"/>
                  <a:pt x="474" y="470"/>
                </a:cubicBezTo>
                <a:cubicBezTo>
                  <a:pt x="474" y="471"/>
                  <a:pt x="474" y="472"/>
                  <a:pt x="473" y="471"/>
                </a:cubicBezTo>
                <a:cubicBezTo>
                  <a:pt x="473" y="471"/>
                  <a:pt x="472" y="471"/>
                  <a:pt x="472" y="471"/>
                </a:cubicBezTo>
                <a:cubicBezTo>
                  <a:pt x="472" y="470"/>
                  <a:pt x="469" y="471"/>
                  <a:pt x="469" y="470"/>
                </a:cubicBezTo>
                <a:cubicBezTo>
                  <a:pt x="468" y="470"/>
                  <a:pt x="468" y="470"/>
                  <a:pt x="467" y="470"/>
                </a:cubicBezTo>
                <a:cubicBezTo>
                  <a:pt x="466" y="471"/>
                  <a:pt x="467" y="470"/>
                  <a:pt x="466" y="470"/>
                </a:cubicBezTo>
                <a:cubicBezTo>
                  <a:pt x="466" y="470"/>
                  <a:pt x="465" y="470"/>
                  <a:pt x="465" y="470"/>
                </a:cubicBezTo>
                <a:cubicBezTo>
                  <a:pt x="465" y="469"/>
                  <a:pt x="465" y="470"/>
                  <a:pt x="465" y="470"/>
                </a:cubicBezTo>
                <a:cubicBezTo>
                  <a:pt x="464" y="470"/>
                  <a:pt x="463" y="470"/>
                  <a:pt x="463" y="471"/>
                </a:cubicBezTo>
                <a:cubicBezTo>
                  <a:pt x="464" y="471"/>
                  <a:pt x="464" y="471"/>
                  <a:pt x="464" y="472"/>
                </a:cubicBezTo>
                <a:cubicBezTo>
                  <a:pt x="464" y="472"/>
                  <a:pt x="464" y="472"/>
                  <a:pt x="465" y="472"/>
                </a:cubicBezTo>
                <a:cubicBezTo>
                  <a:pt x="466" y="472"/>
                  <a:pt x="465" y="472"/>
                  <a:pt x="465" y="472"/>
                </a:cubicBezTo>
                <a:cubicBezTo>
                  <a:pt x="466" y="473"/>
                  <a:pt x="467" y="472"/>
                  <a:pt x="469" y="472"/>
                </a:cubicBezTo>
                <a:cubicBezTo>
                  <a:pt x="469" y="472"/>
                  <a:pt x="470" y="472"/>
                  <a:pt x="471" y="472"/>
                </a:cubicBezTo>
                <a:cubicBezTo>
                  <a:pt x="472" y="472"/>
                  <a:pt x="474" y="472"/>
                  <a:pt x="475" y="472"/>
                </a:cubicBezTo>
                <a:cubicBezTo>
                  <a:pt x="476" y="472"/>
                  <a:pt x="476" y="472"/>
                  <a:pt x="477" y="472"/>
                </a:cubicBezTo>
                <a:cubicBezTo>
                  <a:pt x="477" y="472"/>
                  <a:pt x="477" y="473"/>
                  <a:pt x="477" y="473"/>
                </a:cubicBezTo>
                <a:cubicBezTo>
                  <a:pt x="478" y="473"/>
                  <a:pt x="478" y="475"/>
                  <a:pt x="478" y="475"/>
                </a:cubicBezTo>
                <a:cubicBezTo>
                  <a:pt x="478" y="475"/>
                  <a:pt x="479" y="474"/>
                  <a:pt x="479" y="474"/>
                </a:cubicBezTo>
                <a:cubicBezTo>
                  <a:pt x="480" y="474"/>
                  <a:pt x="480" y="473"/>
                  <a:pt x="480" y="473"/>
                </a:cubicBezTo>
                <a:cubicBezTo>
                  <a:pt x="480" y="472"/>
                  <a:pt x="480" y="471"/>
                  <a:pt x="480" y="471"/>
                </a:cubicBezTo>
                <a:cubicBezTo>
                  <a:pt x="481" y="471"/>
                  <a:pt x="486" y="474"/>
                  <a:pt x="486" y="471"/>
                </a:cubicBezTo>
                <a:cubicBezTo>
                  <a:pt x="487" y="471"/>
                  <a:pt x="489" y="471"/>
                  <a:pt x="490" y="471"/>
                </a:cubicBezTo>
                <a:cubicBezTo>
                  <a:pt x="490" y="471"/>
                  <a:pt x="490" y="471"/>
                  <a:pt x="491" y="471"/>
                </a:cubicBezTo>
                <a:cubicBezTo>
                  <a:pt x="491" y="471"/>
                  <a:pt x="492" y="471"/>
                  <a:pt x="493" y="471"/>
                </a:cubicBezTo>
                <a:cubicBezTo>
                  <a:pt x="493" y="469"/>
                  <a:pt x="493" y="471"/>
                  <a:pt x="493" y="471"/>
                </a:cubicBezTo>
                <a:close/>
                <a:moveTo>
                  <a:pt x="469" y="456"/>
                </a:moveTo>
                <a:cubicBezTo>
                  <a:pt x="469" y="456"/>
                  <a:pt x="469" y="456"/>
                  <a:pt x="468" y="456"/>
                </a:cubicBezTo>
                <a:cubicBezTo>
                  <a:pt x="469" y="456"/>
                  <a:pt x="468" y="456"/>
                  <a:pt x="469" y="456"/>
                </a:cubicBezTo>
                <a:close/>
                <a:moveTo>
                  <a:pt x="422" y="453"/>
                </a:moveTo>
                <a:cubicBezTo>
                  <a:pt x="422" y="454"/>
                  <a:pt x="423" y="454"/>
                  <a:pt x="424" y="454"/>
                </a:cubicBezTo>
                <a:cubicBezTo>
                  <a:pt x="425" y="453"/>
                  <a:pt x="425" y="453"/>
                  <a:pt x="425" y="452"/>
                </a:cubicBezTo>
                <a:cubicBezTo>
                  <a:pt x="426" y="452"/>
                  <a:pt x="426" y="451"/>
                  <a:pt x="426" y="451"/>
                </a:cubicBezTo>
                <a:cubicBezTo>
                  <a:pt x="426" y="450"/>
                  <a:pt x="425" y="450"/>
                  <a:pt x="424" y="450"/>
                </a:cubicBezTo>
                <a:cubicBezTo>
                  <a:pt x="423" y="450"/>
                  <a:pt x="423" y="450"/>
                  <a:pt x="423" y="451"/>
                </a:cubicBezTo>
                <a:cubicBezTo>
                  <a:pt x="423" y="451"/>
                  <a:pt x="424" y="451"/>
                  <a:pt x="424" y="451"/>
                </a:cubicBezTo>
                <a:cubicBezTo>
                  <a:pt x="424" y="452"/>
                  <a:pt x="424" y="453"/>
                  <a:pt x="422" y="453"/>
                </a:cubicBezTo>
                <a:close/>
                <a:moveTo>
                  <a:pt x="455" y="462"/>
                </a:moveTo>
                <a:cubicBezTo>
                  <a:pt x="457" y="462"/>
                  <a:pt x="460" y="463"/>
                  <a:pt x="462" y="462"/>
                </a:cubicBezTo>
                <a:cubicBezTo>
                  <a:pt x="462" y="462"/>
                  <a:pt x="461" y="462"/>
                  <a:pt x="462" y="462"/>
                </a:cubicBezTo>
                <a:cubicBezTo>
                  <a:pt x="462" y="462"/>
                  <a:pt x="462" y="462"/>
                  <a:pt x="462" y="462"/>
                </a:cubicBezTo>
                <a:cubicBezTo>
                  <a:pt x="462" y="462"/>
                  <a:pt x="464" y="461"/>
                  <a:pt x="464" y="461"/>
                </a:cubicBezTo>
                <a:cubicBezTo>
                  <a:pt x="464" y="461"/>
                  <a:pt x="464" y="460"/>
                  <a:pt x="464" y="460"/>
                </a:cubicBezTo>
                <a:cubicBezTo>
                  <a:pt x="463" y="460"/>
                  <a:pt x="463" y="459"/>
                  <a:pt x="462" y="459"/>
                </a:cubicBezTo>
                <a:cubicBezTo>
                  <a:pt x="461" y="459"/>
                  <a:pt x="460" y="459"/>
                  <a:pt x="460" y="459"/>
                </a:cubicBezTo>
                <a:cubicBezTo>
                  <a:pt x="459" y="459"/>
                  <a:pt x="458" y="458"/>
                  <a:pt x="458" y="458"/>
                </a:cubicBezTo>
                <a:cubicBezTo>
                  <a:pt x="458" y="458"/>
                  <a:pt x="458" y="457"/>
                  <a:pt x="458" y="456"/>
                </a:cubicBezTo>
                <a:cubicBezTo>
                  <a:pt x="458" y="456"/>
                  <a:pt x="457" y="456"/>
                  <a:pt x="457" y="456"/>
                </a:cubicBezTo>
                <a:cubicBezTo>
                  <a:pt x="457" y="455"/>
                  <a:pt x="455" y="456"/>
                  <a:pt x="455" y="456"/>
                </a:cubicBezTo>
                <a:cubicBezTo>
                  <a:pt x="455" y="456"/>
                  <a:pt x="453" y="455"/>
                  <a:pt x="453" y="455"/>
                </a:cubicBezTo>
                <a:cubicBezTo>
                  <a:pt x="453" y="455"/>
                  <a:pt x="453" y="455"/>
                  <a:pt x="453" y="455"/>
                </a:cubicBezTo>
                <a:cubicBezTo>
                  <a:pt x="453" y="454"/>
                  <a:pt x="453" y="455"/>
                  <a:pt x="452" y="454"/>
                </a:cubicBezTo>
                <a:cubicBezTo>
                  <a:pt x="452" y="454"/>
                  <a:pt x="452" y="454"/>
                  <a:pt x="452" y="453"/>
                </a:cubicBezTo>
                <a:cubicBezTo>
                  <a:pt x="451" y="454"/>
                  <a:pt x="451" y="454"/>
                  <a:pt x="451" y="453"/>
                </a:cubicBezTo>
                <a:cubicBezTo>
                  <a:pt x="450" y="453"/>
                  <a:pt x="450" y="451"/>
                  <a:pt x="449" y="451"/>
                </a:cubicBezTo>
                <a:cubicBezTo>
                  <a:pt x="449" y="451"/>
                  <a:pt x="448" y="451"/>
                  <a:pt x="447" y="451"/>
                </a:cubicBezTo>
                <a:cubicBezTo>
                  <a:pt x="447" y="451"/>
                  <a:pt x="447" y="451"/>
                  <a:pt x="447" y="451"/>
                </a:cubicBezTo>
                <a:cubicBezTo>
                  <a:pt x="447" y="450"/>
                  <a:pt x="447" y="451"/>
                  <a:pt x="447" y="451"/>
                </a:cubicBezTo>
                <a:cubicBezTo>
                  <a:pt x="446" y="450"/>
                  <a:pt x="446" y="450"/>
                  <a:pt x="446" y="450"/>
                </a:cubicBezTo>
                <a:cubicBezTo>
                  <a:pt x="445" y="450"/>
                  <a:pt x="445" y="450"/>
                  <a:pt x="445" y="450"/>
                </a:cubicBezTo>
                <a:cubicBezTo>
                  <a:pt x="443" y="450"/>
                  <a:pt x="443" y="449"/>
                  <a:pt x="441" y="449"/>
                </a:cubicBezTo>
                <a:cubicBezTo>
                  <a:pt x="441" y="449"/>
                  <a:pt x="441" y="449"/>
                  <a:pt x="441" y="449"/>
                </a:cubicBezTo>
                <a:cubicBezTo>
                  <a:pt x="440" y="448"/>
                  <a:pt x="440" y="448"/>
                  <a:pt x="440" y="448"/>
                </a:cubicBezTo>
                <a:cubicBezTo>
                  <a:pt x="440" y="447"/>
                  <a:pt x="440" y="446"/>
                  <a:pt x="439" y="446"/>
                </a:cubicBezTo>
                <a:cubicBezTo>
                  <a:pt x="438" y="446"/>
                  <a:pt x="437" y="446"/>
                  <a:pt x="437" y="446"/>
                </a:cubicBezTo>
                <a:cubicBezTo>
                  <a:pt x="436" y="446"/>
                  <a:pt x="436" y="445"/>
                  <a:pt x="436" y="444"/>
                </a:cubicBezTo>
                <a:cubicBezTo>
                  <a:pt x="435" y="445"/>
                  <a:pt x="434" y="445"/>
                  <a:pt x="433" y="445"/>
                </a:cubicBezTo>
                <a:cubicBezTo>
                  <a:pt x="434" y="444"/>
                  <a:pt x="431" y="444"/>
                  <a:pt x="431" y="444"/>
                </a:cubicBezTo>
                <a:cubicBezTo>
                  <a:pt x="431" y="445"/>
                  <a:pt x="430" y="445"/>
                  <a:pt x="429" y="445"/>
                </a:cubicBezTo>
                <a:cubicBezTo>
                  <a:pt x="429" y="444"/>
                  <a:pt x="429" y="444"/>
                  <a:pt x="429" y="444"/>
                </a:cubicBezTo>
                <a:cubicBezTo>
                  <a:pt x="428" y="444"/>
                  <a:pt x="427" y="444"/>
                  <a:pt x="427" y="444"/>
                </a:cubicBezTo>
                <a:cubicBezTo>
                  <a:pt x="426" y="444"/>
                  <a:pt x="426" y="444"/>
                  <a:pt x="426" y="444"/>
                </a:cubicBezTo>
                <a:cubicBezTo>
                  <a:pt x="425" y="444"/>
                  <a:pt x="424" y="444"/>
                  <a:pt x="424" y="444"/>
                </a:cubicBezTo>
                <a:cubicBezTo>
                  <a:pt x="424" y="444"/>
                  <a:pt x="424" y="444"/>
                  <a:pt x="423" y="444"/>
                </a:cubicBezTo>
                <a:cubicBezTo>
                  <a:pt x="423" y="444"/>
                  <a:pt x="423" y="444"/>
                  <a:pt x="423" y="444"/>
                </a:cubicBezTo>
                <a:cubicBezTo>
                  <a:pt x="423" y="445"/>
                  <a:pt x="422" y="444"/>
                  <a:pt x="422" y="444"/>
                </a:cubicBezTo>
                <a:cubicBezTo>
                  <a:pt x="422" y="445"/>
                  <a:pt x="421" y="445"/>
                  <a:pt x="421" y="445"/>
                </a:cubicBezTo>
                <a:cubicBezTo>
                  <a:pt x="420" y="445"/>
                  <a:pt x="420" y="445"/>
                  <a:pt x="420" y="446"/>
                </a:cubicBezTo>
                <a:cubicBezTo>
                  <a:pt x="420" y="446"/>
                  <a:pt x="420" y="446"/>
                  <a:pt x="420" y="446"/>
                </a:cubicBezTo>
                <a:cubicBezTo>
                  <a:pt x="419" y="446"/>
                  <a:pt x="420" y="446"/>
                  <a:pt x="419" y="446"/>
                </a:cubicBezTo>
                <a:cubicBezTo>
                  <a:pt x="419" y="447"/>
                  <a:pt x="418" y="447"/>
                  <a:pt x="417" y="448"/>
                </a:cubicBezTo>
                <a:cubicBezTo>
                  <a:pt x="417" y="449"/>
                  <a:pt x="417" y="449"/>
                  <a:pt x="417" y="450"/>
                </a:cubicBezTo>
                <a:cubicBezTo>
                  <a:pt x="417" y="450"/>
                  <a:pt x="416" y="450"/>
                  <a:pt x="416" y="450"/>
                </a:cubicBezTo>
                <a:cubicBezTo>
                  <a:pt x="416" y="452"/>
                  <a:pt x="417" y="451"/>
                  <a:pt x="418" y="451"/>
                </a:cubicBezTo>
                <a:cubicBezTo>
                  <a:pt x="419" y="451"/>
                  <a:pt x="420" y="451"/>
                  <a:pt x="420" y="450"/>
                </a:cubicBezTo>
                <a:cubicBezTo>
                  <a:pt x="420" y="450"/>
                  <a:pt x="419" y="449"/>
                  <a:pt x="420" y="449"/>
                </a:cubicBezTo>
                <a:cubicBezTo>
                  <a:pt x="420" y="449"/>
                  <a:pt x="421" y="449"/>
                  <a:pt x="421" y="449"/>
                </a:cubicBezTo>
                <a:cubicBezTo>
                  <a:pt x="422" y="448"/>
                  <a:pt x="422" y="448"/>
                  <a:pt x="422" y="447"/>
                </a:cubicBezTo>
                <a:cubicBezTo>
                  <a:pt x="423" y="447"/>
                  <a:pt x="424" y="447"/>
                  <a:pt x="424" y="446"/>
                </a:cubicBezTo>
                <a:cubicBezTo>
                  <a:pt x="424" y="445"/>
                  <a:pt x="426" y="446"/>
                  <a:pt x="427" y="446"/>
                </a:cubicBezTo>
                <a:cubicBezTo>
                  <a:pt x="428" y="446"/>
                  <a:pt x="429" y="446"/>
                  <a:pt x="429" y="447"/>
                </a:cubicBezTo>
                <a:cubicBezTo>
                  <a:pt x="429" y="448"/>
                  <a:pt x="430" y="448"/>
                  <a:pt x="431" y="448"/>
                </a:cubicBezTo>
                <a:cubicBezTo>
                  <a:pt x="431" y="448"/>
                  <a:pt x="431" y="449"/>
                  <a:pt x="431" y="449"/>
                </a:cubicBezTo>
                <a:cubicBezTo>
                  <a:pt x="431" y="449"/>
                  <a:pt x="432" y="449"/>
                  <a:pt x="432" y="449"/>
                </a:cubicBezTo>
                <a:cubicBezTo>
                  <a:pt x="433" y="449"/>
                  <a:pt x="433" y="449"/>
                  <a:pt x="434" y="449"/>
                </a:cubicBezTo>
                <a:cubicBezTo>
                  <a:pt x="434" y="449"/>
                  <a:pt x="434" y="450"/>
                  <a:pt x="435" y="450"/>
                </a:cubicBezTo>
                <a:cubicBezTo>
                  <a:pt x="435" y="450"/>
                  <a:pt x="436" y="450"/>
                  <a:pt x="436" y="451"/>
                </a:cubicBezTo>
                <a:cubicBezTo>
                  <a:pt x="436" y="451"/>
                  <a:pt x="436" y="451"/>
                  <a:pt x="437" y="452"/>
                </a:cubicBezTo>
                <a:cubicBezTo>
                  <a:pt x="437" y="452"/>
                  <a:pt x="437" y="452"/>
                  <a:pt x="437" y="452"/>
                </a:cubicBezTo>
                <a:cubicBezTo>
                  <a:pt x="438" y="452"/>
                  <a:pt x="438" y="452"/>
                  <a:pt x="439" y="453"/>
                </a:cubicBezTo>
                <a:cubicBezTo>
                  <a:pt x="440" y="454"/>
                  <a:pt x="443" y="453"/>
                  <a:pt x="444" y="453"/>
                </a:cubicBezTo>
                <a:cubicBezTo>
                  <a:pt x="444" y="454"/>
                  <a:pt x="444" y="454"/>
                  <a:pt x="444" y="455"/>
                </a:cubicBezTo>
                <a:cubicBezTo>
                  <a:pt x="444" y="455"/>
                  <a:pt x="444" y="455"/>
                  <a:pt x="445" y="456"/>
                </a:cubicBezTo>
                <a:cubicBezTo>
                  <a:pt x="446" y="458"/>
                  <a:pt x="448" y="459"/>
                  <a:pt x="450" y="459"/>
                </a:cubicBezTo>
                <a:cubicBezTo>
                  <a:pt x="450" y="460"/>
                  <a:pt x="450" y="460"/>
                  <a:pt x="450" y="461"/>
                </a:cubicBezTo>
                <a:cubicBezTo>
                  <a:pt x="450" y="462"/>
                  <a:pt x="450" y="461"/>
                  <a:pt x="449" y="462"/>
                </a:cubicBezTo>
                <a:cubicBezTo>
                  <a:pt x="448" y="462"/>
                  <a:pt x="448" y="462"/>
                  <a:pt x="448" y="463"/>
                </a:cubicBezTo>
                <a:cubicBezTo>
                  <a:pt x="449" y="463"/>
                  <a:pt x="455" y="463"/>
                  <a:pt x="455" y="462"/>
                </a:cubicBezTo>
                <a:cubicBezTo>
                  <a:pt x="457" y="462"/>
                  <a:pt x="455" y="462"/>
                  <a:pt x="455" y="462"/>
                </a:cubicBezTo>
                <a:close/>
                <a:moveTo>
                  <a:pt x="447" y="437"/>
                </a:moveTo>
                <a:cubicBezTo>
                  <a:pt x="446" y="436"/>
                  <a:pt x="446" y="435"/>
                  <a:pt x="446" y="435"/>
                </a:cubicBezTo>
                <a:cubicBezTo>
                  <a:pt x="445" y="435"/>
                  <a:pt x="445" y="435"/>
                  <a:pt x="444" y="435"/>
                </a:cubicBezTo>
                <a:cubicBezTo>
                  <a:pt x="444" y="436"/>
                  <a:pt x="444" y="436"/>
                  <a:pt x="444" y="437"/>
                </a:cubicBezTo>
                <a:cubicBezTo>
                  <a:pt x="445" y="438"/>
                  <a:pt x="446" y="438"/>
                  <a:pt x="447" y="438"/>
                </a:cubicBezTo>
                <a:cubicBezTo>
                  <a:pt x="447" y="437"/>
                  <a:pt x="447" y="437"/>
                  <a:pt x="447" y="437"/>
                </a:cubicBezTo>
                <a:close/>
                <a:moveTo>
                  <a:pt x="1388" y="442"/>
                </a:moveTo>
                <a:cubicBezTo>
                  <a:pt x="1387" y="443"/>
                  <a:pt x="1387" y="443"/>
                  <a:pt x="1387" y="444"/>
                </a:cubicBezTo>
                <a:cubicBezTo>
                  <a:pt x="1387" y="445"/>
                  <a:pt x="1387" y="444"/>
                  <a:pt x="1387" y="445"/>
                </a:cubicBezTo>
                <a:cubicBezTo>
                  <a:pt x="1386" y="445"/>
                  <a:pt x="1387" y="446"/>
                  <a:pt x="1387" y="446"/>
                </a:cubicBezTo>
                <a:cubicBezTo>
                  <a:pt x="1387" y="447"/>
                  <a:pt x="1387" y="448"/>
                  <a:pt x="1387" y="449"/>
                </a:cubicBezTo>
                <a:cubicBezTo>
                  <a:pt x="1387" y="450"/>
                  <a:pt x="1387" y="449"/>
                  <a:pt x="1388" y="450"/>
                </a:cubicBezTo>
                <a:cubicBezTo>
                  <a:pt x="1389" y="450"/>
                  <a:pt x="1389" y="451"/>
                  <a:pt x="1390" y="452"/>
                </a:cubicBezTo>
                <a:cubicBezTo>
                  <a:pt x="1390" y="451"/>
                  <a:pt x="1390" y="451"/>
                  <a:pt x="1390" y="451"/>
                </a:cubicBezTo>
                <a:cubicBezTo>
                  <a:pt x="1390" y="450"/>
                  <a:pt x="1391" y="451"/>
                  <a:pt x="1391" y="451"/>
                </a:cubicBezTo>
                <a:cubicBezTo>
                  <a:pt x="1391" y="449"/>
                  <a:pt x="1391" y="449"/>
                  <a:pt x="1392" y="449"/>
                </a:cubicBezTo>
                <a:cubicBezTo>
                  <a:pt x="1393" y="448"/>
                  <a:pt x="1392" y="447"/>
                  <a:pt x="1392" y="447"/>
                </a:cubicBezTo>
                <a:cubicBezTo>
                  <a:pt x="1392" y="447"/>
                  <a:pt x="1393" y="447"/>
                  <a:pt x="1393" y="447"/>
                </a:cubicBezTo>
                <a:cubicBezTo>
                  <a:pt x="1393" y="447"/>
                  <a:pt x="1393" y="446"/>
                  <a:pt x="1393" y="446"/>
                </a:cubicBezTo>
                <a:cubicBezTo>
                  <a:pt x="1393" y="446"/>
                  <a:pt x="1393" y="446"/>
                  <a:pt x="1393" y="446"/>
                </a:cubicBezTo>
                <a:cubicBezTo>
                  <a:pt x="1393" y="445"/>
                  <a:pt x="1393" y="444"/>
                  <a:pt x="1393" y="443"/>
                </a:cubicBezTo>
                <a:cubicBezTo>
                  <a:pt x="1393" y="442"/>
                  <a:pt x="1394" y="441"/>
                  <a:pt x="1394" y="440"/>
                </a:cubicBezTo>
                <a:cubicBezTo>
                  <a:pt x="1394" y="439"/>
                  <a:pt x="1395" y="438"/>
                  <a:pt x="1395" y="436"/>
                </a:cubicBezTo>
                <a:cubicBezTo>
                  <a:pt x="1396" y="435"/>
                  <a:pt x="1395" y="435"/>
                  <a:pt x="1395" y="434"/>
                </a:cubicBezTo>
                <a:cubicBezTo>
                  <a:pt x="1394" y="433"/>
                  <a:pt x="1394" y="433"/>
                  <a:pt x="1393" y="433"/>
                </a:cubicBezTo>
                <a:cubicBezTo>
                  <a:pt x="1393" y="433"/>
                  <a:pt x="1392" y="434"/>
                  <a:pt x="1392" y="434"/>
                </a:cubicBezTo>
                <a:cubicBezTo>
                  <a:pt x="1392" y="435"/>
                  <a:pt x="1392" y="435"/>
                  <a:pt x="1392" y="436"/>
                </a:cubicBezTo>
                <a:cubicBezTo>
                  <a:pt x="1392" y="436"/>
                  <a:pt x="1391" y="436"/>
                  <a:pt x="1391" y="436"/>
                </a:cubicBezTo>
                <a:cubicBezTo>
                  <a:pt x="1391" y="436"/>
                  <a:pt x="1391" y="437"/>
                  <a:pt x="1391" y="437"/>
                </a:cubicBezTo>
                <a:cubicBezTo>
                  <a:pt x="1391" y="437"/>
                  <a:pt x="1391" y="437"/>
                  <a:pt x="1391" y="437"/>
                </a:cubicBezTo>
                <a:cubicBezTo>
                  <a:pt x="1391" y="437"/>
                  <a:pt x="1390" y="438"/>
                  <a:pt x="1390" y="438"/>
                </a:cubicBezTo>
                <a:cubicBezTo>
                  <a:pt x="1389" y="439"/>
                  <a:pt x="1389" y="438"/>
                  <a:pt x="1389" y="439"/>
                </a:cubicBezTo>
                <a:cubicBezTo>
                  <a:pt x="1389" y="439"/>
                  <a:pt x="1389" y="440"/>
                  <a:pt x="1389" y="440"/>
                </a:cubicBezTo>
                <a:cubicBezTo>
                  <a:pt x="1389" y="440"/>
                  <a:pt x="1388" y="441"/>
                  <a:pt x="1389" y="442"/>
                </a:cubicBezTo>
                <a:cubicBezTo>
                  <a:pt x="1388" y="442"/>
                  <a:pt x="1388" y="442"/>
                  <a:pt x="1388" y="442"/>
                </a:cubicBezTo>
                <a:cubicBezTo>
                  <a:pt x="1388" y="443"/>
                  <a:pt x="1388" y="442"/>
                  <a:pt x="1388" y="442"/>
                </a:cubicBezTo>
                <a:close/>
                <a:moveTo>
                  <a:pt x="1422" y="425"/>
                </a:moveTo>
                <a:cubicBezTo>
                  <a:pt x="1422" y="426"/>
                  <a:pt x="1422" y="426"/>
                  <a:pt x="1422" y="426"/>
                </a:cubicBezTo>
                <a:cubicBezTo>
                  <a:pt x="1423" y="426"/>
                  <a:pt x="1424" y="425"/>
                  <a:pt x="1425" y="424"/>
                </a:cubicBezTo>
                <a:cubicBezTo>
                  <a:pt x="1424" y="424"/>
                  <a:pt x="1423" y="425"/>
                  <a:pt x="1423" y="425"/>
                </a:cubicBezTo>
                <a:cubicBezTo>
                  <a:pt x="1423" y="425"/>
                  <a:pt x="1423" y="425"/>
                  <a:pt x="1422" y="425"/>
                </a:cubicBezTo>
                <a:close/>
                <a:moveTo>
                  <a:pt x="1420" y="425"/>
                </a:moveTo>
                <a:cubicBezTo>
                  <a:pt x="1420" y="424"/>
                  <a:pt x="1420" y="423"/>
                  <a:pt x="1419" y="423"/>
                </a:cubicBezTo>
                <a:cubicBezTo>
                  <a:pt x="1418" y="424"/>
                  <a:pt x="1420" y="425"/>
                  <a:pt x="1420" y="425"/>
                </a:cubicBezTo>
                <a:close/>
                <a:moveTo>
                  <a:pt x="742" y="417"/>
                </a:moveTo>
                <a:cubicBezTo>
                  <a:pt x="742" y="418"/>
                  <a:pt x="742" y="418"/>
                  <a:pt x="742" y="418"/>
                </a:cubicBezTo>
                <a:cubicBezTo>
                  <a:pt x="742" y="419"/>
                  <a:pt x="742" y="420"/>
                  <a:pt x="743" y="420"/>
                </a:cubicBezTo>
                <a:cubicBezTo>
                  <a:pt x="744" y="420"/>
                  <a:pt x="744" y="419"/>
                  <a:pt x="744" y="418"/>
                </a:cubicBezTo>
                <a:cubicBezTo>
                  <a:pt x="744" y="417"/>
                  <a:pt x="743" y="417"/>
                  <a:pt x="742" y="417"/>
                </a:cubicBezTo>
                <a:close/>
                <a:moveTo>
                  <a:pt x="1429" y="416"/>
                </a:moveTo>
                <a:cubicBezTo>
                  <a:pt x="1429" y="416"/>
                  <a:pt x="1429" y="416"/>
                  <a:pt x="1429" y="416"/>
                </a:cubicBezTo>
                <a:cubicBezTo>
                  <a:pt x="1429" y="416"/>
                  <a:pt x="1429" y="416"/>
                  <a:pt x="1429" y="416"/>
                </a:cubicBezTo>
                <a:cubicBezTo>
                  <a:pt x="1429" y="416"/>
                  <a:pt x="1429" y="416"/>
                  <a:pt x="1429" y="416"/>
                </a:cubicBezTo>
                <a:close/>
                <a:moveTo>
                  <a:pt x="737" y="418"/>
                </a:moveTo>
                <a:cubicBezTo>
                  <a:pt x="738" y="418"/>
                  <a:pt x="738" y="418"/>
                  <a:pt x="738" y="417"/>
                </a:cubicBezTo>
                <a:cubicBezTo>
                  <a:pt x="738" y="417"/>
                  <a:pt x="738" y="417"/>
                  <a:pt x="739" y="417"/>
                </a:cubicBezTo>
                <a:cubicBezTo>
                  <a:pt x="739" y="416"/>
                  <a:pt x="740" y="416"/>
                  <a:pt x="740" y="416"/>
                </a:cubicBezTo>
                <a:cubicBezTo>
                  <a:pt x="739" y="416"/>
                  <a:pt x="738" y="416"/>
                  <a:pt x="738" y="416"/>
                </a:cubicBezTo>
                <a:cubicBezTo>
                  <a:pt x="737" y="416"/>
                  <a:pt x="737" y="416"/>
                  <a:pt x="737" y="417"/>
                </a:cubicBezTo>
                <a:cubicBezTo>
                  <a:pt x="737" y="418"/>
                  <a:pt x="737" y="418"/>
                  <a:pt x="737" y="418"/>
                </a:cubicBezTo>
                <a:cubicBezTo>
                  <a:pt x="738" y="418"/>
                  <a:pt x="737" y="418"/>
                  <a:pt x="737" y="418"/>
                </a:cubicBezTo>
                <a:close/>
                <a:moveTo>
                  <a:pt x="749" y="418"/>
                </a:moveTo>
                <a:cubicBezTo>
                  <a:pt x="749" y="418"/>
                  <a:pt x="749" y="418"/>
                  <a:pt x="749" y="418"/>
                </a:cubicBezTo>
                <a:cubicBezTo>
                  <a:pt x="751" y="418"/>
                  <a:pt x="751" y="417"/>
                  <a:pt x="751" y="415"/>
                </a:cubicBezTo>
                <a:cubicBezTo>
                  <a:pt x="751" y="415"/>
                  <a:pt x="751" y="416"/>
                  <a:pt x="751" y="415"/>
                </a:cubicBezTo>
                <a:cubicBezTo>
                  <a:pt x="751" y="415"/>
                  <a:pt x="751" y="415"/>
                  <a:pt x="750" y="415"/>
                </a:cubicBezTo>
                <a:cubicBezTo>
                  <a:pt x="751" y="415"/>
                  <a:pt x="750" y="417"/>
                  <a:pt x="749" y="418"/>
                </a:cubicBezTo>
                <a:close/>
                <a:moveTo>
                  <a:pt x="734" y="415"/>
                </a:moveTo>
                <a:cubicBezTo>
                  <a:pt x="734" y="415"/>
                  <a:pt x="734" y="415"/>
                  <a:pt x="735" y="415"/>
                </a:cubicBezTo>
                <a:cubicBezTo>
                  <a:pt x="734" y="415"/>
                  <a:pt x="734" y="415"/>
                  <a:pt x="734" y="414"/>
                </a:cubicBezTo>
                <a:cubicBezTo>
                  <a:pt x="734" y="415"/>
                  <a:pt x="734" y="415"/>
                  <a:pt x="734" y="415"/>
                </a:cubicBezTo>
                <a:close/>
                <a:moveTo>
                  <a:pt x="752" y="414"/>
                </a:moveTo>
                <a:cubicBezTo>
                  <a:pt x="752" y="414"/>
                  <a:pt x="753" y="414"/>
                  <a:pt x="753" y="413"/>
                </a:cubicBezTo>
                <a:cubicBezTo>
                  <a:pt x="752" y="412"/>
                  <a:pt x="752" y="413"/>
                  <a:pt x="752" y="414"/>
                </a:cubicBezTo>
                <a:close/>
                <a:moveTo>
                  <a:pt x="388" y="407"/>
                </a:moveTo>
                <a:cubicBezTo>
                  <a:pt x="388" y="408"/>
                  <a:pt x="387" y="409"/>
                  <a:pt x="388" y="409"/>
                </a:cubicBezTo>
                <a:cubicBezTo>
                  <a:pt x="388" y="409"/>
                  <a:pt x="390" y="410"/>
                  <a:pt x="390" y="409"/>
                </a:cubicBezTo>
                <a:cubicBezTo>
                  <a:pt x="390" y="408"/>
                  <a:pt x="390" y="407"/>
                  <a:pt x="388" y="407"/>
                </a:cubicBezTo>
                <a:cubicBezTo>
                  <a:pt x="387" y="409"/>
                  <a:pt x="388" y="407"/>
                  <a:pt x="388" y="407"/>
                </a:cubicBezTo>
                <a:close/>
                <a:moveTo>
                  <a:pt x="1435" y="404"/>
                </a:moveTo>
                <a:cubicBezTo>
                  <a:pt x="1435" y="404"/>
                  <a:pt x="1435" y="404"/>
                  <a:pt x="1434" y="404"/>
                </a:cubicBezTo>
                <a:cubicBezTo>
                  <a:pt x="1435" y="404"/>
                  <a:pt x="1435" y="404"/>
                  <a:pt x="1435" y="404"/>
                </a:cubicBezTo>
                <a:cubicBezTo>
                  <a:pt x="1435" y="404"/>
                  <a:pt x="1435" y="404"/>
                  <a:pt x="1435" y="404"/>
                </a:cubicBezTo>
                <a:close/>
                <a:moveTo>
                  <a:pt x="1438" y="403"/>
                </a:moveTo>
                <a:cubicBezTo>
                  <a:pt x="1438" y="403"/>
                  <a:pt x="1438" y="403"/>
                  <a:pt x="1438" y="403"/>
                </a:cubicBezTo>
                <a:cubicBezTo>
                  <a:pt x="1437" y="403"/>
                  <a:pt x="1437" y="403"/>
                  <a:pt x="1437" y="404"/>
                </a:cubicBezTo>
                <a:cubicBezTo>
                  <a:pt x="1438" y="404"/>
                  <a:pt x="1438" y="404"/>
                  <a:pt x="1438" y="403"/>
                </a:cubicBezTo>
                <a:close/>
                <a:moveTo>
                  <a:pt x="1394" y="398"/>
                </a:moveTo>
                <a:cubicBezTo>
                  <a:pt x="1394" y="397"/>
                  <a:pt x="1394" y="397"/>
                  <a:pt x="1393" y="397"/>
                </a:cubicBezTo>
                <a:cubicBezTo>
                  <a:pt x="1394" y="398"/>
                  <a:pt x="1394" y="398"/>
                  <a:pt x="1394" y="398"/>
                </a:cubicBezTo>
                <a:close/>
                <a:moveTo>
                  <a:pt x="1415" y="388"/>
                </a:moveTo>
                <a:cubicBezTo>
                  <a:pt x="1416" y="388"/>
                  <a:pt x="1416" y="388"/>
                  <a:pt x="1416" y="388"/>
                </a:cubicBezTo>
                <a:cubicBezTo>
                  <a:pt x="1417" y="388"/>
                  <a:pt x="1417" y="386"/>
                  <a:pt x="1417" y="386"/>
                </a:cubicBezTo>
                <a:cubicBezTo>
                  <a:pt x="1416" y="386"/>
                  <a:pt x="1416" y="387"/>
                  <a:pt x="1415" y="387"/>
                </a:cubicBezTo>
                <a:cubicBezTo>
                  <a:pt x="1415" y="387"/>
                  <a:pt x="1415" y="387"/>
                  <a:pt x="1415" y="388"/>
                </a:cubicBezTo>
                <a:close/>
                <a:moveTo>
                  <a:pt x="1431" y="385"/>
                </a:moveTo>
                <a:cubicBezTo>
                  <a:pt x="1431" y="386"/>
                  <a:pt x="1431" y="386"/>
                  <a:pt x="1430" y="386"/>
                </a:cubicBezTo>
                <a:cubicBezTo>
                  <a:pt x="1431" y="386"/>
                  <a:pt x="1431" y="386"/>
                  <a:pt x="1431" y="387"/>
                </a:cubicBezTo>
                <a:cubicBezTo>
                  <a:pt x="1431" y="387"/>
                  <a:pt x="1431" y="387"/>
                  <a:pt x="1431" y="388"/>
                </a:cubicBezTo>
                <a:cubicBezTo>
                  <a:pt x="1433" y="388"/>
                  <a:pt x="1433" y="389"/>
                  <a:pt x="1433" y="390"/>
                </a:cubicBezTo>
                <a:cubicBezTo>
                  <a:pt x="1432" y="391"/>
                  <a:pt x="1432" y="390"/>
                  <a:pt x="1432" y="390"/>
                </a:cubicBezTo>
                <a:cubicBezTo>
                  <a:pt x="1432" y="389"/>
                  <a:pt x="1432" y="389"/>
                  <a:pt x="1431" y="389"/>
                </a:cubicBezTo>
                <a:cubicBezTo>
                  <a:pt x="1431" y="390"/>
                  <a:pt x="1432" y="391"/>
                  <a:pt x="1432" y="392"/>
                </a:cubicBezTo>
                <a:cubicBezTo>
                  <a:pt x="1433" y="393"/>
                  <a:pt x="1433" y="392"/>
                  <a:pt x="1434" y="391"/>
                </a:cubicBezTo>
                <a:cubicBezTo>
                  <a:pt x="1434" y="392"/>
                  <a:pt x="1434" y="392"/>
                  <a:pt x="1434" y="392"/>
                </a:cubicBezTo>
                <a:cubicBezTo>
                  <a:pt x="1435" y="392"/>
                  <a:pt x="1435" y="392"/>
                  <a:pt x="1436" y="391"/>
                </a:cubicBezTo>
                <a:cubicBezTo>
                  <a:pt x="1435" y="390"/>
                  <a:pt x="1435" y="389"/>
                  <a:pt x="1434" y="388"/>
                </a:cubicBezTo>
                <a:cubicBezTo>
                  <a:pt x="1435" y="388"/>
                  <a:pt x="1435" y="388"/>
                  <a:pt x="1436" y="388"/>
                </a:cubicBezTo>
                <a:cubicBezTo>
                  <a:pt x="1436" y="389"/>
                  <a:pt x="1436" y="390"/>
                  <a:pt x="1436" y="391"/>
                </a:cubicBezTo>
                <a:cubicBezTo>
                  <a:pt x="1436" y="391"/>
                  <a:pt x="1436" y="392"/>
                  <a:pt x="1436" y="393"/>
                </a:cubicBezTo>
                <a:cubicBezTo>
                  <a:pt x="1435" y="393"/>
                  <a:pt x="1435" y="393"/>
                  <a:pt x="1434" y="393"/>
                </a:cubicBezTo>
                <a:cubicBezTo>
                  <a:pt x="1433" y="393"/>
                  <a:pt x="1434" y="393"/>
                  <a:pt x="1434" y="394"/>
                </a:cubicBezTo>
                <a:cubicBezTo>
                  <a:pt x="1434" y="394"/>
                  <a:pt x="1433" y="394"/>
                  <a:pt x="1433" y="394"/>
                </a:cubicBezTo>
                <a:cubicBezTo>
                  <a:pt x="1433" y="394"/>
                  <a:pt x="1433" y="394"/>
                  <a:pt x="1433" y="395"/>
                </a:cubicBezTo>
                <a:cubicBezTo>
                  <a:pt x="1433" y="395"/>
                  <a:pt x="1433" y="396"/>
                  <a:pt x="1433" y="397"/>
                </a:cubicBezTo>
                <a:cubicBezTo>
                  <a:pt x="1434" y="397"/>
                  <a:pt x="1434" y="398"/>
                  <a:pt x="1433" y="397"/>
                </a:cubicBezTo>
                <a:cubicBezTo>
                  <a:pt x="1433" y="399"/>
                  <a:pt x="1434" y="399"/>
                  <a:pt x="1435" y="399"/>
                </a:cubicBezTo>
                <a:cubicBezTo>
                  <a:pt x="1435" y="398"/>
                  <a:pt x="1435" y="397"/>
                  <a:pt x="1436" y="396"/>
                </a:cubicBezTo>
                <a:cubicBezTo>
                  <a:pt x="1436" y="398"/>
                  <a:pt x="1436" y="399"/>
                  <a:pt x="1436" y="400"/>
                </a:cubicBezTo>
                <a:cubicBezTo>
                  <a:pt x="1437" y="400"/>
                  <a:pt x="1438" y="400"/>
                  <a:pt x="1438" y="398"/>
                </a:cubicBezTo>
                <a:cubicBezTo>
                  <a:pt x="1439" y="397"/>
                  <a:pt x="1439" y="397"/>
                  <a:pt x="1439" y="396"/>
                </a:cubicBezTo>
                <a:cubicBezTo>
                  <a:pt x="1439" y="396"/>
                  <a:pt x="1439" y="396"/>
                  <a:pt x="1439" y="395"/>
                </a:cubicBezTo>
                <a:cubicBezTo>
                  <a:pt x="1439" y="395"/>
                  <a:pt x="1440" y="395"/>
                  <a:pt x="1440" y="395"/>
                </a:cubicBezTo>
                <a:cubicBezTo>
                  <a:pt x="1440" y="395"/>
                  <a:pt x="1440" y="394"/>
                  <a:pt x="1440" y="393"/>
                </a:cubicBezTo>
                <a:cubicBezTo>
                  <a:pt x="1440" y="393"/>
                  <a:pt x="1440" y="393"/>
                  <a:pt x="1440" y="393"/>
                </a:cubicBezTo>
                <a:cubicBezTo>
                  <a:pt x="1441" y="393"/>
                  <a:pt x="1440" y="391"/>
                  <a:pt x="1440" y="391"/>
                </a:cubicBezTo>
                <a:cubicBezTo>
                  <a:pt x="1440" y="391"/>
                  <a:pt x="1441" y="390"/>
                  <a:pt x="1441" y="391"/>
                </a:cubicBezTo>
                <a:cubicBezTo>
                  <a:pt x="1442" y="390"/>
                  <a:pt x="1442" y="390"/>
                  <a:pt x="1442" y="389"/>
                </a:cubicBezTo>
                <a:cubicBezTo>
                  <a:pt x="1442" y="389"/>
                  <a:pt x="1441" y="389"/>
                  <a:pt x="1441" y="389"/>
                </a:cubicBezTo>
                <a:cubicBezTo>
                  <a:pt x="1441" y="388"/>
                  <a:pt x="1441" y="387"/>
                  <a:pt x="1440" y="387"/>
                </a:cubicBezTo>
                <a:cubicBezTo>
                  <a:pt x="1440" y="387"/>
                  <a:pt x="1440" y="387"/>
                  <a:pt x="1440" y="387"/>
                </a:cubicBezTo>
                <a:cubicBezTo>
                  <a:pt x="1440" y="386"/>
                  <a:pt x="1441" y="385"/>
                  <a:pt x="1440" y="385"/>
                </a:cubicBezTo>
                <a:cubicBezTo>
                  <a:pt x="1440" y="384"/>
                  <a:pt x="1438" y="385"/>
                  <a:pt x="1438" y="385"/>
                </a:cubicBezTo>
                <a:cubicBezTo>
                  <a:pt x="1438" y="384"/>
                  <a:pt x="1438" y="383"/>
                  <a:pt x="1438" y="383"/>
                </a:cubicBezTo>
                <a:cubicBezTo>
                  <a:pt x="1437" y="383"/>
                  <a:pt x="1436" y="383"/>
                  <a:pt x="1436" y="382"/>
                </a:cubicBezTo>
                <a:cubicBezTo>
                  <a:pt x="1435" y="383"/>
                  <a:pt x="1435" y="383"/>
                  <a:pt x="1435" y="384"/>
                </a:cubicBezTo>
                <a:cubicBezTo>
                  <a:pt x="1434" y="384"/>
                  <a:pt x="1434" y="383"/>
                  <a:pt x="1434" y="385"/>
                </a:cubicBezTo>
                <a:cubicBezTo>
                  <a:pt x="1433" y="386"/>
                  <a:pt x="1433" y="385"/>
                  <a:pt x="1432" y="386"/>
                </a:cubicBezTo>
                <a:cubicBezTo>
                  <a:pt x="1432" y="385"/>
                  <a:pt x="1432" y="385"/>
                  <a:pt x="1431" y="385"/>
                </a:cubicBezTo>
                <a:close/>
                <a:moveTo>
                  <a:pt x="1455" y="381"/>
                </a:moveTo>
                <a:cubicBezTo>
                  <a:pt x="1454" y="381"/>
                  <a:pt x="1453" y="381"/>
                  <a:pt x="1454" y="381"/>
                </a:cubicBezTo>
                <a:cubicBezTo>
                  <a:pt x="1454" y="382"/>
                  <a:pt x="1455" y="381"/>
                  <a:pt x="1455" y="381"/>
                </a:cubicBezTo>
                <a:close/>
                <a:moveTo>
                  <a:pt x="1453" y="380"/>
                </a:moveTo>
                <a:cubicBezTo>
                  <a:pt x="1452" y="381"/>
                  <a:pt x="1451" y="381"/>
                  <a:pt x="1450" y="381"/>
                </a:cubicBezTo>
                <a:cubicBezTo>
                  <a:pt x="1450" y="381"/>
                  <a:pt x="1450" y="382"/>
                  <a:pt x="1450" y="382"/>
                </a:cubicBezTo>
                <a:cubicBezTo>
                  <a:pt x="1449" y="382"/>
                  <a:pt x="1448" y="383"/>
                  <a:pt x="1448" y="382"/>
                </a:cubicBezTo>
                <a:cubicBezTo>
                  <a:pt x="1447" y="382"/>
                  <a:pt x="1448" y="382"/>
                  <a:pt x="1447" y="382"/>
                </a:cubicBezTo>
                <a:cubicBezTo>
                  <a:pt x="1446" y="382"/>
                  <a:pt x="1446" y="383"/>
                  <a:pt x="1446" y="383"/>
                </a:cubicBezTo>
                <a:cubicBezTo>
                  <a:pt x="1445" y="385"/>
                  <a:pt x="1444" y="385"/>
                  <a:pt x="1443" y="387"/>
                </a:cubicBezTo>
                <a:cubicBezTo>
                  <a:pt x="1444" y="387"/>
                  <a:pt x="1444" y="386"/>
                  <a:pt x="1444" y="387"/>
                </a:cubicBezTo>
                <a:cubicBezTo>
                  <a:pt x="1444" y="388"/>
                  <a:pt x="1445" y="388"/>
                  <a:pt x="1445" y="388"/>
                </a:cubicBezTo>
                <a:cubicBezTo>
                  <a:pt x="1445" y="388"/>
                  <a:pt x="1444" y="389"/>
                  <a:pt x="1445" y="389"/>
                </a:cubicBezTo>
                <a:cubicBezTo>
                  <a:pt x="1445" y="389"/>
                  <a:pt x="1446" y="390"/>
                  <a:pt x="1445" y="390"/>
                </a:cubicBezTo>
                <a:cubicBezTo>
                  <a:pt x="1446" y="390"/>
                  <a:pt x="1447" y="391"/>
                  <a:pt x="1447" y="391"/>
                </a:cubicBezTo>
                <a:cubicBezTo>
                  <a:pt x="1448" y="391"/>
                  <a:pt x="1448" y="390"/>
                  <a:pt x="1448" y="389"/>
                </a:cubicBezTo>
                <a:cubicBezTo>
                  <a:pt x="1448" y="388"/>
                  <a:pt x="1448" y="387"/>
                  <a:pt x="1449" y="387"/>
                </a:cubicBezTo>
                <a:cubicBezTo>
                  <a:pt x="1449" y="387"/>
                  <a:pt x="1450" y="387"/>
                  <a:pt x="1450" y="387"/>
                </a:cubicBezTo>
                <a:cubicBezTo>
                  <a:pt x="1450" y="387"/>
                  <a:pt x="1450" y="387"/>
                  <a:pt x="1450" y="386"/>
                </a:cubicBezTo>
                <a:cubicBezTo>
                  <a:pt x="1450" y="386"/>
                  <a:pt x="1451" y="386"/>
                  <a:pt x="1451" y="386"/>
                </a:cubicBezTo>
                <a:cubicBezTo>
                  <a:pt x="1452" y="387"/>
                  <a:pt x="1451" y="387"/>
                  <a:pt x="1452" y="387"/>
                </a:cubicBezTo>
                <a:cubicBezTo>
                  <a:pt x="1453" y="387"/>
                  <a:pt x="1453" y="386"/>
                  <a:pt x="1454" y="385"/>
                </a:cubicBezTo>
                <a:cubicBezTo>
                  <a:pt x="1454" y="384"/>
                  <a:pt x="1455" y="385"/>
                  <a:pt x="1454" y="383"/>
                </a:cubicBezTo>
                <a:cubicBezTo>
                  <a:pt x="1454" y="382"/>
                  <a:pt x="1454" y="382"/>
                  <a:pt x="1453" y="382"/>
                </a:cubicBezTo>
                <a:cubicBezTo>
                  <a:pt x="1453" y="382"/>
                  <a:pt x="1453" y="381"/>
                  <a:pt x="1453" y="380"/>
                </a:cubicBezTo>
                <a:cubicBezTo>
                  <a:pt x="1452" y="381"/>
                  <a:pt x="1453" y="380"/>
                  <a:pt x="1453" y="380"/>
                </a:cubicBezTo>
                <a:close/>
                <a:moveTo>
                  <a:pt x="453" y="377"/>
                </a:moveTo>
                <a:cubicBezTo>
                  <a:pt x="453" y="376"/>
                  <a:pt x="452" y="377"/>
                  <a:pt x="451" y="377"/>
                </a:cubicBezTo>
                <a:cubicBezTo>
                  <a:pt x="452" y="378"/>
                  <a:pt x="452" y="377"/>
                  <a:pt x="453" y="377"/>
                </a:cubicBezTo>
                <a:close/>
                <a:moveTo>
                  <a:pt x="1449" y="375"/>
                </a:moveTo>
                <a:cubicBezTo>
                  <a:pt x="1450" y="375"/>
                  <a:pt x="1450" y="374"/>
                  <a:pt x="1450" y="374"/>
                </a:cubicBezTo>
                <a:cubicBezTo>
                  <a:pt x="1448" y="374"/>
                  <a:pt x="1448" y="374"/>
                  <a:pt x="1449" y="375"/>
                </a:cubicBezTo>
                <a:cubicBezTo>
                  <a:pt x="1450" y="375"/>
                  <a:pt x="1449" y="375"/>
                  <a:pt x="1449" y="375"/>
                </a:cubicBezTo>
                <a:close/>
                <a:moveTo>
                  <a:pt x="946" y="374"/>
                </a:moveTo>
                <a:cubicBezTo>
                  <a:pt x="946" y="374"/>
                  <a:pt x="946" y="374"/>
                  <a:pt x="947" y="374"/>
                </a:cubicBezTo>
                <a:cubicBezTo>
                  <a:pt x="947" y="374"/>
                  <a:pt x="947" y="374"/>
                  <a:pt x="946" y="374"/>
                </a:cubicBezTo>
                <a:close/>
                <a:moveTo>
                  <a:pt x="930" y="374"/>
                </a:moveTo>
                <a:cubicBezTo>
                  <a:pt x="929" y="374"/>
                  <a:pt x="928" y="375"/>
                  <a:pt x="929" y="375"/>
                </a:cubicBezTo>
                <a:cubicBezTo>
                  <a:pt x="930" y="376"/>
                  <a:pt x="932" y="376"/>
                  <a:pt x="933" y="376"/>
                </a:cubicBezTo>
                <a:cubicBezTo>
                  <a:pt x="934" y="376"/>
                  <a:pt x="934" y="377"/>
                  <a:pt x="935" y="377"/>
                </a:cubicBezTo>
                <a:cubicBezTo>
                  <a:pt x="935" y="377"/>
                  <a:pt x="935" y="378"/>
                  <a:pt x="936" y="378"/>
                </a:cubicBezTo>
                <a:cubicBezTo>
                  <a:pt x="936" y="378"/>
                  <a:pt x="937" y="378"/>
                  <a:pt x="937" y="378"/>
                </a:cubicBezTo>
                <a:cubicBezTo>
                  <a:pt x="938" y="378"/>
                  <a:pt x="937" y="377"/>
                  <a:pt x="938" y="377"/>
                </a:cubicBezTo>
                <a:cubicBezTo>
                  <a:pt x="938" y="377"/>
                  <a:pt x="938" y="377"/>
                  <a:pt x="938" y="377"/>
                </a:cubicBezTo>
                <a:cubicBezTo>
                  <a:pt x="939" y="377"/>
                  <a:pt x="938" y="377"/>
                  <a:pt x="939" y="377"/>
                </a:cubicBezTo>
                <a:cubicBezTo>
                  <a:pt x="940" y="378"/>
                  <a:pt x="941" y="377"/>
                  <a:pt x="942" y="377"/>
                </a:cubicBezTo>
                <a:cubicBezTo>
                  <a:pt x="943" y="376"/>
                  <a:pt x="943" y="376"/>
                  <a:pt x="942" y="376"/>
                </a:cubicBezTo>
                <a:cubicBezTo>
                  <a:pt x="941" y="376"/>
                  <a:pt x="941" y="376"/>
                  <a:pt x="941" y="375"/>
                </a:cubicBezTo>
                <a:cubicBezTo>
                  <a:pt x="939" y="375"/>
                  <a:pt x="938" y="375"/>
                  <a:pt x="937" y="375"/>
                </a:cubicBezTo>
                <a:cubicBezTo>
                  <a:pt x="936" y="374"/>
                  <a:pt x="934" y="375"/>
                  <a:pt x="932" y="375"/>
                </a:cubicBezTo>
                <a:cubicBezTo>
                  <a:pt x="932" y="374"/>
                  <a:pt x="932" y="374"/>
                  <a:pt x="931" y="374"/>
                </a:cubicBezTo>
                <a:cubicBezTo>
                  <a:pt x="930" y="374"/>
                  <a:pt x="932" y="373"/>
                  <a:pt x="930" y="373"/>
                </a:cubicBezTo>
                <a:cubicBezTo>
                  <a:pt x="930" y="374"/>
                  <a:pt x="930" y="374"/>
                  <a:pt x="930" y="374"/>
                </a:cubicBezTo>
                <a:close/>
                <a:moveTo>
                  <a:pt x="972" y="376"/>
                </a:moveTo>
                <a:cubicBezTo>
                  <a:pt x="971" y="376"/>
                  <a:pt x="971" y="376"/>
                  <a:pt x="971" y="377"/>
                </a:cubicBezTo>
                <a:cubicBezTo>
                  <a:pt x="971" y="377"/>
                  <a:pt x="971" y="378"/>
                  <a:pt x="972" y="378"/>
                </a:cubicBezTo>
                <a:cubicBezTo>
                  <a:pt x="972" y="378"/>
                  <a:pt x="973" y="379"/>
                  <a:pt x="973" y="379"/>
                </a:cubicBezTo>
                <a:cubicBezTo>
                  <a:pt x="974" y="379"/>
                  <a:pt x="974" y="379"/>
                  <a:pt x="975" y="379"/>
                </a:cubicBezTo>
                <a:cubicBezTo>
                  <a:pt x="976" y="379"/>
                  <a:pt x="977" y="379"/>
                  <a:pt x="977" y="378"/>
                </a:cubicBezTo>
                <a:cubicBezTo>
                  <a:pt x="978" y="377"/>
                  <a:pt x="978" y="378"/>
                  <a:pt x="979" y="377"/>
                </a:cubicBezTo>
                <a:cubicBezTo>
                  <a:pt x="979" y="377"/>
                  <a:pt x="979" y="376"/>
                  <a:pt x="979" y="376"/>
                </a:cubicBezTo>
                <a:cubicBezTo>
                  <a:pt x="979" y="376"/>
                  <a:pt x="979" y="376"/>
                  <a:pt x="979" y="375"/>
                </a:cubicBezTo>
                <a:cubicBezTo>
                  <a:pt x="979" y="375"/>
                  <a:pt x="979" y="375"/>
                  <a:pt x="979" y="375"/>
                </a:cubicBezTo>
                <a:cubicBezTo>
                  <a:pt x="979" y="375"/>
                  <a:pt x="979" y="375"/>
                  <a:pt x="979" y="375"/>
                </a:cubicBezTo>
                <a:cubicBezTo>
                  <a:pt x="980" y="374"/>
                  <a:pt x="980" y="374"/>
                  <a:pt x="981" y="374"/>
                </a:cubicBezTo>
                <a:cubicBezTo>
                  <a:pt x="981" y="374"/>
                  <a:pt x="982" y="373"/>
                  <a:pt x="982" y="372"/>
                </a:cubicBezTo>
                <a:cubicBezTo>
                  <a:pt x="982" y="373"/>
                  <a:pt x="981" y="373"/>
                  <a:pt x="980" y="373"/>
                </a:cubicBezTo>
                <a:cubicBezTo>
                  <a:pt x="980" y="374"/>
                  <a:pt x="979" y="374"/>
                  <a:pt x="978" y="374"/>
                </a:cubicBezTo>
                <a:cubicBezTo>
                  <a:pt x="978" y="374"/>
                  <a:pt x="978" y="375"/>
                  <a:pt x="978" y="375"/>
                </a:cubicBezTo>
                <a:cubicBezTo>
                  <a:pt x="978" y="375"/>
                  <a:pt x="977" y="375"/>
                  <a:pt x="977" y="375"/>
                </a:cubicBezTo>
                <a:cubicBezTo>
                  <a:pt x="976" y="375"/>
                  <a:pt x="976" y="375"/>
                  <a:pt x="976" y="375"/>
                </a:cubicBezTo>
                <a:cubicBezTo>
                  <a:pt x="975" y="375"/>
                  <a:pt x="976" y="375"/>
                  <a:pt x="975" y="375"/>
                </a:cubicBezTo>
                <a:cubicBezTo>
                  <a:pt x="975" y="374"/>
                  <a:pt x="975" y="375"/>
                  <a:pt x="974" y="375"/>
                </a:cubicBezTo>
                <a:cubicBezTo>
                  <a:pt x="974" y="375"/>
                  <a:pt x="974" y="375"/>
                  <a:pt x="975" y="376"/>
                </a:cubicBezTo>
                <a:cubicBezTo>
                  <a:pt x="974" y="376"/>
                  <a:pt x="972" y="375"/>
                  <a:pt x="972" y="376"/>
                </a:cubicBezTo>
                <a:cubicBezTo>
                  <a:pt x="971" y="376"/>
                  <a:pt x="972" y="376"/>
                  <a:pt x="972" y="376"/>
                </a:cubicBezTo>
                <a:close/>
                <a:moveTo>
                  <a:pt x="923" y="367"/>
                </a:moveTo>
                <a:cubicBezTo>
                  <a:pt x="923" y="367"/>
                  <a:pt x="923" y="369"/>
                  <a:pt x="924" y="368"/>
                </a:cubicBezTo>
                <a:cubicBezTo>
                  <a:pt x="925" y="368"/>
                  <a:pt x="924" y="367"/>
                  <a:pt x="923" y="367"/>
                </a:cubicBezTo>
                <a:close/>
                <a:moveTo>
                  <a:pt x="943" y="366"/>
                </a:moveTo>
                <a:cubicBezTo>
                  <a:pt x="943" y="365"/>
                  <a:pt x="942" y="365"/>
                  <a:pt x="942" y="366"/>
                </a:cubicBezTo>
                <a:cubicBezTo>
                  <a:pt x="942" y="366"/>
                  <a:pt x="942" y="366"/>
                  <a:pt x="943" y="366"/>
                </a:cubicBezTo>
                <a:close/>
                <a:moveTo>
                  <a:pt x="948" y="366"/>
                </a:moveTo>
                <a:cubicBezTo>
                  <a:pt x="948" y="365"/>
                  <a:pt x="948" y="366"/>
                  <a:pt x="947" y="366"/>
                </a:cubicBezTo>
                <a:cubicBezTo>
                  <a:pt x="947" y="366"/>
                  <a:pt x="947" y="366"/>
                  <a:pt x="948" y="366"/>
                </a:cubicBezTo>
                <a:cubicBezTo>
                  <a:pt x="948" y="365"/>
                  <a:pt x="948" y="366"/>
                  <a:pt x="948" y="366"/>
                </a:cubicBezTo>
                <a:close/>
                <a:moveTo>
                  <a:pt x="943" y="366"/>
                </a:moveTo>
                <a:cubicBezTo>
                  <a:pt x="945" y="366"/>
                  <a:pt x="943" y="365"/>
                  <a:pt x="943" y="366"/>
                </a:cubicBezTo>
                <a:close/>
                <a:moveTo>
                  <a:pt x="1415" y="365"/>
                </a:moveTo>
                <a:cubicBezTo>
                  <a:pt x="1415" y="365"/>
                  <a:pt x="1415" y="367"/>
                  <a:pt x="1416" y="366"/>
                </a:cubicBezTo>
                <a:cubicBezTo>
                  <a:pt x="1417" y="366"/>
                  <a:pt x="1416" y="365"/>
                  <a:pt x="1415" y="365"/>
                </a:cubicBezTo>
                <a:close/>
                <a:moveTo>
                  <a:pt x="942" y="361"/>
                </a:moveTo>
                <a:cubicBezTo>
                  <a:pt x="945" y="361"/>
                  <a:pt x="942" y="360"/>
                  <a:pt x="942" y="361"/>
                </a:cubicBezTo>
                <a:close/>
                <a:moveTo>
                  <a:pt x="458" y="358"/>
                </a:moveTo>
                <a:cubicBezTo>
                  <a:pt x="457" y="358"/>
                  <a:pt x="457" y="359"/>
                  <a:pt x="457" y="359"/>
                </a:cubicBezTo>
                <a:cubicBezTo>
                  <a:pt x="458" y="359"/>
                  <a:pt x="458" y="358"/>
                  <a:pt x="458" y="358"/>
                </a:cubicBezTo>
                <a:close/>
                <a:moveTo>
                  <a:pt x="878" y="358"/>
                </a:moveTo>
                <a:cubicBezTo>
                  <a:pt x="877" y="357"/>
                  <a:pt x="877" y="357"/>
                  <a:pt x="876" y="358"/>
                </a:cubicBezTo>
                <a:cubicBezTo>
                  <a:pt x="876" y="358"/>
                  <a:pt x="876" y="359"/>
                  <a:pt x="876" y="360"/>
                </a:cubicBezTo>
                <a:cubicBezTo>
                  <a:pt x="876" y="360"/>
                  <a:pt x="877" y="360"/>
                  <a:pt x="877" y="360"/>
                </a:cubicBezTo>
                <a:cubicBezTo>
                  <a:pt x="878" y="360"/>
                  <a:pt x="878" y="361"/>
                  <a:pt x="878" y="361"/>
                </a:cubicBezTo>
                <a:cubicBezTo>
                  <a:pt x="878" y="361"/>
                  <a:pt x="879" y="361"/>
                  <a:pt x="879" y="361"/>
                </a:cubicBezTo>
                <a:cubicBezTo>
                  <a:pt x="880" y="362"/>
                  <a:pt x="881" y="362"/>
                  <a:pt x="881" y="363"/>
                </a:cubicBezTo>
                <a:cubicBezTo>
                  <a:pt x="881" y="363"/>
                  <a:pt x="882" y="363"/>
                  <a:pt x="883" y="363"/>
                </a:cubicBezTo>
                <a:cubicBezTo>
                  <a:pt x="883" y="363"/>
                  <a:pt x="883" y="364"/>
                  <a:pt x="884" y="364"/>
                </a:cubicBezTo>
                <a:cubicBezTo>
                  <a:pt x="884" y="364"/>
                  <a:pt x="884" y="364"/>
                  <a:pt x="884" y="364"/>
                </a:cubicBezTo>
                <a:cubicBezTo>
                  <a:pt x="885" y="365"/>
                  <a:pt x="885" y="365"/>
                  <a:pt x="886" y="366"/>
                </a:cubicBezTo>
                <a:cubicBezTo>
                  <a:pt x="886" y="366"/>
                  <a:pt x="888" y="366"/>
                  <a:pt x="888" y="365"/>
                </a:cubicBezTo>
                <a:cubicBezTo>
                  <a:pt x="888" y="365"/>
                  <a:pt x="888" y="365"/>
                  <a:pt x="888" y="364"/>
                </a:cubicBezTo>
                <a:cubicBezTo>
                  <a:pt x="888" y="364"/>
                  <a:pt x="887" y="364"/>
                  <a:pt x="887" y="364"/>
                </a:cubicBezTo>
                <a:cubicBezTo>
                  <a:pt x="889" y="363"/>
                  <a:pt x="888" y="363"/>
                  <a:pt x="889" y="362"/>
                </a:cubicBezTo>
                <a:cubicBezTo>
                  <a:pt x="889" y="362"/>
                  <a:pt x="889" y="362"/>
                  <a:pt x="889" y="362"/>
                </a:cubicBezTo>
                <a:cubicBezTo>
                  <a:pt x="889" y="361"/>
                  <a:pt x="889" y="361"/>
                  <a:pt x="889" y="361"/>
                </a:cubicBezTo>
                <a:cubicBezTo>
                  <a:pt x="889" y="360"/>
                  <a:pt x="888" y="360"/>
                  <a:pt x="888" y="359"/>
                </a:cubicBezTo>
                <a:cubicBezTo>
                  <a:pt x="889" y="359"/>
                  <a:pt x="889" y="358"/>
                  <a:pt x="889" y="357"/>
                </a:cubicBezTo>
                <a:cubicBezTo>
                  <a:pt x="888" y="357"/>
                  <a:pt x="888" y="357"/>
                  <a:pt x="887" y="358"/>
                </a:cubicBezTo>
                <a:cubicBezTo>
                  <a:pt x="886" y="358"/>
                  <a:pt x="885" y="358"/>
                  <a:pt x="883" y="358"/>
                </a:cubicBezTo>
                <a:cubicBezTo>
                  <a:pt x="882" y="359"/>
                  <a:pt x="881" y="359"/>
                  <a:pt x="881" y="358"/>
                </a:cubicBezTo>
                <a:cubicBezTo>
                  <a:pt x="880" y="358"/>
                  <a:pt x="880" y="358"/>
                  <a:pt x="880" y="358"/>
                </a:cubicBezTo>
                <a:cubicBezTo>
                  <a:pt x="879" y="358"/>
                  <a:pt x="878" y="358"/>
                  <a:pt x="878" y="358"/>
                </a:cubicBezTo>
                <a:cubicBezTo>
                  <a:pt x="877" y="358"/>
                  <a:pt x="878" y="358"/>
                  <a:pt x="878" y="358"/>
                </a:cubicBezTo>
                <a:close/>
                <a:moveTo>
                  <a:pt x="915" y="358"/>
                </a:moveTo>
                <a:cubicBezTo>
                  <a:pt x="915" y="358"/>
                  <a:pt x="916" y="358"/>
                  <a:pt x="916" y="358"/>
                </a:cubicBezTo>
                <a:cubicBezTo>
                  <a:pt x="917" y="357"/>
                  <a:pt x="915" y="357"/>
                  <a:pt x="914" y="357"/>
                </a:cubicBezTo>
                <a:cubicBezTo>
                  <a:pt x="914" y="357"/>
                  <a:pt x="914" y="357"/>
                  <a:pt x="914" y="358"/>
                </a:cubicBezTo>
                <a:cubicBezTo>
                  <a:pt x="915" y="357"/>
                  <a:pt x="915" y="357"/>
                  <a:pt x="915" y="358"/>
                </a:cubicBezTo>
                <a:cubicBezTo>
                  <a:pt x="916" y="358"/>
                  <a:pt x="915" y="358"/>
                  <a:pt x="915" y="358"/>
                </a:cubicBezTo>
                <a:close/>
                <a:moveTo>
                  <a:pt x="941" y="356"/>
                </a:moveTo>
                <a:cubicBezTo>
                  <a:pt x="941" y="356"/>
                  <a:pt x="941" y="357"/>
                  <a:pt x="942" y="357"/>
                </a:cubicBezTo>
                <a:cubicBezTo>
                  <a:pt x="941" y="356"/>
                  <a:pt x="941" y="355"/>
                  <a:pt x="941" y="356"/>
                </a:cubicBezTo>
                <a:close/>
                <a:moveTo>
                  <a:pt x="944" y="351"/>
                </a:moveTo>
                <a:cubicBezTo>
                  <a:pt x="943" y="351"/>
                  <a:pt x="943" y="350"/>
                  <a:pt x="943" y="350"/>
                </a:cubicBezTo>
                <a:cubicBezTo>
                  <a:pt x="942" y="350"/>
                  <a:pt x="941" y="350"/>
                  <a:pt x="941" y="351"/>
                </a:cubicBezTo>
                <a:cubicBezTo>
                  <a:pt x="941" y="351"/>
                  <a:pt x="942" y="351"/>
                  <a:pt x="942" y="351"/>
                </a:cubicBezTo>
                <a:cubicBezTo>
                  <a:pt x="943" y="351"/>
                  <a:pt x="942" y="352"/>
                  <a:pt x="942" y="352"/>
                </a:cubicBezTo>
                <a:cubicBezTo>
                  <a:pt x="943" y="353"/>
                  <a:pt x="944" y="352"/>
                  <a:pt x="944" y="351"/>
                </a:cubicBezTo>
                <a:close/>
                <a:moveTo>
                  <a:pt x="823" y="350"/>
                </a:moveTo>
                <a:cubicBezTo>
                  <a:pt x="824" y="350"/>
                  <a:pt x="825" y="349"/>
                  <a:pt x="825" y="348"/>
                </a:cubicBezTo>
                <a:cubicBezTo>
                  <a:pt x="824" y="348"/>
                  <a:pt x="823" y="349"/>
                  <a:pt x="823" y="350"/>
                </a:cubicBezTo>
                <a:cubicBezTo>
                  <a:pt x="823" y="350"/>
                  <a:pt x="823" y="350"/>
                  <a:pt x="823" y="350"/>
                </a:cubicBezTo>
                <a:cubicBezTo>
                  <a:pt x="824" y="350"/>
                  <a:pt x="823" y="350"/>
                  <a:pt x="823" y="350"/>
                </a:cubicBezTo>
                <a:close/>
                <a:moveTo>
                  <a:pt x="1069" y="348"/>
                </a:moveTo>
                <a:cubicBezTo>
                  <a:pt x="1069" y="347"/>
                  <a:pt x="1068" y="349"/>
                  <a:pt x="1068" y="349"/>
                </a:cubicBezTo>
                <a:cubicBezTo>
                  <a:pt x="1069" y="349"/>
                  <a:pt x="1070" y="349"/>
                  <a:pt x="1069" y="348"/>
                </a:cubicBezTo>
                <a:close/>
                <a:moveTo>
                  <a:pt x="912" y="347"/>
                </a:moveTo>
                <a:cubicBezTo>
                  <a:pt x="912" y="348"/>
                  <a:pt x="912" y="348"/>
                  <a:pt x="912" y="348"/>
                </a:cubicBezTo>
                <a:cubicBezTo>
                  <a:pt x="912" y="348"/>
                  <a:pt x="913" y="348"/>
                  <a:pt x="913" y="348"/>
                </a:cubicBezTo>
                <a:cubicBezTo>
                  <a:pt x="913" y="348"/>
                  <a:pt x="912" y="348"/>
                  <a:pt x="912" y="348"/>
                </a:cubicBezTo>
                <a:cubicBezTo>
                  <a:pt x="912" y="347"/>
                  <a:pt x="912" y="347"/>
                  <a:pt x="912" y="347"/>
                </a:cubicBezTo>
                <a:close/>
                <a:moveTo>
                  <a:pt x="842" y="344"/>
                </a:moveTo>
                <a:cubicBezTo>
                  <a:pt x="841" y="344"/>
                  <a:pt x="840" y="344"/>
                  <a:pt x="840" y="345"/>
                </a:cubicBezTo>
                <a:cubicBezTo>
                  <a:pt x="840" y="346"/>
                  <a:pt x="841" y="346"/>
                  <a:pt x="842" y="346"/>
                </a:cubicBezTo>
                <a:cubicBezTo>
                  <a:pt x="842" y="346"/>
                  <a:pt x="842" y="345"/>
                  <a:pt x="842" y="344"/>
                </a:cubicBezTo>
                <a:cubicBezTo>
                  <a:pt x="840" y="344"/>
                  <a:pt x="842" y="344"/>
                  <a:pt x="842" y="344"/>
                </a:cubicBezTo>
                <a:close/>
                <a:moveTo>
                  <a:pt x="832" y="349"/>
                </a:moveTo>
                <a:cubicBezTo>
                  <a:pt x="833" y="349"/>
                  <a:pt x="833" y="349"/>
                  <a:pt x="833" y="348"/>
                </a:cubicBezTo>
                <a:cubicBezTo>
                  <a:pt x="834" y="348"/>
                  <a:pt x="836" y="347"/>
                  <a:pt x="835" y="346"/>
                </a:cubicBezTo>
                <a:cubicBezTo>
                  <a:pt x="835" y="346"/>
                  <a:pt x="834" y="346"/>
                  <a:pt x="834" y="346"/>
                </a:cubicBezTo>
                <a:cubicBezTo>
                  <a:pt x="834" y="345"/>
                  <a:pt x="834" y="345"/>
                  <a:pt x="833" y="344"/>
                </a:cubicBezTo>
                <a:cubicBezTo>
                  <a:pt x="833" y="345"/>
                  <a:pt x="832" y="345"/>
                  <a:pt x="832" y="345"/>
                </a:cubicBezTo>
                <a:cubicBezTo>
                  <a:pt x="832" y="345"/>
                  <a:pt x="832" y="345"/>
                  <a:pt x="832" y="345"/>
                </a:cubicBezTo>
                <a:cubicBezTo>
                  <a:pt x="832" y="346"/>
                  <a:pt x="832" y="346"/>
                  <a:pt x="832" y="347"/>
                </a:cubicBezTo>
                <a:cubicBezTo>
                  <a:pt x="831" y="347"/>
                  <a:pt x="832" y="348"/>
                  <a:pt x="832" y="349"/>
                </a:cubicBezTo>
                <a:close/>
                <a:moveTo>
                  <a:pt x="856" y="342"/>
                </a:moveTo>
                <a:cubicBezTo>
                  <a:pt x="858" y="343"/>
                  <a:pt x="857" y="347"/>
                  <a:pt x="857" y="349"/>
                </a:cubicBezTo>
                <a:cubicBezTo>
                  <a:pt x="858" y="349"/>
                  <a:pt x="858" y="349"/>
                  <a:pt x="858" y="350"/>
                </a:cubicBezTo>
                <a:cubicBezTo>
                  <a:pt x="858" y="351"/>
                  <a:pt x="858" y="350"/>
                  <a:pt x="858" y="350"/>
                </a:cubicBezTo>
                <a:cubicBezTo>
                  <a:pt x="858" y="351"/>
                  <a:pt x="858" y="351"/>
                  <a:pt x="859" y="351"/>
                </a:cubicBezTo>
                <a:cubicBezTo>
                  <a:pt x="860" y="351"/>
                  <a:pt x="860" y="351"/>
                  <a:pt x="860" y="352"/>
                </a:cubicBezTo>
                <a:cubicBezTo>
                  <a:pt x="860" y="352"/>
                  <a:pt x="861" y="352"/>
                  <a:pt x="861" y="351"/>
                </a:cubicBezTo>
                <a:cubicBezTo>
                  <a:pt x="861" y="351"/>
                  <a:pt x="861" y="351"/>
                  <a:pt x="862" y="351"/>
                </a:cubicBezTo>
                <a:cubicBezTo>
                  <a:pt x="862" y="351"/>
                  <a:pt x="863" y="349"/>
                  <a:pt x="863" y="349"/>
                </a:cubicBezTo>
                <a:cubicBezTo>
                  <a:pt x="863" y="347"/>
                  <a:pt x="863" y="346"/>
                  <a:pt x="863" y="345"/>
                </a:cubicBezTo>
                <a:cubicBezTo>
                  <a:pt x="863" y="344"/>
                  <a:pt x="864" y="343"/>
                  <a:pt x="864" y="341"/>
                </a:cubicBezTo>
                <a:cubicBezTo>
                  <a:pt x="864" y="340"/>
                  <a:pt x="862" y="340"/>
                  <a:pt x="862" y="339"/>
                </a:cubicBezTo>
                <a:cubicBezTo>
                  <a:pt x="862" y="339"/>
                  <a:pt x="862" y="338"/>
                  <a:pt x="862" y="338"/>
                </a:cubicBezTo>
                <a:cubicBezTo>
                  <a:pt x="862" y="338"/>
                  <a:pt x="861" y="337"/>
                  <a:pt x="861" y="337"/>
                </a:cubicBezTo>
                <a:cubicBezTo>
                  <a:pt x="860" y="338"/>
                  <a:pt x="860" y="338"/>
                  <a:pt x="860" y="338"/>
                </a:cubicBezTo>
                <a:cubicBezTo>
                  <a:pt x="859" y="339"/>
                  <a:pt x="859" y="338"/>
                  <a:pt x="859" y="339"/>
                </a:cubicBezTo>
                <a:cubicBezTo>
                  <a:pt x="858" y="340"/>
                  <a:pt x="858" y="339"/>
                  <a:pt x="857" y="340"/>
                </a:cubicBezTo>
                <a:cubicBezTo>
                  <a:pt x="857" y="340"/>
                  <a:pt x="857" y="340"/>
                  <a:pt x="856" y="340"/>
                </a:cubicBezTo>
                <a:cubicBezTo>
                  <a:pt x="856" y="341"/>
                  <a:pt x="856" y="341"/>
                  <a:pt x="856" y="341"/>
                </a:cubicBezTo>
                <a:cubicBezTo>
                  <a:pt x="856" y="342"/>
                  <a:pt x="856" y="341"/>
                  <a:pt x="856" y="342"/>
                </a:cubicBezTo>
                <a:cubicBezTo>
                  <a:pt x="856" y="342"/>
                  <a:pt x="856" y="342"/>
                  <a:pt x="856" y="342"/>
                </a:cubicBezTo>
                <a:close/>
                <a:moveTo>
                  <a:pt x="1449" y="376"/>
                </a:moveTo>
                <a:cubicBezTo>
                  <a:pt x="1449" y="377"/>
                  <a:pt x="1449" y="377"/>
                  <a:pt x="1449" y="377"/>
                </a:cubicBezTo>
                <a:cubicBezTo>
                  <a:pt x="1449" y="377"/>
                  <a:pt x="1449" y="378"/>
                  <a:pt x="1449" y="378"/>
                </a:cubicBezTo>
                <a:cubicBezTo>
                  <a:pt x="1449" y="378"/>
                  <a:pt x="1448" y="378"/>
                  <a:pt x="1448" y="378"/>
                </a:cubicBezTo>
                <a:cubicBezTo>
                  <a:pt x="1448" y="378"/>
                  <a:pt x="1448" y="378"/>
                  <a:pt x="1448" y="378"/>
                </a:cubicBezTo>
                <a:cubicBezTo>
                  <a:pt x="1448" y="378"/>
                  <a:pt x="1448" y="377"/>
                  <a:pt x="1448" y="377"/>
                </a:cubicBezTo>
                <a:cubicBezTo>
                  <a:pt x="1448" y="376"/>
                  <a:pt x="1448" y="377"/>
                  <a:pt x="1448" y="377"/>
                </a:cubicBezTo>
                <a:cubicBezTo>
                  <a:pt x="1448" y="376"/>
                  <a:pt x="1448" y="376"/>
                  <a:pt x="1448" y="376"/>
                </a:cubicBezTo>
                <a:cubicBezTo>
                  <a:pt x="1448" y="376"/>
                  <a:pt x="1449" y="376"/>
                  <a:pt x="1449" y="376"/>
                </a:cubicBezTo>
                <a:cubicBezTo>
                  <a:pt x="1449" y="377"/>
                  <a:pt x="1449" y="376"/>
                  <a:pt x="1449" y="376"/>
                </a:cubicBezTo>
                <a:close/>
                <a:moveTo>
                  <a:pt x="1446" y="375"/>
                </a:moveTo>
                <a:cubicBezTo>
                  <a:pt x="1446" y="376"/>
                  <a:pt x="1446" y="376"/>
                  <a:pt x="1445" y="377"/>
                </a:cubicBezTo>
                <a:cubicBezTo>
                  <a:pt x="1444" y="377"/>
                  <a:pt x="1443" y="378"/>
                  <a:pt x="1443" y="379"/>
                </a:cubicBezTo>
                <a:cubicBezTo>
                  <a:pt x="1442" y="380"/>
                  <a:pt x="1441" y="380"/>
                  <a:pt x="1440" y="380"/>
                </a:cubicBezTo>
                <a:cubicBezTo>
                  <a:pt x="1439" y="381"/>
                  <a:pt x="1438" y="381"/>
                  <a:pt x="1438" y="380"/>
                </a:cubicBezTo>
                <a:cubicBezTo>
                  <a:pt x="1437" y="379"/>
                  <a:pt x="1437" y="381"/>
                  <a:pt x="1437" y="381"/>
                </a:cubicBezTo>
                <a:cubicBezTo>
                  <a:pt x="1437" y="382"/>
                  <a:pt x="1437" y="382"/>
                  <a:pt x="1438" y="382"/>
                </a:cubicBezTo>
                <a:cubicBezTo>
                  <a:pt x="1439" y="382"/>
                  <a:pt x="1440" y="382"/>
                  <a:pt x="1441" y="382"/>
                </a:cubicBezTo>
                <a:cubicBezTo>
                  <a:pt x="1442" y="382"/>
                  <a:pt x="1442" y="382"/>
                  <a:pt x="1443" y="383"/>
                </a:cubicBezTo>
                <a:cubicBezTo>
                  <a:pt x="1444" y="383"/>
                  <a:pt x="1444" y="381"/>
                  <a:pt x="1444" y="381"/>
                </a:cubicBezTo>
                <a:cubicBezTo>
                  <a:pt x="1445" y="380"/>
                  <a:pt x="1446" y="381"/>
                  <a:pt x="1447" y="381"/>
                </a:cubicBezTo>
                <a:cubicBezTo>
                  <a:pt x="1446" y="381"/>
                  <a:pt x="1448" y="380"/>
                  <a:pt x="1448" y="380"/>
                </a:cubicBezTo>
                <a:cubicBezTo>
                  <a:pt x="1449" y="380"/>
                  <a:pt x="1449" y="381"/>
                  <a:pt x="1449" y="380"/>
                </a:cubicBezTo>
                <a:cubicBezTo>
                  <a:pt x="1449" y="380"/>
                  <a:pt x="1449" y="380"/>
                  <a:pt x="1450" y="380"/>
                </a:cubicBezTo>
                <a:cubicBezTo>
                  <a:pt x="1450" y="380"/>
                  <a:pt x="1451" y="380"/>
                  <a:pt x="1451" y="379"/>
                </a:cubicBezTo>
                <a:cubicBezTo>
                  <a:pt x="1451" y="379"/>
                  <a:pt x="1452" y="380"/>
                  <a:pt x="1452" y="380"/>
                </a:cubicBezTo>
                <a:cubicBezTo>
                  <a:pt x="1452" y="379"/>
                  <a:pt x="1454" y="380"/>
                  <a:pt x="1454" y="379"/>
                </a:cubicBezTo>
                <a:cubicBezTo>
                  <a:pt x="1454" y="379"/>
                  <a:pt x="1455" y="379"/>
                  <a:pt x="1456" y="379"/>
                </a:cubicBezTo>
                <a:cubicBezTo>
                  <a:pt x="1456" y="379"/>
                  <a:pt x="1457" y="379"/>
                  <a:pt x="1458" y="379"/>
                </a:cubicBezTo>
                <a:cubicBezTo>
                  <a:pt x="1457" y="380"/>
                  <a:pt x="1456" y="381"/>
                  <a:pt x="1456" y="381"/>
                </a:cubicBezTo>
                <a:cubicBezTo>
                  <a:pt x="1456" y="382"/>
                  <a:pt x="1456" y="382"/>
                  <a:pt x="1456" y="383"/>
                </a:cubicBezTo>
                <a:cubicBezTo>
                  <a:pt x="1456" y="383"/>
                  <a:pt x="1456" y="383"/>
                  <a:pt x="1456" y="383"/>
                </a:cubicBezTo>
                <a:cubicBezTo>
                  <a:pt x="1456" y="383"/>
                  <a:pt x="1456" y="383"/>
                  <a:pt x="1456" y="384"/>
                </a:cubicBezTo>
                <a:cubicBezTo>
                  <a:pt x="1456" y="384"/>
                  <a:pt x="1457" y="384"/>
                  <a:pt x="1457" y="385"/>
                </a:cubicBezTo>
                <a:cubicBezTo>
                  <a:pt x="1457" y="386"/>
                  <a:pt x="1458" y="386"/>
                  <a:pt x="1458" y="386"/>
                </a:cubicBezTo>
                <a:cubicBezTo>
                  <a:pt x="1459" y="386"/>
                  <a:pt x="1461" y="385"/>
                  <a:pt x="1462" y="384"/>
                </a:cubicBezTo>
                <a:cubicBezTo>
                  <a:pt x="1462" y="383"/>
                  <a:pt x="1462" y="383"/>
                  <a:pt x="1463" y="383"/>
                </a:cubicBezTo>
                <a:cubicBezTo>
                  <a:pt x="1463" y="382"/>
                  <a:pt x="1464" y="382"/>
                  <a:pt x="1464" y="382"/>
                </a:cubicBezTo>
                <a:cubicBezTo>
                  <a:pt x="1464" y="381"/>
                  <a:pt x="1464" y="381"/>
                  <a:pt x="1463" y="380"/>
                </a:cubicBezTo>
                <a:cubicBezTo>
                  <a:pt x="1463" y="380"/>
                  <a:pt x="1464" y="379"/>
                  <a:pt x="1464" y="379"/>
                </a:cubicBezTo>
                <a:cubicBezTo>
                  <a:pt x="1464" y="379"/>
                  <a:pt x="1465" y="379"/>
                  <a:pt x="1465" y="379"/>
                </a:cubicBezTo>
                <a:cubicBezTo>
                  <a:pt x="1466" y="379"/>
                  <a:pt x="1467" y="379"/>
                  <a:pt x="1467" y="379"/>
                </a:cubicBezTo>
                <a:cubicBezTo>
                  <a:pt x="1467" y="380"/>
                  <a:pt x="1467" y="380"/>
                  <a:pt x="1466" y="380"/>
                </a:cubicBezTo>
                <a:cubicBezTo>
                  <a:pt x="1467" y="381"/>
                  <a:pt x="1468" y="381"/>
                  <a:pt x="1468" y="380"/>
                </a:cubicBezTo>
                <a:cubicBezTo>
                  <a:pt x="1469" y="380"/>
                  <a:pt x="1469" y="379"/>
                  <a:pt x="1470" y="380"/>
                </a:cubicBezTo>
                <a:cubicBezTo>
                  <a:pt x="1470" y="380"/>
                  <a:pt x="1472" y="380"/>
                  <a:pt x="1472" y="379"/>
                </a:cubicBezTo>
                <a:cubicBezTo>
                  <a:pt x="1472" y="379"/>
                  <a:pt x="1474" y="378"/>
                  <a:pt x="1475" y="378"/>
                </a:cubicBezTo>
                <a:cubicBezTo>
                  <a:pt x="1475" y="379"/>
                  <a:pt x="1475" y="380"/>
                  <a:pt x="1475" y="380"/>
                </a:cubicBezTo>
                <a:cubicBezTo>
                  <a:pt x="1475" y="380"/>
                  <a:pt x="1475" y="380"/>
                  <a:pt x="1475" y="381"/>
                </a:cubicBezTo>
                <a:cubicBezTo>
                  <a:pt x="1476" y="381"/>
                  <a:pt x="1476" y="380"/>
                  <a:pt x="1476" y="380"/>
                </a:cubicBezTo>
                <a:cubicBezTo>
                  <a:pt x="1477" y="379"/>
                  <a:pt x="1476" y="377"/>
                  <a:pt x="1477" y="377"/>
                </a:cubicBezTo>
                <a:cubicBezTo>
                  <a:pt x="1478" y="377"/>
                  <a:pt x="1479" y="378"/>
                  <a:pt x="1479" y="376"/>
                </a:cubicBezTo>
                <a:cubicBezTo>
                  <a:pt x="1479" y="376"/>
                  <a:pt x="1479" y="375"/>
                  <a:pt x="1479" y="375"/>
                </a:cubicBezTo>
                <a:cubicBezTo>
                  <a:pt x="1479" y="375"/>
                  <a:pt x="1479" y="375"/>
                  <a:pt x="1479" y="375"/>
                </a:cubicBezTo>
                <a:cubicBezTo>
                  <a:pt x="1479" y="374"/>
                  <a:pt x="1479" y="374"/>
                  <a:pt x="1479" y="374"/>
                </a:cubicBezTo>
                <a:cubicBezTo>
                  <a:pt x="1479" y="373"/>
                  <a:pt x="1480" y="373"/>
                  <a:pt x="1481" y="372"/>
                </a:cubicBezTo>
                <a:cubicBezTo>
                  <a:pt x="1481" y="373"/>
                  <a:pt x="1481" y="373"/>
                  <a:pt x="1481" y="373"/>
                </a:cubicBezTo>
                <a:cubicBezTo>
                  <a:pt x="1481" y="373"/>
                  <a:pt x="1481" y="375"/>
                  <a:pt x="1480" y="375"/>
                </a:cubicBezTo>
                <a:cubicBezTo>
                  <a:pt x="1479" y="375"/>
                  <a:pt x="1480" y="377"/>
                  <a:pt x="1480" y="378"/>
                </a:cubicBezTo>
                <a:cubicBezTo>
                  <a:pt x="1482" y="378"/>
                  <a:pt x="1482" y="376"/>
                  <a:pt x="1483" y="375"/>
                </a:cubicBezTo>
                <a:cubicBezTo>
                  <a:pt x="1483" y="374"/>
                  <a:pt x="1485" y="373"/>
                  <a:pt x="1484" y="372"/>
                </a:cubicBezTo>
                <a:cubicBezTo>
                  <a:pt x="1482" y="371"/>
                  <a:pt x="1480" y="371"/>
                  <a:pt x="1483" y="371"/>
                </a:cubicBezTo>
                <a:cubicBezTo>
                  <a:pt x="1483" y="370"/>
                  <a:pt x="1483" y="370"/>
                  <a:pt x="1483" y="369"/>
                </a:cubicBezTo>
                <a:cubicBezTo>
                  <a:pt x="1483" y="369"/>
                  <a:pt x="1483" y="369"/>
                  <a:pt x="1483" y="369"/>
                </a:cubicBezTo>
                <a:cubicBezTo>
                  <a:pt x="1483" y="368"/>
                  <a:pt x="1483" y="368"/>
                  <a:pt x="1483" y="368"/>
                </a:cubicBezTo>
                <a:cubicBezTo>
                  <a:pt x="1483" y="367"/>
                  <a:pt x="1482" y="367"/>
                  <a:pt x="1482" y="367"/>
                </a:cubicBezTo>
                <a:cubicBezTo>
                  <a:pt x="1482" y="367"/>
                  <a:pt x="1483" y="367"/>
                  <a:pt x="1483" y="366"/>
                </a:cubicBezTo>
                <a:cubicBezTo>
                  <a:pt x="1483" y="366"/>
                  <a:pt x="1483" y="366"/>
                  <a:pt x="1483" y="366"/>
                </a:cubicBezTo>
                <a:cubicBezTo>
                  <a:pt x="1483" y="365"/>
                  <a:pt x="1483" y="364"/>
                  <a:pt x="1484" y="364"/>
                </a:cubicBezTo>
                <a:cubicBezTo>
                  <a:pt x="1484" y="364"/>
                  <a:pt x="1483" y="362"/>
                  <a:pt x="1484" y="362"/>
                </a:cubicBezTo>
                <a:cubicBezTo>
                  <a:pt x="1484" y="362"/>
                  <a:pt x="1484" y="361"/>
                  <a:pt x="1484" y="360"/>
                </a:cubicBezTo>
                <a:cubicBezTo>
                  <a:pt x="1484" y="359"/>
                  <a:pt x="1484" y="357"/>
                  <a:pt x="1484" y="356"/>
                </a:cubicBezTo>
                <a:cubicBezTo>
                  <a:pt x="1484" y="355"/>
                  <a:pt x="1484" y="355"/>
                  <a:pt x="1485" y="355"/>
                </a:cubicBezTo>
                <a:cubicBezTo>
                  <a:pt x="1485" y="355"/>
                  <a:pt x="1486" y="355"/>
                  <a:pt x="1486" y="355"/>
                </a:cubicBezTo>
                <a:cubicBezTo>
                  <a:pt x="1487" y="354"/>
                  <a:pt x="1487" y="354"/>
                  <a:pt x="1486" y="353"/>
                </a:cubicBezTo>
                <a:cubicBezTo>
                  <a:pt x="1488" y="353"/>
                  <a:pt x="1487" y="352"/>
                  <a:pt x="1488" y="351"/>
                </a:cubicBezTo>
                <a:cubicBezTo>
                  <a:pt x="1488" y="351"/>
                  <a:pt x="1489" y="350"/>
                  <a:pt x="1489" y="350"/>
                </a:cubicBezTo>
                <a:cubicBezTo>
                  <a:pt x="1489" y="349"/>
                  <a:pt x="1489" y="344"/>
                  <a:pt x="1488" y="344"/>
                </a:cubicBezTo>
                <a:cubicBezTo>
                  <a:pt x="1488" y="344"/>
                  <a:pt x="1488" y="343"/>
                  <a:pt x="1488" y="342"/>
                </a:cubicBezTo>
                <a:cubicBezTo>
                  <a:pt x="1487" y="342"/>
                  <a:pt x="1487" y="342"/>
                  <a:pt x="1487" y="342"/>
                </a:cubicBezTo>
                <a:cubicBezTo>
                  <a:pt x="1487" y="342"/>
                  <a:pt x="1487" y="342"/>
                  <a:pt x="1487" y="341"/>
                </a:cubicBezTo>
                <a:cubicBezTo>
                  <a:pt x="1487" y="341"/>
                  <a:pt x="1486" y="340"/>
                  <a:pt x="1486" y="340"/>
                </a:cubicBezTo>
                <a:cubicBezTo>
                  <a:pt x="1486" y="339"/>
                  <a:pt x="1484" y="339"/>
                  <a:pt x="1484" y="339"/>
                </a:cubicBezTo>
                <a:cubicBezTo>
                  <a:pt x="1483" y="339"/>
                  <a:pt x="1484" y="339"/>
                  <a:pt x="1483" y="339"/>
                </a:cubicBezTo>
                <a:cubicBezTo>
                  <a:pt x="1484" y="338"/>
                  <a:pt x="1483" y="338"/>
                  <a:pt x="1483" y="337"/>
                </a:cubicBezTo>
                <a:cubicBezTo>
                  <a:pt x="1482" y="337"/>
                  <a:pt x="1482" y="337"/>
                  <a:pt x="1481" y="337"/>
                </a:cubicBezTo>
                <a:cubicBezTo>
                  <a:pt x="1482" y="339"/>
                  <a:pt x="1482" y="340"/>
                  <a:pt x="1481" y="341"/>
                </a:cubicBezTo>
                <a:cubicBezTo>
                  <a:pt x="1480" y="341"/>
                  <a:pt x="1481" y="341"/>
                  <a:pt x="1480" y="341"/>
                </a:cubicBezTo>
                <a:cubicBezTo>
                  <a:pt x="1479" y="341"/>
                  <a:pt x="1479" y="342"/>
                  <a:pt x="1479" y="342"/>
                </a:cubicBezTo>
                <a:cubicBezTo>
                  <a:pt x="1480" y="342"/>
                  <a:pt x="1480" y="345"/>
                  <a:pt x="1480" y="345"/>
                </a:cubicBezTo>
                <a:cubicBezTo>
                  <a:pt x="1479" y="346"/>
                  <a:pt x="1479" y="346"/>
                  <a:pt x="1478" y="347"/>
                </a:cubicBezTo>
                <a:cubicBezTo>
                  <a:pt x="1478" y="347"/>
                  <a:pt x="1478" y="347"/>
                  <a:pt x="1478" y="347"/>
                </a:cubicBezTo>
                <a:cubicBezTo>
                  <a:pt x="1479" y="347"/>
                  <a:pt x="1480" y="347"/>
                  <a:pt x="1480" y="347"/>
                </a:cubicBezTo>
                <a:cubicBezTo>
                  <a:pt x="1480" y="347"/>
                  <a:pt x="1481" y="349"/>
                  <a:pt x="1479" y="350"/>
                </a:cubicBezTo>
                <a:cubicBezTo>
                  <a:pt x="1479" y="350"/>
                  <a:pt x="1479" y="350"/>
                  <a:pt x="1479" y="350"/>
                </a:cubicBezTo>
                <a:cubicBezTo>
                  <a:pt x="1479" y="351"/>
                  <a:pt x="1479" y="350"/>
                  <a:pt x="1479" y="351"/>
                </a:cubicBezTo>
                <a:cubicBezTo>
                  <a:pt x="1479" y="351"/>
                  <a:pt x="1479" y="352"/>
                  <a:pt x="1478" y="353"/>
                </a:cubicBezTo>
                <a:cubicBezTo>
                  <a:pt x="1478" y="354"/>
                  <a:pt x="1478" y="354"/>
                  <a:pt x="1477" y="354"/>
                </a:cubicBezTo>
                <a:cubicBezTo>
                  <a:pt x="1477" y="354"/>
                  <a:pt x="1477" y="355"/>
                  <a:pt x="1477" y="355"/>
                </a:cubicBezTo>
                <a:cubicBezTo>
                  <a:pt x="1477" y="355"/>
                  <a:pt x="1477" y="355"/>
                  <a:pt x="1477" y="355"/>
                </a:cubicBezTo>
                <a:cubicBezTo>
                  <a:pt x="1477" y="356"/>
                  <a:pt x="1477" y="356"/>
                  <a:pt x="1477" y="356"/>
                </a:cubicBezTo>
                <a:cubicBezTo>
                  <a:pt x="1477" y="357"/>
                  <a:pt x="1474" y="358"/>
                  <a:pt x="1474" y="359"/>
                </a:cubicBezTo>
                <a:cubicBezTo>
                  <a:pt x="1474" y="360"/>
                  <a:pt x="1472" y="360"/>
                  <a:pt x="1472" y="361"/>
                </a:cubicBezTo>
                <a:cubicBezTo>
                  <a:pt x="1472" y="361"/>
                  <a:pt x="1472" y="361"/>
                  <a:pt x="1472" y="362"/>
                </a:cubicBezTo>
                <a:cubicBezTo>
                  <a:pt x="1472" y="362"/>
                  <a:pt x="1472" y="362"/>
                  <a:pt x="1471" y="362"/>
                </a:cubicBezTo>
                <a:cubicBezTo>
                  <a:pt x="1471" y="362"/>
                  <a:pt x="1472" y="363"/>
                  <a:pt x="1471" y="363"/>
                </a:cubicBezTo>
                <a:cubicBezTo>
                  <a:pt x="1471" y="363"/>
                  <a:pt x="1471" y="363"/>
                  <a:pt x="1470" y="364"/>
                </a:cubicBezTo>
                <a:cubicBezTo>
                  <a:pt x="1470" y="365"/>
                  <a:pt x="1470" y="364"/>
                  <a:pt x="1469" y="364"/>
                </a:cubicBezTo>
                <a:cubicBezTo>
                  <a:pt x="1469" y="364"/>
                  <a:pt x="1469" y="364"/>
                  <a:pt x="1468" y="365"/>
                </a:cubicBezTo>
                <a:cubicBezTo>
                  <a:pt x="1466" y="365"/>
                  <a:pt x="1468" y="365"/>
                  <a:pt x="1467" y="365"/>
                </a:cubicBezTo>
                <a:cubicBezTo>
                  <a:pt x="1467" y="365"/>
                  <a:pt x="1467" y="365"/>
                  <a:pt x="1467" y="365"/>
                </a:cubicBezTo>
                <a:cubicBezTo>
                  <a:pt x="1467" y="366"/>
                  <a:pt x="1467" y="366"/>
                  <a:pt x="1466" y="366"/>
                </a:cubicBezTo>
                <a:cubicBezTo>
                  <a:pt x="1465" y="367"/>
                  <a:pt x="1465" y="366"/>
                  <a:pt x="1464" y="366"/>
                </a:cubicBezTo>
                <a:cubicBezTo>
                  <a:pt x="1464" y="366"/>
                  <a:pt x="1464" y="366"/>
                  <a:pt x="1464" y="366"/>
                </a:cubicBezTo>
                <a:cubicBezTo>
                  <a:pt x="1464" y="365"/>
                  <a:pt x="1464" y="365"/>
                  <a:pt x="1464" y="365"/>
                </a:cubicBezTo>
                <a:cubicBezTo>
                  <a:pt x="1464" y="365"/>
                  <a:pt x="1464" y="365"/>
                  <a:pt x="1464" y="364"/>
                </a:cubicBezTo>
                <a:cubicBezTo>
                  <a:pt x="1464" y="364"/>
                  <a:pt x="1464" y="364"/>
                  <a:pt x="1464" y="364"/>
                </a:cubicBezTo>
                <a:cubicBezTo>
                  <a:pt x="1465" y="363"/>
                  <a:pt x="1466" y="362"/>
                  <a:pt x="1466" y="361"/>
                </a:cubicBezTo>
                <a:cubicBezTo>
                  <a:pt x="1466" y="361"/>
                  <a:pt x="1463" y="363"/>
                  <a:pt x="1463" y="364"/>
                </a:cubicBezTo>
                <a:cubicBezTo>
                  <a:pt x="1463" y="365"/>
                  <a:pt x="1463" y="366"/>
                  <a:pt x="1463" y="367"/>
                </a:cubicBezTo>
                <a:cubicBezTo>
                  <a:pt x="1463" y="367"/>
                  <a:pt x="1462" y="367"/>
                  <a:pt x="1462" y="367"/>
                </a:cubicBezTo>
                <a:cubicBezTo>
                  <a:pt x="1462" y="367"/>
                  <a:pt x="1462" y="368"/>
                  <a:pt x="1462" y="368"/>
                </a:cubicBezTo>
                <a:cubicBezTo>
                  <a:pt x="1461" y="368"/>
                  <a:pt x="1461" y="370"/>
                  <a:pt x="1461" y="370"/>
                </a:cubicBezTo>
                <a:cubicBezTo>
                  <a:pt x="1460" y="370"/>
                  <a:pt x="1460" y="371"/>
                  <a:pt x="1460" y="371"/>
                </a:cubicBezTo>
                <a:cubicBezTo>
                  <a:pt x="1460" y="371"/>
                  <a:pt x="1460" y="372"/>
                  <a:pt x="1460" y="372"/>
                </a:cubicBezTo>
                <a:cubicBezTo>
                  <a:pt x="1460" y="372"/>
                  <a:pt x="1461" y="372"/>
                  <a:pt x="1461" y="372"/>
                </a:cubicBezTo>
                <a:cubicBezTo>
                  <a:pt x="1461" y="373"/>
                  <a:pt x="1460" y="373"/>
                  <a:pt x="1459" y="374"/>
                </a:cubicBezTo>
                <a:cubicBezTo>
                  <a:pt x="1459" y="375"/>
                  <a:pt x="1459" y="375"/>
                  <a:pt x="1457" y="374"/>
                </a:cubicBezTo>
                <a:cubicBezTo>
                  <a:pt x="1457" y="374"/>
                  <a:pt x="1457" y="374"/>
                  <a:pt x="1456" y="374"/>
                </a:cubicBezTo>
                <a:cubicBezTo>
                  <a:pt x="1456" y="374"/>
                  <a:pt x="1456" y="373"/>
                  <a:pt x="1456" y="373"/>
                </a:cubicBezTo>
                <a:cubicBezTo>
                  <a:pt x="1456" y="373"/>
                  <a:pt x="1455" y="373"/>
                  <a:pt x="1454" y="373"/>
                </a:cubicBezTo>
                <a:cubicBezTo>
                  <a:pt x="1453" y="373"/>
                  <a:pt x="1453" y="375"/>
                  <a:pt x="1452" y="375"/>
                </a:cubicBezTo>
                <a:cubicBezTo>
                  <a:pt x="1452" y="375"/>
                  <a:pt x="1451" y="375"/>
                  <a:pt x="1451" y="375"/>
                </a:cubicBezTo>
                <a:cubicBezTo>
                  <a:pt x="1449" y="375"/>
                  <a:pt x="1449" y="376"/>
                  <a:pt x="1448" y="376"/>
                </a:cubicBezTo>
                <a:cubicBezTo>
                  <a:pt x="1448" y="375"/>
                  <a:pt x="1448" y="375"/>
                  <a:pt x="1448" y="374"/>
                </a:cubicBezTo>
                <a:cubicBezTo>
                  <a:pt x="1447" y="374"/>
                  <a:pt x="1447" y="375"/>
                  <a:pt x="1446" y="375"/>
                </a:cubicBezTo>
                <a:cubicBezTo>
                  <a:pt x="1446" y="377"/>
                  <a:pt x="1446" y="375"/>
                  <a:pt x="1446" y="375"/>
                </a:cubicBezTo>
                <a:close/>
                <a:moveTo>
                  <a:pt x="471" y="337"/>
                </a:moveTo>
                <a:cubicBezTo>
                  <a:pt x="471" y="337"/>
                  <a:pt x="471" y="337"/>
                  <a:pt x="471" y="337"/>
                </a:cubicBezTo>
                <a:cubicBezTo>
                  <a:pt x="470" y="337"/>
                  <a:pt x="470" y="337"/>
                  <a:pt x="470" y="337"/>
                </a:cubicBezTo>
                <a:cubicBezTo>
                  <a:pt x="470" y="338"/>
                  <a:pt x="469" y="337"/>
                  <a:pt x="469" y="337"/>
                </a:cubicBezTo>
                <a:cubicBezTo>
                  <a:pt x="469" y="338"/>
                  <a:pt x="469" y="338"/>
                  <a:pt x="468" y="338"/>
                </a:cubicBezTo>
                <a:cubicBezTo>
                  <a:pt x="468" y="338"/>
                  <a:pt x="467" y="338"/>
                  <a:pt x="467" y="339"/>
                </a:cubicBezTo>
                <a:cubicBezTo>
                  <a:pt x="467" y="340"/>
                  <a:pt x="468" y="340"/>
                  <a:pt x="469" y="340"/>
                </a:cubicBezTo>
                <a:cubicBezTo>
                  <a:pt x="470" y="340"/>
                  <a:pt x="472" y="338"/>
                  <a:pt x="473" y="339"/>
                </a:cubicBezTo>
                <a:cubicBezTo>
                  <a:pt x="474" y="339"/>
                  <a:pt x="475" y="339"/>
                  <a:pt x="475" y="337"/>
                </a:cubicBezTo>
                <a:cubicBezTo>
                  <a:pt x="476" y="337"/>
                  <a:pt x="476" y="337"/>
                  <a:pt x="476" y="337"/>
                </a:cubicBezTo>
                <a:cubicBezTo>
                  <a:pt x="475" y="337"/>
                  <a:pt x="474" y="337"/>
                  <a:pt x="473" y="337"/>
                </a:cubicBezTo>
                <a:cubicBezTo>
                  <a:pt x="473" y="336"/>
                  <a:pt x="471" y="337"/>
                  <a:pt x="471" y="337"/>
                </a:cubicBezTo>
                <a:close/>
                <a:moveTo>
                  <a:pt x="1485" y="337"/>
                </a:moveTo>
                <a:cubicBezTo>
                  <a:pt x="1486" y="337"/>
                  <a:pt x="1486" y="337"/>
                  <a:pt x="1487" y="337"/>
                </a:cubicBezTo>
                <a:cubicBezTo>
                  <a:pt x="1487" y="337"/>
                  <a:pt x="1487" y="336"/>
                  <a:pt x="1487" y="336"/>
                </a:cubicBezTo>
                <a:cubicBezTo>
                  <a:pt x="1486" y="336"/>
                  <a:pt x="1485" y="336"/>
                  <a:pt x="1485" y="337"/>
                </a:cubicBezTo>
                <a:cubicBezTo>
                  <a:pt x="1486" y="337"/>
                  <a:pt x="1485" y="337"/>
                  <a:pt x="1485" y="337"/>
                </a:cubicBezTo>
                <a:close/>
                <a:moveTo>
                  <a:pt x="486" y="331"/>
                </a:moveTo>
                <a:cubicBezTo>
                  <a:pt x="485" y="331"/>
                  <a:pt x="484" y="331"/>
                  <a:pt x="484" y="332"/>
                </a:cubicBezTo>
                <a:cubicBezTo>
                  <a:pt x="485" y="331"/>
                  <a:pt x="486" y="332"/>
                  <a:pt x="486" y="331"/>
                </a:cubicBezTo>
                <a:cubicBezTo>
                  <a:pt x="485" y="331"/>
                  <a:pt x="486" y="331"/>
                  <a:pt x="486" y="331"/>
                </a:cubicBezTo>
                <a:close/>
                <a:moveTo>
                  <a:pt x="860" y="336"/>
                </a:moveTo>
                <a:cubicBezTo>
                  <a:pt x="861" y="337"/>
                  <a:pt x="862" y="333"/>
                  <a:pt x="862" y="332"/>
                </a:cubicBezTo>
                <a:cubicBezTo>
                  <a:pt x="862" y="331"/>
                  <a:pt x="862" y="332"/>
                  <a:pt x="862" y="331"/>
                </a:cubicBezTo>
                <a:cubicBezTo>
                  <a:pt x="863" y="331"/>
                  <a:pt x="863" y="330"/>
                  <a:pt x="863" y="330"/>
                </a:cubicBezTo>
                <a:cubicBezTo>
                  <a:pt x="862" y="330"/>
                  <a:pt x="862" y="330"/>
                  <a:pt x="862" y="330"/>
                </a:cubicBezTo>
                <a:cubicBezTo>
                  <a:pt x="862" y="329"/>
                  <a:pt x="862" y="329"/>
                  <a:pt x="862" y="328"/>
                </a:cubicBezTo>
                <a:cubicBezTo>
                  <a:pt x="862" y="327"/>
                  <a:pt x="862" y="325"/>
                  <a:pt x="861" y="325"/>
                </a:cubicBezTo>
                <a:cubicBezTo>
                  <a:pt x="861" y="325"/>
                  <a:pt x="859" y="328"/>
                  <a:pt x="859" y="328"/>
                </a:cubicBezTo>
                <a:cubicBezTo>
                  <a:pt x="858" y="328"/>
                  <a:pt x="857" y="328"/>
                  <a:pt x="857" y="330"/>
                </a:cubicBezTo>
                <a:cubicBezTo>
                  <a:pt x="857" y="330"/>
                  <a:pt x="857" y="331"/>
                  <a:pt x="857" y="331"/>
                </a:cubicBezTo>
                <a:cubicBezTo>
                  <a:pt x="858" y="331"/>
                  <a:pt x="857" y="334"/>
                  <a:pt x="857" y="334"/>
                </a:cubicBezTo>
                <a:cubicBezTo>
                  <a:pt x="858" y="335"/>
                  <a:pt x="859" y="336"/>
                  <a:pt x="860" y="336"/>
                </a:cubicBezTo>
                <a:cubicBezTo>
                  <a:pt x="860" y="336"/>
                  <a:pt x="860" y="336"/>
                  <a:pt x="860" y="336"/>
                </a:cubicBezTo>
                <a:close/>
                <a:moveTo>
                  <a:pt x="1513" y="323"/>
                </a:moveTo>
                <a:cubicBezTo>
                  <a:pt x="1513" y="323"/>
                  <a:pt x="1513" y="323"/>
                  <a:pt x="1513" y="323"/>
                </a:cubicBezTo>
                <a:cubicBezTo>
                  <a:pt x="1514" y="322"/>
                  <a:pt x="1514" y="323"/>
                  <a:pt x="1514" y="322"/>
                </a:cubicBezTo>
                <a:cubicBezTo>
                  <a:pt x="1514" y="322"/>
                  <a:pt x="1513" y="322"/>
                  <a:pt x="1512" y="322"/>
                </a:cubicBezTo>
                <a:cubicBezTo>
                  <a:pt x="1513" y="322"/>
                  <a:pt x="1512" y="322"/>
                  <a:pt x="1513" y="323"/>
                </a:cubicBezTo>
                <a:close/>
                <a:moveTo>
                  <a:pt x="1507" y="323"/>
                </a:moveTo>
                <a:cubicBezTo>
                  <a:pt x="1509" y="322"/>
                  <a:pt x="1508" y="322"/>
                  <a:pt x="1509" y="321"/>
                </a:cubicBezTo>
                <a:cubicBezTo>
                  <a:pt x="1510" y="319"/>
                  <a:pt x="1511" y="320"/>
                  <a:pt x="1512" y="318"/>
                </a:cubicBezTo>
                <a:cubicBezTo>
                  <a:pt x="1510" y="318"/>
                  <a:pt x="1510" y="318"/>
                  <a:pt x="1509" y="319"/>
                </a:cubicBezTo>
                <a:cubicBezTo>
                  <a:pt x="1509" y="320"/>
                  <a:pt x="1508" y="321"/>
                  <a:pt x="1507" y="323"/>
                </a:cubicBezTo>
                <a:cubicBezTo>
                  <a:pt x="1509" y="322"/>
                  <a:pt x="1507" y="323"/>
                  <a:pt x="1507" y="323"/>
                </a:cubicBezTo>
                <a:close/>
                <a:moveTo>
                  <a:pt x="526" y="310"/>
                </a:moveTo>
                <a:cubicBezTo>
                  <a:pt x="526" y="310"/>
                  <a:pt x="525" y="310"/>
                  <a:pt x="525" y="311"/>
                </a:cubicBezTo>
                <a:cubicBezTo>
                  <a:pt x="526" y="311"/>
                  <a:pt x="526" y="311"/>
                  <a:pt x="526" y="310"/>
                </a:cubicBezTo>
                <a:close/>
                <a:moveTo>
                  <a:pt x="430" y="311"/>
                </a:moveTo>
                <a:cubicBezTo>
                  <a:pt x="430" y="310"/>
                  <a:pt x="429" y="310"/>
                  <a:pt x="429" y="310"/>
                </a:cubicBezTo>
                <a:cubicBezTo>
                  <a:pt x="429" y="311"/>
                  <a:pt x="429" y="311"/>
                  <a:pt x="430" y="312"/>
                </a:cubicBezTo>
                <a:cubicBezTo>
                  <a:pt x="430" y="311"/>
                  <a:pt x="430" y="311"/>
                  <a:pt x="430" y="311"/>
                </a:cubicBezTo>
                <a:cubicBezTo>
                  <a:pt x="430" y="310"/>
                  <a:pt x="430" y="311"/>
                  <a:pt x="430" y="311"/>
                </a:cubicBezTo>
                <a:close/>
                <a:moveTo>
                  <a:pt x="1522" y="309"/>
                </a:moveTo>
                <a:cubicBezTo>
                  <a:pt x="1521" y="310"/>
                  <a:pt x="1520" y="315"/>
                  <a:pt x="1519" y="313"/>
                </a:cubicBezTo>
                <a:cubicBezTo>
                  <a:pt x="1519" y="312"/>
                  <a:pt x="1518" y="312"/>
                  <a:pt x="1518" y="313"/>
                </a:cubicBezTo>
                <a:cubicBezTo>
                  <a:pt x="1518" y="313"/>
                  <a:pt x="1518" y="314"/>
                  <a:pt x="1517" y="314"/>
                </a:cubicBezTo>
                <a:cubicBezTo>
                  <a:pt x="1516" y="314"/>
                  <a:pt x="1516" y="315"/>
                  <a:pt x="1515" y="315"/>
                </a:cubicBezTo>
                <a:cubicBezTo>
                  <a:pt x="1514" y="315"/>
                  <a:pt x="1515" y="316"/>
                  <a:pt x="1514" y="316"/>
                </a:cubicBezTo>
                <a:cubicBezTo>
                  <a:pt x="1513" y="316"/>
                  <a:pt x="1513" y="317"/>
                  <a:pt x="1514" y="317"/>
                </a:cubicBezTo>
                <a:cubicBezTo>
                  <a:pt x="1515" y="317"/>
                  <a:pt x="1516" y="315"/>
                  <a:pt x="1518" y="315"/>
                </a:cubicBezTo>
                <a:cubicBezTo>
                  <a:pt x="1519" y="315"/>
                  <a:pt x="1519" y="314"/>
                  <a:pt x="1519" y="314"/>
                </a:cubicBezTo>
                <a:cubicBezTo>
                  <a:pt x="1519" y="314"/>
                  <a:pt x="1520" y="314"/>
                  <a:pt x="1520" y="314"/>
                </a:cubicBezTo>
                <a:cubicBezTo>
                  <a:pt x="1520" y="313"/>
                  <a:pt x="1521" y="313"/>
                  <a:pt x="1521" y="313"/>
                </a:cubicBezTo>
                <a:cubicBezTo>
                  <a:pt x="1522" y="313"/>
                  <a:pt x="1521" y="313"/>
                  <a:pt x="1522" y="312"/>
                </a:cubicBezTo>
                <a:cubicBezTo>
                  <a:pt x="1522" y="312"/>
                  <a:pt x="1522" y="312"/>
                  <a:pt x="1522" y="311"/>
                </a:cubicBezTo>
                <a:cubicBezTo>
                  <a:pt x="1522" y="310"/>
                  <a:pt x="1522" y="310"/>
                  <a:pt x="1522" y="309"/>
                </a:cubicBezTo>
                <a:cubicBezTo>
                  <a:pt x="1521" y="311"/>
                  <a:pt x="1522" y="309"/>
                  <a:pt x="1522" y="309"/>
                </a:cubicBezTo>
                <a:close/>
                <a:moveTo>
                  <a:pt x="1479" y="328"/>
                </a:moveTo>
                <a:cubicBezTo>
                  <a:pt x="1479" y="329"/>
                  <a:pt x="1479" y="330"/>
                  <a:pt x="1480" y="331"/>
                </a:cubicBezTo>
                <a:cubicBezTo>
                  <a:pt x="1480" y="332"/>
                  <a:pt x="1481" y="331"/>
                  <a:pt x="1481" y="332"/>
                </a:cubicBezTo>
                <a:cubicBezTo>
                  <a:pt x="1481" y="333"/>
                  <a:pt x="1481" y="333"/>
                  <a:pt x="1481" y="334"/>
                </a:cubicBezTo>
                <a:cubicBezTo>
                  <a:pt x="1481" y="335"/>
                  <a:pt x="1481" y="335"/>
                  <a:pt x="1482" y="335"/>
                </a:cubicBezTo>
                <a:cubicBezTo>
                  <a:pt x="1482" y="334"/>
                  <a:pt x="1483" y="335"/>
                  <a:pt x="1483" y="334"/>
                </a:cubicBezTo>
                <a:cubicBezTo>
                  <a:pt x="1484" y="333"/>
                  <a:pt x="1484" y="334"/>
                  <a:pt x="1485" y="334"/>
                </a:cubicBezTo>
                <a:cubicBezTo>
                  <a:pt x="1486" y="334"/>
                  <a:pt x="1486" y="334"/>
                  <a:pt x="1486" y="333"/>
                </a:cubicBezTo>
                <a:cubicBezTo>
                  <a:pt x="1485" y="333"/>
                  <a:pt x="1485" y="332"/>
                  <a:pt x="1484" y="332"/>
                </a:cubicBezTo>
                <a:cubicBezTo>
                  <a:pt x="1484" y="332"/>
                  <a:pt x="1484" y="332"/>
                  <a:pt x="1484" y="332"/>
                </a:cubicBezTo>
                <a:cubicBezTo>
                  <a:pt x="1484" y="332"/>
                  <a:pt x="1483" y="331"/>
                  <a:pt x="1482" y="331"/>
                </a:cubicBezTo>
                <a:cubicBezTo>
                  <a:pt x="1482" y="331"/>
                  <a:pt x="1482" y="330"/>
                  <a:pt x="1482" y="330"/>
                </a:cubicBezTo>
                <a:cubicBezTo>
                  <a:pt x="1482" y="329"/>
                  <a:pt x="1484" y="330"/>
                  <a:pt x="1484" y="329"/>
                </a:cubicBezTo>
                <a:cubicBezTo>
                  <a:pt x="1484" y="328"/>
                  <a:pt x="1485" y="329"/>
                  <a:pt x="1485" y="329"/>
                </a:cubicBezTo>
                <a:cubicBezTo>
                  <a:pt x="1486" y="330"/>
                  <a:pt x="1486" y="329"/>
                  <a:pt x="1486" y="329"/>
                </a:cubicBezTo>
                <a:cubicBezTo>
                  <a:pt x="1487" y="329"/>
                  <a:pt x="1487" y="329"/>
                  <a:pt x="1488" y="329"/>
                </a:cubicBezTo>
                <a:cubicBezTo>
                  <a:pt x="1489" y="329"/>
                  <a:pt x="1490" y="330"/>
                  <a:pt x="1490" y="331"/>
                </a:cubicBezTo>
                <a:cubicBezTo>
                  <a:pt x="1491" y="332"/>
                  <a:pt x="1493" y="332"/>
                  <a:pt x="1495" y="332"/>
                </a:cubicBezTo>
                <a:cubicBezTo>
                  <a:pt x="1496" y="332"/>
                  <a:pt x="1496" y="328"/>
                  <a:pt x="1498" y="327"/>
                </a:cubicBezTo>
                <a:cubicBezTo>
                  <a:pt x="1499" y="327"/>
                  <a:pt x="1499" y="326"/>
                  <a:pt x="1501" y="326"/>
                </a:cubicBezTo>
                <a:cubicBezTo>
                  <a:pt x="1501" y="326"/>
                  <a:pt x="1502" y="327"/>
                  <a:pt x="1503" y="327"/>
                </a:cubicBezTo>
                <a:cubicBezTo>
                  <a:pt x="1503" y="326"/>
                  <a:pt x="1503" y="326"/>
                  <a:pt x="1505" y="326"/>
                </a:cubicBezTo>
                <a:cubicBezTo>
                  <a:pt x="1505" y="326"/>
                  <a:pt x="1506" y="325"/>
                  <a:pt x="1507" y="325"/>
                </a:cubicBezTo>
                <a:cubicBezTo>
                  <a:pt x="1507" y="324"/>
                  <a:pt x="1506" y="325"/>
                  <a:pt x="1506" y="324"/>
                </a:cubicBezTo>
                <a:cubicBezTo>
                  <a:pt x="1506" y="323"/>
                  <a:pt x="1505" y="323"/>
                  <a:pt x="1505" y="323"/>
                </a:cubicBezTo>
                <a:cubicBezTo>
                  <a:pt x="1505" y="322"/>
                  <a:pt x="1505" y="322"/>
                  <a:pt x="1505" y="321"/>
                </a:cubicBezTo>
                <a:cubicBezTo>
                  <a:pt x="1505" y="321"/>
                  <a:pt x="1504" y="321"/>
                  <a:pt x="1504" y="321"/>
                </a:cubicBezTo>
                <a:cubicBezTo>
                  <a:pt x="1503" y="321"/>
                  <a:pt x="1503" y="321"/>
                  <a:pt x="1502" y="321"/>
                </a:cubicBezTo>
                <a:cubicBezTo>
                  <a:pt x="1501" y="321"/>
                  <a:pt x="1501" y="319"/>
                  <a:pt x="1501" y="319"/>
                </a:cubicBezTo>
                <a:cubicBezTo>
                  <a:pt x="1500" y="319"/>
                  <a:pt x="1498" y="319"/>
                  <a:pt x="1498" y="320"/>
                </a:cubicBezTo>
                <a:cubicBezTo>
                  <a:pt x="1497" y="320"/>
                  <a:pt x="1497" y="320"/>
                  <a:pt x="1496" y="319"/>
                </a:cubicBezTo>
                <a:cubicBezTo>
                  <a:pt x="1495" y="319"/>
                  <a:pt x="1495" y="318"/>
                  <a:pt x="1494" y="317"/>
                </a:cubicBezTo>
                <a:cubicBezTo>
                  <a:pt x="1494" y="316"/>
                  <a:pt x="1493" y="315"/>
                  <a:pt x="1492" y="313"/>
                </a:cubicBezTo>
                <a:cubicBezTo>
                  <a:pt x="1492" y="313"/>
                  <a:pt x="1492" y="313"/>
                  <a:pt x="1492" y="313"/>
                </a:cubicBezTo>
                <a:cubicBezTo>
                  <a:pt x="1491" y="312"/>
                  <a:pt x="1491" y="313"/>
                  <a:pt x="1491" y="312"/>
                </a:cubicBezTo>
                <a:cubicBezTo>
                  <a:pt x="1490" y="311"/>
                  <a:pt x="1490" y="311"/>
                  <a:pt x="1489" y="310"/>
                </a:cubicBezTo>
                <a:cubicBezTo>
                  <a:pt x="1489" y="310"/>
                  <a:pt x="1489" y="310"/>
                  <a:pt x="1489" y="309"/>
                </a:cubicBezTo>
                <a:cubicBezTo>
                  <a:pt x="1487" y="310"/>
                  <a:pt x="1487" y="310"/>
                  <a:pt x="1486" y="312"/>
                </a:cubicBezTo>
                <a:cubicBezTo>
                  <a:pt x="1487" y="312"/>
                  <a:pt x="1488" y="313"/>
                  <a:pt x="1488" y="314"/>
                </a:cubicBezTo>
                <a:cubicBezTo>
                  <a:pt x="1489" y="315"/>
                  <a:pt x="1489" y="315"/>
                  <a:pt x="1489" y="316"/>
                </a:cubicBezTo>
                <a:cubicBezTo>
                  <a:pt x="1488" y="316"/>
                  <a:pt x="1488" y="317"/>
                  <a:pt x="1488" y="317"/>
                </a:cubicBezTo>
                <a:cubicBezTo>
                  <a:pt x="1488" y="318"/>
                  <a:pt x="1488" y="319"/>
                  <a:pt x="1488" y="319"/>
                </a:cubicBezTo>
                <a:cubicBezTo>
                  <a:pt x="1488" y="321"/>
                  <a:pt x="1486" y="321"/>
                  <a:pt x="1486" y="322"/>
                </a:cubicBezTo>
                <a:cubicBezTo>
                  <a:pt x="1487" y="323"/>
                  <a:pt x="1487" y="323"/>
                  <a:pt x="1487" y="324"/>
                </a:cubicBezTo>
                <a:cubicBezTo>
                  <a:pt x="1487" y="325"/>
                  <a:pt x="1487" y="325"/>
                  <a:pt x="1486" y="326"/>
                </a:cubicBezTo>
                <a:cubicBezTo>
                  <a:pt x="1485" y="326"/>
                  <a:pt x="1485" y="326"/>
                  <a:pt x="1484" y="325"/>
                </a:cubicBezTo>
                <a:cubicBezTo>
                  <a:pt x="1483" y="325"/>
                  <a:pt x="1483" y="324"/>
                  <a:pt x="1483" y="324"/>
                </a:cubicBezTo>
                <a:cubicBezTo>
                  <a:pt x="1482" y="324"/>
                  <a:pt x="1482" y="324"/>
                  <a:pt x="1482" y="324"/>
                </a:cubicBezTo>
                <a:cubicBezTo>
                  <a:pt x="1482" y="324"/>
                  <a:pt x="1482" y="324"/>
                  <a:pt x="1481" y="324"/>
                </a:cubicBezTo>
                <a:cubicBezTo>
                  <a:pt x="1482" y="324"/>
                  <a:pt x="1481" y="325"/>
                  <a:pt x="1481" y="324"/>
                </a:cubicBezTo>
                <a:cubicBezTo>
                  <a:pt x="1481" y="325"/>
                  <a:pt x="1482" y="325"/>
                  <a:pt x="1482" y="325"/>
                </a:cubicBezTo>
                <a:cubicBezTo>
                  <a:pt x="1482" y="326"/>
                  <a:pt x="1482" y="327"/>
                  <a:pt x="1481" y="327"/>
                </a:cubicBezTo>
                <a:cubicBezTo>
                  <a:pt x="1480" y="327"/>
                  <a:pt x="1480" y="328"/>
                  <a:pt x="1479" y="328"/>
                </a:cubicBezTo>
                <a:cubicBezTo>
                  <a:pt x="1479" y="330"/>
                  <a:pt x="1479" y="328"/>
                  <a:pt x="1479" y="328"/>
                </a:cubicBezTo>
                <a:close/>
                <a:moveTo>
                  <a:pt x="406" y="307"/>
                </a:moveTo>
                <a:cubicBezTo>
                  <a:pt x="406" y="306"/>
                  <a:pt x="406" y="307"/>
                  <a:pt x="406" y="306"/>
                </a:cubicBezTo>
                <a:cubicBezTo>
                  <a:pt x="406" y="307"/>
                  <a:pt x="406" y="307"/>
                  <a:pt x="406" y="308"/>
                </a:cubicBezTo>
                <a:cubicBezTo>
                  <a:pt x="406" y="308"/>
                  <a:pt x="407" y="307"/>
                  <a:pt x="406" y="307"/>
                </a:cubicBezTo>
                <a:cubicBezTo>
                  <a:pt x="406" y="306"/>
                  <a:pt x="406" y="307"/>
                  <a:pt x="406" y="307"/>
                </a:cubicBezTo>
                <a:close/>
                <a:moveTo>
                  <a:pt x="428" y="308"/>
                </a:moveTo>
                <a:cubicBezTo>
                  <a:pt x="428" y="308"/>
                  <a:pt x="428" y="308"/>
                  <a:pt x="428" y="308"/>
                </a:cubicBezTo>
                <a:cubicBezTo>
                  <a:pt x="426" y="307"/>
                  <a:pt x="425" y="306"/>
                  <a:pt x="422" y="306"/>
                </a:cubicBezTo>
                <a:cubicBezTo>
                  <a:pt x="422" y="308"/>
                  <a:pt x="427" y="308"/>
                  <a:pt x="428" y="308"/>
                </a:cubicBezTo>
                <a:close/>
                <a:moveTo>
                  <a:pt x="1526" y="309"/>
                </a:moveTo>
                <a:cubicBezTo>
                  <a:pt x="1526" y="309"/>
                  <a:pt x="1526" y="309"/>
                  <a:pt x="1526" y="310"/>
                </a:cubicBezTo>
                <a:cubicBezTo>
                  <a:pt x="1526" y="310"/>
                  <a:pt x="1526" y="310"/>
                  <a:pt x="1526" y="310"/>
                </a:cubicBezTo>
                <a:cubicBezTo>
                  <a:pt x="1527" y="310"/>
                  <a:pt x="1529" y="309"/>
                  <a:pt x="1529" y="308"/>
                </a:cubicBezTo>
                <a:cubicBezTo>
                  <a:pt x="1529" y="307"/>
                  <a:pt x="1530" y="306"/>
                  <a:pt x="1530" y="305"/>
                </a:cubicBezTo>
                <a:cubicBezTo>
                  <a:pt x="1529" y="306"/>
                  <a:pt x="1528" y="305"/>
                  <a:pt x="1528" y="306"/>
                </a:cubicBezTo>
                <a:cubicBezTo>
                  <a:pt x="1528" y="306"/>
                  <a:pt x="1528" y="307"/>
                  <a:pt x="1528" y="307"/>
                </a:cubicBezTo>
                <a:cubicBezTo>
                  <a:pt x="1527" y="307"/>
                  <a:pt x="1527" y="306"/>
                  <a:pt x="1527" y="307"/>
                </a:cubicBezTo>
                <a:cubicBezTo>
                  <a:pt x="1527" y="308"/>
                  <a:pt x="1527" y="308"/>
                  <a:pt x="1526" y="309"/>
                </a:cubicBezTo>
                <a:cubicBezTo>
                  <a:pt x="1526" y="309"/>
                  <a:pt x="1526" y="309"/>
                  <a:pt x="1526" y="309"/>
                </a:cubicBezTo>
                <a:close/>
                <a:moveTo>
                  <a:pt x="1105" y="306"/>
                </a:moveTo>
                <a:cubicBezTo>
                  <a:pt x="1106" y="306"/>
                  <a:pt x="1106" y="306"/>
                  <a:pt x="1105" y="305"/>
                </a:cubicBezTo>
                <a:cubicBezTo>
                  <a:pt x="1105" y="306"/>
                  <a:pt x="1105" y="306"/>
                  <a:pt x="1105" y="306"/>
                </a:cubicBezTo>
                <a:close/>
                <a:moveTo>
                  <a:pt x="420" y="306"/>
                </a:moveTo>
                <a:cubicBezTo>
                  <a:pt x="420" y="305"/>
                  <a:pt x="420" y="305"/>
                  <a:pt x="420" y="305"/>
                </a:cubicBezTo>
                <a:cubicBezTo>
                  <a:pt x="420" y="306"/>
                  <a:pt x="420" y="306"/>
                  <a:pt x="420" y="306"/>
                </a:cubicBezTo>
                <a:close/>
                <a:moveTo>
                  <a:pt x="534" y="306"/>
                </a:moveTo>
                <a:cubicBezTo>
                  <a:pt x="534" y="305"/>
                  <a:pt x="534" y="304"/>
                  <a:pt x="534" y="305"/>
                </a:cubicBezTo>
                <a:cubicBezTo>
                  <a:pt x="534" y="305"/>
                  <a:pt x="534" y="305"/>
                  <a:pt x="533" y="305"/>
                </a:cubicBezTo>
                <a:cubicBezTo>
                  <a:pt x="534" y="304"/>
                  <a:pt x="535" y="304"/>
                  <a:pt x="534" y="303"/>
                </a:cubicBezTo>
                <a:cubicBezTo>
                  <a:pt x="534" y="303"/>
                  <a:pt x="534" y="303"/>
                  <a:pt x="534" y="303"/>
                </a:cubicBezTo>
                <a:cubicBezTo>
                  <a:pt x="534" y="303"/>
                  <a:pt x="534" y="303"/>
                  <a:pt x="533" y="303"/>
                </a:cubicBezTo>
                <a:cubicBezTo>
                  <a:pt x="533" y="304"/>
                  <a:pt x="533" y="303"/>
                  <a:pt x="531" y="304"/>
                </a:cubicBezTo>
                <a:cubicBezTo>
                  <a:pt x="531" y="304"/>
                  <a:pt x="530" y="304"/>
                  <a:pt x="530" y="305"/>
                </a:cubicBezTo>
                <a:cubicBezTo>
                  <a:pt x="530" y="305"/>
                  <a:pt x="531" y="305"/>
                  <a:pt x="531" y="305"/>
                </a:cubicBezTo>
                <a:cubicBezTo>
                  <a:pt x="530" y="306"/>
                  <a:pt x="530" y="306"/>
                  <a:pt x="530" y="307"/>
                </a:cubicBezTo>
                <a:cubicBezTo>
                  <a:pt x="530" y="308"/>
                  <a:pt x="530" y="308"/>
                  <a:pt x="530" y="308"/>
                </a:cubicBezTo>
                <a:cubicBezTo>
                  <a:pt x="531" y="308"/>
                  <a:pt x="533" y="308"/>
                  <a:pt x="533" y="307"/>
                </a:cubicBezTo>
                <a:cubicBezTo>
                  <a:pt x="533" y="306"/>
                  <a:pt x="533" y="306"/>
                  <a:pt x="534" y="306"/>
                </a:cubicBezTo>
                <a:cubicBezTo>
                  <a:pt x="534" y="305"/>
                  <a:pt x="534" y="306"/>
                  <a:pt x="534" y="306"/>
                </a:cubicBezTo>
                <a:close/>
                <a:moveTo>
                  <a:pt x="1536" y="303"/>
                </a:moveTo>
                <a:cubicBezTo>
                  <a:pt x="1536" y="302"/>
                  <a:pt x="1536" y="302"/>
                  <a:pt x="1535" y="302"/>
                </a:cubicBezTo>
                <a:cubicBezTo>
                  <a:pt x="1535" y="302"/>
                  <a:pt x="1535" y="302"/>
                  <a:pt x="1536" y="303"/>
                </a:cubicBezTo>
                <a:close/>
                <a:moveTo>
                  <a:pt x="1536" y="302"/>
                </a:moveTo>
                <a:cubicBezTo>
                  <a:pt x="1536" y="303"/>
                  <a:pt x="1537" y="302"/>
                  <a:pt x="1537" y="301"/>
                </a:cubicBezTo>
                <a:cubicBezTo>
                  <a:pt x="1538" y="300"/>
                  <a:pt x="1538" y="301"/>
                  <a:pt x="1538" y="299"/>
                </a:cubicBezTo>
                <a:cubicBezTo>
                  <a:pt x="1536" y="300"/>
                  <a:pt x="1537" y="301"/>
                  <a:pt x="1536" y="302"/>
                </a:cubicBezTo>
                <a:close/>
                <a:moveTo>
                  <a:pt x="519" y="304"/>
                </a:moveTo>
                <a:cubicBezTo>
                  <a:pt x="520" y="305"/>
                  <a:pt x="521" y="305"/>
                  <a:pt x="522" y="304"/>
                </a:cubicBezTo>
                <a:cubicBezTo>
                  <a:pt x="521" y="304"/>
                  <a:pt x="521" y="303"/>
                  <a:pt x="521" y="302"/>
                </a:cubicBezTo>
                <a:cubicBezTo>
                  <a:pt x="521" y="302"/>
                  <a:pt x="521" y="302"/>
                  <a:pt x="521" y="302"/>
                </a:cubicBezTo>
                <a:cubicBezTo>
                  <a:pt x="520" y="302"/>
                  <a:pt x="518" y="302"/>
                  <a:pt x="516" y="302"/>
                </a:cubicBezTo>
                <a:cubicBezTo>
                  <a:pt x="516" y="302"/>
                  <a:pt x="517" y="301"/>
                  <a:pt x="516" y="301"/>
                </a:cubicBezTo>
                <a:cubicBezTo>
                  <a:pt x="515" y="301"/>
                  <a:pt x="516" y="302"/>
                  <a:pt x="516" y="302"/>
                </a:cubicBezTo>
                <a:cubicBezTo>
                  <a:pt x="515" y="302"/>
                  <a:pt x="515" y="302"/>
                  <a:pt x="514" y="302"/>
                </a:cubicBezTo>
                <a:cubicBezTo>
                  <a:pt x="514" y="302"/>
                  <a:pt x="514" y="302"/>
                  <a:pt x="514" y="301"/>
                </a:cubicBezTo>
                <a:cubicBezTo>
                  <a:pt x="514" y="301"/>
                  <a:pt x="513" y="301"/>
                  <a:pt x="513" y="301"/>
                </a:cubicBezTo>
                <a:cubicBezTo>
                  <a:pt x="513" y="300"/>
                  <a:pt x="514" y="299"/>
                  <a:pt x="514" y="298"/>
                </a:cubicBezTo>
                <a:cubicBezTo>
                  <a:pt x="512" y="298"/>
                  <a:pt x="513" y="298"/>
                  <a:pt x="513" y="299"/>
                </a:cubicBezTo>
                <a:cubicBezTo>
                  <a:pt x="512" y="300"/>
                  <a:pt x="512" y="300"/>
                  <a:pt x="512" y="300"/>
                </a:cubicBezTo>
                <a:cubicBezTo>
                  <a:pt x="512" y="300"/>
                  <a:pt x="512" y="301"/>
                  <a:pt x="511" y="300"/>
                </a:cubicBezTo>
                <a:cubicBezTo>
                  <a:pt x="512" y="302"/>
                  <a:pt x="512" y="302"/>
                  <a:pt x="513" y="302"/>
                </a:cubicBezTo>
                <a:cubicBezTo>
                  <a:pt x="514" y="302"/>
                  <a:pt x="513" y="303"/>
                  <a:pt x="514" y="303"/>
                </a:cubicBezTo>
                <a:cubicBezTo>
                  <a:pt x="515" y="303"/>
                  <a:pt x="515" y="303"/>
                  <a:pt x="516" y="303"/>
                </a:cubicBezTo>
                <a:cubicBezTo>
                  <a:pt x="516" y="304"/>
                  <a:pt x="517" y="304"/>
                  <a:pt x="517" y="304"/>
                </a:cubicBezTo>
                <a:cubicBezTo>
                  <a:pt x="518" y="304"/>
                  <a:pt x="518" y="303"/>
                  <a:pt x="518" y="303"/>
                </a:cubicBezTo>
                <a:cubicBezTo>
                  <a:pt x="519" y="303"/>
                  <a:pt x="519" y="303"/>
                  <a:pt x="520" y="303"/>
                </a:cubicBezTo>
                <a:cubicBezTo>
                  <a:pt x="520" y="303"/>
                  <a:pt x="520" y="303"/>
                  <a:pt x="519" y="304"/>
                </a:cubicBezTo>
                <a:cubicBezTo>
                  <a:pt x="519" y="304"/>
                  <a:pt x="519" y="304"/>
                  <a:pt x="519" y="304"/>
                </a:cubicBezTo>
                <a:close/>
                <a:moveTo>
                  <a:pt x="530" y="303"/>
                </a:moveTo>
                <a:cubicBezTo>
                  <a:pt x="529" y="303"/>
                  <a:pt x="529" y="303"/>
                  <a:pt x="529" y="303"/>
                </a:cubicBezTo>
                <a:cubicBezTo>
                  <a:pt x="529" y="302"/>
                  <a:pt x="530" y="302"/>
                  <a:pt x="530" y="301"/>
                </a:cubicBezTo>
                <a:cubicBezTo>
                  <a:pt x="530" y="300"/>
                  <a:pt x="530" y="300"/>
                  <a:pt x="530" y="300"/>
                </a:cubicBezTo>
                <a:cubicBezTo>
                  <a:pt x="531" y="300"/>
                  <a:pt x="530" y="299"/>
                  <a:pt x="531" y="299"/>
                </a:cubicBezTo>
                <a:cubicBezTo>
                  <a:pt x="531" y="299"/>
                  <a:pt x="533" y="299"/>
                  <a:pt x="533" y="299"/>
                </a:cubicBezTo>
                <a:cubicBezTo>
                  <a:pt x="533" y="299"/>
                  <a:pt x="533" y="298"/>
                  <a:pt x="534" y="298"/>
                </a:cubicBezTo>
                <a:cubicBezTo>
                  <a:pt x="534" y="298"/>
                  <a:pt x="534" y="298"/>
                  <a:pt x="534" y="297"/>
                </a:cubicBezTo>
                <a:cubicBezTo>
                  <a:pt x="533" y="297"/>
                  <a:pt x="532" y="298"/>
                  <a:pt x="531" y="298"/>
                </a:cubicBezTo>
                <a:cubicBezTo>
                  <a:pt x="530" y="299"/>
                  <a:pt x="530" y="298"/>
                  <a:pt x="529" y="298"/>
                </a:cubicBezTo>
                <a:cubicBezTo>
                  <a:pt x="529" y="298"/>
                  <a:pt x="529" y="299"/>
                  <a:pt x="528" y="299"/>
                </a:cubicBezTo>
                <a:cubicBezTo>
                  <a:pt x="527" y="300"/>
                  <a:pt x="528" y="300"/>
                  <a:pt x="528" y="301"/>
                </a:cubicBezTo>
                <a:cubicBezTo>
                  <a:pt x="527" y="301"/>
                  <a:pt x="527" y="302"/>
                  <a:pt x="527" y="301"/>
                </a:cubicBezTo>
                <a:cubicBezTo>
                  <a:pt x="526" y="302"/>
                  <a:pt x="527" y="302"/>
                  <a:pt x="526" y="302"/>
                </a:cubicBezTo>
                <a:cubicBezTo>
                  <a:pt x="525" y="303"/>
                  <a:pt x="526" y="303"/>
                  <a:pt x="526" y="304"/>
                </a:cubicBezTo>
                <a:cubicBezTo>
                  <a:pt x="525" y="304"/>
                  <a:pt x="525" y="304"/>
                  <a:pt x="525" y="305"/>
                </a:cubicBezTo>
                <a:cubicBezTo>
                  <a:pt x="525" y="305"/>
                  <a:pt x="525" y="306"/>
                  <a:pt x="525" y="307"/>
                </a:cubicBezTo>
                <a:cubicBezTo>
                  <a:pt x="525" y="307"/>
                  <a:pt x="526" y="308"/>
                  <a:pt x="527" y="308"/>
                </a:cubicBezTo>
                <a:cubicBezTo>
                  <a:pt x="527" y="308"/>
                  <a:pt x="527" y="308"/>
                  <a:pt x="527" y="308"/>
                </a:cubicBezTo>
                <a:cubicBezTo>
                  <a:pt x="528" y="308"/>
                  <a:pt x="528" y="308"/>
                  <a:pt x="528" y="308"/>
                </a:cubicBezTo>
                <a:cubicBezTo>
                  <a:pt x="528" y="308"/>
                  <a:pt x="528" y="308"/>
                  <a:pt x="527" y="308"/>
                </a:cubicBezTo>
                <a:cubicBezTo>
                  <a:pt x="527" y="307"/>
                  <a:pt x="528" y="306"/>
                  <a:pt x="528" y="305"/>
                </a:cubicBezTo>
                <a:cubicBezTo>
                  <a:pt x="529" y="304"/>
                  <a:pt x="529" y="304"/>
                  <a:pt x="530" y="303"/>
                </a:cubicBezTo>
                <a:close/>
                <a:moveTo>
                  <a:pt x="555" y="295"/>
                </a:moveTo>
                <a:cubicBezTo>
                  <a:pt x="555" y="296"/>
                  <a:pt x="555" y="297"/>
                  <a:pt x="556" y="298"/>
                </a:cubicBezTo>
                <a:cubicBezTo>
                  <a:pt x="556" y="297"/>
                  <a:pt x="556" y="294"/>
                  <a:pt x="555" y="295"/>
                </a:cubicBezTo>
                <a:cubicBezTo>
                  <a:pt x="555" y="296"/>
                  <a:pt x="555" y="295"/>
                  <a:pt x="555" y="295"/>
                </a:cubicBezTo>
                <a:close/>
                <a:moveTo>
                  <a:pt x="525" y="293"/>
                </a:moveTo>
                <a:cubicBezTo>
                  <a:pt x="525" y="293"/>
                  <a:pt x="523" y="293"/>
                  <a:pt x="523" y="294"/>
                </a:cubicBezTo>
                <a:cubicBezTo>
                  <a:pt x="524" y="294"/>
                  <a:pt x="526" y="293"/>
                  <a:pt x="525" y="293"/>
                </a:cubicBezTo>
                <a:cubicBezTo>
                  <a:pt x="524" y="293"/>
                  <a:pt x="525" y="293"/>
                  <a:pt x="525" y="293"/>
                </a:cubicBezTo>
                <a:close/>
                <a:moveTo>
                  <a:pt x="394" y="290"/>
                </a:moveTo>
                <a:cubicBezTo>
                  <a:pt x="394" y="289"/>
                  <a:pt x="394" y="289"/>
                  <a:pt x="394" y="289"/>
                </a:cubicBezTo>
                <a:cubicBezTo>
                  <a:pt x="394" y="289"/>
                  <a:pt x="393" y="289"/>
                  <a:pt x="393" y="289"/>
                </a:cubicBezTo>
                <a:cubicBezTo>
                  <a:pt x="393" y="289"/>
                  <a:pt x="393" y="289"/>
                  <a:pt x="394" y="290"/>
                </a:cubicBezTo>
                <a:close/>
                <a:moveTo>
                  <a:pt x="1548" y="288"/>
                </a:moveTo>
                <a:cubicBezTo>
                  <a:pt x="1547" y="288"/>
                  <a:pt x="1547" y="288"/>
                  <a:pt x="1548" y="288"/>
                </a:cubicBezTo>
                <a:cubicBezTo>
                  <a:pt x="1548" y="288"/>
                  <a:pt x="1548" y="288"/>
                  <a:pt x="1548" y="288"/>
                </a:cubicBezTo>
                <a:close/>
                <a:moveTo>
                  <a:pt x="399" y="286"/>
                </a:moveTo>
                <a:cubicBezTo>
                  <a:pt x="399" y="286"/>
                  <a:pt x="399" y="286"/>
                  <a:pt x="399" y="286"/>
                </a:cubicBezTo>
                <a:cubicBezTo>
                  <a:pt x="399" y="286"/>
                  <a:pt x="399" y="286"/>
                  <a:pt x="400" y="286"/>
                </a:cubicBezTo>
                <a:cubicBezTo>
                  <a:pt x="400" y="286"/>
                  <a:pt x="399" y="286"/>
                  <a:pt x="399" y="286"/>
                </a:cubicBezTo>
                <a:cubicBezTo>
                  <a:pt x="399" y="286"/>
                  <a:pt x="399" y="286"/>
                  <a:pt x="399" y="286"/>
                </a:cubicBezTo>
                <a:close/>
                <a:moveTo>
                  <a:pt x="1551" y="284"/>
                </a:moveTo>
                <a:cubicBezTo>
                  <a:pt x="1551" y="284"/>
                  <a:pt x="1551" y="283"/>
                  <a:pt x="1552" y="283"/>
                </a:cubicBezTo>
                <a:cubicBezTo>
                  <a:pt x="1551" y="283"/>
                  <a:pt x="1550" y="283"/>
                  <a:pt x="1551" y="284"/>
                </a:cubicBezTo>
                <a:cubicBezTo>
                  <a:pt x="1551" y="284"/>
                  <a:pt x="1551" y="284"/>
                  <a:pt x="1551" y="284"/>
                </a:cubicBezTo>
                <a:cubicBezTo>
                  <a:pt x="1551" y="284"/>
                  <a:pt x="1551" y="284"/>
                  <a:pt x="1551" y="284"/>
                </a:cubicBezTo>
                <a:close/>
                <a:moveTo>
                  <a:pt x="523" y="284"/>
                </a:moveTo>
                <a:cubicBezTo>
                  <a:pt x="523" y="283"/>
                  <a:pt x="522" y="282"/>
                  <a:pt x="522" y="282"/>
                </a:cubicBezTo>
                <a:cubicBezTo>
                  <a:pt x="521" y="282"/>
                  <a:pt x="521" y="282"/>
                  <a:pt x="520" y="282"/>
                </a:cubicBezTo>
                <a:cubicBezTo>
                  <a:pt x="520" y="281"/>
                  <a:pt x="520" y="281"/>
                  <a:pt x="519" y="281"/>
                </a:cubicBezTo>
                <a:cubicBezTo>
                  <a:pt x="519" y="279"/>
                  <a:pt x="518" y="280"/>
                  <a:pt x="516" y="279"/>
                </a:cubicBezTo>
                <a:cubicBezTo>
                  <a:pt x="514" y="279"/>
                  <a:pt x="513" y="278"/>
                  <a:pt x="511" y="278"/>
                </a:cubicBezTo>
                <a:cubicBezTo>
                  <a:pt x="511" y="279"/>
                  <a:pt x="510" y="279"/>
                  <a:pt x="512" y="279"/>
                </a:cubicBezTo>
                <a:cubicBezTo>
                  <a:pt x="513" y="279"/>
                  <a:pt x="515" y="281"/>
                  <a:pt x="515" y="282"/>
                </a:cubicBezTo>
                <a:cubicBezTo>
                  <a:pt x="515" y="283"/>
                  <a:pt x="516" y="283"/>
                  <a:pt x="517" y="283"/>
                </a:cubicBezTo>
                <a:cubicBezTo>
                  <a:pt x="518" y="283"/>
                  <a:pt x="518" y="283"/>
                  <a:pt x="519" y="284"/>
                </a:cubicBezTo>
                <a:cubicBezTo>
                  <a:pt x="519" y="284"/>
                  <a:pt x="520" y="284"/>
                  <a:pt x="521" y="284"/>
                </a:cubicBezTo>
                <a:cubicBezTo>
                  <a:pt x="521" y="285"/>
                  <a:pt x="522" y="285"/>
                  <a:pt x="523" y="285"/>
                </a:cubicBezTo>
                <a:cubicBezTo>
                  <a:pt x="523" y="285"/>
                  <a:pt x="523" y="284"/>
                  <a:pt x="523" y="284"/>
                </a:cubicBezTo>
                <a:close/>
                <a:moveTo>
                  <a:pt x="225" y="277"/>
                </a:moveTo>
                <a:cubicBezTo>
                  <a:pt x="225" y="277"/>
                  <a:pt x="225" y="277"/>
                  <a:pt x="225" y="277"/>
                </a:cubicBezTo>
                <a:cubicBezTo>
                  <a:pt x="225" y="278"/>
                  <a:pt x="225" y="279"/>
                  <a:pt x="227" y="279"/>
                </a:cubicBezTo>
                <a:cubicBezTo>
                  <a:pt x="226" y="278"/>
                  <a:pt x="225" y="277"/>
                  <a:pt x="225" y="277"/>
                </a:cubicBezTo>
                <a:close/>
                <a:moveTo>
                  <a:pt x="1558" y="276"/>
                </a:moveTo>
                <a:cubicBezTo>
                  <a:pt x="1558" y="276"/>
                  <a:pt x="1558" y="276"/>
                  <a:pt x="1558" y="276"/>
                </a:cubicBezTo>
                <a:cubicBezTo>
                  <a:pt x="1556" y="276"/>
                  <a:pt x="1555" y="277"/>
                  <a:pt x="1554" y="277"/>
                </a:cubicBezTo>
                <a:cubicBezTo>
                  <a:pt x="1554" y="278"/>
                  <a:pt x="1554" y="278"/>
                  <a:pt x="1554" y="279"/>
                </a:cubicBezTo>
                <a:cubicBezTo>
                  <a:pt x="1555" y="278"/>
                  <a:pt x="1556" y="278"/>
                  <a:pt x="1557" y="277"/>
                </a:cubicBezTo>
                <a:cubicBezTo>
                  <a:pt x="1557" y="277"/>
                  <a:pt x="1557" y="277"/>
                  <a:pt x="1558" y="276"/>
                </a:cubicBezTo>
                <a:close/>
                <a:moveTo>
                  <a:pt x="221" y="276"/>
                </a:moveTo>
                <a:cubicBezTo>
                  <a:pt x="221" y="275"/>
                  <a:pt x="219" y="275"/>
                  <a:pt x="221" y="276"/>
                </a:cubicBezTo>
                <a:close/>
                <a:moveTo>
                  <a:pt x="810" y="275"/>
                </a:moveTo>
                <a:cubicBezTo>
                  <a:pt x="811" y="274"/>
                  <a:pt x="809" y="274"/>
                  <a:pt x="809" y="275"/>
                </a:cubicBezTo>
                <a:cubicBezTo>
                  <a:pt x="810" y="275"/>
                  <a:pt x="810" y="275"/>
                  <a:pt x="810" y="275"/>
                </a:cubicBezTo>
                <a:close/>
                <a:moveTo>
                  <a:pt x="208" y="272"/>
                </a:moveTo>
                <a:cubicBezTo>
                  <a:pt x="207" y="272"/>
                  <a:pt x="205" y="272"/>
                  <a:pt x="206" y="274"/>
                </a:cubicBezTo>
                <a:cubicBezTo>
                  <a:pt x="207" y="274"/>
                  <a:pt x="207" y="274"/>
                  <a:pt x="207" y="274"/>
                </a:cubicBezTo>
                <a:cubicBezTo>
                  <a:pt x="207" y="275"/>
                  <a:pt x="207" y="275"/>
                  <a:pt x="207" y="275"/>
                </a:cubicBezTo>
                <a:cubicBezTo>
                  <a:pt x="207" y="276"/>
                  <a:pt x="208" y="277"/>
                  <a:pt x="208" y="278"/>
                </a:cubicBezTo>
                <a:cubicBezTo>
                  <a:pt x="209" y="278"/>
                  <a:pt x="209" y="277"/>
                  <a:pt x="210" y="277"/>
                </a:cubicBezTo>
                <a:cubicBezTo>
                  <a:pt x="210" y="277"/>
                  <a:pt x="210" y="276"/>
                  <a:pt x="210" y="276"/>
                </a:cubicBezTo>
                <a:cubicBezTo>
                  <a:pt x="210" y="277"/>
                  <a:pt x="211" y="277"/>
                  <a:pt x="211" y="278"/>
                </a:cubicBezTo>
                <a:cubicBezTo>
                  <a:pt x="211" y="278"/>
                  <a:pt x="212" y="278"/>
                  <a:pt x="212" y="277"/>
                </a:cubicBezTo>
                <a:cubicBezTo>
                  <a:pt x="212" y="277"/>
                  <a:pt x="213" y="277"/>
                  <a:pt x="213" y="277"/>
                </a:cubicBezTo>
                <a:cubicBezTo>
                  <a:pt x="214" y="277"/>
                  <a:pt x="215" y="277"/>
                  <a:pt x="215" y="278"/>
                </a:cubicBezTo>
                <a:cubicBezTo>
                  <a:pt x="215" y="279"/>
                  <a:pt x="215" y="279"/>
                  <a:pt x="214" y="280"/>
                </a:cubicBezTo>
                <a:cubicBezTo>
                  <a:pt x="215" y="280"/>
                  <a:pt x="214" y="280"/>
                  <a:pt x="215" y="280"/>
                </a:cubicBezTo>
                <a:cubicBezTo>
                  <a:pt x="215" y="280"/>
                  <a:pt x="216" y="280"/>
                  <a:pt x="217" y="280"/>
                </a:cubicBezTo>
                <a:cubicBezTo>
                  <a:pt x="217" y="280"/>
                  <a:pt x="217" y="280"/>
                  <a:pt x="218" y="280"/>
                </a:cubicBezTo>
                <a:cubicBezTo>
                  <a:pt x="218" y="280"/>
                  <a:pt x="218" y="281"/>
                  <a:pt x="218" y="281"/>
                </a:cubicBezTo>
                <a:cubicBezTo>
                  <a:pt x="219" y="281"/>
                  <a:pt x="219" y="281"/>
                  <a:pt x="219" y="281"/>
                </a:cubicBezTo>
                <a:cubicBezTo>
                  <a:pt x="219" y="281"/>
                  <a:pt x="219" y="282"/>
                  <a:pt x="219" y="282"/>
                </a:cubicBezTo>
                <a:cubicBezTo>
                  <a:pt x="219" y="282"/>
                  <a:pt x="221" y="282"/>
                  <a:pt x="221" y="283"/>
                </a:cubicBezTo>
                <a:cubicBezTo>
                  <a:pt x="221" y="283"/>
                  <a:pt x="221" y="283"/>
                  <a:pt x="222" y="282"/>
                </a:cubicBezTo>
                <a:cubicBezTo>
                  <a:pt x="222" y="283"/>
                  <a:pt x="222" y="283"/>
                  <a:pt x="222" y="284"/>
                </a:cubicBezTo>
                <a:cubicBezTo>
                  <a:pt x="221" y="284"/>
                  <a:pt x="222" y="285"/>
                  <a:pt x="223" y="285"/>
                </a:cubicBezTo>
                <a:cubicBezTo>
                  <a:pt x="223" y="286"/>
                  <a:pt x="224" y="285"/>
                  <a:pt x="224" y="286"/>
                </a:cubicBezTo>
                <a:cubicBezTo>
                  <a:pt x="225" y="286"/>
                  <a:pt x="225" y="286"/>
                  <a:pt x="226" y="286"/>
                </a:cubicBezTo>
                <a:cubicBezTo>
                  <a:pt x="226" y="287"/>
                  <a:pt x="228" y="287"/>
                  <a:pt x="229" y="287"/>
                </a:cubicBezTo>
                <a:cubicBezTo>
                  <a:pt x="229" y="287"/>
                  <a:pt x="230" y="287"/>
                  <a:pt x="230" y="287"/>
                </a:cubicBezTo>
                <a:cubicBezTo>
                  <a:pt x="230" y="288"/>
                  <a:pt x="231" y="287"/>
                  <a:pt x="231" y="287"/>
                </a:cubicBezTo>
                <a:cubicBezTo>
                  <a:pt x="231" y="288"/>
                  <a:pt x="232" y="288"/>
                  <a:pt x="233" y="288"/>
                </a:cubicBezTo>
                <a:cubicBezTo>
                  <a:pt x="233" y="287"/>
                  <a:pt x="233" y="285"/>
                  <a:pt x="232" y="285"/>
                </a:cubicBezTo>
                <a:cubicBezTo>
                  <a:pt x="232" y="285"/>
                  <a:pt x="230" y="284"/>
                  <a:pt x="230" y="284"/>
                </a:cubicBezTo>
                <a:cubicBezTo>
                  <a:pt x="230" y="283"/>
                  <a:pt x="230" y="283"/>
                  <a:pt x="230" y="283"/>
                </a:cubicBezTo>
                <a:cubicBezTo>
                  <a:pt x="230" y="283"/>
                  <a:pt x="229" y="283"/>
                  <a:pt x="229" y="282"/>
                </a:cubicBezTo>
                <a:cubicBezTo>
                  <a:pt x="228" y="281"/>
                  <a:pt x="228" y="281"/>
                  <a:pt x="226" y="280"/>
                </a:cubicBezTo>
                <a:cubicBezTo>
                  <a:pt x="226" y="280"/>
                  <a:pt x="222" y="279"/>
                  <a:pt x="222" y="279"/>
                </a:cubicBezTo>
                <a:cubicBezTo>
                  <a:pt x="222" y="278"/>
                  <a:pt x="222" y="278"/>
                  <a:pt x="222" y="277"/>
                </a:cubicBezTo>
                <a:cubicBezTo>
                  <a:pt x="222" y="277"/>
                  <a:pt x="221" y="277"/>
                  <a:pt x="221" y="277"/>
                </a:cubicBezTo>
                <a:cubicBezTo>
                  <a:pt x="221" y="276"/>
                  <a:pt x="219" y="275"/>
                  <a:pt x="219" y="275"/>
                </a:cubicBezTo>
                <a:cubicBezTo>
                  <a:pt x="219" y="274"/>
                  <a:pt x="217" y="274"/>
                  <a:pt x="216" y="274"/>
                </a:cubicBezTo>
                <a:cubicBezTo>
                  <a:pt x="215" y="274"/>
                  <a:pt x="215" y="274"/>
                  <a:pt x="214" y="274"/>
                </a:cubicBezTo>
                <a:cubicBezTo>
                  <a:pt x="214" y="274"/>
                  <a:pt x="214" y="274"/>
                  <a:pt x="213" y="274"/>
                </a:cubicBezTo>
                <a:cubicBezTo>
                  <a:pt x="213" y="274"/>
                  <a:pt x="213" y="274"/>
                  <a:pt x="213" y="273"/>
                </a:cubicBezTo>
                <a:cubicBezTo>
                  <a:pt x="212" y="273"/>
                  <a:pt x="211" y="273"/>
                  <a:pt x="210" y="273"/>
                </a:cubicBezTo>
                <a:cubicBezTo>
                  <a:pt x="209" y="272"/>
                  <a:pt x="209" y="272"/>
                  <a:pt x="209" y="272"/>
                </a:cubicBezTo>
                <a:cubicBezTo>
                  <a:pt x="208" y="272"/>
                  <a:pt x="208" y="272"/>
                  <a:pt x="208" y="272"/>
                </a:cubicBezTo>
                <a:cubicBezTo>
                  <a:pt x="207" y="272"/>
                  <a:pt x="208" y="272"/>
                  <a:pt x="208" y="272"/>
                </a:cubicBezTo>
                <a:close/>
                <a:moveTo>
                  <a:pt x="553" y="272"/>
                </a:moveTo>
                <a:cubicBezTo>
                  <a:pt x="553" y="271"/>
                  <a:pt x="553" y="271"/>
                  <a:pt x="552" y="271"/>
                </a:cubicBezTo>
                <a:cubicBezTo>
                  <a:pt x="553" y="272"/>
                  <a:pt x="553" y="272"/>
                  <a:pt x="553" y="272"/>
                </a:cubicBezTo>
                <a:close/>
                <a:moveTo>
                  <a:pt x="1664" y="270"/>
                </a:moveTo>
                <a:cubicBezTo>
                  <a:pt x="1664" y="271"/>
                  <a:pt x="1664" y="271"/>
                  <a:pt x="1665" y="271"/>
                </a:cubicBezTo>
                <a:cubicBezTo>
                  <a:pt x="1665" y="270"/>
                  <a:pt x="1665" y="270"/>
                  <a:pt x="1664" y="270"/>
                </a:cubicBezTo>
                <a:cubicBezTo>
                  <a:pt x="1664" y="270"/>
                  <a:pt x="1664" y="270"/>
                  <a:pt x="1664" y="270"/>
                </a:cubicBezTo>
                <a:close/>
                <a:moveTo>
                  <a:pt x="836" y="270"/>
                </a:moveTo>
                <a:cubicBezTo>
                  <a:pt x="836" y="268"/>
                  <a:pt x="835" y="269"/>
                  <a:pt x="834" y="268"/>
                </a:cubicBezTo>
                <a:cubicBezTo>
                  <a:pt x="834" y="270"/>
                  <a:pt x="835" y="270"/>
                  <a:pt x="836" y="270"/>
                </a:cubicBezTo>
                <a:cubicBezTo>
                  <a:pt x="836" y="269"/>
                  <a:pt x="836" y="270"/>
                  <a:pt x="836" y="270"/>
                </a:cubicBezTo>
                <a:close/>
                <a:moveTo>
                  <a:pt x="1683" y="268"/>
                </a:moveTo>
                <a:cubicBezTo>
                  <a:pt x="1683" y="268"/>
                  <a:pt x="1681" y="269"/>
                  <a:pt x="1682" y="269"/>
                </a:cubicBezTo>
                <a:cubicBezTo>
                  <a:pt x="1683" y="269"/>
                  <a:pt x="1683" y="269"/>
                  <a:pt x="1683" y="268"/>
                </a:cubicBezTo>
                <a:cubicBezTo>
                  <a:pt x="1683" y="268"/>
                  <a:pt x="1683" y="268"/>
                  <a:pt x="1683" y="268"/>
                </a:cubicBezTo>
                <a:cubicBezTo>
                  <a:pt x="1683" y="268"/>
                  <a:pt x="1683" y="268"/>
                  <a:pt x="1683" y="268"/>
                </a:cubicBezTo>
                <a:cubicBezTo>
                  <a:pt x="1683" y="268"/>
                  <a:pt x="1683" y="268"/>
                  <a:pt x="1683" y="268"/>
                </a:cubicBezTo>
                <a:close/>
                <a:moveTo>
                  <a:pt x="1679" y="269"/>
                </a:moveTo>
                <a:cubicBezTo>
                  <a:pt x="1679" y="269"/>
                  <a:pt x="1680" y="269"/>
                  <a:pt x="1681" y="269"/>
                </a:cubicBezTo>
                <a:cubicBezTo>
                  <a:pt x="1681" y="269"/>
                  <a:pt x="1680" y="268"/>
                  <a:pt x="1681" y="268"/>
                </a:cubicBezTo>
                <a:cubicBezTo>
                  <a:pt x="1680" y="268"/>
                  <a:pt x="1679" y="267"/>
                  <a:pt x="1678" y="267"/>
                </a:cubicBezTo>
                <a:cubicBezTo>
                  <a:pt x="1679" y="268"/>
                  <a:pt x="1679" y="269"/>
                  <a:pt x="1679" y="269"/>
                </a:cubicBezTo>
                <a:close/>
                <a:moveTo>
                  <a:pt x="553" y="266"/>
                </a:moveTo>
                <a:cubicBezTo>
                  <a:pt x="552" y="266"/>
                  <a:pt x="551" y="267"/>
                  <a:pt x="551" y="267"/>
                </a:cubicBezTo>
                <a:cubicBezTo>
                  <a:pt x="551" y="267"/>
                  <a:pt x="550" y="266"/>
                  <a:pt x="551" y="266"/>
                </a:cubicBezTo>
                <a:cubicBezTo>
                  <a:pt x="549" y="266"/>
                  <a:pt x="548" y="267"/>
                  <a:pt x="547" y="267"/>
                </a:cubicBezTo>
                <a:cubicBezTo>
                  <a:pt x="547" y="268"/>
                  <a:pt x="547" y="268"/>
                  <a:pt x="547" y="268"/>
                </a:cubicBezTo>
                <a:cubicBezTo>
                  <a:pt x="547" y="269"/>
                  <a:pt x="546" y="269"/>
                  <a:pt x="547" y="269"/>
                </a:cubicBezTo>
                <a:cubicBezTo>
                  <a:pt x="548" y="271"/>
                  <a:pt x="545" y="270"/>
                  <a:pt x="545" y="271"/>
                </a:cubicBezTo>
                <a:cubicBezTo>
                  <a:pt x="545" y="271"/>
                  <a:pt x="545" y="272"/>
                  <a:pt x="545" y="272"/>
                </a:cubicBezTo>
                <a:cubicBezTo>
                  <a:pt x="545" y="273"/>
                  <a:pt x="544" y="273"/>
                  <a:pt x="544" y="273"/>
                </a:cubicBezTo>
                <a:cubicBezTo>
                  <a:pt x="545" y="273"/>
                  <a:pt x="545" y="273"/>
                  <a:pt x="544" y="273"/>
                </a:cubicBezTo>
                <a:cubicBezTo>
                  <a:pt x="544" y="273"/>
                  <a:pt x="544" y="274"/>
                  <a:pt x="544" y="275"/>
                </a:cubicBezTo>
                <a:cubicBezTo>
                  <a:pt x="544" y="275"/>
                  <a:pt x="544" y="275"/>
                  <a:pt x="544" y="275"/>
                </a:cubicBezTo>
                <a:cubicBezTo>
                  <a:pt x="544" y="276"/>
                  <a:pt x="544" y="276"/>
                  <a:pt x="544" y="276"/>
                </a:cubicBezTo>
                <a:cubicBezTo>
                  <a:pt x="544" y="277"/>
                  <a:pt x="544" y="279"/>
                  <a:pt x="543" y="279"/>
                </a:cubicBezTo>
                <a:cubicBezTo>
                  <a:pt x="543" y="279"/>
                  <a:pt x="543" y="280"/>
                  <a:pt x="542" y="280"/>
                </a:cubicBezTo>
                <a:cubicBezTo>
                  <a:pt x="543" y="281"/>
                  <a:pt x="543" y="281"/>
                  <a:pt x="544" y="281"/>
                </a:cubicBezTo>
                <a:cubicBezTo>
                  <a:pt x="544" y="281"/>
                  <a:pt x="545" y="281"/>
                  <a:pt x="545" y="281"/>
                </a:cubicBezTo>
                <a:cubicBezTo>
                  <a:pt x="545" y="282"/>
                  <a:pt x="545" y="282"/>
                  <a:pt x="544" y="282"/>
                </a:cubicBezTo>
                <a:cubicBezTo>
                  <a:pt x="544" y="282"/>
                  <a:pt x="544" y="283"/>
                  <a:pt x="544" y="283"/>
                </a:cubicBezTo>
                <a:cubicBezTo>
                  <a:pt x="543" y="283"/>
                  <a:pt x="543" y="282"/>
                  <a:pt x="542" y="282"/>
                </a:cubicBezTo>
                <a:cubicBezTo>
                  <a:pt x="541" y="282"/>
                  <a:pt x="542" y="283"/>
                  <a:pt x="541" y="283"/>
                </a:cubicBezTo>
                <a:cubicBezTo>
                  <a:pt x="541" y="284"/>
                  <a:pt x="541" y="284"/>
                  <a:pt x="541" y="285"/>
                </a:cubicBezTo>
                <a:cubicBezTo>
                  <a:pt x="541" y="284"/>
                  <a:pt x="541" y="284"/>
                  <a:pt x="540" y="284"/>
                </a:cubicBezTo>
                <a:cubicBezTo>
                  <a:pt x="540" y="284"/>
                  <a:pt x="540" y="285"/>
                  <a:pt x="540" y="285"/>
                </a:cubicBezTo>
                <a:cubicBezTo>
                  <a:pt x="540" y="284"/>
                  <a:pt x="539" y="284"/>
                  <a:pt x="539" y="284"/>
                </a:cubicBezTo>
                <a:cubicBezTo>
                  <a:pt x="539" y="284"/>
                  <a:pt x="538" y="285"/>
                  <a:pt x="538" y="285"/>
                </a:cubicBezTo>
                <a:cubicBezTo>
                  <a:pt x="538" y="285"/>
                  <a:pt x="538" y="285"/>
                  <a:pt x="538" y="286"/>
                </a:cubicBezTo>
                <a:cubicBezTo>
                  <a:pt x="540" y="285"/>
                  <a:pt x="541" y="285"/>
                  <a:pt x="542" y="286"/>
                </a:cubicBezTo>
                <a:cubicBezTo>
                  <a:pt x="542" y="286"/>
                  <a:pt x="541" y="286"/>
                  <a:pt x="541" y="287"/>
                </a:cubicBezTo>
                <a:cubicBezTo>
                  <a:pt x="541" y="286"/>
                  <a:pt x="541" y="286"/>
                  <a:pt x="541" y="286"/>
                </a:cubicBezTo>
                <a:cubicBezTo>
                  <a:pt x="539" y="287"/>
                  <a:pt x="541" y="287"/>
                  <a:pt x="540" y="288"/>
                </a:cubicBezTo>
                <a:cubicBezTo>
                  <a:pt x="539" y="288"/>
                  <a:pt x="538" y="290"/>
                  <a:pt x="537" y="290"/>
                </a:cubicBezTo>
                <a:cubicBezTo>
                  <a:pt x="537" y="290"/>
                  <a:pt x="537" y="292"/>
                  <a:pt x="538" y="292"/>
                </a:cubicBezTo>
                <a:cubicBezTo>
                  <a:pt x="538" y="292"/>
                  <a:pt x="538" y="292"/>
                  <a:pt x="538" y="292"/>
                </a:cubicBezTo>
                <a:cubicBezTo>
                  <a:pt x="539" y="292"/>
                  <a:pt x="540" y="292"/>
                  <a:pt x="540" y="291"/>
                </a:cubicBezTo>
                <a:cubicBezTo>
                  <a:pt x="541" y="290"/>
                  <a:pt x="542" y="291"/>
                  <a:pt x="542" y="291"/>
                </a:cubicBezTo>
                <a:cubicBezTo>
                  <a:pt x="542" y="290"/>
                  <a:pt x="545" y="291"/>
                  <a:pt x="546" y="291"/>
                </a:cubicBezTo>
                <a:cubicBezTo>
                  <a:pt x="546" y="291"/>
                  <a:pt x="546" y="290"/>
                  <a:pt x="546" y="291"/>
                </a:cubicBezTo>
                <a:cubicBezTo>
                  <a:pt x="546" y="291"/>
                  <a:pt x="547" y="291"/>
                  <a:pt x="547" y="291"/>
                </a:cubicBezTo>
                <a:cubicBezTo>
                  <a:pt x="547" y="290"/>
                  <a:pt x="547" y="291"/>
                  <a:pt x="547" y="291"/>
                </a:cubicBezTo>
                <a:cubicBezTo>
                  <a:pt x="548" y="291"/>
                  <a:pt x="548" y="291"/>
                  <a:pt x="549" y="291"/>
                </a:cubicBezTo>
                <a:cubicBezTo>
                  <a:pt x="549" y="291"/>
                  <a:pt x="549" y="292"/>
                  <a:pt x="549" y="292"/>
                </a:cubicBezTo>
                <a:cubicBezTo>
                  <a:pt x="549" y="292"/>
                  <a:pt x="549" y="291"/>
                  <a:pt x="550" y="291"/>
                </a:cubicBezTo>
                <a:cubicBezTo>
                  <a:pt x="551" y="291"/>
                  <a:pt x="551" y="291"/>
                  <a:pt x="551" y="290"/>
                </a:cubicBezTo>
                <a:cubicBezTo>
                  <a:pt x="551" y="291"/>
                  <a:pt x="551" y="291"/>
                  <a:pt x="552" y="291"/>
                </a:cubicBezTo>
                <a:cubicBezTo>
                  <a:pt x="552" y="291"/>
                  <a:pt x="553" y="291"/>
                  <a:pt x="554" y="291"/>
                </a:cubicBezTo>
                <a:cubicBezTo>
                  <a:pt x="554" y="291"/>
                  <a:pt x="554" y="292"/>
                  <a:pt x="554" y="291"/>
                </a:cubicBezTo>
                <a:cubicBezTo>
                  <a:pt x="554" y="291"/>
                  <a:pt x="555" y="291"/>
                  <a:pt x="556" y="291"/>
                </a:cubicBezTo>
                <a:cubicBezTo>
                  <a:pt x="556" y="291"/>
                  <a:pt x="556" y="290"/>
                  <a:pt x="557" y="290"/>
                </a:cubicBezTo>
                <a:cubicBezTo>
                  <a:pt x="557" y="290"/>
                  <a:pt x="558" y="290"/>
                  <a:pt x="559" y="290"/>
                </a:cubicBezTo>
                <a:cubicBezTo>
                  <a:pt x="558" y="291"/>
                  <a:pt x="558" y="292"/>
                  <a:pt x="558" y="293"/>
                </a:cubicBezTo>
                <a:cubicBezTo>
                  <a:pt x="559" y="292"/>
                  <a:pt x="560" y="292"/>
                  <a:pt x="560" y="291"/>
                </a:cubicBezTo>
                <a:cubicBezTo>
                  <a:pt x="561" y="290"/>
                  <a:pt x="561" y="290"/>
                  <a:pt x="562" y="290"/>
                </a:cubicBezTo>
                <a:cubicBezTo>
                  <a:pt x="562" y="291"/>
                  <a:pt x="561" y="292"/>
                  <a:pt x="561" y="292"/>
                </a:cubicBezTo>
                <a:cubicBezTo>
                  <a:pt x="561" y="292"/>
                  <a:pt x="560" y="293"/>
                  <a:pt x="560" y="293"/>
                </a:cubicBezTo>
                <a:cubicBezTo>
                  <a:pt x="560" y="293"/>
                  <a:pt x="560" y="294"/>
                  <a:pt x="559" y="294"/>
                </a:cubicBezTo>
                <a:cubicBezTo>
                  <a:pt x="559" y="295"/>
                  <a:pt x="559" y="295"/>
                  <a:pt x="559" y="295"/>
                </a:cubicBezTo>
                <a:cubicBezTo>
                  <a:pt x="558" y="295"/>
                  <a:pt x="558" y="296"/>
                  <a:pt x="558" y="296"/>
                </a:cubicBezTo>
                <a:cubicBezTo>
                  <a:pt x="559" y="296"/>
                  <a:pt x="559" y="296"/>
                  <a:pt x="560" y="295"/>
                </a:cubicBezTo>
                <a:cubicBezTo>
                  <a:pt x="561" y="295"/>
                  <a:pt x="561" y="294"/>
                  <a:pt x="562" y="294"/>
                </a:cubicBezTo>
                <a:cubicBezTo>
                  <a:pt x="561" y="292"/>
                  <a:pt x="563" y="293"/>
                  <a:pt x="564" y="292"/>
                </a:cubicBezTo>
                <a:cubicBezTo>
                  <a:pt x="564" y="291"/>
                  <a:pt x="564" y="290"/>
                  <a:pt x="565" y="290"/>
                </a:cubicBezTo>
                <a:cubicBezTo>
                  <a:pt x="565" y="290"/>
                  <a:pt x="565" y="291"/>
                  <a:pt x="566" y="292"/>
                </a:cubicBezTo>
                <a:cubicBezTo>
                  <a:pt x="566" y="292"/>
                  <a:pt x="567" y="292"/>
                  <a:pt x="567" y="294"/>
                </a:cubicBezTo>
                <a:cubicBezTo>
                  <a:pt x="566" y="294"/>
                  <a:pt x="566" y="294"/>
                  <a:pt x="566" y="294"/>
                </a:cubicBezTo>
                <a:cubicBezTo>
                  <a:pt x="565" y="294"/>
                  <a:pt x="565" y="296"/>
                  <a:pt x="565" y="296"/>
                </a:cubicBezTo>
                <a:cubicBezTo>
                  <a:pt x="565" y="296"/>
                  <a:pt x="566" y="297"/>
                  <a:pt x="566" y="297"/>
                </a:cubicBezTo>
                <a:cubicBezTo>
                  <a:pt x="566" y="297"/>
                  <a:pt x="567" y="296"/>
                  <a:pt x="566" y="296"/>
                </a:cubicBezTo>
                <a:cubicBezTo>
                  <a:pt x="567" y="296"/>
                  <a:pt x="567" y="295"/>
                  <a:pt x="567" y="294"/>
                </a:cubicBezTo>
                <a:cubicBezTo>
                  <a:pt x="568" y="294"/>
                  <a:pt x="568" y="295"/>
                  <a:pt x="569" y="295"/>
                </a:cubicBezTo>
                <a:cubicBezTo>
                  <a:pt x="568" y="296"/>
                  <a:pt x="568" y="296"/>
                  <a:pt x="568" y="297"/>
                </a:cubicBezTo>
                <a:cubicBezTo>
                  <a:pt x="569" y="297"/>
                  <a:pt x="570" y="297"/>
                  <a:pt x="571" y="297"/>
                </a:cubicBezTo>
                <a:cubicBezTo>
                  <a:pt x="571" y="297"/>
                  <a:pt x="571" y="296"/>
                  <a:pt x="571" y="295"/>
                </a:cubicBezTo>
                <a:cubicBezTo>
                  <a:pt x="571" y="295"/>
                  <a:pt x="572" y="295"/>
                  <a:pt x="572" y="295"/>
                </a:cubicBezTo>
                <a:cubicBezTo>
                  <a:pt x="572" y="294"/>
                  <a:pt x="572" y="294"/>
                  <a:pt x="572" y="293"/>
                </a:cubicBezTo>
                <a:cubicBezTo>
                  <a:pt x="572" y="293"/>
                  <a:pt x="572" y="293"/>
                  <a:pt x="572" y="293"/>
                </a:cubicBezTo>
                <a:cubicBezTo>
                  <a:pt x="572" y="292"/>
                  <a:pt x="573" y="292"/>
                  <a:pt x="573" y="291"/>
                </a:cubicBezTo>
                <a:cubicBezTo>
                  <a:pt x="572" y="291"/>
                  <a:pt x="572" y="291"/>
                  <a:pt x="572" y="292"/>
                </a:cubicBezTo>
                <a:cubicBezTo>
                  <a:pt x="572" y="293"/>
                  <a:pt x="571" y="293"/>
                  <a:pt x="571" y="293"/>
                </a:cubicBezTo>
                <a:cubicBezTo>
                  <a:pt x="571" y="293"/>
                  <a:pt x="570" y="293"/>
                  <a:pt x="570" y="293"/>
                </a:cubicBezTo>
                <a:cubicBezTo>
                  <a:pt x="570" y="292"/>
                  <a:pt x="570" y="292"/>
                  <a:pt x="570" y="291"/>
                </a:cubicBezTo>
                <a:cubicBezTo>
                  <a:pt x="571" y="290"/>
                  <a:pt x="572" y="289"/>
                  <a:pt x="572" y="288"/>
                </a:cubicBezTo>
                <a:cubicBezTo>
                  <a:pt x="571" y="288"/>
                  <a:pt x="571" y="288"/>
                  <a:pt x="571" y="289"/>
                </a:cubicBezTo>
                <a:cubicBezTo>
                  <a:pt x="569" y="290"/>
                  <a:pt x="569" y="291"/>
                  <a:pt x="569" y="293"/>
                </a:cubicBezTo>
                <a:cubicBezTo>
                  <a:pt x="569" y="292"/>
                  <a:pt x="567" y="292"/>
                  <a:pt x="567" y="292"/>
                </a:cubicBezTo>
                <a:cubicBezTo>
                  <a:pt x="567" y="292"/>
                  <a:pt x="567" y="292"/>
                  <a:pt x="567" y="291"/>
                </a:cubicBezTo>
                <a:cubicBezTo>
                  <a:pt x="567" y="290"/>
                  <a:pt x="567" y="291"/>
                  <a:pt x="568" y="291"/>
                </a:cubicBezTo>
                <a:cubicBezTo>
                  <a:pt x="569" y="290"/>
                  <a:pt x="568" y="290"/>
                  <a:pt x="568" y="289"/>
                </a:cubicBezTo>
                <a:cubicBezTo>
                  <a:pt x="567" y="289"/>
                  <a:pt x="567" y="289"/>
                  <a:pt x="567" y="288"/>
                </a:cubicBezTo>
                <a:cubicBezTo>
                  <a:pt x="567" y="288"/>
                  <a:pt x="568" y="287"/>
                  <a:pt x="568" y="287"/>
                </a:cubicBezTo>
                <a:cubicBezTo>
                  <a:pt x="569" y="286"/>
                  <a:pt x="569" y="286"/>
                  <a:pt x="569" y="285"/>
                </a:cubicBezTo>
                <a:cubicBezTo>
                  <a:pt x="569" y="285"/>
                  <a:pt x="568" y="286"/>
                  <a:pt x="568" y="286"/>
                </a:cubicBezTo>
                <a:cubicBezTo>
                  <a:pt x="568" y="286"/>
                  <a:pt x="568" y="285"/>
                  <a:pt x="568" y="286"/>
                </a:cubicBezTo>
                <a:cubicBezTo>
                  <a:pt x="567" y="287"/>
                  <a:pt x="567" y="287"/>
                  <a:pt x="566" y="286"/>
                </a:cubicBezTo>
                <a:cubicBezTo>
                  <a:pt x="566" y="287"/>
                  <a:pt x="566" y="287"/>
                  <a:pt x="566" y="287"/>
                </a:cubicBezTo>
                <a:cubicBezTo>
                  <a:pt x="565" y="287"/>
                  <a:pt x="565" y="287"/>
                  <a:pt x="564" y="287"/>
                </a:cubicBezTo>
                <a:cubicBezTo>
                  <a:pt x="564" y="287"/>
                  <a:pt x="564" y="287"/>
                  <a:pt x="564" y="287"/>
                </a:cubicBezTo>
                <a:cubicBezTo>
                  <a:pt x="564" y="286"/>
                  <a:pt x="565" y="285"/>
                  <a:pt x="565" y="285"/>
                </a:cubicBezTo>
                <a:cubicBezTo>
                  <a:pt x="564" y="285"/>
                  <a:pt x="564" y="285"/>
                  <a:pt x="563" y="285"/>
                </a:cubicBezTo>
                <a:cubicBezTo>
                  <a:pt x="563" y="285"/>
                  <a:pt x="563" y="285"/>
                  <a:pt x="563" y="284"/>
                </a:cubicBezTo>
                <a:cubicBezTo>
                  <a:pt x="562" y="284"/>
                  <a:pt x="562" y="284"/>
                  <a:pt x="562" y="284"/>
                </a:cubicBezTo>
                <a:cubicBezTo>
                  <a:pt x="563" y="284"/>
                  <a:pt x="563" y="283"/>
                  <a:pt x="563" y="282"/>
                </a:cubicBezTo>
                <a:cubicBezTo>
                  <a:pt x="564" y="282"/>
                  <a:pt x="564" y="281"/>
                  <a:pt x="564" y="281"/>
                </a:cubicBezTo>
                <a:cubicBezTo>
                  <a:pt x="563" y="280"/>
                  <a:pt x="563" y="280"/>
                  <a:pt x="563" y="279"/>
                </a:cubicBezTo>
                <a:cubicBezTo>
                  <a:pt x="562" y="279"/>
                  <a:pt x="562" y="280"/>
                  <a:pt x="561" y="280"/>
                </a:cubicBezTo>
                <a:cubicBezTo>
                  <a:pt x="561" y="280"/>
                  <a:pt x="560" y="280"/>
                  <a:pt x="559" y="280"/>
                </a:cubicBezTo>
                <a:cubicBezTo>
                  <a:pt x="559" y="280"/>
                  <a:pt x="560" y="280"/>
                  <a:pt x="560" y="279"/>
                </a:cubicBezTo>
                <a:cubicBezTo>
                  <a:pt x="559" y="279"/>
                  <a:pt x="559" y="280"/>
                  <a:pt x="558" y="280"/>
                </a:cubicBezTo>
                <a:cubicBezTo>
                  <a:pt x="558" y="281"/>
                  <a:pt x="557" y="280"/>
                  <a:pt x="556" y="280"/>
                </a:cubicBezTo>
                <a:cubicBezTo>
                  <a:pt x="556" y="280"/>
                  <a:pt x="557" y="281"/>
                  <a:pt x="557" y="281"/>
                </a:cubicBezTo>
                <a:cubicBezTo>
                  <a:pt x="556" y="281"/>
                  <a:pt x="556" y="281"/>
                  <a:pt x="556" y="282"/>
                </a:cubicBezTo>
                <a:cubicBezTo>
                  <a:pt x="556" y="280"/>
                  <a:pt x="556" y="280"/>
                  <a:pt x="554" y="281"/>
                </a:cubicBezTo>
                <a:cubicBezTo>
                  <a:pt x="554" y="281"/>
                  <a:pt x="554" y="281"/>
                  <a:pt x="553" y="281"/>
                </a:cubicBezTo>
                <a:cubicBezTo>
                  <a:pt x="554" y="281"/>
                  <a:pt x="554" y="280"/>
                  <a:pt x="554" y="280"/>
                </a:cubicBezTo>
                <a:cubicBezTo>
                  <a:pt x="553" y="280"/>
                  <a:pt x="553" y="280"/>
                  <a:pt x="552" y="280"/>
                </a:cubicBezTo>
                <a:cubicBezTo>
                  <a:pt x="552" y="279"/>
                  <a:pt x="553" y="279"/>
                  <a:pt x="554" y="278"/>
                </a:cubicBezTo>
                <a:cubicBezTo>
                  <a:pt x="553" y="278"/>
                  <a:pt x="553" y="277"/>
                  <a:pt x="553" y="277"/>
                </a:cubicBezTo>
                <a:cubicBezTo>
                  <a:pt x="552" y="277"/>
                  <a:pt x="552" y="277"/>
                  <a:pt x="552" y="277"/>
                </a:cubicBezTo>
                <a:cubicBezTo>
                  <a:pt x="552" y="276"/>
                  <a:pt x="552" y="276"/>
                  <a:pt x="551" y="276"/>
                </a:cubicBezTo>
                <a:cubicBezTo>
                  <a:pt x="551" y="276"/>
                  <a:pt x="551" y="277"/>
                  <a:pt x="551" y="277"/>
                </a:cubicBezTo>
                <a:cubicBezTo>
                  <a:pt x="551" y="277"/>
                  <a:pt x="550" y="277"/>
                  <a:pt x="550" y="277"/>
                </a:cubicBezTo>
                <a:cubicBezTo>
                  <a:pt x="550" y="278"/>
                  <a:pt x="549" y="277"/>
                  <a:pt x="549" y="278"/>
                </a:cubicBezTo>
                <a:cubicBezTo>
                  <a:pt x="549" y="279"/>
                  <a:pt x="549" y="278"/>
                  <a:pt x="549" y="279"/>
                </a:cubicBezTo>
                <a:cubicBezTo>
                  <a:pt x="548" y="279"/>
                  <a:pt x="548" y="281"/>
                  <a:pt x="548" y="280"/>
                </a:cubicBezTo>
                <a:cubicBezTo>
                  <a:pt x="548" y="279"/>
                  <a:pt x="547" y="279"/>
                  <a:pt x="548" y="279"/>
                </a:cubicBezTo>
                <a:cubicBezTo>
                  <a:pt x="548" y="278"/>
                  <a:pt x="548" y="278"/>
                  <a:pt x="548" y="278"/>
                </a:cubicBezTo>
                <a:cubicBezTo>
                  <a:pt x="548" y="277"/>
                  <a:pt x="548" y="278"/>
                  <a:pt x="548" y="277"/>
                </a:cubicBezTo>
                <a:cubicBezTo>
                  <a:pt x="548" y="277"/>
                  <a:pt x="547" y="276"/>
                  <a:pt x="548" y="276"/>
                </a:cubicBezTo>
                <a:cubicBezTo>
                  <a:pt x="548" y="276"/>
                  <a:pt x="548" y="276"/>
                  <a:pt x="548" y="276"/>
                </a:cubicBezTo>
                <a:cubicBezTo>
                  <a:pt x="548" y="275"/>
                  <a:pt x="548" y="275"/>
                  <a:pt x="549" y="275"/>
                </a:cubicBezTo>
                <a:cubicBezTo>
                  <a:pt x="550" y="274"/>
                  <a:pt x="549" y="272"/>
                  <a:pt x="549" y="271"/>
                </a:cubicBezTo>
                <a:cubicBezTo>
                  <a:pt x="550" y="271"/>
                  <a:pt x="550" y="271"/>
                  <a:pt x="551" y="271"/>
                </a:cubicBezTo>
                <a:cubicBezTo>
                  <a:pt x="551" y="271"/>
                  <a:pt x="551" y="271"/>
                  <a:pt x="551" y="271"/>
                </a:cubicBezTo>
                <a:cubicBezTo>
                  <a:pt x="552" y="270"/>
                  <a:pt x="552" y="270"/>
                  <a:pt x="552" y="269"/>
                </a:cubicBezTo>
                <a:cubicBezTo>
                  <a:pt x="552" y="269"/>
                  <a:pt x="551" y="269"/>
                  <a:pt x="551" y="269"/>
                </a:cubicBezTo>
                <a:cubicBezTo>
                  <a:pt x="550" y="268"/>
                  <a:pt x="551" y="268"/>
                  <a:pt x="552" y="268"/>
                </a:cubicBezTo>
                <a:cubicBezTo>
                  <a:pt x="552" y="268"/>
                  <a:pt x="552" y="268"/>
                  <a:pt x="552" y="267"/>
                </a:cubicBezTo>
                <a:cubicBezTo>
                  <a:pt x="553" y="267"/>
                  <a:pt x="553" y="267"/>
                  <a:pt x="553" y="266"/>
                </a:cubicBezTo>
                <a:cubicBezTo>
                  <a:pt x="551" y="266"/>
                  <a:pt x="553" y="266"/>
                  <a:pt x="553" y="266"/>
                </a:cubicBezTo>
                <a:close/>
                <a:moveTo>
                  <a:pt x="1657" y="268"/>
                </a:moveTo>
                <a:cubicBezTo>
                  <a:pt x="1658" y="268"/>
                  <a:pt x="1658" y="267"/>
                  <a:pt x="1658" y="266"/>
                </a:cubicBezTo>
                <a:cubicBezTo>
                  <a:pt x="1657" y="267"/>
                  <a:pt x="1657" y="267"/>
                  <a:pt x="1657" y="268"/>
                </a:cubicBezTo>
                <a:cubicBezTo>
                  <a:pt x="1657" y="268"/>
                  <a:pt x="1657" y="268"/>
                  <a:pt x="1657" y="268"/>
                </a:cubicBezTo>
                <a:cubicBezTo>
                  <a:pt x="1658" y="267"/>
                  <a:pt x="1657" y="268"/>
                  <a:pt x="1657" y="268"/>
                </a:cubicBezTo>
                <a:close/>
                <a:moveTo>
                  <a:pt x="1693" y="267"/>
                </a:moveTo>
                <a:cubicBezTo>
                  <a:pt x="1694" y="267"/>
                  <a:pt x="1695" y="267"/>
                  <a:pt x="1696" y="267"/>
                </a:cubicBezTo>
                <a:cubicBezTo>
                  <a:pt x="1696" y="266"/>
                  <a:pt x="1696" y="266"/>
                  <a:pt x="1696" y="266"/>
                </a:cubicBezTo>
                <a:cubicBezTo>
                  <a:pt x="1697" y="266"/>
                  <a:pt x="1696" y="265"/>
                  <a:pt x="1696" y="264"/>
                </a:cubicBezTo>
                <a:cubicBezTo>
                  <a:pt x="1696" y="265"/>
                  <a:pt x="1695" y="265"/>
                  <a:pt x="1694" y="266"/>
                </a:cubicBezTo>
                <a:cubicBezTo>
                  <a:pt x="1693" y="266"/>
                  <a:pt x="1693" y="266"/>
                  <a:pt x="1693" y="267"/>
                </a:cubicBezTo>
                <a:close/>
                <a:moveTo>
                  <a:pt x="1713" y="264"/>
                </a:moveTo>
                <a:cubicBezTo>
                  <a:pt x="1712" y="264"/>
                  <a:pt x="1714" y="265"/>
                  <a:pt x="1714" y="264"/>
                </a:cubicBezTo>
                <a:cubicBezTo>
                  <a:pt x="1713" y="264"/>
                  <a:pt x="1713" y="264"/>
                  <a:pt x="1713" y="264"/>
                </a:cubicBezTo>
                <a:close/>
                <a:moveTo>
                  <a:pt x="207" y="263"/>
                </a:moveTo>
                <a:cubicBezTo>
                  <a:pt x="205" y="262"/>
                  <a:pt x="206" y="265"/>
                  <a:pt x="207" y="263"/>
                </a:cubicBezTo>
                <a:close/>
                <a:moveTo>
                  <a:pt x="204" y="261"/>
                </a:moveTo>
                <a:cubicBezTo>
                  <a:pt x="204" y="262"/>
                  <a:pt x="204" y="261"/>
                  <a:pt x="204" y="261"/>
                </a:cubicBezTo>
                <a:cubicBezTo>
                  <a:pt x="205" y="261"/>
                  <a:pt x="205" y="261"/>
                  <a:pt x="205" y="261"/>
                </a:cubicBezTo>
                <a:cubicBezTo>
                  <a:pt x="205" y="260"/>
                  <a:pt x="204" y="260"/>
                  <a:pt x="204" y="260"/>
                </a:cubicBezTo>
                <a:cubicBezTo>
                  <a:pt x="204" y="261"/>
                  <a:pt x="204" y="261"/>
                  <a:pt x="204" y="261"/>
                </a:cubicBezTo>
                <a:close/>
                <a:moveTo>
                  <a:pt x="1632" y="261"/>
                </a:moveTo>
                <a:cubicBezTo>
                  <a:pt x="1632" y="260"/>
                  <a:pt x="1632" y="261"/>
                  <a:pt x="1631" y="261"/>
                </a:cubicBezTo>
                <a:cubicBezTo>
                  <a:pt x="1630" y="260"/>
                  <a:pt x="1629" y="260"/>
                  <a:pt x="1628" y="260"/>
                </a:cubicBezTo>
                <a:cubicBezTo>
                  <a:pt x="1629" y="261"/>
                  <a:pt x="1629" y="260"/>
                  <a:pt x="1629" y="261"/>
                </a:cubicBezTo>
                <a:cubicBezTo>
                  <a:pt x="1629" y="261"/>
                  <a:pt x="1630" y="262"/>
                  <a:pt x="1630" y="262"/>
                </a:cubicBezTo>
                <a:cubicBezTo>
                  <a:pt x="1631" y="262"/>
                  <a:pt x="1631" y="261"/>
                  <a:pt x="1632" y="261"/>
                </a:cubicBezTo>
                <a:close/>
                <a:moveTo>
                  <a:pt x="4" y="260"/>
                </a:moveTo>
                <a:cubicBezTo>
                  <a:pt x="3" y="260"/>
                  <a:pt x="5" y="261"/>
                  <a:pt x="4" y="260"/>
                </a:cubicBezTo>
                <a:cubicBezTo>
                  <a:pt x="4" y="260"/>
                  <a:pt x="4" y="260"/>
                  <a:pt x="4" y="260"/>
                </a:cubicBezTo>
                <a:close/>
                <a:moveTo>
                  <a:pt x="1325" y="260"/>
                </a:moveTo>
                <a:cubicBezTo>
                  <a:pt x="1326" y="260"/>
                  <a:pt x="1326" y="258"/>
                  <a:pt x="1325" y="260"/>
                </a:cubicBezTo>
                <a:cubicBezTo>
                  <a:pt x="1325" y="260"/>
                  <a:pt x="1325" y="260"/>
                  <a:pt x="1325" y="260"/>
                </a:cubicBezTo>
                <a:close/>
                <a:moveTo>
                  <a:pt x="7" y="259"/>
                </a:moveTo>
                <a:cubicBezTo>
                  <a:pt x="7" y="259"/>
                  <a:pt x="7" y="259"/>
                  <a:pt x="8" y="259"/>
                </a:cubicBezTo>
                <a:cubicBezTo>
                  <a:pt x="7" y="259"/>
                  <a:pt x="7" y="259"/>
                  <a:pt x="7" y="259"/>
                </a:cubicBezTo>
                <a:cubicBezTo>
                  <a:pt x="7" y="259"/>
                  <a:pt x="7" y="259"/>
                  <a:pt x="7" y="259"/>
                </a:cubicBezTo>
                <a:close/>
                <a:moveTo>
                  <a:pt x="1724" y="258"/>
                </a:moveTo>
                <a:cubicBezTo>
                  <a:pt x="1725" y="259"/>
                  <a:pt x="1725" y="259"/>
                  <a:pt x="1723" y="259"/>
                </a:cubicBezTo>
                <a:cubicBezTo>
                  <a:pt x="1723" y="260"/>
                  <a:pt x="1722" y="263"/>
                  <a:pt x="1722" y="263"/>
                </a:cubicBezTo>
                <a:cubicBezTo>
                  <a:pt x="1722" y="263"/>
                  <a:pt x="1723" y="262"/>
                  <a:pt x="1723" y="262"/>
                </a:cubicBezTo>
                <a:cubicBezTo>
                  <a:pt x="1724" y="262"/>
                  <a:pt x="1724" y="262"/>
                  <a:pt x="1724" y="261"/>
                </a:cubicBezTo>
                <a:cubicBezTo>
                  <a:pt x="1724" y="261"/>
                  <a:pt x="1725" y="260"/>
                  <a:pt x="1725" y="259"/>
                </a:cubicBezTo>
                <a:cubicBezTo>
                  <a:pt x="1726" y="259"/>
                  <a:pt x="1727" y="258"/>
                  <a:pt x="1727" y="257"/>
                </a:cubicBezTo>
                <a:cubicBezTo>
                  <a:pt x="1726" y="257"/>
                  <a:pt x="1725" y="258"/>
                  <a:pt x="1724" y="258"/>
                </a:cubicBezTo>
                <a:cubicBezTo>
                  <a:pt x="1724" y="259"/>
                  <a:pt x="1724" y="258"/>
                  <a:pt x="1724" y="258"/>
                </a:cubicBezTo>
                <a:close/>
                <a:moveTo>
                  <a:pt x="429" y="258"/>
                </a:moveTo>
                <a:cubicBezTo>
                  <a:pt x="430" y="259"/>
                  <a:pt x="432" y="260"/>
                  <a:pt x="433" y="260"/>
                </a:cubicBezTo>
                <a:cubicBezTo>
                  <a:pt x="433" y="259"/>
                  <a:pt x="433" y="259"/>
                  <a:pt x="433" y="258"/>
                </a:cubicBezTo>
                <a:cubicBezTo>
                  <a:pt x="433" y="258"/>
                  <a:pt x="430" y="257"/>
                  <a:pt x="431" y="257"/>
                </a:cubicBezTo>
                <a:cubicBezTo>
                  <a:pt x="430" y="257"/>
                  <a:pt x="428" y="257"/>
                  <a:pt x="429" y="258"/>
                </a:cubicBezTo>
                <a:cubicBezTo>
                  <a:pt x="429" y="259"/>
                  <a:pt x="429" y="258"/>
                  <a:pt x="429" y="258"/>
                </a:cubicBezTo>
                <a:close/>
                <a:moveTo>
                  <a:pt x="1731" y="257"/>
                </a:moveTo>
                <a:cubicBezTo>
                  <a:pt x="1731" y="257"/>
                  <a:pt x="1731" y="257"/>
                  <a:pt x="1731" y="258"/>
                </a:cubicBezTo>
                <a:cubicBezTo>
                  <a:pt x="1730" y="258"/>
                  <a:pt x="1730" y="259"/>
                  <a:pt x="1729" y="259"/>
                </a:cubicBezTo>
                <a:cubicBezTo>
                  <a:pt x="1730" y="261"/>
                  <a:pt x="1733" y="258"/>
                  <a:pt x="1733" y="257"/>
                </a:cubicBezTo>
                <a:cubicBezTo>
                  <a:pt x="1732" y="256"/>
                  <a:pt x="1732" y="256"/>
                  <a:pt x="1731" y="257"/>
                </a:cubicBezTo>
                <a:cubicBezTo>
                  <a:pt x="1731" y="257"/>
                  <a:pt x="1731" y="257"/>
                  <a:pt x="1731" y="257"/>
                </a:cubicBezTo>
                <a:close/>
                <a:moveTo>
                  <a:pt x="847" y="256"/>
                </a:moveTo>
                <a:cubicBezTo>
                  <a:pt x="845" y="256"/>
                  <a:pt x="845" y="256"/>
                  <a:pt x="844" y="257"/>
                </a:cubicBezTo>
                <a:cubicBezTo>
                  <a:pt x="845" y="257"/>
                  <a:pt x="847" y="257"/>
                  <a:pt x="847" y="256"/>
                </a:cubicBezTo>
                <a:cubicBezTo>
                  <a:pt x="846" y="256"/>
                  <a:pt x="847" y="256"/>
                  <a:pt x="847" y="256"/>
                </a:cubicBezTo>
                <a:close/>
                <a:moveTo>
                  <a:pt x="200" y="256"/>
                </a:moveTo>
                <a:cubicBezTo>
                  <a:pt x="200" y="256"/>
                  <a:pt x="200" y="256"/>
                  <a:pt x="199" y="256"/>
                </a:cubicBezTo>
                <a:cubicBezTo>
                  <a:pt x="200" y="256"/>
                  <a:pt x="200" y="256"/>
                  <a:pt x="200" y="256"/>
                </a:cubicBezTo>
                <a:close/>
                <a:moveTo>
                  <a:pt x="192" y="259"/>
                </a:moveTo>
                <a:cubicBezTo>
                  <a:pt x="192" y="258"/>
                  <a:pt x="192" y="257"/>
                  <a:pt x="191" y="257"/>
                </a:cubicBezTo>
                <a:cubicBezTo>
                  <a:pt x="191" y="257"/>
                  <a:pt x="190" y="257"/>
                  <a:pt x="191" y="257"/>
                </a:cubicBezTo>
                <a:cubicBezTo>
                  <a:pt x="191" y="256"/>
                  <a:pt x="190" y="256"/>
                  <a:pt x="189" y="255"/>
                </a:cubicBezTo>
                <a:cubicBezTo>
                  <a:pt x="189" y="256"/>
                  <a:pt x="189" y="256"/>
                  <a:pt x="188" y="256"/>
                </a:cubicBezTo>
                <a:cubicBezTo>
                  <a:pt x="187" y="256"/>
                  <a:pt x="188" y="257"/>
                  <a:pt x="187" y="257"/>
                </a:cubicBezTo>
                <a:cubicBezTo>
                  <a:pt x="187" y="257"/>
                  <a:pt x="187" y="257"/>
                  <a:pt x="187" y="257"/>
                </a:cubicBezTo>
                <a:cubicBezTo>
                  <a:pt x="187" y="258"/>
                  <a:pt x="188" y="258"/>
                  <a:pt x="188" y="258"/>
                </a:cubicBezTo>
                <a:cubicBezTo>
                  <a:pt x="188" y="258"/>
                  <a:pt x="187" y="258"/>
                  <a:pt x="187" y="258"/>
                </a:cubicBezTo>
                <a:cubicBezTo>
                  <a:pt x="187" y="259"/>
                  <a:pt x="188" y="261"/>
                  <a:pt x="190" y="261"/>
                </a:cubicBezTo>
                <a:cubicBezTo>
                  <a:pt x="191" y="262"/>
                  <a:pt x="191" y="262"/>
                  <a:pt x="191" y="262"/>
                </a:cubicBezTo>
                <a:cubicBezTo>
                  <a:pt x="191" y="263"/>
                  <a:pt x="192" y="263"/>
                  <a:pt x="192" y="263"/>
                </a:cubicBezTo>
                <a:cubicBezTo>
                  <a:pt x="192" y="262"/>
                  <a:pt x="192" y="262"/>
                  <a:pt x="192" y="262"/>
                </a:cubicBezTo>
                <a:cubicBezTo>
                  <a:pt x="191" y="261"/>
                  <a:pt x="191" y="261"/>
                  <a:pt x="192" y="260"/>
                </a:cubicBezTo>
                <a:cubicBezTo>
                  <a:pt x="192" y="260"/>
                  <a:pt x="193" y="260"/>
                  <a:pt x="193" y="260"/>
                </a:cubicBezTo>
                <a:cubicBezTo>
                  <a:pt x="193" y="259"/>
                  <a:pt x="192" y="259"/>
                  <a:pt x="191" y="259"/>
                </a:cubicBezTo>
                <a:cubicBezTo>
                  <a:pt x="191" y="259"/>
                  <a:pt x="191" y="259"/>
                  <a:pt x="192" y="259"/>
                </a:cubicBezTo>
                <a:cubicBezTo>
                  <a:pt x="192" y="258"/>
                  <a:pt x="192" y="259"/>
                  <a:pt x="192" y="259"/>
                </a:cubicBezTo>
                <a:close/>
                <a:moveTo>
                  <a:pt x="15" y="255"/>
                </a:moveTo>
                <a:cubicBezTo>
                  <a:pt x="15" y="255"/>
                  <a:pt x="14" y="255"/>
                  <a:pt x="14" y="255"/>
                </a:cubicBezTo>
                <a:cubicBezTo>
                  <a:pt x="14" y="256"/>
                  <a:pt x="14" y="257"/>
                  <a:pt x="13" y="258"/>
                </a:cubicBezTo>
                <a:cubicBezTo>
                  <a:pt x="14" y="258"/>
                  <a:pt x="14" y="258"/>
                  <a:pt x="14" y="257"/>
                </a:cubicBezTo>
                <a:cubicBezTo>
                  <a:pt x="15" y="256"/>
                  <a:pt x="15" y="256"/>
                  <a:pt x="16" y="256"/>
                </a:cubicBezTo>
                <a:cubicBezTo>
                  <a:pt x="17" y="255"/>
                  <a:pt x="17" y="255"/>
                  <a:pt x="17" y="254"/>
                </a:cubicBezTo>
                <a:cubicBezTo>
                  <a:pt x="16" y="254"/>
                  <a:pt x="15" y="254"/>
                  <a:pt x="15" y="255"/>
                </a:cubicBezTo>
                <a:cubicBezTo>
                  <a:pt x="15" y="255"/>
                  <a:pt x="15" y="255"/>
                  <a:pt x="15" y="255"/>
                </a:cubicBezTo>
                <a:close/>
                <a:moveTo>
                  <a:pt x="1490" y="303"/>
                </a:moveTo>
                <a:cubicBezTo>
                  <a:pt x="1490" y="305"/>
                  <a:pt x="1490" y="305"/>
                  <a:pt x="1490" y="307"/>
                </a:cubicBezTo>
                <a:cubicBezTo>
                  <a:pt x="1490" y="307"/>
                  <a:pt x="1489" y="307"/>
                  <a:pt x="1489" y="307"/>
                </a:cubicBezTo>
                <a:cubicBezTo>
                  <a:pt x="1489" y="308"/>
                  <a:pt x="1490" y="307"/>
                  <a:pt x="1490" y="307"/>
                </a:cubicBezTo>
                <a:cubicBezTo>
                  <a:pt x="1491" y="307"/>
                  <a:pt x="1491" y="306"/>
                  <a:pt x="1491" y="305"/>
                </a:cubicBezTo>
                <a:cubicBezTo>
                  <a:pt x="1491" y="305"/>
                  <a:pt x="1492" y="304"/>
                  <a:pt x="1492" y="303"/>
                </a:cubicBezTo>
                <a:cubicBezTo>
                  <a:pt x="1492" y="303"/>
                  <a:pt x="1493" y="303"/>
                  <a:pt x="1493" y="303"/>
                </a:cubicBezTo>
                <a:cubicBezTo>
                  <a:pt x="1493" y="303"/>
                  <a:pt x="1494" y="304"/>
                  <a:pt x="1494" y="305"/>
                </a:cubicBezTo>
                <a:cubicBezTo>
                  <a:pt x="1495" y="305"/>
                  <a:pt x="1496" y="306"/>
                  <a:pt x="1496" y="307"/>
                </a:cubicBezTo>
                <a:cubicBezTo>
                  <a:pt x="1496" y="307"/>
                  <a:pt x="1496" y="308"/>
                  <a:pt x="1496" y="308"/>
                </a:cubicBezTo>
                <a:cubicBezTo>
                  <a:pt x="1497" y="308"/>
                  <a:pt x="1497" y="307"/>
                  <a:pt x="1497" y="306"/>
                </a:cubicBezTo>
                <a:cubicBezTo>
                  <a:pt x="1497" y="306"/>
                  <a:pt x="1497" y="306"/>
                  <a:pt x="1497" y="305"/>
                </a:cubicBezTo>
                <a:cubicBezTo>
                  <a:pt x="1497" y="305"/>
                  <a:pt x="1497" y="306"/>
                  <a:pt x="1497" y="305"/>
                </a:cubicBezTo>
                <a:cubicBezTo>
                  <a:pt x="1497" y="305"/>
                  <a:pt x="1497" y="303"/>
                  <a:pt x="1497" y="303"/>
                </a:cubicBezTo>
                <a:cubicBezTo>
                  <a:pt x="1496" y="303"/>
                  <a:pt x="1496" y="303"/>
                  <a:pt x="1496" y="303"/>
                </a:cubicBezTo>
                <a:cubicBezTo>
                  <a:pt x="1495" y="303"/>
                  <a:pt x="1495" y="302"/>
                  <a:pt x="1495" y="302"/>
                </a:cubicBezTo>
                <a:cubicBezTo>
                  <a:pt x="1495" y="301"/>
                  <a:pt x="1495" y="301"/>
                  <a:pt x="1495" y="300"/>
                </a:cubicBezTo>
                <a:cubicBezTo>
                  <a:pt x="1495" y="300"/>
                  <a:pt x="1495" y="300"/>
                  <a:pt x="1494" y="299"/>
                </a:cubicBezTo>
                <a:cubicBezTo>
                  <a:pt x="1494" y="299"/>
                  <a:pt x="1494" y="299"/>
                  <a:pt x="1494" y="299"/>
                </a:cubicBezTo>
                <a:cubicBezTo>
                  <a:pt x="1494" y="298"/>
                  <a:pt x="1494" y="298"/>
                  <a:pt x="1494" y="297"/>
                </a:cubicBezTo>
                <a:cubicBezTo>
                  <a:pt x="1494" y="297"/>
                  <a:pt x="1493" y="298"/>
                  <a:pt x="1493" y="297"/>
                </a:cubicBezTo>
                <a:cubicBezTo>
                  <a:pt x="1493" y="296"/>
                  <a:pt x="1494" y="296"/>
                  <a:pt x="1494" y="295"/>
                </a:cubicBezTo>
                <a:cubicBezTo>
                  <a:pt x="1494" y="294"/>
                  <a:pt x="1494" y="293"/>
                  <a:pt x="1494" y="292"/>
                </a:cubicBezTo>
                <a:cubicBezTo>
                  <a:pt x="1495" y="292"/>
                  <a:pt x="1495" y="292"/>
                  <a:pt x="1495" y="291"/>
                </a:cubicBezTo>
                <a:cubicBezTo>
                  <a:pt x="1495" y="290"/>
                  <a:pt x="1495" y="290"/>
                  <a:pt x="1495" y="289"/>
                </a:cubicBezTo>
                <a:cubicBezTo>
                  <a:pt x="1495" y="288"/>
                  <a:pt x="1495" y="288"/>
                  <a:pt x="1496" y="287"/>
                </a:cubicBezTo>
                <a:cubicBezTo>
                  <a:pt x="1496" y="286"/>
                  <a:pt x="1496" y="285"/>
                  <a:pt x="1497" y="285"/>
                </a:cubicBezTo>
                <a:cubicBezTo>
                  <a:pt x="1497" y="285"/>
                  <a:pt x="1497" y="285"/>
                  <a:pt x="1497" y="285"/>
                </a:cubicBezTo>
                <a:cubicBezTo>
                  <a:pt x="1497" y="284"/>
                  <a:pt x="1498" y="284"/>
                  <a:pt x="1499" y="284"/>
                </a:cubicBezTo>
                <a:cubicBezTo>
                  <a:pt x="1500" y="284"/>
                  <a:pt x="1500" y="285"/>
                  <a:pt x="1501" y="286"/>
                </a:cubicBezTo>
                <a:cubicBezTo>
                  <a:pt x="1502" y="287"/>
                  <a:pt x="1503" y="288"/>
                  <a:pt x="1503" y="286"/>
                </a:cubicBezTo>
                <a:cubicBezTo>
                  <a:pt x="1503" y="286"/>
                  <a:pt x="1502" y="285"/>
                  <a:pt x="1502" y="285"/>
                </a:cubicBezTo>
                <a:cubicBezTo>
                  <a:pt x="1501" y="285"/>
                  <a:pt x="1501" y="285"/>
                  <a:pt x="1501" y="284"/>
                </a:cubicBezTo>
                <a:cubicBezTo>
                  <a:pt x="1501" y="284"/>
                  <a:pt x="1501" y="283"/>
                  <a:pt x="1501" y="283"/>
                </a:cubicBezTo>
                <a:cubicBezTo>
                  <a:pt x="1500" y="283"/>
                  <a:pt x="1501" y="282"/>
                  <a:pt x="1500" y="282"/>
                </a:cubicBezTo>
                <a:cubicBezTo>
                  <a:pt x="1500" y="282"/>
                  <a:pt x="1500" y="283"/>
                  <a:pt x="1499" y="282"/>
                </a:cubicBezTo>
                <a:cubicBezTo>
                  <a:pt x="1499" y="281"/>
                  <a:pt x="1498" y="280"/>
                  <a:pt x="1497" y="280"/>
                </a:cubicBezTo>
                <a:cubicBezTo>
                  <a:pt x="1498" y="279"/>
                  <a:pt x="1497" y="278"/>
                  <a:pt x="1498" y="278"/>
                </a:cubicBezTo>
                <a:cubicBezTo>
                  <a:pt x="1498" y="277"/>
                  <a:pt x="1498" y="276"/>
                  <a:pt x="1498" y="275"/>
                </a:cubicBezTo>
                <a:cubicBezTo>
                  <a:pt x="1498" y="275"/>
                  <a:pt x="1498" y="275"/>
                  <a:pt x="1497" y="275"/>
                </a:cubicBezTo>
                <a:cubicBezTo>
                  <a:pt x="1497" y="274"/>
                  <a:pt x="1498" y="274"/>
                  <a:pt x="1497" y="274"/>
                </a:cubicBezTo>
                <a:cubicBezTo>
                  <a:pt x="1497" y="272"/>
                  <a:pt x="1497" y="270"/>
                  <a:pt x="1498" y="269"/>
                </a:cubicBezTo>
                <a:cubicBezTo>
                  <a:pt x="1498" y="269"/>
                  <a:pt x="1497" y="269"/>
                  <a:pt x="1497" y="269"/>
                </a:cubicBezTo>
                <a:cubicBezTo>
                  <a:pt x="1497" y="267"/>
                  <a:pt x="1498" y="266"/>
                  <a:pt x="1498" y="265"/>
                </a:cubicBezTo>
                <a:cubicBezTo>
                  <a:pt x="1498" y="264"/>
                  <a:pt x="1498" y="264"/>
                  <a:pt x="1498" y="263"/>
                </a:cubicBezTo>
                <a:cubicBezTo>
                  <a:pt x="1498" y="263"/>
                  <a:pt x="1498" y="263"/>
                  <a:pt x="1498" y="263"/>
                </a:cubicBezTo>
                <a:cubicBezTo>
                  <a:pt x="1498" y="263"/>
                  <a:pt x="1498" y="263"/>
                  <a:pt x="1498" y="262"/>
                </a:cubicBezTo>
                <a:cubicBezTo>
                  <a:pt x="1497" y="262"/>
                  <a:pt x="1497" y="262"/>
                  <a:pt x="1497" y="261"/>
                </a:cubicBezTo>
                <a:cubicBezTo>
                  <a:pt x="1497" y="261"/>
                  <a:pt x="1497" y="260"/>
                  <a:pt x="1496" y="260"/>
                </a:cubicBezTo>
                <a:cubicBezTo>
                  <a:pt x="1496" y="260"/>
                  <a:pt x="1497" y="260"/>
                  <a:pt x="1496" y="260"/>
                </a:cubicBezTo>
                <a:cubicBezTo>
                  <a:pt x="1496" y="260"/>
                  <a:pt x="1496" y="258"/>
                  <a:pt x="1496" y="258"/>
                </a:cubicBezTo>
                <a:cubicBezTo>
                  <a:pt x="1496" y="257"/>
                  <a:pt x="1496" y="257"/>
                  <a:pt x="1497" y="257"/>
                </a:cubicBezTo>
                <a:cubicBezTo>
                  <a:pt x="1497" y="256"/>
                  <a:pt x="1497" y="256"/>
                  <a:pt x="1497" y="255"/>
                </a:cubicBezTo>
                <a:cubicBezTo>
                  <a:pt x="1497" y="255"/>
                  <a:pt x="1497" y="255"/>
                  <a:pt x="1497" y="254"/>
                </a:cubicBezTo>
                <a:cubicBezTo>
                  <a:pt x="1497" y="254"/>
                  <a:pt x="1496" y="254"/>
                  <a:pt x="1496" y="254"/>
                </a:cubicBezTo>
                <a:cubicBezTo>
                  <a:pt x="1496" y="254"/>
                  <a:pt x="1496" y="254"/>
                  <a:pt x="1496" y="254"/>
                </a:cubicBezTo>
                <a:cubicBezTo>
                  <a:pt x="1496" y="254"/>
                  <a:pt x="1496" y="254"/>
                  <a:pt x="1496" y="253"/>
                </a:cubicBezTo>
                <a:cubicBezTo>
                  <a:pt x="1496" y="252"/>
                  <a:pt x="1496" y="251"/>
                  <a:pt x="1495" y="252"/>
                </a:cubicBezTo>
                <a:cubicBezTo>
                  <a:pt x="1494" y="254"/>
                  <a:pt x="1495" y="254"/>
                  <a:pt x="1493" y="254"/>
                </a:cubicBezTo>
                <a:cubicBezTo>
                  <a:pt x="1493" y="255"/>
                  <a:pt x="1493" y="256"/>
                  <a:pt x="1493" y="257"/>
                </a:cubicBezTo>
                <a:cubicBezTo>
                  <a:pt x="1494" y="257"/>
                  <a:pt x="1494" y="257"/>
                  <a:pt x="1494" y="258"/>
                </a:cubicBezTo>
                <a:cubicBezTo>
                  <a:pt x="1494" y="258"/>
                  <a:pt x="1494" y="258"/>
                  <a:pt x="1494" y="258"/>
                </a:cubicBezTo>
                <a:cubicBezTo>
                  <a:pt x="1494" y="259"/>
                  <a:pt x="1494" y="260"/>
                  <a:pt x="1493" y="260"/>
                </a:cubicBezTo>
                <a:cubicBezTo>
                  <a:pt x="1492" y="261"/>
                  <a:pt x="1491" y="261"/>
                  <a:pt x="1491" y="262"/>
                </a:cubicBezTo>
                <a:cubicBezTo>
                  <a:pt x="1491" y="263"/>
                  <a:pt x="1491" y="263"/>
                  <a:pt x="1491" y="263"/>
                </a:cubicBezTo>
                <a:cubicBezTo>
                  <a:pt x="1490" y="264"/>
                  <a:pt x="1490" y="265"/>
                  <a:pt x="1490" y="267"/>
                </a:cubicBezTo>
                <a:cubicBezTo>
                  <a:pt x="1489" y="266"/>
                  <a:pt x="1491" y="268"/>
                  <a:pt x="1490" y="268"/>
                </a:cubicBezTo>
                <a:cubicBezTo>
                  <a:pt x="1490" y="269"/>
                  <a:pt x="1490" y="270"/>
                  <a:pt x="1490" y="271"/>
                </a:cubicBezTo>
                <a:cubicBezTo>
                  <a:pt x="1490" y="271"/>
                  <a:pt x="1490" y="271"/>
                  <a:pt x="1490" y="271"/>
                </a:cubicBezTo>
                <a:cubicBezTo>
                  <a:pt x="1491" y="272"/>
                  <a:pt x="1490" y="272"/>
                  <a:pt x="1490" y="272"/>
                </a:cubicBezTo>
                <a:cubicBezTo>
                  <a:pt x="1491" y="272"/>
                  <a:pt x="1491" y="272"/>
                  <a:pt x="1491" y="273"/>
                </a:cubicBezTo>
                <a:cubicBezTo>
                  <a:pt x="1491" y="273"/>
                  <a:pt x="1491" y="274"/>
                  <a:pt x="1491" y="274"/>
                </a:cubicBezTo>
                <a:cubicBezTo>
                  <a:pt x="1491" y="275"/>
                  <a:pt x="1491" y="276"/>
                  <a:pt x="1491" y="277"/>
                </a:cubicBezTo>
                <a:cubicBezTo>
                  <a:pt x="1491" y="277"/>
                  <a:pt x="1491" y="281"/>
                  <a:pt x="1492" y="281"/>
                </a:cubicBezTo>
                <a:cubicBezTo>
                  <a:pt x="1491" y="281"/>
                  <a:pt x="1491" y="285"/>
                  <a:pt x="1491" y="286"/>
                </a:cubicBezTo>
                <a:cubicBezTo>
                  <a:pt x="1491" y="286"/>
                  <a:pt x="1491" y="285"/>
                  <a:pt x="1491" y="286"/>
                </a:cubicBezTo>
                <a:cubicBezTo>
                  <a:pt x="1491" y="287"/>
                  <a:pt x="1491" y="288"/>
                  <a:pt x="1491" y="288"/>
                </a:cubicBezTo>
                <a:cubicBezTo>
                  <a:pt x="1491" y="289"/>
                  <a:pt x="1491" y="290"/>
                  <a:pt x="1491" y="290"/>
                </a:cubicBezTo>
                <a:cubicBezTo>
                  <a:pt x="1490" y="290"/>
                  <a:pt x="1491" y="293"/>
                  <a:pt x="1491" y="293"/>
                </a:cubicBezTo>
                <a:cubicBezTo>
                  <a:pt x="1492" y="295"/>
                  <a:pt x="1491" y="297"/>
                  <a:pt x="1491" y="298"/>
                </a:cubicBezTo>
                <a:cubicBezTo>
                  <a:pt x="1491" y="299"/>
                  <a:pt x="1491" y="298"/>
                  <a:pt x="1491" y="299"/>
                </a:cubicBezTo>
                <a:cubicBezTo>
                  <a:pt x="1491" y="299"/>
                  <a:pt x="1490" y="299"/>
                  <a:pt x="1490" y="299"/>
                </a:cubicBezTo>
                <a:cubicBezTo>
                  <a:pt x="1490" y="300"/>
                  <a:pt x="1490" y="301"/>
                  <a:pt x="1491" y="301"/>
                </a:cubicBezTo>
                <a:cubicBezTo>
                  <a:pt x="1491" y="302"/>
                  <a:pt x="1491" y="303"/>
                  <a:pt x="1490" y="303"/>
                </a:cubicBezTo>
                <a:close/>
                <a:moveTo>
                  <a:pt x="23" y="252"/>
                </a:moveTo>
                <a:cubicBezTo>
                  <a:pt x="22" y="252"/>
                  <a:pt x="21" y="252"/>
                  <a:pt x="21" y="252"/>
                </a:cubicBezTo>
                <a:cubicBezTo>
                  <a:pt x="21" y="253"/>
                  <a:pt x="21" y="253"/>
                  <a:pt x="22" y="253"/>
                </a:cubicBezTo>
                <a:cubicBezTo>
                  <a:pt x="21" y="255"/>
                  <a:pt x="20" y="255"/>
                  <a:pt x="19" y="255"/>
                </a:cubicBezTo>
                <a:cubicBezTo>
                  <a:pt x="19" y="255"/>
                  <a:pt x="19" y="256"/>
                  <a:pt x="20" y="256"/>
                </a:cubicBezTo>
                <a:cubicBezTo>
                  <a:pt x="20" y="256"/>
                  <a:pt x="21" y="255"/>
                  <a:pt x="22" y="255"/>
                </a:cubicBezTo>
                <a:cubicBezTo>
                  <a:pt x="23" y="255"/>
                  <a:pt x="24" y="254"/>
                  <a:pt x="24" y="252"/>
                </a:cubicBezTo>
                <a:cubicBezTo>
                  <a:pt x="23" y="252"/>
                  <a:pt x="23" y="252"/>
                  <a:pt x="23" y="252"/>
                </a:cubicBezTo>
                <a:cubicBezTo>
                  <a:pt x="22" y="252"/>
                  <a:pt x="23" y="252"/>
                  <a:pt x="23" y="252"/>
                </a:cubicBezTo>
                <a:close/>
                <a:moveTo>
                  <a:pt x="196" y="251"/>
                </a:moveTo>
                <a:cubicBezTo>
                  <a:pt x="196" y="252"/>
                  <a:pt x="199" y="251"/>
                  <a:pt x="196" y="251"/>
                </a:cubicBezTo>
                <a:cubicBezTo>
                  <a:pt x="196" y="251"/>
                  <a:pt x="196" y="251"/>
                  <a:pt x="196" y="251"/>
                </a:cubicBezTo>
                <a:close/>
                <a:moveTo>
                  <a:pt x="188" y="256"/>
                </a:moveTo>
                <a:cubicBezTo>
                  <a:pt x="188" y="255"/>
                  <a:pt x="189" y="256"/>
                  <a:pt x="189" y="255"/>
                </a:cubicBezTo>
                <a:cubicBezTo>
                  <a:pt x="189" y="254"/>
                  <a:pt x="189" y="254"/>
                  <a:pt x="189" y="253"/>
                </a:cubicBezTo>
                <a:cubicBezTo>
                  <a:pt x="189" y="252"/>
                  <a:pt x="190" y="251"/>
                  <a:pt x="190" y="250"/>
                </a:cubicBezTo>
                <a:cubicBezTo>
                  <a:pt x="189" y="250"/>
                  <a:pt x="189" y="250"/>
                  <a:pt x="188" y="250"/>
                </a:cubicBezTo>
                <a:cubicBezTo>
                  <a:pt x="188" y="250"/>
                  <a:pt x="187" y="250"/>
                  <a:pt x="187" y="250"/>
                </a:cubicBezTo>
                <a:cubicBezTo>
                  <a:pt x="187" y="250"/>
                  <a:pt x="187" y="251"/>
                  <a:pt x="186" y="251"/>
                </a:cubicBezTo>
                <a:cubicBezTo>
                  <a:pt x="186" y="250"/>
                  <a:pt x="185" y="250"/>
                  <a:pt x="184" y="250"/>
                </a:cubicBezTo>
                <a:cubicBezTo>
                  <a:pt x="184" y="251"/>
                  <a:pt x="184" y="252"/>
                  <a:pt x="184" y="252"/>
                </a:cubicBezTo>
                <a:cubicBezTo>
                  <a:pt x="185" y="252"/>
                  <a:pt x="185" y="253"/>
                  <a:pt x="185" y="253"/>
                </a:cubicBezTo>
                <a:cubicBezTo>
                  <a:pt x="185" y="254"/>
                  <a:pt x="184" y="255"/>
                  <a:pt x="185" y="255"/>
                </a:cubicBezTo>
                <a:cubicBezTo>
                  <a:pt x="185" y="255"/>
                  <a:pt x="185" y="255"/>
                  <a:pt x="186" y="255"/>
                </a:cubicBezTo>
                <a:cubicBezTo>
                  <a:pt x="186" y="256"/>
                  <a:pt x="185" y="256"/>
                  <a:pt x="185" y="257"/>
                </a:cubicBezTo>
                <a:cubicBezTo>
                  <a:pt x="186" y="256"/>
                  <a:pt x="187" y="256"/>
                  <a:pt x="188" y="256"/>
                </a:cubicBezTo>
                <a:close/>
                <a:moveTo>
                  <a:pt x="1746" y="248"/>
                </a:moveTo>
                <a:cubicBezTo>
                  <a:pt x="1745" y="248"/>
                  <a:pt x="1742" y="248"/>
                  <a:pt x="1742" y="249"/>
                </a:cubicBezTo>
                <a:cubicBezTo>
                  <a:pt x="1741" y="250"/>
                  <a:pt x="1740" y="250"/>
                  <a:pt x="1740" y="252"/>
                </a:cubicBezTo>
                <a:cubicBezTo>
                  <a:pt x="1741" y="252"/>
                  <a:pt x="1742" y="252"/>
                  <a:pt x="1742" y="251"/>
                </a:cubicBezTo>
                <a:cubicBezTo>
                  <a:pt x="1742" y="250"/>
                  <a:pt x="1742" y="251"/>
                  <a:pt x="1743" y="251"/>
                </a:cubicBezTo>
                <a:cubicBezTo>
                  <a:pt x="1743" y="250"/>
                  <a:pt x="1743" y="250"/>
                  <a:pt x="1743" y="250"/>
                </a:cubicBezTo>
                <a:cubicBezTo>
                  <a:pt x="1744" y="250"/>
                  <a:pt x="1745" y="250"/>
                  <a:pt x="1745" y="250"/>
                </a:cubicBezTo>
                <a:cubicBezTo>
                  <a:pt x="1746" y="250"/>
                  <a:pt x="1746" y="250"/>
                  <a:pt x="1747" y="249"/>
                </a:cubicBezTo>
                <a:cubicBezTo>
                  <a:pt x="1749" y="249"/>
                  <a:pt x="1746" y="248"/>
                  <a:pt x="1746" y="248"/>
                </a:cubicBezTo>
                <a:cubicBezTo>
                  <a:pt x="1745" y="248"/>
                  <a:pt x="1746" y="248"/>
                  <a:pt x="1746" y="248"/>
                </a:cubicBezTo>
                <a:close/>
                <a:moveTo>
                  <a:pt x="1468" y="248"/>
                </a:moveTo>
                <a:cubicBezTo>
                  <a:pt x="1468" y="250"/>
                  <a:pt x="1468" y="249"/>
                  <a:pt x="1469" y="250"/>
                </a:cubicBezTo>
                <a:cubicBezTo>
                  <a:pt x="1470" y="250"/>
                  <a:pt x="1470" y="250"/>
                  <a:pt x="1471" y="250"/>
                </a:cubicBezTo>
                <a:cubicBezTo>
                  <a:pt x="1471" y="249"/>
                  <a:pt x="1471" y="249"/>
                  <a:pt x="1472" y="249"/>
                </a:cubicBezTo>
                <a:cubicBezTo>
                  <a:pt x="1472" y="248"/>
                  <a:pt x="1471" y="247"/>
                  <a:pt x="1470" y="247"/>
                </a:cubicBezTo>
                <a:cubicBezTo>
                  <a:pt x="1469" y="247"/>
                  <a:pt x="1469" y="248"/>
                  <a:pt x="1468" y="248"/>
                </a:cubicBezTo>
                <a:close/>
                <a:moveTo>
                  <a:pt x="1762" y="248"/>
                </a:moveTo>
                <a:cubicBezTo>
                  <a:pt x="1762" y="248"/>
                  <a:pt x="1763" y="249"/>
                  <a:pt x="1763" y="249"/>
                </a:cubicBezTo>
                <a:cubicBezTo>
                  <a:pt x="1763" y="249"/>
                  <a:pt x="1764" y="247"/>
                  <a:pt x="1764" y="246"/>
                </a:cubicBezTo>
                <a:cubicBezTo>
                  <a:pt x="1764" y="246"/>
                  <a:pt x="1764" y="246"/>
                  <a:pt x="1763" y="246"/>
                </a:cubicBezTo>
                <a:cubicBezTo>
                  <a:pt x="1763" y="246"/>
                  <a:pt x="1762" y="248"/>
                  <a:pt x="1762" y="248"/>
                </a:cubicBezTo>
                <a:cubicBezTo>
                  <a:pt x="1762" y="248"/>
                  <a:pt x="1762" y="248"/>
                  <a:pt x="1762" y="248"/>
                </a:cubicBezTo>
                <a:close/>
                <a:moveTo>
                  <a:pt x="871" y="250"/>
                </a:moveTo>
                <a:cubicBezTo>
                  <a:pt x="872" y="250"/>
                  <a:pt x="872" y="250"/>
                  <a:pt x="873" y="250"/>
                </a:cubicBezTo>
                <a:cubicBezTo>
                  <a:pt x="873" y="249"/>
                  <a:pt x="873" y="249"/>
                  <a:pt x="873" y="249"/>
                </a:cubicBezTo>
                <a:cubicBezTo>
                  <a:pt x="873" y="249"/>
                  <a:pt x="874" y="250"/>
                  <a:pt x="874" y="250"/>
                </a:cubicBezTo>
                <a:cubicBezTo>
                  <a:pt x="874" y="249"/>
                  <a:pt x="875" y="248"/>
                  <a:pt x="876" y="248"/>
                </a:cubicBezTo>
                <a:cubicBezTo>
                  <a:pt x="877" y="248"/>
                  <a:pt x="877" y="247"/>
                  <a:pt x="878" y="246"/>
                </a:cubicBezTo>
                <a:cubicBezTo>
                  <a:pt x="877" y="246"/>
                  <a:pt x="876" y="246"/>
                  <a:pt x="875" y="246"/>
                </a:cubicBezTo>
                <a:cubicBezTo>
                  <a:pt x="875" y="247"/>
                  <a:pt x="875" y="247"/>
                  <a:pt x="875" y="247"/>
                </a:cubicBezTo>
                <a:cubicBezTo>
                  <a:pt x="874" y="247"/>
                  <a:pt x="874" y="247"/>
                  <a:pt x="873" y="247"/>
                </a:cubicBezTo>
                <a:cubicBezTo>
                  <a:pt x="873" y="247"/>
                  <a:pt x="873" y="248"/>
                  <a:pt x="872" y="247"/>
                </a:cubicBezTo>
                <a:cubicBezTo>
                  <a:pt x="872" y="247"/>
                  <a:pt x="871" y="247"/>
                  <a:pt x="870" y="247"/>
                </a:cubicBezTo>
                <a:cubicBezTo>
                  <a:pt x="870" y="247"/>
                  <a:pt x="871" y="248"/>
                  <a:pt x="871" y="248"/>
                </a:cubicBezTo>
                <a:cubicBezTo>
                  <a:pt x="871" y="248"/>
                  <a:pt x="870" y="248"/>
                  <a:pt x="870" y="248"/>
                </a:cubicBezTo>
                <a:cubicBezTo>
                  <a:pt x="870" y="249"/>
                  <a:pt x="871" y="249"/>
                  <a:pt x="871" y="250"/>
                </a:cubicBezTo>
                <a:cubicBezTo>
                  <a:pt x="872" y="250"/>
                  <a:pt x="871" y="250"/>
                  <a:pt x="871" y="250"/>
                </a:cubicBezTo>
                <a:close/>
                <a:moveTo>
                  <a:pt x="1749" y="247"/>
                </a:moveTo>
                <a:cubicBezTo>
                  <a:pt x="1750" y="247"/>
                  <a:pt x="1750" y="247"/>
                  <a:pt x="1750" y="247"/>
                </a:cubicBezTo>
                <a:cubicBezTo>
                  <a:pt x="1750" y="247"/>
                  <a:pt x="1751" y="247"/>
                  <a:pt x="1751" y="247"/>
                </a:cubicBezTo>
                <a:cubicBezTo>
                  <a:pt x="1751" y="246"/>
                  <a:pt x="1751" y="246"/>
                  <a:pt x="1749" y="246"/>
                </a:cubicBezTo>
                <a:cubicBezTo>
                  <a:pt x="1749" y="246"/>
                  <a:pt x="1749" y="247"/>
                  <a:pt x="1749" y="247"/>
                </a:cubicBezTo>
                <a:cubicBezTo>
                  <a:pt x="1750" y="247"/>
                  <a:pt x="1749" y="247"/>
                  <a:pt x="1749" y="247"/>
                </a:cubicBezTo>
                <a:close/>
                <a:moveTo>
                  <a:pt x="868" y="249"/>
                </a:moveTo>
                <a:cubicBezTo>
                  <a:pt x="868" y="249"/>
                  <a:pt x="869" y="249"/>
                  <a:pt x="869" y="249"/>
                </a:cubicBezTo>
                <a:cubicBezTo>
                  <a:pt x="869" y="248"/>
                  <a:pt x="869" y="248"/>
                  <a:pt x="869" y="248"/>
                </a:cubicBezTo>
                <a:cubicBezTo>
                  <a:pt x="869" y="247"/>
                  <a:pt x="869" y="248"/>
                  <a:pt x="869" y="247"/>
                </a:cubicBezTo>
                <a:cubicBezTo>
                  <a:pt x="869" y="247"/>
                  <a:pt x="869" y="246"/>
                  <a:pt x="869" y="246"/>
                </a:cubicBezTo>
                <a:cubicBezTo>
                  <a:pt x="869" y="245"/>
                  <a:pt x="868" y="248"/>
                  <a:pt x="868" y="249"/>
                </a:cubicBezTo>
                <a:cubicBezTo>
                  <a:pt x="868" y="249"/>
                  <a:pt x="868" y="249"/>
                  <a:pt x="868" y="249"/>
                </a:cubicBezTo>
                <a:close/>
                <a:moveTo>
                  <a:pt x="1760" y="245"/>
                </a:moveTo>
                <a:cubicBezTo>
                  <a:pt x="1760" y="245"/>
                  <a:pt x="1760" y="245"/>
                  <a:pt x="1760" y="245"/>
                </a:cubicBezTo>
                <a:cubicBezTo>
                  <a:pt x="1760" y="246"/>
                  <a:pt x="1760" y="246"/>
                  <a:pt x="1761" y="246"/>
                </a:cubicBezTo>
                <a:cubicBezTo>
                  <a:pt x="1761" y="246"/>
                  <a:pt x="1762" y="246"/>
                  <a:pt x="1762" y="246"/>
                </a:cubicBezTo>
                <a:cubicBezTo>
                  <a:pt x="1762" y="245"/>
                  <a:pt x="1762" y="245"/>
                  <a:pt x="1761" y="245"/>
                </a:cubicBezTo>
                <a:cubicBezTo>
                  <a:pt x="1761" y="245"/>
                  <a:pt x="1760" y="245"/>
                  <a:pt x="1760" y="245"/>
                </a:cubicBezTo>
                <a:close/>
                <a:moveTo>
                  <a:pt x="43" y="244"/>
                </a:moveTo>
                <a:cubicBezTo>
                  <a:pt x="43" y="244"/>
                  <a:pt x="43" y="244"/>
                  <a:pt x="42" y="245"/>
                </a:cubicBezTo>
                <a:cubicBezTo>
                  <a:pt x="43" y="245"/>
                  <a:pt x="44" y="244"/>
                  <a:pt x="44" y="243"/>
                </a:cubicBezTo>
                <a:cubicBezTo>
                  <a:pt x="44" y="243"/>
                  <a:pt x="44" y="243"/>
                  <a:pt x="43" y="244"/>
                </a:cubicBezTo>
                <a:cubicBezTo>
                  <a:pt x="42" y="244"/>
                  <a:pt x="43" y="244"/>
                  <a:pt x="43" y="244"/>
                </a:cubicBezTo>
                <a:close/>
                <a:moveTo>
                  <a:pt x="38" y="243"/>
                </a:moveTo>
                <a:cubicBezTo>
                  <a:pt x="37" y="243"/>
                  <a:pt x="36" y="243"/>
                  <a:pt x="35" y="243"/>
                </a:cubicBezTo>
                <a:cubicBezTo>
                  <a:pt x="35" y="244"/>
                  <a:pt x="33" y="243"/>
                  <a:pt x="33" y="244"/>
                </a:cubicBezTo>
                <a:cubicBezTo>
                  <a:pt x="33" y="246"/>
                  <a:pt x="32" y="246"/>
                  <a:pt x="31" y="247"/>
                </a:cubicBezTo>
                <a:cubicBezTo>
                  <a:pt x="32" y="247"/>
                  <a:pt x="34" y="247"/>
                  <a:pt x="34" y="246"/>
                </a:cubicBezTo>
                <a:cubicBezTo>
                  <a:pt x="34" y="246"/>
                  <a:pt x="35" y="246"/>
                  <a:pt x="35" y="246"/>
                </a:cubicBezTo>
                <a:cubicBezTo>
                  <a:pt x="36" y="245"/>
                  <a:pt x="36" y="245"/>
                  <a:pt x="38" y="245"/>
                </a:cubicBezTo>
                <a:cubicBezTo>
                  <a:pt x="38" y="245"/>
                  <a:pt x="39" y="245"/>
                  <a:pt x="39" y="244"/>
                </a:cubicBezTo>
                <a:cubicBezTo>
                  <a:pt x="39" y="244"/>
                  <a:pt x="38" y="244"/>
                  <a:pt x="38" y="243"/>
                </a:cubicBezTo>
                <a:cubicBezTo>
                  <a:pt x="36" y="243"/>
                  <a:pt x="38" y="243"/>
                  <a:pt x="38" y="243"/>
                </a:cubicBezTo>
                <a:close/>
                <a:moveTo>
                  <a:pt x="889" y="245"/>
                </a:moveTo>
                <a:cubicBezTo>
                  <a:pt x="890" y="245"/>
                  <a:pt x="890" y="245"/>
                  <a:pt x="890" y="244"/>
                </a:cubicBezTo>
                <a:cubicBezTo>
                  <a:pt x="889" y="243"/>
                  <a:pt x="888" y="243"/>
                  <a:pt x="887" y="243"/>
                </a:cubicBezTo>
                <a:cubicBezTo>
                  <a:pt x="887" y="244"/>
                  <a:pt x="888" y="244"/>
                  <a:pt x="889" y="245"/>
                </a:cubicBezTo>
                <a:cubicBezTo>
                  <a:pt x="889" y="245"/>
                  <a:pt x="889" y="245"/>
                  <a:pt x="889" y="245"/>
                </a:cubicBezTo>
                <a:close/>
                <a:moveTo>
                  <a:pt x="774" y="261"/>
                </a:moveTo>
                <a:cubicBezTo>
                  <a:pt x="774" y="261"/>
                  <a:pt x="774" y="261"/>
                  <a:pt x="775" y="261"/>
                </a:cubicBezTo>
                <a:cubicBezTo>
                  <a:pt x="775" y="262"/>
                  <a:pt x="774" y="263"/>
                  <a:pt x="773" y="262"/>
                </a:cubicBezTo>
                <a:cubicBezTo>
                  <a:pt x="773" y="262"/>
                  <a:pt x="773" y="262"/>
                  <a:pt x="774" y="261"/>
                </a:cubicBezTo>
                <a:close/>
                <a:moveTo>
                  <a:pt x="769" y="267"/>
                </a:moveTo>
                <a:cubicBezTo>
                  <a:pt x="769" y="267"/>
                  <a:pt x="769" y="267"/>
                  <a:pt x="769" y="268"/>
                </a:cubicBezTo>
                <a:cubicBezTo>
                  <a:pt x="769" y="268"/>
                  <a:pt x="768" y="268"/>
                  <a:pt x="768" y="269"/>
                </a:cubicBezTo>
                <a:cubicBezTo>
                  <a:pt x="769" y="269"/>
                  <a:pt x="769" y="268"/>
                  <a:pt x="770" y="268"/>
                </a:cubicBezTo>
                <a:cubicBezTo>
                  <a:pt x="770" y="268"/>
                  <a:pt x="771" y="268"/>
                  <a:pt x="771" y="268"/>
                </a:cubicBezTo>
                <a:cubicBezTo>
                  <a:pt x="772" y="268"/>
                  <a:pt x="771" y="269"/>
                  <a:pt x="771" y="269"/>
                </a:cubicBezTo>
                <a:cubicBezTo>
                  <a:pt x="770" y="269"/>
                  <a:pt x="770" y="269"/>
                  <a:pt x="770" y="270"/>
                </a:cubicBezTo>
                <a:cubicBezTo>
                  <a:pt x="771" y="270"/>
                  <a:pt x="772" y="269"/>
                  <a:pt x="774" y="268"/>
                </a:cubicBezTo>
                <a:cubicBezTo>
                  <a:pt x="774" y="269"/>
                  <a:pt x="774" y="269"/>
                  <a:pt x="774" y="269"/>
                </a:cubicBezTo>
                <a:cubicBezTo>
                  <a:pt x="774" y="270"/>
                  <a:pt x="775" y="270"/>
                  <a:pt x="775" y="270"/>
                </a:cubicBezTo>
                <a:cubicBezTo>
                  <a:pt x="775" y="270"/>
                  <a:pt x="776" y="269"/>
                  <a:pt x="776" y="269"/>
                </a:cubicBezTo>
                <a:cubicBezTo>
                  <a:pt x="777" y="269"/>
                  <a:pt x="777" y="268"/>
                  <a:pt x="778" y="268"/>
                </a:cubicBezTo>
                <a:cubicBezTo>
                  <a:pt x="778" y="268"/>
                  <a:pt x="778" y="267"/>
                  <a:pt x="778" y="267"/>
                </a:cubicBezTo>
                <a:cubicBezTo>
                  <a:pt x="779" y="267"/>
                  <a:pt x="780" y="267"/>
                  <a:pt x="780" y="267"/>
                </a:cubicBezTo>
                <a:cubicBezTo>
                  <a:pt x="781" y="266"/>
                  <a:pt x="781" y="267"/>
                  <a:pt x="781" y="267"/>
                </a:cubicBezTo>
                <a:cubicBezTo>
                  <a:pt x="782" y="267"/>
                  <a:pt x="781" y="265"/>
                  <a:pt x="782" y="265"/>
                </a:cubicBezTo>
                <a:cubicBezTo>
                  <a:pt x="782" y="265"/>
                  <a:pt x="784" y="265"/>
                  <a:pt x="784" y="265"/>
                </a:cubicBezTo>
                <a:cubicBezTo>
                  <a:pt x="784" y="264"/>
                  <a:pt x="784" y="264"/>
                  <a:pt x="784" y="263"/>
                </a:cubicBezTo>
                <a:cubicBezTo>
                  <a:pt x="784" y="264"/>
                  <a:pt x="785" y="264"/>
                  <a:pt x="785" y="264"/>
                </a:cubicBezTo>
                <a:cubicBezTo>
                  <a:pt x="785" y="263"/>
                  <a:pt x="784" y="262"/>
                  <a:pt x="785" y="262"/>
                </a:cubicBezTo>
                <a:cubicBezTo>
                  <a:pt x="787" y="262"/>
                  <a:pt x="786" y="261"/>
                  <a:pt x="786" y="260"/>
                </a:cubicBezTo>
                <a:cubicBezTo>
                  <a:pt x="787" y="260"/>
                  <a:pt x="786" y="257"/>
                  <a:pt x="786" y="257"/>
                </a:cubicBezTo>
                <a:cubicBezTo>
                  <a:pt x="786" y="256"/>
                  <a:pt x="785" y="257"/>
                  <a:pt x="785" y="256"/>
                </a:cubicBezTo>
                <a:cubicBezTo>
                  <a:pt x="785" y="256"/>
                  <a:pt x="786" y="256"/>
                  <a:pt x="785" y="255"/>
                </a:cubicBezTo>
                <a:cubicBezTo>
                  <a:pt x="785" y="255"/>
                  <a:pt x="786" y="254"/>
                  <a:pt x="786" y="253"/>
                </a:cubicBezTo>
                <a:cubicBezTo>
                  <a:pt x="785" y="252"/>
                  <a:pt x="786" y="252"/>
                  <a:pt x="787" y="252"/>
                </a:cubicBezTo>
                <a:cubicBezTo>
                  <a:pt x="786" y="251"/>
                  <a:pt x="787" y="251"/>
                  <a:pt x="788" y="251"/>
                </a:cubicBezTo>
                <a:cubicBezTo>
                  <a:pt x="788" y="251"/>
                  <a:pt x="789" y="251"/>
                  <a:pt x="789" y="250"/>
                </a:cubicBezTo>
                <a:cubicBezTo>
                  <a:pt x="790" y="250"/>
                  <a:pt x="791" y="250"/>
                  <a:pt x="791" y="250"/>
                </a:cubicBezTo>
                <a:cubicBezTo>
                  <a:pt x="791" y="249"/>
                  <a:pt x="790" y="249"/>
                  <a:pt x="789" y="249"/>
                </a:cubicBezTo>
                <a:cubicBezTo>
                  <a:pt x="789" y="249"/>
                  <a:pt x="789" y="248"/>
                  <a:pt x="789" y="247"/>
                </a:cubicBezTo>
                <a:cubicBezTo>
                  <a:pt x="789" y="247"/>
                  <a:pt x="788" y="247"/>
                  <a:pt x="788" y="247"/>
                </a:cubicBezTo>
                <a:cubicBezTo>
                  <a:pt x="788" y="246"/>
                  <a:pt x="789" y="246"/>
                  <a:pt x="789" y="245"/>
                </a:cubicBezTo>
                <a:cubicBezTo>
                  <a:pt x="788" y="245"/>
                  <a:pt x="788" y="244"/>
                  <a:pt x="787" y="244"/>
                </a:cubicBezTo>
                <a:cubicBezTo>
                  <a:pt x="786" y="245"/>
                  <a:pt x="784" y="246"/>
                  <a:pt x="783" y="246"/>
                </a:cubicBezTo>
                <a:cubicBezTo>
                  <a:pt x="784" y="245"/>
                  <a:pt x="784" y="245"/>
                  <a:pt x="784" y="244"/>
                </a:cubicBezTo>
                <a:cubicBezTo>
                  <a:pt x="784" y="243"/>
                  <a:pt x="784" y="243"/>
                  <a:pt x="783" y="242"/>
                </a:cubicBezTo>
                <a:cubicBezTo>
                  <a:pt x="783" y="243"/>
                  <a:pt x="783" y="243"/>
                  <a:pt x="783" y="244"/>
                </a:cubicBezTo>
                <a:cubicBezTo>
                  <a:pt x="783" y="244"/>
                  <a:pt x="782" y="244"/>
                  <a:pt x="781" y="244"/>
                </a:cubicBezTo>
                <a:cubicBezTo>
                  <a:pt x="782" y="243"/>
                  <a:pt x="781" y="243"/>
                  <a:pt x="780" y="243"/>
                </a:cubicBezTo>
                <a:cubicBezTo>
                  <a:pt x="779" y="243"/>
                  <a:pt x="778" y="243"/>
                  <a:pt x="778" y="244"/>
                </a:cubicBezTo>
                <a:cubicBezTo>
                  <a:pt x="778" y="245"/>
                  <a:pt x="779" y="245"/>
                  <a:pt x="778" y="245"/>
                </a:cubicBezTo>
                <a:cubicBezTo>
                  <a:pt x="777" y="245"/>
                  <a:pt x="777" y="245"/>
                  <a:pt x="777" y="246"/>
                </a:cubicBezTo>
                <a:cubicBezTo>
                  <a:pt x="778" y="246"/>
                  <a:pt x="778" y="246"/>
                  <a:pt x="779" y="246"/>
                </a:cubicBezTo>
                <a:cubicBezTo>
                  <a:pt x="779" y="247"/>
                  <a:pt x="779" y="247"/>
                  <a:pt x="778" y="247"/>
                </a:cubicBezTo>
                <a:cubicBezTo>
                  <a:pt x="777" y="247"/>
                  <a:pt x="777" y="249"/>
                  <a:pt x="776" y="249"/>
                </a:cubicBezTo>
                <a:cubicBezTo>
                  <a:pt x="776" y="249"/>
                  <a:pt x="777" y="249"/>
                  <a:pt x="777" y="250"/>
                </a:cubicBezTo>
                <a:cubicBezTo>
                  <a:pt x="776" y="250"/>
                  <a:pt x="776" y="250"/>
                  <a:pt x="776" y="250"/>
                </a:cubicBezTo>
                <a:cubicBezTo>
                  <a:pt x="776" y="250"/>
                  <a:pt x="775" y="249"/>
                  <a:pt x="774" y="249"/>
                </a:cubicBezTo>
                <a:cubicBezTo>
                  <a:pt x="773" y="249"/>
                  <a:pt x="773" y="250"/>
                  <a:pt x="773" y="250"/>
                </a:cubicBezTo>
                <a:cubicBezTo>
                  <a:pt x="772" y="250"/>
                  <a:pt x="772" y="249"/>
                  <a:pt x="772" y="249"/>
                </a:cubicBezTo>
                <a:cubicBezTo>
                  <a:pt x="771" y="249"/>
                  <a:pt x="771" y="250"/>
                  <a:pt x="771" y="250"/>
                </a:cubicBezTo>
                <a:cubicBezTo>
                  <a:pt x="771" y="250"/>
                  <a:pt x="771" y="250"/>
                  <a:pt x="771" y="251"/>
                </a:cubicBezTo>
                <a:cubicBezTo>
                  <a:pt x="771" y="252"/>
                  <a:pt x="771" y="251"/>
                  <a:pt x="771" y="251"/>
                </a:cubicBezTo>
                <a:cubicBezTo>
                  <a:pt x="771" y="252"/>
                  <a:pt x="771" y="252"/>
                  <a:pt x="772" y="252"/>
                </a:cubicBezTo>
                <a:cubicBezTo>
                  <a:pt x="772" y="252"/>
                  <a:pt x="772" y="252"/>
                  <a:pt x="773" y="253"/>
                </a:cubicBezTo>
                <a:cubicBezTo>
                  <a:pt x="772" y="253"/>
                  <a:pt x="773" y="253"/>
                  <a:pt x="772" y="253"/>
                </a:cubicBezTo>
                <a:cubicBezTo>
                  <a:pt x="772" y="254"/>
                  <a:pt x="771" y="253"/>
                  <a:pt x="771" y="253"/>
                </a:cubicBezTo>
                <a:cubicBezTo>
                  <a:pt x="770" y="253"/>
                  <a:pt x="771" y="254"/>
                  <a:pt x="770" y="254"/>
                </a:cubicBezTo>
                <a:cubicBezTo>
                  <a:pt x="769" y="254"/>
                  <a:pt x="770" y="254"/>
                  <a:pt x="770" y="254"/>
                </a:cubicBezTo>
                <a:cubicBezTo>
                  <a:pt x="770" y="255"/>
                  <a:pt x="769" y="255"/>
                  <a:pt x="769" y="255"/>
                </a:cubicBezTo>
                <a:cubicBezTo>
                  <a:pt x="769" y="255"/>
                  <a:pt x="768" y="256"/>
                  <a:pt x="769" y="257"/>
                </a:cubicBezTo>
                <a:cubicBezTo>
                  <a:pt x="769" y="257"/>
                  <a:pt x="770" y="256"/>
                  <a:pt x="770" y="257"/>
                </a:cubicBezTo>
                <a:cubicBezTo>
                  <a:pt x="771" y="257"/>
                  <a:pt x="771" y="257"/>
                  <a:pt x="772" y="257"/>
                </a:cubicBezTo>
                <a:cubicBezTo>
                  <a:pt x="772" y="257"/>
                  <a:pt x="772" y="258"/>
                  <a:pt x="772" y="258"/>
                </a:cubicBezTo>
                <a:cubicBezTo>
                  <a:pt x="772" y="258"/>
                  <a:pt x="772" y="257"/>
                  <a:pt x="773" y="257"/>
                </a:cubicBezTo>
                <a:cubicBezTo>
                  <a:pt x="774" y="257"/>
                  <a:pt x="774" y="257"/>
                  <a:pt x="774" y="256"/>
                </a:cubicBezTo>
                <a:cubicBezTo>
                  <a:pt x="774" y="255"/>
                  <a:pt x="774" y="256"/>
                  <a:pt x="775" y="256"/>
                </a:cubicBezTo>
                <a:cubicBezTo>
                  <a:pt x="775" y="257"/>
                  <a:pt x="775" y="257"/>
                  <a:pt x="774" y="257"/>
                </a:cubicBezTo>
                <a:cubicBezTo>
                  <a:pt x="774" y="258"/>
                  <a:pt x="774" y="258"/>
                  <a:pt x="773" y="258"/>
                </a:cubicBezTo>
                <a:cubicBezTo>
                  <a:pt x="772" y="259"/>
                  <a:pt x="773" y="259"/>
                  <a:pt x="773" y="260"/>
                </a:cubicBezTo>
                <a:cubicBezTo>
                  <a:pt x="773" y="260"/>
                  <a:pt x="773" y="260"/>
                  <a:pt x="772" y="260"/>
                </a:cubicBezTo>
                <a:cubicBezTo>
                  <a:pt x="772" y="260"/>
                  <a:pt x="772" y="261"/>
                  <a:pt x="772" y="261"/>
                </a:cubicBezTo>
                <a:cubicBezTo>
                  <a:pt x="772" y="261"/>
                  <a:pt x="771" y="262"/>
                  <a:pt x="771" y="262"/>
                </a:cubicBezTo>
                <a:cubicBezTo>
                  <a:pt x="771" y="262"/>
                  <a:pt x="771" y="262"/>
                  <a:pt x="771" y="262"/>
                </a:cubicBezTo>
                <a:cubicBezTo>
                  <a:pt x="773" y="262"/>
                  <a:pt x="772" y="263"/>
                  <a:pt x="771" y="264"/>
                </a:cubicBezTo>
                <a:cubicBezTo>
                  <a:pt x="769" y="264"/>
                  <a:pt x="771" y="264"/>
                  <a:pt x="771" y="265"/>
                </a:cubicBezTo>
                <a:cubicBezTo>
                  <a:pt x="770" y="265"/>
                  <a:pt x="769" y="265"/>
                  <a:pt x="768" y="265"/>
                </a:cubicBezTo>
                <a:cubicBezTo>
                  <a:pt x="768" y="265"/>
                  <a:pt x="768" y="265"/>
                  <a:pt x="768" y="265"/>
                </a:cubicBezTo>
                <a:cubicBezTo>
                  <a:pt x="768" y="266"/>
                  <a:pt x="768" y="266"/>
                  <a:pt x="769" y="267"/>
                </a:cubicBezTo>
                <a:cubicBezTo>
                  <a:pt x="769" y="267"/>
                  <a:pt x="769" y="267"/>
                  <a:pt x="769" y="267"/>
                </a:cubicBezTo>
                <a:close/>
                <a:moveTo>
                  <a:pt x="866" y="245"/>
                </a:moveTo>
                <a:cubicBezTo>
                  <a:pt x="867" y="245"/>
                  <a:pt x="867" y="245"/>
                  <a:pt x="868" y="245"/>
                </a:cubicBezTo>
                <a:cubicBezTo>
                  <a:pt x="868" y="245"/>
                  <a:pt x="868" y="244"/>
                  <a:pt x="868" y="243"/>
                </a:cubicBezTo>
                <a:cubicBezTo>
                  <a:pt x="868" y="243"/>
                  <a:pt x="868" y="243"/>
                  <a:pt x="868" y="242"/>
                </a:cubicBezTo>
                <a:cubicBezTo>
                  <a:pt x="867" y="242"/>
                  <a:pt x="866" y="242"/>
                  <a:pt x="865" y="242"/>
                </a:cubicBezTo>
                <a:cubicBezTo>
                  <a:pt x="864" y="242"/>
                  <a:pt x="865" y="244"/>
                  <a:pt x="865" y="244"/>
                </a:cubicBezTo>
                <a:cubicBezTo>
                  <a:pt x="866" y="244"/>
                  <a:pt x="866" y="244"/>
                  <a:pt x="866" y="245"/>
                </a:cubicBezTo>
                <a:cubicBezTo>
                  <a:pt x="867" y="245"/>
                  <a:pt x="866" y="245"/>
                  <a:pt x="866" y="245"/>
                </a:cubicBezTo>
                <a:close/>
                <a:moveTo>
                  <a:pt x="187" y="242"/>
                </a:moveTo>
                <a:cubicBezTo>
                  <a:pt x="187" y="242"/>
                  <a:pt x="186" y="242"/>
                  <a:pt x="186" y="242"/>
                </a:cubicBezTo>
                <a:cubicBezTo>
                  <a:pt x="186" y="242"/>
                  <a:pt x="187" y="243"/>
                  <a:pt x="187" y="243"/>
                </a:cubicBezTo>
                <a:cubicBezTo>
                  <a:pt x="187" y="242"/>
                  <a:pt x="187" y="242"/>
                  <a:pt x="187" y="242"/>
                </a:cubicBezTo>
                <a:cubicBezTo>
                  <a:pt x="187" y="242"/>
                  <a:pt x="187" y="242"/>
                  <a:pt x="187" y="242"/>
                </a:cubicBezTo>
                <a:close/>
                <a:moveTo>
                  <a:pt x="54" y="244"/>
                </a:moveTo>
                <a:cubicBezTo>
                  <a:pt x="56" y="243"/>
                  <a:pt x="56" y="243"/>
                  <a:pt x="56" y="242"/>
                </a:cubicBezTo>
                <a:cubicBezTo>
                  <a:pt x="55" y="242"/>
                  <a:pt x="54" y="242"/>
                  <a:pt x="54" y="244"/>
                </a:cubicBezTo>
                <a:cubicBezTo>
                  <a:pt x="55" y="244"/>
                  <a:pt x="54" y="244"/>
                  <a:pt x="54" y="244"/>
                </a:cubicBezTo>
                <a:close/>
                <a:moveTo>
                  <a:pt x="916" y="241"/>
                </a:moveTo>
                <a:cubicBezTo>
                  <a:pt x="915" y="241"/>
                  <a:pt x="914" y="241"/>
                  <a:pt x="915" y="242"/>
                </a:cubicBezTo>
                <a:cubicBezTo>
                  <a:pt x="915" y="243"/>
                  <a:pt x="916" y="242"/>
                  <a:pt x="916" y="241"/>
                </a:cubicBezTo>
                <a:close/>
                <a:moveTo>
                  <a:pt x="790" y="242"/>
                </a:moveTo>
                <a:cubicBezTo>
                  <a:pt x="791" y="243"/>
                  <a:pt x="791" y="242"/>
                  <a:pt x="791" y="241"/>
                </a:cubicBezTo>
                <a:cubicBezTo>
                  <a:pt x="791" y="240"/>
                  <a:pt x="790" y="242"/>
                  <a:pt x="790" y="242"/>
                </a:cubicBezTo>
                <a:close/>
                <a:moveTo>
                  <a:pt x="787" y="241"/>
                </a:moveTo>
                <a:cubicBezTo>
                  <a:pt x="787" y="241"/>
                  <a:pt x="787" y="241"/>
                  <a:pt x="788" y="241"/>
                </a:cubicBezTo>
                <a:cubicBezTo>
                  <a:pt x="787" y="241"/>
                  <a:pt x="788" y="241"/>
                  <a:pt x="787" y="241"/>
                </a:cubicBezTo>
                <a:cubicBezTo>
                  <a:pt x="787" y="241"/>
                  <a:pt x="787" y="241"/>
                  <a:pt x="787" y="241"/>
                </a:cubicBezTo>
                <a:close/>
                <a:moveTo>
                  <a:pt x="53" y="240"/>
                </a:moveTo>
                <a:cubicBezTo>
                  <a:pt x="52" y="240"/>
                  <a:pt x="52" y="240"/>
                  <a:pt x="52" y="241"/>
                </a:cubicBezTo>
                <a:cubicBezTo>
                  <a:pt x="52" y="241"/>
                  <a:pt x="53" y="241"/>
                  <a:pt x="53" y="241"/>
                </a:cubicBezTo>
                <a:cubicBezTo>
                  <a:pt x="53" y="241"/>
                  <a:pt x="53" y="241"/>
                  <a:pt x="53" y="240"/>
                </a:cubicBezTo>
                <a:cubicBezTo>
                  <a:pt x="53" y="240"/>
                  <a:pt x="53" y="240"/>
                  <a:pt x="53" y="240"/>
                </a:cubicBezTo>
                <a:close/>
                <a:moveTo>
                  <a:pt x="1591" y="240"/>
                </a:moveTo>
                <a:cubicBezTo>
                  <a:pt x="1591" y="240"/>
                  <a:pt x="1591" y="240"/>
                  <a:pt x="1591" y="240"/>
                </a:cubicBezTo>
                <a:cubicBezTo>
                  <a:pt x="1591" y="240"/>
                  <a:pt x="1591" y="240"/>
                  <a:pt x="1591" y="240"/>
                </a:cubicBezTo>
                <a:close/>
                <a:moveTo>
                  <a:pt x="873" y="241"/>
                </a:moveTo>
                <a:cubicBezTo>
                  <a:pt x="873" y="241"/>
                  <a:pt x="872" y="241"/>
                  <a:pt x="872" y="240"/>
                </a:cubicBezTo>
                <a:cubicBezTo>
                  <a:pt x="872" y="239"/>
                  <a:pt x="872" y="239"/>
                  <a:pt x="871" y="239"/>
                </a:cubicBezTo>
                <a:cubicBezTo>
                  <a:pt x="871" y="239"/>
                  <a:pt x="870" y="239"/>
                  <a:pt x="870" y="240"/>
                </a:cubicBezTo>
                <a:cubicBezTo>
                  <a:pt x="870" y="241"/>
                  <a:pt x="870" y="241"/>
                  <a:pt x="869" y="241"/>
                </a:cubicBezTo>
                <a:cubicBezTo>
                  <a:pt x="869" y="242"/>
                  <a:pt x="869" y="242"/>
                  <a:pt x="870" y="242"/>
                </a:cubicBezTo>
                <a:cubicBezTo>
                  <a:pt x="871" y="243"/>
                  <a:pt x="870" y="244"/>
                  <a:pt x="870" y="245"/>
                </a:cubicBezTo>
                <a:cubicBezTo>
                  <a:pt x="870" y="245"/>
                  <a:pt x="872" y="245"/>
                  <a:pt x="872" y="245"/>
                </a:cubicBezTo>
                <a:cubicBezTo>
                  <a:pt x="872" y="244"/>
                  <a:pt x="872" y="244"/>
                  <a:pt x="873" y="244"/>
                </a:cubicBezTo>
                <a:cubicBezTo>
                  <a:pt x="873" y="244"/>
                  <a:pt x="873" y="245"/>
                  <a:pt x="873" y="244"/>
                </a:cubicBezTo>
                <a:cubicBezTo>
                  <a:pt x="873" y="245"/>
                  <a:pt x="873" y="246"/>
                  <a:pt x="873" y="246"/>
                </a:cubicBezTo>
                <a:cubicBezTo>
                  <a:pt x="874" y="246"/>
                  <a:pt x="875" y="246"/>
                  <a:pt x="875" y="245"/>
                </a:cubicBezTo>
                <a:cubicBezTo>
                  <a:pt x="875" y="244"/>
                  <a:pt x="875" y="244"/>
                  <a:pt x="876" y="244"/>
                </a:cubicBezTo>
                <a:cubicBezTo>
                  <a:pt x="878" y="243"/>
                  <a:pt x="876" y="242"/>
                  <a:pt x="875" y="242"/>
                </a:cubicBezTo>
                <a:cubicBezTo>
                  <a:pt x="876" y="241"/>
                  <a:pt x="876" y="241"/>
                  <a:pt x="877" y="241"/>
                </a:cubicBezTo>
                <a:cubicBezTo>
                  <a:pt x="877" y="240"/>
                  <a:pt x="877" y="239"/>
                  <a:pt x="876" y="239"/>
                </a:cubicBezTo>
                <a:cubicBezTo>
                  <a:pt x="876" y="238"/>
                  <a:pt x="876" y="237"/>
                  <a:pt x="876" y="237"/>
                </a:cubicBezTo>
                <a:cubicBezTo>
                  <a:pt x="875" y="237"/>
                  <a:pt x="874" y="237"/>
                  <a:pt x="874" y="237"/>
                </a:cubicBezTo>
                <a:cubicBezTo>
                  <a:pt x="873" y="237"/>
                  <a:pt x="873" y="238"/>
                  <a:pt x="873" y="238"/>
                </a:cubicBezTo>
                <a:cubicBezTo>
                  <a:pt x="873" y="238"/>
                  <a:pt x="873" y="239"/>
                  <a:pt x="873" y="239"/>
                </a:cubicBezTo>
                <a:cubicBezTo>
                  <a:pt x="873" y="239"/>
                  <a:pt x="874" y="239"/>
                  <a:pt x="874" y="240"/>
                </a:cubicBezTo>
                <a:cubicBezTo>
                  <a:pt x="873" y="240"/>
                  <a:pt x="873" y="240"/>
                  <a:pt x="873" y="241"/>
                </a:cubicBezTo>
                <a:close/>
                <a:moveTo>
                  <a:pt x="1763" y="237"/>
                </a:moveTo>
                <a:cubicBezTo>
                  <a:pt x="1762" y="238"/>
                  <a:pt x="1763" y="238"/>
                  <a:pt x="1762" y="239"/>
                </a:cubicBezTo>
                <a:cubicBezTo>
                  <a:pt x="1762" y="239"/>
                  <a:pt x="1762" y="240"/>
                  <a:pt x="1762" y="240"/>
                </a:cubicBezTo>
                <a:cubicBezTo>
                  <a:pt x="1762" y="240"/>
                  <a:pt x="1761" y="240"/>
                  <a:pt x="1760" y="241"/>
                </a:cubicBezTo>
                <a:cubicBezTo>
                  <a:pt x="1760" y="240"/>
                  <a:pt x="1760" y="240"/>
                  <a:pt x="1760" y="239"/>
                </a:cubicBezTo>
                <a:cubicBezTo>
                  <a:pt x="1759" y="239"/>
                  <a:pt x="1758" y="239"/>
                  <a:pt x="1758" y="240"/>
                </a:cubicBezTo>
                <a:cubicBezTo>
                  <a:pt x="1757" y="240"/>
                  <a:pt x="1758" y="240"/>
                  <a:pt x="1757" y="240"/>
                </a:cubicBezTo>
                <a:cubicBezTo>
                  <a:pt x="1757" y="240"/>
                  <a:pt x="1756" y="240"/>
                  <a:pt x="1756" y="240"/>
                </a:cubicBezTo>
                <a:cubicBezTo>
                  <a:pt x="1756" y="240"/>
                  <a:pt x="1755" y="241"/>
                  <a:pt x="1755" y="241"/>
                </a:cubicBezTo>
                <a:cubicBezTo>
                  <a:pt x="1755" y="241"/>
                  <a:pt x="1755" y="241"/>
                  <a:pt x="1755" y="241"/>
                </a:cubicBezTo>
                <a:cubicBezTo>
                  <a:pt x="1755" y="242"/>
                  <a:pt x="1754" y="241"/>
                  <a:pt x="1754" y="242"/>
                </a:cubicBezTo>
                <a:cubicBezTo>
                  <a:pt x="1754" y="243"/>
                  <a:pt x="1754" y="243"/>
                  <a:pt x="1753" y="243"/>
                </a:cubicBezTo>
                <a:cubicBezTo>
                  <a:pt x="1752" y="243"/>
                  <a:pt x="1753" y="243"/>
                  <a:pt x="1753" y="243"/>
                </a:cubicBezTo>
                <a:cubicBezTo>
                  <a:pt x="1752" y="243"/>
                  <a:pt x="1753" y="244"/>
                  <a:pt x="1752" y="244"/>
                </a:cubicBezTo>
                <a:cubicBezTo>
                  <a:pt x="1752" y="244"/>
                  <a:pt x="1752" y="246"/>
                  <a:pt x="1752" y="246"/>
                </a:cubicBezTo>
                <a:cubicBezTo>
                  <a:pt x="1753" y="246"/>
                  <a:pt x="1754" y="246"/>
                  <a:pt x="1754" y="245"/>
                </a:cubicBezTo>
                <a:cubicBezTo>
                  <a:pt x="1754" y="245"/>
                  <a:pt x="1754" y="245"/>
                  <a:pt x="1755" y="244"/>
                </a:cubicBezTo>
                <a:cubicBezTo>
                  <a:pt x="1755" y="244"/>
                  <a:pt x="1755" y="244"/>
                  <a:pt x="1755" y="243"/>
                </a:cubicBezTo>
                <a:cubicBezTo>
                  <a:pt x="1755" y="243"/>
                  <a:pt x="1755" y="244"/>
                  <a:pt x="1755" y="243"/>
                </a:cubicBezTo>
                <a:cubicBezTo>
                  <a:pt x="1755" y="243"/>
                  <a:pt x="1755" y="242"/>
                  <a:pt x="1755" y="242"/>
                </a:cubicBezTo>
                <a:cubicBezTo>
                  <a:pt x="1756" y="242"/>
                  <a:pt x="1757" y="243"/>
                  <a:pt x="1758" y="243"/>
                </a:cubicBezTo>
                <a:cubicBezTo>
                  <a:pt x="1759" y="243"/>
                  <a:pt x="1759" y="243"/>
                  <a:pt x="1760" y="242"/>
                </a:cubicBezTo>
                <a:cubicBezTo>
                  <a:pt x="1760" y="242"/>
                  <a:pt x="1761" y="242"/>
                  <a:pt x="1761" y="243"/>
                </a:cubicBezTo>
                <a:cubicBezTo>
                  <a:pt x="1762" y="242"/>
                  <a:pt x="1763" y="242"/>
                  <a:pt x="1764" y="241"/>
                </a:cubicBezTo>
                <a:cubicBezTo>
                  <a:pt x="1764" y="240"/>
                  <a:pt x="1764" y="241"/>
                  <a:pt x="1765" y="241"/>
                </a:cubicBezTo>
                <a:cubicBezTo>
                  <a:pt x="1765" y="241"/>
                  <a:pt x="1765" y="241"/>
                  <a:pt x="1765" y="240"/>
                </a:cubicBezTo>
                <a:cubicBezTo>
                  <a:pt x="1765" y="239"/>
                  <a:pt x="1765" y="238"/>
                  <a:pt x="1765" y="236"/>
                </a:cubicBezTo>
                <a:cubicBezTo>
                  <a:pt x="1764" y="237"/>
                  <a:pt x="1763" y="237"/>
                  <a:pt x="1763" y="237"/>
                </a:cubicBezTo>
                <a:cubicBezTo>
                  <a:pt x="1763" y="238"/>
                  <a:pt x="1763" y="237"/>
                  <a:pt x="1763" y="237"/>
                </a:cubicBezTo>
                <a:close/>
                <a:moveTo>
                  <a:pt x="789" y="239"/>
                </a:moveTo>
                <a:cubicBezTo>
                  <a:pt x="789" y="238"/>
                  <a:pt x="790" y="237"/>
                  <a:pt x="789" y="236"/>
                </a:cubicBezTo>
                <a:cubicBezTo>
                  <a:pt x="789" y="238"/>
                  <a:pt x="788" y="238"/>
                  <a:pt x="789" y="239"/>
                </a:cubicBezTo>
                <a:cubicBezTo>
                  <a:pt x="789" y="238"/>
                  <a:pt x="789" y="239"/>
                  <a:pt x="789" y="239"/>
                </a:cubicBezTo>
                <a:close/>
                <a:moveTo>
                  <a:pt x="786" y="237"/>
                </a:moveTo>
                <a:cubicBezTo>
                  <a:pt x="786" y="237"/>
                  <a:pt x="786" y="237"/>
                  <a:pt x="786" y="237"/>
                </a:cubicBezTo>
                <a:cubicBezTo>
                  <a:pt x="786" y="237"/>
                  <a:pt x="786" y="237"/>
                  <a:pt x="786" y="236"/>
                </a:cubicBezTo>
                <a:cubicBezTo>
                  <a:pt x="786" y="237"/>
                  <a:pt x="786" y="237"/>
                  <a:pt x="786" y="237"/>
                </a:cubicBezTo>
                <a:close/>
                <a:moveTo>
                  <a:pt x="439" y="235"/>
                </a:moveTo>
                <a:cubicBezTo>
                  <a:pt x="438" y="235"/>
                  <a:pt x="438" y="235"/>
                  <a:pt x="438" y="236"/>
                </a:cubicBezTo>
                <a:cubicBezTo>
                  <a:pt x="439" y="236"/>
                  <a:pt x="439" y="236"/>
                  <a:pt x="439" y="235"/>
                </a:cubicBezTo>
                <a:cubicBezTo>
                  <a:pt x="438" y="235"/>
                  <a:pt x="439" y="235"/>
                  <a:pt x="439" y="235"/>
                </a:cubicBezTo>
                <a:close/>
                <a:moveTo>
                  <a:pt x="180" y="235"/>
                </a:moveTo>
                <a:cubicBezTo>
                  <a:pt x="179" y="235"/>
                  <a:pt x="179" y="235"/>
                  <a:pt x="179" y="236"/>
                </a:cubicBezTo>
                <a:cubicBezTo>
                  <a:pt x="180" y="236"/>
                  <a:pt x="180" y="236"/>
                  <a:pt x="180" y="235"/>
                </a:cubicBezTo>
                <a:cubicBezTo>
                  <a:pt x="179" y="236"/>
                  <a:pt x="180" y="235"/>
                  <a:pt x="180" y="235"/>
                </a:cubicBezTo>
                <a:close/>
                <a:moveTo>
                  <a:pt x="188" y="234"/>
                </a:moveTo>
                <a:cubicBezTo>
                  <a:pt x="187" y="234"/>
                  <a:pt x="187" y="234"/>
                  <a:pt x="187" y="234"/>
                </a:cubicBezTo>
                <a:cubicBezTo>
                  <a:pt x="187" y="234"/>
                  <a:pt x="188" y="235"/>
                  <a:pt x="188" y="235"/>
                </a:cubicBezTo>
                <a:cubicBezTo>
                  <a:pt x="189" y="235"/>
                  <a:pt x="188" y="236"/>
                  <a:pt x="189" y="236"/>
                </a:cubicBezTo>
                <a:cubicBezTo>
                  <a:pt x="189" y="237"/>
                  <a:pt x="189" y="235"/>
                  <a:pt x="189" y="235"/>
                </a:cubicBezTo>
                <a:cubicBezTo>
                  <a:pt x="189" y="234"/>
                  <a:pt x="189" y="234"/>
                  <a:pt x="188" y="234"/>
                </a:cubicBezTo>
                <a:cubicBezTo>
                  <a:pt x="188" y="234"/>
                  <a:pt x="188" y="234"/>
                  <a:pt x="188" y="234"/>
                </a:cubicBezTo>
                <a:close/>
                <a:moveTo>
                  <a:pt x="788" y="233"/>
                </a:moveTo>
                <a:cubicBezTo>
                  <a:pt x="787" y="233"/>
                  <a:pt x="787" y="233"/>
                  <a:pt x="786" y="233"/>
                </a:cubicBezTo>
                <a:cubicBezTo>
                  <a:pt x="787" y="234"/>
                  <a:pt x="787" y="235"/>
                  <a:pt x="787" y="235"/>
                </a:cubicBezTo>
                <a:cubicBezTo>
                  <a:pt x="786" y="235"/>
                  <a:pt x="787" y="236"/>
                  <a:pt x="787" y="236"/>
                </a:cubicBezTo>
                <a:cubicBezTo>
                  <a:pt x="789" y="236"/>
                  <a:pt x="788" y="234"/>
                  <a:pt x="788" y="233"/>
                </a:cubicBezTo>
                <a:close/>
                <a:moveTo>
                  <a:pt x="192" y="242"/>
                </a:moveTo>
                <a:cubicBezTo>
                  <a:pt x="192" y="243"/>
                  <a:pt x="192" y="243"/>
                  <a:pt x="192" y="243"/>
                </a:cubicBezTo>
                <a:cubicBezTo>
                  <a:pt x="192" y="242"/>
                  <a:pt x="192" y="241"/>
                  <a:pt x="192" y="240"/>
                </a:cubicBezTo>
                <a:cubicBezTo>
                  <a:pt x="192" y="240"/>
                  <a:pt x="191" y="240"/>
                  <a:pt x="191" y="240"/>
                </a:cubicBezTo>
                <a:cubicBezTo>
                  <a:pt x="190" y="240"/>
                  <a:pt x="190" y="239"/>
                  <a:pt x="190" y="239"/>
                </a:cubicBezTo>
                <a:cubicBezTo>
                  <a:pt x="190" y="239"/>
                  <a:pt x="189" y="238"/>
                  <a:pt x="189" y="238"/>
                </a:cubicBezTo>
                <a:cubicBezTo>
                  <a:pt x="189" y="238"/>
                  <a:pt x="189" y="237"/>
                  <a:pt x="189" y="237"/>
                </a:cubicBezTo>
                <a:cubicBezTo>
                  <a:pt x="188" y="237"/>
                  <a:pt x="188" y="236"/>
                  <a:pt x="188" y="236"/>
                </a:cubicBezTo>
                <a:cubicBezTo>
                  <a:pt x="187" y="236"/>
                  <a:pt x="186" y="236"/>
                  <a:pt x="186" y="235"/>
                </a:cubicBezTo>
                <a:cubicBezTo>
                  <a:pt x="186" y="235"/>
                  <a:pt x="186" y="235"/>
                  <a:pt x="186" y="235"/>
                </a:cubicBezTo>
                <a:cubicBezTo>
                  <a:pt x="186" y="235"/>
                  <a:pt x="186" y="234"/>
                  <a:pt x="186" y="234"/>
                </a:cubicBezTo>
                <a:cubicBezTo>
                  <a:pt x="186" y="234"/>
                  <a:pt x="184" y="233"/>
                  <a:pt x="183" y="233"/>
                </a:cubicBezTo>
                <a:cubicBezTo>
                  <a:pt x="183" y="234"/>
                  <a:pt x="183" y="235"/>
                  <a:pt x="182" y="236"/>
                </a:cubicBezTo>
                <a:cubicBezTo>
                  <a:pt x="183" y="236"/>
                  <a:pt x="184" y="236"/>
                  <a:pt x="185" y="236"/>
                </a:cubicBezTo>
                <a:cubicBezTo>
                  <a:pt x="185" y="237"/>
                  <a:pt x="185" y="237"/>
                  <a:pt x="185" y="238"/>
                </a:cubicBezTo>
                <a:cubicBezTo>
                  <a:pt x="186" y="238"/>
                  <a:pt x="186" y="238"/>
                  <a:pt x="186" y="237"/>
                </a:cubicBezTo>
                <a:cubicBezTo>
                  <a:pt x="186" y="238"/>
                  <a:pt x="186" y="239"/>
                  <a:pt x="186" y="239"/>
                </a:cubicBezTo>
                <a:cubicBezTo>
                  <a:pt x="186" y="240"/>
                  <a:pt x="186" y="240"/>
                  <a:pt x="187" y="240"/>
                </a:cubicBezTo>
                <a:cubicBezTo>
                  <a:pt x="188" y="240"/>
                  <a:pt x="187" y="240"/>
                  <a:pt x="188" y="241"/>
                </a:cubicBezTo>
                <a:cubicBezTo>
                  <a:pt x="188" y="241"/>
                  <a:pt x="189" y="241"/>
                  <a:pt x="189" y="241"/>
                </a:cubicBezTo>
                <a:cubicBezTo>
                  <a:pt x="189" y="241"/>
                  <a:pt x="189" y="242"/>
                  <a:pt x="189" y="242"/>
                </a:cubicBezTo>
                <a:cubicBezTo>
                  <a:pt x="189" y="242"/>
                  <a:pt x="190" y="242"/>
                  <a:pt x="189" y="243"/>
                </a:cubicBezTo>
                <a:cubicBezTo>
                  <a:pt x="190" y="243"/>
                  <a:pt x="190" y="242"/>
                  <a:pt x="191" y="242"/>
                </a:cubicBezTo>
                <a:cubicBezTo>
                  <a:pt x="191" y="243"/>
                  <a:pt x="191" y="244"/>
                  <a:pt x="191" y="245"/>
                </a:cubicBezTo>
                <a:cubicBezTo>
                  <a:pt x="192" y="245"/>
                  <a:pt x="193" y="245"/>
                  <a:pt x="193" y="245"/>
                </a:cubicBezTo>
                <a:cubicBezTo>
                  <a:pt x="193" y="244"/>
                  <a:pt x="193" y="243"/>
                  <a:pt x="193" y="242"/>
                </a:cubicBezTo>
                <a:cubicBezTo>
                  <a:pt x="193" y="242"/>
                  <a:pt x="193" y="242"/>
                  <a:pt x="192" y="242"/>
                </a:cubicBezTo>
                <a:close/>
                <a:moveTo>
                  <a:pt x="186" y="233"/>
                </a:moveTo>
                <a:cubicBezTo>
                  <a:pt x="186" y="234"/>
                  <a:pt x="186" y="234"/>
                  <a:pt x="187" y="234"/>
                </a:cubicBezTo>
                <a:cubicBezTo>
                  <a:pt x="187" y="233"/>
                  <a:pt x="187" y="233"/>
                  <a:pt x="186" y="233"/>
                </a:cubicBezTo>
                <a:cubicBezTo>
                  <a:pt x="186" y="234"/>
                  <a:pt x="186" y="233"/>
                  <a:pt x="186" y="233"/>
                </a:cubicBezTo>
                <a:close/>
                <a:moveTo>
                  <a:pt x="437" y="234"/>
                </a:moveTo>
                <a:cubicBezTo>
                  <a:pt x="438" y="233"/>
                  <a:pt x="438" y="233"/>
                  <a:pt x="438" y="233"/>
                </a:cubicBezTo>
                <a:cubicBezTo>
                  <a:pt x="437" y="233"/>
                  <a:pt x="437" y="233"/>
                  <a:pt x="437" y="234"/>
                </a:cubicBezTo>
                <a:cubicBezTo>
                  <a:pt x="438" y="233"/>
                  <a:pt x="437" y="234"/>
                  <a:pt x="437" y="234"/>
                </a:cubicBezTo>
                <a:close/>
                <a:moveTo>
                  <a:pt x="189" y="233"/>
                </a:moveTo>
                <a:cubicBezTo>
                  <a:pt x="189" y="233"/>
                  <a:pt x="189" y="233"/>
                  <a:pt x="188" y="233"/>
                </a:cubicBezTo>
                <a:cubicBezTo>
                  <a:pt x="189" y="233"/>
                  <a:pt x="189" y="233"/>
                  <a:pt x="189" y="234"/>
                </a:cubicBezTo>
                <a:cubicBezTo>
                  <a:pt x="189" y="233"/>
                  <a:pt x="189" y="233"/>
                  <a:pt x="189" y="233"/>
                </a:cubicBezTo>
                <a:close/>
                <a:moveTo>
                  <a:pt x="859" y="231"/>
                </a:moveTo>
                <a:cubicBezTo>
                  <a:pt x="859" y="232"/>
                  <a:pt x="859" y="232"/>
                  <a:pt x="859" y="232"/>
                </a:cubicBezTo>
                <a:cubicBezTo>
                  <a:pt x="859" y="232"/>
                  <a:pt x="860" y="232"/>
                  <a:pt x="860" y="232"/>
                </a:cubicBezTo>
                <a:cubicBezTo>
                  <a:pt x="860" y="231"/>
                  <a:pt x="860" y="231"/>
                  <a:pt x="860" y="231"/>
                </a:cubicBezTo>
                <a:cubicBezTo>
                  <a:pt x="860" y="231"/>
                  <a:pt x="859" y="231"/>
                  <a:pt x="859" y="231"/>
                </a:cubicBezTo>
                <a:close/>
                <a:moveTo>
                  <a:pt x="441" y="234"/>
                </a:moveTo>
                <a:cubicBezTo>
                  <a:pt x="441" y="234"/>
                  <a:pt x="441" y="233"/>
                  <a:pt x="441" y="232"/>
                </a:cubicBezTo>
                <a:cubicBezTo>
                  <a:pt x="441" y="231"/>
                  <a:pt x="442" y="231"/>
                  <a:pt x="440" y="231"/>
                </a:cubicBezTo>
                <a:cubicBezTo>
                  <a:pt x="440" y="232"/>
                  <a:pt x="440" y="234"/>
                  <a:pt x="439" y="235"/>
                </a:cubicBezTo>
                <a:cubicBezTo>
                  <a:pt x="439" y="236"/>
                  <a:pt x="439" y="236"/>
                  <a:pt x="440" y="236"/>
                </a:cubicBezTo>
                <a:cubicBezTo>
                  <a:pt x="441" y="236"/>
                  <a:pt x="440" y="235"/>
                  <a:pt x="441" y="234"/>
                </a:cubicBezTo>
                <a:close/>
                <a:moveTo>
                  <a:pt x="439" y="230"/>
                </a:moveTo>
                <a:cubicBezTo>
                  <a:pt x="439" y="230"/>
                  <a:pt x="437" y="230"/>
                  <a:pt x="437" y="231"/>
                </a:cubicBezTo>
                <a:cubicBezTo>
                  <a:pt x="437" y="231"/>
                  <a:pt x="437" y="232"/>
                  <a:pt x="437" y="232"/>
                </a:cubicBezTo>
                <a:cubicBezTo>
                  <a:pt x="438" y="232"/>
                  <a:pt x="439" y="231"/>
                  <a:pt x="439" y="230"/>
                </a:cubicBezTo>
                <a:cubicBezTo>
                  <a:pt x="438" y="230"/>
                  <a:pt x="439" y="230"/>
                  <a:pt x="439" y="230"/>
                </a:cubicBezTo>
                <a:close/>
                <a:moveTo>
                  <a:pt x="185" y="231"/>
                </a:moveTo>
                <a:cubicBezTo>
                  <a:pt x="185" y="231"/>
                  <a:pt x="185" y="232"/>
                  <a:pt x="185" y="232"/>
                </a:cubicBezTo>
                <a:cubicBezTo>
                  <a:pt x="187" y="232"/>
                  <a:pt x="186" y="232"/>
                  <a:pt x="186" y="230"/>
                </a:cubicBezTo>
                <a:cubicBezTo>
                  <a:pt x="186" y="230"/>
                  <a:pt x="185" y="230"/>
                  <a:pt x="185" y="231"/>
                </a:cubicBezTo>
                <a:cubicBezTo>
                  <a:pt x="185" y="231"/>
                  <a:pt x="185" y="231"/>
                  <a:pt x="185" y="231"/>
                </a:cubicBezTo>
                <a:close/>
                <a:moveTo>
                  <a:pt x="781" y="228"/>
                </a:moveTo>
                <a:cubicBezTo>
                  <a:pt x="782" y="227"/>
                  <a:pt x="781" y="226"/>
                  <a:pt x="781" y="227"/>
                </a:cubicBezTo>
                <a:cubicBezTo>
                  <a:pt x="780" y="227"/>
                  <a:pt x="781" y="229"/>
                  <a:pt x="781" y="228"/>
                </a:cubicBezTo>
                <a:cubicBezTo>
                  <a:pt x="781" y="228"/>
                  <a:pt x="781" y="228"/>
                  <a:pt x="781" y="228"/>
                </a:cubicBezTo>
                <a:close/>
                <a:moveTo>
                  <a:pt x="88" y="228"/>
                </a:moveTo>
                <a:cubicBezTo>
                  <a:pt x="89" y="228"/>
                  <a:pt x="89" y="228"/>
                  <a:pt x="89" y="227"/>
                </a:cubicBezTo>
                <a:cubicBezTo>
                  <a:pt x="88" y="227"/>
                  <a:pt x="88" y="227"/>
                  <a:pt x="88" y="228"/>
                </a:cubicBezTo>
                <a:close/>
                <a:moveTo>
                  <a:pt x="171" y="227"/>
                </a:moveTo>
                <a:cubicBezTo>
                  <a:pt x="171" y="228"/>
                  <a:pt x="172" y="228"/>
                  <a:pt x="172" y="227"/>
                </a:cubicBezTo>
                <a:cubicBezTo>
                  <a:pt x="172" y="225"/>
                  <a:pt x="171" y="227"/>
                  <a:pt x="171" y="227"/>
                </a:cubicBezTo>
                <a:close/>
                <a:moveTo>
                  <a:pt x="787" y="228"/>
                </a:moveTo>
                <a:cubicBezTo>
                  <a:pt x="787" y="228"/>
                  <a:pt x="786" y="227"/>
                  <a:pt x="787" y="227"/>
                </a:cubicBezTo>
                <a:cubicBezTo>
                  <a:pt x="787" y="227"/>
                  <a:pt x="787" y="225"/>
                  <a:pt x="787" y="225"/>
                </a:cubicBezTo>
                <a:cubicBezTo>
                  <a:pt x="787" y="225"/>
                  <a:pt x="787" y="226"/>
                  <a:pt x="786" y="226"/>
                </a:cubicBezTo>
                <a:cubicBezTo>
                  <a:pt x="786" y="226"/>
                  <a:pt x="786" y="226"/>
                  <a:pt x="786" y="226"/>
                </a:cubicBezTo>
                <a:cubicBezTo>
                  <a:pt x="786" y="226"/>
                  <a:pt x="786" y="226"/>
                  <a:pt x="785" y="226"/>
                </a:cubicBezTo>
                <a:cubicBezTo>
                  <a:pt x="785" y="227"/>
                  <a:pt x="786" y="228"/>
                  <a:pt x="786" y="229"/>
                </a:cubicBezTo>
                <a:cubicBezTo>
                  <a:pt x="787" y="230"/>
                  <a:pt x="787" y="230"/>
                  <a:pt x="787" y="231"/>
                </a:cubicBezTo>
                <a:cubicBezTo>
                  <a:pt x="787" y="231"/>
                  <a:pt x="788" y="230"/>
                  <a:pt x="788" y="231"/>
                </a:cubicBezTo>
                <a:cubicBezTo>
                  <a:pt x="788" y="231"/>
                  <a:pt x="788" y="232"/>
                  <a:pt x="788" y="232"/>
                </a:cubicBezTo>
                <a:cubicBezTo>
                  <a:pt x="788" y="231"/>
                  <a:pt x="789" y="230"/>
                  <a:pt x="789" y="230"/>
                </a:cubicBezTo>
                <a:cubicBezTo>
                  <a:pt x="787" y="229"/>
                  <a:pt x="787" y="229"/>
                  <a:pt x="787" y="228"/>
                </a:cubicBezTo>
                <a:close/>
                <a:moveTo>
                  <a:pt x="781" y="225"/>
                </a:moveTo>
                <a:cubicBezTo>
                  <a:pt x="781" y="225"/>
                  <a:pt x="781" y="226"/>
                  <a:pt x="781" y="226"/>
                </a:cubicBezTo>
                <a:cubicBezTo>
                  <a:pt x="782" y="226"/>
                  <a:pt x="783" y="226"/>
                  <a:pt x="783" y="225"/>
                </a:cubicBezTo>
                <a:cubicBezTo>
                  <a:pt x="783" y="225"/>
                  <a:pt x="783" y="225"/>
                  <a:pt x="783" y="225"/>
                </a:cubicBezTo>
                <a:cubicBezTo>
                  <a:pt x="782" y="225"/>
                  <a:pt x="782" y="225"/>
                  <a:pt x="781" y="225"/>
                </a:cubicBezTo>
                <a:cubicBezTo>
                  <a:pt x="781" y="225"/>
                  <a:pt x="781" y="225"/>
                  <a:pt x="781" y="225"/>
                </a:cubicBezTo>
                <a:close/>
                <a:moveTo>
                  <a:pt x="181" y="232"/>
                </a:moveTo>
                <a:cubicBezTo>
                  <a:pt x="183" y="232"/>
                  <a:pt x="183" y="233"/>
                  <a:pt x="184" y="232"/>
                </a:cubicBezTo>
                <a:cubicBezTo>
                  <a:pt x="183" y="231"/>
                  <a:pt x="183" y="231"/>
                  <a:pt x="184" y="231"/>
                </a:cubicBezTo>
                <a:cubicBezTo>
                  <a:pt x="184" y="230"/>
                  <a:pt x="184" y="230"/>
                  <a:pt x="184" y="229"/>
                </a:cubicBezTo>
                <a:cubicBezTo>
                  <a:pt x="184" y="228"/>
                  <a:pt x="184" y="228"/>
                  <a:pt x="182" y="228"/>
                </a:cubicBezTo>
                <a:cubicBezTo>
                  <a:pt x="182" y="227"/>
                  <a:pt x="181" y="228"/>
                  <a:pt x="180" y="228"/>
                </a:cubicBezTo>
                <a:cubicBezTo>
                  <a:pt x="180" y="228"/>
                  <a:pt x="180" y="228"/>
                  <a:pt x="180" y="228"/>
                </a:cubicBezTo>
                <a:cubicBezTo>
                  <a:pt x="181" y="228"/>
                  <a:pt x="180" y="230"/>
                  <a:pt x="180" y="230"/>
                </a:cubicBezTo>
                <a:cubicBezTo>
                  <a:pt x="180" y="230"/>
                  <a:pt x="181" y="231"/>
                  <a:pt x="181" y="231"/>
                </a:cubicBezTo>
                <a:cubicBezTo>
                  <a:pt x="181" y="231"/>
                  <a:pt x="181" y="231"/>
                  <a:pt x="181" y="232"/>
                </a:cubicBezTo>
                <a:cubicBezTo>
                  <a:pt x="180" y="231"/>
                  <a:pt x="180" y="231"/>
                  <a:pt x="180" y="230"/>
                </a:cubicBezTo>
                <a:cubicBezTo>
                  <a:pt x="179" y="230"/>
                  <a:pt x="178" y="230"/>
                  <a:pt x="178" y="229"/>
                </a:cubicBezTo>
                <a:cubicBezTo>
                  <a:pt x="178" y="228"/>
                  <a:pt x="177" y="227"/>
                  <a:pt x="177" y="226"/>
                </a:cubicBezTo>
                <a:cubicBezTo>
                  <a:pt x="176" y="226"/>
                  <a:pt x="175" y="225"/>
                  <a:pt x="173" y="225"/>
                </a:cubicBezTo>
                <a:cubicBezTo>
                  <a:pt x="173" y="225"/>
                  <a:pt x="173" y="225"/>
                  <a:pt x="173" y="225"/>
                </a:cubicBezTo>
                <a:cubicBezTo>
                  <a:pt x="173" y="226"/>
                  <a:pt x="173" y="227"/>
                  <a:pt x="173" y="227"/>
                </a:cubicBezTo>
                <a:cubicBezTo>
                  <a:pt x="174" y="228"/>
                  <a:pt x="174" y="228"/>
                  <a:pt x="174" y="229"/>
                </a:cubicBezTo>
                <a:cubicBezTo>
                  <a:pt x="174" y="229"/>
                  <a:pt x="174" y="229"/>
                  <a:pt x="174" y="229"/>
                </a:cubicBezTo>
                <a:cubicBezTo>
                  <a:pt x="174" y="230"/>
                  <a:pt x="175" y="230"/>
                  <a:pt x="175" y="231"/>
                </a:cubicBezTo>
                <a:cubicBezTo>
                  <a:pt x="175" y="231"/>
                  <a:pt x="176" y="230"/>
                  <a:pt x="176" y="231"/>
                </a:cubicBezTo>
                <a:cubicBezTo>
                  <a:pt x="176" y="231"/>
                  <a:pt x="176" y="232"/>
                  <a:pt x="176" y="232"/>
                </a:cubicBezTo>
                <a:cubicBezTo>
                  <a:pt x="177" y="232"/>
                  <a:pt x="177" y="234"/>
                  <a:pt x="178" y="233"/>
                </a:cubicBezTo>
                <a:cubicBezTo>
                  <a:pt x="179" y="232"/>
                  <a:pt x="178" y="232"/>
                  <a:pt x="178" y="232"/>
                </a:cubicBezTo>
                <a:cubicBezTo>
                  <a:pt x="178" y="232"/>
                  <a:pt x="178" y="231"/>
                  <a:pt x="179" y="231"/>
                </a:cubicBezTo>
                <a:cubicBezTo>
                  <a:pt x="179" y="233"/>
                  <a:pt x="179" y="233"/>
                  <a:pt x="181" y="233"/>
                </a:cubicBezTo>
                <a:cubicBezTo>
                  <a:pt x="180" y="234"/>
                  <a:pt x="180" y="234"/>
                  <a:pt x="181" y="235"/>
                </a:cubicBezTo>
                <a:cubicBezTo>
                  <a:pt x="181" y="235"/>
                  <a:pt x="180" y="235"/>
                  <a:pt x="181" y="235"/>
                </a:cubicBezTo>
                <a:cubicBezTo>
                  <a:pt x="181" y="235"/>
                  <a:pt x="181" y="235"/>
                  <a:pt x="181" y="235"/>
                </a:cubicBezTo>
                <a:cubicBezTo>
                  <a:pt x="183" y="234"/>
                  <a:pt x="181" y="233"/>
                  <a:pt x="181" y="232"/>
                </a:cubicBezTo>
                <a:cubicBezTo>
                  <a:pt x="182" y="232"/>
                  <a:pt x="181" y="232"/>
                  <a:pt x="181" y="232"/>
                </a:cubicBezTo>
                <a:close/>
                <a:moveTo>
                  <a:pt x="908" y="225"/>
                </a:moveTo>
                <a:cubicBezTo>
                  <a:pt x="908" y="225"/>
                  <a:pt x="910" y="225"/>
                  <a:pt x="909" y="224"/>
                </a:cubicBezTo>
                <a:cubicBezTo>
                  <a:pt x="908" y="223"/>
                  <a:pt x="908" y="225"/>
                  <a:pt x="908" y="226"/>
                </a:cubicBezTo>
                <a:cubicBezTo>
                  <a:pt x="908" y="226"/>
                  <a:pt x="907" y="225"/>
                  <a:pt x="907" y="225"/>
                </a:cubicBezTo>
                <a:cubicBezTo>
                  <a:pt x="906" y="225"/>
                  <a:pt x="906" y="226"/>
                  <a:pt x="905" y="226"/>
                </a:cubicBezTo>
                <a:cubicBezTo>
                  <a:pt x="905" y="227"/>
                  <a:pt x="904" y="229"/>
                  <a:pt x="903" y="228"/>
                </a:cubicBezTo>
                <a:cubicBezTo>
                  <a:pt x="903" y="230"/>
                  <a:pt x="904" y="232"/>
                  <a:pt x="905" y="233"/>
                </a:cubicBezTo>
                <a:cubicBezTo>
                  <a:pt x="905" y="232"/>
                  <a:pt x="905" y="232"/>
                  <a:pt x="906" y="231"/>
                </a:cubicBezTo>
                <a:cubicBezTo>
                  <a:pt x="907" y="231"/>
                  <a:pt x="906" y="231"/>
                  <a:pt x="906" y="230"/>
                </a:cubicBezTo>
                <a:cubicBezTo>
                  <a:pt x="906" y="230"/>
                  <a:pt x="907" y="230"/>
                  <a:pt x="907" y="230"/>
                </a:cubicBezTo>
                <a:cubicBezTo>
                  <a:pt x="907" y="229"/>
                  <a:pt x="907" y="229"/>
                  <a:pt x="907" y="228"/>
                </a:cubicBezTo>
                <a:cubicBezTo>
                  <a:pt x="908" y="228"/>
                  <a:pt x="908" y="226"/>
                  <a:pt x="908" y="225"/>
                </a:cubicBezTo>
                <a:cubicBezTo>
                  <a:pt x="908" y="225"/>
                  <a:pt x="908" y="225"/>
                  <a:pt x="908" y="225"/>
                </a:cubicBezTo>
                <a:close/>
                <a:moveTo>
                  <a:pt x="922" y="224"/>
                </a:moveTo>
                <a:cubicBezTo>
                  <a:pt x="922" y="224"/>
                  <a:pt x="922" y="224"/>
                  <a:pt x="923" y="223"/>
                </a:cubicBezTo>
                <a:cubicBezTo>
                  <a:pt x="922" y="223"/>
                  <a:pt x="922" y="224"/>
                  <a:pt x="922" y="224"/>
                </a:cubicBezTo>
                <a:cubicBezTo>
                  <a:pt x="922" y="224"/>
                  <a:pt x="922" y="224"/>
                  <a:pt x="922" y="224"/>
                </a:cubicBezTo>
                <a:close/>
                <a:moveTo>
                  <a:pt x="181" y="223"/>
                </a:moveTo>
                <a:cubicBezTo>
                  <a:pt x="180" y="223"/>
                  <a:pt x="181" y="223"/>
                  <a:pt x="181" y="223"/>
                </a:cubicBezTo>
                <a:cubicBezTo>
                  <a:pt x="181" y="223"/>
                  <a:pt x="181" y="223"/>
                  <a:pt x="181" y="223"/>
                </a:cubicBezTo>
                <a:close/>
                <a:moveTo>
                  <a:pt x="92" y="222"/>
                </a:moveTo>
                <a:cubicBezTo>
                  <a:pt x="91" y="222"/>
                  <a:pt x="91" y="222"/>
                  <a:pt x="91" y="222"/>
                </a:cubicBezTo>
                <a:cubicBezTo>
                  <a:pt x="91" y="222"/>
                  <a:pt x="90" y="222"/>
                  <a:pt x="90" y="222"/>
                </a:cubicBezTo>
                <a:cubicBezTo>
                  <a:pt x="90" y="221"/>
                  <a:pt x="90" y="221"/>
                  <a:pt x="88" y="221"/>
                </a:cubicBezTo>
                <a:cubicBezTo>
                  <a:pt x="88" y="221"/>
                  <a:pt x="89" y="221"/>
                  <a:pt x="88" y="222"/>
                </a:cubicBezTo>
                <a:cubicBezTo>
                  <a:pt x="88" y="222"/>
                  <a:pt x="88" y="221"/>
                  <a:pt x="88" y="222"/>
                </a:cubicBezTo>
                <a:cubicBezTo>
                  <a:pt x="87" y="222"/>
                  <a:pt x="87" y="222"/>
                  <a:pt x="86" y="222"/>
                </a:cubicBezTo>
                <a:cubicBezTo>
                  <a:pt x="86" y="221"/>
                  <a:pt x="86" y="222"/>
                  <a:pt x="86" y="222"/>
                </a:cubicBezTo>
                <a:cubicBezTo>
                  <a:pt x="85" y="222"/>
                  <a:pt x="86" y="221"/>
                  <a:pt x="85" y="221"/>
                </a:cubicBezTo>
                <a:cubicBezTo>
                  <a:pt x="84" y="221"/>
                  <a:pt x="84" y="221"/>
                  <a:pt x="84" y="222"/>
                </a:cubicBezTo>
                <a:cubicBezTo>
                  <a:pt x="84" y="222"/>
                  <a:pt x="84" y="223"/>
                  <a:pt x="85" y="223"/>
                </a:cubicBezTo>
                <a:cubicBezTo>
                  <a:pt x="84" y="223"/>
                  <a:pt x="84" y="224"/>
                  <a:pt x="83" y="224"/>
                </a:cubicBezTo>
                <a:cubicBezTo>
                  <a:pt x="83" y="223"/>
                  <a:pt x="82" y="223"/>
                  <a:pt x="81" y="223"/>
                </a:cubicBezTo>
                <a:cubicBezTo>
                  <a:pt x="81" y="224"/>
                  <a:pt x="80" y="224"/>
                  <a:pt x="81" y="225"/>
                </a:cubicBezTo>
                <a:cubicBezTo>
                  <a:pt x="81" y="226"/>
                  <a:pt x="82" y="226"/>
                  <a:pt x="81" y="227"/>
                </a:cubicBezTo>
                <a:cubicBezTo>
                  <a:pt x="81" y="227"/>
                  <a:pt x="81" y="227"/>
                  <a:pt x="81" y="227"/>
                </a:cubicBezTo>
                <a:cubicBezTo>
                  <a:pt x="82" y="227"/>
                  <a:pt x="83" y="227"/>
                  <a:pt x="83" y="226"/>
                </a:cubicBezTo>
                <a:cubicBezTo>
                  <a:pt x="84" y="227"/>
                  <a:pt x="84" y="227"/>
                  <a:pt x="85" y="227"/>
                </a:cubicBezTo>
                <a:cubicBezTo>
                  <a:pt x="86" y="227"/>
                  <a:pt x="85" y="228"/>
                  <a:pt x="85" y="228"/>
                </a:cubicBezTo>
                <a:cubicBezTo>
                  <a:pt x="86" y="229"/>
                  <a:pt x="86" y="228"/>
                  <a:pt x="86" y="228"/>
                </a:cubicBezTo>
                <a:cubicBezTo>
                  <a:pt x="86" y="228"/>
                  <a:pt x="87" y="228"/>
                  <a:pt x="87" y="228"/>
                </a:cubicBezTo>
                <a:cubicBezTo>
                  <a:pt x="87" y="227"/>
                  <a:pt x="87" y="227"/>
                  <a:pt x="87" y="227"/>
                </a:cubicBezTo>
                <a:cubicBezTo>
                  <a:pt x="88" y="227"/>
                  <a:pt x="89" y="226"/>
                  <a:pt x="90" y="226"/>
                </a:cubicBezTo>
                <a:cubicBezTo>
                  <a:pt x="90" y="226"/>
                  <a:pt x="91" y="226"/>
                  <a:pt x="91" y="226"/>
                </a:cubicBezTo>
                <a:cubicBezTo>
                  <a:pt x="91" y="225"/>
                  <a:pt x="91" y="225"/>
                  <a:pt x="91" y="225"/>
                </a:cubicBezTo>
                <a:cubicBezTo>
                  <a:pt x="90" y="225"/>
                  <a:pt x="90" y="225"/>
                  <a:pt x="90" y="225"/>
                </a:cubicBezTo>
                <a:cubicBezTo>
                  <a:pt x="90" y="224"/>
                  <a:pt x="91" y="224"/>
                  <a:pt x="91" y="225"/>
                </a:cubicBezTo>
                <a:cubicBezTo>
                  <a:pt x="91" y="225"/>
                  <a:pt x="91" y="224"/>
                  <a:pt x="91" y="224"/>
                </a:cubicBezTo>
                <a:cubicBezTo>
                  <a:pt x="92" y="224"/>
                  <a:pt x="92" y="224"/>
                  <a:pt x="93" y="225"/>
                </a:cubicBezTo>
                <a:cubicBezTo>
                  <a:pt x="93" y="224"/>
                  <a:pt x="93" y="224"/>
                  <a:pt x="93" y="224"/>
                </a:cubicBezTo>
                <a:cubicBezTo>
                  <a:pt x="93" y="224"/>
                  <a:pt x="92" y="224"/>
                  <a:pt x="91" y="224"/>
                </a:cubicBezTo>
                <a:cubicBezTo>
                  <a:pt x="92" y="223"/>
                  <a:pt x="92" y="223"/>
                  <a:pt x="92" y="222"/>
                </a:cubicBezTo>
                <a:close/>
                <a:moveTo>
                  <a:pt x="167" y="221"/>
                </a:moveTo>
                <a:cubicBezTo>
                  <a:pt x="168" y="221"/>
                  <a:pt x="167" y="219"/>
                  <a:pt x="167" y="221"/>
                </a:cubicBezTo>
                <a:close/>
                <a:moveTo>
                  <a:pt x="178" y="225"/>
                </a:moveTo>
                <a:cubicBezTo>
                  <a:pt x="178" y="226"/>
                  <a:pt x="178" y="226"/>
                  <a:pt x="178" y="227"/>
                </a:cubicBezTo>
                <a:cubicBezTo>
                  <a:pt x="179" y="227"/>
                  <a:pt x="179" y="228"/>
                  <a:pt x="179" y="227"/>
                </a:cubicBezTo>
                <a:cubicBezTo>
                  <a:pt x="179" y="227"/>
                  <a:pt x="180" y="227"/>
                  <a:pt x="180" y="227"/>
                </a:cubicBezTo>
                <a:cubicBezTo>
                  <a:pt x="180" y="226"/>
                  <a:pt x="180" y="225"/>
                  <a:pt x="181" y="225"/>
                </a:cubicBezTo>
                <a:cubicBezTo>
                  <a:pt x="181" y="224"/>
                  <a:pt x="181" y="223"/>
                  <a:pt x="180" y="223"/>
                </a:cubicBezTo>
                <a:cubicBezTo>
                  <a:pt x="179" y="222"/>
                  <a:pt x="180" y="222"/>
                  <a:pt x="180" y="221"/>
                </a:cubicBezTo>
                <a:cubicBezTo>
                  <a:pt x="180" y="221"/>
                  <a:pt x="179" y="220"/>
                  <a:pt x="179" y="220"/>
                </a:cubicBezTo>
                <a:cubicBezTo>
                  <a:pt x="178" y="219"/>
                  <a:pt x="177" y="219"/>
                  <a:pt x="176" y="219"/>
                </a:cubicBezTo>
                <a:cubicBezTo>
                  <a:pt x="176" y="220"/>
                  <a:pt x="177" y="221"/>
                  <a:pt x="177" y="222"/>
                </a:cubicBezTo>
                <a:cubicBezTo>
                  <a:pt x="177" y="223"/>
                  <a:pt x="177" y="224"/>
                  <a:pt x="178" y="225"/>
                </a:cubicBezTo>
                <a:cubicBezTo>
                  <a:pt x="178" y="225"/>
                  <a:pt x="178" y="225"/>
                  <a:pt x="178" y="225"/>
                </a:cubicBezTo>
                <a:close/>
                <a:moveTo>
                  <a:pt x="89" y="219"/>
                </a:moveTo>
                <a:cubicBezTo>
                  <a:pt x="89" y="219"/>
                  <a:pt x="88" y="219"/>
                  <a:pt x="88" y="219"/>
                </a:cubicBezTo>
                <a:cubicBezTo>
                  <a:pt x="88" y="220"/>
                  <a:pt x="89" y="220"/>
                  <a:pt x="89" y="219"/>
                </a:cubicBezTo>
                <a:cubicBezTo>
                  <a:pt x="89" y="219"/>
                  <a:pt x="89" y="219"/>
                  <a:pt x="89" y="219"/>
                </a:cubicBezTo>
                <a:close/>
                <a:moveTo>
                  <a:pt x="921" y="219"/>
                </a:moveTo>
                <a:cubicBezTo>
                  <a:pt x="920" y="219"/>
                  <a:pt x="921" y="221"/>
                  <a:pt x="921" y="221"/>
                </a:cubicBezTo>
                <a:cubicBezTo>
                  <a:pt x="921" y="221"/>
                  <a:pt x="921" y="222"/>
                  <a:pt x="922" y="222"/>
                </a:cubicBezTo>
                <a:cubicBezTo>
                  <a:pt x="922" y="222"/>
                  <a:pt x="923" y="222"/>
                  <a:pt x="923" y="223"/>
                </a:cubicBezTo>
                <a:cubicBezTo>
                  <a:pt x="923" y="223"/>
                  <a:pt x="923" y="222"/>
                  <a:pt x="924" y="222"/>
                </a:cubicBezTo>
                <a:cubicBezTo>
                  <a:pt x="924" y="222"/>
                  <a:pt x="925" y="222"/>
                  <a:pt x="926" y="222"/>
                </a:cubicBezTo>
                <a:cubicBezTo>
                  <a:pt x="926" y="221"/>
                  <a:pt x="927" y="220"/>
                  <a:pt x="928" y="218"/>
                </a:cubicBezTo>
                <a:cubicBezTo>
                  <a:pt x="927" y="218"/>
                  <a:pt x="925" y="218"/>
                  <a:pt x="924" y="218"/>
                </a:cubicBezTo>
                <a:cubicBezTo>
                  <a:pt x="924" y="219"/>
                  <a:pt x="923" y="218"/>
                  <a:pt x="923" y="219"/>
                </a:cubicBezTo>
                <a:cubicBezTo>
                  <a:pt x="923" y="220"/>
                  <a:pt x="922" y="219"/>
                  <a:pt x="921" y="219"/>
                </a:cubicBezTo>
                <a:close/>
                <a:moveTo>
                  <a:pt x="785" y="223"/>
                </a:moveTo>
                <a:cubicBezTo>
                  <a:pt x="787" y="223"/>
                  <a:pt x="786" y="223"/>
                  <a:pt x="787" y="222"/>
                </a:cubicBezTo>
                <a:cubicBezTo>
                  <a:pt x="787" y="220"/>
                  <a:pt x="788" y="219"/>
                  <a:pt x="788" y="218"/>
                </a:cubicBezTo>
                <a:cubicBezTo>
                  <a:pt x="788" y="217"/>
                  <a:pt x="785" y="218"/>
                  <a:pt x="785" y="218"/>
                </a:cubicBezTo>
                <a:cubicBezTo>
                  <a:pt x="785" y="219"/>
                  <a:pt x="785" y="221"/>
                  <a:pt x="784" y="220"/>
                </a:cubicBezTo>
                <a:cubicBezTo>
                  <a:pt x="784" y="221"/>
                  <a:pt x="785" y="221"/>
                  <a:pt x="784" y="222"/>
                </a:cubicBezTo>
                <a:cubicBezTo>
                  <a:pt x="784" y="223"/>
                  <a:pt x="784" y="222"/>
                  <a:pt x="784" y="223"/>
                </a:cubicBezTo>
                <a:cubicBezTo>
                  <a:pt x="784" y="223"/>
                  <a:pt x="784" y="224"/>
                  <a:pt x="784" y="225"/>
                </a:cubicBezTo>
                <a:cubicBezTo>
                  <a:pt x="784" y="224"/>
                  <a:pt x="785" y="224"/>
                  <a:pt x="785" y="223"/>
                </a:cubicBezTo>
                <a:close/>
                <a:moveTo>
                  <a:pt x="790" y="228"/>
                </a:moveTo>
                <a:cubicBezTo>
                  <a:pt x="791" y="228"/>
                  <a:pt x="790" y="229"/>
                  <a:pt x="789" y="229"/>
                </a:cubicBezTo>
                <a:cubicBezTo>
                  <a:pt x="790" y="230"/>
                  <a:pt x="791" y="230"/>
                  <a:pt x="791" y="230"/>
                </a:cubicBezTo>
                <a:cubicBezTo>
                  <a:pt x="791" y="231"/>
                  <a:pt x="790" y="231"/>
                  <a:pt x="790" y="232"/>
                </a:cubicBezTo>
                <a:cubicBezTo>
                  <a:pt x="790" y="233"/>
                  <a:pt x="790" y="234"/>
                  <a:pt x="789" y="234"/>
                </a:cubicBezTo>
                <a:cubicBezTo>
                  <a:pt x="791" y="234"/>
                  <a:pt x="791" y="234"/>
                  <a:pt x="792" y="234"/>
                </a:cubicBezTo>
                <a:cubicBezTo>
                  <a:pt x="793" y="234"/>
                  <a:pt x="792" y="235"/>
                  <a:pt x="792" y="235"/>
                </a:cubicBezTo>
                <a:cubicBezTo>
                  <a:pt x="792" y="236"/>
                  <a:pt x="791" y="236"/>
                  <a:pt x="790" y="236"/>
                </a:cubicBezTo>
                <a:cubicBezTo>
                  <a:pt x="790" y="236"/>
                  <a:pt x="791" y="237"/>
                  <a:pt x="791" y="237"/>
                </a:cubicBezTo>
                <a:cubicBezTo>
                  <a:pt x="791" y="237"/>
                  <a:pt x="790" y="237"/>
                  <a:pt x="790" y="237"/>
                </a:cubicBezTo>
                <a:cubicBezTo>
                  <a:pt x="790" y="238"/>
                  <a:pt x="790" y="240"/>
                  <a:pt x="791" y="239"/>
                </a:cubicBezTo>
                <a:cubicBezTo>
                  <a:pt x="791" y="238"/>
                  <a:pt x="792" y="237"/>
                  <a:pt x="792" y="237"/>
                </a:cubicBezTo>
                <a:cubicBezTo>
                  <a:pt x="792" y="237"/>
                  <a:pt x="792" y="238"/>
                  <a:pt x="792" y="238"/>
                </a:cubicBezTo>
                <a:cubicBezTo>
                  <a:pt x="793" y="238"/>
                  <a:pt x="793" y="238"/>
                  <a:pt x="793" y="237"/>
                </a:cubicBezTo>
                <a:cubicBezTo>
                  <a:pt x="793" y="237"/>
                  <a:pt x="794" y="237"/>
                  <a:pt x="794" y="238"/>
                </a:cubicBezTo>
                <a:cubicBezTo>
                  <a:pt x="793" y="239"/>
                  <a:pt x="793" y="239"/>
                  <a:pt x="793" y="240"/>
                </a:cubicBezTo>
                <a:cubicBezTo>
                  <a:pt x="793" y="241"/>
                  <a:pt x="794" y="240"/>
                  <a:pt x="794" y="241"/>
                </a:cubicBezTo>
                <a:cubicBezTo>
                  <a:pt x="793" y="242"/>
                  <a:pt x="794" y="242"/>
                  <a:pt x="794" y="242"/>
                </a:cubicBezTo>
                <a:cubicBezTo>
                  <a:pt x="793" y="242"/>
                  <a:pt x="793" y="243"/>
                  <a:pt x="793" y="244"/>
                </a:cubicBezTo>
                <a:cubicBezTo>
                  <a:pt x="793" y="244"/>
                  <a:pt x="793" y="245"/>
                  <a:pt x="793" y="245"/>
                </a:cubicBezTo>
                <a:cubicBezTo>
                  <a:pt x="792" y="245"/>
                  <a:pt x="792" y="245"/>
                  <a:pt x="792" y="246"/>
                </a:cubicBezTo>
                <a:cubicBezTo>
                  <a:pt x="792" y="246"/>
                  <a:pt x="792" y="246"/>
                  <a:pt x="792" y="246"/>
                </a:cubicBezTo>
                <a:cubicBezTo>
                  <a:pt x="793" y="246"/>
                  <a:pt x="793" y="246"/>
                  <a:pt x="793" y="246"/>
                </a:cubicBezTo>
                <a:cubicBezTo>
                  <a:pt x="794" y="246"/>
                  <a:pt x="794" y="247"/>
                  <a:pt x="795" y="247"/>
                </a:cubicBezTo>
                <a:cubicBezTo>
                  <a:pt x="795" y="247"/>
                  <a:pt x="795" y="246"/>
                  <a:pt x="795" y="245"/>
                </a:cubicBezTo>
                <a:cubicBezTo>
                  <a:pt x="796" y="246"/>
                  <a:pt x="797" y="246"/>
                  <a:pt x="797" y="246"/>
                </a:cubicBezTo>
                <a:cubicBezTo>
                  <a:pt x="798" y="246"/>
                  <a:pt x="799" y="245"/>
                  <a:pt x="800" y="245"/>
                </a:cubicBezTo>
                <a:cubicBezTo>
                  <a:pt x="800" y="245"/>
                  <a:pt x="804" y="246"/>
                  <a:pt x="802" y="246"/>
                </a:cubicBezTo>
                <a:cubicBezTo>
                  <a:pt x="801" y="246"/>
                  <a:pt x="800" y="248"/>
                  <a:pt x="800" y="249"/>
                </a:cubicBezTo>
                <a:cubicBezTo>
                  <a:pt x="801" y="249"/>
                  <a:pt x="802" y="250"/>
                  <a:pt x="802" y="249"/>
                </a:cubicBezTo>
                <a:cubicBezTo>
                  <a:pt x="802" y="249"/>
                  <a:pt x="803" y="249"/>
                  <a:pt x="803" y="250"/>
                </a:cubicBezTo>
                <a:cubicBezTo>
                  <a:pt x="804" y="248"/>
                  <a:pt x="804" y="251"/>
                  <a:pt x="804" y="251"/>
                </a:cubicBezTo>
                <a:cubicBezTo>
                  <a:pt x="804" y="251"/>
                  <a:pt x="803" y="251"/>
                  <a:pt x="803" y="252"/>
                </a:cubicBezTo>
                <a:cubicBezTo>
                  <a:pt x="803" y="252"/>
                  <a:pt x="804" y="252"/>
                  <a:pt x="804" y="252"/>
                </a:cubicBezTo>
                <a:cubicBezTo>
                  <a:pt x="803" y="253"/>
                  <a:pt x="803" y="254"/>
                  <a:pt x="803" y="255"/>
                </a:cubicBezTo>
                <a:cubicBezTo>
                  <a:pt x="804" y="255"/>
                  <a:pt x="802" y="255"/>
                  <a:pt x="802" y="256"/>
                </a:cubicBezTo>
                <a:cubicBezTo>
                  <a:pt x="800" y="256"/>
                  <a:pt x="797" y="257"/>
                  <a:pt x="797" y="255"/>
                </a:cubicBezTo>
                <a:cubicBezTo>
                  <a:pt x="797" y="254"/>
                  <a:pt x="796" y="254"/>
                  <a:pt x="796" y="254"/>
                </a:cubicBezTo>
                <a:cubicBezTo>
                  <a:pt x="795" y="254"/>
                  <a:pt x="796" y="255"/>
                  <a:pt x="795" y="255"/>
                </a:cubicBezTo>
                <a:cubicBezTo>
                  <a:pt x="795" y="256"/>
                  <a:pt x="795" y="256"/>
                  <a:pt x="796" y="256"/>
                </a:cubicBezTo>
                <a:cubicBezTo>
                  <a:pt x="797" y="257"/>
                  <a:pt x="797" y="257"/>
                  <a:pt x="796" y="257"/>
                </a:cubicBezTo>
                <a:cubicBezTo>
                  <a:pt x="796" y="258"/>
                  <a:pt x="795" y="259"/>
                  <a:pt x="794" y="259"/>
                </a:cubicBezTo>
                <a:cubicBezTo>
                  <a:pt x="794" y="259"/>
                  <a:pt x="794" y="260"/>
                  <a:pt x="793" y="260"/>
                </a:cubicBezTo>
                <a:cubicBezTo>
                  <a:pt x="795" y="260"/>
                  <a:pt x="796" y="260"/>
                  <a:pt x="797" y="260"/>
                </a:cubicBezTo>
                <a:cubicBezTo>
                  <a:pt x="797" y="260"/>
                  <a:pt x="797" y="261"/>
                  <a:pt x="797" y="262"/>
                </a:cubicBezTo>
                <a:cubicBezTo>
                  <a:pt x="797" y="262"/>
                  <a:pt x="797" y="263"/>
                  <a:pt x="797" y="263"/>
                </a:cubicBezTo>
                <a:cubicBezTo>
                  <a:pt x="796" y="263"/>
                  <a:pt x="796" y="263"/>
                  <a:pt x="796" y="263"/>
                </a:cubicBezTo>
                <a:cubicBezTo>
                  <a:pt x="796" y="263"/>
                  <a:pt x="796" y="263"/>
                  <a:pt x="796" y="263"/>
                </a:cubicBezTo>
                <a:cubicBezTo>
                  <a:pt x="795" y="264"/>
                  <a:pt x="795" y="264"/>
                  <a:pt x="795" y="264"/>
                </a:cubicBezTo>
                <a:cubicBezTo>
                  <a:pt x="794" y="264"/>
                  <a:pt x="795" y="264"/>
                  <a:pt x="794" y="265"/>
                </a:cubicBezTo>
                <a:cubicBezTo>
                  <a:pt x="793" y="265"/>
                  <a:pt x="792" y="265"/>
                  <a:pt x="792" y="266"/>
                </a:cubicBezTo>
                <a:cubicBezTo>
                  <a:pt x="792" y="266"/>
                  <a:pt x="792" y="267"/>
                  <a:pt x="792" y="268"/>
                </a:cubicBezTo>
                <a:cubicBezTo>
                  <a:pt x="792" y="268"/>
                  <a:pt x="793" y="267"/>
                  <a:pt x="793" y="268"/>
                </a:cubicBezTo>
                <a:cubicBezTo>
                  <a:pt x="793" y="268"/>
                  <a:pt x="792" y="268"/>
                  <a:pt x="792" y="269"/>
                </a:cubicBezTo>
                <a:cubicBezTo>
                  <a:pt x="793" y="269"/>
                  <a:pt x="794" y="269"/>
                  <a:pt x="794" y="268"/>
                </a:cubicBezTo>
                <a:cubicBezTo>
                  <a:pt x="795" y="267"/>
                  <a:pt x="795" y="267"/>
                  <a:pt x="796" y="267"/>
                </a:cubicBezTo>
                <a:cubicBezTo>
                  <a:pt x="796" y="268"/>
                  <a:pt x="796" y="268"/>
                  <a:pt x="796" y="269"/>
                </a:cubicBezTo>
                <a:cubicBezTo>
                  <a:pt x="797" y="269"/>
                  <a:pt x="799" y="269"/>
                  <a:pt x="799" y="267"/>
                </a:cubicBezTo>
                <a:cubicBezTo>
                  <a:pt x="800" y="268"/>
                  <a:pt x="800" y="268"/>
                  <a:pt x="801" y="269"/>
                </a:cubicBezTo>
                <a:cubicBezTo>
                  <a:pt x="801" y="269"/>
                  <a:pt x="801" y="269"/>
                  <a:pt x="802" y="269"/>
                </a:cubicBezTo>
                <a:cubicBezTo>
                  <a:pt x="802" y="269"/>
                  <a:pt x="802" y="268"/>
                  <a:pt x="802" y="268"/>
                </a:cubicBezTo>
                <a:cubicBezTo>
                  <a:pt x="802" y="267"/>
                  <a:pt x="804" y="267"/>
                  <a:pt x="804" y="267"/>
                </a:cubicBezTo>
                <a:cubicBezTo>
                  <a:pt x="804" y="268"/>
                  <a:pt x="804" y="270"/>
                  <a:pt x="803" y="270"/>
                </a:cubicBezTo>
                <a:cubicBezTo>
                  <a:pt x="802" y="270"/>
                  <a:pt x="799" y="271"/>
                  <a:pt x="799" y="270"/>
                </a:cubicBezTo>
                <a:cubicBezTo>
                  <a:pt x="799" y="270"/>
                  <a:pt x="798" y="270"/>
                  <a:pt x="797" y="270"/>
                </a:cubicBezTo>
                <a:cubicBezTo>
                  <a:pt x="798" y="270"/>
                  <a:pt x="797" y="270"/>
                  <a:pt x="796" y="270"/>
                </a:cubicBezTo>
                <a:cubicBezTo>
                  <a:pt x="796" y="270"/>
                  <a:pt x="796" y="270"/>
                  <a:pt x="795" y="271"/>
                </a:cubicBezTo>
                <a:cubicBezTo>
                  <a:pt x="795" y="271"/>
                  <a:pt x="794" y="271"/>
                  <a:pt x="794" y="272"/>
                </a:cubicBezTo>
                <a:cubicBezTo>
                  <a:pt x="794" y="273"/>
                  <a:pt x="793" y="275"/>
                  <a:pt x="792" y="275"/>
                </a:cubicBezTo>
                <a:cubicBezTo>
                  <a:pt x="791" y="275"/>
                  <a:pt x="792" y="276"/>
                  <a:pt x="791" y="276"/>
                </a:cubicBezTo>
                <a:cubicBezTo>
                  <a:pt x="791" y="277"/>
                  <a:pt x="790" y="277"/>
                  <a:pt x="789" y="278"/>
                </a:cubicBezTo>
                <a:cubicBezTo>
                  <a:pt x="788" y="278"/>
                  <a:pt x="788" y="278"/>
                  <a:pt x="788" y="278"/>
                </a:cubicBezTo>
                <a:cubicBezTo>
                  <a:pt x="788" y="279"/>
                  <a:pt x="788" y="279"/>
                  <a:pt x="789" y="279"/>
                </a:cubicBezTo>
                <a:cubicBezTo>
                  <a:pt x="790" y="279"/>
                  <a:pt x="791" y="279"/>
                  <a:pt x="791" y="280"/>
                </a:cubicBezTo>
                <a:cubicBezTo>
                  <a:pt x="792" y="279"/>
                  <a:pt x="792" y="279"/>
                  <a:pt x="792" y="278"/>
                </a:cubicBezTo>
                <a:cubicBezTo>
                  <a:pt x="793" y="278"/>
                  <a:pt x="793" y="276"/>
                  <a:pt x="794" y="277"/>
                </a:cubicBezTo>
                <a:cubicBezTo>
                  <a:pt x="794" y="277"/>
                  <a:pt x="794" y="277"/>
                  <a:pt x="794" y="276"/>
                </a:cubicBezTo>
                <a:cubicBezTo>
                  <a:pt x="795" y="276"/>
                  <a:pt x="796" y="276"/>
                  <a:pt x="797" y="276"/>
                </a:cubicBezTo>
                <a:cubicBezTo>
                  <a:pt x="797" y="276"/>
                  <a:pt x="798" y="276"/>
                  <a:pt x="798" y="276"/>
                </a:cubicBezTo>
                <a:cubicBezTo>
                  <a:pt x="798" y="276"/>
                  <a:pt x="798" y="277"/>
                  <a:pt x="799" y="277"/>
                </a:cubicBezTo>
                <a:cubicBezTo>
                  <a:pt x="799" y="277"/>
                  <a:pt x="800" y="276"/>
                  <a:pt x="800" y="276"/>
                </a:cubicBezTo>
                <a:cubicBezTo>
                  <a:pt x="801" y="275"/>
                  <a:pt x="801" y="275"/>
                  <a:pt x="802" y="274"/>
                </a:cubicBezTo>
                <a:cubicBezTo>
                  <a:pt x="803" y="274"/>
                  <a:pt x="803" y="274"/>
                  <a:pt x="804" y="274"/>
                </a:cubicBezTo>
                <a:cubicBezTo>
                  <a:pt x="804" y="275"/>
                  <a:pt x="806" y="275"/>
                  <a:pt x="807" y="275"/>
                </a:cubicBezTo>
                <a:cubicBezTo>
                  <a:pt x="807" y="274"/>
                  <a:pt x="807" y="274"/>
                  <a:pt x="808" y="274"/>
                </a:cubicBezTo>
                <a:cubicBezTo>
                  <a:pt x="808" y="274"/>
                  <a:pt x="809" y="274"/>
                  <a:pt x="809" y="273"/>
                </a:cubicBezTo>
                <a:cubicBezTo>
                  <a:pt x="810" y="273"/>
                  <a:pt x="813" y="274"/>
                  <a:pt x="813" y="273"/>
                </a:cubicBezTo>
                <a:cubicBezTo>
                  <a:pt x="813" y="273"/>
                  <a:pt x="816" y="273"/>
                  <a:pt x="816" y="273"/>
                </a:cubicBezTo>
                <a:cubicBezTo>
                  <a:pt x="817" y="273"/>
                  <a:pt x="818" y="274"/>
                  <a:pt x="819" y="274"/>
                </a:cubicBezTo>
                <a:cubicBezTo>
                  <a:pt x="819" y="274"/>
                  <a:pt x="819" y="273"/>
                  <a:pt x="819" y="273"/>
                </a:cubicBezTo>
                <a:cubicBezTo>
                  <a:pt x="819" y="273"/>
                  <a:pt x="820" y="273"/>
                  <a:pt x="820" y="273"/>
                </a:cubicBezTo>
                <a:cubicBezTo>
                  <a:pt x="821" y="273"/>
                  <a:pt x="821" y="273"/>
                  <a:pt x="821" y="272"/>
                </a:cubicBezTo>
                <a:cubicBezTo>
                  <a:pt x="822" y="272"/>
                  <a:pt x="822" y="272"/>
                  <a:pt x="823" y="272"/>
                </a:cubicBezTo>
                <a:cubicBezTo>
                  <a:pt x="823" y="271"/>
                  <a:pt x="823" y="271"/>
                  <a:pt x="823" y="270"/>
                </a:cubicBezTo>
                <a:cubicBezTo>
                  <a:pt x="822" y="270"/>
                  <a:pt x="821" y="270"/>
                  <a:pt x="819" y="270"/>
                </a:cubicBezTo>
                <a:cubicBezTo>
                  <a:pt x="820" y="270"/>
                  <a:pt x="820" y="270"/>
                  <a:pt x="820" y="269"/>
                </a:cubicBezTo>
                <a:cubicBezTo>
                  <a:pt x="819" y="269"/>
                  <a:pt x="819" y="269"/>
                  <a:pt x="819" y="268"/>
                </a:cubicBezTo>
                <a:cubicBezTo>
                  <a:pt x="819" y="268"/>
                  <a:pt x="820" y="268"/>
                  <a:pt x="821" y="268"/>
                </a:cubicBezTo>
                <a:cubicBezTo>
                  <a:pt x="821" y="267"/>
                  <a:pt x="822" y="267"/>
                  <a:pt x="823" y="267"/>
                </a:cubicBezTo>
                <a:cubicBezTo>
                  <a:pt x="823" y="267"/>
                  <a:pt x="823" y="266"/>
                  <a:pt x="823" y="266"/>
                </a:cubicBezTo>
                <a:cubicBezTo>
                  <a:pt x="825" y="266"/>
                  <a:pt x="825" y="266"/>
                  <a:pt x="825" y="265"/>
                </a:cubicBezTo>
                <a:cubicBezTo>
                  <a:pt x="825" y="264"/>
                  <a:pt x="826" y="262"/>
                  <a:pt x="825" y="261"/>
                </a:cubicBezTo>
                <a:cubicBezTo>
                  <a:pt x="825" y="260"/>
                  <a:pt x="825" y="260"/>
                  <a:pt x="824" y="260"/>
                </a:cubicBezTo>
                <a:cubicBezTo>
                  <a:pt x="823" y="259"/>
                  <a:pt x="823" y="259"/>
                  <a:pt x="822" y="259"/>
                </a:cubicBezTo>
                <a:cubicBezTo>
                  <a:pt x="821" y="259"/>
                  <a:pt x="819" y="260"/>
                  <a:pt x="820" y="260"/>
                </a:cubicBezTo>
                <a:cubicBezTo>
                  <a:pt x="820" y="260"/>
                  <a:pt x="821" y="261"/>
                  <a:pt x="820" y="261"/>
                </a:cubicBezTo>
                <a:cubicBezTo>
                  <a:pt x="819" y="261"/>
                  <a:pt x="819" y="261"/>
                  <a:pt x="819" y="260"/>
                </a:cubicBezTo>
                <a:cubicBezTo>
                  <a:pt x="818" y="259"/>
                  <a:pt x="819" y="259"/>
                  <a:pt x="819" y="258"/>
                </a:cubicBezTo>
                <a:cubicBezTo>
                  <a:pt x="819" y="257"/>
                  <a:pt x="819" y="256"/>
                  <a:pt x="818" y="256"/>
                </a:cubicBezTo>
                <a:cubicBezTo>
                  <a:pt x="817" y="256"/>
                  <a:pt x="816" y="253"/>
                  <a:pt x="816" y="253"/>
                </a:cubicBezTo>
                <a:cubicBezTo>
                  <a:pt x="816" y="253"/>
                  <a:pt x="817" y="253"/>
                  <a:pt x="817" y="253"/>
                </a:cubicBezTo>
                <a:cubicBezTo>
                  <a:pt x="817" y="254"/>
                  <a:pt x="818" y="254"/>
                  <a:pt x="819" y="254"/>
                </a:cubicBezTo>
                <a:cubicBezTo>
                  <a:pt x="819" y="254"/>
                  <a:pt x="819" y="254"/>
                  <a:pt x="819" y="253"/>
                </a:cubicBezTo>
                <a:cubicBezTo>
                  <a:pt x="818" y="253"/>
                  <a:pt x="817" y="252"/>
                  <a:pt x="817" y="252"/>
                </a:cubicBezTo>
                <a:cubicBezTo>
                  <a:pt x="816" y="251"/>
                  <a:pt x="815" y="251"/>
                  <a:pt x="815" y="251"/>
                </a:cubicBezTo>
                <a:cubicBezTo>
                  <a:pt x="815" y="250"/>
                  <a:pt x="814" y="250"/>
                  <a:pt x="814" y="250"/>
                </a:cubicBezTo>
                <a:cubicBezTo>
                  <a:pt x="814" y="250"/>
                  <a:pt x="814" y="250"/>
                  <a:pt x="814" y="250"/>
                </a:cubicBezTo>
                <a:cubicBezTo>
                  <a:pt x="814" y="249"/>
                  <a:pt x="814" y="249"/>
                  <a:pt x="814" y="249"/>
                </a:cubicBezTo>
                <a:cubicBezTo>
                  <a:pt x="814" y="249"/>
                  <a:pt x="814" y="249"/>
                  <a:pt x="814" y="249"/>
                </a:cubicBezTo>
                <a:cubicBezTo>
                  <a:pt x="813" y="248"/>
                  <a:pt x="813" y="248"/>
                  <a:pt x="813" y="248"/>
                </a:cubicBezTo>
                <a:cubicBezTo>
                  <a:pt x="813" y="247"/>
                  <a:pt x="812" y="248"/>
                  <a:pt x="812" y="248"/>
                </a:cubicBezTo>
                <a:cubicBezTo>
                  <a:pt x="811" y="247"/>
                  <a:pt x="811" y="247"/>
                  <a:pt x="811" y="246"/>
                </a:cubicBezTo>
                <a:cubicBezTo>
                  <a:pt x="810" y="245"/>
                  <a:pt x="810" y="245"/>
                  <a:pt x="810" y="244"/>
                </a:cubicBezTo>
                <a:cubicBezTo>
                  <a:pt x="810" y="243"/>
                  <a:pt x="810" y="243"/>
                  <a:pt x="809" y="243"/>
                </a:cubicBezTo>
                <a:cubicBezTo>
                  <a:pt x="808" y="242"/>
                  <a:pt x="809" y="241"/>
                  <a:pt x="808" y="241"/>
                </a:cubicBezTo>
                <a:cubicBezTo>
                  <a:pt x="808" y="241"/>
                  <a:pt x="808" y="241"/>
                  <a:pt x="808" y="240"/>
                </a:cubicBezTo>
                <a:cubicBezTo>
                  <a:pt x="807" y="240"/>
                  <a:pt x="807" y="240"/>
                  <a:pt x="807" y="240"/>
                </a:cubicBezTo>
                <a:cubicBezTo>
                  <a:pt x="806" y="240"/>
                  <a:pt x="806" y="239"/>
                  <a:pt x="806" y="239"/>
                </a:cubicBezTo>
                <a:cubicBezTo>
                  <a:pt x="805" y="237"/>
                  <a:pt x="804" y="238"/>
                  <a:pt x="803" y="238"/>
                </a:cubicBezTo>
                <a:cubicBezTo>
                  <a:pt x="803" y="238"/>
                  <a:pt x="802" y="237"/>
                  <a:pt x="803" y="237"/>
                </a:cubicBezTo>
                <a:cubicBezTo>
                  <a:pt x="803" y="237"/>
                  <a:pt x="803" y="236"/>
                  <a:pt x="804" y="236"/>
                </a:cubicBezTo>
                <a:cubicBezTo>
                  <a:pt x="804" y="236"/>
                  <a:pt x="804" y="236"/>
                  <a:pt x="805" y="236"/>
                </a:cubicBezTo>
                <a:cubicBezTo>
                  <a:pt x="805" y="236"/>
                  <a:pt x="805" y="236"/>
                  <a:pt x="805" y="235"/>
                </a:cubicBezTo>
                <a:cubicBezTo>
                  <a:pt x="804" y="234"/>
                  <a:pt x="804" y="234"/>
                  <a:pt x="803" y="234"/>
                </a:cubicBezTo>
                <a:cubicBezTo>
                  <a:pt x="803" y="233"/>
                  <a:pt x="804" y="233"/>
                  <a:pt x="804" y="233"/>
                </a:cubicBezTo>
                <a:cubicBezTo>
                  <a:pt x="805" y="232"/>
                  <a:pt x="804" y="232"/>
                  <a:pt x="805" y="232"/>
                </a:cubicBezTo>
                <a:cubicBezTo>
                  <a:pt x="806" y="231"/>
                  <a:pt x="807" y="231"/>
                  <a:pt x="807" y="230"/>
                </a:cubicBezTo>
                <a:cubicBezTo>
                  <a:pt x="807" y="228"/>
                  <a:pt x="807" y="228"/>
                  <a:pt x="807" y="227"/>
                </a:cubicBezTo>
                <a:cubicBezTo>
                  <a:pt x="807" y="226"/>
                  <a:pt x="808" y="226"/>
                  <a:pt x="808" y="225"/>
                </a:cubicBezTo>
                <a:cubicBezTo>
                  <a:pt x="807" y="225"/>
                  <a:pt x="806" y="225"/>
                  <a:pt x="806" y="224"/>
                </a:cubicBezTo>
                <a:cubicBezTo>
                  <a:pt x="805" y="225"/>
                  <a:pt x="805" y="225"/>
                  <a:pt x="804" y="224"/>
                </a:cubicBezTo>
                <a:cubicBezTo>
                  <a:pt x="804" y="225"/>
                  <a:pt x="804" y="224"/>
                  <a:pt x="804" y="225"/>
                </a:cubicBezTo>
                <a:cubicBezTo>
                  <a:pt x="803" y="225"/>
                  <a:pt x="803" y="224"/>
                  <a:pt x="803" y="224"/>
                </a:cubicBezTo>
                <a:cubicBezTo>
                  <a:pt x="802" y="224"/>
                  <a:pt x="801" y="225"/>
                  <a:pt x="801" y="225"/>
                </a:cubicBezTo>
                <a:cubicBezTo>
                  <a:pt x="800" y="225"/>
                  <a:pt x="798" y="226"/>
                  <a:pt x="797" y="226"/>
                </a:cubicBezTo>
                <a:cubicBezTo>
                  <a:pt x="797" y="226"/>
                  <a:pt x="797" y="225"/>
                  <a:pt x="797" y="225"/>
                </a:cubicBezTo>
                <a:cubicBezTo>
                  <a:pt x="797" y="225"/>
                  <a:pt x="797" y="224"/>
                  <a:pt x="797" y="223"/>
                </a:cubicBezTo>
                <a:cubicBezTo>
                  <a:pt x="798" y="223"/>
                  <a:pt x="798" y="223"/>
                  <a:pt x="799" y="222"/>
                </a:cubicBezTo>
                <a:cubicBezTo>
                  <a:pt x="799" y="222"/>
                  <a:pt x="799" y="222"/>
                  <a:pt x="800" y="222"/>
                </a:cubicBezTo>
                <a:cubicBezTo>
                  <a:pt x="800" y="221"/>
                  <a:pt x="800" y="221"/>
                  <a:pt x="801" y="220"/>
                </a:cubicBezTo>
                <a:cubicBezTo>
                  <a:pt x="801" y="220"/>
                  <a:pt x="802" y="219"/>
                  <a:pt x="802" y="219"/>
                </a:cubicBezTo>
                <a:cubicBezTo>
                  <a:pt x="802" y="217"/>
                  <a:pt x="801" y="216"/>
                  <a:pt x="800" y="217"/>
                </a:cubicBezTo>
                <a:cubicBezTo>
                  <a:pt x="799" y="217"/>
                  <a:pt x="799" y="216"/>
                  <a:pt x="798" y="216"/>
                </a:cubicBezTo>
                <a:cubicBezTo>
                  <a:pt x="797" y="217"/>
                  <a:pt x="797" y="218"/>
                  <a:pt x="796" y="217"/>
                </a:cubicBezTo>
                <a:cubicBezTo>
                  <a:pt x="796" y="218"/>
                  <a:pt x="796" y="218"/>
                  <a:pt x="795" y="219"/>
                </a:cubicBezTo>
                <a:cubicBezTo>
                  <a:pt x="795" y="218"/>
                  <a:pt x="795" y="218"/>
                  <a:pt x="796" y="217"/>
                </a:cubicBezTo>
                <a:cubicBezTo>
                  <a:pt x="795" y="217"/>
                  <a:pt x="794" y="217"/>
                  <a:pt x="794" y="217"/>
                </a:cubicBezTo>
                <a:cubicBezTo>
                  <a:pt x="794" y="218"/>
                  <a:pt x="794" y="219"/>
                  <a:pt x="793" y="220"/>
                </a:cubicBezTo>
                <a:cubicBezTo>
                  <a:pt x="793" y="221"/>
                  <a:pt x="793" y="221"/>
                  <a:pt x="793" y="221"/>
                </a:cubicBezTo>
                <a:cubicBezTo>
                  <a:pt x="792" y="221"/>
                  <a:pt x="792" y="221"/>
                  <a:pt x="792" y="221"/>
                </a:cubicBezTo>
                <a:cubicBezTo>
                  <a:pt x="792" y="222"/>
                  <a:pt x="792" y="223"/>
                  <a:pt x="793" y="223"/>
                </a:cubicBezTo>
                <a:cubicBezTo>
                  <a:pt x="792" y="224"/>
                  <a:pt x="793" y="224"/>
                  <a:pt x="792" y="224"/>
                </a:cubicBezTo>
                <a:cubicBezTo>
                  <a:pt x="790" y="224"/>
                  <a:pt x="790" y="223"/>
                  <a:pt x="790" y="225"/>
                </a:cubicBezTo>
                <a:cubicBezTo>
                  <a:pt x="790" y="225"/>
                  <a:pt x="790" y="225"/>
                  <a:pt x="791" y="226"/>
                </a:cubicBezTo>
                <a:cubicBezTo>
                  <a:pt x="790" y="226"/>
                  <a:pt x="789" y="226"/>
                  <a:pt x="789" y="227"/>
                </a:cubicBezTo>
                <a:cubicBezTo>
                  <a:pt x="790" y="227"/>
                  <a:pt x="790" y="227"/>
                  <a:pt x="790" y="228"/>
                </a:cubicBezTo>
                <a:close/>
                <a:moveTo>
                  <a:pt x="92" y="217"/>
                </a:moveTo>
                <a:cubicBezTo>
                  <a:pt x="91" y="217"/>
                  <a:pt x="92" y="216"/>
                  <a:pt x="91" y="216"/>
                </a:cubicBezTo>
                <a:cubicBezTo>
                  <a:pt x="90" y="216"/>
                  <a:pt x="90" y="215"/>
                  <a:pt x="90" y="216"/>
                </a:cubicBezTo>
                <a:cubicBezTo>
                  <a:pt x="89" y="217"/>
                  <a:pt x="89" y="218"/>
                  <a:pt x="88" y="218"/>
                </a:cubicBezTo>
                <a:cubicBezTo>
                  <a:pt x="89" y="219"/>
                  <a:pt x="89" y="219"/>
                  <a:pt x="90" y="219"/>
                </a:cubicBezTo>
                <a:cubicBezTo>
                  <a:pt x="90" y="218"/>
                  <a:pt x="90" y="218"/>
                  <a:pt x="90" y="218"/>
                </a:cubicBezTo>
                <a:cubicBezTo>
                  <a:pt x="91" y="218"/>
                  <a:pt x="90" y="218"/>
                  <a:pt x="90" y="218"/>
                </a:cubicBezTo>
                <a:cubicBezTo>
                  <a:pt x="91" y="217"/>
                  <a:pt x="92" y="218"/>
                  <a:pt x="92" y="218"/>
                </a:cubicBezTo>
                <a:cubicBezTo>
                  <a:pt x="92" y="218"/>
                  <a:pt x="93" y="218"/>
                  <a:pt x="93" y="218"/>
                </a:cubicBezTo>
                <a:cubicBezTo>
                  <a:pt x="93" y="218"/>
                  <a:pt x="93" y="218"/>
                  <a:pt x="93" y="218"/>
                </a:cubicBezTo>
                <a:cubicBezTo>
                  <a:pt x="92" y="218"/>
                  <a:pt x="92" y="217"/>
                  <a:pt x="92" y="217"/>
                </a:cubicBezTo>
                <a:close/>
                <a:moveTo>
                  <a:pt x="1596" y="214"/>
                </a:moveTo>
                <a:cubicBezTo>
                  <a:pt x="1596" y="214"/>
                  <a:pt x="1594" y="215"/>
                  <a:pt x="1594" y="215"/>
                </a:cubicBezTo>
                <a:cubicBezTo>
                  <a:pt x="1594" y="215"/>
                  <a:pt x="1593" y="216"/>
                  <a:pt x="1593" y="216"/>
                </a:cubicBezTo>
                <a:cubicBezTo>
                  <a:pt x="1592" y="217"/>
                  <a:pt x="1592" y="218"/>
                  <a:pt x="1592" y="219"/>
                </a:cubicBezTo>
                <a:cubicBezTo>
                  <a:pt x="1592" y="219"/>
                  <a:pt x="1591" y="221"/>
                  <a:pt x="1592" y="221"/>
                </a:cubicBezTo>
                <a:cubicBezTo>
                  <a:pt x="1593" y="221"/>
                  <a:pt x="1592" y="221"/>
                  <a:pt x="1593" y="220"/>
                </a:cubicBezTo>
                <a:cubicBezTo>
                  <a:pt x="1594" y="220"/>
                  <a:pt x="1593" y="220"/>
                  <a:pt x="1594" y="219"/>
                </a:cubicBezTo>
                <a:cubicBezTo>
                  <a:pt x="1594" y="219"/>
                  <a:pt x="1594" y="219"/>
                  <a:pt x="1594" y="218"/>
                </a:cubicBezTo>
                <a:cubicBezTo>
                  <a:pt x="1595" y="218"/>
                  <a:pt x="1595" y="218"/>
                  <a:pt x="1596" y="217"/>
                </a:cubicBezTo>
                <a:cubicBezTo>
                  <a:pt x="1597" y="216"/>
                  <a:pt x="1596" y="215"/>
                  <a:pt x="1596" y="214"/>
                </a:cubicBezTo>
                <a:cubicBezTo>
                  <a:pt x="1595" y="214"/>
                  <a:pt x="1596" y="214"/>
                  <a:pt x="1596" y="214"/>
                </a:cubicBezTo>
                <a:close/>
                <a:moveTo>
                  <a:pt x="925" y="213"/>
                </a:moveTo>
                <a:cubicBezTo>
                  <a:pt x="925" y="214"/>
                  <a:pt x="924" y="215"/>
                  <a:pt x="924" y="214"/>
                </a:cubicBezTo>
                <a:cubicBezTo>
                  <a:pt x="923" y="214"/>
                  <a:pt x="923" y="215"/>
                  <a:pt x="923" y="215"/>
                </a:cubicBezTo>
                <a:cubicBezTo>
                  <a:pt x="924" y="215"/>
                  <a:pt x="924" y="216"/>
                  <a:pt x="924" y="217"/>
                </a:cubicBezTo>
                <a:cubicBezTo>
                  <a:pt x="925" y="217"/>
                  <a:pt x="925" y="215"/>
                  <a:pt x="926" y="215"/>
                </a:cubicBezTo>
                <a:cubicBezTo>
                  <a:pt x="926" y="215"/>
                  <a:pt x="926" y="214"/>
                  <a:pt x="926" y="214"/>
                </a:cubicBezTo>
                <a:cubicBezTo>
                  <a:pt x="925" y="213"/>
                  <a:pt x="925" y="213"/>
                  <a:pt x="925" y="213"/>
                </a:cubicBezTo>
                <a:cubicBezTo>
                  <a:pt x="925" y="214"/>
                  <a:pt x="925" y="213"/>
                  <a:pt x="925" y="213"/>
                </a:cubicBezTo>
                <a:close/>
                <a:moveTo>
                  <a:pt x="842" y="211"/>
                </a:moveTo>
                <a:cubicBezTo>
                  <a:pt x="842" y="211"/>
                  <a:pt x="842" y="211"/>
                  <a:pt x="842" y="211"/>
                </a:cubicBezTo>
                <a:cubicBezTo>
                  <a:pt x="842" y="211"/>
                  <a:pt x="842" y="211"/>
                  <a:pt x="842" y="210"/>
                </a:cubicBezTo>
                <a:cubicBezTo>
                  <a:pt x="842" y="211"/>
                  <a:pt x="842" y="211"/>
                  <a:pt x="842" y="211"/>
                </a:cubicBezTo>
                <a:close/>
                <a:moveTo>
                  <a:pt x="488" y="211"/>
                </a:moveTo>
                <a:cubicBezTo>
                  <a:pt x="488" y="211"/>
                  <a:pt x="489" y="211"/>
                  <a:pt x="489" y="211"/>
                </a:cubicBezTo>
                <a:cubicBezTo>
                  <a:pt x="489" y="210"/>
                  <a:pt x="489" y="210"/>
                  <a:pt x="488" y="210"/>
                </a:cubicBezTo>
                <a:cubicBezTo>
                  <a:pt x="488" y="210"/>
                  <a:pt x="488" y="211"/>
                  <a:pt x="488" y="211"/>
                </a:cubicBezTo>
                <a:close/>
                <a:moveTo>
                  <a:pt x="843" y="209"/>
                </a:moveTo>
                <a:cubicBezTo>
                  <a:pt x="842" y="209"/>
                  <a:pt x="842" y="209"/>
                  <a:pt x="842" y="210"/>
                </a:cubicBezTo>
                <a:cubicBezTo>
                  <a:pt x="843" y="210"/>
                  <a:pt x="843" y="209"/>
                  <a:pt x="843" y="209"/>
                </a:cubicBezTo>
                <a:close/>
                <a:moveTo>
                  <a:pt x="845" y="209"/>
                </a:moveTo>
                <a:cubicBezTo>
                  <a:pt x="845" y="208"/>
                  <a:pt x="845" y="209"/>
                  <a:pt x="844" y="208"/>
                </a:cubicBezTo>
                <a:cubicBezTo>
                  <a:pt x="844" y="209"/>
                  <a:pt x="844" y="209"/>
                  <a:pt x="845" y="209"/>
                </a:cubicBezTo>
                <a:close/>
                <a:moveTo>
                  <a:pt x="842" y="208"/>
                </a:moveTo>
                <a:cubicBezTo>
                  <a:pt x="843" y="208"/>
                  <a:pt x="842" y="208"/>
                  <a:pt x="842" y="208"/>
                </a:cubicBezTo>
                <a:cubicBezTo>
                  <a:pt x="842" y="208"/>
                  <a:pt x="842" y="208"/>
                  <a:pt x="842" y="208"/>
                </a:cubicBezTo>
                <a:close/>
                <a:moveTo>
                  <a:pt x="611" y="208"/>
                </a:moveTo>
                <a:cubicBezTo>
                  <a:pt x="612" y="208"/>
                  <a:pt x="609" y="207"/>
                  <a:pt x="609" y="208"/>
                </a:cubicBezTo>
                <a:cubicBezTo>
                  <a:pt x="608" y="209"/>
                  <a:pt x="611" y="209"/>
                  <a:pt x="611" y="208"/>
                </a:cubicBezTo>
                <a:close/>
                <a:moveTo>
                  <a:pt x="1736" y="207"/>
                </a:moveTo>
                <a:cubicBezTo>
                  <a:pt x="1735" y="207"/>
                  <a:pt x="1735" y="207"/>
                  <a:pt x="1735" y="207"/>
                </a:cubicBezTo>
                <a:cubicBezTo>
                  <a:pt x="1734" y="207"/>
                  <a:pt x="1734" y="207"/>
                  <a:pt x="1734" y="208"/>
                </a:cubicBezTo>
                <a:cubicBezTo>
                  <a:pt x="1734" y="208"/>
                  <a:pt x="1733" y="208"/>
                  <a:pt x="1733" y="208"/>
                </a:cubicBezTo>
                <a:cubicBezTo>
                  <a:pt x="1732" y="208"/>
                  <a:pt x="1731" y="208"/>
                  <a:pt x="1730" y="208"/>
                </a:cubicBezTo>
                <a:cubicBezTo>
                  <a:pt x="1730" y="209"/>
                  <a:pt x="1731" y="210"/>
                  <a:pt x="1732" y="210"/>
                </a:cubicBezTo>
                <a:cubicBezTo>
                  <a:pt x="1732" y="210"/>
                  <a:pt x="1734" y="211"/>
                  <a:pt x="1735" y="211"/>
                </a:cubicBezTo>
                <a:cubicBezTo>
                  <a:pt x="1735" y="211"/>
                  <a:pt x="1736" y="210"/>
                  <a:pt x="1736" y="210"/>
                </a:cubicBezTo>
                <a:cubicBezTo>
                  <a:pt x="1737" y="210"/>
                  <a:pt x="1738" y="210"/>
                  <a:pt x="1738" y="209"/>
                </a:cubicBezTo>
                <a:cubicBezTo>
                  <a:pt x="1738" y="208"/>
                  <a:pt x="1738" y="207"/>
                  <a:pt x="1737" y="207"/>
                </a:cubicBezTo>
                <a:cubicBezTo>
                  <a:pt x="1737" y="207"/>
                  <a:pt x="1736" y="207"/>
                  <a:pt x="1736" y="207"/>
                </a:cubicBezTo>
                <a:cubicBezTo>
                  <a:pt x="1735" y="207"/>
                  <a:pt x="1736" y="207"/>
                  <a:pt x="1736" y="207"/>
                </a:cubicBezTo>
                <a:close/>
                <a:moveTo>
                  <a:pt x="1709" y="206"/>
                </a:moveTo>
                <a:cubicBezTo>
                  <a:pt x="1708" y="206"/>
                  <a:pt x="1706" y="205"/>
                  <a:pt x="1705" y="205"/>
                </a:cubicBezTo>
                <a:cubicBezTo>
                  <a:pt x="1705" y="205"/>
                  <a:pt x="1705" y="206"/>
                  <a:pt x="1705" y="206"/>
                </a:cubicBezTo>
                <a:cubicBezTo>
                  <a:pt x="1704" y="207"/>
                  <a:pt x="1704" y="207"/>
                  <a:pt x="1704" y="208"/>
                </a:cubicBezTo>
                <a:cubicBezTo>
                  <a:pt x="1704" y="208"/>
                  <a:pt x="1704" y="208"/>
                  <a:pt x="1705" y="209"/>
                </a:cubicBezTo>
                <a:cubicBezTo>
                  <a:pt x="1705" y="209"/>
                  <a:pt x="1705" y="209"/>
                  <a:pt x="1705" y="210"/>
                </a:cubicBezTo>
                <a:cubicBezTo>
                  <a:pt x="1706" y="210"/>
                  <a:pt x="1706" y="210"/>
                  <a:pt x="1707" y="210"/>
                </a:cubicBezTo>
                <a:cubicBezTo>
                  <a:pt x="1708" y="209"/>
                  <a:pt x="1710" y="208"/>
                  <a:pt x="1710" y="208"/>
                </a:cubicBezTo>
                <a:cubicBezTo>
                  <a:pt x="1710" y="206"/>
                  <a:pt x="1710" y="207"/>
                  <a:pt x="1709" y="206"/>
                </a:cubicBezTo>
                <a:cubicBezTo>
                  <a:pt x="1707" y="206"/>
                  <a:pt x="1709" y="206"/>
                  <a:pt x="1709" y="206"/>
                </a:cubicBezTo>
                <a:close/>
                <a:moveTo>
                  <a:pt x="909" y="207"/>
                </a:moveTo>
                <a:cubicBezTo>
                  <a:pt x="910" y="207"/>
                  <a:pt x="912" y="207"/>
                  <a:pt x="912" y="208"/>
                </a:cubicBezTo>
                <a:cubicBezTo>
                  <a:pt x="913" y="207"/>
                  <a:pt x="914" y="206"/>
                  <a:pt x="912" y="205"/>
                </a:cubicBezTo>
                <a:cubicBezTo>
                  <a:pt x="912" y="205"/>
                  <a:pt x="912" y="205"/>
                  <a:pt x="912" y="205"/>
                </a:cubicBezTo>
                <a:cubicBezTo>
                  <a:pt x="912" y="205"/>
                  <a:pt x="912" y="205"/>
                  <a:pt x="911" y="205"/>
                </a:cubicBezTo>
                <a:cubicBezTo>
                  <a:pt x="911" y="205"/>
                  <a:pt x="911" y="204"/>
                  <a:pt x="910" y="204"/>
                </a:cubicBezTo>
                <a:cubicBezTo>
                  <a:pt x="910" y="205"/>
                  <a:pt x="911" y="206"/>
                  <a:pt x="911" y="206"/>
                </a:cubicBezTo>
                <a:cubicBezTo>
                  <a:pt x="910" y="206"/>
                  <a:pt x="910" y="206"/>
                  <a:pt x="909" y="207"/>
                </a:cubicBezTo>
                <a:cubicBezTo>
                  <a:pt x="911" y="207"/>
                  <a:pt x="909" y="207"/>
                  <a:pt x="909" y="207"/>
                </a:cubicBezTo>
                <a:close/>
                <a:moveTo>
                  <a:pt x="906" y="204"/>
                </a:moveTo>
                <a:cubicBezTo>
                  <a:pt x="907" y="204"/>
                  <a:pt x="906" y="203"/>
                  <a:pt x="906" y="204"/>
                </a:cubicBezTo>
                <a:cubicBezTo>
                  <a:pt x="906" y="204"/>
                  <a:pt x="906" y="204"/>
                  <a:pt x="906" y="204"/>
                </a:cubicBezTo>
                <a:close/>
                <a:moveTo>
                  <a:pt x="811" y="206"/>
                </a:moveTo>
                <a:cubicBezTo>
                  <a:pt x="812" y="206"/>
                  <a:pt x="811" y="207"/>
                  <a:pt x="811" y="208"/>
                </a:cubicBezTo>
                <a:cubicBezTo>
                  <a:pt x="813" y="207"/>
                  <a:pt x="812" y="207"/>
                  <a:pt x="812" y="206"/>
                </a:cubicBezTo>
                <a:cubicBezTo>
                  <a:pt x="812" y="206"/>
                  <a:pt x="812" y="206"/>
                  <a:pt x="812" y="206"/>
                </a:cubicBezTo>
                <a:cubicBezTo>
                  <a:pt x="813" y="205"/>
                  <a:pt x="812" y="205"/>
                  <a:pt x="812" y="205"/>
                </a:cubicBezTo>
                <a:cubicBezTo>
                  <a:pt x="812" y="204"/>
                  <a:pt x="812" y="204"/>
                  <a:pt x="812" y="203"/>
                </a:cubicBezTo>
                <a:cubicBezTo>
                  <a:pt x="812" y="203"/>
                  <a:pt x="811" y="204"/>
                  <a:pt x="811" y="205"/>
                </a:cubicBezTo>
                <a:cubicBezTo>
                  <a:pt x="811" y="205"/>
                  <a:pt x="811" y="205"/>
                  <a:pt x="810" y="206"/>
                </a:cubicBezTo>
                <a:cubicBezTo>
                  <a:pt x="810" y="206"/>
                  <a:pt x="810" y="206"/>
                  <a:pt x="810" y="207"/>
                </a:cubicBezTo>
                <a:cubicBezTo>
                  <a:pt x="811" y="207"/>
                  <a:pt x="811" y="207"/>
                  <a:pt x="811" y="206"/>
                </a:cubicBezTo>
                <a:close/>
                <a:moveTo>
                  <a:pt x="117" y="202"/>
                </a:moveTo>
                <a:cubicBezTo>
                  <a:pt x="117" y="203"/>
                  <a:pt x="117" y="204"/>
                  <a:pt x="116" y="204"/>
                </a:cubicBezTo>
                <a:cubicBezTo>
                  <a:pt x="116" y="205"/>
                  <a:pt x="115" y="205"/>
                  <a:pt x="116" y="206"/>
                </a:cubicBezTo>
                <a:cubicBezTo>
                  <a:pt x="116" y="205"/>
                  <a:pt x="117" y="204"/>
                  <a:pt x="118" y="204"/>
                </a:cubicBezTo>
                <a:cubicBezTo>
                  <a:pt x="118" y="203"/>
                  <a:pt x="118" y="202"/>
                  <a:pt x="117" y="202"/>
                </a:cubicBezTo>
                <a:cubicBezTo>
                  <a:pt x="117" y="204"/>
                  <a:pt x="117" y="202"/>
                  <a:pt x="117" y="202"/>
                </a:cubicBezTo>
                <a:close/>
                <a:moveTo>
                  <a:pt x="26" y="202"/>
                </a:moveTo>
                <a:cubicBezTo>
                  <a:pt x="26" y="203"/>
                  <a:pt x="25" y="202"/>
                  <a:pt x="25" y="203"/>
                </a:cubicBezTo>
                <a:cubicBezTo>
                  <a:pt x="24" y="203"/>
                  <a:pt x="24" y="203"/>
                  <a:pt x="24" y="204"/>
                </a:cubicBezTo>
                <a:cubicBezTo>
                  <a:pt x="24" y="204"/>
                  <a:pt x="23" y="203"/>
                  <a:pt x="23" y="203"/>
                </a:cubicBezTo>
                <a:cubicBezTo>
                  <a:pt x="22" y="203"/>
                  <a:pt x="21" y="203"/>
                  <a:pt x="21" y="204"/>
                </a:cubicBezTo>
                <a:cubicBezTo>
                  <a:pt x="21" y="205"/>
                  <a:pt x="25" y="207"/>
                  <a:pt x="26" y="206"/>
                </a:cubicBezTo>
                <a:cubicBezTo>
                  <a:pt x="27" y="206"/>
                  <a:pt x="27" y="206"/>
                  <a:pt x="27" y="206"/>
                </a:cubicBezTo>
                <a:cubicBezTo>
                  <a:pt x="28" y="206"/>
                  <a:pt x="28" y="205"/>
                  <a:pt x="28" y="205"/>
                </a:cubicBezTo>
                <a:cubicBezTo>
                  <a:pt x="29" y="205"/>
                  <a:pt x="29" y="205"/>
                  <a:pt x="29" y="205"/>
                </a:cubicBezTo>
                <a:cubicBezTo>
                  <a:pt x="29" y="204"/>
                  <a:pt x="29" y="202"/>
                  <a:pt x="29" y="202"/>
                </a:cubicBezTo>
                <a:cubicBezTo>
                  <a:pt x="28" y="202"/>
                  <a:pt x="27" y="202"/>
                  <a:pt x="26" y="202"/>
                </a:cubicBezTo>
                <a:cubicBezTo>
                  <a:pt x="26" y="202"/>
                  <a:pt x="26" y="202"/>
                  <a:pt x="26" y="202"/>
                </a:cubicBezTo>
                <a:close/>
                <a:moveTo>
                  <a:pt x="120" y="202"/>
                </a:moveTo>
                <a:cubicBezTo>
                  <a:pt x="121" y="202"/>
                  <a:pt x="121" y="202"/>
                  <a:pt x="120" y="201"/>
                </a:cubicBezTo>
                <a:cubicBezTo>
                  <a:pt x="120" y="202"/>
                  <a:pt x="120" y="202"/>
                  <a:pt x="120" y="202"/>
                </a:cubicBezTo>
                <a:close/>
                <a:moveTo>
                  <a:pt x="493" y="202"/>
                </a:moveTo>
                <a:cubicBezTo>
                  <a:pt x="494" y="202"/>
                  <a:pt x="494" y="202"/>
                  <a:pt x="494" y="202"/>
                </a:cubicBezTo>
                <a:cubicBezTo>
                  <a:pt x="495" y="202"/>
                  <a:pt x="495" y="201"/>
                  <a:pt x="495" y="201"/>
                </a:cubicBezTo>
                <a:cubicBezTo>
                  <a:pt x="494" y="201"/>
                  <a:pt x="493" y="201"/>
                  <a:pt x="493" y="201"/>
                </a:cubicBezTo>
                <a:cubicBezTo>
                  <a:pt x="493" y="201"/>
                  <a:pt x="493" y="202"/>
                  <a:pt x="493" y="202"/>
                </a:cubicBezTo>
                <a:close/>
                <a:moveTo>
                  <a:pt x="815" y="201"/>
                </a:moveTo>
                <a:cubicBezTo>
                  <a:pt x="815" y="201"/>
                  <a:pt x="815" y="202"/>
                  <a:pt x="815" y="201"/>
                </a:cubicBezTo>
                <a:cubicBezTo>
                  <a:pt x="815" y="201"/>
                  <a:pt x="815" y="201"/>
                  <a:pt x="815" y="201"/>
                </a:cubicBezTo>
                <a:close/>
                <a:moveTo>
                  <a:pt x="115" y="201"/>
                </a:moveTo>
                <a:cubicBezTo>
                  <a:pt x="115" y="201"/>
                  <a:pt x="115" y="201"/>
                  <a:pt x="115" y="201"/>
                </a:cubicBezTo>
                <a:cubicBezTo>
                  <a:pt x="116" y="201"/>
                  <a:pt x="116" y="201"/>
                  <a:pt x="116" y="201"/>
                </a:cubicBezTo>
                <a:cubicBezTo>
                  <a:pt x="116" y="201"/>
                  <a:pt x="116" y="201"/>
                  <a:pt x="115" y="201"/>
                </a:cubicBezTo>
                <a:close/>
                <a:moveTo>
                  <a:pt x="32" y="200"/>
                </a:moveTo>
                <a:cubicBezTo>
                  <a:pt x="34" y="201"/>
                  <a:pt x="34" y="201"/>
                  <a:pt x="35" y="200"/>
                </a:cubicBezTo>
                <a:cubicBezTo>
                  <a:pt x="36" y="200"/>
                  <a:pt x="35" y="199"/>
                  <a:pt x="35" y="198"/>
                </a:cubicBezTo>
                <a:cubicBezTo>
                  <a:pt x="34" y="198"/>
                  <a:pt x="34" y="198"/>
                  <a:pt x="33" y="198"/>
                </a:cubicBezTo>
                <a:cubicBezTo>
                  <a:pt x="32" y="197"/>
                  <a:pt x="32" y="198"/>
                  <a:pt x="31" y="199"/>
                </a:cubicBezTo>
                <a:cubicBezTo>
                  <a:pt x="32" y="199"/>
                  <a:pt x="32" y="200"/>
                  <a:pt x="32" y="200"/>
                </a:cubicBezTo>
                <a:cubicBezTo>
                  <a:pt x="33" y="201"/>
                  <a:pt x="32" y="200"/>
                  <a:pt x="32" y="200"/>
                </a:cubicBezTo>
                <a:close/>
                <a:moveTo>
                  <a:pt x="507" y="195"/>
                </a:moveTo>
                <a:cubicBezTo>
                  <a:pt x="508" y="195"/>
                  <a:pt x="509" y="195"/>
                  <a:pt x="509" y="194"/>
                </a:cubicBezTo>
                <a:cubicBezTo>
                  <a:pt x="508" y="194"/>
                  <a:pt x="507" y="194"/>
                  <a:pt x="507" y="194"/>
                </a:cubicBezTo>
                <a:cubicBezTo>
                  <a:pt x="507" y="194"/>
                  <a:pt x="507" y="195"/>
                  <a:pt x="507" y="195"/>
                </a:cubicBezTo>
                <a:cubicBezTo>
                  <a:pt x="509" y="195"/>
                  <a:pt x="507" y="195"/>
                  <a:pt x="507" y="195"/>
                </a:cubicBezTo>
                <a:close/>
                <a:moveTo>
                  <a:pt x="984" y="194"/>
                </a:moveTo>
                <a:cubicBezTo>
                  <a:pt x="984" y="195"/>
                  <a:pt x="985" y="193"/>
                  <a:pt x="984" y="193"/>
                </a:cubicBezTo>
                <a:cubicBezTo>
                  <a:pt x="984" y="194"/>
                  <a:pt x="984" y="194"/>
                  <a:pt x="984" y="194"/>
                </a:cubicBezTo>
                <a:close/>
                <a:moveTo>
                  <a:pt x="481" y="192"/>
                </a:moveTo>
                <a:cubicBezTo>
                  <a:pt x="481" y="192"/>
                  <a:pt x="482" y="192"/>
                  <a:pt x="482" y="192"/>
                </a:cubicBezTo>
                <a:cubicBezTo>
                  <a:pt x="484" y="191"/>
                  <a:pt x="481" y="190"/>
                  <a:pt x="480" y="190"/>
                </a:cubicBezTo>
                <a:cubicBezTo>
                  <a:pt x="480" y="191"/>
                  <a:pt x="481" y="191"/>
                  <a:pt x="481" y="192"/>
                </a:cubicBezTo>
                <a:close/>
                <a:moveTo>
                  <a:pt x="440" y="191"/>
                </a:moveTo>
                <a:cubicBezTo>
                  <a:pt x="440" y="191"/>
                  <a:pt x="440" y="191"/>
                  <a:pt x="440" y="191"/>
                </a:cubicBezTo>
                <a:cubicBezTo>
                  <a:pt x="439" y="191"/>
                  <a:pt x="440" y="189"/>
                  <a:pt x="440" y="188"/>
                </a:cubicBezTo>
                <a:cubicBezTo>
                  <a:pt x="439" y="189"/>
                  <a:pt x="437" y="191"/>
                  <a:pt x="437" y="192"/>
                </a:cubicBezTo>
                <a:cubicBezTo>
                  <a:pt x="437" y="193"/>
                  <a:pt x="438" y="192"/>
                  <a:pt x="438" y="193"/>
                </a:cubicBezTo>
                <a:cubicBezTo>
                  <a:pt x="439" y="194"/>
                  <a:pt x="440" y="192"/>
                  <a:pt x="440" y="191"/>
                </a:cubicBezTo>
                <a:close/>
                <a:moveTo>
                  <a:pt x="466" y="186"/>
                </a:moveTo>
                <a:cubicBezTo>
                  <a:pt x="465" y="186"/>
                  <a:pt x="466" y="186"/>
                  <a:pt x="465" y="186"/>
                </a:cubicBezTo>
                <a:cubicBezTo>
                  <a:pt x="465" y="186"/>
                  <a:pt x="466" y="186"/>
                  <a:pt x="466" y="186"/>
                </a:cubicBezTo>
                <a:cubicBezTo>
                  <a:pt x="466" y="185"/>
                  <a:pt x="466" y="186"/>
                  <a:pt x="466" y="185"/>
                </a:cubicBezTo>
                <a:cubicBezTo>
                  <a:pt x="466" y="185"/>
                  <a:pt x="466" y="185"/>
                  <a:pt x="466" y="186"/>
                </a:cubicBezTo>
                <a:cubicBezTo>
                  <a:pt x="465" y="186"/>
                  <a:pt x="466" y="186"/>
                  <a:pt x="466" y="186"/>
                </a:cubicBezTo>
                <a:close/>
                <a:moveTo>
                  <a:pt x="447" y="185"/>
                </a:moveTo>
                <a:cubicBezTo>
                  <a:pt x="447" y="185"/>
                  <a:pt x="447" y="185"/>
                  <a:pt x="447" y="185"/>
                </a:cubicBezTo>
                <a:cubicBezTo>
                  <a:pt x="448" y="186"/>
                  <a:pt x="448" y="186"/>
                  <a:pt x="449" y="186"/>
                </a:cubicBezTo>
                <a:cubicBezTo>
                  <a:pt x="449" y="185"/>
                  <a:pt x="448" y="184"/>
                  <a:pt x="447" y="185"/>
                </a:cubicBezTo>
                <a:cubicBezTo>
                  <a:pt x="447" y="185"/>
                  <a:pt x="447" y="185"/>
                  <a:pt x="447" y="185"/>
                </a:cubicBezTo>
                <a:close/>
                <a:moveTo>
                  <a:pt x="452" y="184"/>
                </a:moveTo>
                <a:cubicBezTo>
                  <a:pt x="452" y="185"/>
                  <a:pt x="452" y="185"/>
                  <a:pt x="452" y="186"/>
                </a:cubicBezTo>
                <a:cubicBezTo>
                  <a:pt x="452" y="186"/>
                  <a:pt x="453" y="186"/>
                  <a:pt x="453" y="186"/>
                </a:cubicBezTo>
                <a:cubicBezTo>
                  <a:pt x="453" y="186"/>
                  <a:pt x="453" y="186"/>
                  <a:pt x="453" y="185"/>
                </a:cubicBezTo>
                <a:cubicBezTo>
                  <a:pt x="453" y="184"/>
                  <a:pt x="453" y="184"/>
                  <a:pt x="452" y="184"/>
                </a:cubicBezTo>
                <a:cubicBezTo>
                  <a:pt x="452" y="185"/>
                  <a:pt x="452" y="184"/>
                  <a:pt x="452" y="184"/>
                </a:cubicBezTo>
                <a:close/>
                <a:moveTo>
                  <a:pt x="855" y="185"/>
                </a:moveTo>
                <a:cubicBezTo>
                  <a:pt x="855" y="185"/>
                  <a:pt x="855" y="184"/>
                  <a:pt x="854" y="184"/>
                </a:cubicBezTo>
                <a:cubicBezTo>
                  <a:pt x="854" y="184"/>
                  <a:pt x="854" y="184"/>
                  <a:pt x="855" y="185"/>
                </a:cubicBezTo>
                <a:close/>
                <a:moveTo>
                  <a:pt x="418" y="189"/>
                </a:moveTo>
                <a:cubicBezTo>
                  <a:pt x="420" y="188"/>
                  <a:pt x="422" y="188"/>
                  <a:pt x="423" y="186"/>
                </a:cubicBezTo>
                <a:cubicBezTo>
                  <a:pt x="423" y="185"/>
                  <a:pt x="425" y="185"/>
                  <a:pt x="425" y="185"/>
                </a:cubicBezTo>
                <a:cubicBezTo>
                  <a:pt x="425" y="184"/>
                  <a:pt x="425" y="184"/>
                  <a:pt x="424" y="184"/>
                </a:cubicBezTo>
                <a:cubicBezTo>
                  <a:pt x="424" y="184"/>
                  <a:pt x="423" y="184"/>
                  <a:pt x="423" y="184"/>
                </a:cubicBezTo>
                <a:cubicBezTo>
                  <a:pt x="423" y="185"/>
                  <a:pt x="422" y="185"/>
                  <a:pt x="421" y="186"/>
                </a:cubicBezTo>
                <a:cubicBezTo>
                  <a:pt x="420" y="186"/>
                  <a:pt x="420" y="187"/>
                  <a:pt x="419" y="187"/>
                </a:cubicBezTo>
                <a:cubicBezTo>
                  <a:pt x="419" y="187"/>
                  <a:pt x="417" y="187"/>
                  <a:pt x="417" y="187"/>
                </a:cubicBezTo>
                <a:cubicBezTo>
                  <a:pt x="417" y="188"/>
                  <a:pt x="415" y="189"/>
                  <a:pt x="415" y="190"/>
                </a:cubicBezTo>
                <a:cubicBezTo>
                  <a:pt x="415" y="190"/>
                  <a:pt x="416" y="189"/>
                  <a:pt x="416" y="190"/>
                </a:cubicBezTo>
                <a:cubicBezTo>
                  <a:pt x="417" y="190"/>
                  <a:pt x="418" y="190"/>
                  <a:pt x="418" y="189"/>
                </a:cubicBezTo>
                <a:cubicBezTo>
                  <a:pt x="419" y="189"/>
                  <a:pt x="418" y="189"/>
                  <a:pt x="418" y="189"/>
                </a:cubicBezTo>
                <a:close/>
                <a:moveTo>
                  <a:pt x="34" y="184"/>
                </a:moveTo>
                <a:cubicBezTo>
                  <a:pt x="35" y="184"/>
                  <a:pt x="34" y="184"/>
                  <a:pt x="35" y="184"/>
                </a:cubicBezTo>
                <a:cubicBezTo>
                  <a:pt x="34" y="183"/>
                  <a:pt x="34" y="183"/>
                  <a:pt x="33" y="183"/>
                </a:cubicBezTo>
                <a:cubicBezTo>
                  <a:pt x="33" y="183"/>
                  <a:pt x="32" y="183"/>
                  <a:pt x="32" y="184"/>
                </a:cubicBezTo>
                <a:cubicBezTo>
                  <a:pt x="33" y="184"/>
                  <a:pt x="34" y="184"/>
                  <a:pt x="34" y="184"/>
                </a:cubicBezTo>
                <a:cubicBezTo>
                  <a:pt x="35" y="184"/>
                  <a:pt x="34" y="184"/>
                  <a:pt x="34" y="184"/>
                </a:cubicBezTo>
                <a:close/>
                <a:moveTo>
                  <a:pt x="513" y="185"/>
                </a:moveTo>
                <a:cubicBezTo>
                  <a:pt x="514" y="185"/>
                  <a:pt x="515" y="185"/>
                  <a:pt x="515" y="184"/>
                </a:cubicBezTo>
                <a:cubicBezTo>
                  <a:pt x="515" y="183"/>
                  <a:pt x="515" y="183"/>
                  <a:pt x="515" y="182"/>
                </a:cubicBezTo>
                <a:cubicBezTo>
                  <a:pt x="514" y="183"/>
                  <a:pt x="512" y="182"/>
                  <a:pt x="511" y="182"/>
                </a:cubicBezTo>
                <a:cubicBezTo>
                  <a:pt x="512" y="183"/>
                  <a:pt x="511" y="183"/>
                  <a:pt x="510" y="183"/>
                </a:cubicBezTo>
                <a:cubicBezTo>
                  <a:pt x="510" y="183"/>
                  <a:pt x="510" y="184"/>
                  <a:pt x="511" y="184"/>
                </a:cubicBezTo>
                <a:cubicBezTo>
                  <a:pt x="512" y="184"/>
                  <a:pt x="511" y="184"/>
                  <a:pt x="511" y="185"/>
                </a:cubicBezTo>
                <a:cubicBezTo>
                  <a:pt x="511" y="186"/>
                  <a:pt x="513" y="185"/>
                  <a:pt x="513" y="185"/>
                </a:cubicBezTo>
                <a:cubicBezTo>
                  <a:pt x="514" y="185"/>
                  <a:pt x="513" y="185"/>
                  <a:pt x="513" y="185"/>
                </a:cubicBezTo>
                <a:close/>
                <a:moveTo>
                  <a:pt x="449" y="183"/>
                </a:moveTo>
                <a:cubicBezTo>
                  <a:pt x="448" y="183"/>
                  <a:pt x="448" y="182"/>
                  <a:pt x="448" y="182"/>
                </a:cubicBezTo>
                <a:cubicBezTo>
                  <a:pt x="447" y="182"/>
                  <a:pt x="447" y="182"/>
                  <a:pt x="447" y="183"/>
                </a:cubicBezTo>
                <a:cubicBezTo>
                  <a:pt x="448" y="183"/>
                  <a:pt x="448" y="183"/>
                  <a:pt x="448" y="184"/>
                </a:cubicBezTo>
                <a:cubicBezTo>
                  <a:pt x="449" y="183"/>
                  <a:pt x="449" y="183"/>
                  <a:pt x="449" y="183"/>
                </a:cubicBezTo>
                <a:close/>
                <a:moveTo>
                  <a:pt x="1722" y="188"/>
                </a:moveTo>
                <a:cubicBezTo>
                  <a:pt x="1723" y="188"/>
                  <a:pt x="1723" y="187"/>
                  <a:pt x="1723" y="187"/>
                </a:cubicBezTo>
                <a:cubicBezTo>
                  <a:pt x="1724" y="187"/>
                  <a:pt x="1724" y="187"/>
                  <a:pt x="1724" y="187"/>
                </a:cubicBezTo>
                <a:cubicBezTo>
                  <a:pt x="1724" y="187"/>
                  <a:pt x="1725" y="187"/>
                  <a:pt x="1725" y="187"/>
                </a:cubicBezTo>
                <a:cubicBezTo>
                  <a:pt x="1725" y="186"/>
                  <a:pt x="1723" y="186"/>
                  <a:pt x="1723" y="186"/>
                </a:cubicBezTo>
                <a:cubicBezTo>
                  <a:pt x="1722" y="186"/>
                  <a:pt x="1722" y="186"/>
                  <a:pt x="1721" y="186"/>
                </a:cubicBezTo>
                <a:cubicBezTo>
                  <a:pt x="1721" y="186"/>
                  <a:pt x="1721" y="185"/>
                  <a:pt x="1721" y="185"/>
                </a:cubicBezTo>
                <a:cubicBezTo>
                  <a:pt x="1720" y="185"/>
                  <a:pt x="1720" y="185"/>
                  <a:pt x="1720" y="184"/>
                </a:cubicBezTo>
                <a:cubicBezTo>
                  <a:pt x="1720" y="184"/>
                  <a:pt x="1719" y="183"/>
                  <a:pt x="1719" y="183"/>
                </a:cubicBezTo>
                <a:cubicBezTo>
                  <a:pt x="1718" y="182"/>
                  <a:pt x="1718" y="183"/>
                  <a:pt x="1717" y="182"/>
                </a:cubicBezTo>
                <a:cubicBezTo>
                  <a:pt x="1717" y="182"/>
                  <a:pt x="1717" y="182"/>
                  <a:pt x="1716" y="182"/>
                </a:cubicBezTo>
                <a:cubicBezTo>
                  <a:pt x="1716" y="182"/>
                  <a:pt x="1716" y="182"/>
                  <a:pt x="1716" y="183"/>
                </a:cubicBezTo>
                <a:cubicBezTo>
                  <a:pt x="1716" y="183"/>
                  <a:pt x="1713" y="184"/>
                  <a:pt x="1712" y="184"/>
                </a:cubicBezTo>
                <a:cubicBezTo>
                  <a:pt x="1711" y="184"/>
                  <a:pt x="1711" y="183"/>
                  <a:pt x="1711" y="182"/>
                </a:cubicBezTo>
                <a:cubicBezTo>
                  <a:pt x="1711" y="182"/>
                  <a:pt x="1711" y="182"/>
                  <a:pt x="1711" y="182"/>
                </a:cubicBezTo>
                <a:cubicBezTo>
                  <a:pt x="1710" y="182"/>
                  <a:pt x="1711" y="184"/>
                  <a:pt x="1711" y="184"/>
                </a:cubicBezTo>
                <a:cubicBezTo>
                  <a:pt x="1710" y="184"/>
                  <a:pt x="1710" y="184"/>
                  <a:pt x="1710" y="185"/>
                </a:cubicBezTo>
                <a:cubicBezTo>
                  <a:pt x="1710" y="186"/>
                  <a:pt x="1710" y="186"/>
                  <a:pt x="1712" y="186"/>
                </a:cubicBezTo>
                <a:cubicBezTo>
                  <a:pt x="1713" y="186"/>
                  <a:pt x="1717" y="183"/>
                  <a:pt x="1718" y="185"/>
                </a:cubicBezTo>
                <a:cubicBezTo>
                  <a:pt x="1718" y="186"/>
                  <a:pt x="1719" y="186"/>
                  <a:pt x="1719" y="186"/>
                </a:cubicBezTo>
                <a:cubicBezTo>
                  <a:pt x="1719" y="187"/>
                  <a:pt x="1720" y="188"/>
                  <a:pt x="1720" y="188"/>
                </a:cubicBezTo>
                <a:cubicBezTo>
                  <a:pt x="1721" y="188"/>
                  <a:pt x="1721" y="189"/>
                  <a:pt x="1721" y="189"/>
                </a:cubicBezTo>
                <a:cubicBezTo>
                  <a:pt x="1722" y="189"/>
                  <a:pt x="1722" y="189"/>
                  <a:pt x="1723" y="189"/>
                </a:cubicBezTo>
                <a:cubicBezTo>
                  <a:pt x="1723" y="189"/>
                  <a:pt x="1723" y="188"/>
                  <a:pt x="1722" y="188"/>
                </a:cubicBezTo>
                <a:cubicBezTo>
                  <a:pt x="1723" y="188"/>
                  <a:pt x="1722" y="188"/>
                  <a:pt x="1722" y="188"/>
                </a:cubicBezTo>
                <a:close/>
                <a:moveTo>
                  <a:pt x="861" y="179"/>
                </a:moveTo>
                <a:cubicBezTo>
                  <a:pt x="861" y="179"/>
                  <a:pt x="860" y="178"/>
                  <a:pt x="860" y="179"/>
                </a:cubicBezTo>
                <a:cubicBezTo>
                  <a:pt x="860" y="179"/>
                  <a:pt x="859" y="179"/>
                  <a:pt x="859" y="179"/>
                </a:cubicBezTo>
                <a:cubicBezTo>
                  <a:pt x="859" y="179"/>
                  <a:pt x="858" y="180"/>
                  <a:pt x="858" y="180"/>
                </a:cubicBezTo>
                <a:cubicBezTo>
                  <a:pt x="859" y="180"/>
                  <a:pt x="860" y="179"/>
                  <a:pt x="861" y="179"/>
                </a:cubicBezTo>
                <a:close/>
                <a:moveTo>
                  <a:pt x="466" y="178"/>
                </a:moveTo>
                <a:cubicBezTo>
                  <a:pt x="467" y="178"/>
                  <a:pt x="467" y="178"/>
                  <a:pt x="467" y="177"/>
                </a:cubicBezTo>
                <a:cubicBezTo>
                  <a:pt x="466" y="177"/>
                  <a:pt x="466" y="178"/>
                  <a:pt x="466" y="178"/>
                </a:cubicBezTo>
                <a:close/>
                <a:moveTo>
                  <a:pt x="13" y="180"/>
                </a:moveTo>
                <a:cubicBezTo>
                  <a:pt x="14" y="180"/>
                  <a:pt x="14" y="180"/>
                  <a:pt x="14" y="180"/>
                </a:cubicBezTo>
                <a:cubicBezTo>
                  <a:pt x="13" y="180"/>
                  <a:pt x="12" y="180"/>
                  <a:pt x="11" y="180"/>
                </a:cubicBezTo>
                <a:cubicBezTo>
                  <a:pt x="10" y="179"/>
                  <a:pt x="9" y="179"/>
                  <a:pt x="9" y="178"/>
                </a:cubicBezTo>
                <a:cubicBezTo>
                  <a:pt x="9" y="178"/>
                  <a:pt x="9" y="178"/>
                  <a:pt x="9" y="178"/>
                </a:cubicBezTo>
                <a:cubicBezTo>
                  <a:pt x="9" y="177"/>
                  <a:pt x="8" y="178"/>
                  <a:pt x="8" y="177"/>
                </a:cubicBezTo>
                <a:cubicBezTo>
                  <a:pt x="8" y="176"/>
                  <a:pt x="7" y="177"/>
                  <a:pt x="6" y="176"/>
                </a:cubicBezTo>
                <a:cubicBezTo>
                  <a:pt x="6" y="176"/>
                  <a:pt x="4" y="176"/>
                  <a:pt x="4" y="177"/>
                </a:cubicBezTo>
                <a:cubicBezTo>
                  <a:pt x="3" y="178"/>
                  <a:pt x="2" y="176"/>
                  <a:pt x="2" y="177"/>
                </a:cubicBezTo>
                <a:cubicBezTo>
                  <a:pt x="2" y="177"/>
                  <a:pt x="1" y="177"/>
                  <a:pt x="1" y="177"/>
                </a:cubicBezTo>
                <a:cubicBezTo>
                  <a:pt x="0" y="176"/>
                  <a:pt x="0" y="177"/>
                  <a:pt x="0" y="178"/>
                </a:cubicBezTo>
                <a:cubicBezTo>
                  <a:pt x="0" y="178"/>
                  <a:pt x="0" y="179"/>
                  <a:pt x="0" y="180"/>
                </a:cubicBezTo>
                <a:cubicBezTo>
                  <a:pt x="1" y="180"/>
                  <a:pt x="1" y="179"/>
                  <a:pt x="2" y="179"/>
                </a:cubicBezTo>
                <a:cubicBezTo>
                  <a:pt x="4" y="178"/>
                  <a:pt x="7" y="179"/>
                  <a:pt x="8" y="180"/>
                </a:cubicBezTo>
                <a:cubicBezTo>
                  <a:pt x="9" y="180"/>
                  <a:pt x="8" y="181"/>
                  <a:pt x="9" y="181"/>
                </a:cubicBezTo>
                <a:cubicBezTo>
                  <a:pt x="10" y="181"/>
                  <a:pt x="10" y="181"/>
                  <a:pt x="11" y="181"/>
                </a:cubicBezTo>
                <a:cubicBezTo>
                  <a:pt x="11" y="182"/>
                  <a:pt x="10" y="183"/>
                  <a:pt x="11" y="183"/>
                </a:cubicBezTo>
                <a:cubicBezTo>
                  <a:pt x="12" y="183"/>
                  <a:pt x="12" y="183"/>
                  <a:pt x="12" y="182"/>
                </a:cubicBezTo>
                <a:cubicBezTo>
                  <a:pt x="12" y="181"/>
                  <a:pt x="12" y="181"/>
                  <a:pt x="12" y="181"/>
                </a:cubicBezTo>
                <a:cubicBezTo>
                  <a:pt x="13" y="181"/>
                  <a:pt x="13" y="181"/>
                  <a:pt x="13" y="180"/>
                </a:cubicBezTo>
                <a:close/>
                <a:moveTo>
                  <a:pt x="506" y="169"/>
                </a:moveTo>
                <a:cubicBezTo>
                  <a:pt x="509" y="169"/>
                  <a:pt x="506" y="169"/>
                  <a:pt x="506" y="169"/>
                </a:cubicBezTo>
                <a:close/>
                <a:moveTo>
                  <a:pt x="934" y="167"/>
                </a:moveTo>
                <a:cubicBezTo>
                  <a:pt x="934" y="168"/>
                  <a:pt x="933" y="168"/>
                  <a:pt x="934" y="168"/>
                </a:cubicBezTo>
                <a:cubicBezTo>
                  <a:pt x="934" y="168"/>
                  <a:pt x="934" y="168"/>
                  <a:pt x="934" y="167"/>
                </a:cubicBezTo>
                <a:close/>
                <a:moveTo>
                  <a:pt x="426" y="181"/>
                </a:moveTo>
                <a:cubicBezTo>
                  <a:pt x="428" y="180"/>
                  <a:pt x="428" y="179"/>
                  <a:pt x="428" y="178"/>
                </a:cubicBezTo>
                <a:cubicBezTo>
                  <a:pt x="428" y="177"/>
                  <a:pt x="429" y="178"/>
                  <a:pt x="429" y="177"/>
                </a:cubicBezTo>
                <a:cubicBezTo>
                  <a:pt x="429" y="176"/>
                  <a:pt x="428" y="176"/>
                  <a:pt x="427" y="176"/>
                </a:cubicBezTo>
                <a:cubicBezTo>
                  <a:pt x="427" y="177"/>
                  <a:pt x="426" y="176"/>
                  <a:pt x="425" y="177"/>
                </a:cubicBezTo>
                <a:cubicBezTo>
                  <a:pt x="425" y="177"/>
                  <a:pt x="424" y="178"/>
                  <a:pt x="424" y="178"/>
                </a:cubicBezTo>
                <a:cubicBezTo>
                  <a:pt x="424" y="177"/>
                  <a:pt x="424" y="177"/>
                  <a:pt x="424" y="176"/>
                </a:cubicBezTo>
                <a:cubicBezTo>
                  <a:pt x="424" y="176"/>
                  <a:pt x="424" y="176"/>
                  <a:pt x="424" y="176"/>
                </a:cubicBezTo>
                <a:cubicBezTo>
                  <a:pt x="423" y="175"/>
                  <a:pt x="423" y="173"/>
                  <a:pt x="423" y="173"/>
                </a:cubicBezTo>
                <a:cubicBezTo>
                  <a:pt x="422" y="173"/>
                  <a:pt x="422" y="173"/>
                  <a:pt x="422" y="173"/>
                </a:cubicBezTo>
                <a:cubicBezTo>
                  <a:pt x="422" y="172"/>
                  <a:pt x="422" y="172"/>
                  <a:pt x="422" y="172"/>
                </a:cubicBezTo>
                <a:cubicBezTo>
                  <a:pt x="421" y="172"/>
                  <a:pt x="421" y="172"/>
                  <a:pt x="421" y="171"/>
                </a:cubicBezTo>
                <a:cubicBezTo>
                  <a:pt x="420" y="171"/>
                  <a:pt x="419" y="170"/>
                  <a:pt x="419" y="170"/>
                </a:cubicBezTo>
                <a:cubicBezTo>
                  <a:pt x="419" y="169"/>
                  <a:pt x="419" y="169"/>
                  <a:pt x="418" y="169"/>
                </a:cubicBezTo>
                <a:cubicBezTo>
                  <a:pt x="418" y="168"/>
                  <a:pt x="418" y="169"/>
                  <a:pt x="418" y="168"/>
                </a:cubicBezTo>
                <a:cubicBezTo>
                  <a:pt x="418" y="168"/>
                  <a:pt x="416" y="168"/>
                  <a:pt x="415" y="168"/>
                </a:cubicBezTo>
                <a:cubicBezTo>
                  <a:pt x="415" y="168"/>
                  <a:pt x="414" y="167"/>
                  <a:pt x="414" y="167"/>
                </a:cubicBezTo>
                <a:cubicBezTo>
                  <a:pt x="413" y="168"/>
                  <a:pt x="413" y="168"/>
                  <a:pt x="412" y="169"/>
                </a:cubicBezTo>
                <a:cubicBezTo>
                  <a:pt x="412" y="168"/>
                  <a:pt x="411" y="168"/>
                  <a:pt x="411" y="168"/>
                </a:cubicBezTo>
                <a:cubicBezTo>
                  <a:pt x="411" y="167"/>
                  <a:pt x="411" y="166"/>
                  <a:pt x="412" y="166"/>
                </a:cubicBezTo>
                <a:cubicBezTo>
                  <a:pt x="412" y="166"/>
                  <a:pt x="412" y="166"/>
                  <a:pt x="413" y="165"/>
                </a:cubicBezTo>
                <a:cubicBezTo>
                  <a:pt x="412" y="165"/>
                  <a:pt x="412" y="165"/>
                  <a:pt x="412" y="165"/>
                </a:cubicBezTo>
                <a:cubicBezTo>
                  <a:pt x="412" y="165"/>
                  <a:pt x="412" y="165"/>
                  <a:pt x="411" y="165"/>
                </a:cubicBezTo>
                <a:cubicBezTo>
                  <a:pt x="411" y="165"/>
                  <a:pt x="411" y="164"/>
                  <a:pt x="411" y="164"/>
                </a:cubicBezTo>
                <a:cubicBezTo>
                  <a:pt x="410" y="164"/>
                  <a:pt x="409" y="166"/>
                  <a:pt x="409" y="167"/>
                </a:cubicBezTo>
                <a:cubicBezTo>
                  <a:pt x="409" y="168"/>
                  <a:pt x="410" y="169"/>
                  <a:pt x="409" y="170"/>
                </a:cubicBezTo>
                <a:cubicBezTo>
                  <a:pt x="409" y="171"/>
                  <a:pt x="409" y="170"/>
                  <a:pt x="409" y="170"/>
                </a:cubicBezTo>
                <a:cubicBezTo>
                  <a:pt x="409" y="171"/>
                  <a:pt x="409" y="171"/>
                  <a:pt x="409" y="171"/>
                </a:cubicBezTo>
                <a:cubicBezTo>
                  <a:pt x="409" y="172"/>
                  <a:pt x="409" y="172"/>
                  <a:pt x="409" y="173"/>
                </a:cubicBezTo>
                <a:cubicBezTo>
                  <a:pt x="410" y="173"/>
                  <a:pt x="410" y="173"/>
                  <a:pt x="410" y="174"/>
                </a:cubicBezTo>
                <a:cubicBezTo>
                  <a:pt x="410" y="175"/>
                  <a:pt x="410" y="175"/>
                  <a:pt x="409" y="176"/>
                </a:cubicBezTo>
                <a:cubicBezTo>
                  <a:pt x="408" y="176"/>
                  <a:pt x="406" y="177"/>
                  <a:pt x="405" y="178"/>
                </a:cubicBezTo>
                <a:cubicBezTo>
                  <a:pt x="404" y="179"/>
                  <a:pt x="405" y="180"/>
                  <a:pt x="406" y="181"/>
                </a:cubicBezTo>
                <a:cubicBezTo>
                  <a:pt x="406" y="181"/>
                  <a:pt x="407" y="181"/>
                  <a:pt x="407" y="181"/>
                </a:cubicBezTo>
                <a:cubicBezTo>
                  <a:pt x="407" y="181"/>
                  <a:pt x="407" y="180"/>
                  <a:pt x="407" y="180"/>
                </a:cubicBezTo>
                <a:cubicBezTo>
                  <a:pt x="408" y="180"/>
                  <a:pt x="409" y="180"/>
                  <a:pt x="409" y="180"/>
                </a:cubicBezTo>
                <a:cubicBezTo>
                  <a:pt x="409" y="180"/>
                  <a:pt x="409" y="179"/>
                  <a:pt x="410" y="180"/>
                </a:cubicBezTo>
                <a:cubicBezTo>
                  <a:pt x="409" y="181"/>
                  <a:pt x="409" y="184"/>
                  <a:pt x="411" y="183"/>
                </a:cubicBezTo>
                <a:cubicBezTo>
                  <a:pt x="412" y="183"/>
                  <a:pt x="413" y="183"/>
                  <a:pt x="414" y="182"/>
                </a:cubicBezTo>
                <a:cubicBezTo>
                  <a:pt x="414" y="182"/>
                  <a:pt x="414" y="181"/>
                  <a:pt x="414" y="181"/>
                </a:cubicBezTo>
                <a:cubicBezTo>
                  <a:pt x="416" y="180"/>
                  <a:pt x="415" y="178"/>
                  <a:pt x="415" y="177"/>
                </a:cubicBezTo>
                <a:cubicBezTo>
                  <a:pt x="415" y="176"/>
                  <a:pt x="415" y="176"/>
                  <a:pt x="416" y="175"/>
                </a:cubicBezTo>
                <a:cubicBezTo>
                  <a:pt x="416" y="175"/>
                  <a:pt x="417" y="175"/>
                  <a:pt x="417" y="174"/>
                </a:cubicBezTo>
                <a:cubicBezTo>
                  <a:pt x="418" y="174"/>
                  <a:pt x="419" y="174"/>
                  <a:pt x="420" y="174"/>
                </a:cubicBezTo>
                <a:cubicBezTo>
                  <a:pt x="420" y="175"/>
                  <a:pt x="420" y="175"/>
                  <a:pt x="420" y="176"/>
                </a:cubicBezTo>
                <a:cubicBezTo>
                  <a:pt x="420" y="177"/>
                  <a:pt x="419" y="177"/>
                  <a:pt x="419" y="177"/>
                </a:cubicBezTo>
                <a:cubicBezTo>
                  <a:pt x="419" y="178"/>
                  <a:pt x="419" y="178"/>
                  <a:pt x="420" y="178"/>
                </a:cubicBezTo>
                <a:cubicBezTo>
                  <a:pt x="421" y="179"/>
                  <a:pt x="421" y="178"/>
                  <a:pt x="421" y="179"/>
                </a:cubicBezTo>
                <a:cubicBezTo>
                  <a:pt x="422" y="180"/>
                  <a:pt x="422" y="179"/>
                  <a:pt x="423" y="179"/>
                </a:cubicBezTo>
                <a:cubicBezTo>
                  <a:pt x="423" y="179"/>
                  <a:pt x="424" y="180"/>
                  <a:pt x="424" y="180"/>
                </a:cubicBezTo>
                <a:cubicBezTo>
                  <a:pt x="426" y="180"/>
                  <a:pt x="426" y="180"/>
                  <a:pt x="426" y="181"/>
                </a:cubicBezTo>
                <a:cubicBezTo>
                  <a:pt x="428" y="180"/>
                  <a:pt x="426" y="181"/>
                  <a:pt x="426" y="181"/>
                </a:cubicBezTo>
                <a:close/>
                <a:moveTo>
                  <a:pt x="883" y="164"/>
                </a:moveTo>
                <a:cubicBezTo>
                  <a:pt x="883" y="162"/>
                  <a:pt x="883" y="163"/>
                  <a:pt x="883" y="164"/>
                </a:cubicBezTo>
                <a:cubicBezTo>
                  <a:pt x="883" y="164"/>
                  <a:pt x="883" y="164"/>
                  <a:pt x="883" y="164"/>
                </a:cubicBezTo>
                <a:close/>
                <a:moveTo>
                  <a:pt x="413" y="164"/>
                </a:moveTo>
                <a:cubicBezTo>
                  <a:pt x="413" y="164"/>
                  <a:pt x="413" y="163"/>
                  <a:pt x="413" y="163"/>
                </a:cubicBezTo>
                <a:cubicBezTo>
                  <a:pt x="412" y="163"/>
                  <a:pt x="411" y="162"/>
                  <a:pt x="411" y="162"/>
                </a:cubicBezTo>
                <a:cubicBezTo>
                  <a:pt x="411" y="163"/>
                  <a:pt x="411" y="164"/>
                  <a:pt x="411" y="164"/>
                </a:cubicBezTo>
                <a:cubicBezTo>
                  <a:pt x="412" y="164"/>
                  <a:pt x="412" y="164"/>
                  <a:pt x="412" y="164"/>
                </a:cubicBezTo>
                <a:cubicBezTo>
                  <a:pt x="412" y="164"/>
                  <a:pt x="412" y="164"/>
                  <a:pt x="412" y="164"/>
                </a:cubicBezTo>
                <a:cubicBezTo>
                  <a:pt x="413" y="164"/>
                  <a:pt x="413" y="164"/>
                  <a:pt x="413" y="164"/>
                </a:cubicBezTo>
                <a:cubicBezTo>
                  <a:pt x="413" y="164"/>
                  <a:pt x="413" y="164"/>
                  <a:pt x="413" y="164"/>
                </a:cubicBezTo>
                <a:close/>
                <a:moveTo>
                  <a:pt x="732" y="178"/>
                </a:moveTo>
                <a:cubicBezTo>
                  <a:pt x="732" y="178"/>
                  <a:pt x="732" y="177"/>
                  <a:pt x="732" y="177"/>
                </a:cubicBezTo>
                <a:cubicBezTo>
                  <a:pt x="733" y="177"/>
                  <a:pt x="734" y="177"/>
                  <a:pt x="735" y="177"/>
                </a:cubicBezTo>
                <a:cubicBezTo>
                  <a:pt x="735" y="179"/>
                  <a:pt x="735" y="178"/>
                  <a:pt x="736" y="178"/>
                </a:cubicBezTo>
                <a:cubicBezTo>
                  <a:pt x="737" y="178"/>
                  <a:pt x="737" y="177"/>
                  <a:pt x="737" y="177"/>
                </a:cubicBezTo>
                <a:cubicBezTo>
                  <a:pt x="738" y="177"/>
                  <a:pt x="738" y="177"/>
                  <a:pt x="739" y="178"/>
                </a:cubicBezTo>
                <a:cubicBezTo>
                  <a:pt x="739" y="177"/>
                  <a:pt x="740" y="177"/>
                  <a:pt x="740" y="177"/>
                </a:cubicBezTo>
                <a:cubicBezTo>
                  <a:pt x="740" y="177"/>
                  <a:pt x="740" y="176"/>
                  <a:pt x="740" y="176"/>
                </a:cubicBezTo>
                <a:cubicBezTo>
                  <a:pt x="741" y="176"/>
                  <a:pt x="741" y="176"/>
                  <a:pt x="741" y="176"/>
                </a:cubicBezTo>
                <a:cubicBezTo>
                  <a:pt x="742" y="175"/>
                  <a:pt x="742" y="176"/>
                  <a:pt x="743" y="176"/>
                </a:cubicBezTo>
                <a:cubicBezTo>
                  <a:pt x="743" y="176"/>
                  <a:pt x="744" y="175"/>
                  <a:pt x="744" y="175"/>
                </a:cubicBezTo>
                <a:cubicBezTo>
                  <a:pt x="744" y="175"/>
                  <a:pt x="746" y="175"/>
                  <a:pt x="746" y="175"/>
                </a:cubicBezTo>
                <a:cubicBezTo>
                  <a:pt x="747" y="173"/>
                  <a:pt x="748" y="174"/>
                  <a:pt x="747" y="172"/>
                </a:cubicBezTo>
                <a:cubicBezTo>
                  <a:pt x="749" y="172"/>
                  <a:pt x="748" y="171"/>
                  <a:pt x="749" y="171"/>
                </a:cubicBezTo>
                <a:cubicBezTo>
                  <a:pt x="750" y="171"/>
                  <a:pt x="750" y="171"/>
                  <a:pt x="750" y="170"/>
                </a:cubicBezTo>
                <a:cubicBezTo>
                  <a:pt x="751" y="170"/>
                  <a:pt x="752" y="171"/>
                  <a:pt x="753" y="170"/>
                </a:cubicBezTo>
                <a:cubicBezTo>
                  <a:pt x="753" y="170"/>
                  <a:pt x="753" y="169"/>
                  <a:pt x="752" y="169"/>
                </a:cubicBezTo>
                <a:cubicBezTo>
                  <a:pt x="754" y="168"/>
                  <a:pt x="752" y="168"/>
                  <a:pt x="752" y="168"/>
                </a:cubicBezTo>
                <a:cubicBezTo>
                  <a:pt x="752" y="167"/>
                  <a:pt x="753" y="167"/>
                  <a:pt x="752" y="166"/>
                </a:cubicBezTo>
                <a:cubicBezTo>
                  <a:pt x="752" y="166"/>
                  <a:pt x="752" y="165"/>
                  <a:pt x="751" y="165"/>
                </a:cubicBezTo>
                <a:cubicBezTo>
                  <a:pt x="750" y="165"/>
                  <a:pt x="750" y="164"/>
                  <a:pt x="749" y="164"/>
                </a:cubicBezTo>
                <a:cubicBezTo>
                  <a:pt x="748" y="164"/>
                  <a:pt x="748" y="165"/>
                  <a:pt x="747" y="165"/>
                </a:cubicBezTo>
                <a:cubicBezTo>
                  <a:pt x="747" y="164"/>
                  <a:pt x="748" y="163"/>
                  <a:pt x="748" y="162"/>
                </a:cubicBezTo>
                <a:cubicBezTo>
                  <a:pt x="747" y="162"/>
                  <a:pt x="747" y="162"/>
                  <a:pt x="747" y="161"/>
                </a:cubicBezTo>
                <a:cubicBezTo>
                  <a:pt x="747" y="161"/>
                  <a:pt x="747" y="160"/>
                  <a:pt x="747" y="160"/>
                </a:cubicBezTo>
                <a:cubicBezTo>
                  <a:pt x="748" y="160"/>
                  <a:pt x="747" y="160"/>
                  <a:pt x="748" y="160"/>
                </a:cubicBezTo>
                <a:cubicBezTo>
                  <a:pt x="749" y="160"/>
                  <a:pt x="749" y="159"/>
                  <a:pt x="749" y="159"/>
                </a:cubicBezTo>
                <a:cubicBezTo>
                  <a:pt x="749" y="159"/>
                  <a:pt x="748" y="159"/>
                  <a:pt x="748" y="159"/>
                </a:cubicBezTo>
                <a:cubicBezTo>
                  <a:pt x="748" y="159"/>
                  <a:pt x="748" y="159"/>
                  <a:pt x="748" y="159"/>
                </a:cubicBezTo>
                <a:cubicBezTo>
                  <a:pt x="747" y="160"/>
                  <a:pt x="745" y="160"/>
                  <a:pt x="745" y="160"/>
                </a:cubicBezTo>
                <a:cubicBezTo>
                  <a:pt x="745" y="160"/>
                  <a:pt x="744" y="159"/>
                  <a:pt x="744" y="159"/>
                </a:cubicBezTo>
                <a:cubicBezTo>
                  <a:pt x="744" y="159"/>
                  <a:pt x="744" y="159"/>
                  <a:pt x="743" y="158"/>
                </a:cubicBezTo>
                <a:cubicBezTo>
                  <a:pt x="742" y="158"/>
                  <a:pt x="743" y="157"/>
                  <a:pt x="742" y="157"/>
                </a:cubicBezTo>
                <a:cubicBezTo>
                  <a:pt x="741" y="157"/>
                  <a:pt x="741" y="157"/>
                  <a:pt x="740" y="158"/>
                </a:cubicBezTo>
                <a:cubicBezTo>
                  <a:pt x="740" y="158"/>
                  <a:pt x="740" y="159"/>
                  <a:pt x="740" y="159"/>
                </a:cubicBezTo>
                <a:cubicBezTo>
                  <a:pt x="740" y="160"/>
                  <a:pt x="739" y="161"/>
                  <a:pt x="738" y="160"/>
                </a:cubicBezTo>
                <a:cubicBezTo>
                  <a:pt x="738" y="160"/>
                  <a:pt x="737" y="159"/>
                  <a:pt x="736" y="160"/>
                </a:cubicBezTo>
                <a:cubicBezTo>
                  <a:pt x="736" y="161"/>
                  <a:pt x="736" y="161"/>
                  <a:pt x="735" y="161"/>
                </a:cubicBezTo>
                <a:cubicBezTo>
                  <a:pt x="735" y="161"/>
                  <a:pt x="734" y="161"/>
                  <a:pt x="734" y="161"/>
                </a:cubicBezTo>
                <a:cubicBezTo>
                  <a:pt x="733" y="161"/>
                  <a:pt x="732" y="161"/>
                  <a:pt x="732" y="161"/>
                </a:cubicBezTo>
                <a:cubicBezTo>
                  <a:pt x="732" y="160"/>
                  <a:pt x="731" y="160"/>
                  <a:pt x="731" y="160"/>
                </a:cubicBezTo>
                <a:cubicBezTo>
                  <a:pt x="731" y="160"/>
                  <a:pt x="731" y="160"/>
                  <a:pt x="731" y="160"/>
                </a:cubicBezTo>
                <a:cubicBezTo>
                  <a:pt x="731" y="161"/>
                  <a:pt x="731" y="162"/>
                  <a:pt x="731" y="163"/>
                </a:cubicBezTo>
                <a:cubicBezTo>
                  <a:pt x="731" y="163"/>
                  <a:pt x="729" y="163"/>
                  <a:pt x="729" y="162"/>
                </a:cubicBezTo>
                <a:cubicBezTo>
                  <a:pt x="729" y="162"/>
                  <a:pt x="730" y="161"/>
                  <a:pt x="729" y="161"/>
                </a:cubicBezTo>
                <a:cubicBezTo>
                  <a:pt x="729" y="160"/>
                  <a:pt x="729" y="160"/>
                  <a:pt x="729" y="159"/>
                </a:cubicBezTo>
                <a:cubicBezTo>
                  <a:pt x="729" y="159"/>
                  <a:pt x="728" y="159"/>
                  <a:pt x="728" y="159"/>
                </a:cubicBezTo>
                <a:cubicBezTo>
                  <a:pt x="728" y="160"/>
                  <a:pt x="728" y="160"/>
                  <a:pt x="727" y="160"/>
                </a:cubicBezTo>
                <a:cubicBezTo>
                  <a:pt x="727" y="161"/>
                  <a:pt x="726" y="161"/>
                  <a:pt x="726" y="161"/>
                </a:cubicBezTo>
                <a:cubicBezTo>
                  <a:pt x="725" y="161"/>
                  <a:pt x="725" y="161"/>
                  <a:pt x="725" y="161"/>
                </a:cubicBezTo>
                <a:cubicBezTo>
                  <a:pt x="725" y="162"/>
                  <a:pt x="725" y="163"/>
                  <a:pt x="724" y="163"/>
                </a:cubicBezTo>
                <a:cubicBezTo>
                  <a:pt x="723" y="162"/>
                  <a:pt x="723" y="162"/>
                  <a:pt x="723" y="160"/>
                </a:cubicBezTo>
                <a:cubicBezTo>
                  <a:pt x="721" y="161"/>
                  <a:pt x="721" y="160"/>
                  <a:pt x="721" y="162"/>
                </a:cubicBezTo>
                <a:cubicBezTo>
                  <a:pt x="721" y="163"/>
                  <a:pt x="721" y="164"/>
                  <a:pt x="721" y="165"/>
                </a:cubicBezTo>
                <a:cubicBezTo>
                  <a:pt x="720" y="165"/>
                  <a:pt x="721" y="164"/>
                  <a:pt x="719" y="164"/>
                </a:cubicBezTo>
                <a:cubicBezTo>
                  <a:pt x="719" y="165"/>
                  <a:pt x="719" y="167"/>
                  <a:pt x="718" y="167"/>
                </a:cubicBezTo>
                <a:cubicBezTo>
                  <a:pt x="718" y="167"/>
                  <a:pt x="718" y="167"/>
                  <a:pt x="718" y="167"/>
                </a:cubicBezTo>
                <a:cubicBezTo>
                  <a:pt x="717" y="167"/>
                  <a:pt x="717" y="167"/>
                  <a:pt x="716" y="166"/>
                </a:cubicBezTo>
                <a:cubicBezTo>
                  <a:pt x="716" y="165"/>
                  <a:pt x="716" y="165"/>
                  <a:pt x="717" y="164"/>
                </a:cubicBezTo>
                <a:cubicBezTo>
                  <a:pt x="717" y="164"/>
                  <a:pt x="717" y="163"/>
                  <a:pt x="716" y="163"/>
                </a:cubicBezTo>
                <a:cubicBezTo>
                  <a:pt x="716" y="163"/>
                  <a:pt x="717" y="162"/>
                  <a:pt x="717" y="162"/>
                </a:cubicBezTo>
                <a:cubicBezTo>
                  <a:pt x="716" y="162"/>
                  <a:pt x="716" y="162"/>
                  <a:pt x="716" y="162"/>
                </a:cubicBezTo>
                <a:cubicBezTo>
                  <a:pt x="716" y="161"/>
                  <a:pt x="716" y="161"/>
                  <a:pt x="716" y="161"/>
                </a:cubicBezTo>
                <a:cubicBezTo>
                  <a:pt x="716" y="160"/>
                  <a:pt x="716" y="161"/>
                  <a:pt x="716" y="161"/>
                </a:cubicBezTo>
                <a:cubicBezTo>
                  <a:pt x="715" y="160"/>
                  <a:pt x="715" y="160"/>
                  <a:pt x="714" y="159"/>
                </a:cubicBezTo>
                <a:cubicBezTo>
                  <a:pt x="714" y="159"/>
                  <a:pt x="712" y="159"/>
                  <a:pt x="713" y="160"/>
                </a:cubicBezTo>
                <a:cubicBezTo>
                  <a:pt x="711" y="159"/>
                  <a:pt x="711" y="159"/>
                  <a:pt x="711" y="160"/>
                </a:cubicBezTo>
                <a:cubicBezTo>
                  <a:pt x="711" y="161"/>
                  <a:pt x="712" y="161"/>
                  <a:pt x="713" y="161"/>
                </a:cubicBezTo>
                <a:cubicBezTo>
                  <a:pt x="713" y="162"/>
                  <a:pt x="713" y="162"/>
                  <a:pt x="713" y="163"/>
                </a:cubicBezTo>
                <a:cubicBezTo>
                  <a:pt x="713" y="163"/>
                  <a:pt x="712" y="162"/>
                  <a:pt x="712" y="162"/>
                </a:cubicBezTo>
                <a:cubicBezTo>
                  <a:pt x="710" y="162"/>
                  <a:pt x="710" y="162"/>
                  <a:pt x="709" y="161"/>
                </a:cubicBezTo>
                <a:cubicBezTo>
                  <a:pt x="709" y="160"/>
                  <a:pt x="709" y="159"/>
                  <a:pt x="708" y="160"/>
                </a:cubicBezTo>
                <a:cubicBezTo>
                  <a:pt x="708" y="160"/>
                  <a:pt x="708" y="160"/>
                  <a:pt x="708" y="160"/>
                </a:cubicBezTo>
                <a:cubicBezTo>
                  <a:pt x="707" y="161"/>
                  <a:pt x="708" y="160"/>
                  <a:pt x="708" y="161"/>
                </a:cubicBezTo>
                <a:cubicBezTo>
                  <a:pt x="708" y="161"/>
                  <a:pt x="708" y="161"/>
                  <a:pt x="708" y="161"/>
                </a:cubicBezTo>
                <a:cubicBezTo>
                  <a:pt x="707" y="161"/>
                  <a:pt x="707" y="161"/>
                  <a:pt x="706" y="161"/>
                </a:cubicBezTo>
                <a:cubicBezTo>
                  <a:pt x="706" y="161"/>
                  <a:pt x="707" y="162"/>
                  <a:pt x="707" y="162"/>
                </a:cubicBezTo>
                <a:cubicBezTo>
                  <a:pt x="708" y="162"/>
                  <a:pt x="708" y="162"/>
                  <a:pt x="708" y="163"/>
                </a:cubicBezTo>
                <a:cubicBezTo>
                  <a:pt x="708" y="164"/>
                  <a:pt x="708" y="164"/>
                  <a:pt x="707" y="164"/>
                </a:cubicBezTo>
                <a:cubicBezTo>
                  <a:pt x="706" y="165"/>
                  <a:pt x="706" y="165"/>
                  <a:pt x="705" y="166"/>
                </a:cubicBezTo>
                <a:cubicBezTo>
                  <a:pt x="705" y="166"/>
                  <a:pt x="704" y="166"/>
                  <a:pt x="703" y="165"/>
                </a:cubicBezTo>
                <a:cubicBezTo>
                  <a:pt x="703" y="166"/>
                  <a:pt x="703" y="166"/>
                  <a:pt x="703" y="166"/>
                </a:cubicBezTo>
                <a:cubicBezTo>
                  <a:pt x="704" y="167"/>
                  <a:pt x="705" y="167"/>
                  <a:pt x="706" y="167"/>
                </a:cubicBezTo>
                <a:cubicBezTo>
                  <a:pt x="707" y="166"/>
                  <a:pt x="707" y="166"/>
                  <a:pt x="707" y="165"/>
                </a:cubicBezTo>
                <a:cubicBezTo>
                  <a:pt x="708" y="166"/>
                  <a:pt x="708" y="166"/>
                  <a:pt x="709" y="165"/>
                </a:cubicBezTo>
                <a:cubicBezTo>
                  <a:pt x="710" y="165"/>
                  <a:pt x="711" y="165"/>
                  <a:pt x="712" y="164"/>
                </a:cubicBezTo>
                <a:cubicBezTo>
                  <a:pt x="712" y="165"/>
                  <a:pt x="712" y="165"/>
                  <a:pt x="713" y="165"/>
                </a:cubicBezTo>
                <a:cubicBezTo>
                  <a:pt x="713" y="166"/>
                  <a:pt x="713" y="166"/>
                  <a:pt x="713" y="166"/>
                </a:cubicBezTo>
                <a:cubicBezTo>
                  <a:pt x="712" y="166"/>
                  <a:pt x="712" y="166"/>
                  <a:pt x="712" y="166"/>
                </a:cubicBezTo>
                <a:cubicBezTo>
                  <a:pt x="711" y="166"/>
                  <a:pt x="712" y="166"/>
                  <a:pt x="711" y="166"/>
                </a:cubicBezTo>
                <a:cubicBezTo>
                  <a:pt x="711" y="167"/>
                  <a:pt x="711" y="167"/>
                  <a:pt x="711" y="168"/>
                </a:cubicBezTo>
                <a:cubicBezTo>
                  <a:pt x="712" y="168"/>
                  <a:pt x="713" y="168"/>
                  <a:pt x="713" y="168"/>
                </a:cubicBezTo>
                <a:cubicBezTo>
                  <a:pt x="713" y="168"/>
                  <a:pt x="713" y="169"/>
                  <a:pt x="712" y="169"/>
                </a:cubicBezTo>
                <a:cubicBezTo>
                  <a:pt x="712" y="169"/>
                  <a:pt x="711" y="169"/>
                  <a:pt x="710" y="168"/>
                </a:cubicBezTo>
                <a:cubicBezTo>
                  <a:pt x="710" y="168"/>
                  <a:pt x="710" y="169"/>
                  <a:pt x="710" y="169"/>
                </a:cubicBezTo>
                <a:cubicBezTo>
                  <a:pt x="709" y="169"/>
                  <a:pt x="708" y="170"/>
                  <a:pt x="707" y="170"/>
                </a:cubicBezTo>
                <a:cubicBezTo>
                  <a:pt x="706" y="170"/>
                  <a:pt x="706" y="170"/>
                  <a:pt x="705" y="170"/>
                </a:cubicBezTo>
                <a:cubicBezTo>
                  <a:pt x="705" y="172"/>
                  <a:pt x="705" y="172"/>
                  <a:pt x="707" y="172"/>
                </a:cubicBezTo>
                <a:cubicBezTo>
                  <a:pt x="707" y="172"/>
                  <a:pt x="708" y="171"/>
                  <a:pt x="708" y="171"/>
                </a:cubicBezTo>
                <a:cubicBezTo>
                  <a:pt x="708" y="171"/>
                  <a:pt x="709" y="171"/>
                  <a:pt x="709" y="171"/>
                </a:cubicBezTo>
                <a:cubicBezTo>
                  <a:pt x="710" y="171"/>
                  <a:pt x="710" y="171"/>
                  <a:pt x="711" y="171"/>
                </a:cubicBezTo>
                <a:cubicBezTo>
                  <a:pt x="712" y="171"/>
                  <a:pt x="712" y="171"/>
                  <a:pt x="712" y="172"/>
                </a:cubicBezTo>
                <a:cubicBezTo>
                  <a:pt x="712" y="173"/>
                  <a:pt x="713" y="174"/>
                  <a:pt x="713" y="173"/>
                </a:cubicBezTo>
                <a:cubicBezTo>
                  <a:pt x="713" y="173"/>
                  <a:pt x="714" y="173"/>
                  <a:pt x="714" y="173"/>
                </a:cubicBezTo>
                <a:cubicBezTo>
                  <a:pt x="714" y="173"/>
                  <a:pt x="714" y="173"/>
                  <a:pt x="714" y="173"/>
                </a:cubicBezTo>
                <a:cubicBezTo>
                  <a:pt x="714" y="174"/>
                  <a:pt x="714" y="174"/>
                  <a:pt x="716" y="174"/>
                </a:cubicBezTo>
                <a:cubicBezTo>
                  <a:pt x="715" y="175"/>
                  <a:pt x="714" y="175"/>
                  <a:pt x="714" y="175"/>
                </a:cubicBezTo>
                <a:cubicBezTo>
                  <a:pt x="713" y="176"/>
                  <a:pt x="713" y="176"/>
                  <a:pt x="712" y="176"/>
                </a:cubicBezTo>
                <a:cubicBezTo>
                  <a:pt x="712" y="176"/>
                  <a:pt x="710" y="176"/>
                  <a:pt x="710" y="177"/>
                </a:cubicBezTo>
                <a:cubicBezTo>
                  <a:pt x="710" y="178"/>
                  <a:pt x="712" y="178"/>
                  <a:pt x="713" y="178"/>
                </a:cubicBezTo>
                <a:cubicBezTo>
                  <a:pt x="714" y="178"/>
                  <a:pt x="713" y="178"/>
                  <a:pt x="714" y="178"/>
                </a:cubicBezTo>
                <a:cubicBezTo>
                  <a:pt x="714" y="178"/>
                  <a:pt x="714" y="177"/>
                  <a:pt x="715" y="177"/>
                </a:cubicBezTo>
                <a:cubicBezTo>
                  <a:pt x="715" y="177"/>
                  <a:pt x="717" y="178"/>
                  <a:pt x="717" y="177"/>
                </a:cubicBezTo>
                <a:cubicBezTo>
                  <a:pt x="718" y="177"/>
                  <a:pt x="717" y="177"/>
                  <a:pt x="718" y="178"/>
                </a:cubicBezTo>
                <a:cubicBezTo>
                  <a:pt x="719" y="178"/>
                  <a:pt x="719" y="177"/>
                  <a:pt x="720" y="178"/>
                </a:cubicBezTo>
                <a:cubicBezTo>
                  <a:pt x="721" y="178"/>
                  <a:pt x="722" y="178"/>
                  <a:pt x="723" y="179"/>
                </a:cubicBezTo>
                <a:cubicBezTo>
                  <a:pt x="723" y="179"/>
                  <a:pt x="721" y="180"/>
                  <a:pt x="721" y="181"/>
                </a:cubicBezTo>
                <a:cubicBezTo>
                  <a:pt x="722" y="181"/>
                  <a:pt x="723" y="180"/>
                  <a:pt x="723" y="180"/>
                </a:cubicBezTo>
                <a:cubicBezTo>
                  <a:pt x="723" y="181"/>
                  <a:pt x="725" y="181"/>
                  <a:pt x="726" y="181"/>
                </a:cubicBezTo>
                <a:cubicBezTo>
                  <a:pt x="727" y="181"/>
                  <a:pt x="728" y="181"/>
                  <a:pt x="730" y="180"/>
                </a:cubicBezTo>
                <a:cubicBezTo>
                  <a:pt x="731" y="180"/>
                  <a:pt x="730" y="181"/>
                  <a:pt x="731" y="181"/>
                </a:cubicBezTo>
                <a:cubicBezTo>
                  <a:pt x="732" y="181"/>
                  <a:pt x="732" y="179"/>
                  <a:pt x="733" y="179"/>
                </a:cubicBezTo>
                <a:cubicBezTo>
                  <a:pt x="733" y="179"/>
                  <a:pt x="732" y="179"/>
                  <a:pt x="732" y="178"/>
                </a:cubicBezTo>
                <a:close/>
                <a:moveTo>
                  <a:pt x="416" y="158"/>
                </a:moveTo>
                <a:cubicBezTo>
                  <a:pt x="418" y="158"/>
                  <a:pt x="415" y="156"/>
                  <a:pt x="416" y="158"/>
                </a:cubicBezTo>
                <a:close/>
                <a:moveTo>
                  <a:pt x="711" y="157"/>
                </a:moveTo>
                <a:cubicBezTo>
                  <a:pt x="710" y="157"/>
                  <a:pt x="709" y="157"/>
                  <a:pt x="709" y="158"/>
                </a:cubicBezTo>
                <a:cubicBezTo>
                  <a:pt x="709" y="158"/>
                  <a:pt x="710" y="158"/>
                  <a:pt x="710" y="158"/>
                </a:cubicBezTo>
                <a:cubicBezTo>
                  <a:pt x="711" y="158"/>
                  <a:pt x="711" y="158"/>
                  <a:pt x="712" y="158"/>
                </a:cubicBezTo>
                <a:cubicBezTo>
                  <a:pt x="712" y="158"/>
                  <a:pt x="713" y="158"/>
                  <a:pt x="714" y="158"/>
                </a:cubicBezTo>
                <a:cubicBezTo>
                  <a:pt x="714" y="158"/>
                  <a:pt x="713" y="157"/>
                  <a:pt x="713" y="157"/>
                </a:cubicBezTo>
                <a:cubicBezTo>
                  <a:pt x="712" y="157"/>
                  <a:pt x="711" y="157"/>
                  <a:pt x="711" y="157"/>
                </a:cubicBezTo>
                <a:cubicBezTo>
                  <a:pt x="709" y="157"/>
                  <a:pt x="711" y="157"/>
                  <a:pt x="711" y="157"/>
                </a:cubicBezTo>
                <a:close/>
                <a:moveTo>
                  <a:pt x="44" y="155"/>
                </a:moveTo>
                <a:cubicBezTo>
                  <a:pt x="44" y="154"/>
                  <a:pt x="44" y="153"/>
                  <a:pt x="43" y="154"/>
                </a:cubicBezTo>
                <a:cubicBezTo>
                  <a:pt x="44" y="154"/>
                  <a:pt x="44" y="155"/>
                  <a:pt x="44" y="155"/>
                </a:cubicBezTo>
                <a:close/>
                <a:moveTo>
                  <a:pt x="406" y="149"/>
                </a:moveTo>
                <a:cubicBezTo>
                  <a:pt x="406" y="148"/>
                  <a:pt x="406" y="148"/>
                  <a:pt x="406" y="147"/>
                </a:cubicBezTo>
                <a:cubicBezTo>
                  <a:pt x="405" y="147"/>
                  <a:pt x="404" y="147"/>
                  <a:pt x="405" y="148"/>
                </a:cubicBezTo>
                <a:cubicBezTo>
                  <a:pt x="405" y="148"/>
                  <a:pt x="405" y="148"/>
                  <a:pt x="406" y="149"/>
                </a:cubicBezTo>
                <a:close/>
                <a:moveTo>
                  <a:pt x="1733" y="146"/>
                </a:moveTo>
                <a:cubicBezTo>
                  <a:pt x="1733" y="146"/>
                  <a:pt x="1733" y="146"/>
                  <a:pt x="1733" y="146"/>
                </a:cubicBezTo>
                <a:cubicBezTo>
                  <a:pt x="1733" y="146"/>
                  <a:pt x="1733" y="146"/>
                  <a:pt x="1733" y="146"/>
                </a:cubicBezTo>
                <a:cubicBezTo>
                  <a:pt x="1733" y="146"/>
                  <a:pt x="1733" y="146"/>
                  <a:pt x="1733" y="146"/>
                </a:cubicBezTo>
                <a:close/>
                <a:moveTo>
                  <a:pt x="884" y="146"/>
                </a:moveTo>
                <a:cubicBezTo>
                  <a:pt x="884" y="146"/>
                  <a:pt x="884" y="146"/>
                  <a:pt x="885" y="146"/>
                </a:cubicBezTo>
                <a:cubicBezTo>
                  <a:pt x="884" y="145"/>
                  <a:pt x="884" y="144"/>
                  <a:pt x="884" y="144"/>
                </a:cubicBezTo>
                <a:cubicBezTo>
                  <a:pt x="883" y="144"/>
                  <a:pt x="883" y="145"/>
                  <a:pt x="883" y="145"/>
                </a:cubicBezTo>
                <a:cubicBezTo>
                  <a:pt x="881" y="146"/>
                  <a:pt x="884" y="147"/>
                  <a:pt x="884" y="146"/>
                </a:cubicBezTo>
                <a:close/>
                <a:moveTo>
                  <a:pt x="346" y="144"/>
                </a:moveTo>
                <a:cubicBezTo>
                  <a:pt x="346" y="144"/>
                  <a:pt x="345" y="144"/>
                  <a:pt x="345" y="143"/>
                </a:cubicBezTo>
                <a:cubicBezTo>
                  <a:pt x="345" y="144"/>
                  <a:pt x="345" y="144"/>
                  <a:pt x="346" y="144"/>
                </a:cubicBezTo>
                <a:close/>
                <a:moveTo>
                  <a:pt x="464" y="145"/>
                </a:moveTo>
                <a:cubicBezTo>
                  <a:pt x="465" y="145"/>
                  <a:pt x="468" y="146"/>
                  <a:pt x="467" y="144"/>
                </a:cubicBezTo>
                <a:cubicBezTo>
                  <a:pt x="467" y="143"/>
                  <a:pt x="466" y="143"/>
                  <a:pt x="465" y="143"/>
                </a:cubicBezTo>
                <a:cubicBezTo>
                  <a:pt x="464" y="143"/>
                  <a:pt x="464" y="144"/>
                  <a:pt x="464" y="145"/>
                </a:cubicBezTo>
                <a:close/>
                <a:moveTo>
                  <a:pt x="889" y="143"/>
                </a:moveTo>
                <a:cubicBezTo>
                  <a:pt x="889" y="143"/>
                  <a:pt x="889" y="142"/>
                  <a:pt x="889" y="142"/>
                </a:cubicBezTo>
                <a:cubicBezTo>
                  <a:pt x="888" y="142"/>
                  <a:pt x="888" y="143"/>
                  <a:pt x="888" y="143"/>
                </a:cubicBezTo>
                <a:cubicBezTo>
                  <a:pt x="887" y="144"/>
                  <a:pt x="886" y="144"/>
                  <a:pt x="886" y="145"/>
                </a:cubicBezTo>
                <a:cubicBezTo>
                  <a:pt x="886" y="145"/>
                  <a:pt x="886" y="145"/>
                  <a:pt x="886" y="145"/>
                </a:cubicBezTo>
                <a:cubicBezTo>
                  <a:pt x="887" y="145"/>
                  <a:pt x="888" y="144"/>
                  <a:pt x="889" y="143"/>
                </a:cubicBezTo>
                <a:cubicBezTo>
                  <a:pt x="889" y="142"/>
                  <a:pt x="889" y="143"/>
                  <a:pt x="889" y="143"/>
                </a:cubicBezTo>
                <a:close/>
                <a:moveTo>
                  <a:pt x="24" y="142"/>
                </a:moveTo>
                <a:cubicBezTo>
                  <a:pt x="25" y="142"/>
                  <a:pt x="25" y="142"/>
                  <a:pt x="25" y="142"/>
                </a:cubicBezTo>
                <a:cubicBezTo>
                  <a:pt x="25" y="142"/>
                  <a:pt x="25" y="142"/>
                  <a:pt x="24" y="142"/>
                </a:cubicBezTo>
                <a:cubicBezTo>
                  <a:pt x="25" y="142"/>
                  <a:pt x="24" y="142"/>
                  <a:pt x="24" y="142"/>
                </a:cubicBezTo>
                <a:close/>
                <a:moveTo>
                  <a:pt x="455" y="146"/>
                </a:moveTo>
                <a:cubicBezTo>
                  <a:pt x="455" y="146"/>
                  <a:pt x="455" y="147"/>
                  <a:pt x="455" y="148"/>
                </a:cubicBezTo>
                <a:cubicBezTo>
                  <a:pt x="455" y="148"/>
                  <a:pt x="457" y="149"/>
                  <a:pt x="457" y="149"/>
                </a:cubicBezTo>
                <a:cubicBezTo>
                  <a:pt x="457" y="148"/>
                  <a:pt x="458" y="148"/>
                  <a:pt x="459" y="148"/>
                </a:cubicBezTo>
                <a:cubicBezTo>
                  <a:pt x="459" y="148"/>
                  <a:pt x="459" y="147"/>
                  <a:pt x="460" y="146"/>
                </a:cubicBezTo>
                <a:cubicBezTo>
                  <a:pt x="460" y="145"/>
                  <a:pt x="461" y="143"/>
                  <a:pt x="460" y="143"/>
                </a:cubicBezTo>
                <a:cubicBezTo>
                  <a:pt x="460" y="143"/>
                  <a:pt x="459" y="143"/>
                  <a:pt x="459" y="142"/>
                </a:cubicBezTo>
                <a:cubicBezTo>
                  <a:pt x="459" y="141"/>
                  <a:pt x="458" y="141"/>
                  <a:pt x="457" y="142"/>
                </a:cubicBezTo>
                <a:cubicBezTo>
                  <a:pt x="457" y="142"/>
                  <a:pt x="456" y="142"/>
                  <a:pt x="455" y="142"/>
                </a:cubicBezTo>
                <a:cubicBezTo>
                  <a:pt x="455" y="143"/>
                  <a:pt x="455" y="143"/>
                  <a:pt x="455" y="144"/>
                </a:cubicBezTo>
                <a:cubicBezTo>
                  <a:pt x="454" y="144"/>
                  <a:pt x="454" y="146"/>
                  <a:pt x="455" y="146"/>
                </a:cubicBezTo>
                <a:close/>
                <a:moveTo>
                  <a:pt x="343" y="143"/>
                </a:moveTo>
                <a:cubicBezTo>
                  <a:pt x="343" y="143"/>
                  <a:pt x="343" y="141"/>
                  <a:pt x="342" y="141"/>
                </a:cubicBezTo>
                <a:cubicBezTo>
                  <a:pt x="342" y="142"/>
                  <a:pt x="343" y="143"/>
                  <a:pt x="343" y="143"/>
                </a:cubicBezTo>
                <a:cubicBezTo>
                  <a:pt x="343" y="143"/>
                  <a:pt x="343" y="143"/>
                  <a:pt x="343" y="143"/>
                </a:cubicBezTo>
                <a:close/>
                <a:moveTo>
                  <a:pt x="1091" y="141"/>
                </a:moveTo>
                <a:cubicBezTo>
                  <a:pt x="1093" y="141"/>
                  <a:pt x="1091" y="140"/>
                  <a:pt x="1091" y="141"/>
                </a:cubicBezTo>
                <a:cubicBezTo>
                  <a:pt x="1092" y="141"/>
                  <a:pt x="1091" y="141"/>
                  <a:pt x="1091" y="141"/>
                </a:cubicBezTo>
                <a:close/>
                <a:moveTo>
                  <a:pt x="570" y="141"/>
                </a:moveTo>
                <a:cubicBezTo>
                  <a:pt x="570" y="141"/>
                  <a:pt x="570" y="141"/>
                  <a:pt x="570" y="141"/>
                </a:cubicBezTo>
                <a:cubicBezTo>
                  <a:pt x="570" y="141"/>
                  <a:pt x="570" y="141"/>
                  <a:pt x="570" y="141"/>
                </a:cubicBezTo>
                <a:cubicBezTo>
                  <a:pt x="570" y="141"/>
                  <a:pt x="570" y="141"/>
                  <a:pt x="570" y="141"/>
                </a:cubicBezTo>
                <a:close/>
                <a:moveTo>
                  <a:pt x="466" y="139"/>
                </a:moveTo>
                <a:cubicBezTo>
                  <a:pt x="466" y="139"/>
                  <a:pt x="466" y="140"/>
                  <a:pt x="466" y="141"/>
                </a:cubicBezTo>
                <a:cubicBezTo>
                  <a:pt x="466" y="142"/>
                  <a:pt x="466" y="141"/>
                  <a:pt x="467" y="141"/>
                </a:cubicBezTo>
                <a:cubicBezTo>
                  <a:pt x="467" y="140"/>
                  <a:pt x="467" y="139"/>
                  <a:pt x="466" y="139"/>
                </a:cubicBezTo>
                <a:cubicBezTo>
                  <a:pt x="466" y="140"/>
                  <a:pt x="466" y="139"/>
                  <a:pt x="466" y="139"/>
                </a:cubicBezTo>
                <a:close/>
                <a:moveTo>
                  <a:pt x="891" y="138"/>
                </a:moveTo>
                <a:cubicBezTo>
                  <a:pt x="890" y="138"/>
                  <a:pt x="889" y="139"/>
                  <a:pt x="889" y="139"/>
                </a:cubicBezTo>
                <a:cubicBezTo>
                  <a:pt x="889" y="139"/>
                  <a:pt x="888" y="139"/>
                  <a:pt x="889" y="140"/>
                </a:cubicBezTo>
                <a:cubicBezTo>
                  <a:pt x="889" y="140"/>
                  <a:pt x="890" y="140"/>
                  <a:pt x="891" y="140"/>
                </a:cubicBezTo>
                <a:cubicBezTo>
                  <a:pt x="891" y="139"/>
                  <a:pt x="891" y="139"/>
                  <a:pt x="891" y="138"/>
                </a:cubicBezTo>
                <a:cubicBezTo>
                  <a:pt x="890" y="138"/>
                  <a:pt x="891" y="138"/>
                  <a:pt x="891" y="138"/>
                </a:cubicBezTo>
                <a:close/>
                <a:moveTo>
                  <a:pt x="317" y="139"/>
                </a:moveTo>
                <a:cubicBezTo>
                  <a:pt x="317" y="139"/>
                  <a:pt x="318" y="140"/>
                  <a:pt x="319" y="140"/>
                </a:cubicBezTo>
                <a:cubicBezTo>
                  <a:pt x="320" y="140"/>
                  <a:pt x="320" y="140"/>
                  <a:pt x="320" y="139"/>
                </a:cubicBezTo>
                <a:cubicBezTo>
                  <a:pt x="320" y="139"/>
                  <a:pt x="320" y="139"/>
                  <a:pt x="320" y="138"/>
                </a:cubicBezTo>
                <a:cubicBezTo>
                  <a:pt x="319" y="138"/>
                  <a:pt x="318" y="139"/>
                  <a:pt x="317" y="139"/>
                </a:cubicBezTo>
                <a:cubicBezTo>
                  <a:pt x="317" y="139"/>
                  <a:pt x="317" y="139"/>
                  <a:pt x="317" y="139"/>
                </a:cubicBezTo>
                <a:close/>
                <a:moveTo>
                  <a:pt x="893" y="144"/>
                </a:moveTo>
                <a:cubicBezTo>
                  <a:pt x="893" y="143"/>
                  <a:pt x="893" y="142"/>
                  <a:pt x="894" y="143"/>
                </a:cubicBezTo>
                <a:cubicBezTo>
                  <a:pt x="894" y="144"/>
                  <a:pt x="895" y="142"/>
                  <a:pt x="896" y="142"/>
                </a:cubicBezTo>
                <a:cubicBezTo>
                  <a:pt x="897" y="142"/>
                  <a:pt x="897" y="141"/>
                  <a:pt x="897" y="140"/>
                </a:cubicBezTo>
                <a:cubicBezTo>
                  <a:pt x="898" y="139"/>
                  <a:pt x="897" y="139"/>
                  <a:pt x="897" y="138"/>
                </a:cubicBezTo>
                <a:cubicBezTo>
                  <a:pt x="896" y="138"/>
                  <a:pt x="895" y="138"/>
                  <a:pt x="895" y="139"/>
                </a:cubicBezTo>
                <a:cubicBezTo>
                  <a:pt x="895" y="140"/>
                  <a:pt x="895" y="140"/>
                  <a:pt x="894" y="140"/>
                </a:cubicBezTo>
                <a:cubicBezTo>
                  <a:pt x="894" y="140"/>
                  <a:pt x="894" y="138"/>
                  <a:pt x="894" y="138"/>
                </a:cubicBezTo>
                <a:cubicBezTo>
                  <a:pt x="894" y="137"/>
                  <a:pt x="893" y="137"/>
                  <a:pt x="893" y="137"/>
                </a:cubicBezTo>
                <a:cubicBezTo>
                  <a:pt x="893" y="138"/>
                  <a:pt x="892" y="140"/>
                  <a:pt x="892" y="141"/>
                </a:cubicBezTo>
                <a:cubicBezTo>
                  <a:pt x="891" y="141"/>
                  <a:pt x="890" y="142"/>
                  <a:pt x="890" y="143"/>
                </a:cubicBezTo>
                <a:cubicBezTo>
                  <a:pt x="891" y="143"/>
                  <a:pt x="892" y="142"/>
                  <a:pt x="892" y="143"/>
                </a:cubicBezTo>
                <a:cubicBezTo>
                  <a:pt x="892" y="144"/>
                  <a:pt x="891" y="144"/>
                  <a:pt x="893" y="144"/>
                </a:cubicBezTo>
                <a:close/>
                <a:moveTo>
                  <a:pt x="443" y="138"/>
                </a:moveTo>
                <a:cubicBezTo>
                  <a:pt x="442" y="138"/>
                  <a:pt x="441" y="137"/>
                  <a:pt x="440" y="137"/>
                </a:cubicBezTo>
                <a:cubicBezTo>
                  <a:pt x="440" y="138"/>
                  <a:pt x="440" y="138"/>
                  <a:pt x="440" y="139"/>
                </a:cubicBezTo>
                <a:cubicBezTo>
                  <a:pt x="441" y="139"/>
                  <a:pt x="442" y="139"/>
                  <a:pt x="443" y="139"/>
                </a:cubicBezTo>
                <a:cubicBezTo>
                  <a:pt x="443" y="139"/>
                  <a:pt x="443" y="138"/>
                  <a:pt x="443" y="138"/>
                </a:cubicBezTo>
                <a:cubicBezTo>
                  <a:pt x="441" y="138"/>
                  <a:pt x="443" y="138"/>
                  <a:pt x="443" y="138"/>
                </a:cubicBezTo>
                <a:close/>
                <a:moveTo>
                  <a:pt x="334" y="137"/>
                </a:moveTo>
                <a:cubicBezTo>
                  <a:pt x="335" y="137"/>
                  <a:pt x="334" y="136"/>
                  <a:pt x="334" y="136"/>
                </a:cubicBezTo>
                <a:cubicBezTo>
                  <a:pt x="334" y="136"/>
                  <a:pt x="332" y="137"/>
                  <a:pt x="332" y="137"/>
                </a:cubicBezTo>
                <a:cubicBezTo>
                  <a:pt x="332" y="138"/>
                  <a:pt x="332" y="138"/>
                  <a:pt x="332" y="138"/>
                </a:cubicBezTo>
                <a:cubicBezTo>
                  <a:pt x="333" y="138"/>
                  <a:pt x="334" y="138"/>
                  <a:pt x="334" y="137"/>
                </a:cubicBezTo>
                <a:close/>
                <a:moveTo>
                  <a:pt x="896" y="136"/>
                </a:moveTo>
                <a:cubicBezTo>
                  <a:pt x="897" y="137"/>
                  <a:pt x="897" y="134"/>
                  <a:pt x="896" y="136"/>
                </a:cubicBezTo>
                <a:close/>
                <a:moveTo>
                  <a:pt x="898" y="135"/>
                </a:moveTo>
                <a:cubicBezTo>
                  <a:pt x="898" y="134"/>
                  <a:pt x="897" y="135"/>
                  <a:pt x="897" y="135"/>
                </a:cubicBezTo>
                <a:cubicBezTo>
                  <a:pt x="897" y="135"/>
                  <a:pt x="898" y="135"/>
                  <a:pt x="898" y="135"/>
                </a:cubicBezTo>
                <a:close/>
                <a:moveTo>
                  <a:pt x="341" y="136"/>
                </a:moveTo>
                <a:cubicBezTo>
                  <a:pt x="341" y="136"/>
                  <a:pt x="341" y="135"/>
                  <a:pt x="341" y="134"/>
                </a:cubicBezTo>
                <a:cubicBezTo>
                  <a:pt x="341" y="134"/>
                  <a:pt x="341" y="134"/>
                  <a:pt x="341" y="134"/>
                </a:cubicBezTo>
                <a:cubicBezTo>
                  <a:pt x="340" y="135"/>
                  <a:pt x="339" y="135"/>
                  <a:pt x="338" y="135"/>
                </a:cubicBezTo>
                <a:cubicBezTo>
                  <a:pt x="338" y="135"/>
                  <a:pt x="338" y="136"/>
                  <a:pt x="339" y="136"/>
                </a:cubicBezTo>
                <a:cubicBezTo>
                  <a:pt x="339" y="136"/>
                  <a:pt x="339" y="136"/>
                  <a:pt x="339" y="136"/>
                </a:cubicBezTo>
                <a:cubicBezTo>
                  <a:pt x="339" y="136"/>
                  <a:pt x="340" y="136"/>
                  <a:pt x="341" y="136"/>
                </a:cubicBezTo>
                <a:cubicBezTo>
                  <a:pt x="341" y="136"/>
                  <a:pt x="341" y="136"/>
                  <a:pt x="341" y="136"/>
                </a:cubicBezTo>
                <a:close/>
                <a:moveTo>
                  <a:pt x="1581" y="134"/>
                </a:moveTo>
                <a:cubicBezTo>
                  <a:pt x="1581" y="133"/>
                  <a:pt x="1580" y="135"/>
                  <a:pt x="1582" y="135"/>
                </a:cubicBezTo>
                <a:cubicBezTo>
                  <a:pt x="1581" y="134"/>
                  <a:pt x="1581" y="134"/>
                  <a:pt x="1581" y="134"/>
                </a:cubicBezTo>
                <a:close/>
                <a:moveTo>
                  <a:pt x="1053" y="137"/>
                </a:moveTo>
                <a:cubicBezTo>
                  <a:pt x="1054" y="136"/>
                  <a:pt x="1055" y="135"/>
                  <a:pt x="1055" y="135"/>
                </a:cubicBezTo>
                <a:cubicBezTo>
                  <a:pt x="1055" y="134"/>
                  <a:pt x="1054" y="134"/>
                  <a:pt x="1054" y="133"/>
                </a:cubicBezTo>
                <a:cubicBezTo>
                  <a:pt x="1054" y="133"/>
                  <a:pt x="1053" y="133"/>
                  <a:pt x="1053" y="133"/>
                </a:cubicBezTo>
                <a:cubicBezTo>
                  <a:pt x="1053" y="132"/>
                  <a:pt x="1051" y="132"/>
                  <a:pt x="1051" y="132"/>
                </a:cubicBezTo>
                <a:cubicBezTo>
                  <a:pt x="1051" y="133"/>
                  <a:pt x="1050" y="133"/>
                  <a:pt x="1050" y="133"/>
                </a:cubicBezTo>
                <a:cubicBezTo>
                  <a:pt x="1049" y="134"/>
                  <a:pt x="1049" y="135"/>
                  <a:pt x="1049" y="136"/>
                </a:cubicBezTo>
                <a:cubicBezTo>
                  <a:pt x="1050" y="136"/>
                  <a:pt x="1049" y="137"/>
                  <a:pt x="1050" y="137"/>
                </a:cubicBezTo>
                <a:cubicBezTo>
                  <a:pt x="1050" y="138"/>
                  <a:pt x="1051" y="138"/>
                  <a:pt x="1051" y="138"/>
                </a:cubicBezTo>
                <a:cubicBezTo>
                  <a:pt x="1052" y="139"/>
                  <a:pt x="1052" y="139"/>
                  <a:pt x="1052" y="139"/>
                </a:cubicBezTo>
                <a:cubicBezTo>
                  <a:pt x="1053" y="139"/>
                  <a:pt x="1052" y="137"/>
                  <a:pt x="1053" y="137"/>
                </a:cubicBezTo>
                <a:cubicBezTo>
                  <a:pt x="1054" y="137"/>
                  <a:pt x="1053" y="137"/>
                  <a:pt x="1053" y="137"/>
                </a:cubicBezTo>
                <a:close/>
                <a:moveTo>
                  <a:pt x="444" y="133"/>
                </a:moveTo>
                <a:cubicBezTo>
                  <a:pt x="444" y="133"/>
                  <a:pt x="444" y="132"/>
                  <a:pt x="444" y="132"/>
                </a:cubicBezTo>
                <a:cubicBezTo>
                  <a:pt x="443" y="132"/>
                  <a:pt x="443" y="132"/>
                  <a:pt x="443" y="132"/>
                </a:cubicBezTo>
                <a:cubicBezTo>
                  <a:pt x="444" y="133"/>
                  <a:pt x="444" y="133"/>
                  <a:pt x="444" y="133"/>
                </a:cubicBezTo>
                <a:cubicBezTo>
                  <a:pt x="444" y="133"/>
                  <a:pt x="444" y="133"/>
                  <a:pt x="444" y="133"/>
                </a:cubicBezTo>
                <a:close/>
                <a:moveTo>
                  <a:pt x="339" y="133"/>
                </a:moveTo>
                <a:cubicBezTo>
                  <a:pt x="338" y="132"/>
                  <a:pt x="338" y="132"/>
                  <a:pt x="338" y="132"/>
                </a:cubicBezTo>
                <a:cubicBezTo>
                  <a:pt x="338" y="133"/>
                  <a:pt x="338" y="133"/>
                  <a:pt x="339" y="133"/>
                </a:cubicBezTo>
                <a:cubicBezTo>
                  <a:pt x="338" y="132"/>
                  <a:pt x="339" y="133"/>
                  <a:pt x="339" y="133"/>
                </a:cubicBezTo>
                <a:close/>
                <a:moveTo>
                  <a:pt x="899" y="137"/>
                </a:moveTo>
                <a:cubicBezTo>
                  <a:pt x="899" y="137"/>
                  <a:pt x="900" y="137"/>
                  <a:pt x="900" y="137"/>
                </a:cubicBezTo>
                <a:cubicBezTo>
                  <a:pt x="901" y="136"/>
                  <a:pt x="901" y="136"/>
                  <a:pt x="902" y="136"/>
                </a:cubicBezTo>
                <a:cubicBezTo>
                  <a:pt x="902" y="136"/>
                  <a:pt x="902" y="136"/>
                  <a:pt x="902" y="136"/>
                </a:cubicBezTo>
                <a:cubicBezTo>
                  <a:pt x="903" y="136"/>
                  <a:pt x="903" y="135"/>
                  <a:pt x="903" y="135"/>
                </a:cubicBezTo>
                <a:cubicBezTo>
                  <a:pt x="904" y="134"/>
                  <a:pt x="903" y="132"/>
                  <a:pt x="903" y="131"/>
                </a:cubicBezTo>
                <a:cubicBezTo>
                  <a:pt x="902" y="131"/>
                  <a:pt x="902" y="132"/>
                  <a:pt x="902" y="132"/>
                </a:cubicBezTo>
                <a:cubicBezTo>
                  <a:pt x="901" y="132"/>
                  <a:pt x="901" y="132"/>
                  <a:pt x="900" y="133"/>
                </a:cubicBezTo>
                <a:cubicBezTo>
                  <a:pt x="900" y="134"/>
                  <a:pt x="899" y="133"/>
                  <a:pt x="899" y="134"/>
                </a:cubicBezTo>
                <a:cubicBezTo>
                  <a:pt x="899" y="135"/>
                  <a:pt x="899" y="135"/>
                  <a:pt x="899" y="135"/>
                </a:cubicBezTo>
                <a:cubicBezTo>
                  <a:pt x="899" y="136"/>
                  <a:pt x="899" y="135"/>
                  <a:pt x="899" y="136"/>
                </a:cubicBezTo>
                <a:cubicBezTo>
                  <a:pt x="899" y="136"/>
                  <a:pt x="899" y="137"/>
                  <a:pt x="899" y="137"/>
                </a:cubicBezTo>
                <a:cubicBezTo>
                  <a:pt x="900" y="137"/>
                  <a:pt x="899" y="137"/>
                  <a:pt x="899" y="137"/>
                </a:cubicBezTo>
                <a:close/>
                <a:moveTo>
                  <a:pt x="457" y="133"/>
                </a:moveTo>
                <a:cubicBezTo>
                  <a:pt x="457" y="132"/>
                  <a:pt x="457" y="132"/>
                  <a:pt x="457" y="131"/>
                </a:cubicBezTo>
                <a:cubicBezTo>
                  <a:pt x="456" y="131"/>
                  <a:pt x="456" y="132"/>
                  <a:pt x="455" y="132"/>
                </a:cubicBezTo>
                <a:cubicBezTo>
                  <a:pt x="456" y="133"/>
                  <a:pt x="456" y="133"/>
                  <a:pt x="457" y="133"/>
                </a:cubicBezTo>
                <a:close/>
                <a:moveTo>
                  <a:pt x="1580" y="131"/>
                </a:moveTo>
                <a:cubicBezTo>
                  <a:pt x="1580" y="131"/>
                  <a:pt x="1580" y="132"/>
                  <a:pt x="1580" y="132"/>
                </a:cubicBezTo>
                <a:cubicBezTo>
                  <a:pt x="1580" y="131"/>
                  <a:pt x="1580" y="131"/>
                  <a:pt x="1580" y="131"/>
                </a:cubicBezTo>
                <a:close/>
                <a:moveTo>
                  <a:pt x="447" y="130"/>
                </a:moveTo>
                <a:cubicBezTo>
                  <a:pt x="445" y="130"/>
                  <a:pt x="445" y="130"/>
                  <a:pt x="445" y="131"/>
                </a:cubicBezTo>
                <a:cubicBezTo>
                  <a:pt x="445" y="131"/>
                  <a:pt x="445" y="131"/>
                  <a:pt x="445" y="132"/>
                </a:cubicBezTo>
                <a:cubicBezTo>
                  <a:pt x="446" y="131"/>
                  <a:pt x="447" y="131"/>
                  <a:pt x="447" y="130"/>
                </a:cubicBezTo>
                <a:close/>
                <a:moveTo>
                  <a:pt x="436" y="130"/>
                </a:moveTo>
                <a:cubicBezTo>
                  <a:pt x="436" y="130"/>
                  <a:pt x="436" y="130"/>
                  <a:pt x="436" y="130"/>
                </a:cubicBezTo>
                <a:cubicBezTo>
                  <a:pt x="436" y="130"/>
                  <a:pt x="436" y="130"/>
                  <a:pt x="436" y="129"/>
                </a:cubicBezTo>
                <a:cubicBezTo>
                  <a:pt x="436" y="130"/>
                  <a:pt x="436" y="130"/>
                  <a:pt x="436" y="130"/>
                </a:cubicBezTo>
                <a:close/>
                <a:moveTo>
                  <a:pt x="441" y="128"/>
                </a:moveTo>
                <a:cubicBezTo>
                  <a:pt x="441" y="129"/>
                  <a:pt x="440" y="129"/>
                  <a:pt x="439" y="129"/>
                </a:cubicBezTo>
                <a:cubicBezTo>
                  <a:pt x="438" y="129"/>
                  <a:pt x="437" y="129"/>
                  <a:pt x="436" y="129"/>
                </a:cubicBezTo>
                <a:cubicBezTo>
                  <a:pt x="436" y="129"/>
                  <a:pt x="437" y="131"/>
                  <a:pt x="437" y="131"/>
                </a:cubicBezTo>
                <a:cubicBezTo>
                  <a:pt x="438" y="130"/>
                  <a:pt x="439" y="131"/>
                  <a:pt x="439" y="132"/>
                </a:cubicBezTo>
                <a:cubicBezTo>
                  <a:pt x="441" y="131"/>
                  <a:pt x="443" y="130"/>
                  <a:pt x="444" y="128"/>
                </a:cubicBezTo>
                <a:cubicBezTo>
                  <a:pt x="443" y="128"/>
                  <a:pt x="442" y="128"/>
                  <a:pt x="441" y="128"/>
                </a:cubicBezTo>
                <a:cubicBezTo>
                  <a:pt x="441" y="128"/>
                  <a:pt x="441" y="128"/>
                  <a:pt x="441" y="128"/>
                </a:cubicBezTo>
                <a:close/>
                <a:moveTo>
                  <a:pt x="357" y="129"/>
                </a:moveTo>
                <a:cubicBezTo>
                  <a:pt x="357" y="129"/>
                  <a:pt x="357" y="129"/>
                  <a:pt x="356" y="129"/>
                </a:cubicBezTo>
                <a:cubicBezTo>
                  <a:pt x="356" y="129"/>
                  <a:pt x="356" y="129"/>
                  <a:pt x="355" y="129"/>
                </a:cubicBezTo>
                <a:cubicBezTo>
                  <a:pt x="355" y="129"/>
                  <a:pt x="355" y="128"/>
                  <a:pt x="354" y="128"/>
                </a:cubicBezTo>
                <a:cubicBezTo>
                  <a:pt x="354" y="128"/>
                  <a:pt x="353" y="129"/>
                  <a:pt x="353" y="129"/>
                </a:cubicBezTo>
                <a:cubicBezTo>
                  <a:pt x="353" y="129"/>
                  <a:pt x="353" y="128"/>
                  <a:pt x="353" y="128"/>
                </a:cubicBezTo>
                <a:cubicBezTo>
                  <a:pt x="352" y="128"/>
                  <a:pt x="351" y="128"/>
                  <a:pt x="351" y="129"/>
                </a:cubicBezTo>
                <a:cubicBezTo>
                  <a:pt x="351" y="129"/>
                  <a:pt x="351" y="130"/>
                  <a:pt x="351" y="130"/>
                </a:cubicBezTo>
                <a:cubicBezTo>
                  <a:pt x="350" y="130"/>
                  <a:pt x="350" y="129"/>
                  <a:pt x="350" y="129"/>
                </a:cubicBezTo>
                <a:cubicBezTo>
                  <a:pt x="349" y="129"/>
                  <a:pt x="349" y="129"/>
                  <a:pt x="349" y="130"/>
                </a:cubicBezTo>
                <a:cubicBezTo>
                  <a:pt x="348" y="131"/>
                  <a:pt x="348" y="132"/>
                  <a:pt x="348" y="132"/>
                </a:cubicBezTo>
                <a:cubicBezTo>
                  <a:pt x="348" y="134"/>
                  <a:pt x="347" y="134"/>
                  <a:pt x="345" y="134"/>
                </a:cubicBezTo>
                <a:cubicBezTo>
                  <a:pt x="344" y="135"/>
                  <a:pt x="345" y="136"/>
                  <a:pt x="346" y="136"/>
                </a:cubicBezTo>
                <a:cubicBezTo>
                  <a:pt x="346" y="136"/>
                  <a:pt x="347" y="136"/>
                  <a:pt x="347" y="136"/>
                </a:cubicBezTo>
                <a:cubicBezTo>
                  <a:pt x="347" y="136"/>
                  <a:pt x="347" y="137"/>
                  <a:pt x="347" y="137"/>
                </a:cubicBezTo>
                <a:cubicBezTo>
                  <a:pt x="348" y="137"/>
                  <a:pt x="347" y="137"/>
                  <a:pt x="347" y="137"/>
                </a:cubicBezTo>
                <a:cubicBezTo>
                  <a:pt x="348" y="137"/>
                  <a:pt x="348" y="137"/>
                  <a:pt x="349" y="137"/>
                </a:cubicBezTo>
                <a:cubicBezTo>
                  <a:pt x="349" y="137"/>
                  <a:pt x="349" y="136"/>
                  <a:pt x="349" y="136"/>
                </a:cubicBezTo>
                <a:cubicBezTo>
                  <a:pt x="350" y="136"/>
                  <a:pt x="350" y="136"/>
                  <a:pt x="350" y="136"/>
                </a:cubicBezTo>
                <a:cubicBezTo>
                  <a:pt x="350" y="137"/>
                  <a:pt x="351" y="137"/>
                  <a:pt x="350" y="137"/>
                </a:cubicBezTo>
                <a:cubicBezTo>
                  <a:pt x="350" y="138"/>
                  <a:pt x="350" y="138"/>
                  <a:pt x="351" y="138"/>
                </a:cubicBezTo>
                <a:cubicBezTo>
                  <a:pt x="352" y="138"/>
                  <a:pt x="352" y="139"/>
                  <a:pt x="352" y="139"/>
                </a:cubicBezTo>
                <a:cubicBezTo>
                  <a:pt x="352" y="139"/>
                  <a:pt x="353" y="140"/>
                  <a:pt x="353" y="140"/>
                </a:cubicBezTo>
                <a:cubicBezTo>
                  <a:pt x="353" y="141"/>
                  <a:pt x="354" y="140"/>
                  <a:pt x="354" y="140"/>
                </a:cubicBezTo>
                <a:cubicBezTo>
                  <a:pt x="354" y="140"/>
                  <a:pt x="354" y="140"/>
                  <a:pt x="354" y="140"/>
                </a:cubicBezTo>
                <a:cubicBezTo>
                  <a:pt x="354" y="140"/>
                  <a:pt x="355" y="140"/>
                  <a:pt x="355" y="140"/>
                </a:cubicBezTo>
                <a:cubicBezTo>
                  <a:pt x="356" y="140"/>
                  <a:pt x="356" y="140"/>
                  <a:pt x="356" y="140"/>
                </a:cubicBezTo>
                <a:cubicBezTo>
                  <a:pt x="356" y="139"/>
                  <a:pt x="356" y="139"/>
                  <a:pt x="356" y="138"/>
                </a:cubicBezTo>
                <a:cubicBezTo>
                  <a:pt x="356" y="138"/>
                  <a:pt x="357" y="138"/>
                  <a:pt x="357" y="139"/>
                </a:cubicBezTo>
                <a:cubicBezTo>
                  <a:pt x="358" y="139"/>
                  <a:pt x="359" y="139"/>
                  <a:pt x="360" y="139"/>
                </a:cubicBezTo>
                <a:cubicBezTo>
                  <a:pt x="360" y="137"/>
                  <a:pt x="361" y="138"/>
                  <a:pt x="362" y="138"/>
                </a:cubicBezTo>
                <a:cubicBezTo>
                  <a:pt x="363" y="138"/>
                  <a:pt x="363" y="138"/>
                  <a:pt x="363" y="137"/>
                </a:cubicBezTo>
                <a:cubicBezTo>
                  <a:pt x="363" y="137"/>
                  <a:pt x="363" y="137"/>
                  <a:pt x="363" y="137"/>
                </a:cubicBezTo>
                <a:cubicBezTo>
                  <a:pt x="363" y="137"/>
                  <a:pt x="362" y="137"/>
                  <a:pt x="362" y="137"/>
                </a:cubicBezTo>
                <a:cubicBezTo>
                  <a:pt x="362" y="137"/>
                  <a:pt x="362" y="136"/>
                  <a:pt x="362" y="136"/>
                </a:cubicBezTo>
                <a:cubicBezTo>
                  <a:pt x="361" y="136"/>
                  <a:pt x="361" y="133"/>
                  <a:pt x="361" y="132"/>
                </a:cubicBezTo>
                <a:cubicBezTo>
                  <a:pt x="361" y="132"/>
                  <a:pt x="361" y="132"/>
                  <a:pt x="360" y="132"/>
                </a:cubicBezTo>
                <a:cubicBezTo>
                  <a:pt x="360" y="132"/>
                  <a:pt x="360" y="131"/>
                  <a:pt x="359" y="131"/>
                </a:cubicBezTo>
                <a:cubicBezTo>
                  <a:pt x="359" y="130"/>
                  <a:pt x="358" y="130"/>
                  <a:pt x="358" y="130"/>
                </a:cubicBezTo>
                <a:cubicBezTo>
                  <a:pt x="358" y="129"/>
                  <a:pt x="358" y="129"/>
                  <a:pt x="357" y="129"/>
                </a:cubicBezTo>
                <a:close/>
                <a:moveTo>
                  <a:pt x="905" y="128"/>
                </a:moveTo>
                <a:cubicBezTo>
                  <a:pt x="905" y="128"/>
                  <a:pt x="905" y="129"/>
                  <a:pt x="904" y="129"/>
                </a:cubicBezTo>
                <a:cubicBezTo>
                  <a:pt x="904" y="130"/>
                  <a:pt x="904" y="131"/>
                  <a:pt x="905" y="131"/>
                </a:cubicBezTo>
                <a:cubicBezTo>
                  <a:pt x="906" y="130"/>
                  <a:pt x="906" y="130"/>
                  <a:pt x="906" y="130"/>
                </a:cubicBezTo>
                <a:cubicBezTo>
                  <a:pt x="906" y="130"/>
                  <a:pt x="906" y="130"/>
                  <a:pt x="907" y="130"/>
                </a:cubicBezTo>
                <a:cubicBezTo>
                  <a:pt x="907" y="130"/>
                  <a:pt x="907" y="130"/>
                  <a:pt x="907" y="129"/>
                </a:cubicBezTo>
                <a:cubicBezTo>
                  <a:pt x="907" y="129"/>
                  <a:pt x="907" y="129"/>
                  <a:pt x="907" y="129"/>
                </a:cubicBezTo>
                <a:cubicBezTo>
                  <a:pt x="907" y="129"/>
                  <a:pt x="907" y="128"/>
                  <a:pt x="908" y="128"/>
                </a:cubicBezTo>
                <a:cubicBezTo>
                  <a:pt x="907" y="128"/>
                  <a:pt x="907" y="128"/>
                  <a:pt x="907" y="127"/>
                </a:cubicBezTo>
                <a:cubicBezTo>
                  <a:pt x="906" y="128"/>
                  <a:pt x="906" y="128"/>
                  <a:pt x="905" y="128"/>
                </a:cubicBezTo>
                <a:close/>
                <a:moveTo>
                  <a:pt x="383" y="128"/>
                </a:moveTo>
                <a:cubicBezTo>
                  <a:pt x="383" y="128"/>
                  <a:pt x="383" y="128"/>
                  <a:pt x="383" y="128"/>
                </a:cubicBezTo>
                <a:cubicBezTo>
                  <a:pt x="383" y="127"/>
                  <a:pt x="383" y="127"/>
                  <a:pt x="383" y="127"/>
                </a:cubicBezTo>
                <a:cubicBezTo>
                  <a:pt x="383" y="127"/>
                  <a:pt x="383" y="128"/>
                  <a:pt x="383" y="128"/>
                </a:cubicBezTo>
                <a:close/>
                <a:moveTo>
                  <a:pt x="1618" y="131"/>
                </a:moveTo>
                <a:cubicBezTo>
                  <a:pt x="1619" y="130"/>
                  <a:pt x="1620" y="130"/>
                  <a:pt x="1621" y="129"/>
                </a:cubicBezTo>
                <a:cubicBezTo>
                  <a:pt x="1620" y="129"/>
                  <a:pt x="1619" y="128"/>
                  <a:pt x="1619" y="127"/>
                </a:cubicBezTo>
                <a:cubicBezTo>
                  <a:pt x="1618" y="127"/>
                  <a:pt x="1616" y="127"/>
                  <a:pt x="1616" y="128"/>
                </a:cubicBezTo>
                <a:cubicBezTo>
                  <a:pt x="1616" y="128"/>
                  <a:pt x="1616" y="129"/>
                  <a:pt x="1616" y="129"/>
                </a:cubicBezTo>
                <a:cubicBezTo>
                  <a:pt x="1617" y="130"/>
                  <a:pt x="1618" y="130"/>
                  <a:pt x="1618" y="131"/>
                </a:cubicBezTo>
                <a:cubicBezTo>
                  <a:pt x="1619" y="130"/>
                  <a:pt x="1618" y="131"/>
                  <a:pt x="1618" y="131"/>
                </a:cubicBezTo>
                <a:close/>
                <a:moveTo>
                  <a:pt x="409" y="130"/>
                </a:moveTo>
                <a:cubicBezTo>
                  <a:pt x="408" y="129"/>
                  <a:pt x="406" y="128"/>
                  <a:pt x="406" y="128"/>
                </a:cubicBezTo>
                <a:cubicBezTo>
                  <a:pt x="406" y="128"/>
                  <a:pt x="406" y="127"/>
                  <a:pt x="406" y="127"/>
                </a:cubicBezTo>
                <a:cubicBezTo>
                  <a:pt x="406" y="127"/>
                  <a:pt x="405" y="127"/>
                  <a:pt x="405" y="127"/>
                </a:cubicBezTo>
                <a:cubicBezTo>
                  <a:pt x="405" y="127"/>
                  <a:pt x="405" y="126"/>
                  <a:pt x="405" y="126"/>
                </a:cubicBezTo>
                <a:cubicBezTo>
                  <a:pt x="405" y="126"/>
                  <a:pt x="405" y="127"/>
                  <a:pt x="405" y="127"/>
                </a:cubicBezTo>
                <a:cubicBezTo>
                  <a:pt x="405" y="127"/>
                  <a:pt x="405" y="127"/>
                  <a:pt x="405" y="127"/>
                </a:cubicBezTo>
                <a:cubicBezTo>
                  <a:pt x="405" y="128"/>
                  <a:pt x="405" y="129"/>
                  <a:pt x="406" y="130"/>
                </a:cubicBezTo>
                <a:cubicBezTo>
                  <a:pt x="406" y="131"/>
                  <a:pt x="407" y="130"/>
                  <a:pt x="409" y="130"/>
                </a:cubicBezTo>
                <a:close/>
                <a:moveTo>
                  <a:pt x="1105" y="132"/>
                </a:moveTo>
                <a:cubicBezTo>
                  <a:pt x="1105" y="132"/>
                  <a:pt x="1105" y="132"/>
                  <a:pt x="1106" y="132"/>
                </a:cubicBezTo>
                <a:cubicBezTo>
                  <a:pt x="1105" y="131"/>
                  <a:pt x="1105" y="130"/>
                  <a:pt x="1104" y="129"/>
                </a:cubicBezTo>
                <a:cubicBezTo>
                  <a:pt x="1104" y="129"/>
                  <a:pt x="1103" y="129"/>
                  <a:pt x="1103" y="129"/>
                </a:cubicBezTo>
                <a:cubicBezTo>
                  <a:pt x="1102" y="129"/>
                  <a:pt x="1102" y="129"/>
                  <a:pt x="1102" y="128"/>
                </a:cubicBezTo>
                <a:cubicBezTo>
                  <a:pt x="1102" y="128"/>
                  <a:pt x="1101" y="128"/>
                  <a:pt x="1101" y="128"/>
                </a:cubicBezTo>
                <a:cubicBezTo>
                  <a:pt x="1100" y="128"/>
                  <a:pt x="1100" y="127"/>
                  <a:pt x="1099" y="127"/>
                </a:cubicBezTo>
                <a:cubicBezTo>
                  <a:pt x="1099" y="126"/>
                  <a:pt x="1098" y="125"/>
                  <a:pt x="1097" y="125"/>
                </a:cubicBezTo>
                <a:cubicBezTo>
                  <a:pt x="1096" y="125"/>
                  <a:pt x="1096" y="125"/>
                  <a:pt x="1096" y="126"/>
                </a:cubicBezTo>
                <a:cubicBezTo>
                  <a:pt x="1096" y="126"/>
                  <a:pt x="1096" y="126"/>
                  <a:pt x="1096" y="127"/>
                </a:cubicBezTo>
                <a:cubicBezTo>
                  <a:pt x="1096" y="127"/>
                  <a:pt x="1096" y="127"/>
                  <a:pt x="1095" y="127"/>
                </a:cubicBezTo>
                <a:cubicBezTo>
                  <a:pt x="1095" y="128"/>
                  <a:pt x="1096" y="131"/>
                  <a:pt x="1097" y="130"/>
                </a:cubicBezTo>
                <a:cubicBezTo>
                  <a:pt x="1097" y="130"/>
                  <a:pt x="1099" y="130"/>
                  <a:pt x="1100" y="130"/>
                </a:cubicBezTo>
                <a:cubicBezTo>
                  <a:pt x="1100" y="131"/>
                  <a:pt x="1100" y="131"/>
                  <a:pt x="1100" y="131"/>
                </a:cubicBezTo>
                <a:cubicBezTo>
                  <a:pt x="1100" y="131"/>
                  <a:pt x="1101" y="131"/>
                  <a:pt x="1101" y="131"/>
                </a:cubicBezTo>
                <a:cubicBezTo>
                  <a:pt x="1101" y="131"/>
                  <a:pt x="1100" y="132"/>
                  <a:pt x="1101" y="132"/>
                </a:cubicBezTo>
                <a:cubicBezTo>
                  <a:pt x="1102" y="132"/>
                  <a:pt x="1103" y="132"/>
                  <a:pt x="1103" y="132"/>
                </a:cubicBezTo>
                <a:cubicBezTo>
                  <a:pt x="1104" y="132"/>
                  <a:pt x="1105" y="132"/>
                  <a:pt x="1105" y="132"/>
                </a:cubicBezTo>
                <a:close/>
                <a:moveTo>
                  <a:pt x="910" y="125"/>
                </a:moveTo>
                <a:cubicBezTo>
                  <a:pt x="909" y="125"/>
                  <a:pt x="909" y="125"/>
                  <a:pt x="908" y="125"/>
                </a:cubicBezTo>
                <a:cubicBezTo>
                  <a:pt x="908" y="125"/>
                  <a:pt x="907" y="126"/>
                  <a:pt x="907" y="126"/>
                </a:cubicBezTo>
                <a:cubicBezTo>
                  <a:pt x="907" y="127"/>
                  <a:pt x="908" y="128"/>
                  <a:pt x="909" y="128"/>
                </a:cubicBezTo>
                <a:cubicBezTo>
                  <a:pt x="909" y="127"/>
                  <a:pt x="910" y="126"/>
                  <a:pt x="910" y="125"/>
                </a:cubicBezTo>
                <a:cubicBezTo>
                  <a:pt x="909" y="125"/>
                  <a:pt x="910" y="125"/>
                  <a:pt x="910" y="125"/>
                </a:cubicBezTo>
                <a:close/>
                <a:moveTo>
                  <a:pt x="408" y="125"/>
                </a:moveTo>
                <a:cubicBezTo>
                  <a:pt x="408" y="124"/>
                  <a:pt x="407" y="124"/>
                  <a:pt x="406" y="124"/>
                </a:cubicBezTo>
                <a:cubicBezTo>
                  <a:pt x="407" y="125"/>
                  <a:pt x="407" y="125"/>
                  <a:pt x="408" y="125"/>
                </a:cubicBezTo>
                <a:close/>
                <a:moveTo>
                  <a:pt x="1087" y="124"/>
                </a:moveTo>
                <a:cubicBezTo>
                  <a:pt x="1088" y="124"/>
                  <a:pt x="1088" y="124"/>
                  <a:pt x="1088" y="124"/>
                </a:cubicBezTo>
                <a:cubicBezTo>
                  <a:pt x="1089" y="123"/>
                  <a:pt x="1088" y="123"/>
                  <a:pt x="1087" y="123"/>
                </a:cubicBezTo>
                <a:cubicBezTo>
                  <a:pt x="1087" y="123"/>
                  <a:pt x="1087" y="124"/>
                  <a:pt x="1087" y="124"/>
                </a:cubicBezTo>
                <a:cubicBezTo>
                  <a:pt x="1088" y="124"/>
                  <a:pt x="1087" y="124"/>
                  <a:pt x="1087" y="124"/>
                </a:cubicBezTo>
                <a:close/>
                <a:moveTo>
                  <a:pt x="915" y="125"/>
                </a:moveTo>
                <a:cubicBezTo>
                  <a:pt x="916" y="124"/>
                  <a:pt x="916" y="124"/>
                  <a:pt x="916" y="123"/>
                </a:cubicBezTo>
                <a:cubicBezTo>
                  <a:pt x="914" y="123"/>
                  <a:pt x="914" y="125"/>
                  <a:pt x="915" y="125"/>
                </a:cubicBezTo>
                <a:cubicBezTo>
                  <a:pt x="916" y="124"/>
                  <a:pt x="915" y="125"/>
                  <a:pt x="915" y="125"/>
                </a:cubicBezTo>
                <a:close/>
                <a:moveTo>
                  <a:pt x="946" y="123"/>
                </a:moveTo>
                <a:cubicBezTo>
                  <a:pt x="946" y="123"/>
                  <a:pt x="946" y="123"/>
                  <a:pt x="945" y="123"/>
                </a:cubicBezTo>
                <a:cubicBezTo>
                  <a:pt x="945" y="123"/>
                  <a:pt x="945" y="123"/>
                  <a:pt x="946" y="123"/>
                </a:cubicBezTo>
                <a:cubicBezTo>
                  <a:pt x="945" y="123"/>
                  <a:pt x="946" y="123"/>
                  <a:pt x="946" y="123"/>
                </a:cubicBezTo>
                <a:close/>
                <a:moveTo>
                  <a:pt x="923" y="123"/>
                </a:moveTo>
                <a:cubicBezTo>
                  <a:pt x="924" y="123"/>
                  <a:pt x="926" y="123"/>
                  <a:pt x="925" y="123"/>
                </a:cubicBezTo>
                <a:cubicBezTo>
                  <a:pt x="924" y="122"/>
                  <a:pt x="923" y="122"/>
                  <a:pt x="923" y="123"/>
                </a:cubicBezTo>
                <a:close/>
                <a:moveTo>
                  <a:pt x="911" y="123"/>
                </a:moveTo>
                <a:cubicBezTo>
                  <a:pt x="911" y="123"/>
                  <a:pt x="911" y="124"/>
                  <a:pt x="912" y="125"/>
                </a:cubicBezTo>
                <a:cubicBezTo>
                  <a:pt x="912" y="125"/>
                  <a:pt x="912" y="125"/>
                  <a:pt x="913" y="125"/>
                </a:cubicBezTo>
                <a:cubicBezTo>
                  <a:pt x="913" y="124"/>
                  <a:pt x="912" y="123"/>
                  <a:pt x="911" y="123"/>
                </a:cubicBezTo>
                <a:cubicBezTo>
                  <a:pt x="911" y="124"/>
                  <a:pt x="911" y="123"/>
                  <a:pt x="911" y="123"/>
                </a:cubicBezTo>
                <a:close/>
                <a:moveTo>
                  <a:pt x="1529" y="123"/>
                </a:moveTo>
                <a:cubicBezTo>
                  <a:pt x="1529" y="123"/>
                  <a:pt x="1530" y="123"/>
                  <a:pt x="1530" y="122"/>
                </a:cubicBezTo>
                <a:cubicBezTo>
                  <a:pt x="1529" y="122"/>
                  <a:pt x="1529" y="122"/>
                  <a:pt x="1529" y="123"/>
                </a:cubicBezTo>
                <a:cubicBezTo>
                  <a:pt x="1530" y="123"/>
                  <a:pt x="1529" y="123"/>
                  <a:pt x="1529" y="123"/>
                </a:cubicBezTo>
                <a:close/>
                <a:moveTo>
                  <a:pt x="928" y="124"/>
                </a:moveTo>
                <a:cubicBezTo>
                  <a:pt x="928" y="124"/>
                  <a:pt x="928" y="124"/>
                  <a:pt x="928" y="124"/>
                </a:cubicBezTo>
                <a:cubicBezTo>
                  <a:pt x="929" y="123"/>
                  <a:pt x="929" y="122"/>
                  <a:pt x="930" y="121"/>
                </a:cubicBezTo>
                <a:cubicBezTo>
                  <a:pt x="928" y="121"/>
                  <a:pt x="928" y="121"/>
                  <a:pt x="927" y="121"/>
                </a:cubicBezTo>
                <a:cubicBezTo>
                  <a:pt x="926" y="122"/>
                  <a:pt x="927" y="121"/>
                  <a:pt x="926" y="122"/>
                </a:cubicBezTo>
                <a:cubicBezTo>
                  <a:pt x="926" y="123"/>
                  <a:pt x="927" y="123"/>
                  <a:pt x="928" y="124"/>
                </a:cubicBezTo>
                <a:cubicBezTo>
                  <a:pt x="928" y="124"/>
                  <a:pt x="928" y="124"/>
                  <a:pt x="928" y="124"/>
                </a:cubicBezTo>
                <a:close/>
                <a:moveTo>
                  <a:pt x="339" y="123"/>
                </a:moveTo>
                <a:cubicBezTo>
                  <a:pt x="339" y="122"/>
                  <a:pt x="340" y="121"/>
                  <a:pt x="340" y="120"/>
                </a:cubicBezTo>
                <a:cubicBezTo>
                  <a:pt x="339" y="120"/>
                  <a:pt x="339" y="120"/>
                  <a:pt x="339" y="121"/>
                </a:cubicBezTo>
                <a:cubicBezTo>
                  <a:pt x="339" y="121"/>
                  <a:pt x="338" y="121"/>
                  <a:pt x="338" y="122"/>
                </a:cubicBezTo>
                <a:cubicBezTo>
                  <a:pt x="338" y="122"/>
                  <a:pt x="338" y="123"/>
                  <a:pt x="338" y="123"/>
                </a:cubicBezTo>
                <a:cubicBezTo>
                  <a:pt x="338" y="123"/>
                  <a:pt x="339" y="123"/>
                  <a:pt x="339" y="123"/>
                </a:cubicBezTo>
                <a:cubicBezTo>
                  <a:pt x="339" y="121"/>
                  <a:pt x="339" y="123"/>
                  <a:pt x="339" y="123"/>
                </a:cubicBezTo>
                <a:close/>
                <a:moveTo>
                  <a:pt x="1533" y="120"/>
                </a:moveTo>
                <a:cubicBezTo>
                  <a:pt x="1533" y="120"/>
                  <a:pt x="1533" y="120"/>
                  <a:pt x="1533" y="119"/>
                </a:cubicBezTo>
                <a:cubicBezTo>
                  <a:pt x="1532" y="120"/>
                  <a:pt x="1531" y="121"/>
                  <a:pt x="1530" y="122"/>
                </a:cubicBezTo>
                <a:cubicBezTo>
                  <a:pt x="1531" y="122"/>
                  <a:pt x="1533" y="122"/>
                  <a:pt x="1533" y="121"/>
                </a:cubicBezTo>
                <a:cubicBezTo>
                  <a:pt x="1533" y="121"/>
                  <a:pt x="1533" y="120"/>
                  <a:pt x="1533" y="120"/>
                </a:cubicBezTo>
                <a:close/>
                <a:moveTo>
                  <a:pt x="692" y="122"/>
                </a:moveTo>
                <a:cubicBezTo>
                  <a:pt x="692" y="121"/>
                  <a:pt x="694" y="122"/>
                  <a:pt x="694" y="122"/>
                </a:cubicBezTo>
                <a:cubicBezTo>
                  <a:pt x="695" y="122"/>
                  <a:pt x="695" y="122"/>
                  <a:pt x="696" y="122"/>
                </a:cubicBezTo>
                <a:cubicBezTo>
                  <a:pt x="696" y="122"/>
                  <a:pt x="697" y="122"/>
                  <a:pt x="698" y="122"/>
                </a:cubicBezTo>
                <a:cubicBezTo>
                  <a:pt x="699" y="121"/>
                  <a:pt x="698" y="120"/>
                  <a:pt x="698" y="120"/>
                </a:cubicBezTo>
                <a:cubicBezTo>
                  <a:pt x="698" y="119"/>
                  <a:pt x="698" y="119"/>
                  <a:pt x="697" y="119"/>
                </a:cubicBezTo>
                <a:cubicBezTo>
                  <a:pt x="696" y="119"/>
                  <a:pt x="694" y="120"/>
                  <a:pt x="694" y="119"/>
                </a:cubicBezTo>
                <a:cubicBezTo>
                  <a:pt x="693" y="119"/>
                  <a:pt x="693" y="119"/>
                  <a:pt x="692" y="119"/>
                </a:cubicBezTo>
                <a:cubicBezTo>
                  <a:pt x="692" y="119"/>
                  <a:pt x="691" y="119"/>
                  <a:pt x="690" y="119"/>
                </a:cubicBezTo>
                <a:cubicBezTo>
                  <a:pt x="689" y="119"/>
                  <a:pt x="687" y="120"/>
                  <a:pt x="687" y="120"/>
                </a:cubicBezTo>
                <a:cubicBezTo>
                  <a:pt x="687" y="120"/>
                  <a:pt x="686" y="120"/>
                  <a:pt x="685" y="120"/>
                </a:cubicBezTo>
                <a:cubicBezTo>
                  <a:pt x="685" y="121"/>
                  <a:pt x="685" y="122"/>
                  <a:pt x="685" y="123"/>
                </a:cubicBezTo>
                <a:cubicBezTo>
                  <a:pt x="687" y="122"/>
                  <a:pt x="689" y="122"/>
                  <a:pt x="691" y="122"/>
                </a:cubicBezTo>
                <a:cubicBezTo>
                  <a:pt x="691" y="122"/>
                  <a:pt x="692" y="122"/>
                  <a:pt x="692" y="122"/>
                </a:cubicBezTo>
                <a:close/>
                <a:moveTo>
                  <a:pt x="1669" y="124"/>
                </a:moveTo>
                <a:cubicBezTo>
                  <a:pt x="1670" y="124"/>
                  <a:pt x="1670" y="124"/>
                  <a:pt x="1670" y="124"/>
                </a:cubicBezTo>
                <a:cubicBezTo>
                  <a:pt x="1671" y="124"/>
                  <a:pt x="1672" y="125"/>
                  <a:pt x="1673" y="125"/>
                </a:cubicBezTo>
                <a:cubicBezTo>
                  <a:pt x="1674" y="124"/>
                  <a:pt x="1674" y="124"/>
                  <a:pt x="1674" y="124"/>
                </a:cubicBezTo>
                <a:cubicBezTo>
                  <a:pt x="1675" y="124"/>
                  <a:pt x="1675" y="123"/>
                  <a:pt x="1675" y="123"/>
                </a:cubicBezTo>
                <a:cubicBezTo>
                  <a:pt x="1675" y="123"/>
                  <a:pt x="1676" y="123"/>
                  <a:pt x="1676" y="124"/>
                </a:cubicBezTo>
                <a:cubicBezTo>
                  <a:pt x="1676" y="124"/>
                  <a:pt x="1677" y="124"/>
                  <a:pt x="1678" y="124"/>
                </a:cubicBezTo>
                <a:cubicBezTo>
                  <a:pt x="1680" y="124"/>
                  <a:pt x="1681" y="124"/>
                  <a:pt x="1683" y="125"/>
                </a:cubicBezTo>
                <a:cubicBezTo>
                  <a:pt x="1684" y="124"/>
                  <a:pt x="1684" y="123"/>
                  <a:pt x="1684" y="122"/>
                </a:cubicBezTo>
                <a:cubicBezTo>
                  <a:pt x="1683" y="122"/>
                  <a:pt x="1682" y="121"/>
                  <a:pt x="1682" y="121"/>
                </a:cubicBezTo>
                <a:cubicBezTo>
                  <a:pt x="1681" y="121"/>
                  <a:pt x="1681" y="121"/>
                  <a:pt x="1680" y="121"/>
                </a:cubicBezTo>
                <a:cubicBezTo>
                  <a:pt x="1680" y="120"/>
                  <a:pt x="1680" y="120"/>
                  <a:pt x="1679" y="120"/>
                </a:cubicBezTo>
                <a:cubicBezTo>
                  <a:pt x="1679" y="120"/>
                  <a:pt x="1679" y="120"/>
                  <a:pt x="1679" y="120"/>
                </a:cubicBezTo>
                <a:cubicBezTo>
                  <a:pt x="1678" y="120"/>
                  <a:pt x="1678" y="120"/>
                  <a:pt x="1677" y="120"/>
                </a:cubicBezTo>
                <a:cubicBezTo>
                  <a:pt x="1677" y="120"/>
                  <a:pt x="1676" y="119"/>
                  <a:pt x="1676" y="119"/>
                </a:cubicBezTo>
                <a:cubicBezTo>
                  <a:pt x="1676" y="119"/>
                  <a:pt x="1675" y="119"/>
                  <a:pt x="1675" y="119"/>
                </a:cubicBezTo>
                <a:cubicBezTo>
                  <a:pt x="1674" y="117"/>
                  <a:pt x="1673" y="120"/>
                  <a:pt x="1672" y="120"/>
                </a:cubicBezTo>
                <a:cubicBezTo>
                  <a:pt x="1672" y="120"/>
                  <a:pt x="1671" y="120"/>
                  <a:pt x="1671" y="120"/>
                </a:cubicBezTo>
                <a:cubicBezTo>
                  <a:pt x="1671" y="120"/>
                  <a:pt x="1671" y="120"/>
                  <a:pt x="1671" y="120"/>
                </a:cubicBezTo>
                <a:cubicBezTo>
                  <a:pt x="1670" y="120"/>
                  <a:pt x="1670" y="120"/>
                  <a:pt x="1670" y="121"/>
                </a:cubicBezTo>
                <a:cubicBezTo>
                  <a:pt x="1669" y="122"/>
                  <a:pt x="1668" y="122"/>
                  <a:pt x="1668" y="123"/>
                </a:cubicBezTo>
                <a:cubicBezTo>
                  <a:pt x="1667" y="123"/>
                  <a:pt x="1667" y="124"/>
                  <a:pt x="1667" y="124"/>
                </a:cubicBezTo>
                <a:cubicBezTo>
                  <a:pt x="1668" y="124"/>
                  <a:pt x="1669" y="124"/>
                  <a:pt x="1669" y="124"/>
                </a:cubicBezTo>
                <a:close/>
                <a:moveTo>
                  <a:pt x="1540" y="122"/>
                </a:moveTo>
                <a:cubicBezTo>
                  <a:pt x="1540" y="122"/>
                  <a:pt x="1540" y="122"/>
                  <a:pt x="1541" y="122"/>
                </a:cubicBezTo>
                <a:cubicBezTo>
                  <a:pt x="1539" y="122"/>
                  <a:pt x="1539" y="121"/>
                  <a:pt x="1539" y="120"/>
                </a:cubicBezTo>
                <a:cubicBezTo>
                  <a:pt x="1539" y="119"/>
                  <a:pt x="1537" y="118"/>
                  <a:pt x="1536" y="118"/>
                </a:cubicBezTo>
                <a:cubicBezTo>
                  <a:pt x="1535" y="118"/>
                  <a:pt x="1535" y="118"/>
                  <a:pt x="1535" y="119"/>
                </a:cubicBezTo>
                <a:cubicBezTo>
                  <a:pt x="1535" y="121"/>
                  <a:pt x="1534" y="120"/>
                  <a:pt x="1534" y="121"/>
                </a:cubicBezTo>
                <a:cubicBezTo>
                  <a:pt x="1534" y="122"/>
                  <a:pt x="1533" y="123"/>
                  <a:pt x="1534" y="123"/>
                </a:cubicBezTo>
                <a:cubicBezTo>
                  <a:pt x="1536" y="123"/>
                  <a:pt x="1539" y="124"/>
                  <a:pt x="1540" y="122"/>
                </a:cubicBezTo>
                <a:close/>
                <a:moveTo>
                  <a:pt x="931" y="118"/>
                </a:moveTo>
                <a:cubicBezTo>
                  <a:pt x="931" y="118"/>
                  <a:pt x="932" y="119"/>
                  <a:pt x="932" y="119"/>
                </a:cubicBezTo>
                <a:cubicBezTo>
                  <a:pt x="932" y="119"/>
                  <a:pt x="933" y="119"/>
                  <a:pt x="933" y="119"/>
                </a:cubicBezTo>
                <a:cubicBezTo>
                  <a:pt x="932" y="118"/>
                  <a:pt x="932" y="119"/>
                  <a:pt x="932" y="118"/>
                </a:cubicBezTo>
                <a:cubicBezTo>
                  <a:pt x="932" y="118"/>
                  <a:pt x="932" y="118"/>
                  <a:pt x="931" y="118"/>
                </a:cubicBezTo>
                <a:cubicBezTo>
                  <a:pt x="932" y="118"/>
                  <a:pt x="931" y="118"/>
                  <a:pt x="931" y="118"/>
                </a:cubicBezTo>
                <a:close/>
                <a:moveTo>
                  <a:pt x="925" y="120"/>
                </a:moveTo>
                <a:cubicBezTo>
                  <a:pt x="926" y="120"/>
                  <a:pt x="926" y="119"/>
                  <a:pt x="926" y="118"/>
                </a:cubicBezTo>
                <a:cubicBezTo>
                  <a:pt x="925" y="118"/>
                  <a:pt x="925" y="118"/>
                  <a:pt x="924" y="119"/>
                </a:cubicBezTo>
                <a:cubicBezTo>
                  <a:pt x="924" y="120"/>
                  <a:pt x="922" y="119"/>
                  <a:pt x="922" y="119"/>
                </a:cubicBezTo>
                <a:cubicBezTo>
                  <a:pt x="921" y="119"/>
                  <a:pt x="921" y="119"/>
                  <a:pt x="921" y="120"/>
                </a:cubicBezTo>
                <a:cubicBezTo>
                  <a:pt x="921" y="121"/>
                  <a:pt x="921" y="120"/>
                  <a:pt x="920" y="120"/>
                </a:cubicBezTo>
                <a:cubicBezTo>
                  <a:pt x="920" y="121"/>
                  <a:pt x="921" y="121"/>
                  <a:pt x="921" y="122"/>
                </a:cubicBezTo>
                <a:cubicBezTo>
                  <a:pt x="921" y="122"/>
                  <a:pt x="922" y="121"/>
                  <a:pt x="923" y="121"/>
                </a:cubicBezTo>
                <a:cubicBezTo>
                  <a:pt x="923" y="121"/>
                  <a:pt x="924" y="121"/>
                  <a:pt x="923" y="121"/>
                </a:cubicBezTo>
                <a:cubicBezTo>
                  <a:pt x="924" y="121"/>
                  <a:pt x="925" y="121"/>
                  <a:pt x="925" y="120"/>
                </a:cubicBezTo>
                <a:cubicBezTo>
                  <a:pt x="926" y="120"/>
                  <a:pt x="925" y="120"/>
                  <a:pt x="925" y="120"/>
                </a:cubicBezTo>
                <a:close/>
                <a:moveTo>
                  <a:pt x="1530" y="119"/>
                </a:moveTo>
                <a:cubicBezTo>
                  <a:pt x="1532" y="120"/>
                  <a:pt x="1531" y="118"/>
                  <a:pt x="1532" y="118"/>
                </a:cubicBezTo>
                <a:cubicBezTo>
                  <a:pt x="1532" y="117"/>
                  <a:pt x="1532" y="117"/>
                  <a:pt x="1531" y="116"/>
                </a:cubicBezTo>
                <a:cubicBezTo>
                  <a:pt x="1531" y="117"/>
                  <a:pt x="1531" y="118"/>
                  <a:pt x="1530" y="118"/>
                </a:cubicBezTo>
                <a:cubicBezTo>
                  <a:pt x="1529" y="119"/>
                  <a:pt x="1529" y="119"/>
                  <a:pt x="1528" y="120"/>
                </a:cubicBezTo>
                <a:cubicBezTo>
                  <a:pt x="1527" y="120"/>
                  <a:pt x="1527" y="121"/>
                  <a:pt x="1526" y="121"/>
                </a:cubicBezTo>
                <a:cubicBezTo>
                  <a:pt x="1526" y="121"/>
                  <a:pt x="1525" y="123"/>
                  <a:pt x="1525" y="123"/>
                </a:cubicBezTo>
                <a:cubicBezTo>
                  <a:pt x="1526" y="123"/>
                  <a:pt x="1527" y="123"/>
                  <a:pt x="1528" y="122"/>
                </a:cubicBezTo>
                <a:cubicBezTo>
                  <a:pt x="1528" y="122"/>
                  <a:pt x="1529" y="121"/>
                  <a:pt x="1529" y="121"/>
                </a:cubicBezTo>
                <a:cubicBezTo>
                  <a:pt x="1529" y="120"/>
                  <a:pt x="1530" y="120"/>
                  <a:pt x="1530" y="119"/>
                </a:cubicBezTo>
                <a:close/>
                <a:moveTo>
                  <a:pt x="1530" y="116"/>
                </a:moveTo>
                <a:cubicBezTo>
                  <a:pt x="1530" y="117"/>
                  <a:pt x="1530" y="117"/>
                  <a:pt x="1530" y="118"/>
                </a:cubicBezTo>
                <a:cubicBezTo>
                  <a:pt x="1530" y="118"/>
                  <a:pt x="1530" y="117"/>
                  <a:pt x="1530" y="116"/>
                </a:cubicBezTo>
                <a:cubicBezTo>
                  <a:pt x="1530" y="116"/>
                  <a:pt x="1530" y="116"/>
                  <a:pt x="1530" y="116"/>
                </a:cubicBezTo>
                <a:cubicBezTo>
                  <a:pt x="1530" y="117"/>
                  <a:pt x="1530" y="116"/>
                  <a:pt x="1530" y="116"/>
                </a:cubicBezTo>
                <a:close/>
                <a:moveTo>
                  <a:pt x="940" y="119"/>
                </a:moveTo>
                <a:cubicBezTo>
                  <a:pt x="940" y="119"/>
                  <a:pt x="940" y="119"/>
                  <a:pt x="940" y="119"/>
                </a:cubicBezTo>
                <a:cubicBezTo>
                  <a:pt x="941" y="119"/>
                  <a:pt x="941" y="119"/>
                  <a:pt x="942" y="119"/>
                </a:cubicBezTo>
                <a:cubicBezTo>
                  <a:pt x="942" y="118"/>
                  <a:pt x="942" y="118"/>
                  <a:pt x="941" y="118"/>
                </a:cubicBezTo>
                <a:cubicBezTo>
                  <a:pt x="942" y="117"/>
                  <a:pt x="941" y="117"/>
                  <a:pt x="940" y="116"/>
                </a:cubicBezTo>
                <a:cubicBezTo>
                  <a:pt x="940" y="117"/>
                  <a:pt x="940" y="117"/>
                  <a:pt x="939" y="117"/>
                </a:cubicBezTo>
                <a:cubicBezTo>
                  <a:pt x="939" y="117"/>
                  <a:pt x="939" y="118"/>
                  <a:pt x="939" y="118"/>
                </a:cubicBezTo>
                <a:cubicBezTo>
                  <a:pt x="939" y="119"/>
                  <a:pt x="940" y="119"/>
                  <a:pt x="939" y="119"/>
                </a:cubicBezTo>
                <a:cubicBezTo>
                  <a:pt x="940" y="119"/>
                  <a:pt x="940" y="119"/>
                  <a:pt x="940" y="119"/>
                </a:cubicBezTo>
                <a:close/>
                <a:moveTo>
                  <a:pt x="570" y="116"/>
                </a:moveTo>
                <a:cubicBezTo>
                  <a:pt x="570" y="116"/>
                  <a:pt x="571" y="116"/>
                  <a:pt x="570" y="116"/>
                </a:cubicBezTo>
                <a:cubicBezTo>
                  <a:pt x="569" y="116"/>
                  <a:pt x="569" y="116"/>
                  <a:pt x="568" y="117"/>
                </a:cubicBezTo>
                <a:cubicBezTo>
                  <a:pt x="569" y="117"/>
                  <a:pt x="570" y="117"/>
                  <a:pt x="570" y="116"/>
                </a:cubicBezTo>
                <a:close/>
                <a:moveTo>
                  <a:pt x="564" y="115"/>
                </a:moveTo>
                <a:cubicBezTo>
                  <a:pt x="564" y="116"/>
                  <a:pt x="564" y="116"/>
                  <a:pt x="563" y="116"/>
                </a:cubicBezTo>
                <a:cubicBezTo>
                  <a:pt x="563" y="116"/>
                  <a:pt x="563" y="117"/>
                  <a:pt x="564" y="117"/>
                </a:cubicBezTo>
                <a:cubicBezTo>
                  <a:pt x="564" y="117"/>
                  <a:pt x="565" y="117"/>
                  <a:pt x="565" y="117"/>
                </a:cubicBezTo>
                <a:cubicBezTo>
                  <a:pt x="565" y="116"/>
                  <a:pt x="565" y="115"/>
                  <a:pt x="564" y="115"/>
                </a:cubicBezTo>
                <a:close/>
                <a:moveTo>
                  <a:pt x="473" y="115"/>
                </a:moveTo>
                <a:cubicBezTo>
                  <a:pt x="473" y="114"/>
                  <a:pt x="472" y="114"/>
                  <a:pt x="473" y="114"/>
                </a:cubicBezTo>
                <a:cubicBezTo>
                  <a:pt x="473" y="114"/>
                  <a:pt x="473" y="114"/>
                  <a:pt x="472" y="113"/>
                </a:cubicBezTo>
                <a:cubicBezTo>
                  <a:pt x="472" y="114"/>
                  <a:pt x="472" y="114"/>
                  <a:pt x="473" y="115"/>
                </a:cubicBezTo>
                <a:close/>
                <a:moveTo>
                  <a:pt x="1426" y="113"/>
                </a:moveTo>
                <a:cubicBezTo>
                  <a:pt x="1426" y="113"/>
                  <a:pt x="1426" y="113"/>
                  <a:pt x="1426" y="113"/>
                </a:cubicBezTo>
                <a:cubicBezTo>
                  <a:pt x="1426" y="112"/>
                  <a:pt x="1426" y="113"/>
                  <a:pt x="1425" y="113"/>
                </a:cubicBezTo>
                <a:cubicBezTo>
                  <a:pt x="1426" y="113"/>
                  <a:pt x="1426" y="113"/>
                  <a:pt x="1426" y="113"/>
                </a:cubicBezTo>
                <a:cubicBezTo>
                  <a:pt x="1426" y="113"/>
                  <a:pt x="1426" y="113"/>
                  <a:pt x="1426" y="113"/>
                </a:cubicBezTo>
                <a:close/>
                <a:moveTo>
                  <a:pt x="1423" y="113"/>
                </a:moveTo>
                <a:cubicBezTo>
                  <a:pt x="1425" y="113"/>
                  <a:pt x="1425" y="113"/>
                  <a:pt x="1425" y="112"/>
                </a:cubicBezTo>
                <a:cubicBezTo>
                  <a:pt x="1425" y="112"/>
                  <a:pt x="1424" y="112"/>
                  <a:pt x="1423" y="112"/>
                </a:cubicBezTo>
                <a:cubicBezTo>
                  <a:pt x="1423" y="112"/>
                  <a:pt x="1423" y="112"/>
                  <a:pt x="1423" y="113"/>
                </a:cubicBezTo>
                <a:cubicBezTo>
                  <a:pt x="1425" y="113"/>
                  <a:pt x="1423" y="113"/>
                  <a:pt x="1423" y="113"/>
                </a:cubicBezTo>
                <a:close/>
                <a:moveTo>
                  <a:pt x="1418" y="110"/>
                </a:moveTo>
                <a:cubicBezTo>
                  <a:pt x="1417" y="110"/>
                  <a:pt x="1417" y="110"/>
                  <a:pt x="1416" y="110"/>
                </a:cubicBezTo>
                <a:cubicBezTo>
                  <a:pt x="1417" y="112"/>
                  <a:pt x="1417" y="112"/>
                  <a:pt x="1418" y="112"/>
                </a:cubicBezTo>
                <a:cubicBezTo>
                  <a:pt x="1418" y="111"/>
                  <a:pt x="1418" y="110"/>
                  <a:pt x="1418" y="110"/>
                </a:cubicBezTo>
                <a:cubicBezTo>
                  <a:pt x="1417" y="110"/>
                  <a:pt x="1418" y="110"/>
                  <a:pt x="1418" y="110"/>
                </a:cubicBezTo>
                <a:close/>
                <a:moveTo>
                  <a:pt x="1423" y="110"/>
                </a:moveTo>
                <a:cubicBezTo>
                  <a:pt x="1423" y="111"/>
                  <a:pt x="1423" y="111"/>
                  <a:pt x="1424" y="111"/>
                </a:cubicBezTo>
                <a:cubicBezTo>
                  <a:pt x="1425" y="111"/>
                  <a:pt x="1425" y="111"/>
                  <a:pt x="1425" y="110"/>
                </a:cubicBezTo>
                <a:cubicBezTo>
                  <a:pt x="1425" y="110"/>
                  <a:pt x="1425" y="110"/>
                  <a:pt x="1425" y="109"/>
                </a:cubicBezTo>
                <a:cubicBezTo>
                  <a:pt x="1424" y="109"/>
                  <a:pt x="1423" y="109"/>
                  <a:pt x="1422" y="108"/>
                </a:cubicBezTo>
                <a:cubicBezTo>
                  <a:pt x="1422" y="109"/>
                  <a:pt x="1421" y="110"/>
                  <a:pt x="1421" y="110"/>
                </a:cubicBezTo>
                <a:cubicBezTo>
                  <a:pt x="1422" y="110"/>
                  <a:pt x="1422" y="110"/>
                  <a:pt x="1423" y="110"/>
                </a:cubicBezTo>
                <a:close/>
                <a:moveTo>
                  <a:pt x="1411" y="110"/>
                </a:moveTo>
                <a:cubicBezTo>
                  <a:pt x="1413" y="111"/>
                  <a:pt x="1414" y="111"/>
                  <a:pt x="1415" y="111"/>
                </a:cubicBezTo>
                <a:cubicBezTo>
                  <a:pt x="1415" y="110"/>
                  <a:pt x="1415" y="109"/>
                  <a:pt x="1414" y="109"/>
                </a:cubicBezTo>
                <a:cubicBezTo>
                  <a:pt x="1414" y="109"/>
                  <a:pt x="1414" y="109"/>
                  <a:pt x="1414" y="108"/>
                </a:cubicBezTo>
                <a:cubicBezTo>
                  <a:pt x="1414" y="108"/>
                  <a:pt x="1414" y="108"/>
                  <a:pt x="1414" y="109"/>
                </a:cubicBezTo>
                <a:cubicBezTo>
                  <a:pt x="1413" y="109"/>
                  <a:pt x="1411" y="109"/>
                  <a:pt x="1411" y="109"/>
                </a:cubicBezTo>
                <a:cubicBezTo>
                  <a:pt x="1411" y="110"/>
                  <a:pt x="1411" y="110"/>
                  <a:pt x="1411" y="110"/>
                </a:cubicBezTo>
                <a:cubicBezTo>
                  <a:pt x="1413" y="111"/>
                  <a:pt x="1411" y="110"/>
                  <a:pt x="1411" y="110"/>
                </a:cubicBezTo>
                <a:close/>
                <a:moveTo>
                  <a:pt x="1428" y="111"/>
                </a:moveTo>
                <a:cubicBezTo>
                  <a:pt x="1428" y="111"/>
                  <a:pt x="1429" y="111"/>
                  <a:pt x="1429" y="110"/>
                </a:cubicBezTo>
                <a:cubicBezTo>
                  <a:pt x="1429" y="109"/>
                  <a:pt x="1428" y="108"/>
                  <a:pt x="1427" y="108"/>
                </a:cubicBezTo>
                <a:cubicBezTo>
                  <a:pt x="1427" y="108"/>
                  <a:pt x="1427" y="109"/>
                  <a:pt x="1427" y="109"/>
                </a:cubicBezTo>
                <a:cubicBezTo>
                  <a:pt x="1427" y="109"/>
                  <a:pt x="1427" y="109"/>
                  <a:pt x="1427" y="109"/>
                </a:cubicBezTo>
                <a:cubicBezTo>
                  <a:pt x="1427" y="110"/>
                  <a:pt x="1427" y="110"/>
                  <a:pt x="1428" y="111"/>
                </a:cubicBezTo>
                <a:close/>
                <a:moveTo>
                  <a:pt x="1423" y="107"/>
                </a:moveTo>
                <a:cubicBezTo>
                  <a:pt x="1424" y="108"/>
                  <a:pt x="1424" y="108"/>
                  <a:pt x="1425" y="108"/>
                </a:cubicBezTo>
                <a:cubicBezTo>
                  <a:pt x="1425" y="107"/>
                  <a:pt x="1424" y="107"/>
                  <a:pt x="1423" y="107"/>
                </a:cubicBezTo>
                <a:cubicBezTo>
                  <a:pt x="1424" y="108"/>
                  <a:pt x="1423" y="107"/>
                  <a:pt x="1423" y="107"/>
                </a:cubicBezTo>
                <a:close/>
                <a:moveTo>
                  <a:pt x="1416" y="109"/>
                </a:moveTo>
                <a:cubicBezTo>
                  <a:pt x="1416" y="110"/>
                  <a:pt x="1417" y="109"/>
                  <a:pt x="1417" y="109"/>
                </a:cubicBezTo>
                <a:cubicBezTo>
                  <a:pt x="1417" y="108"/>
                  <a:pt x="1416" y="108"/>
                  <a:pt x="1416" y="107"/>
                </a:cubicBezTo>
                <a:cubicBezTo>
                  <a:pt x="1416" y="108"/>
                  <a:pt x="1415" y="108"/>
                  <a:pt x="1416" y="109"/>
                </a:cubicBezTo>
                <a:close/>
                <a:moveTo>
                  <a:pt x="1399" y="106"/>
                </a:moveTo>
                <a:cubicBezTo>
                  <a:pt x="1400" y="106"/>
                  <a:pt x="1401" y="107"/>
                  <a:pt x="1402" y="107"/>
                </a:cubicBezTo>
                <a:cubicBezTo>
                  <a:pt x="1402" y="105"/>
                  <a:pt x="1399" y="106"/>
                  <a:pt x="1399" y="106"/>
                </a:cubicBezTo>
                <a:cubicBezTo>
                  <a:pt x="1400" y="106"/>
                  <a:pt x="1399" y="106"/>
                  <a:pt x="1399" y="106"/>
                </a:cubicBezTo>
                <a:close/>
                <a:moveTo>
                  <a:pt x="1419" y="107"/>
                </a:moveTo>
                <a:cubicBezTo>
                  <a:pt x="1420" y="107"/>
                  <a:pt x="1421" y="106"/>
                  <a:pt x="1421" y="106"/>
                </a:cubicBezTo>
                <a:cubicBezTo>
                  <a:pt x="1420" y="106"/>
                  <a:pt x="1418" y="107"/>
                  <a:pt x="1418" y="108"/>
                </a:cubicBezTo>
                <a:cubicBezTo>
                  <a:pt x="1419" y="108"/>
                  <a:pt x="1419" y="108"/>
                  <a:pt x="1419" y="107"/>
                </a:cubicBezTo>
                <a:cubicBezTo>
                  <a:pt x="1420" y="107"/>
                  <a:pt x="1419" y="107"/>
                  <a:pt x="1419" y="107"/>
                </a:cubicBezTo>
                <a:close/>
                <a:moveTo>
                  <a:pt x="1186" y="109"/>
                </a:moveTo>
                <a:cubicBezTo>
                  <a:pt x="1186" y="110"/>
                  <a:pt x="1187" y="109"/>
                  <a:pt x="1188" y="108"/>
                </a:cubicBezTo>
                <a:cubicBezTo>
                  <a:pt x="1188" y="108"/>
                  <a:pt x="1188" y="108"/>
                  <a:pt x="1188" y="108"/>
                </a:cubicBezTo>
                <a:cubicBezTo>
                  <a:pt x="1188" y="108"/>
                  <a:pt x="1189" y="108"/>
                  <a:pt x="1189" y="108"/>
                </a:cubicBezTo>
                <a:cubicBezTo>
                  <a:pt x="1189" y="107"/>
                  <a:pt x="1190" y="109"/>
                  <a:pt x="1190" y="108"/>
                </a:cubicBezTo>
                <a:cubicBezTo>
                  <a:pt x="1190" y="108"/>
                  <a:pt x="1191" y="108"/>
                  <a:pt x="1191" y="108"/>
                </a:cubicBezTo>
                <a:cubicBezTo>
                  <a:pt x="1191" y="108"/>
                  <a:pt x="1192" y="107"/>
                  <a:pt x="1192" y="107"/>
                </a:cubicBezTo>
                <a:cubicBezTo>
                  <a:pt x="1192" y="106"/>
                  <a:pt x="1191" y="106"/>
                  <a:pt x="1190" y="106"/>
                </a:cubicBezTo>
                <a:cubicBezTo>
                  <a:pt x="1189" y="105"/>
                  <a:pt x="1191" y="105"/>
                  <a:pt x="1189" y="105"/>
                </a:cubicBezTo>
                <a:cubicBezTo>
                  <a:pt x="1188" y="105"/>
                  <a:pt x="1188" y="105"/>
                  <a:pt x="1188" y="106"/>
                </a:cubicBezTo>
                <a:cubicBezTo>
                  <a:pt x="1187" y="107"/>
                  <a:pt x="1185" y="107"/>
                  <a:pt x="1185" y="108"/>
                </a:cubicBezTo>
                <a:cubicBezTo>
                  <a:pt x="1185" y="109"/>
                  <a:pt x="1185" y="109"/>
                  <a:pt x="1186" y="109"/>
                </a:cubicBezTo>
                <a:cubicBezTo>
                  <a:pt x="1186" y="110"/>
                  <a:pt x="1186" y="109"/>
                  <a:pt x="1186" y="109"/>
                </a:cubicBezTo>
                <a:close/>
                <a:moveTo>
                  <a:pt x="1429" y="105"/>
                </a:moveTo>
                <a:cubicBezTo>
                  <a:pt x="1428" y="105"/>
                  <a:pt x="1427" y="105"/>
                  <a:pt x="1426" y="105"/>
                </a:cubicBezTo>
                <a:cubicBezTo>
                  <a:pt x="1425" y="105"/>
                  <a:pt x="1424" y="106"/>
                  <a:pt x="1425" y="106"/>
                </a:cubicBezTo>
                <a:cubicBezTo>
                  <a:pt x="1426" y="106"/>
                  <a:pt x="1427" y="106"/>
                  <a:pt x="1427" y="106"/>
                </a:cubicBezTo>
                <a:cubicBezTo>
                  <a:pt x="1429" y="106"/>
                  <a:pt x="1429" y="106"/>
                  <a:pt x="1429" y="105"/>
                </a:cubicBezTo>
                <a:cubicBezTo>
                  <a:pt x="1428" y="105"/>
                  <a:pt x="1429" y="105"/>
                  <a:pt x="1429" y="105"/>
                </a:cubicBezTo>
                <a:close/>
                <a:moveTo>
                  <a:pt x="1412" y="107"/>
                </a:moveTo>
                <a:cubicBezTo>
                  <a:pt x="1412" y="107"/>
                  <a:pt x="1412" y="107"/>
                  <a:pt x="1412" y="107"/>
                </a:cubicBezTo>
                <a:cubicBezTo>
                  <a:pt x="1412" y="107"/>
                  <a:pt x="1412" y="106"/>
                  <a:pt x="1412" y="106"/>
                </a:cubicBezTo>
                <a:cubicBezTo>
                  <a:pt x="1413" y="106"/>
                  <a:pt x="1414" y="106"/>
                  <a:pt x="1414" y="106"/>
                </a:cubicBezTo>
                <a:cubicBezTo>
                  <a:pt x="1414" y="105"/>
                  <a:pt x="1413" y="104"/>
                  <a:pt x="1412" y="104"/>
                </a:cubicBezTo>
                <a:cubicBezTo>
                  <a:pt x="1412" y="104"/>
                  <a:pt x="1412" y="105"/>
                  <a:pt x="1412" y="105"/>
                </a:cubicBezTo>
                <a:cubicBezTo>
                  <a:pt x="1411" y="105"/>
                  <a:pt x="1412" y="105"/>
                  <a:pt x="1412" y="106"/>
                </a:cubicBezTo>
                <a:cubicBezTo>
                  <a:pt x="1412" y="106"/>
                  <a:pt x="1412" y="106"/>
                  <a:pt x="1411" y="106"/>
                </a:cubicBezTo>
                <a:cubicBezTo>
                  <a:pt x="1412" y="106"/>
                  <a:pt x="1411" y="106"/>
                  <a:pt x="1412" y="107"/>
                </a:cubicBezTo>
                <a:close/>
                <a:moveTo>
                  <a:pt x="1425" y="104"/>
                </a:moveTo>
                <a:cubicBezTo>
                  <a:pt x="1424" y="104"/>
                  <a:pt x="1422" y="103"/>
                  <a:pt x="1422" y="105"/>
                </a:cubicBezTo>
                <a:cubicBezTo>
                  <a:pt x="1423" y="105"/>
                  <a:pt x="1425" y="105"/>
                  <a:pt x="1425" y="104"/>
                </a:cubicBezTo>
                <a:close/>
                <a:moveTo>
                  <a:pt x="1421" y="104"/>
                </a:moveTo>
                <a:cubicBezTo>
                  <a:pt x="1421" y="103"/>
                  <a:pt x="1421" y="103"/>
                  <a:pt x="1421" y="104"/>
                </a:cubicBezTo>
                <a:cubicBezTo>
                  <a:pt x="1421" y="104"/>
                  <a:pt x="1421" y="104"/>
                  <a:pt x="1421" y="104"/>
                </a:cubicBezTo>
                <a:close/>
                <a:moveTo>
                  <a:pt x="1403" y="104"/>
                </a:moveTo>
                <a:cubicBezTo>
                  <a:pt x="1403" y="104"/>
                  <a:pt x="1402" y="104"/>
                  <a:pt x="1402" y="105"/>
                </a:cubicBezTo>
                <a:cubicBezTo>
                  <a:pt x="1403" y="105"/>
                  <a:pt x="1403" y="105"/>
                  <a:pt x="1404" y="105"/>
                </a:cubicBezTo>
                <a:cubicBezTo>
                  <a:pt x="1404" y="104"/>
                  <a:pt x="1403" y="104"/>
                  <a:pt x="1403" y="104"/>
                </a:cubicBezTo>
                <a:cubicBezTo>
                  <a:pt x="1403" y="104"/>
                  <a:pt x="1403" y="104"/>
                  <a:pt x="1403" y="104"/>
                </a:cubicBezTo>
                <a:close/>
                <a:moveTo>
                  <a:pt x="1417" y="104"/>
                </a:moveTo>
                <a:cubicBezTo>
                  <a:pt x="1417" y="103"/>
                  <a:pt x="1417" y="103"/>
                  <a:pt x="1418" y="103"/>
                </a:cubicBezTo>
                <a:cubicBezTo>
                  <a:pt x="1417" y="103"/>
                  <a:pt x="1417" y="103"/>
                  <a:pt x="1417" y="103"/>
                </a:cubicBezTo>
                <a:cubicBezTo>
                  <a:pt x="1417" y="103"/>
                  <a:pt x="1417" y="103"/>
                  <a:pt x="1417" y="104"/>
                </a:cubicBezTo>
                <a:close/>
                <a:moveTo>
                  <a:pt x="1416" y="103"/>
                </a:moveTo>
                <a:cubicBezTo>
                  <a:pt x="1416" y="103"/>
                  <a:pt x="1415" y="103"/>
                  <a:pt x="1415" y="104"/>
                </a:cubicBezTo>
                <a:cubicBezTo>
                  <a:pt x="1415" y="104"/>
                  <a:pt x="1416" y="104"/>
                  <a:pt x="1416" y="103"/>
                </a:cubicBezTo>
                <a:cubicBezTo>
                  <a:pt x="1415" y="103"/>
                  <a:pt x="1416" y="103"/>
                  <a:pt x="1416" y="103"/>
                </a:cubicBezTo>
                <a:close/>
                <a:moveTo>
                  <a:pt x="1170" y="104"/>
                </a:moveTo>
                <a:cubicBezTo>
                  <a:pt x="1170" y="102"/>
                  <a:pt x="1170" y="102"/>
                  <a:pt x="1168" y="102"/>
                </a:cubicBezTo>
                <a:cubicBezTo>
                  <a:pt x="1168" y="103"/>
                  <a:pt x="1169" y="103"/>
                  <a:pt x="1170" y="104"/>
                </a:cubicBezTo>
                <a:cubicBezTo>
                  <a:pt x="1170" y="103"/>
                  <a:pt x="1170" y="104"/>
                  <a:pt x="1170" y="104"/>
                </a:cubicBezTo>
                <a:close/>
                <a:moveTo>
                  <a:pt x="1421" y="103"/>
                </a:moveTo>
                <a:cubicBezTo>
                  <a:pt x="1421" y="102"/>
                  <a:pt x="1421" y="101"/>
                  <a:pt x="1419" y="101"/>
                </a:cubicBezTo>
                <a:cubicBezTo>
                  <a:pt x="1419" y="101"/>
                  <a:pt x="1419" y="103"/>
                  <a:pt x="1419" y="103"/>
                </a:cubicBezTo>
                <a:cubicBezTo>
                  <a:pt x="1420" y="103"/>
                  <a:pt x="1420" y="103"/>
                  <a:pt x="1421" y="103"/>
                </a:cubicBezTo>
                <a:close/>
                <a:moveTo>
                  <a:pt x="357" y="100"/>
                </a:moveTo>
                <a:cubicBezTo>
                  <a:pt x="357" y="100"/>
                  <a:pt x="357" y="100"/>
                  <a:pt x="356" y="100"/>
                </a:cubicBezTo>
                <a:cubicBezTo>
                  <a:pt x="357" y="100"/>
                  <a:pt x="357" y="100"/>
                  <a:pt x="357" y="100"/>
                </a:cubicBezTo>
                <a:close/>
                <a:moveTo>
                  <a:pt x="1193" y="104"/>
                </a:moveTo>
                <a:cubicBezTo>
                  <a:pt x="1194" y="104"/>
                  <a:pt x="1195" y="104"/>
                  <a:pt x="1195" y="103"/>
                </a:cubicBezTo>
                <a:cubicBezTo>
                  <a:pt x="1196" y="102"/>
                  <a:pt x="1196" y="103"/>
                  <a:pt x="1196" y="102"/>
                </a:cubicBezTo>
                <a:cubicBezTo>
                  <a:pt x="1196" y="101"/>
                  <a:pt x="1196" y="101"/>
                  <a:pt x="1196" y="100"/>
                </a:cubicBezTo>
                <a:cubicBezTo>
                  <a:pt x="1195" y="100"/>
                  <a:pt x="1195" y="100"/>
                  <a:pt x="1195" y="100"/>
                </a:cubicBezTo>
                <a:cubicBezTo>
                  <a:pt x="1195" y="99"/>
                  <a:pt x="1195" y="99"/>
                  <a:pt x="1194" y="100"/>
                </a:cubicBezTo>
                <a:cubicBezTo>
                  <a:pt x="1193" y="100"/>
                  <a:pt x="1193" y="100"/>
                  <a:pt x="1192" y="101"/>
                </a:cubicBezTo>
                <a:cubicBezTo>
                  <a:pt x="1192" y="101"/>
                  <a:pt x="1191" y="101"/>
                  <a:pt x="1192" y="102"/>
                </a:cubicBezTo>
                <a:cubicBezTo>
                  <a:pt x="1192" y="103"/>
                  <a:pt x="1193" y="103"/>
                  <a:pt x="1193" y="104"/>
                </a:cubicBezTo>
                <a:close/>
                <a:moveTo>
                  <a:pt x="714" y="112"/>
                </a:moveTo>
                <a:cubicBezTo>
                  <a:pt x="714" y="112"/>
                  <a:pt x="717" y="112"/>
                  <a:pt x="717" y="112"/>
                </a:cubicBezTo>
                <a:cubicBezTo>
                  <a:pt x="717" y="111"/>
                  <a:pt x="717" y="111"/>
                  <a:pt x="717" y="111"/>
                </a:cubicBezTo>
                <a:cubicBezTo>
                  <a:pt x="716" y="110"/>
                  <a:pt x="715" y="110"/>
                  <a:pt x="714" y="110"/>
                </a:cubicBezTo>
                <a:cubicBezTo>
                  <a:pt x="715" y="109"/>
                  <a:pt x="716" y="109"/>
                  <a:pt x="716" y="108"/>
                </a:cubicBezTo>
                <a:cubicBezTo>
                  <a:pt x="714" y="108"/>
                  <a:pt x="711" y="107"/>
                  <a:pt x="711" y="106"/>
                </a:cubicBezTo>
                <a:cubicBezTo>
                  <a:pt x="712" y="106"/>
                  <a:pt x="713" y="106"/>
                  <a:pt x="713" y="107"/>
                </a:cubicBezTo>
                <a:cubicBezTo>
                  <a:pt x="714" y="107"/>
                  <a:pt x="715" y="106"/>
                  <a:pt x="716" y="106"/>
                </a:cubicBezTo>
                <a:cubicBezTo>
                  <a:pt x="715" y="105"/>
                  <a:pt x="716" y="106"/>
                  <a:pt x="716" y="104"/>
                </a:cubicBezTo>
                <a:cubicBezTo>
                  <a:pt x="715" y="104"/>
                  <a:pt x="713" y="103"/>
                  <a:pt x="712" y="103"/>
                </a:cubicBezTo>
                <a:cubicBezTo>
                  <a:pt x="711" y="104"/>
                  <a:pt x="711" y="104"/>
                  <a:pt x="711" y="104"/>
                </a:cubicBezTo>
                <a:cubicBezTo>
                  <a:pt x="710" y="104"/>
                  <a:pt x="710" y="104"/>
                  <a:pt x="710" y="104"/>
                </a:cubicBezTo>
                <a:cubicBezTo>
                  <a:pt x="709" y="104"/>
                  <a:pt x="709" y="104"/>
                  <a:pt x="710" y="104"/>
                </a:cubicBezTo>
                <a:cubicBezTo>
                  <a:pt x="710" y="103"/>
                  <a:pt x="711" y="103"/>
                  <a:pt x="711" y="103"/>
                </a:cubicBezTo>
                <a:cubicBezTo>
                  <a:pt x="712" y="103"/>
                  <a:pt x="712" y="103"/>
                  <a:pt x="713" y="102"/>
                </a:cubicBezTo>
                <a:cubicBezTo>
                  <a:pt x="711" y="102"/>
                  <a:pt x="710" y="102"/>
                  <a:pt x="709" y="102"/>
                </a:cubicBezTo>
                <a:cubicBezTo>
                  <a:pt x="709" y="101"/>
                  <a:pt x="709" y="101"/>
                  <a:pt x="710" y="100"/>
                </a:cubicBezTo>
                <a:cubicBezTo>
                  <a:pt x="708" y="100"/>
                  <a:pt x="707" y="100"/>
                  <a:pt x="706" y="99"/>
                </a:cubicBezTo>
                <a:cubicBezTo>
                  <a:pt x="705" y="99"/>
                  <a:pt x="704" y="98"/>
                  <a:pt x="703" y="99"/>
                </a:cubicBezTo>
                <a:cubicBezTo>
                  <a:pt x="702" y="99"/>
                  <a:pt x="702" y="99"/>
                  <a:pt x="702" y="99"/>
                </a:cubicBezTo>
                <a:cubicBezTo>
                  <a:pt x="700" y="99"/>
                  <a:pt x="701" y="100"/>
                  <a:pt x="699" y="100"/>
                </a:cubicBezTo>
                <a:cubicBezTo>
                  <a:pt x="700" y="101"/>
                  <a:pt x="701" y="102"/>
                  <a:pt x="700" y="102"/>
                </a:cubicBezTo>
                <a:cubicBezTo>
                  <a:pt x="700" y="102"/>
                  <a:pt x="699" y="102"/>
                  <a:pt x="699" y="102"/>
                </a:cubicBezTo>
                <a:cubicBezTo>
                  <a:pt x="698" y="101"/>
                  <a:pt x="697" y="101"/>
                  <a:pt x="696" y="101"/>
                </a:cubicBezTo>
                <a:cubicBezTo>
                  <a:pt x="696" y="101"/>
                  <a:pt x="695" y="101"/>
                  <a:pt x="694" y="101"/>
                </a:cubicBezTo>
                <a:cubicBezTo>
                  <a:pt x="693" y="102"/>
                  <a:pt x="693" y="103"/>
                  <a:pt x="693" y="104"/>
                </a:cubicBezTo>
                <a:cubicBezTo>
                  <a:pt x="693" y="104"/>
                  <a:pt x="694" y="104"/>
                  <a:pt x="695" y="104"/>
                </a:cubicBezTo>
                <a:cubicBezTo>
                  <a:pt x="695" y="104"/>
                  <a:pt x="695" y="105"/>
                  <a:pt x="695" y="105"/>
                </a:cubicBezTo>
                <a:cubicBezTo>
                  <a:pt x="695" y="106"/>
                  <a:pt x="696" y="106"/>
                  <a:pt x="696" y="105"/>
                </a:cubicBezTo>
                <a:cubicBezTo>
                  <a:pt x="697" y="105"/>
                  <a:pt x="697" y="105"/>
                  <a:pt x="698" y="105"/>
                </a:cubicBezTo>
                <a:cubicBezTo>
                  <a:pt x="698" y="104"/>
                  <a:pt x="699" y="104"/>
                  <a:pt x="700" y="104"/>
                </a:cubicBezTo>
                <a:cubicBezTo>
                  <a:pt x="701" y="104"/>
                  <a:pt x="701" y="103"/>
                  <a:pt x="701" y="102"/>
                </a:cubicBezTo>
                <a:cubicBezTo>
                  <a:pt x="702" y="102"/>
                  <a:pt x="702" y="102"/>
                  <a:pt x="703" y="103"/>
                </a:cubicBezTo>
                <a:cubicBezTo>
                  <a:pt x="703" y="104"/>
                  <a:pt x="704" y="103"/>
                  <a:pt x="704" y="104"/>
                </a:cubicBezTo>
                <a:cubicBezTo>
                  <a:pt x="704" y="103"/>
                  <a:pt x="706" y="104"/>
                  <a:pt x="707" y="104"/>
                </a:cubicBezTo>
                <a:cubicBezTo>
                  <a:pt x="708" y="104"/>
                  <a:pt x="707" y="105"/>
                  <a:pt x="706" y="105"/>
                </a:cubicBezTo>
                <a:cubicBezTo>
                  <a:pt x="706" y="106"/>
                  <a:pt x="706" y="105"/>
                  <a:pt x="707" y="106"/>
                </a:cubicBezTo>
                <a:cubicBezTo>
                  <a:pt x="707" y="106"/>
                  <a:pt x="706" y="107"/>
                  <a:pt x="707" y="107"/>
                </a:cubicBezTo>
                <a:cubicBezTo>
                  <a:pt x="707" y="108"/>
                  <a:pt x="707" y="108"/>
                  <a:pt x="707" y="108"/>
                </a:cubicBezTo>
                <a:cubicBezTo>
                  <a:pt x="707" y="108"/>
                  <a:pt x="708" y="109"/>
                  <a:pt x="708" y="109"/>
                </a:cubicBezTo>
                <a:cubicBezTo>
                  <a:pt x="708" y="109"/>
                  <a:pt x="709" y="109"/>
                  <a:pt x="709" y="109"/>
                </a:cubicBezTo>
                <a:cubicBezTo>
                  <a:pt x="709" y="109"/>
                  <a:pt x="709" y="110"/>
                  <a:pt x="710" y="110"/>
                </a:cubicBezTo>
                <a:cubicBezTo>
                  <a:pt x="711" y="110"/>
                  <a:pt x="711" y="110"/>
                  <a:pt x="711" y="110"/>
                </a:cubicBezTo>
                <a:cubicBezTo>
                  <a:pt x="712" y="110"/>
                  <a:pt x="712" y="110"/>
                  <a:pt x="712" y="111"/>
                </a:cubicBezTo>
                <a:cubicBezTo>
                  <a:pt x="712" y="111"/>
                  <a:pt x="713" y="111"/>
                  <a:pt x="713" y="111"/>
                </a:cubicBezTo>
                <a:cubicBezTo>
                  <a:pt x="713" y="111"/>
                  <a:pt x="713" y="111"/>
                  <a:pt x="713" y="112"/>
                </a:cubicBezTo>
                <a:cubicBezTo>
                  <a:pt x="714" y="112"/>
                  <a:pt x="714" y="112"/>
                  <a:pt x="714" y="112"/>
                </a:cubicBezTo>
                <a:close/>
                <a:moveTo>
                  <a:pt x="357" y="98"/>
                </a:moveTo>
                <a:cubicBezTo>
                  <a:pt x="357" y="98"/>
                  <a:pt x="358" y="99"/>
                  <a:pt x="358" y="98"/>
                </a:cubicBezTo>
                <a:cubicBezTo>
                  <a:pt x="358" y="97"/>
                  <a:pt x="357" y="97"/>
                  <a:pt x="356" y="97"/>
                </a:cubicBezTo>
                <a:cubicBezTo>
                  <a:pt x="356" y="98"/>
                  <a:pt x="356" y="98"/>
                  <a:pt x="357" y="98"/>
                </a:cubicBezTo>
                <a:close/>
                <a:moveTo>
                  <a:pt x="1153" y="100"/>
                </a:moveTo>
                <a:cubicBezTo>
                  <a:pt x="1154" y="100"/>
                  <a:pt x="1154" y="100"/>
                  <a:pt x="1155" y="100"/>
                </a:cubicBezTo>
                <a:cubicBezTo>
                  <a:pt x="1156" y="100"/>
                  <a:pt x="1155" y="100"/>
                  <a:pt x="1155" y="99"/>
                </a:cubicBezTo>
                <a:cubicBezTo>
                  <a:pt x="1156" y="99"/>
                  <a:pt x="1156" y="98"/>
                  <a:pt x="1156" y="98"/>
                </a:cubicBezTo>
                <a:cubicBezTo>
                  <a:pt x="1156" y="97"/>
                  <a:pt x="1156" y="97"/>
                  <a:pt x="1155" y="97"/>
                </a:cubicBezTo>
                <a:cubicBezTo>
                  <a:pt x="1154" y="96"/>
                  <a:pt x="1155" y="96"/>
                  <a:pt x="1154" y="96"/>
                </a:cubicBezTo>
                <a:cubicBezTo>
                  <a:pt x="1154" y="96"/>
                  <a:pt x="1153" y="96"/>
                  <a:pt x="1153" y="97"/>
                </a:cubicBezTo>
                <a:cubicBezTo>
                  <a:pt x="1152" y="97"/>
                  <a:pt x="1153" y="98"/>
                  <a:pt x="1153" y="99"/>
                </a:cubicBezTo>
                <a:cubicBezTo>
                  <a:pt x="1152" y="99"/>
                  <a:pt x="1152" y="99"/>
                  <a:pt x="1152" y="100"/>
                </a:cubicBezTo>
                <a:cubicBezTo>
                  <a:pt x="1151" y="100"/>
                  <a:pt x="1151" y="100"/>
                  <a:pt x="1151" y="101"/>
                </a:cubicBezTo>
                <a:cubicBezTo>
                  <a:pt x="1152" y="101"/>
                  <a:pt x="1153" y="101"/>
                  <a:pt x="1153" y="100"/>
                </a:cubicBezTo>
                <a:close/>
                <a:moveTo>
                  <a:pt x="313" y="101"/>
                </a:moveTo>
                <a:cubicBezTo>
                  <a:pt x="312" y="101"/>
                  <a:pt x="312" y="101"/>
                  <a:pt x="311" y="100"/>
                </a:cubicBezTo>
                <a:cubicBezTo>
                  <a:pt x="311" y="100"/>
                  <a:pt x="311" y="99"/>
                  <a:pt x="311" y="99"/>
                </a:cubicBezTo>
                <a:cubicBezTo>
                  <a:pt x="311" y="99"/>
                  <a:pt x="311" y="99"/>
                  <a:pt x="311" y="99"/>
                </a:cubicBezTo>
                <a:cubicBezTo>
                  <a:pt x="310" y="97"/>
                  <a:pt x="310" y="99"/>
                  <a:pt x="309" y="98"/>
                </a:cubicBezTo>
                <a:cubicBezTo>
                  <a:pt x="309" y="98"/>
                  <a:pt x="308" y="96"/>
                  <a:pt x="307" y="96"/>
                </a:cubicBezTo>
                <a:cubicBezTo>
                  <a:pt x="307" y="96"/>
                  <a:pt x="306" y="96"/>
                  <a:pt x="306" y="97"/>
                </a:cubicBezTo>
                <a:cubicBezTo>
                  <a:pt x="306" y="98"/>
                  <a:pt x="306" y="98"/>
                  <a:pt x="305" y="100"/>
                </a:cubicBezTo>
                <a:cubicBezTo>
                  <a:pt x="306" y="100"/>
                  <a:pt x="306" y="101"/>
                  <a:pt x="306" y="101"/>
                </a:cubicBezTo>
                <a:cubicBezTo>
                  <a:pt x="306" y="102"/>
                  <a:pt x="306" y="103"/>
                  <a:pt x="306" y="103"/>
                </a:cubicBezTo>
                <a:cubicBezTo>
                  <a:pt x="307" y="104"/>
                  <a:pt x="307" y="105"/>
                  <a:pt x="308" y="105"/>
                </a:cubicBezTo>
                <a:cubicBezTo>
                  <a:pt x="309" y="105"/>
                  <a:pt x="309" y="105"/>
                  <a:pt x="310" y="105"/>
                </a:cubicBezTo>
                <a:cubicBezTo>
                  <a:pt x="311" y="105"/>
                  <a:pt x="310" y="105"/>
                  <a:pt x="311" y="105"/>
                </a:cubicBezTo>
                <a:cubicBezTo>
                  <a:pt x="311" y="105"/>
                  <a:pt x="311" y="106"/>
                  <a:pt x="312" y="106"/>
                </a:cubicBezTo>
                <a:cubicBezTo>
                  <a:pt x="312" y="106"/>
                  <a:pt x="313" y="106"/>
                  <a:pt x="313" y="106"/>
                </a:cubicBezTo>
                <a:cubicBezTo>
                  <a:pt x="313" y="106"/>
                  <a:pt x="314" y="106"/>
                  <a:pt x="315" y="106"/>
                </a:cubicBezTo>
                <a:cubicBezTo>
                  <a:pt x="315" y="105"/>
                  <a:pt x="315" y="104"/>
                  <a:pt x="314" y="103"/>
                </a:cubicBezTo>
                <a:cubicBezTo>
                  <a:pt x="313" y="103"/>
                  <a:pt x="313" y="102"/>
                  <a:pt x="313" y="101"/>
                </a:cubicBezTo>
                <a:cubicBezTo>
                  <a:pt x="312" y="101"/>
                  <a:pt x="313" y="101"/>
                  <a:pt x="313" y="101"/>
                </a:cubicBezTo>
                <a:close/>
                <a:moveTo>
                  <a:pt x="339" y="131"/>
                </a:moveTo>
                <a:cubicBezTo>
                  <a:pt x="340" y="130"/>
                  <a:pt x="340" y="130"/>
                  <a:pt x="339" y="129"/>
                </a:cubicBezTo>
                <a:cubicBezTo>
                  <a:pt x="339" y="128"/>
                  <a:pt x="339" y="129"/>
                  <a:pt x="339" y="128"/>
                </a:cubicBezTo>
                <a:cubicBezTo>
                  <a:pt x="339" y="128"/>
                  <a:pt x="339" y="128"/>
                  <a:pt x="339" y="127"/>
                </a:cubicBezTo>
                <a:cubicBezTo>
                  <a:pt x="339" y="126"/>
                  <a:pt x="339" y="125"/>
                  <a:pt x="339" y="125"/>
                </a:cubicBezTo>
                <a:cubicBezTo>
                  <a:pt x="338" y="125"/>
                  <a:pt x="336" y="124"/>
                  <a:pt x="336" y="125"/>
                </a:cubicBezTo>
                <a:cubicBezTo>
                  <a:pt x="335" y="125"/>
                  <a:pt x="330" y="125"/>
                  <a:pt x="330" y="123"/>
                </a:cubicBezTo>
                <a:cubicBezTo>
                  <a:pt x="330" y="122"/>
                  <a:pt x="328" y="122"/>
                  <a:pt x="328" y="121"/>
                </a:cubicBezTo>
                <a:cubicBezTo>
                  <a:pt x="328" y="120"/>
                  <a:pt x="328" y="120"/>
                  <a:pt x="327" y="120"/>
                </a:cubicBezTo>
                <a:cubicBezTo>
                  <a:pt x="327" y="121"/>
                  <a:pt x="327" y="122"/>
                  <a:pt x="327" y="123"/>
                </a:cubicBezTo>
                <a:cubicBezTo>
                  <a:pt x="326" y="122"/>
                  <a:pt x="324" y="122"/>
                  <a:pt x="324" y="121"/>
                </a:cubicBezTo>
                <a:cubicBezTo>
                  <a:pt x="323" y="120"/>
                  <a:pt x="322" y="119"/>
                  <a:pt x="321" y="118"/>
                </a:cubicBezTo>
                <a:cubicBezTo>
                  <a:pt x="321" y="117"/>
                  <a:pt x="320" y="116"/>
                  <a:pt x="320" y="116"/>
                </a:cubicBezTo>
                <a:cubicBezTo>
                  <a:pt x="320" y="115"/>
                  <a:pt x="320" y="114"/>
                  <a:pt x="319" y="114"/>
                </a:cubicBezTo>
                <a:cubicBezTo>
                  <a:pt x="318" y="113"/>
                  <a:pt x="317" y="112"/>
                  <a:pt x="318" y="110"/>
                </a:cubicBezTo>
                <a:cubicBezTo>
                  <a:pt x="317" y="110"/>
                  <a:pt x="317" y="108"/>
                  <a:pt x="316" y="108"/>
                </a:cubicBezTo>
                <a:cubicBezTo>
                  <a:pt x="316" y="108"/>
                  <a:pt x="316" y="107"/>
                  <a:pt x="316" y="107"/>
                </a:cubicBezTo>
                <a:cubicBezTo>
                  <a:pt x="316" y="107"/>
                  <a:pt x="315" y="107"/>
                  <a:pt x="315" y="107"/>
                </a:cubicBezTo>
                <a:cubicBezTo>
                  <a:pt x="313" y="107"/>
                  <a:pt x="312" y="107"/>
                  <a:pt x="310" y="107"/>
                </a:cubicBezTo>
                <a:cubicBezTo>
                  <a:pt x="310" y="107"/>
                  <a:pt x="310" y="107"/>
                  <a:pt x="309" y="107"/>
                </a:cubicBezTo>
                <a:cubicBezTo>
                  <a:pt x="308" y="108"/>
                  <a:pt x="308" y="108"/>
                  <a:pt x="308" y="107"/>
                </a:cubicBezTo>
                <a:cubicBezTo>
                  <a:pt x="307" y="106"/>
                  <a:pt x="306" y="107"/>
                  <a:pt x="306" y="108"/>
                </a:cubicBezTo>
                <a:cubicBezTo>
                  <a:pt x="306" y="109"/>
                  <a:pt x="305" y="109"/>
                  <a:pt x="305" y="110"/>
                </a:cubicBezTo>
                <a:cubicBezTo>
                  <a:pt x="305" y="110"/>
                  <a:pt x="305" y="111"/>
                  <a:pt x="305" y="111"/>
                </a:cubicBezTo>
                <a:cubicBezTo>
                  <a:pt x="304" y="111"/>
                  <a:pt x="303" y="112"/>
                  <a:pt x="302" y="112"/>
                </a:cubicBezTo>
                <a:cubicBezTo>
                  <a:pt x="302" y="112"/>
                  <a:pt x="302" y="111"/>
                  <a:pt x="301" y="111"/>
                </a:cubicBezTo>
                <a:cubicBezTo>
                  <a:pt x="301" y="111"/>
                  <a:pt x="301" y="110"/>
                  <a:pt x="301" y="110"/>
                </a:cubicBezTo>
                <a:cubicBezTo>
                  <a:pt x="301" y="110"/>
                  <a:pt x="302" y="109"/>
                  <a:pt x="302" y="108"/>
                </a:cubicBezTo>
                <a:cubicBezTo>
                  <a:pt x="302" y="108"/>
                  <a:pt x="303" y="107"/>
                  <a:pt x="303" y="107"/>
                </a:cubicBezTo>
                <a:cubicBezTo>
                  <a:pt x="303" y="106"/>
                  <a:pt x="304" y="105"/>
                  <a:pt x="304" y="105"/>
                </a:cubicBezTo>
                <a:cubicBezTo>
                  <a:pt x="304" y="104"/>
                  <a:pt x="302" y="105"/>
                  <a:pt x="302" y="104"/>
                </a:cubicBezTo>
                <a:cubicBezTo>
                  <a:pt x="302" y="103"/>
                  <a:pt x="301" y="103"/>
                  <a:pt x="301" y="102"/>
                </a:cubicBezTo>
                <a:cubicBezTo>
                  <a:pt x="301" y="102"/>
                  <a:pt x="300" y="102"/>
                  <a:pt x="300" y="101"/>
                </a:cubicBezTo>
                <a:cubicBezTo>
                  <a:pt x="300" y="101"/>
                  <a:pt x="300" y="101"/>
                  <a:pt x="300" y="100"/>
                </a:cubicBezTo>
                <a:cubicBezTo>
                  <a:pt x="299" y="101"/>
                  <a:pt x="299" y="101"/>
                  <a:pt x="298" y="100"/>
                </a:cubicBezTo>
                <a:cubicBezTo>
                  <a:pt x="297" y="100"/>
                  <a:pt x="297" y="99"/>
                  <a:pt x="296" y="99"/>
                </a:cubicBezTo>
                <a:cubicBezTo>
                  <a:pt x="296" y="101"/>
                  <a:pt x="296" y="102"/>
                  <a:pt x="294" y="102"/>
                </a:cubicBezTo>
                <a:cubicBezTo>
                  <a:pt x="293" y="103"/>
                  <a:pt x="294" y="103"/>
                  <a:pt x="294" y="104"/>
                </a:cubicBezTo>
                <a:cubicBezTo>
                  <a:pt x="293" y="104"/>
                  <a:pt x="292" y="104"/>
                  <a:pt x="291" y="104"/>
                </a:cubicBezTo>
                <a:cubicBezTo>
                  <a:pt x="291" y="103"/>
                  <a:pt x="291" y="102"/>
                  <a:pt x="290" y="102"/>
                </a:cubicBezTo>
                <a:cubicBezTo>
                  <a:pt x="290" y="101"/>
                  <a:pt x="288" y="100"/>
                  <a:pt x="287" y="100"/>
                </a:cubicBezTo>
                <a:cubicBezTo>
                  <a:pt x="287" y="99"/>
                  <a:pt x="286" y="99"/>
                  <a:pt x="286" y="99"/>
                </a:cubicBezTo>
                <a:cubicBezTo>
                  <a:pt x="285" y="99"/>
                  <a:pt x="284" y="99"/>
                  <a:pt x="284" y="99"/>
                </a:cubicBezTo>
                <a:cubicBezTo>
                  <a:pt x="284" y="100"/>
                  <a:pt x="285" y="101"/>
                  <a:pt x="284" y="101"/>
                </a:cubicBezTo>
                <a:cubicBezTo>
                  <a:pt x="284" y="101"/>
                  <a:pt x="284" y="103"/>
                  <a:pt x="283" y="104"/>
                </a:cubicBezTo>
                <a:cubicBezTo>
                  <a:pt x="284" y="104"/>
                  <a:pt x="283" y="105"/>
                  <a:pt x="284" y="105"/>
                </a:cubicBezTo>
                <a:cubicBezTo>
                  <a:pt x="284" y="105"/>
                  <a:pt x="284" y="106"/>
                  <a:pt x="284" y="106"/>
                </a:cubicBezTo>
                <a:cubicBezTo>
                  <a:pt x="284" y="106"/>
                  <a:pt x="284" y="106"/>
                  <a:pt x="284" y="106"/>
                </a:cubicBezTo>
                <a:cubicBezTo>
                  <a:pt x="284" y="107"/>
                  <a:pt x="284" y="108"/>
                  <a:pt x="283" y="108"/>
                </a:cubicBezTo>
                <a:cubicBezTo>
                  <a:pt x="283" y="108"/>
                  <a:pt x="282" y="108"/>
                  <a:pt x="282" y="107"/>
                </a:cubicBezTo>
                <a:cubicBezTo>
                  <a:pt x="282" y="107"/>
                  <a:pt x="280" y="107"/>
                  <a:pt x="280" y="107"/>
                </a:cubicBezTo>
                <a:cubicBezTo>
                  <a:pt x="279" y="105"/>
                  <a:pt x="280" y="107"/>
                  <a:pt x="279" y="106"/>
                </a:cubicBezTo>
                <a:cubicBezTo>
                  <a:pt x="279" y="106"/>
                  <a:pt x="279" y="105"/>
                  <a:pt x="278" y="105"/>
                </a:cubicBezTo>
                <a:cubicBezTo>
                  <a:pt x="278" y="105"/>
                  <a:pt x="277" y="105"/>
                  <a:pt x="277" y="104"/>
                </a:cubicBezTo>
                <a:cubicBezTo>
                  <a:pt x="277" y="103"/>
                  <a:pt x="277" y="103"/>
                  <a:pt x="276" y="103"/>
                </a:cubicBezTo>
                <a:cubicBezTo>
                  <a:pt x="276" y="102"/>
                  <a:pt x="276" y="101"/>
                  <a:pt x="277" y="101"/>
                </a:cubicBezTo>
                <a:cubicBezTo>
                  <a:pt x="277" y="100"/>
                  <a:pt x="277" y="99"/>
                  <a:pt x="277" y="98"/>
                </a:cubicBezTo>
                <a:cubicBezTo>
                  <a:pt x="277" y="97"/>
                  <a:pt x="277" y="97"/>
                  <a:pt x="276" y="96"/>
                </a:cubicBezTo>
                <a:cubicBezTo>
                  <a:pt x="276" y="96"/>
                  <a:pt x="276" y="96"/>
                  <a:pt x="276" y="96"/>
                </a:cubicBezTo>
                <a:cubicBezTo>
                  <a:pt x="275" y="95"/>
                  <a:pt x="272" y="95"/>
                  <a:pt x="272" y="97"/>
                </a:cubicBezTo>
                <a:cubicBezTo>
                  <a:pt x="271" y="98"/>
                  <a:pt x="270" y="98"/>
                  <a:pt x="269" y="98"/>
                </a:cubicBezTo>
                <a:cubicBezTo>
                  <a:pt x="269" y="99"/>
                  <a:pt x="269" y="99"/>
                  <a:pt x="268" y="99"/>
                </a:cubicBezTo>
                <a:cubicBezTo>
                  <a:pt x="267" y="99"/>
                  <a:pt x="268" y="100"/>
                  <a:pt x="267" y="100"/>
                </a:cubicBezTo>
                <a:cubicBezTo>
                  <a:pt x="266" y="100"/>
                  <a:pt x="265" y="100"/>
                  <a:pt x="264" y="100"/>
                </a:cubicBezTo>
                <a:cubicBezTo>
                  <a:pt x="264" y="100"/>
                  <a:pt x="264" y="100"/>
                  <a:pt x="264" y="100"/>
                </a:cubicBezTo>
                <a:cubicBezTo>
                  <a:pt x="264" y="101"/>
                  <a:pt x="263" y="100"/>
                  <a:pt x="263" y="100"/>
                </a:cubicBezTo>
                <a:cubicBezTo>
                  <a:pt x="262" y="100"/>
                  <a:pt x="263" y="100"/>
                  <a:pt x="262" y="100"/>
                </a:cubicBezTo>
                <a:cubicBezTo>
                  <a:pt x="262" y="100"/>
                  <a:pt x="262" y="100"/>
                  <a:pt x="261" y="100"/>
                </a:cubicBezTo>
                <a:cubicBezTo>
                  <a:pt x="261" y="100"/>
                  <a:pt x="262" y="101"/>
                  <a:pt x="261" y="101"/>
                </a:cubicBezTo>
                <a:cubicBezTo>
                  <a:pt x="261" y="101"/>
                  <a:pt x="261" y="101"/>
                  <a:pt x="260" y="101"/>
                </a:cubicBezTo>
                <a:cubicBezTo>
                  <a:pt x="260" y="101"/>
                  <a:pt x="260" y="102"/>
                  <a:pt x="259" y="102"/>
                </a:cubicBezTo>
                <a:cubicBezTo>
                  <a:pt x="259" y="102"/>
                  <a:pt x="258" y="102"/>
                  <a:pt x="258" y="102"/>
                </a:cubicBezTo>
                <a:cubicBezTo>
                  <a:pt x="258" y="102"/>
                  <a:pt x="258" y="102"/>
                  <a:pt x="258" y="102"/>
                </a:cubicBezTo>
                <a:cubicBezTo>
                  <a:pt x="258" y="102"/>
                  <a:pt x="258" y="102"/>
                  <a:pt x="257" y="103"/>
                </a:cubicBezTo>
                <a:cubicBezTo>
                  <a:pt x="257" y="103"/>
                  <a:pt x="256" y="103"/>
                  <a:pt x="256" y="104"/>
                </a:cubicBezTo>
                <a:cubicBezTo>
                  <a:pt x="256" y="104"/>
                  <a:pt x="255" y="104"/>
                  <a:pt x="256" y="105"/>
                </a:cubicBezTo>
                <a:cubicBezTo>
                  <a:pt x="256" y="105"/>
                  <a:pt x="256" y="105"/>
                  <a:pt x="256" y="106"/>
                </a:cubicBezTo>
                <a:cubicBezTo>
                  <a:pt x="256" y="107"/>
                  <a:pt x="256" y="108"/>
                  <a:pt x="255" y="108"/>
                </a:cubicBezTo>
                <a:cubicBezTo>
                  <a:pt x="254" y="107"/>
                  <a:pt x="254" y="108"/>
                  <a:pt x="254" y="108"/>
                </a:cubicBezTo>
                <a:cubicBezTo>
                  <a:pt x="253" y="109"/>
                  <a:pt x="253" y="109"/>
                  <a:pt x="252" y="110"/>
                </a:cubicBezTo>
                <a:cubicBezTo>
                  <a:pt x="252" y="110"/>
                  <a:pt x="252" y="110"/>
                  <a:pt x="252" y="110"/>
                </a:cubicBezTo>
                <a:cubicBezTo>
                  <a:pt x="251" y="110"/>
                  <a:pt x="251" y="111"/>
                  <a:pt x="251" y="111"/>
                </a:cubicBezTo>
                <a:cubicBezTo>
                  <a:pt x="250" y="112"/>
                  <a:pt x="250" y="114"/>
                  <a:pt x="251" y="114"/>
                </a:cubicBezTo>
                <a:cubicBezTo>
                  <a:pt x="252" y="114"/>
                  <a:pt x="253" y="113"/>
                  <a:pt x="253" y="114"/>
                </a:cubicBezTo>
                <a:cubicBezTo>
                  <a:pt x="254" y="114"/>
                  <a:pt x="255" y="114"/>
                  <a:pt x="255" y="113"/>
                </a:cubicBezTo>
                <a:cubicBezTo>
                  <a:pt x="256" y="112"/>
                  <a:pt x="256" y="113"/>
                  <a:pt x="257" y="113"/>
                </a:cubicBezTo>
                <a:cubicBezTo>
                  <a:pt x="257" y="113"/>
                  <a:pt x="256" y="113"/>
                  <a:pt x="257" y="114"/>
                </a:cubicBezTo>
                <a:cubicBezTo>
                  <a:pt x="257" y="114"/>
                  <a:pt x="259" y="114"/>
                  <a:pt x="258" y="114"/>
                </a:cubicBezTo>
                <a:cubicBezTo>
                  <a:pt x="257" y="115"/>
                  <a:pt x="256" y="114"/>
                  <a:pt x="255" y="115"/>
                </a:cubicBezTo>
                <a:cubicBezTo>
                  <a:pt x="254" y="115"/>
                  <a:pt x="255" y="116"/>
                  <a:pt x="256" y="116"/>
                </a:cubicBezTo>
                <a:cubicBezTo>
                  <a:pt x="257" y="116"/>
                  <a:pt x="260" y="117"/>
                  <a:pt x="260" y="115"/>
                </a:cubicBezTo>
                <a:cubicBezTo>
                  <a:pt x="260" y="113"/>
                  <a:pt x="260" y="114"/>
                  <a:pt x="262" y="115"/>
                </a:cubicBezTo>
                <a:cubicBezTo>
                  <a:pt x="262" y="115"/>
                  <a:pt x="263" y="115"/>
                  <a:pt x="264" y="115"/>
                </a:cubicBezTo>
                <a:cubicBezTo>
                  <a:pt x="265" y="115"/>
                  <a:pt x="264" y="114"/>
                  <a:pt x="265" y="114"/>
                </a:cubicBezTo>
                <a:cubicBezTo>
                  <a:pt x="266" y="114"/>
                  <a:pt x="266" y="114"/>
                  <a:pt x="267" y="114"/>
                </a:cubicBezTo>
                <a:cubicBezTo>
                  <a:pt x="268" y="114"/>
                  <a:pt x="269" y="113"/>
                  <a:pt x="271" y="113"/>
                </a:cubicBezTo>
                <a:cubicBezTo>
                  <a:pt x="272" y="114"/>
                  <a:pt x="272" y="114"/>
                  <a:pt x="272" y="114"/>
                </a:cubicBezTo>
                <a:cubicBezTo>
                  <a:pt x="272" y="115"/>
                  <a:pt x="270" y="115"/>
                  <a:pt x="270" y="115"/>
                </a:cubicBezTo>
                <a:cubicBezTo>
                  <a:pt x="270" y="115"/>
                  <a:pt x="270" y="114"/>
                  <a:pt x="269" y="114"/>
                </a:cubicBezTo>
                <a:cubicBezTo>
                  <a:pt x="269" y="115"/>
                  <a:pt x="268" y="114"/>
                  <a:pt x="268" y="114"/>
                </a:cubicBezTo>
                <a:cubicBezTo>
                  <a:pt x="268" y="115"/>
                  <a:pt x="267" y="114"/>
                  <a:pt x="267" y="115"/>
                </a:cubicBezTo>
                <a:cubicBezTo>
                  <a:pt x="267" y="115"/>
                  <a:pt x="266" y="115"/>
                  <a:pt x="266" y="115"/>
                </a:cubicBezTo>
                <a:cubicBezTo>
                  <a:pt x="266" y="116"/>
                  <a:pt x="266" y="116"/>
                  <a:pt x="266" y="116"/>
                </a:cubicBezTo>
                <a:cubicBezTo>
                  <a:pt x="265" y="116"/>
                  <a:pt x="264" y="116"/>
                  <a:pt x="264" y="116"/>
                </a:cubicBezTo>
                <a:cubicBezTo>
                  <a:pt x="263" y="116"/>
                  <a:pt x="264" y="116"/>
                  <a:pt x="263" y="116"/>
                </a:cubicBezTo>
                <a:cubicBezTo>
                  <a:pt x="263" y="116"/>
                  <a:pt x="263" y="116"/>
                  <a:pt x="263" y="116"/>
                </a:cubicBezTo>
                <a:cubicBezTo>
                  <a:pt x="262" y="116"/>
                  <a:pt x="262" y="116"/>
                  <a:pt x="261" y="117"/>
                </a:cubicBezTo>
                <a:cubicBezTo>
                  <a:pt x="260" y="117"/>
                  <a:pt x="259" y="118"/>
                  <a:pt x="258" y="118"/>
                </a:cubicBezTo>
                <a:cubicBezTo>
                  <a:pt x="257" y="118"/>
                  <a:pt x="256" y="118"/>
                  <a:pt x="257" y="119"/>
                </a:cubicBezTo>
                <a:cubicBezTo>
                  <a:pt x="257" y="120"/>
                  <a:pt x="257" y="120"/>
                  <a:pt x="258" y="120"/>
                </a:cubicBezTo>
                <a:cubicBezTo>
                  <a:pt x="258" y="120"/>
                  <a:pt x="258" y="121"/>
                  <a:pt x="258" y="121"/>
                </a:cubicBezTo>
                <a:cubicBezTo>
                  <a:pt x="259" y="121"/>
                  <a:pt x="259" y="120"/>
                  <a:pt x="259" y="121"/>
                </a:cubicBezTo>
                <a:cubicBezTo>
                  <a:pt x="260" y="121"/>
                  <a:pt x="261" y="121"/>
                  <a:pt x="261" y="120"/>
                </a:cubicBezTo>
                <a:cubicBezTo>
                  <a:pt x="262" y="120"/>
                  <a:pt x="263" y="121"/>
                  <a:pt x="264" y="121"/>
                </a:cubicBezTo>
                <a:cubicBezTo>
                  <a:pt x="264" y="120"/>
                  <a:pt x="267" y="120"/>
                  <a:pt x="268" y="120"/>
                </a:cubicBezTo>
                <a:cubicBezTo>
                  <a:pt x="269" y="121"/>
                  <a:pt x="269" y="120"/>
                  <a:pt x="270" y="120"/>
                </a:cubicBezTo>
                <a:cubicBezTo>
                  <a:pt x="271" y="120"/>
                  <a:pt x="271" y="121"/>
                  <a:pt x="271" y="121"/>
                </a:cubicBezTo>
                <a:cubicBezTo>
                  <a:pt x="273" y="121"/>
                  <a:pt x="274" y="120"/>
                  <a:pt x="275" y="120"/>
                </a:cubicBezTo>
                <a:cubicBezTo>
                  <a:pt x="276" y="120"/>
                  <a:pt x="277" y="121"/>
                  <a:pt x="278" y="121"/>
                </a:cubicBezTo>
                <a:cubicBezTo>
                  <a:pt x="279" y="120"/>
                  <a:pt x="279" y="120"/>
                  <a:pt x="280" y="120"/>
                </a:cubicBezTo>
                <a:cubicBezTo>
                  <a:pt x="281" y="120"/>
                  <a:pt x="280" y="119"/>
                  <a:pt x="281" y="119"/>
                </a:cubicBezTo>
                <a:cubicBezTo>
                  <a:pt x="282" y="119"/>
                  <a:pt x="281" y="120"/>
                  <a:pt x="282" y="120"/>
                </a:cubicBezTo>
                <a:cubicBezTo>
                  <a:pt x="284" y="120"/>
                  <a:pt x="282" y="120"/>
                  <a:pt x="283" y="121"/>
                </a:cubicBezTo>
                <a:cubicBezTo>
                  <a:pt x="283" y="121"/>
                  <a:pt x="284" y="121"/>
                  <a:pt x="285" y="121"/>
                </a:cubicBezTo>
                <a:cubicBezTo>
                  <a:pt x="285" y="121"/>
                  <a:pt x="285" y="120"/>
                  <a:pt x="286" y="120"/>
                </a:cubicBezTo>
                <a:cubicBezTo>
                  <a:pt x="288" y="120"/>
                  <a:pt x="288" y="120"/>
                  <a:pt x="288" y="121"/>
                </a:cubicBezTo>
                <a:cubicBezTo>
                  <a:pt x="287" y="121"/>
                  <a:pt x="287" y="121"/>
                  <a:pt x="286" y="122"/>
                </a:cubicBezTo>
                <a:cubicBezTo>
                  <a:pt x="286" y="122"/>
                  <a:pt x="287" y="123"/>
                  <a:pt x="286" y="123"/>
                </a:cubicBezTo>
                <a:cubicBezTo>
                  <a:pt x="285" y="123"/>
                  <a:pt x="285" y="123"/>
                  <a:pt x="285" y="123"/>
                </a:cubicBezTo>
                <a:cubicBezTo>
                  <a:pt x="285" y="123"/>
                  <a:pt x="284" y="124"/>
                  <a:pt x="284" y="124"/>
                </a:cubicBezTo>
                <a:cubicBezTo>
                  <a:pt x="283" y="124"/>
                  <a:pt x="282" y="124"/>
                  <a:pt x="282" y="124"/>
                </a:cubicBezTo>
                <a:cubicBezTo>
                  <a:pt x="281" y="124"/>
                  <a:pt x="280" y="124"/>
                  <a:pt x="278" y="124"/>
                </a:cubicBezTo>
                <a:cubicBezTo>
                  <a:pt x="278" y="124"/>
                  <a:pt x="278" y="124"/>
                  <a:pt x="278" y="124"/>
                </a:cubicBezTo>
                <a:cubicBezTo>
                  <a:pt x="278" y="123"/>
                  <a:pt x="276" y="124"/>
                  <a:pt x="276" y="123"/>
                </a:cubicBezTo>
                <a:cubicBezTo>
                  <a:pt x="276" y="123"/>
                  <a:pt x="276" y="124"/>
                  <a:pt x="276" y="124"/>
                </a:cubicBezTo>
                <a:cubicBezTo>
                  <a:pt x="275" y="124"/>
                  <a:pt x="274" y="124"/>
                  <a:pt x="273" y="124"/>
                </a:cubicBezTo>
                <a:cubicBezTo>
                  <a:pt x="273" y="124"/>
                  <a:pt x="273" y="124"/>
                  <a:pt x="273" y="124"/>
                </a:cubicBezTo>
                <a:cubicBezTo>
                  <a:pt x="272" y="124"/>
                  <a:pt x="271" y="124"/>
                  <a:pt x="271" y="124"/>
                </a:cubicBezTo>
                <a:cubicBezTo>
                  <a:pt x="270" y="125"/>
                  <a:pt x="271" y="125"/>
                  <a:pt x="270" y="125"/>
                </a:cubicBezTo>
                <a:cubicBezTo>
                  <a:pt x="269" y="126"/>
                  <a:pt x="268" y="126"/>
                  <a:pt x="267" y="126"/>
                </a:cubicBezTo>
                <a:cubicBezTo>
                  <a:pt x="267" y="125"/>
                  <a:pt x="264" y="126"/>
                  <a:pt x="263" y="126"/>
                </a:cubicBezTo>
                <a:cubicBezTo>
                  <a:pt x="263" y="125"/>
                  <a:pt x="262" y="125"/>
                  <a:pt x="261" y="125"/>
                </a:cubicBezTo>
                <a:cubicBezTo>
                  <a:pt x="262" y="126"/>
                  <a:pt x="262" y="127"/>
                  <a:pt x="262" y="127"/>
                </a:cubicBezTo>
                <a:cubicBezTo>
                  <a:pt x="261" y="128"/>
                  <a:pt x="261" y="129"/>
                  <a:pt x="261" y="129"/>
                </a:cubicBezTo>
                <a:cubicBezTo>
                  <a:pt x="262" y="129"/>
                  <a:pt x="262" y="129"/>
                  <a:pt x="262" y="130"/>
                </a:cubicBezTo>
                <a:cubicBezTo>
                  <a:pt x="262" y="130"/>
                  <a:pt x="263" y="131"/>
                  <a:pt x="263" y="131"/>
                </a:cubicBezTo>
                <a:cubicBezTo>
                  <a:pt x="264" y="131"/>
                  <a:pt x="264" y="131"/>
                  <a:pt x="265" y="132"/>
                </a:cubicBezTo>
                <a:cubicBezTo>
                  <a:pt x="265" y="134"/>
                  <a:pt x="269" y="134"/>
                  <a:pt x="271" y="134"/>
                </a:cubicBezTo>
                <a:cubicBezTo>
                  <a:pt x="271" y="134"/>
                  <a:pt x="271" y="133"/>
                  <a:pt x="272" y="134"/>
                </a:cubicBezTo>
                <a:cubicBezTo>
                  <a:pt x="272" y="134"/>
                  <a:pt x="273" y="134"/>
                  <a:pt x="273" y="134"/>
                </a:cubicBezTo>
                <a:cubicBezTo>
                  <a:pt x="273" y="135"/>
                  <a:pt x="275" y="135"/>
                  <a:pt x="275" y="135"/>
                </a:cubicBezTo>
                <a:cubicBezTo>
                  <a:pt x="276" y="135"/>
                  <a:pt x="276" y="137"/>
                  <a:pt x="276" y="137"/>
                </a:cubicBezTo>
                <a:cubicBezTo>
                  <a:pt x="276" y="138"/>
                  <a:pt x="276" y="138"/>
                  <a:pt x="276" y="139"/>
                </a:cubicBezTo>
                <a:cubicBezTo>
                  <a:pt x="277" y="139"/>
                  <a:pt x="278" y="139"/>
                  <a:pt x="279" y="139"/>
                </a:cubicBezTo>
                <a:cubicBezTo>
                  <a:pt x="279" y="139"/>
                  <a:pt x="280" y="140"/>
                  <a:pt x="281" y="140"/>
                </a:cubicBezTo>
                <a:cubicBezTo>
                  <a:pt x="282" y="140"/>
                  <a:pt x="282" y="140"/>
                  <a:pt x="283" y="140"/>
                </a:cubicBezTo>
                <a:cubicBezTo>
                  <a:pt x="284" y="140"/>
                  <a:pt x="285" y="140"/>
                  <a:pt x="285" y="139"/>
                </a:cubicBezTo>
                <a:cubicBezTo>
                  <a:pt x="285" y="138"/>
                  <a:pt x="285" y="138"/>
                  <a:pt x="286" y="138"/>
                </a:cubicBezTo>
                <a:cubicBezTo>
                  <a:pt x="286" y="138"/>
                  <a:pt x="287" y="138"/>
                  <a:pt x="287" y="138"/>
                </a:cubicBezTo>
                <a:cubicBezTo>
                  <a:pt x="287" y="138"/>
                  <a:pt x="287" y="139"/>
                  <a:pt x="288" y="139"/>
                </a:cubicBezTo>
                <a:cubicBezTo>
                  <a:pt x="288" y="138"/>
                  <a:pt x="289" y="138"/>
                  <a:pt x="289" y="138"/>
                </a:cubicBezTo>
                <a:cubicBezTo>
                  <a:pt x="290" y="138"/>
                  <a:pt x="292" y="139"/>
                  <a:pt x="293" y="138"/>
                </a:cubicBezTo>
                <a:cubicBezTo>
                  <a:pt x="294" y="138"/>
                  <a:pt x="298" y="137"/>
                  <a:pt x="298" y="137"/>
                </a:cubicBezTo>
                <a:cubicBezTo>
                  <a:pt x="298" y="136"/>
                  <a:pt x="298" y="136"/>
                  <a:pt x="298" y="136"/>
                </a:cubicBezTo>
                <a:cubicBezTo>
                  <a:pt x="300" y="136"/>
                  <a:pt x="300" y="135"/>
                  <a:pt x="302" y="135"/>
                </a:cubicBezTo>
                <a:cubicBezTo>
                  <a:pt x="303" y="135"/>
                  <a:pt x="303" y="134"/>
                  <a:pt x="304" y="134"/>
                </a:cubicBezTo>
                <a:cubicBezTo>
                  <a:pt x="305" y="134"/>
                  <a:pt x="306" y="134"/>
                  <a:pt x="307" y="133"/>
                </a:cubicBezTo>
                <a:cubicBezTo>
                  <a:pt x="308" y="133"/>
                  <a:pt x="309" y="132"/>
                  <a:pt x="309" y="131"/>
                </a:cubicBezTo>
                <a:cubicBezTo>
                  <a:pt x="310" y="131"/>
                  <a:pt x="312" y="131"/>
                  <a:pt x="313" y="130"/>
                </a:cubicBezTo>
                <a:cubicBezTo>
                  <a:pt x="313" y="129"/>
                  <a:pt x="313" y="129"/>
                  <a:pt x="315" y="129"/>
                </a:cubicBezTo>
                <a:cubicBezTo>
                  <a:pt x="315" y="129"/>
                  <a:pt x="315" y="129"/>
                  <a:pt x="316" y="129"/>
                </a:cubicBezTo>
                <a:cubicBezTo>
                  <a:pt x="315" y="130"/>
                  <a:pt x="315" y="131"/>
                  <a:pt x="314" y="132"/>
                </a:cubicBezTo>
                <a:cubicBezTo>
                  <a:pt x="313" y="133"/>
                  <a:pt x="315" y="133"/>
                  <a:pt x="316" y="133"/>
                </a:cubicBezTo>
                <a:cubicBezTo>
                  <a:pt x="317" y="133"/>
                  <a:pt x="319" y="134"/>
                  <a:pt x="319" y="134"/>
                </a:cubicBezTo>
                <a:cubicBezTo>
                  <a:pt x="319" y="134"/>
                  <a:pt x="319" y="135"/>
                  <a:pt x="319" y="135"/>
                </a:cubicBezTo>
                <a:cubicBezTo>
                  <a:pt x="319" y="135"/>
                  <a:pt x="320" y="135"/>
                  <a:pt x="320" y="135"/>
                </a:cubicBezTo>
                <a:cubicBezTo>
                  <a:pt x="321" y="135"/>
                  <a:pt x="321" y="134"/>
                  <a:pt x="321" y="135"/>
                </a:cubicBezTo>
                <a:cubicBezTo>
                  <a:pt x="321" y="135"/>
                  <a:pt x="322" y="135"/>
                  <a:pt x="322" y="135"/>
                </a:cubicBezTo>
                <a:cubicBezTo>
                  <a:pt x="323" y="136"/>
                  <a:pt x="323" y="136"/>
                  <a:pt x="323" y="136"/>
                </a:cubicBezTo>
                <a:cubicBezTo>
                  <a:pt x="324" y="136"/>
                  <a:pt x="325" y="135"/>
                  <a:pt x="326" y="136"/>
                </a:cubicBezTo>
                <a:cubicBezTo>
                  <a:pt x="327" y="136"/>
                  <a:pt x="326" y="137"/>
                  <a:pt x="328" y="137"/>
                </a:cubicBezTo>
                <a:cubicBezTo>
                  <a:pt x="328" y="137"/>
                  <a:pt x="328" y="136"/>
                  <a:pt x="328" y="136"/>
                </a:cubicBezTo>
                <a:cubicBezTo>
                  <a:pt x="328" y="135"/>
                  <a:pt x="328" y="135"/>
                  <a:pt x="329" y="135"/>
                </a:cubicBezTo>
                <a:cubicBezTo>
                  <a:pt x="329" y="135"/>
                  <a:pt x="330" y="135"/>
                  <a:pt x="330" y="136"/>
                </a:cubicBezTo>
                <a:cubicBezTo>
                  <a:pt x="331" y="136"/>
                  <a:pt x="331" y="136"/>
                  <a:pt x="332" y="135"/>
                </a:cubicBezTo>
                <a:cubicBezTo>
                  <a:pt x="332" y="135"/>
                  <a:pt x="332" y="135"/>
                  <a:pt x="332" y="135"/>
                </a:cubicBezTo>
                <a:cubicBezTo>
                  <a:pt x="332" y="135"/>
                  <a:pt x="333" y="135"/>
                  <a:pt x="333" y="135"/>
                </a:cubicBezTo>
                <a:cubicBezTo>
                  <a:pt x="334" y="134"/>
                  <a:pt x="335" y="133"/>
                  <a:pt x="335" y="133"/>
                </a:cubicBezTo>
                <a:cubicBezTo>
                  <a:pt x="334" y="132"/>
                  <a:pt x="334" y="133"/>
                  <a:pt x="334" y="133"/>
                </a:cubicBezTo>
                <a:cubicBezTo>
                  <a:pt x="333" y="132"/>
                  <a:pt x="334" y="132"/>
                  <a:pt x="334" y="131"/>
                </a:cubicBezTo>
                <a:cubicBezTo>
                  <a:pt x="334" y="131"/>
                  <a:pt x="332" y="131"/>
                  <a:pt x="331" y="131"/>
                </a:cubicBezTo>
                <a:cubicBezTo>
                  <a:pt x="331" y="131"/>
                  <a:pt x="331" y="132"/>
                  <a:pt x="330" y="133"/>
                </a:cubicBezTo>
                <a:cubicBezTo>
                  <a:pt x="330" y="132"/>
                  <a:pt x="329" y="132"/>
                  <a:pt x="329" y="132"/>
                </a:cubicBezTo>
                <a:cubicBezTo>
                  <a:pt x="329" y="132"/>
                  <a:pt x="329" y="132"/>
                  <a:pt x="329" y="132"/>
                </a:cubicBezTo>
                <a:cubicBezTo>
                  <a:pt x="328" y="132"/>
                  <a:pt x="328" y="132"/>
                  <a:pt x="328" y="132"/>
                </a:cubicBezTo>
                <a:cubicBezTo>
                  <a:pt x="327" y="131"/>
                  <a:pt x="327" y="131"/>
                  <a:pt x="326" y="130"/>
                </a:cubicBezTo>
                <a:cubicBezTo>
                  <a:pt x="326" y="130"/>
                  <a:pt x="326" y="129"/>
                  <a:pt x="326" y="129"/>
                </a:cubicBezTo>
                <a:cubicBezTo>
                  <a:pt x="326" y="128"/>
                  <a:pt x="328" y="129"/>
                  <a:pt x="328" y="129"/>
                </a:cubicBezTo>
                <a:cubicBezTo>
                  <a:pt x="329" y="129"/>
                  <a:pt x="329" y="130"/>
                  <a:pt x="330" y="130"/>
                </a:cubicBezTo>
                <a:cubicBezTo>
                  <a:pt x="332" y="130"/>
                  <a:pt x="333" y="130"/>
                  <a:pt x="334" y="131"/>
                </a:cubicBezTo>
                <a:cubicBezTo>
                  <a:pt x="334" y="129"/>
                  <a:pt x="334" y="129"/>
                  <a:pt x="333" y="129"/>
                </a:cubicBezTo>
                <a:cubicBezTo>
                  <a:pt x="332" y="129"/>
                  <a:pt x="332" y="128"/>
                  <a:pt x="333" y="128"/>
                </a:cubicBezTo>
                <a:cubicBezTo>
                  <a:pt x="333" y="128"/>
                  <a:pt x="334" y="128"/>
                  <a:pt x="334" y="127"/>
                </a:cubicBezTo>
                <a:cubicBezTo>
                  <a:pt x="335" y="128"/>
                  <a:pt x="336" y="129"/>
                  <a:pt x="337" y="129"/>
                </a:cubicBezTo>
                <a:cubicBezTo>
                  <a:pt x="337" y="129"/>
                  <a:pt x="337" y="129"/>
                  <a:pt x="337" y="130"/>
                </a:cubicBezTo>
                <a:cubicBezTo>
                  <a:pt x="337" y="131"/>
                  <a:pt x="338" y="131"/>
                  <a:pt x="339" y="131"/>
                </a:cubicBezTo>
                <a:cubicBezTo>
                  <a:pt x="339" y="130"/>
                  <a:pt x="339" y="131"/>
                  <a:pt x="339" y="131"/>
                </a:cubicBezTo>
                <a:close/>
                <a:moveTo>
                  <a:pt x="1401" y="101"/>
                </a:moveTo>
                <a:cubicBezTo>
                  <a:pt x="1401" y="103"/>
                  <a:pt x="1401" y="103"/>
                  <a:pt x="1403" y="103"/>
                </a:cubicBezTo>
                <a:cubicBezTo>
                  <a:pt x="1403" y="103"/>
                  <a:pt x="1404" y="103"/>
                  <a:pt x="1405" y="103"/>
                </a:cubicBezTo>
                <a:cubicBezTo>
                  <a:pt x="1405" y="103"/>
                  <a:pt x="1406" y="104"/>
                  <a:pt x="1407" y="104"/>
                </a:cubicBezTo>
                <a:cubicBezTo>
                  <a:pt x="1407" y="105"/>
                  <a:pt x="1405" y="104"/>
                  <a:pt x="1405" y="105"/>
                </a:cubicBezTo>
                <a:cubicBezTo>
                  <a:pt x="1405" y="106"/>
                  <a:pt x="1406" y="107"/>
                  <a:pt x="1406" y="107"/>
                </a:cubicBezTo>
                <a:cubicBezTo>
                  <a:pt x="1407" y="106"/>
                  <a:pt x="1408" y="106"/>
                  <a:pt x="1408" y="106"/>
                </a:cubicBezTo>
                <a:cubicBezTo>
                  <a:pt x="1408" y="105"/>
                  <a:pt x="1408" y="105"/>
                  <a:pt x="1408" y="105"/>
                </a:cubicBezTo>
                <a:cubicBezTo>
                  <a:pt x="1409" y="105"/>
                  <a:pt x="1409" y="105"/>
                  <a:pt x="1410" y="104"/>
                </a:cubicBezTo>
                <a:cubicBezTo>
                  <a:pt x="1410" y="104"/>
                  <a:pt x="1411" y="104"/>
                  <a:pt x="1411" y="104"/>
                </a:cubicBezTo>
                <a:cubicBezTo>
                  <a:pt x="1412" y="104"/>
                  <a:pt x="1411" y="104"/>
                  <a:pt x="1411" y="104"/>
                </a:cubicBezTo>
                <a:cubicBezTo>
                  <a:pt x="1412" y="103"/>
                  <a:pt x="1412" y="103"/>
                  <a:pt x="1413" y="103"/>
                </a:cubicBezTo>
                <a:cubicBezTo>
                  <a:pt x="1415" y="103"/>
                  <a:pt x="1413" y="103"/>
                  <a:pt x="1414" y="103"/>
                </a:cubicBezTo>
                <a:cubicBezTo>
                  <a:pt x="1414" y="102"/>
                  <a:pt x="1414" y="102"/>
                  <a:pt x="1414" y="102"/>
                </a:cubicBezTo>
                <a:cubicBezTo>
                  <a:pt x="1415" y="102"/>
                  <a:pt x="1416" y="101"/>
                  <a:pt x="1416" y="100"/>
                </a:cubicBezTo>
                <a:cubicBezTo>
                  <a:pt x="1416" y="100"/>
                  <a:pt x="1416" y="99"/>
                  <a:pt x="1416" y="99"/>
                </a:cubicBezTo>
                <a:cubicBezTo>
                  <a:pt x="1416" y="99"/>
                  <a:pt x="1414" y="99"/>
                  <a:pt x="1413" y="99"/>
                </a:cubicBezTo>
                <a:cubicBezTo>
                  <a:pt x="1413" y="99"/>
                  <a:pt x="1412" y="98"/>
                  <a:pt x="1412" y="98"/>
                </a:cubicBezTo>
                <a:cubicBezTo>
                  <a:pt x="1412" y="97"/>
                  <a:pt x="1411" y="97"/>
                  <a:pt x="1410" y="97"/>
                </a:cubicBezTo>
                <a:cubicBezTo>
                  <a:pt x="1410" y="97"/>
                  <a:pt x="1409" y="97"/>
                  <a:pt x="1409" y="96"/>
                </a:cubicBezTo>
                <a:cubicBezTo>
                  <a:pt x="1409" y="96"/>
                  <a:pt x="1409" y="96"/>
                  <a:pt x="1408" y="96"/>
                </a:cubicBezTo>
                <a:cubicBezTo>
                  <a:pt x="1408" y="95"/>
                  <a:pt x="1408" y="95"/>
                  <a:pt x="1408" y="95"/>
                </a:cubicBezTo>
                <a:cubicBezTo>
                  <a:pt x="1407" y="95"/>
                  <a:pt x="1407" y="95"/>
                  <a:pt x="1406" y="95"/>
                </a:cubicBezTo>
                <a:cubicBezTo>
                  <a:pt x="1405" y="95"/>
                  <a:pt x="1403" y="96"/>
                  <a:pt x="1401" y="96"/>
                </a:cubicBezTo>
                <a:cubicBezTo>
                  <a:pt x="1401" y="96"/>
                  <a:pt x="1400" y="97"/>
                  <a:pt x="1400" y="97"/>
                </a:cubicBezTo>
                <a:cubicBezTo>
                  <a:pt x="1399" y="98"/>
                  <a:pt x="1400" y="98"/>
                  <a:pt x="1399" y="98"/>
                </a:cubicBezTo>
                <a:cubicBezTo>
                  <a:pt x="1399" y="99"/>
                  <a:pt x="1399" y="100"/>
                  <a:pt x="1399" y="100"/>
                </a:cubicBezTo>
                <a:cubicBezTo>
                  <a:pt x="1399" y="100"/>
                  <a:pt x="1399" y="100"/>
                  <a:pt x="1399" y="100"/>
                </a:cubicBezTo>
                <a:cubicBezTo>
                  <a:pt x="1399" y="101"/>
                  <a:pt x="1400" y="101"/>
                  <a:pt x="1401" y="101"/>
                </a:cubicBezTo>
                <a:close/>
                <a:moveTo>
                  <a:pt x="1481" y="99"/>
                </a:moveTo>
                <a:cubicBezTo>
                  <a:pt x="1481" y="101"/>
                  <a:pt x="1482" y="100"/>
                  <a:pt x="1484" y="100"/>
                </a:cubicBezTo>
                <a:cubicBezTo>
                  <a:pt x="1484" y="100"/>
                  <a:pt x="1484" y="100"/>
                  <a:pt x="1484" y="100"/>
                </a:cubicBezTo>
                <a:cubicBezTo>
                  <a:pt x="1484" y="101"/>
                  <a:pt x="1485" y="101"/>
                  <a:pt x="1486" y="101"/>
                </a:cubicBezTo>
                <a:cubicBezTo>
                  <a:pt x="1487" y="101"/>
                  <a:pt x="1488" y="101"/>
                  <a:pt x="1489" y="100"/>
                </a:cubicBezTo>
                <a:cubicBezTo>
                  <a:pt x="1489" y="101"/>
                  <a:pt x="1490" y="101"/>
                  <a:pt x="1490" y="101"/>
                </a:cubicBezTo>
                <a:cubicBezTo>
                  <a:pt x="1491" y="101"/>
                  <a:pt x="1490" y="101"/>
                  <a:pt x="1491" y="101"/>
                </a:cubicBezTo>
                <a:cubicBezTo>
                  <a:pt x="1491" y="101"/>
                  <a:pt x="1492" y="101"/>
                  <a:pt x="1492" y="101"/>
                </a:cubicBezTo>
                <a:cubicBezTo>
                  <a:pt x="1492" y="101"/>
                  <a:pt x="1492" y="102"/>
                  <a:pt x="1493" y="102"/>
                </a:cubicBezTo>
                <a:cubicBezTo>
                  <a:pt x="1494" y="102"/>
                  <a:pt x="1494" y="102"/>
                  <a:pt x="1495" y="102"/>
                </a:cubicBezTo>
                <a:cubicBezTo>
                  <a:pt x="1496" y="102"/>
                  <a:pt x="1496" y="102"/>
                  <a:pt x="1496" y="102"/>
                </a:cubicBezTo>
                <a:cubicBezTo>
                  <a:pt x="1497" y="102"/>
                  <a:pt x="1498" y="102"/>
                  <a:pt x="1498" y="102"/>
                </a:cubicBezTo>
                <a:cubicBezTo>
                  <a:pt x="1498" y="101"/>
                  <a:pt x="1498" y="101"/>
                  <a:pt x="1498" y="100"/>
                </a:cubicBezTo>
                <a:cubicBezTo>
                  <a:pt x="1498" y="100"/>
                  <a:pt x="1498" y="100"/>
                  <a:pt x="1498" y="100"/>
                </a:cubicBezTo>
                <a:cubicBezTo>
                  <a:pt x="1498" y="100"/>
                  <a:pt x="1498" y="99"/>
                  <a:pt x="1498" y="98"/>
                </a:cubicBezTo>
                <a:cubicBezTo>
                  <a:pt x="1498" y="98"/>
                  <a:pt x="1497" y="98"/>
                  <a:pt x="1496" y="97"/>
                </a:cubicBezTo>
                <a:cubicBezTo>
                  <a:pt x="1496" y="97"/>
                  <a:pt x="1497" y="97"/>
                  <a:pt x="1496" y="97"/>
                </a:cubicBezTo>
                <a:cubicBezTo>
                  <a:pt x="1495" y="97"/>
                  <a:pt x="1495" y="96"/>
                  <a:pt x="1494" y="95"/>
                </a:cubicBezTo>
                <a:cubicBezTo>
                  <a:pt x="1494" y="95"/>
                  <a:pt x="1494" y="96"/>
                  <a:pt x="1493" y="95"/>
                </a:cubicBezTo>
                <a:cubicBezTo>
                  <a:pt x="1493" y="94"/>
                  <a:pt x="1492" y="94"/>
                  <a:pt x="1491" y="94"/>
                </a:cubicBezTo>
                <a:cubicBezTo>
                  <a:pt x="1490" y="94"/>
                  <a:pt x="1491" y="94"/>
                  <a:pt x="1490" y="94"/>
                </a:cubicBezTo>
                <a:cubicBezTo>
                  <a:pt x="1489" y="94"/>
                  <a:pt x="1489" y="94"/>
                  <a:pt x="1489" y="94"/>
                </a:cubicBezTo>
                <a:cubicBezTo>
                  <a:pt x="1488" y="95"/>
                  <a:pt x="1488" y="95"/>
                  <a:pt x="1488" y="95"/>
                </a:cubicBezTo>
                <a:cubicBezTo>
                  <a:pt x="1487" y="95"/>
                  <a:pt x="1487" y="95"/>
                  <a:pt x="1487" y="95"/>
                </a:cubicBezTo>
                <a:cubicBezTo>
                  <a:pt x="1487" y="95"/>
                  <a:pt x="1487" y="95"/>
                  <a:pt x="1487" y="95"/>
                </a:cubicBezTo>
                <a:cubicBezTo>
                  <a:pt x="1487" y="95"/>
                  <a:pt x="1486" y="95"/>
                  <a:pt x="1486" y="95"/>
                </a:cubicBezTo>
                <a:cubicBezTo>
                  <a:pt x="1486" y="96"/>
                  <a:pt x="1486" y="96"/>
                  <a:pt x="1485" y="96"/>
                </a:cubicBezTo>
                <a:cubicBezTo>
                  <a:pt x="1485" y="96"/>
                  <a:pt x="1485" y="96"/>
                  <a:pt x="1485" y="97"/>
                </a:cubicBezTo>
                <a:cubicBezTo>
                  <a:pt x="1484" y="97"/>
                  <a:pt x="1484" y="98"/>
                  <a:pt x="1483" y="98"/>
                </a:cubicBezTo>
                <a:cubicBezTo>
                  <a:pt x="1483" y="99"/>
                  <a:pt x="1482" y="99"/>
                  <a:pt x="1481" y="99"/>
                </a:cubicBezTo>
                <a:cubicBezTo>
                  <a:pt x="1481" y="100"/>
                  <a:pt x="1481" y="99"/>
                  <a:pt x="1481" y="99"/>
                </a:cubicBezTo>
                <a:close/>
                <a:moveTo>
                  <a:pt x="480" y="167"/>
                </a:moveTo>
                <a:cubicBezTo>
                  <a:pt x="479" y="168"/>
                  <a:pt x="481" y="168"/>
                  <a:pt x="481" y="167"/>
                </a:cubicBezTo>
                <a:cubicBezTo>
                  <a:pt x="482" y="167"/>
                  <a:pt x="482" y="167"/>
                  <a:pt x="483" y="168"/>
                </a:cubicBezTo>
                <a:cubicBezTo>
                  <a:pt x="483" y="169"/>
                  <a:pt x="483" y="170"/>
                  <a:pt x="483" y="170"/>
                </a:cubicBezTo>
                <a:cubicBezTo>
                  <a:pt x="483" y="171"/>
                  <a:pt x="484" y="173"/>
                  <a:pt x="484" y="174"/>
                </a:cubicBezTo>
                <a:cubicBezTo>
                  <a:pt x="483" y="174"/>
                  <a:pt x="482" y="174"/>
                  <a:pt x="482" y="174"/>
                </a:cubicBezTo>
                <a:cubicBezTo>
                  <a:pt x="482" y="173"/>
                  <a:pt x="483" y="173"/>
                  <a:pt x="482" y="173"/>
                </a:cubicBezTo>
                <a:cubicBezTo>
                  <a:pt x="481" y="173"/>
                  <a:pt x="481" y="174"/>
                  <a:pt x="480" y="174"/>
                </a:cubicBezTo>
                <a:cubicBezTo>
                  <a:pt x="479" y="174"/>
                  <a:pt x="480" y="174"/>
                  <a:pt x="480" y="173"/>
                </a:cubicBezTo>
                <a:cubicBezTo>
                  <a:pt x="480" y="173"/>
                  <a:pt x="479" y="173"/>
                  <a:pt x="479" y="173"/>
                </a:cubicBezTo>
                <a:cubicBezTo>
                  <a:pt x="478" y="173"/>
                  <a:pt x="478" y="173"/>
                  <a:pt x="478" y="173"/>
                </a:cubicBezTo>
                <a:cubicBezTo>
                  <a:pt x="478" y="173"/>
                  <a:pt x="478" y="173"/>
                  <a:pt x="478" y="173"/>
                </a:cubicBezTo>
                <a:cubicBezTo>
                  <a:pt x="478" y="173"/>
                  <a:pt x="477" y="173"/>
                  <a:pt x="477" y="173"/>
                </a:cubicBezTo>
                <a:cubicBezTo>
                  <a:pt x="477" y="172"/>
                  <a:pt x="477" y="172"/>
                  <a:pt x="478" y="172"/>
                </a:cubicBezTo>
                <a:cubicBezTo>
                  <a:pt x="479" y="171"/>
                  <a:pt x="479" y="171"/>
                  <a:pt x="479" y="170"/>
                </a:cubicBezTo>
                <a:cubicBezTo>
                  <a:pt x="478" y="169"/>
                  <a:pt x="478" y="169"/>
                  <a:pt x="477" y="169"/>
                </a:cubicBezTo>
                <a:cubicBezTo>
                  <a:pt x="477" y="168"/>
                  <a:pt x="478" y="168"/>
                  <a:pt x="478" y="167"/>
                </a:cubicBezTo>
                <a:cubicBezTo>
                  <a:pt x="477" y="167"/>
                  <a:pt x="478" y="167"/>
                  <a:pt x="477" y="167"/>
                </a:cubicBezTo>
                <a:cubicBezTo>
                  <a:pt x="478" y="167"/>
                  <a:pt x="479" y="167"/>
                  <a:pt x="480" y="167"/>
                </a:cubicBezTo>
                <a:close/>
                <a:moveTo>
                  <a:pt x="480" y="152"/>
                </a:moveTo>
                <a:cubicBezTo>
                  <a:pt x="481" y="152"/>
                  <a:pt x="480" y="151"/>
                  <a:pt x="480" y="151"/>
                </a:cubicBezTo>
                <a:cubicBezTo>
                  <a:pt x="480" y="150"/>
                  <a:pt x="480" y="150"/>
                  <a:pt x="481" y="150"/>
                </a:cubicBezTo>
                <a:cubicBezTo>
                  <a:pt x="481" y="150"/>
                  <a:pt x="482" y="150"/>
                  <a:pt x="482" y="151"/>
                </a:cubicBezTo>
                <a:cubicBezTo>
                  <a:pt x="482" y="151"/>
                  <a:pt x="483" y="152"/>
                  <a:pt x="484" y="153"/>
                </a:cubicBezTo>
                <a:cubicBezTo>
                  <a:pt x="484" y="153"/>
                  <a:pt x="484" y="153"/>
                  <a:pt x="484" y="153"/>
                </a:cubicBezTo>
                <a:cubicBezTo>
                  <a:pt x="484" y="153"/>
                  <a:pt x="484" y="153"/>
                  <a:pt x="485" y="153"/>
                </a:cubicBezTo>
                <a:cubicBezTo>
                  <a:pt x="485" y="153"/>
                  <a:pt x="485" y="153"/>
                  <a:pt x="486" y="153"/>
                </a:cubicBezTo>
                <a:cubicBezTo>
                  <a:pt x="486" y="153"/>
                  <a:pt x="486" y="153"/>
                  <a:pt x="487" y="154"/>
                </a:cubicBezTo>
                <a:cubicBezTo>
                  <a:pt x="487" y="154"/>
                  <a:pt x="488" y="154"/>
                  <a:pt x="489" y="154"/>
                </a:cubicBezTo>
                <a:cubicBezTo>
                  <a:pt x="489" y="154"/>
                  <a:pt x="489" y="154"/>
                  <a:pt x="490" y="154"/>
                </a:cubicBezTo>
                <a:cubicBezTo>
                  <a:pt x="490" y="154"/>
                  <a:pt x="490" y="155"/>
                  <a:pt x="490" y="155"/>
                </a:cubicBezTo>
                <a:cubicBezTo>
                  <a:pt x="490" y="156"/>
                  <a:pt x="491" y="155"/>
                  <a:pt x="491" y="155"/>
                </a:cubicBezTo>
                <a:cubicBezTo>
                  <a:pt x="491" y="156"/>
                  <a:pt x="491" y="156"/>
                  <a:pt x="491" y="156"/>
                </a:cubicBezTo>
                <a:cubicBezTo>
                  <a:pt x="492" y="156"/>
                  <a:pt x="492" y="157"/>
                  <a:pt x="491" y="157"/>
                </a:cubicBezTo>
                <a:cubicBezTo>
                  <a:pt x="491" y="158"/>
                  <a:pt x="491" y="158"/>
                  <a:pt x="490" y="158"/>
                </a:cubicBezTo>
                <a:cubicBezTo>
                  <a:pt x="489" y="158"/>
                  <a:pt x="489" y="157"/>
                  <a:pt x="488" y="157"/>
                </a:cubicBezTo>
                <a:cubicBezTo>
                  <a:pt x="488" y="158"/>
                  <a:pt x="488" y="158"/>
                  <a:pt x="487" y="158"/>
                </a:cubicBezTo>
                <a:cubicBezTo>
                  <a:pt x="487" y="158"/>
                  <a:pt x="487" y="158"/>
                  <a:pt x="487" y="159"/>
                </a:cubicBezTo>
                <a:cubicBezTo>
                  <a:pt x="487" y="159"/>
                  <a:pt x="486" y="158"/>
                  <a:pt x="486" y="158"/>
                </a:cubicBezTo>
                <a:cubicBezTo>
                  <a:pt x="485" y="158"/>
                  <a:pt x="485" y="158"/>
                  <a:pt x="484" y="159"/>
                </a:cubicBezTo>
                <a:cubicBezTo>
                  <a:pt x="483" y="160"/>
                  <a:pt x="483" y="161"/>
                  <a:pt x="482" y="160"/>
                </a:cubicBezTo>
                <a:cubicBezTo>
                  <a:pt x="482" y="160"/>
                  <a:pt x="482" y="159"/>
                  <a:pt x="481" y="159"/>
                </a:cubicBezTo>
                <a:cubicBezTo>
                  <a:pt x="481" y="159"/>
                  <a:pt x="481" y="158"/>
                  <a:pt x="481" y="157"/>
                </a:cubicBezTo>
                <a:cubicBezTo>
                  <a:pt x="481" y="157"/>
                  <a:pt x="481" y="157"/>
                  <a:pt x="481" y="157"/>
                </a:cubicBezTo>
                <a:cubicBezTo>
                  <a:pt x="481" y="156"/>
                  <a:pt x="481" y="157"/>
                  <a:pt x="481" y="156"/>
                </a:cubicBezTo>
                <a:cubicBezTo>
                  <a:pt x="480" y="155"/>
                  <a:pt x="479" y="154"/>
                  <a:pt x="480" y="152"/>
                </a:cubicBezTo>
                <a:close/>
                <a:moveTo>
                  <a:pt x="482" y="121"/>
                </a:moveTo>
                <a:cubicBezTo>
                  <a:pt x="482" y="121"/>
                  <a:pt x="483" y="121"/>
                  <a:pt x="484" y="122"/>
                </a:cubicBezTo>
                <a:cubicBezTo>
                  <a:pt x="483" y="123"/>
                  <a:pt x="483" y="123"/>
                  <a:pt x="482" y="123"/>
                </a:cubicBezTo>
                <a:cubicBezTo>
                  <a:pt x="482" y="123"/>
                  <a:pt x="482" y="122"/>
                  <a:pt x="482" y="121"/>
                </a:cubicBezTo>
                <a:cubicBezTo>
                  <a:pt x="482" y="121"/>
                  <a:pt x="482" y="121"/>
                  <a:pt x="482" y="121"/>
                </a:cubicBezTo>
                <a:close/>
                <a:moveTo>
                  <a:pt x="485" y="125"/>
                </a:moveTo>
                <a:cubicBezTo>
                  <a:pt x="486" y="125"/>
                  <a:pt x="486" y="124"/>
                  <a:pt x="486" y="125"/>
                </a:cubicBezTo>
                <a:cubicBezTo>
                  <a:pt x="486" y="126"/>
                  <a:pt x="486" y="126"/>
                  <a:pt x="485" y="126"/>
                </a:cubicBezTo>
                <a:cubicBezTo>
                  <a:pt x="485" y="125"/>
                  <a:pt x="485" y="125"/>
                  <a:pt x="485" y="125"/>
                </a:cubicBezTo>
                <a:cubicBezTo>
                  <a:pt x="486" y="125"/>
                  <a:pt x="485" y="125"/>
                  <a:pt x="485" y="125"/>
                </a:cubicBezTo>
                <a:close/>
                <a:moveTo>
                  <a:pt x="489" y="127"/>
                </a:moveTo>
                <a:cubicBezTo>
                  <a:pt x="490" y="129"/>
                  <a:pt x="490" y="128"/>
                  <a:pt x="488" y="128"/>
                </a:cubicBezTo>
                <a:cubicBezTo>
                  <a:pt x="488" y="128"/>
                  <a:pt x="488" y="128"/>
                  <a:pt x="488" y="128"/>
                </a:cubicBezTo>
                <a:cubicBezTo>
                  <a:pt x="487" y="128"/>
                  <a:pt x="487" y="128"/>
                  <a:pt x="486" y="128"/>
                </a:cubicBezTo>
                <a:cubicBezTo>
                  <a:pt x="487" y="127"/>
                  <a:pt x="488" y="127"/>
                  <a:pt x="489" y="127"/>
                </a:cubicBezTo>
                <a:cubicBezTo>
                  <a:pt x="490" y="128"/>
                  <a:pt x="489" y="127"/>
                  <a:pt x="489" y="127"/>
                </a:cubicBezTo>
                <a:close/>
                <a:moveTo>
                  <a:pt x="506" y="174"/>
                </a:moveTo>
                <a:cubicBezTo>
                  <a:pt x="506" y="174"/>
                  <a:pt x="506" y="174"/>
                  <a:pt x="506" y="175"/>
                </a:cubicBezTo>
                <a:cubicBezTo>
                  <a:pt x="506" y="174"/>
                  <a:pt x="505" y="174"/>
                  <a:pt x="505" y="173"/>
                </a:cubicBezTo>
                <a:cubicBezTo>
                  <a:pt x="505" y="174"/>
                  <a:pt x="506" y="174"/>
                  <a:pt x="506" y="174"/>
                </a:cubicBezTo>
                <a:close/>
                <a:moveTo>
                  <a:pt x="476" y="120"/>
                </a:moveTo>
                <a:cubicBezTo>
                  <a:pt x="476" y="120"/>
                  <a:pt x="476" y="120"/>
                  <a:pt x="476" y="120"/>
                </a:cubicBezTo>
                <a:cubicBezTo>
                  <a:pt x="476" y="119"/>
                  <a:pt x="476" y="119"/>
                  <a:pt x="476" y="120"/>
                </a:cubicBezTo>
                <a:close/>
                <a:moveTo>
                  <a:pt x="444" y="110"/>
                </a:moveTo>
                <a:cubicBezTo>
                  <a:pt x="444" y="110"/>
                  <a:pt x="444" y="110"/>
                  <a:pt x="444" y="111"/>
                </a:cubicBezTo>
                <a:cubicBezTo>
                  <a:pt x="444" y="110"/>
                  <a:pt x="444" y="110"/>
                  <a:pt x="444" y="110"/>
                </a:cubicBezTo>
                <a:cubicBezTo>
                  <a:pt x="444" y="110"/>
                  <a:pt x="444" y="110"/>
                  <a:pt x="444" y="110"/>
                </a:cubicBezTo>
                <a:close/>
                <a:moveTo>
                  <a:pt x="478" y="117"/>
                </a:moveTo>
                <a:cubicBezTo>
                  <a:pt x="478" y="117"/>
                  <a:pt x="479" y="117"/>
                  <a:pt x="480" y="117"/>
                </a:cubicBezTo>
                <a:cubicBezTo>
                  <a:pt x="481" y="116"/>
                  <a:pt x="479" y="115"/>
                  <a:pt x="478" y="115"/>
                </a:cubicBezTo>
                <a:cubicBezTo>
                  <a:pt x="478" y="115"/>
                  <a:pt x="478" y="116"/>
                  <a:pt x="478" y="116"/>
                </a:cubicBezTo>
                <a:cubicBezTo>
                  <a:pt x="477" y="115"/>
                  <a:pt x="477" y="114"/>
                  <a:pt x="476" y="113"/>
                </a:cubicBezTo>
                <a:cubicBezTo>
                  <a:pt x="476" y="113"/>
                  <a:pt x="475" y="113"/>
                  <a:pt x="474" y="113"/>
                </a:cubicBezTo>
                <a:cubicBezTo>
                  <a:pt x="474" y="114"/>
                  <a:pt x="474" y="114"/>
                  <a:pt x="473" y="114"/>
                </a:cubicBezTo>
                <a:cubicBezTo>
                  <a:pt x="473" y="115"/>
                  <a:pt x="474" y="116"/>
                  <a:pt x="474" y="116"/>
                </a:cubicBezTo>
                <a:cubicBezTo>
                  <a:pt x="474" y="116"/>
                  <a:pt x="473" y="117"/>
                  <a:pt x="473" y="117"/>
                </a:cubicBezTo>
                <a:cubicBezTo>
                  <a:pt x="473" y="117"/>
                  <a:pt x="473" y="116"/>
                  <a:pt x="473" y="116"/>
                </a:cubicBezTo>
                <a:cubicBezTo>
                  <a:pt x="473" y="115"/>
                  <a:pt x="472" y="115"/>
                  <a:pt x="472" y="115"/>
                </a:cubicBezTo>
                <a:cubicBezTo>
                  <a:pt x="472" y="116"/>
                  <a:pt x="471" y="115"/>
                  <a:pt x="471" y="116"/>
                </a:cubicBezTo>
                <a:cubicBezTo>
                  <a:pt x="471" y="116"/>
                  <a:pt x="471" y="117"/>
                  <a:pt x="471" y="116"/>
                </a:cubicBezTo>
                <a:cubicBezTo>
                  <a:pt x="470" y="116"/>
                  <a:pt x="472" y="114"/>
                  <a:pt x="470" y="114"/>
                </a:cubicBezTo>
                <a:cubicBezTo>
                  <a:pt x="470" y="114"/>
                  <a:pt x="470" y="113"/>
                  <a:pt x="470" y="113"/>
                </a:cubicBezTo>
                <a:cubicBezTo>
                  <a:pt x="469" y="113"/>
                  <a:pt x="469" y="113"/>
                  <a:pt x="469" y="114"/>
                </a:cubicBezTo>
                <a:cubicBezTo>
                  <a:pt x="469" y="114"/>
                  <a:pt x="468" y="115"/>
                  <a:pt x="468" y="116"/>
                </a:cubicBezTo>
                <a:cubicBezTo>
                  <a:pt x="467" y="116"/>
                  <a:pt x="467" y="115"/>
                  <a:pt x="466" y="115"/>
                </a:cubicBezTo>
                <a:cubicBezTo>
                  <a:pt x="467" y="115"/>
                  <a:pt x="467" y="114"/>
                  <a:pt x="467" y="114"/>
                </a:cubicBezTo>
                <a:cubicBezTo>
                  <a:pt x="467" y="114"/>
                  <a:pt x="466" y="114"/>
                  <a:pt x="466" y="114"/>
                </a:cubicBezTo>
                <a:cubicBezTo>
                  <a:pt x="465" y="113"/>
                  <a:pt x="466" y="113"/>
                  <a:pt x="465" y="113"/>
                </a:cubicBezTo>
                <a:cubicBezTo>
                  <a:pt x="466" y="112"/>
                  <a:pt x="468" y="112"/>
                  <a:pt x="468" y="111"/>
                </a:cubicBezTo>
                <a:cubicBezTo>
                  <a:pt x="468" y="111"/>
                  <a:pt x="468" y="110"/>
                  <a:pt x="468" y="109"/>
                </a:cubicBezTo>
                <a:cubicBezTo>
                  <a:pt x="468" y="109"/>
                  <a:pt x="467" y="108"/>
                  <a:pt x="467" y="108"/>
                </a:cubicBezTo>
                <a:cubicBezTo>
                  <a:pt x="467" y="108"/>
                  <a:pt x="466" y="108"/>
                  <a:pt x="465" y="108"/>
                </a:cubicBezTo>
                <a:cubicBezTo>
                  <a:pt x="465" y="108"/>
                  <a:pt x="465" y="107"/>
                  <a:pt x="465" y="108"/>
                </a:cubicBezTo>
                <a:cubicBezTo>
                  <a:pt x="465" y="107"/>
                  <a:pt x="466" y="107"/>
                  <a:pt x="466" y="107"/>
                </a:cubicBezTo>
                <a:cubicBezTo>
                  <a:pt x="466" y="107"/>
                  <a:pt x="466" y="106"/>
                  <a:pt x="466" y="105"/>
                </a:cubicBezTo>
                <a:cubicBezTo>
                  <a:pt x="466" y="105"/>
                  <a:pt x="465" y="106"/>
                  <a:pt x="465" y="105"/>
                </a:cubicBezTo>
                <a:cubicBezTo>
                  <a:pt x="465" y="104"/>
                  <a:pt x="465" y="104"/>
                  <a:pt x="464" y="104"/>
                </a:cubicBezTo>
                <a:cubicBezTo>
                  <a:pt x="464" y="104"/>
                  <a:pt x="464" y="104"/>
                  <a:pt x="464" y="104"/>
                </a:cubicBezTo>
                <a:cubicBezTo>
                  <a:pt x="464" y="104"/>
                  <a:pt x="463" y="104"/>
                  <a:pt x="463" y="104"/>
                </a:cubicBezTo>
                <a:cubicBezTo>
                  <a:pt x="462" y="104"/>
                  <a:pt x="462" y="104"/>
                  <a:pt x="462" y="104"/>
                </a:cubicBezTo>
                <a:cubicBezTo>
                  <a:pt x="461" y="104"/>
                  <a:pt x="460" y="104"/>
                  <a:pt x="460" y="105"/>
                </a:cubicBezTo>
                <a:cubicBezTo>
                  <a:pt x="459" y="105"/>
                  <a:pt x="458" y="105"/>
                  <a:pt x="458" y="105"/>
                </a:cubicBezTo>
                <a:cubicBezTo>
                  <a:pt x="458" y="104"/>
                  <a:pt x="457" y="105"/>
                  <a:pt x="457" y="104"/>
                </a:cubicBezTo>
                <a:cubicBezTo>
                  <a:pt x="457" y="104"/>
                  <a:pt x="455" y="104"/>
                  <a:pt x="454" y="104"/>
                </a:cubicBezTo>
                <a:cubicBezTo>
                  <a:pt x="454" y="104"/>
                  <a:pt x="454" y="103"/>
                  <a:pt x="454" y="103"/>
                </a:cubicBezTo>
                <a:cubicBezTo>
                  <a:pt x="453" y="103"/>
                  <a:pt x="452" y="103"/>
                  <a:pt x="451" y="103"/>
                </a:cubicBezTo>
                <a:cubicBezTo>
                  <a:pt x="451" y="102"/>
                  <a:pt x="450" y="102"/>
                  <a:pt x="449" y="102"/>
                </a:cubicBezTo>
                <a:cubicBezTo>
                  <a:pt x="448" y="102"/>
                  <a:pt x="447" y="102"/>
                  <a:pt x="446" y="101"/>
                </a:cubicBezTo>
                <a:cubicBezTo>
                  <a:pt x="446" y="102"/>
                  <a:pt x="442" y="102"/>
                  <a:pt x="443" y="104"/>
                </a:cubicBezTo>
                <a:cubicBezTo>
                  <a:pt x="444" y="104"/>
                  <a:pt x="444" y="104"/>
                  <a:pt x="444" y="104"/>
                </a:cubicBezTo>
                <a:cubicBezTo>
                  <a:pt x="445" y="104"/>
                  <a:pt x="446" y="105"/>
                  <a:pt x="446" y="105"/>
                </a:cubicBezTo>
                <a:cubicBezTo>
                  <a:pt x="447" y="105"/>
                  <a:pt x="447" y="105"/>
                  <a:pt x="448" y="106"/>
                </a:cubicBezTo>
                <a:cubicBezTo>
                  <a:pt x="448" y="106"/>
                  <a:pt x="450" y="107"/>
                  <a:pt x="450" y="107"/>
                </a:cubicBezTo>
                <a:cubicBezTo>
                  <a:pt x="449" y="108"/>
                  <a:pt x="449" y="107"/>
                  <a:pt x="448" y="107"/>
                </a:cubicBezTo>
                <a:cubicBezTo>
                  <a:pt x="448" y="107"/>
                  <a:pt x="449" y="107"/>
                  <a:pt x="448" y="107"/>
                </a:cubicBezTo>
                <a:cubicBezTo>
                  <a:pt x="447" y="107"/>
                  <a:pt x="446" y="107"/>
                  <a:pt x="446" y="107"/>
                </a:cubicBezTo>
                <a:cubicBezTo>
                  <a:pt x="444" y="106"/>
                  <a:pt x="444" y="105"/>
                  <a:pt x="443" y="106"/>
                </a:cubicBezTo>
                <a:cubicBezTo>
                  <a:pt x="443" y="107"/>
                  <a:pt x="443" y="108"/>
                  <a:pt x="444" y="109"/>
                </a:cubicBezTo>
                <a:cubicBezTo>
                  <a:pt x="443" y="109"/>
                  <a:pt x="443" y="108"/>
                  <a:pt x="442" y="108"/>
                </a:cubicBezTo>
                <a:cubicBezTo>
                  <a:pt x="442" y="109"/>
                  <a:pt x="442" y="109"/>
                  <a:pt x="441" y="109"/>
                </a:cubicBezTo>
                <a:cubicBezTo>
                  <a:pt x="441" y="110"/>
                  <a:pt x="441" y="110"/>
                  <a:pt x="442" y="110"/>
                </a:cubicBezTo>
                <a:cubicBezTo>
                  <a:pt x="442" y="111"/>
                  <a:pt x="442" y="111"/>
                  <a:pt x="442" y="112"/>
                </a:cubicBezTo>
                <a:cubicBezTo>
                  <a:pt x="441" y="111"/>
                  <a:pt x="440" y="111"/>
                  <a:pt x="440" y="110"/>
                </a:cubicBezTo>
                <a:cubicBezTo>
                  <a:pt x="440" y="109"/>
                  <a:pt x="441" y="110"/>
                  <a:pt x="441" y="109"/>
                </a:cubicBezTo>
                <a:cubicBezTo>
                  <a:pt x="441" y="108"/>
                  <a:pt x="441" y="107"/>
                  <a:pt x="441" y="106"/>
                </a:cubicBezTo>
                <a:cubicBezTo>
                  <a:pt x="441" y="106"/>
                  <a:pt x="441" y="106"/>
                  <a:pt x="441" y="106"/>
                </a:cubicBezTo>
                <a:cubicBezTo>
                  <a:pt x="440" y="106"/>
                  <a:pt x="439" y="107"/>
                  <a:pt x="437" y="107"/>
                </a:cubicBezTo>
                <a:cubicBezTo>
                  <a:pt x="437" y="107"/>
                  <a:pt x="437" y="107"/>
                  <a:pt x="437" y="106"/>
                </a:cubicBezTo>
                <a:cubicBezTo>
                  <a:pt x="438" y="107"/>
                  <a:pt x="438" y="106"/>
                  <a:pt x="437" y="106"/>
                </a:cubicBezTo>
                <a:cubicBezTo>
                  <a:pt x="437" y="105"/>
                  <a:pt x="436" y="105"/>
                  <a:pt x="436" y="106"/>
                </a:cubicBezTo>
                <a:cubicBezTo>
                  <a:pt x="435" y="106"/>
                  <a:pt x="436" y="106"/>
                  <a:pt x="435" y="106"/>
                </a:cubicBezTo>
                <a:cubicBezTo>
                  <a:pt x="435" y="106"/>
                  <a:pt x="435" y="106"/>
                  <a:pt x="435" y="106"/>
                </a:cubicBezTo>
                <a:cubicBezTo>
                  <a:pt x="435" y="107"/>
                  <a:pt x="434" y="106"/>
                  <a:pt x="434" y="107"/>
                </a:cubicBezTo>
                <a:cubicBezTo>
                  <a:pt x="434" y="108"/>
                  <a:pt x="433" y="108"/>
                  <a:pt x="432" y="108"/>
                </a:cubicBezTo>
                <a:cubicBezTo>
                  <a:pt x="433" y="108"/>
                  <a:pt x="433" y="109"/>
                  <a:pt x="433" y="109"/>
                </a:cubicBezTo>
                <a:cubicBezTo>
                  <a:pt x="434" y="110"/>
                  <a:pt x="434" y="111"/>
                  <a:pt x="433" y="111"/>
                </a:cubicBezTo>
                <a:cubicBezTo>
                  <a:pt x="432" y="111"/>
                  <a:pt x="431" y="112"/>
                  <a:pt x="431" y="110"/>
                </a:cubicBezTo>
                <a:cubicBezTo>
                  <a:pt x="430" y="110"/>
                  <a:pt x="429" y="111"/>
                  <a:pt x="429" y="110"/>
                </a:cubicBezTo>
                <a:cubicBezTo>
                  <a:pt x="430" y="110"/>
                  <a:pt x="431" y="110"/>
                  <a:pt x="431" y="110"/>
                </a:cubicBezTo>
                <a:cubicBezTo>
                  <a:pt x="431" y="109"/>
                  <a:pt x="431" y="107"/>
                  <a:pt x="432" y="107"/>
                </a:cubicBezTo>
                <a:cubicBezTo>
                  <a:pt x="432" y="106"/>
                  <a:pt x="431" y="107"/>
                  <a:pt x="431" y="107"/>
                </a:cubicBezTo>
                <a:cubicBezTo>
                  <a:pt x="431" y="106"/>
                  <a:pt x="431" y="105"/>
                  <a:pt x="431" y="104"/>
                </a:cubicBezTo>
                <a:cubicBezTo>
                  <a:pt x="431" y="103"/>
                  <a:pt x="429" y="102"/>
                  <a:pt x="429" y="102"/>
                </a:cubicBezTo>
                <a:cubicBezTo>
                  <a:pt x="429" y="101"/>
                  <a:pt x="429" y="99"/>
                  <a:pt x="430" y="99"/>
                </a:cubicBezTo>
                <a:cubicBezTo>
                  <a:pt x="431" y="99"/>
                  <a:pt x="431" y="98"/>
                  <a:pt x="430" y="98"/>
                </a:cubicBezTo>
                <a:cubicBezTo>
                  <a:pt x="430" y="98"/>
                  <a:pt x="430" y="98"/>
                  <a:pt x="430" y="97"/>
                </a:cubicBezTo>
                <a:cubicBezTo>
                  <a:pt x="431" y="97"/>
                  <a:pt x="431" y="96"/>
                  <a:pt x="431" y="95"/>
                </a:cubicBezTo>
                <a:cubicBezTo>
                  <a:pt x="432" y="94"/>
                  <a:pt x="425" y="93"/>
                  <a:pt x="425" y="93"/>
                </a:cubicBezTo>
                <a:cubicBezTo>
                  <a:pt x="425" y="94"/>
                  <a:pt x="421" y="94"/>
                  <a:pt x="421" y="95"/>
                </a:cubicBezTo>
                <a:cubicBezTo>
                  <a:pt x="421" y="95"/>
                  <a:pt x="421" y="95"/>
                  <a:pt x="421" y="95"/>
                </a:cubicBezTo>
                <a:cubicBezTo>
                  <a:pt x="421" y="96"/>
                  <a:pt x="420" y="96"/>
                  <a:pt x="419" y="96"/>
                </a:cubicBezTo>
                <a:cubicBezTo>
                  <a:pt x="418" y="96"/>
                  <a:pt x="418" y="96"/>
                  <a:pt x="418" y="97"/>
                </a:cubicBezTo>
                <a:cubicBezTo>
                  <a:pt x="416" y="97"/>
                  <a:pt x="417" y="97"/>
                  <a:pt x="415" y="97"/>
                </a:cubicBezTo>
                <a:cubicBezTo>
                  <a:pt x="415" y="98"/>
                  <a:pt x="416" y="98"/>
                  <a:pt x="416" y="98"/>
                </a:cubicBezTo>
                <a:cubicBezTo>
                  <a:pt x="415" y="99"/>
                  <a:pt x="415" y="99"/>
                  <a:pt x="415" y="100"/>
                </a:cubicBezTo>
                <a:cubicBezTo>
                  <a:pt x="415" y="100"/>
                  <a:pt x="416" y="100"/>
                  <a:pt x="416" y="100"/>
                </a:cubicBezTo>
                <a:cubicBezTo>
                  <a:pt x="415" y="100"/>
                  <a:pt x="414" y="100"/>
                  <a:pt x="413" y="100"/>
                </a:cubicBezTo>
                <a:cubicBezTo>
                  <a:pt x="413" y="100"/>
                  <a:pt x="413" y="100"/>
                  <a:pt x="413" y="100"/>
                </a:cubicBezTo>
                <a:cubicBezTo>
                  <a:pt x="412" y="100"/>
                  <a:pt x="412" y="101"/>
                  <a:pt x="412" y="102"/>
                </a:cubicBezTo>
                <a:cubicBezTo>
                  <a:pt x="412" y="102"/>
                  <a:pt x="412" y="103"/>
                  <a:pt x="412" y="104"/>
                </a:cubicBezTo>
                <a:cubicBezTo>
                  <a:pt x="412" y="105"/>
                  <a:pt x="413" y="104"/>
                  <a:pt x="413" y="105"/>
                </a:cubicBezTo>
                <a:cubicBezTo>
                  <a:pt x="413" y="105"/>
                  <a:pt x="414" y="105"/>
                  <a:pt x="414" y="105"/>
                </a:cubicBezTo>
                <a:cubicBezTo>
                  <a:pt x="414" y="106"/>
                  <a:pt x="416" y="105"/>
                  <a:pt x="417" y="105"/>
                </a:cubicBezTo>
                <a:cubicBezTo>
                  <a:pt x="415" y="106"/>
                  <a:pt x="417" y="108"/>
                  <a:pt x="417" y="108"/>
                </a:cubicBezTo>
                <a:cubicBezTo>
                  <a:pt x="416" y="108"/>
                  <a:pt x="416" y="107"/>
                  <a:pt x="415" y="107"/>
                </a:cubicBezTo>
                <a:cubicBezTo>
                  <a:pt x="415" y="107"/>
                  <a:pt x="414" y="107"/>
                  <a:pt x="413" y="107"/>
                </a:cubicBezTo>
                <a:cubicBezTo>
                  <a:pt x="412" y="107"/>
                  <a:pt x="412" y="106"/>
                  <a:pt x="411" y="107"/>
                </a:cubicBezTo>
                <a:cubicBezTo>
                  <a:pt x="411" y="108"/>
                  <a:pt x="411" y="109"/>
                  <a:pt x="412" y="109"/>
                </a:cubicBezTo>
                <a:cubicBezTo>
                  <a:pt x="412" y="109"/>
                  <a:pt x="412" y="109"/>
                  <a:pt x="412" y="109"/>
                </a:cubicBezTo>
                <a:cubicBezTo>
                  <a:pt x="413" y="110"/>
                  <a:pt x="414" y="110"/>
                  <a:pt x="415" y="110"/>
                </a:cubicBezTo>
                <a:cubicBezTo>
                  <a:pt x="415" y="111"/>
                  <a:pt x="414" y="112"/>
                  <a:pt x="413" y="113"/>
                </a:cubicBezTo>
                <a:cubicBezTo>
                  <a:pt x="414" y="114"/>
                  <a:pt x="414" y="115"/>
                  <a:pt x="414" y="116"/>
                </a:cubicBezTo>
                <a:cubicBezTo>
                  <a:pt x="414" y="116"/>
                  <a:pt x="413" y="116"/>
                  <a:pt x="412" y="115"/>
                </a:cubicBezTo>
                <a:cubicBezTo>
                  <a:pt x="412" y="114"/>
                  <a:pt x="411" y="115"/>
                  <a:pt x="410" y="115"/>
                </a:cubicBezTo>
                <a:cubicBezTo>
                  <a:pt x="410" y="115"/>
                  <a:pt x="409" y="116"/>
                  <a:pt x="409" y="116"/>
                </a:cubicBezTo>
                <a:cubicBezTo>
                  <a:pt x="408" y="116"/>
                  <a:pt x="408" y="116"/>
                  <a:pt x="407" y="116"/>
                </a:cubicBezTo>
                <a:cubicBezTo>
                  <a:pt x="407" y="116"/>
                  <a:pt x="407" y="116"/>
                  <a:pt x="407" y="116"/>
                </a:cubicBezTo>
                <a:cubicBezTo>
                  <a:pt x="406" y="116"/>
                  <a:pt x="406" y="116"/>
                  <a:pt x="407" y="115"/>
                </a:cubicBezTo>
                <a:cubicBezTo>
                  <a:pt x="409" y="115"/>
                  <a:pt x="409" y="114"/>
                  <a:pt x="411" y="114"/>
                </a:cubicBezTo>
                <a:cubicBezTo>
                  <a:pt x="411" y="112"/>
                  <a:pt x="410" y="112"/>
                  <a:pt x="409" y="111"/>
                </a:cubicBezTo>
                <a:cubicBezTo>
                  <a:pt x="407" y="110"/>
                  <a:pt x="408" y="106"/>
                  <a:pt x="407" y="104"/>
                </a:cubicBezTo>
                <a:cubicBezTo>
                  <a:pt x="408" y="104"/>
                  <a:pt x="408" y="104"/>
                  <a:pt x="408" y="104"/>
                </a:cubicBezTo>
                <a:cubicBezTo>
                  <a:pt x="408" y="104"/>
                  <a:pt x="408" y="103"/>
                  <a:pt x="407" y="103"/>
                </a:cubicBezTo>
                <a:cubicBezTo>
                  <a:pt x="408" y="102"/>
                  <a:pt x="408" y="101"/>
                  <a:pt x="408" y="100"/>
                </a:cubicBezTo>
                <a:cubicBezTo>
                  <a:pt x="408" y="100"/>
                  <a:pt x="408" y="100"/>
                  <a:pt x="408" y="100"/>
                </a:cubicBezTo>
                <a:cubicBezTo>
                  <a:pt x="408" y="100"/>
                  <a:pt x="408" y="99"/>
                  <a:pt x="408" y="99"/>
                </a:cubicBezTo>
                <a:cubicBezTo>
                  <a:pt x="408" y="99"/>
                  <a:pt x="409" y="99"/>
                  <a:pt x="409" y="98"/>
                </a:cubicBezTo>
                <a:cubicBezTo>
                  <a:pt x="409" y="98"/>
                  <a:pt x="409" y="97"/>
                  <a:pt x="410" y="97"/>
                </a:cubicBezTo>
                <a:cubicBezTo>
                  <a:pt x="411" y="97"/>
                  <a:pt x="410" y="97"/>
                  <a:pt x="410" y="97"/>
                </a:cubicBezTo>
                <a:cubicBezTo>
                  <a:pt x="411" y="97"/>
                  <a:pt x="411" y="97"/>
                  <a:pt x="411" y="97"/>
                </a:cubicBezTo>
                <a:cubicBezTo>
                  <a:pt x="412" y="96"/>
                  <a:pt x="412" y="96"/>
                  <a:pt x="412" y="96"/>
                </a:cubicBezTo>
                <a:cubicBezTo>
                  <a:pt x="414" y="95"/>
                  <a:pt x="417" y="95"/>
                  <a:pt x="419" y="95"/>
                </a:cubicBezTo>
                <a:cubicBezTo>
                  <a:pt x="419" y="95"/>
                  <a:pt x="419" y="95"/>
                  <a:pt x="420" y="95"/>
                </a:cubicBezTo>
                <a:cubicBezTo>
                  <a:pt x="419" y="94"/>
                  <a:pt x="419" y="93"/>
                  <a:pt x="418" y="93"/>
                </a:cubicBezTo>
                <a:cubicBezTo>
                  <a:pt x="418" y="93"/>
                  <a:pt x="417" y="93"/>
                  <a:pt x="417" y="93"/>
                </a:cubicBezTo>
                <a:cubicBezTo>
                  <a:pt x="417" y="93"/>
                  <a:pt x="417" y="93"/>
                  <a:pt x="416" y="93"/>
                </a:cubicBezTo>
                <a:cubicBezTo>
                  <a:pt x="415" y="93"/>
                  <a:pt x="414" y="93"/>
                  <a:pt x="413" y="93"/>
                </a:cubicBezTo>
                <a:cubicBezTo>
                  <a:pt x="412" y="93"/>
                  <a:pt x="411" y="93"/>
                  <a:pt x="410" y="93"/>
                </a:cubicBezTo>
                <a:cubicBezTo>
                  <a:pt x="410" y="93"/>
                  <a:pt x="409" y="93"/>
                  <a:pt x="409" y="93"/>
                </a:cubicBezTo>
                <a:cubicBezTo>
                  <a:pt x="409" y="93"/>
                  <a:pt x="408" y="93"/>
                  <a:pt x="408" y="94"/>
                </a:cubicBezTo>
                <a:cubicBezTo>
                  <a:pt x="406" y="94"/>
                  <a:pt x="407" y="93"/>
                  <a:pt x="406" y="93"/>
                </a:cubicBezTo>
                <a:cubicBezTo>
                  <a:pt x="405" y="93"/>
                  <a:pt x="403" y="94"/>
                  <a:pt x="402" y="94"/>
                </a:cubicBezTo>
                <a:cubicBezTo>
                  <a:pt x="401" y="94"/>
                  <a:pt x="400" y="93"/>
                  <a:pt x="399" y="95"/>
                </a:cubicBezTo>
                <a:cubicBezTo>
                  <a:pt x="398" y="95"/>
                  <a:pt x="398" y="95"/>
                  <a:pt x="397" y="96"/>
                </a:cubicBezTo>
                <a:cubicBezTo>
                  <a:pt x="397" y="96"/>
                  <a:pt x="397" y="96"/>
                  <a:pt x="397" y="97"/>
                </a:cubicBezTo>
                <a:cubicBezTo>
                  <a:pt x="397" y="97"/>
                  <a:pt x="397" y="98"/>
                  <a:pt x="397" y="98"/>
                </a:cubicBezTo>
                <a:cubicBezTo>
                  <a:pt x="397" y="98"/>
                  <a:pt x="397" y="98"/>
                  <a:pt x="397" y="98"/>
                </a:cubicBezTo>
                <a:cubicBezTo>
                  <a:pt x="397" y="98"/>
                  <a:pt x="395" y="99"/>
                  <a:pt x="395" y="99"/>
                </a:cubicBezTo>
                <a:cubicBezTo>
                  <a:pt x="394" y="100"/>
                  <a:pt x="395" y="100"/>
                  <a:pt x="395" y="101"/>
                </a:cubicBezTo>
                <a:cubicBezTo>
                  <a:pt x="395" y="101"/>
                  <a:pt x="394" y="102"/>
                  <a:pt x="394" y="102"/>
                </a:cubicBezTo>
                <a:cubicBezTo>
                  <a:pt x="394" y="103"/>
                  <a:pt x="392" y="103"/>
                  <a:pt x="392" y="104"/>
                </a:cubicBezTo>
                <a:cubicBezTo>
                  <a:pt x="392" y="105"/>
                  <a:pt x="392" y="105"/>
                  <a:pt x="391" y="105"/>
                </a:cubicBezTo>
                <a:cubicBezTo>
                  <a:pt x="390" y="106"/>
                  <a:pt x="391" y="106"/>
                  <a:pt x="391" y="107"/>
                </a:cubicBezTo>
                <a:cubicBezTo>
                  <a:pt x="391" y="108"/>
                  <a:pt x="392" y="108"/>
                  <a:pt x="391" y="108"/>
                </a:cubicBezTo>
                <a:cubicBezTo>
                  <a:pt x="390" y="109"/>
                  <a:pt x="391" y="109"/>
                  <a:pt x="390" y="109"/>
                </a:cubicBezTo>
                <a:cubicBezTo>
                  <a:pt x="389" y="110"/>
                  <a:pt x="390" y="110"/>
                  <a:pt x="390" y="110"/>
                </a:cubicBezTo>
                <a:cubicBezTo>
                  <a:pt x="389" y="110"/>
                  <a:pt x="389" y="110"/>
                  <a:pt x="389" y="110"/>
                </a:cubicBezTo>
                <a:cubicBezTo>
                  <a:pt x="389" y="110"/>
                  <a:pt x="389" y="111"/>
                  <a:pt x="389" y="111"/>
                </a:cubicBezTo>
                <a:cubicBezTo>
                  <a:pt x="389" y="112"/>
                  <a:pt x="391" y="112"/>
                  <a:pt x="392" y="112"/>
                </a:cubicBezTo>
                <a:cubicBezTo>
                  <a:pt x="392" y="113"/>
                  <a:pt x="393" y="113"/>
                  <a:pt x="393" y="113"/>
                </a:cubicBezTo>
                <a:cubicBezTo>
                  <a:pt x="393" y="114"/>
                  <a:pt x="393" y="114"/>
                  <a:pt x="392" y="114"/>
                </a:cubicBezTo>
                <a:cubicBezTo>
                  <a:pt x="392" y="114"/>
                  <a:pt x="393" y="115"/>
                  <a:pt x="393" y="115"/>
                </a:cubicBezTo>
                <a:cubicBezTo>
                  <a:pt x="394" y="116"/>
                  <a:pt x="394" y="116"/>
                  <a:pt x="395" y="116"/>
                </a:cubicBezTo>
                <a:cubicBezTo>
                  <a:pt x="397" y="116"/>
                  <a:pt x="398" y="116"/>
                  <a:pt x="400" y="116"/>
                </a:cubicBezTo>
                <a:cubicBezTo>
                  <a:pt x="400" y="116"/>
                  <a:pt x="402" y="117"/>
                  <a:pt x="401" y="117"/>
                </a:cubicBezTo>
                <a:cubicBezTo>
                  <a:pt x="401" y="118"/>
                  <a:pt x="399" y="118"/>
                  <a:pt x="399" y="117"/>
                </a:cubicBezTo>
                <a:cubicBezTo>
                  <a:pt x="399" y="117"/>
                  <a:pt x="398" y="117"/>
                  <a:pt x="398" y="117"/>
                </a:cubicBezTo>
                <a:cubicBezTo>
                  <a:pt x="398" y="118"/>
                  <a:pt x="398" y="119"/>
                  <a:pt x="398" y="119"/>
                </a:cubicBezTo>
                <a:cubicBezTo>
                  <a:pt x="398" y="119"/>
                  <a:pt x="399" y="119"/>
                  <a:pt x="399" y="119"/>
                </a:cubicBezTo>
                <a:cubicBezTo>
                  <a:pt x="399" y="119"/>
                  <a:pt x="399" y="120"/>
                  <a:pt x="399" y="120"/>
                </a:cubicBezTo>
                <a:cubicBezTo>
                  <a:pt x="399" y="120"/>
                  <a:pt x="399" y="120"/>
                  <a:pt x="399" y="121"/>
                </a:cubicBezTo>
                <a:cubicBezTo>
                  <a:pt x="400" y="120"/>
                  <a:pt x="400" y="120"/>
                  <a:pt x="400" y="121"/>
                </a:cubicBezTo>
                <a:cubicBezTo>
                  <a:pt x="401" y="121"/>
                  <a:pt x="402" y="121"/>
                  <a:pt x="402" y="121"/>
                </a:cubicBezTo>
                <a:cubicBezTo>
                  <a:pt x="402" y="122"/>
                  <a:pt x="401" y="122"/>
                  <a:pt x="401" y="123"/>
                </a:cubicBezTo>
                <a:cubicBezTo>
                  <a:pt x="402" y="123"/>
                  <a:pt x="403" y="123"/>
                  <a:pt x="404" y="123"/>
                </a:cubicBezTo>
                <a:cubicBezTo>
                  <a:pt x="404" y="122"/>
                  <a:pt x="405" y="122"/>
                  <a:pt x="405" y="121"/>
                </a:cubicBezTo>
                <a:cubicBezTo>
                  <a:pt x="405" y="121"/>
                  <a:pt x="406" y="121"/>
                  <a:pt x="407" y="122"/>
                </a:cubicBezTo>
                <a:cubicBezTo>
                  <a:pt x="407" y="122"/>
                  <a:pt x="407" y="122"/>
                  <a:pt x="407" y="123"/>
                </a:cubicBezTo>
                <a:cubicBezTo>
                  <a:pt x="407" y="123"/>
                  <a:pt x="407" y="123"/>
                  <a:pt x="408" y="123"/>
                </a:cubicBezTo>
                <a:cubicBezTo>
                  <a:pt x="408" y="123"/>
                  <a:pt x="408" y="123"/>
                  <a:pt x="408" y="123"/>
                </a:cubicBezTo>
                <a:cubicBezTo>
                  <a:pt x="409" y="124"/>
                  <a:pt x="409" y="124"/>
                  <a:pt x="410" y="125"/>
                </a:cubicBezTo>
                <a:cubicBezTo>
                  <a:pt x="410" y="125"/>
                  <a:pt x="410" y="125"/>
                  <a:pt x="410" y="126"/>
                </a:cubicBezTo>
                <a:cubicBezTo>
                  <a:pt x="410" y="126"/>
                  <a:pt x="411" y="126"/>
                  <a:pt x="412" y="126"/>
                </a:cubicBezTo>
                <a:cubicBezTo>
                  <a:pt x="412" y="126"/>
                  <a:pt x="412" y="126"/>
                  <a:pt x="412" y="126"/>
                </a:cubicBezTo>
                <a:cubicBezTo>
                  <a:pt x="412" y="126"/>
                  <a:pt x="412" y="126"/>
                  <a:pt x="412" y="126"/>
                </a:cubicBezTo>
                <a:cubicBezTo>
                  <a:pt x="413" y="126"/>
                  <a:pt x="413" y="126"/>
                  <a:pt x="413" y="126"/>
                </a:cubicBezTo>
                <a:cubicBezTo>
                  <a:pt x="413" y="125"/>
                  <a:pt x="413" y="125"/>
                  <a:pt x="413" y="124"/>
                </a:cubicBezTo>
                <a:cubicBezTo>
                  <a:pt x="414" y="125"/>
                  <a:pt x="415" y="125"/>
                  <a:pt x="415" y="126"/>
                </a:cubicBezTo>
                <a:cubicBezTo>
                  <a:pt x="415" y="126"/>
                  <a:pt x="417" y="126"/>
                  <a:pt x="417" y="126"/>
                </a:cubicBezTo>
                <a:cubicBezTo>
                  <a:pt x="418" y="126"/>
                  <a:pt x="418" y="126"/>
                  <a:pt x="419" y="127"/>
                </a:cubicBezTo>
                <a:cubicBezTo>
                  <a:pt x="419" y="127"/>
                  <a:pt x="424" y="127"/>
                  <a:pt x="424" y="126"/>
                </a:cubicBezTo>
                <a:cubicBezTo>
                  <a:pt x="424" y="125"/>
                  <a:pt x="425" y="127"/>
                  <a:pt x="425" y="127"/>
                </a:cubicBezTo>
                <a:cubicBezTo>
                  <a:pt x="426" y="127"/>
                  <a:pt x="425" y="127"/>
                  <a:pt x="426" y="127"/>
                </a:cubicBezTo>
                <a:cubicBezTo>
                  <a:pt x="426" y="127"/>
                  <a:pt x="427" y="127"/>
                  <a:pt x="428" y="127"/>
                </a:cubicBezTo>
                <a:cubicBezTo>
                  <a:pt x="429" y="128"/>
                  <a:pt x="430" y="128"/>
                  <a:pt x="431" y="127"/>
                </a:cubicBezTo>
                <a:cubicBezTo>
                  <a:pt x="430" y="127"/>
                  <a:pt x="429" y="126"/>
                  <a:pt x="429" y="126"/>
                </a:cubicBezTo>
                <a:cubicBezTo>
                  <a:pt x="428" y="124"/>
                  <a:pt x="428" y="124"/>
                  <a:pt x="427" y="124"/>
                </a:cubicBezTo>
                <a:cubicBezTo>
                  <a:pt x="427" y="123"/>
                  <a:pt x="426" y="123"/>
                  <a:pt x="426" y="123"/>
                </a:cubicBezTo>
                <a:cubicBezTo>
                  <a:pt x="426" y="123"/>
                  <a:pt x="428" y="123"/>
                  <a:pt x="428" y="123"/>
                </a:cubicBezTo>
                <a:cubicBezTo>
                  <a:pt x="428" y="124"/>
                  <a:pt x="430" y="125"/>
                  <a:pt x="430" y="126"/>
                </a:cubicBezTo>
                <a:cubicBezTo>
                  <a:pt x="431" y="126"/>
                  <a:pt x="431" y="126"/>
                  <a:pt x="431" y="126"/>
                </a:cubicBezTo>
                <a:cubicBezTo>
                  <a:pt x="432" y="126"/>
                  <a:pt x="432" y="127"/>
                  <a:pt x="433" y="127"/>
                </a:cubicBezTo>
                <a:cubicBezTo>
                  <a:pt x="433" y="127"/>
                  <a:pt x="434" y="128"/>
                  <a:pt x="434" y="129"/>
                </a:cubicBezTo>
                <a:cubicBezTo>
                  <a:pt x="434" y="129"/>
                  <a:pt x="435" y="129"/>
                  <a:pt x="435" y="129"/>
                </a:cubicBezTo>
                <a:cubicBezTo>
                  <a:pt x="436" y="129"/>
                  <a:pt x="435" y="128"/>
                  <a:pt x="435" y="128"/>
                </a:cubicBezTo>
                <a:cubicBezTo>
                  <a:pt x="436" y="128"/>
                  <a:pt x="435" y="128"/>
                  <a:pt x="435" y="128"/>
                </a:cubicBezTo>
                <a:cubicBezTo>
                  <a:pt x="435" y="128"/>
                  <a:pt x="435" y="127"/>
                  <a:pt x="435" y="127"/>
                </a:cubicBezTo>
                <a:cubicBezTo>
                  <a:pt x="435" y="126"/>
                  <a:pt x="434" y="127"/>
                  <a:pt x="434" y="126"/>
                </a:cubicBezTo>
                <a:cubicBezTo>
                  <a:pt x="434" y="126"/>
                  <a:pt x="434" y="125"/>
                  <a:pt x="434" y="125"/>
                </a:cubicBezTo>
                <a:cubicBezTo>
                  <a:pt x="433" y="124"/>
                  <a:pt x="433" y="124"/>
                  <a:pt x="433" y="123"/>
                </a:cubicBezTo>
                <a:cubicBezTo>
                  <a:pt x="434" y="123"/>
                  <a:pt x="435" y="123"/>
                  <a:pt x="436" y="123"/>
                </a:cubicBezTo>
                <a:cubicBezTo>
                  <a:pt x="436" y="123"/>
                  <a:pt x="436" y="123"/>
                  <a:pt x="436" y="123"/>
                </a:cubicBezTo>
                <a:cubicBezTo>
                  <a:pt x="437" y="123"/>
                  <a:pt x="438" y="123"/>
                  <a:pt x="439" y="124"/>
                </a:cubicBezTo>
                <a:cubicBezTo>
                  <a:pt x="440" y="124"/>
                  <a:pt x="441" y="126"/>
                  <a:pt x="442" y="126"/>
                </a:cubicBezTo>
                <a:cubicBezTo>
                  <a:pt x="443" y="125"/>
                  <a:pt x="444" y="126"/>
                  <a:pt x="445" y="125"/>
                </a:cubicBezTo>
                <a:cubicBezTo>
                  <a:pt x="446" y="124"/>
                  <a:pt x="445" y="123"/>
                  <a:pt x="445" y="122"/>
                </a:cubicBezTo>
                <a:cubicBezTo>
                  <a:pt x="444" y="122"/>
                  <a:pt x="444" y="123"/>
                  <a:pt x="443" y="123"/>
                </a:cubicBezTo>
                <a:cubicBezTo>
                  <a:pt x="443" y="123"/>
                  <a:pt x="443" y="122"/>
                  <a:pt x="443" y="122"/>
                </a:cubicBezTo>
                <a:cubicBezTo>
                  <a:pt x="443" y="121"/>
                  <a:pt x="444" y="121"/>
                  <a:pt x="444" y="121"/>
                </a:cubicBezTo>
                <a:cubicBezTo>
                  <a:pt x="446" y="120"/>
                  <a:pt x="445" y="120"/>
                  <a:pt x="446" y="122"/>
                </a:cubicBezTo>
                <a:cubicBezTo>
                  <a:pt x="446" y="122"/>
                  <a:pt x="446" y="122"/>
                  <a:pt x="446" y="123"/>
                </a:cubicBezTo>
                <a:cubicBezTo>
                  <a:pt x="447" y="124"/>
                  <a:pt x="447" y="123"/>
                  <a:pt x="448" y="124"/>
                </a:cubicBezTo>
                <a:cubicBezTo>
                  <a:pt x="448" y="122"/>
                  <a:pt x="448" y="123"/>
                  <a:pt x="449" y="123"/>
                </a:cubicBezTo>
                <a:cubicBezTo>
                  <a:pt x="450" y="123"/>
                  <a:pt x="451" y="126"/>
                  <a:pt x="451" y="127"/>
                </a:cubicBezTo>
                <a:cubicBezTo>
                  <a:pt x="451" y="127"/>
                  <a:pt x="451" y="128"/>
                  <a:pt x="451" y="128"/>
                </a:cubicBezTo>
                <a:cubicBezTo>
                  <a:pt x="452" y="128"/>
                  <a:pt x="452" y="128"/>
                  <a:pt x="452" y="127"/>
                </a:cubicBezTo>
                <a:cubicBezTo>
                  <a:pt x="452" y="126"/>
                  <a:pt x="452" y="126"/>
                  <a:pt x="452" y="126"/>
                </a:cubicBezTo>
                <a:cubicBezTo>
                  <a:pt x="452" y="126"/>
                  <a:pt x="453" y="126"/>
                  <a:pt x="453" y="126"/>
                </a:cubicBezTo>
                <a:cubicBezTo>
                  <a:pt x="454" y="125"/>
                  <a:pt x="454" y="125"/>
                  <a:pt x="455" y="126"/>
                </a:cubicBezTo>
                <a:cubicBezTo>
                  <a:pt x="455" y="126"/>
                  <a:pt x="455" y="126"/>
                  <a:pt x="455" y="126"/>
                </a:cubicBezTo>
                <a:cubicBezTo>
                  <a:pt x="455" y="127"/>
                  <a:pt x="455" y="127"/>
                  <a:pt x="455" y="127"/>
                </a:cubicBezTo>
                <a:cubicBezTo>
                  <a:pt x="455" y="128"/>
                  <a:pt x="457" y="126"/>
                  <a:pt x="457" y="128"/>
                </a:cubicBezTo>
                <a:cubicBezTo>
                  <a:pt x="456" y="128"/>
                  <a:pt x="456" y="128"/>
                  <a:pt x="456" y="128"/>
                </a:cubicBezTo>
                <a:cubicBezTo>
                  <a:pt x="456" y="128"/>
                  <a:pt x="456" y="129"/>
                  <a:pt x="456" y="129"/>
                </a:cubicBezTo>
                <a:cubicBezTo>
                  <a:pt x="457" y="129"/>
                  <a:pt x="458" y="129"/>
                  <a:pt x="458" y="127"/>
                </a:cubicBezTo>
                <a:cubicBezTo>
                  <a:pt x="459" y="128"/>
                  <a:pt x="460" y="127"/>
                  <a:pt x="460" y="127"/>
                </a:cubicBezTo>
                <a:cubicBezTo>
                  <a:pt x="461" y="127"/>
                  <a:pt x="461" y="128"/>
                  <a:pt x="461" y="129"/>
                </a:cubicBezTo>
                <a:cubicBezTo>
                  <a:pt x="460" y="129"/>
                  <a:pt x="459" y="128"/>
                  <a:pt x="459" y="129"/>
                </a:cubicBezTo>
                <a:cubicBezTo>
                  <a:pt x="459" y="130"/>
                  <a:pt x="459" y="130"/>
                  <a:pt x="459" y="131"/>
                </a:cubicBezTo>
                <a:cubicBezTo>
                  <a:pt x="459" y="131"/>
                  <a:pt x="459" y="131"/>
                  <a:pt x="459" y="131"/>
                </a:cubicBezTo>
                <a:cubicBezTo>
                  <a:pt x="459" y="132"/>
                  <a:pt x="460" y="132"/>
                  <a:pt x="461" y="132"/>
                </a:cubicBezTo>
                <a:cubicBezTo>
                  <a:pt x="462" y="132"/>
                  <a:pt x="462" y="133"/>
                  <a:pt x="462" y="134"/>
                </a:cubicBezTo>
                <a:cubicBezTo>
                  <a:pt x="462" y="133"/>
                  <a:pt x="461" y="133"/>
                  <a:pt x="460" y="133"/>
                </a:cubicBezTo>
                <a:cubicBezTo>
                  <a:pt x="460" y="134"/>
                  <a:pt x="460" y="136"/>
                  <a:pt x="459" y="135"/>
                </a:cubicBezTo>
                <a:cubicBezTo>
                  <a:pt x="459" y="137"/>
                  <a:pt x="459" y="137"/>
                  <a:pt x="461" y="137"/>
                </a:cubicBezTo>
                <a:cubicBezTo>
                  <a:pt x="461" y="137"/>
                  <a:pt x="461" y="139"/>
                  <a:pt x="461" y="139"/>
                </a:cubicBezTo>
                <a:cubicBezTo>
                  <a:pt x="462" y="139"/>
                  <a:pt x="463" y="139"/>
                  <a:pt x="463" y="138"/>
                </a:cubicBezTo>
                <a:cubicBezTo>
                  <a:pt x="464" y="138"/>
                  <a:pt x="464" y="138"/>
                  <a:pt x="464" y="137"/>
                </a:cubicBezTo>
                <a:cubicBezTo>
                  <a:pt x="464" y="137"/>
                  <a:pt x="465" y="137"/>
                  <a:pt x="465" y="137"/>
                </a:cubicBezTo>
                <a:cubicBezTo>
                  <a:pt x="465" y="136"/>
                  <a:pt x="466" y="136"/>
                  <a:pt x="466" y="135"/>
                </a:cubicBezTo>
                <a:cubicBezTo>
                  <a:pt x="467" y="136"/>
                  <a:pt x="467" y="136"/>
                  <a:pt x="468" y="135"/>
                </a:cubicBezTo>
                <a:cubicBezTo>
                  <a:pt x="468" y="135"/>
                  <a:pt x="468" y="135"/>
                  <a:pt x="469" y="134"/>
                </a:cubicBezTo>
                <a:cubicBezTo>
                  <a:pt x="469" y="135"/>
                  <a:pt x="469" y="136"/>
                  <a:pt x="469" y="136"/>
                </a:cubicBezTo>
                <a:cubicBezTo>
                  <a:pt x="469" y="137"/>
                  <a:pt x="468" y="137"/>
                  <a:pt x="468" y="137"/>
                </a:cubicBezTo>
                <a:cubicBezTo>
                  <a:pt x="467" y="138"/>
                  <a:pt x="468" y="139"/>
                  <a:pt x="468" y="139"/>
                </a:cubicBezTo>
                <a:cubicBezTo>
                  <a:pt x="468" y="141"/>
                  <a:pt x="470" y="139"/>
                  <a:pt x="470" y="141"/>
                </a:cubicBezTo>
                <a:cubicBezTo>
                  <a:pt x="471" y="142"/>
                  <a:pt x="471" y="142"/>
                  <a:pt x="473" y="142"/>
                </a:cubicBezTo>
                <a:cubicBezTo>
                  <a:pt x="472" y="143"/>
                  <a:pt x="472" y="143"/>
                  <a:pt x="472" y="144"/>
                </a:cubicBezTo>
                <a:cubicBezTo>
                  <a:pt x="472" y="144"/>
                  <a:pt x="473" y="144"/>
                  <a:pt x="473" y="144"/>
                </a:cubicBezTo>
                <a:cubicBezTo>
                  <a:pt x="473" y="145"/>
                  <a:pt x="472" y="146"/>
                  <a:pt x="473" y="146"/>
                </a:cubicBezTo>
                <a:cubicBezTo>
                  <a:pt x="473" y="147"/>
                  <a:pt x="473" y="148"/>
                  <a:pt x="474" y="148"/>
                </a:cubicBezTo>
                <a:cubicBezTo>
                  <a:pt x="474" y="148"/>
                  <a:pt x="474" y="149"/>
                  <a:pt x="474" y="150"/>
                </a:cubicBezTo>
                <a:cubicBezTo>
                  <a:pt x="474" y="150"/>
                  <a:pt x="473" y="149"/>
                  <a:pt x="473" y="149"/>
                </a:cubicBezTo>
                <a:cubicBezTo>
                  <a:pt x="473" y="150"/>
                  <a:pt x="472" y="150"/>
                  <a:pt x="472" y="150"/>
                </a:cubicBezTo>
                <a:cubicBezTo>
                  <a:pt x="471" y="150"/>
                  <a:pt x="472" y="151"/>
                  <a:pt x="471" y="151"/>
                </a:cubicBezTo>
                <a:cubicBezTo>
                  <a:pt x="470" y="153"/>
                  <a:pt x="473" y="153"/>
                  <a:pt x="474" y="154"/>
                </a:cubicBezTo>
                <a:cubicBezTo>
                  <a:pt x="473" y="154"/>
                  <a:pt x="472" y="155"/>
                  <a:pt x="472" y="154"/>
                </a:cubicBezTo>
                <a:cubicBezTo>
                  <a:pt x="472" y="154"/>
                  <a:pt x="471" y="154"/>
                  <a:pt x="471" y="154"/>
                </a:cubicBezTo>
                <a:cubicBezTo>
                  <a:pt x="470" y="154"/>
                  <a:pt x="471" y="155"/>
                  <a:pt x="471" y="155"/>
                </a:cubicBezTo>
                <a:cubicBezTo>
                  <a:pt x="470" y="155"/>
                  <a:pt x="470" y="156"/>
                  <a:pt x="469" y="156"/>
                </a:cubicBezTo>
                <a:cubicBezTo>
                  <a:pt x="469" y="156"/>
                  <a:pt x="469" y="157"/>
                  <a:pt x="469" y="157"/>
                </a:cubicBezTo>
                <a:cubicBezTo>
                  <a:pt x="468" y="157"/>
                  <a:pt x="469" y="157"/>
                  <a:pt x="469" y="158"/>
                </a:cubicBezTo>
                <a:cubicBezTo>
                  <a:pt x="469" y="158"/>
                  <a:pt x="468" y="158"/>
                  <a:pt x="468" y="158"/>
                </a:cubicBezTo>
                <a:cubicBezTo>
                  <a:pt x="468" y="159"/>
                  <a:pt x="468" y="159"/>
                  <a:pt x="467" y="159"/>
                </a:cubicBezTo>
                <a:cubicBezTo>
                  <a:pt x="467" y="159"/>
                  <a:pt x="467" y="159"/>
                  <a:pt x="467" y="159"/>
                </a:cubicBezTo>
                <a:cubicBezTo>
                  <a:pt x="467" y="159"/>
                  <a:pt x="466" y="160"/>
                  <a:pt x="465" y="160"/>
                </a:cubicBezTo>
                <a:cubicBezTo>
                  <a:pt x="465" y="161"/>
                  <a:pt x="466" y="161"/>
                  <a:pt x="467" y="162"/>
                </a:cubicBezTo>
                <a:cubicBezTo>
                  <a:pt x="467" y="163"/>
                  <a:pt x="468" y="162"/>
                  <a:pt x="468" y="163"/>
                </a:cubicBezTo>
                <a:cubicBezTo>
                  <a:pt x="469" y="164"/>
                  <a:pt x="469" y="165"/>
                  <a:pt x="470" y="166"/>
                </a:cubicBezTo>
                <a:cubicBezTo>
                  <a:pt x="470" y="166"/>
                  <a:pt x="471" y="167"/>
                  <a:pt x="471" y="167"/>
                </a:cubicBezTo>
                <a:cubicBezTo>
                  <a:pt x="472" y="168"/>
                  <a:pt x="471" y="168"/>
                  <a:pt x="470" y="169"/>
                </a:cubicBezTo>
                <a:cubicBezTo>
                  <a:pt x="470" y="168"/>
                  <a:pt x="468" y="169"/>
                  <a:pt x="468" y="169"/>
                </a:cubicBezTo>
                <a:cubicBezTo>
                  <a:pt x="467" y="169"/>
                  <a:pt x="464" y="169"/>
                  <a:pt x="464" y="170"/>
                </a:cubicBezTo>
                <a:cubicBezTo>
                  <a:pt x="464" y="170"/>
                  <a:pt x="462" y="170"/>
                  <a:pt x="462" y="169"/>
                </a:cubicBezTo>
                <a:cubicBezTo>
                  <a:pt x="462" y="169"/>
                  <a:pt x="460" y="169"/>
                  <a:pt x="461" y="170"/>
                </a:cubicBezTo>
                <a:cubicBezTo>
                  <a:pt x="460" y="170"/>
                  <a:pt x="459" y="170"/>
                  <a:pt x="459" y="169"/>
                </a:cubicBezTo>
                <a:cubicBezTo>
                  <a:pt x="458" y="170"/>
                  <a:pt x="458" y="169"/>
                  <a:pt x="458" y="170"/>
                </a:cubicBezTo>
                <a:cubicBezTo>
                  <a:pt x="458" y="171"/>
                  <a:pt x="457" y="170"/>
                  <a:pt x="457" y="170"/>
                </a:cubicBezTo>
                <a:cubicBezTo>
                  <a:pt x="456" y="170"/>
                  <a:pt x="456" y="170"/>
                  <a:pt x="456" y="171"/>
                </a:cubicBezTo>
                <a:cubicBezTo>
                  <a:pt x="455" y="171"/>
                  <a:pt x="453" y="171"/>
                  <a:pt x="454" y="170"/>
                </a:cubicBezTo>
                <a:cubicBezTo>
                  <a:pt x="453" y="170"/>
                  <a:pt x="453" y="171"/>
                  <a:pt x="453" y="171"/>
                </a:cubicBezTo>
                <a:cubicBezTo>
                  <a:pt x="452" y="171"/>
                  <a:pt x="452" y="170"/>
                  <a:pt x="452" y="170"/>
                </a:cubicBezTo>
                <a:cubicBezTo>
                  <a:pt x="451" y="170"/>
                  <a:pt x="449" y="170"/>
                  <a:pt x="449" y="171"/>
                </a:cubicBezTo>
                <a:cubicBezTo>
                  <a:pt x="449" y="171"/>
                  <a:pt x="449" y="172"/>
                  <a:pt x="449" y="172"/>
                </a:cubicBezTo>
                <a:cubicBezTo>
                  <a:pt x="448" y="173"/>
                  <a:pt x="448" y="174"/>
                  <a:pt x="448" y="175"/>
                </a:cubicBezTo>
                <a:cubicBezTo>
                  <a:pt x="448" y="175"/>
                  <a:pt x="448" y="175"/>
                  <a:pt x="448" y="175"/>
                </a:cubicBezTo>
                <a:cubicBezTo>
                  <a:pt x="448" y="176"/>
                  <a:pt x="448" y="176"/>
                  <a:pt x="447" y="177"/>
                </a:cubicBezTo>
                <a:cubicBezTo>
                  <a:pt x="446" y="178"/>
                  <a:pt x="447" y="178"/>
                  <a:pt x="448" y="179"/>
                </a:cubicBezTo>
                <a:cubicBezTo>
                  <a:pt x="448" y="180"/>
                  <a:pt x="448" y="180"/>
                  <a:pt x="449" y="180"/>
                </a:cubicBezTo>
                <a:cubicBezTo>
                  <a:pt x="449" y="180"/>
                  <a:pt x="450" y="180"/>
                  <a:pt x="450" y="181"/>
                </a:cubicBezTo>
                <a:cubicBezTo>
                  <a:pt x="450" y="181"/>
                  <a:pt x="450" y="181"/>
                  <a:pt x="451" y="180"/>
                </a:cubicBezTo>
                <a:cubicBezTo>
                  <a:pt x="452" y="180"/>
                  <a:pt x="451" y="181"/>
                  <a:pt x="452" y="181"/>
                </a:cubicBezTo>
                <a:cubicBezTo>
                  <a:pt x="453" y="181"/>
                  <a:pt x="455" y="181"/>
                  <a:pt x="455" y="180"/>
                </a:cubicBezTo>
                <a:cubicBezTo>
                  <a:pt x="455" y="179"/>
                  <a:pt x="457" y="180"/>
                  <a:pt x="457" y="179"/>
                </a:cubicBezTo>
                <a:cubicBezTo>
                  <a:pt x="457" y="178"/>
                  <a:pt x="457" y="179"/>
                  <a:pt x="458" y="178"/>
                </a:cubicBezTo>
                <a:cubicBezTo>
                  <a:pt x="459" y="177"/>
                  <a:pt x="459" y="176"/>
                  <a:pt x="460" y="178"/>
                </a:cubicBezTo>
                <a:cubicBezTo>
                  <a:pt x="461" y="178"/>
                  <a:pt x="461" y="178"/>
                  <a:pt x="461" y="179"/>
                </a:cubicBezTo>
                <a:cubicBezTo>
                  <a:pt x="462" y="179"/>
                  <a:pt x="462" y="178"/>
                  <a:pt x="463" y="178"/>
                </a:cubicBezTo>
                <a:cubicBezTo>
                  <a:pt x="464" y="177"/>
                  <a:pt x="462" y="176"/>
                  <a:pt x="462" y="176"/>
                </a:cubicBezTo>
                <a:cubicBezTo>
                  <a:pt x="461" y="176"/>
                  <a:pt x="461" y="176"/>
                  <a:pt x="461" y="175"/>
                </a:cubicBezTo>
                <a:cubicBezTo>
                  <a:pt x="461" y="175"/>
                  <a:pt x="461" y="175"/>
                  <a:pt x="462" y="175"/>
                </a:cubicBezTo>
                <a:cubicBezTo>
                  <a:pt x="462" y="174"/>
                  <a:pt x="462" y="174"/>
                  <a:pt x="463" y="174"/>
                </a:cubicBezTo>
                <a:cubicBezTo>
                  <a:pt x="463" y="174"/>
                  <a:pt x="463" y="175"/>
                  <a:pt x="463" y="176"/>
                </a:cubicBezTo>
                <a:cubicBezTo>
                  <a:pt x="463" y="176"/>
                  <a:pt x="464" y="176"/>
                  <a:pt x="464" y="176"/>
                </a:cubicBezTo>
                <a:cubicBezTo>
                  <a:pt x="465" y="177"/>
                  <a:pt x="465" y="176"/>
                  <a:pt x="466" y="176"/>
                </a:cubicBezTo>
                <a:cubicBezTo>
                  <a:pt x="466" y="176"/>
                  <a:pt x="465" y="175"/>
                  <a:pt x="465" y="175"/>
                </a:cubicBezTo>
                <a:cubicBezTo>
                  <a:pt x="465" y="175"/>
                  <a:pt x="466" y="175"/>
                  <a:pt x="466" y="175"/>
                </a:cubicBezTo>
                <a:cubicBezTo>
                  <a:pt x="466" y="175"/>
                  <a:pt x="466" y="176"/>
                  <a:pt x="466" y="176"/>
                </a:cubicBezTo>
                <a:cubicBezTo>
                  <a:pt x="466" y="176"/>
                  <a:pt x="467" y="176"/>
                  <a:pt x="467" y="177"/>
                </a:cubicBezTo>
                <a:cubicBezTo>
                  <a:pt x="468" y="177"/>
                  <a:pt x="468" y="178"/>
                  <a:pt x="468" y="178"/>
                </a:cubicBezTo>
                <a:cubicBezTo>
                  <a:pt x="468" y="178"/>
                  <a:pt x="469" y="177"/>
                  <a:pt x="469" y="177"/>
                </a:cubicBezTo>
                <a:cubicBezTo>
                  <a:pt x="469" y="177"/>
                  <a:pt x="470" y="177"/>
                  <a:pt x="470" y="177"/>
                </a:cubicBezTo>
                <a:cubicBezTo>
                  <a:pt x="471" y="177"/>
                  <a:pt x="470" y="178"/>
                  <a:pt x="471" y="179"/>
                </a:cubicBezTo>
                <a:cubicBezTo>
                  <a:pt x="472" y="179"/>
                  <a:pt x="472" y="180"/>
                  <a:pt x="472" y="180"/>
                </a:cubicBezTo>
                <a:cubicBezTo>
                  <a:pt x="472" y="181"/>
                  <a:pt x="472" y="181"/>
                  <a:pt x="473" y="181"/>
                </a:cubicBezTo>
                <a:cubicBezTo>
                  <a:pt x="474" y="181"/>
                  <a:pt x="474" y="181"/>
                  <a:pt x="474" y="182"/>
                </a:cubicBezTo>
                <a:cubicBezTo>
                  <a:pt x="474" y="183"/>
                  <a:pt x="474" y="184"/>
                  <a:pt x="474" y="185"/>
                </a:cubicBezTo>
                <a:cubicBezTo>
                  <a:pt x="475" y="185"/>
                  <a:pt x="475" y="185"/>
                  <a:pt x="475" y="184"/>
                </a:cubicBezTo>
                <a:cubicBezTo>
                  <a:pt x="476" y="184"/>
                  <a:pt x="476" y="185"/>
                  <a:pt x="476" y="186"/>
                </a:cubicBezTo>
                <a:cubicBezTo>
                  <a:pt x="477" y="185"/>
                  <a:pt x="477" y="186"/>
                  <a:pt x="477" y="184"/>
                </a:cubicBezTo>
                <a:cubicBezTo>
                  <a:pt x="478" y="184"/>
                  <a:pt x="478" y="185"/>
                  <a:pt x="479" y="185"/>
                </a:cubicBezTo>
                <a:cubicBezTo>
                  <a:pt x="479" y="185"/>
                  <a:pt x="480" y="185"/>
                  <a:pt x="480" y="185"/>
                </a:cubicBezTo>
                <a:cubicBezTo>
                  <a:pt x="480" y="186"/>
                  <a:pt x="480" y="187"/>
                  <a:pt x="479" y="187"/>
                </a:cubicBezTo>
                <a:cubicBezTo>
                  <a:pt x="478" y="187"/>
                  <a:pt x="477" y="187"/>
                  <a:pt x="476" y="188"/>
                </a:cubicBezTo>
                <a:cubicBezTo>
                  <a:pt x="477" y="188"/>
                  <a:pt x="479" y="188"/>
                  <a:pt x="480" y="189"/>
                </a:cubicBezTo>
                <a:cubicBezTo>
                  <a:pt x="480" y="190"/>
                  <a:pt x="481" y="188"/>
                  <a:pt x="482" y="189"/>
                </a:cubicBezTo>
                <a:cubicBezTo>
                  <a:pt x="482" y="190"/>
                  <a:pt x="484" y="190"/>
                  <a:pt x="485" y="189"/>
                </a:cubicBezTo>
                <a:cubicBezTo>
                  <a:pt x="486" y="189"/>
                  <a:pt x="486" y="188"/>
                  <a:pt x="486" y="188"/>
                </a:cubicBezTo>
                <a:cubicBezTo>
                  <a:pt x="487" y="188"/>
                  <a:pt x="487" y="188"/>
                  <a:pt x="487" y="189"/>
                </a:cubicBezTo>
                <a:cubicBezTo>
                  <a:pt x="488" y="188"/>
                  <a:pt x="491" y="189"/>
                  <a:pt x="491" y="189"/>
                </a:cubicBezTo>
                <a:cubicBezTo>
                  <a:pt x="492" y="189"/>
                  <a:pt x="492" y="189"/>
                  <a:pt x="493" y="188"/>
                </a:cubicBezTo>
                <a:cubicBezTo>
                  <a:pt x="493" y="189"/>
                  <a:pt x="493" y="189"/>
                  <a:pt x="494" y="189"/>
                </a:cubicBezTo>
                <a:cubicBezTo>
                  <a:pt x="494" y="189"/>
                  <a:pt x="495" y="189"/>
                  <a:pt x="495" y="189"/>
                </a:cubicBezTo>
                <a:cubicBezTo>
                  <a:pt x="496" y="189"/>
                  <a:pt x="497" y="189"/>
                  <a:pt x="498" y="189"/>
                </a:cubicBezTo>
                <a:cubicBezTo>
                  <a:pt x="498" y="190"/>
                  <a:pt x="499" y="190"/>
                  <a:pt x="500" y="190"/>
                </a:cubicBezTo>
                <a:cubicBezTo>
                  <a:pt x="500" y="190"/>
                  <a:pt x="500" y="190"/>
                  <a:pt x="500" y="190"/>
                </a:cubicBezTo>
                <a:cubicBezTo>
                  <a:pt x="501" y="190"/>
                  <a:pt x="501" y="190"/>
                  <a:pt x="501" y="190"/>
                </a:cubicBezTo>
                <a:cubicBezTo>
                  <a:pt x="501" y="190"/>
                  <a:pt x="502" y="190"/>
                  <a:pt x="502" y="190"/>
                </a:cubicBezTo>
                <a:cubicBezTo>
                  <a:pt x="502" y="191"/>
                  <a:pt x="503" y="191"/>
                  <a:pt x="504" y="191"/>
                </a:cubicBezTo>
                <a:cubicBezTo>
                  <a:pt x="505" y="191"/>
                  <a:pt x="505" y="191"/>
                  <a:pt x="505" y="190"/>
                </a:cubicBezTo>
                <a:cubicBezTo>
                  <a:pt x="505" y="189"/>
                  <a:pt x="505" y="188"/>
                  <a:pt x="506" y="188"/>
                </a:cubicBezTo>
                <a:cubicBezTo>
                  <a:pt x="504" y="187"/>
                  <a:pt x="502" y="187"/>
                  <a:pt x="501" y="187"/>
                </a:cubicBezTo>
                <a:cubicBezTo>
                  <a:pt x="501" y="186"/>
                  <a:pt x="501" y="186"/>
                  <a:pt x="501" y="185"/>
                </a:cubicBezTo>
                <a:cubicBezTo>
                  <a:pt x="501" y="185"/>
                  <a:pt x="500" y="185"/>
                  <a:pt x="500" y="185"/>
                </a:cubicBezTo>
                <a:cubicBezTo>
                  <a:pt x="500" y="185"/>
                  <a:pt x="501" y="185"/>
                  <a:pt x="500" y="184"/>
                </a:cubicBezTo>
                <a:cubicBezTo>
                  <a:pt x="499" y="184"/>
                  <a:pt x="497" y="183"/>
                  <a:pt x="496" y="184"/>
                </a:cubicBezTo>
                <a:cubicBezTo>
                  <a:pt x="495" y="184"/>
                  <a:pt x="496" y="184"/>
                  <a:pt x="496" y="183"/>
                </a:cubicBezTo>
                <a:cubicBezTo>
                  <a:pt x="494" y="183"/>
                  <a:pt x="493" y="182"/>
                  <a:pt x="492" y="181"/>
                </a:cubicBezTo>
                <a:cubicBezTo>
                  <a:pt x="491" y="180"/>
                  <a:pt x="491" y="180"/>
                  <a:pt x="490" y="179"/>
                </a:cubicBezTo>
                <a:cubicBezTo>
                  <a:pt x="489" y="179"/>
                  <a:pt x="489" y="178"/>
                  <a:pt x="489" y="178"/>
                </a:cubicBezTo>
                <a:cubicBezTo>
                  <a:pt x="489" y="178"/>
                  <a:pt x="489" y="178"/>
                  <a:pt x="489" y="178"/>
                </a:cubicBezTo>
                <a:cubicBezTo>
                  <a:pt x="489" y="177"/>
                  <a:pt x="490" y="177"/>
                  <a:pt x="491" y="177"/>
                </a:cubicBezTo>
                <a:cubicBezTo>
                  <a:pt x="491" y="178"/>
                  <a:pt x="494" y="178"/>
                  <a:pt x="494" y="178"/>
                </a:cubicBezTo>
                <a:cubicBezTo>
                  <a:pt x="495" y="178"/>
                  <a:pt x="495" y="179"/>
                  <a:pt x="496" y="179"/>
                </a:cubicBezTo>
                <a:cubicBezTo>
                  <a:pt x="496" y="178"/>
                  <a:pt x="496" y="178"/>
                  <a:pt x="495" y="177"/>
                </a:cubicBezTo>
                <a:cubicBezTo>
                  <a:pt x="497" y="177"/>
                  <a:pt x="498" y="179"/>
                  <a:pt x="500" y="179"/>
                </a:cubicBezTo>
                <a:cubicBezTo>
                  <a:pt x="500" y="179"/>
                  <a:pt x="502" y="178"/>
                  <a:pt x="503" y="178"/>
                </a:cubicBezTo>
                <a:cubicBezTo>
                  <a:pt x="503" y="178"/>
                  <a:pt x="503" y="179"/>
                  <a:pt x="503" y="179"/>
                </a:cubicBezTo>
                <a:cubicBezTo>
                  <a:pt x="503" y="179"/>
                  <a:pt x="503" y="179"/>
                  <a:pt x="504" y="179"/>
                </a:cubicBezTo>
                <a:cubicBezTo>
                  <a:pt x="505" y="179"/>
                  <a:pt x="504" y="179"/>
                  <a:pt x="504" y="180"/>
                </a:cubicBezTo>
                <a:cubicBezTo>
                  <a:pt x="505" y="180"/>
                  <a:pt x="505" y="180"/>
                  <a:pt x="506" y="179"/>
                </a:cubicBezTo>
                <a:cubicBezTo>
                  <a:pt x="506" y="180"/>
                  <a:pt x="506" y="180"/>
                  <a:pt x="507" y="180"/>
                </a:cubicBezTo>
                <a:cubicBezTo>
                  <a:pt x="507" y="181"/>
                  <a:pt x="507" y="180"/>
                  <a:pt x="507" y="181"/>
                </a:cubicBezTo>
                <a:cubicBezTo>
                  <a:pt x="507" y="181"/>
                  <a:pt x="507" y="181"/>
                  <a:pt x="507" y="182"/>
                </a:cubicBezTo>
                <a:cubicBezTo>
                  <a:pt x="508" y="182"/>
                  <a:pt x="508" y="182"/>
                  <a:pt x="509" y="182"/>
                </a:cubicBezTo>
                <a:cubicBezTo>
                  <a:pt x="509" y="182"/>
                  <a:pt x="510" y="181"/>
                  <a:pt x="509" y="181"/>
                </a:cubicBezTo>
                <a:cubicBezTo>
                  <a:pt x="509" y="181"/>
                  <a:pt x="509" y="181"/>
                  <a:pt x="508" y="181"/>
                </a:cubicBezTo>
                <a:cubicBezTo>
                  <a:pt x="508" y="181"/>
                  <a:pt x="508" y="180"/>
                  <a:pt x="507" y="179"/>
                </a:cubicBezTo>
                <a:cubicBezTo>
                  <a:pt x="507" y="178"/>
                  <a:pt x="506" y="179"/>
                  <a:pt x="506" y="179"/>
                </a:cubicBezTo>
                <a:cubicBezTo>
                  <a:pt x="505" y="178"/>
                  <a:pt x="506" y="178"/>
                  <a:pt x="506" y="178"/>
                </a:cubicBezTo>
                <a:cubicBezTo>
                  <a:pt x="507" y="178"/>
                  <a:pt x="507" y="178"/>
                  <a:pt x="508" y="178"/>
                </a:cubicBezTo>
                <a:cubicBezTo>
                  <a:pt x="508" y="177"/>
                  <a:pt x="507" y="176"/>
                  <a:pt x="507" y="175"/>
                </a:cubicBezTo>
                <a:cubicBezTo>
                  <a:pt x="508" y="175"/>
                  <a:pt x="508" y="175"/>
                  <a:pt x="509" y="176"/>
                </a:cubicBezTo>
                <a:cubicBezTo>
                  <a:pt x="509" y="175"/>
                  <a:pt x="509" y="174"/>
                  <a:pt x="510" y="174"/>
                </a:cubicBezTo>
                <a:cubicBezTo>
                  <a:pt x="509" y="174"/>
                  <a:pt x="508" y="172"/>
                  <a:pt x="508" y="172"/>
                </a:cubicBezTo>
                <a:cubicBezTo>
                  <a:pt x="508" y="171"/>
                  <a:pt x="508" y="171"/>
                  <a:pt x="507" y="170"/>
                </a:cubicBezTo>
                <a:cubicBezTo>
                  <a:pt x="506" y="171"/>
                  <a:pt x="507" y="172"/>
                  <a:pt x="507" y="172"/>
                </a:cubicBezTo>
                <a:cubicBezTo>
                  <a:pt x="506" y="172"/>
                  <a:pt x="506" y="172"/>
                  <a:pt x="506" y="171"/>
                </a:cubicBezTo>
                <a:cubicBezTo>
                  <a:pt x="506" y="170"/>
                  <a:pt x="504" y="171"/>
                  <a:pt x="505" y="171"/>
                </a:cubicBezTo>
                <a:cubicBezTo>
                  <a:pt x="503" y="171"/>
                  <a:pt x="505" y="170"/>
                  <a:pt x="504" y="170"/>
                </a:cubicBezTo>
                <a:cubicBezTo>
                  <a:pt x="503" y="170"/>
                  <a:pt x="503" y="169"/>
                  <a:pt x="502" y="169"/>
                </a:cubicBezTo>
                <a:cubicBezTo>
                  <a:pt x="502" y="169"/>
                  <a:pt x="502" y="169"/>
                  <a:pt x="501" y="169"/>
                </a:cubicBezTo>
                <a:cubicBezTo>
                  <a:pt x="500" y="169"/>
                  <a:pt x="500" y="168"/>
                  <a:pt x="500" y="168"/>
                </a:cubicBezTo>
                <a:cubicBezTo>
                  <a:pt x="500" y="167"/>
                  <a:pt x="499" y="167"/>
                  <a:pt x="499" y="167"/>
                </a:cubicBezTo>
                <a:cubicBezTo>
                  <a:pt x="499" y="166"/>
                  <a:pt x="499" y="165"/>
                  <a:pt x="498" y="165"/>
                </a:cubicBezTo>
                <a:cubicBezTo>
                  <a:pt x="498" y="165"/>
                  <a:pt x="498" y="163"/>
                  <a:pt x="498" y="163"/>
                </a:cubicBezTo>
                <a:cubicBezTo>
                  <a:pt x="497" y="163"/>
                  <a:pt x="498" y="163"/>
                  <a:pt x="497" y="163"/>
                </a:cubicBezTo>
                <a:cubicBezTo>
                  <a:pt x="497" y="163"/>
                  <a:pt x="496" y="164"/>
                  <a:pt x="496" y="164"/>
                </a:cubicBezTo>
                <a:cubicBezTo>
                  <a:pt x="495" y="163"/>
                  <a:pt x="495" y="163"/>
                  <a:pt x="495" y="162"/>
                </a:cubicBezTo>
                <a:cubicBezTo>
                  <a:pt x="494" y="162"/>
                  <a:pt x="494" y="162"/>
                  <a:pt x="494" y="161"/>
                </a:cubicBezTo>
                <a:cubicBezTo>
                  <a:pt x="494" y="161"/>
                  <a:pt x="494" y="161"/>
                  <a:pt x="494" y="161"/>
                </a:cubicBezTo>
                <a:cubicBezTo>
                  <a:pt x="494" y="161"/>
                  <a:pt x="494" y="160"/>
                  <a:pt x="494" y="160"/>
                </a:cubicBezTo>
                <a:cubicBezTo>
                  <a:pt x="494" y="160"/>
                  <a:pt x="494" y="160"/>
                  <a:pt x="495" y="160"/>
                </a:cubicBezTo>
                <a:cubicBezTo>
                  <a:pt x="495" y="159"/>
                  <a:pt x="495" y="160"/>
                  <a:pt x="496" y="161"/>
                </a:cubicBezTo>
                <a:cubicBezTo>
                  <a:pt x="496" y="161"/>
                  <a:pt x="497" y="161"/>
                  <a:pt x="497" y="161"/>
                </a:cubicBezTo>
                <a:cubicBezTo>
                  <a:pt x="497" y="160"/>
                  <a:pt x="497" y="160"/>
                  <a:pt x="497" y="160"/>
                </a:cubicBezTo>
                <a:cubicBezTo>
                  <a:pt x="497" y="159"/>
                  <a:pt x="497" y="159"/>
                  <a:pt x="496" y="158"/>
                </a:cubicBezTo>
                <a:cubicBezTo>
                  <a:pt x="496" y="158"/>
                  <a:pt x="496" y="158"/>
                  <a:pt x="496" y="158"/>
                </a:cubicBezTo>
                <a:cubicBezTo>
                  <a:pt x="496" y="157"/>
                  <a:pt x="496" y="157"/>
                  <a:pt x="496" y="156"/>
                </a:cubicBezTo>
                <a:cubicBezTo>
                  <a:pt x="496" y="156"/>
                  <a:pt x="495" y="156"/>
                  <a:pt x="495" y="156"/>
                </a:cubicBezTo>
                <a:cubicBezTo>
                  <a:pt x="495" y="155"/>
                  <a:pt x="496" y="156"/>
                  <a:pt x="496" y="156"/>
                </a:cubicBezTo>
                <a:cubicBezTo>
                  <a:pt x="497" y="157"/>
                  <a:pt x="497" y="158"/>
                  <a:pt x="497" y="158"/>
                </a:cubicBezTo>
                <a:cubicBezTo>
                  <a:pt x="497" y="158"/>
                  <a:pt x="498" y="158"/>
                  <a:pt x="498" y="158"/>
                </a:cubicBezTo>
                <a:cubicBezTo>
                  <a:pt x="498" y="158"/>
                  <a:pt x="498" y="157"/>
                  <a:pt x="498" y="157"/>
                </a:cubicBezTo>
                <a:cubicBezTo>
                  <a:pt x="498" y="157"/>
                  <a:pt x="498" y="156"/>
                  <a:pt x="498" y="155"/>
                </a:cubicBezTo>
                <a:cubicBezTo>
                  <a:pt x="498" y="155"/>
                  <a:pt x="497" y="155"/>
                  <a:pt x="497" y="155"/>
                </a:cubicBezTo>
                <a:cubicBezTo>
                  <a:pt x="498" y="155"/>
                  <a:pt x="499" y="155"/>
                  <a:pt x="499" y="155"/>
                </a:cubicBezTo>
                <a:cubicBezTo>
                  <a:pt x="499" y="155"/>
                  <a:pt x="500" y="155"/>
                  <a:pt x="500" y="155"/>
                </a:cubicBezTo>
                <a:cubicBezTo>
                  <a:pt x="500" y="156"/>
                  <a:pt x="499" y="157"/>
                  <a:pt x="501" y="157"/>
                </a:cubicBezTo>
                <a:cubicBezTo>
                  <a:pt x="501" y="158"/>
                  <a:pt x="501" y="158"/>
                  <a:pt x="501" y="159"/>
                </a:cubicBezTo>
                <a:cubicBezTo>
                  <a:pt x="502" y="159"/>
                  <a:pt x="501" y="160"/>
                  <a:pt x="502" y="160"/>
                </a:cubicBezTo>
                <a:cubicBezTo>
                  <a:pt x="502" y="160"/>
                  <a:pt x="503" y="160"/>
                  <a:pt x="503" y="160"/>
                </a:cubicBezTo>
                <a:cubicBezTo>
                  <a:pt x="503" y="161"/>
                  <a:pt x="504" y="160"/>
                  <a:pt x="504" y="160"/>
                </a:cubicBezTo>
                <a:cubicBezTo>
                  <a:pt x="504" y="160"/>
                  <a:pt x="504" y="161"/>
                  <a:pt x="504" y="161"/>
                </a:cubicBezTo>
                <a:cubicBezTo>
                  <a:pt x="505" y="161"/>
                  <a:pt x="505" y="161"/>
                  <a:pt x="506" y="161"/>
                </a:cubicBezTo>
                <a:cubicBezTo>
                  <a:pt x="507" y="161"/>
                  <a:pt x="506" y="161"/>
                  <a:pt x="507" y="161"/>
                </a:cubicBezTo>
                <a:cubicBezTo>
                  <a:pt x="507" y="161"/>
                  <a:pt x="508" y="160"/>
                  <a:pt x="508" y="160"/>
                </a:cubicBezTo>
                <a:cubicBezTo>
                  <a:pt x="508" y="161"/>
                  <a:pt x="508" y="161"/>
                  <a:pt x="507" y="162"/>
                </a:cubicBezTo>
                <a:cubicBezTo>
                  <a:pt x="506" y="162"/>
                  <a:pt x="506" y="162"/>
                  <a:pt x="507" y="162"/>
                </a:cubicBezTo>
                <a:cubicBezTo>
                  <a:pt x="507" y="162"/>
                  <a:pt x="508" y="163"/>
                  <a:pt x="508" y="162"/>
                </a:cubicBezTo>
                <a:cubicBezTo>
                  <a:pt x="508" y="162"/>
                  <a:pt x="509" y="162"/>
                  <a:pt x="509" y="162"/>
                </a:cubicBezTo>
                <a:cubicBezTo>
                  <a:pt x="509" y="163"/>
                  <a:pt x="509" y="163"/>
                  <a:pt x="508" y="163"/>
                </a:cubicBezTo>
                <a:cubicBezTo>
                  <a:pt x="509" y="163"/>
                  <a:pt x="510" y="163"/>
                  <a:pt x="511" y="163"/>
                </a:cubicBezTo>
                <a:cubicBezTo>
                  <a:pt x="511" y="164"/>
                  <a:pt x="510" y="164"/>
                  <a:pt x="510" y="165"/>
                </a:cubicBezTo>
                <a:cubicBezTo>
                  <a:pt x="511" y="165"/>
                  <a:pt x="512" y="165"/>
                  <a:pt x="513" y="165"/>
                </a:cubicBezTo>
                <a:cubicBezTo>
                  <a:pt x="514" y="166"/>
                  <a:pt x="511" y="165"/>
                  <a:pt x="511" y="166"/>
                </a:cubicBezTo>
                <a:cubicBezTo>
                  <a:pt x="511" y="167"/>
                  <a:pt x="512" y="168"/>
                  <a:pt x="513" y="167"/>
                </a:cubicBezTo>
                <a:cubicBezTo>
                  <a:pt x="514" y="166"/>
                  <a:pt x="513" y="167"/>
                  <a:pt x="514" y="167"/>
                </a:cubicBezTo>
                <a:cubicBezTo>
                  <a:pt x="514" y="168"/>
                  <a:pt x="514" y="167"/>
                  <a:pt x="514" y="168"/>
                </a:cubicBezTo>
                <a:cubicBezTo>
                  <a:pt x="514" y="168"/>
                  <a:pt x="515" y="168"/>
                  <a:pt x="515" y="168"/>
                </a:cubicBezTo>
                <a:cubicBezTo>
                  <a:pt x="515" y="168"/>
                  <a:pt x="516" y="168"/>
                  <a:pt x="516" y="168"/>
                </a:cubicBezTo>
                <a:cubicBezTo>
                  <a:pt x="516" y="169"/>
                  <a:pt x="517" y="169"/>
                  <a:pt x="517" y="169"/>
                </a:cubicBezTo>
                <a:cubicBezTo>
                  <a:pt x="518" y="169"/>
                  <a:pt x="517" y="168"/>
                  <a:pt x="518" y="168"/>
                </a:cubicBezTo>
                <a:cubicBezTo>
                  <a:pt x="518" y="168"/>
                  <a:pt x="518" y="168"/>
                  <a:pt x="518" y="168"/>
                </a:cubicBezTo>
                <a:cubicBezTo>
                  <a:pt x="519" y="168"/>
                  <a:pt x="519" y="167"/>
                  <a:pt x="519" y="167"/>
                </a:cubicBezTo>
                <a:cubicBezTo>
                  <a:pt x="518" y="167"/>
                  <a:pt x="518" y="165"/>
                  <a:pt x="518" y="165"/>
                </a:cubicBezTo>
                <a:cubicBezTo>
                  <a:pt x="518" y="164"/>
                  <a:pt x="517" y="164"/>
                  <a:pt x="516" y="164"/>
                </a:cubicBezTo>
                <a:cubicBezTo>
                  <a:pt x="517" y="163"/>
                  <a:pt x="517" y="162"/>
                  <a:pt x="517" y="162"/>
                </a:cubicBezTo>
                <a:cubicBezTo>
                  <a:pt x="518" y="162"/>
                  <a:pt x="517" y="163"/>
                  <a:pt x="518" y="163"/>
                </a:cubicBezTo>
                <a:cubicBezTo>
                  <a:pt x="519" y="163"/>
                  <a:pt x="520" y="164"/>
                  <a:pt x="519" y="163"/>
                </a:cubicBezTo>
                <a:cubicBezTo>
                  <a:pt x="520" y="163"/>
                  <a:pt x="521" y="163"/>
                  <a:pt x="521" y="163"/>
                </a:cubicBezTo>
                <a:cubicBezTo>
                  <a:pt x="521" y="162"/>
                  <a:pt x="521" y="162"/>
                  <a:pt x="520" y="162"/>
                </a:cubicBezTo>
                <a:cubicBezTo>
                  <a:pt x="520" y="161"/>
                  <a:pt x="520" y="161"/>
                  <a:pt x="520" y="160"/>
                </a:cubicBezTo>
                <a:cubicBezTo>
                  <a:pt x="520" y="161"/>
                  <a:pt x="521" y="161"/>
                  <a:pt x="521" y="161"/>
                </a:cubicBezTo>
                <a:cubicBezTo>
                  <a:pt x="521" y="160"/>
                  <a:pt x="520" y="160"/>
                  <a:pt x="521" y="159"/>
                </a:cubicBezTo>
                <a:cubicBezTo>
                  <a:pt x="521" y="158"/>
                  <a:pt x="521" y="158"/>
                  <a:pt x="522" y="158"/>
                </a:cubicBezTo>
                <a:cubicBezTo>
                  <a:pt x="522" y="158"/>
                  <a:pt x="523" y="158"/>
                  <a:pt x="523" y="158"/>
                </a:cubicBezTo>
                <a:cubicBezTo>
                  <a:pt x="524" y="157"/>
                  <a:pt x="523" y="156"/>
                  <a:pt x="522" y="156"/>
                </a:cubicBezTo>
                <a:cubicBezTo>
                  <a:pt x="523" y="155"/>
                  <a:pt x="523" y="155"/>
                  <a:pt x="524" y="155"/>
                </a:cubicBezTo>
                <a:cubicBezTo>
                  <a:pt x="524" y="155"/>
                  <a:pt x="525" y="156"/>
                  <a:pt x="525" y="156"/>
                </a:cubicBezTo>
                <a:cubicBezTo>
                  <a:pt x="525" y="158"/>
                  <a:pt x="526" y="157"/>
                  <a:pt x="527" y="157"/>
                </a:cubicBezTo>
                <a:cubicBezTo>
                  <a:pt x="527" y="156"/>
                  <a:pt x="526" y="156"/>
                  <a:pt x="526" y="156"/>
                </a:cubicBezTo>
                <a:cubicBezTo>
                  <a:pt x="527" y="155"/>
                  <a:pt x="526" y="154"/>
                  <a:pt x="526" y="154"/>
                </a:cubicBezTo>
                <a:cubicBezTo>
                  <a:pt x="526" y="154"/>
                  <a:pt x="527" y="154"/>
                  <a:pt x="528" y="154"/>
                </a:cubicBezTo>
                <a:cubicBezTo>
                  <a:pt x="528" y="154"/>
                  <a:pt x="529" y="153"/>
                  <a:pt x="528" y="153"/>
                </a:cubicBezTo>
                <a:cubicBezTo>
                  <a:pt x="527" y="152"/>
                  <a:pt x="527" y="151"/>
                  <a:pt x="526" y="150"/>
                </a:cubicBezTo>
                <a:cubicBezTo>
                  <a:pt x="525" y="150"/>
                  <a:pt x="524" y="150"/>
                  <a:pt x="524" y="149"/>
                </a:cubicBezTo>
                <a:cubicBezTo>
                  <a:pt x="523" y="149"/>
                  <a:pt x="524" y="150"/>
                  <a:pt x="524" y="151"/>
                </a:cubicBezTo>
                <a:cubicBezTo>
                  <a:pt x="523" y="151"/>
                  <a:pt x="523" y="151"/>
                  <a:pt x="522" y="151"/>
                </a:cubicBezTo>
                <a:cubicBezTo>
                  <a:pt x="522" y="151"/>
                  <a:pt x="522" y="152"/>
                  <a:pt x="521" y="152"/>
                </a:cubicBezTo>
                <a:cubicBezTo>
                  <a:pt x="521" y="152"/>
                  <a:pt x="521" y="151"/>
                  <a:pt x="521" y="151"/>
                </a:cubicBezTo>
                <a:cubicBezTo>
                  <a:pt x="520" y="151"/>
                  <a:pt x="521" y="151"/>
                  <a:pt x="520" y="151"/>
                </a:cubicBezTo>
                <a:cubicBezTo>
                  <a:pt x="520" y="151"/>
                  <a:pt x="520" y="151"/>
                  <a:pt x="520" y="152"/>
                </a:cubicBezTo>
                <a:cubicBezTo>
                  <a:pt x="520" y="153"/>
                  <a:pt x="520" y="153"/>
                  <a:pt x="519" y="153"/>
                </a:cubicBezTo>
                <a:cubicBezTo>
                  <a:pt x="519" y="152"/>
                  <a:pt x="519" y="151"/>
                  <a:pt x="519" y="151"/>
                </a:cubicBezTo>
                <a:cubicBezTo>
                  <a:pt x="519" y="150"/>
                  <a:pt x="520" y="150"/>
                  <a:pt x="520" y="149"/>
                </a:cubicBezTo>
                <a:cubicBezTo>
                  <a:pt x="519" y="150"/>
                  <a:pt x="519" y="149"/>
                  <a:pt x="518" y="149"/>
                </a:cubicBezTo>
                <a:cubicBezTo>
                  <a:pt x="518" y="150"/>
                  <a:pt x="518" y="150"/>
                  <a:pt x="518" y="151"/>
                </a:cubicBezTo>
                <a:cubicBezTo>
                  <a:pt x="518" y="152"/>
                  <a:pt x="517" y="152"/>
                  <a:pt x="517" y="151"/>
                </a:cubicBezTo>
                <a:cubicBezTo>
                  <a:pt x="517" y="151"/>
                  <a:pt x="517" y="151"/>
                  <a:pt x="516" y="151"/>
                </a:cubicBezTo>
                <a:cubicBezTo>
                  <a:pt x="516" y="150"/>
                  <a:pt x="515" y="150"/>
                  <a:pt x="514" y="151"/>
                </a:cubicBezTo>
                <a:cubicBezTo>
                  <a:pt x="514" y="150"/>
                  <a:pt x="514" y="150"/>
                  <a:pt x="514" y="150"/>
                </a:cubicBezTo>
                <a:cubicBezTo>
                  <a:pt x="513" y="150"/>
                  <a:pt x="513" y="150"/>
                  <a:pt x="512" y="150"/>
                </a:cubicBezTo>
                <a:cubicBezTo>
                  <a:pt x="512" y="150"/>
                  <a:pt x="512" y="150"/>
                  <a:pt x="512" y="150"/>
                </a:cubicBezTo>
                <a:cubicBezTo>
                  <a:pt x="512" y="149"/>
                  <a:pt x="512" y="149"/>
                  <a:pt x="513" y="149"/>
                </a:cubicBezTo>
                <a:cubicBezTo>
                  <a:pt x="513" y="149"/>
                  <a:pt x="514" y="148"/>
                  <a:pt x="513" y="148"/>
                </a:cubicBezTo>
                <a:cubicBezTo>
                  <a:pt x="513" y="148"/>
                  <a:pt x="513" y="147"/>
                  <a:pt x="513" y="147"/>
                </a:cubicBezTo>
                <a:cubicBezTo>
                  <a:pt x="513" y="147"/>
                  <a:pt x="513" y="147"/>
                  <a:pt x="512" y="146"/>
                </a:cubicBezTo>
                <a:cubicBezTo>
                  <a:pt x="512" y="146"/>
                  <a:pt x="512" y="146"/>
                  <a:pt x="511" y="146"/>
                </a:cubicBezTo>
                <a:cubicBezTo>
                  <a:pt x="511" y="146"/>
                  <a:pt x="511" y="145"/>
                  <a:pt x="511" y="145"/>
                </a:cubicBezTo>
                <a:cubicBezTo>
                  <a:pt x="510" y="145"/>
                  <a:pt x="510" y="145"/>
                  <a:pt x="510" y="146"/>
                </a:cubicBezTo>
                <a:cubicBezTo>
                  <a:pt x="510" y="147"/>
                  <a:pt x="510" y="148"/>
                  <a:pt x="509" y="148"/>
                </a:cubicBezTo>
                <a:cubicBezTo>
                  <a:pt x="509" y="147"/>
                  <a:pt x="509" y="147"/>
                  <a:pt x="509" y="146"/>
                </a:cubicBezTo>
                <a:cubicBezTo>
                  <a:pt x="509" y="146"/>
                  <a:pt x="508" y="146"/>
                  <a:pt x="509" y="145"/>
                </a:cubicBezTo>
                <a:cubicBezTo>
                  <a:pt x="510" y="144"/>
                  <a:pt x="510" y="144"/>
                  <a:pt x="509" y="143"/>
                </a:cubicBezTo>
                <a:cubicBezTo>
                  <a:pt x="508" y="144"/>
                  <a:pt x="508" y="144"/>
                  <a:pt x="507" y="144"/>
                </a:cubicBezTo>
                <a:cubicBezTo>
                  <a:pt x="507" y="145"/>
                  <a:pt x="507" y="146"/>
                  <a:pt x="507" y="146"/>
                </a:cubicBezTo>
                <a:cubicBezTo>
                  <a:pt x="507" y="146"/>
                  <a:pt x="506" y="147"/>
                  <a:pt x="506" y="146"/>
                </a:cubicBezTo>
                <a:cubicBezTo>
                  <a:pt x="506" y="146"/>
                  <a:pt x="506" y="145"/>
                  <a:pt x="506" y="145"/>
                </a:cubicBezTo>
                <a:cubicBezTo>
                  <a:pt x="506" y="145"/>
                  <a:pt x="506" y="144"/>
                  <a:pt x="506" y="144"/>
                </a:cubicBezTo>
                <a:cubicBezTo>
                  <a:pt x="505" y="144"/>
                  <a:pt x="505" y="148"/>
                  <a:pt x="504" y="146"/>
                </a:cubicBezTo>
                <a:cubicBezTo>
                  <a:pt x="504" y="145"/>
                  <a:pt x="503" y="146"/>
                  <a:pt x="503" y="146"/>
                </a:cubicBezTo>
                <a:cubicBezTo>
                  <a:pt x="502" y="147"/>
                  <a:pt x="503" y="147"/>
                  <a:pt x="501" y="147"/>
                </a:cubicBezTo>
                <a:cubicBezTo>
                  <a:pt x="502" y="146"/>
                  <a:pt x="502" y="145"/>
                  <a:pt x="503" y="144"/>
                </a:cubicBezTo>
                <a:cubicBezTo>
                  <a:pt x="502" y="144"/>
                  <a:pt x="502" y="144"/>
                  <a:pt x="501" y="144"/>
                </a:cubicBezTo>
                <a:cubicBezTo>
                  <a:pt x="501" y="144"/>
                  <a:pt x="501" y="144"/>
                  <a:pt x="501" y="145"/>
                </a:cubicBezTo>
                <a:cubicBezTo>
                  <a:pt x="501" y="145"/>
                  <a:pt x="501" y="145"/>
                  <a:pt x="501" y="145"/>
                </a:cubicBezTo>
                <a:cubicBezTo>
                  <a:pt x="501" y="143"/>
                  <a:pt x="501" y="144"/>
                  <a:pt x="500" y="144"/>
                </a:cubicBezTo>
                <a:cubicBezTo>
                  <a:pt x="499" y="143"/>
                  <a:pt x="501" y="143"/>
                  <a:pt x="499" y="143"/>
                </a:cubicBezTo>
                <a:cubicBezTo>
                  <a:pt x="499" y="143"/>
                  <a:pt x="499" y="143"/>
                  <a:pt x="498" y="143"/>
                </a:cubicBezTo>
                <a:cubicBezTo>
                  <a:pt x="498" y="142"/>
                  <a:pt x="499" y="142"/>
                  <a:pt x="499" y="141"/>
                </a:cubicBezTo>
                <a:cubicBezTo>
                  <a:pt x="499" y="141"/>
                  <a:pt x="499" y="141"/>
                  <a:pt x="498" y="141"/>
                </a:cubicBezTo>
                <a:cubicBezTo>
                  <a:pt x="497" y="141"/>
                  <a:pt x="497" y="141"/>
                  <a:pt x="497" y="142"/>
                </a:cubicBezTo>
                <a:cubicBezTo>
                  <a:pt x="496" y="142"/>
                  <a:pt x="497" y="140"/>
                  <a:pt x="497" y="140"/>
                </a:cubicBezTo>
                <a:cubicBezTo>
                  <a:pt x="496" y="139"/>
                  <a:pt x="495" y="140"/>
                  <a:pt x="494" y="140"/>
                </a:cubicBezTo>
                <a:cubicBezTo>
                  <a:pt x="493" y="140"/>
                  <a:pt x="493" y="139"/>
                  <a:pt x="492" y="139"/>
                </a:cubicBezTo>
                <a:cubicBezTo>
                  <a:pt x="493" y="137"/>
                  <a:pt x="490" y="139"/>
                  <a:pt x="491" y="137"/>
                </a:cubicBezTo>
                <a:cubicBezTo>
                  <a:pt x="492" y="138"/>
                  <a:pt x="493" y="138"/>
                  <a:pt x="494" y="137"/>
                </a:cubicBezTo>
                <a:cubicBezTo>
                  <a:pt x="495" y="137"/>
                  <a:pt x="495" y="135"/>
                  <a:pt x="496" y="136"/>
                </a:cubicBezTo>
                <a:cubicBezTo>
                  <a:pt x="495" y="135"/>
                  <a:pt x="495" y="134"/>
                  <a:pt x="494" y="134"/>
                </a:cubicBezTo>
                <a:cubicBezTo>
                  <a:pt x="494" y="133"/>
                  <a:pt x="493" y="133"/>
                  <a:pt x="493" y="132"/>
                </a:cubicBezTo>
                <a:cubicBezTo>
                  <a:pt x="494" y="132"/>
                  <a:pt x="494" y="132"/>
                  <a:pt x="495" y="133"/>
                </a:cubicBezTo>
                <a:cubicBezTo>
                  <a:pt x="495" y="133"/>
                  <a:pt x="494" y="133"/>
                  <a:pt x="495" y="133"/>
                </a:cubicBezTo>
                <a:cubicBezTo>
                  <a:pt x="496" y="133"/>
                  <a:pt x="497" y="133"/>
                  <a:pt x="499" y="133"/>
                </a:cubicBezTo>
                <a:cubicBezTo>
                  <a:pt x="499" y="133"/>
                  <a:pt x="499" y="133"/>
                  <a:pt x="499" y="133"/>
                </a:cubicBezTo>
                <a:cubicBezTo>
                  <a:pt x="499" y="132"/>
                  <a:pt x="498" y="131"/>
                  <a:pt x="496" y="131"/>
                </a:cubicBezTo>
                <a:cubicBezTo>
                  <a:pt x="496" y="131"/>
                  <a:pt x="496" y="131"/>
                  <a:pt x="496" y="131"/>
                </a:cubicBezTo>
                <a:cubicBezTo>
                  <a:pt x="496" y="131"/>
                  <a:pt x="495" y="131"/>
                  <a:pt x="495" y="130"/>
                </a:cubicBezTo>
                <a:cubicBezTo>
                  <a:pt x="495" y="130"/>
                  <a:pt x="493" y="130"/>
                  <a:pt x="493" y="130"/>
                </a:cubicBezTo>
                <a:cubicBezTo>
                  <a:pt x="493" y="130"/>
                  <a:pt x="493" y="131"/>
                  <a:pt x="493" y="131"/>
                </a:cubicBezTo>
                <a:cubicBezTo>
                  <a:pt x="493" y="131"/>
                  <a:pt x="492" y="130"/>
                  <a:pt x="492" y="130"/>
                </a:cubicBezTo>
                <a:cubicBezTo>
                  <a:pt x="492" y="129"/>
                  <a:pt x="492" y="129"/>
                  <a:pt x="491" y="129"/>
                </a:cubicBezTo>
                <a:cubicBezTo>
                  <a:pt x="491" y="129"/>
                  <a:pt x="491" y="128"/>
                  <a:pt x="491" y="128"/>
                </a:cubicBezTo>
                <a:cubicBezTo>
                  <a:pt x="492" y="128"/>
                  <a:pt x="493" y="128"/>
                  <a:pt x="494" y="128"/>
                </a:cubicBezTo>
                <a:cubicBezTo>
                  <a:pt x="494" y="128"/>
                  <a:pt x="494" y="128"/>
                  <a:pt x="495" y="128"/>
                </a:cubicBezTo>
                <a:cubicBezTo>
                  <a:pt x="495" y="127"/>
                  <a:pt x="496" y="128"/>
                  <a:pt x="496" y="127"/>
                </a:cubicBezTo>
                <a:cubicBezTo>
                  <a:pt x="496" y="127"/>
                  <a:pt x="496" y="126"/>
                  <a:pt x="497" y="126"/>
                </a:cubicBezTo>
                <a:cubicBezTo>
                  <a:pt x="497" y="124"/>
                  <a:pt x="496" y="124"/>
                  <a:pt x="494" y="123"/>
                </a:cubicBezTo>
                <a:cubicBezTo>
                  <a:pt x="494" y="122"/>
                  <a:pt x="493" y="123"/>
                  <a:pt x="493" y="123"/>
                </a:cubicBezTo>
                <a:cubicBezTo>
                  <a:pt x="493" y="124"/>
                  <a:pt x="493" y="124"/>
                  <a:pt x="493" y="125"/>
                </a:cubicBezTo>
                <a:cubicBezTo>
                  <a:pt x="492" y="126"/>
                  <a:pt x="492" y="125"/>
                  <a:pt x="491" y="126"/>
                </a:cubicBezTo>
                <a:cubicBezTo>
                  <a:pt x="491" y="124"/>
                  <a:pt x="491" y="124"/>
                  <a:pt x="489" y="124"/>
                </a:cubicBezTo>
                <a:cubicBezTo>
                  <a:pt x="489" y="124"/>
                  <a:pt x="488" y="124"/>
                  <a:pt x="489" y="123"/>
                </a:cubicBezTo>
                <a:cubicBezTo>
                  <a:pt x="489" y="123"/>
                  <a:pt x="490" y="123"/>
                  <a:pt x="490" y="122"/>
                </a:cubicBezTo>
                <a:cubicBezTo>
                  <a:pt x="491" y="122"/>
                  <a:pt x="491" y="122"/>
                  <a:pt x="492" y="122"/>
                </a:cubicBezTo>
                <a:cubicBezTo>
                  <a:pt x="492" y="121"/>
                  <a:pt x="490" y="122"/>
                  <a:pt x="489" y="120"/>
                </a:cubicBezTo>
                <a:cubicBezTo>
                  <a:pt x="489" y="119"/>
                  <a:pt x="489" y="119"/>
                  <a:pt x="488" y="119"/>
                </a:cubicBezTo>
                <a:cubicBezTo>
                  <a:pt x="487" y="119"/>
                  <a:pt x="487" y="119"/>
                  <a:pt x="486" y="120"/>
                </a:cubicBezTo>
                <a:cubicBezTo>
                  <a:pt x="485" y="120"/>
                  <a:pt x="486" y="121"/>
                  <a:pt x="485" y="121"/>
                </a:cubicBezTo>
                <a:cubicBezTo>
                  <a:pt x="484" y="121"/>
                  <a:pt x="484" y="121"/>
                  <a:pt x="484" y="121"/>
                </a:cubicBezTo>
                <a:cubicBezTo>
                  <a:pt x="484" y="120"/>
                  <a:pt x="485" y="120"/>
                  <a:pt x="486" y="119"/>
                </a:cubicBezTo>
                <a:cubicBezTo>
                  <a:pt x="485" y="119"/>
                  <a:pt x="484" y="119"/>
                  <a:pt x="483" y="119"/>
                </a:cubicBezTo>
                <a:cubicBezTo>
                  <a:pt x="483" y="120"/>
                  <a:pt x="482" y="121"/>
                  <a:pt x="482" y="121"/>
                </a:cubicBezTo>
                <a:cubicBezTo>
                  <a:pt x="481" y="121"/>
                  <a:pt x="481" y="121"/>
                  <a:pt x="481" y="120"/>
                </a:cubicBezTo>
                <a:cubicBezTo>
                  <a:pt x="481" y="120"/>
                  <a:pt x="481" y="119"/>
                  <a:pt x="481" y="119"/>
                </a:cubicBezTo>
                <a:cubicBezTo>
                  <a:pt x="482" y="119"/>
                  <a:pt x="482" y="119"/>
                  <a:pt x="483" y="118"/>
                </a:cubicBezTo>
                <a:cubicBezTo>
                  <a:pt x="484" y="118"/>
                  <a:pt x="484" y="117"/>
                  <a:pt x="483" y="117"/>
                </a:cubicBezTo>
                <a:cubicBezTo>
                  <a:pt x="482" y="117"/>
                  <a:pt x="482" y="117"/>
                  <a:pt x="481" y="117"/>
                </a:cubicBezTo>
                <a:cubicBezTo>
                  <a:pt x="481" y="117"/>
                  <a:pt x="481" y="117"/>
                  <a:pt x="481" y="116"/>
                </a:cubicBezTo>
                <a:cubicBezTo>
                  <a:pt x="481" y="116"/>
                  <a:pt x="481" y="117"/>
                  <a:pt x="480" y="117"/>
                </a:cubicBezTo>
                <a:cubicBezTo>
                  <a:pt x="480" y="117"/>
                  <a:pt x="481" y="117"/>
                  <a:pt x="481" y="118"/>
                </a:cubicBezTo>
                <a:cubicBezTo>
                  <a:pt x="480" y="118"/>
                  <a:pt x="480" y="118"/>
                  <a:pt x="480" y="118"/>
                </a:cubicBezTo>
                <a:cubicBezTo>
                  <a:pt x="479" y="118"/>
                  <a:pt x="480" y="119"/>
                  <a:pt x="479" y="119"/>
                </a:cubicBezTo>
                <a:cubicBezTo>
                  <a:pt x="479" y="118"/>
                  <a:pt x="479" y="118"/>
                  <a:pt x="479" y="118"/>
                </a:cubicBezTo>
                <a:cubicBezTo>
                  <a:pt x="478" y="118"/>
                  <a:pt x="478" y="118"/>
                  <a:pt x="477" y="118"/>
                </a:cubicBezTo>
                <a:cubicBezTo>
                  <a:pt x="478" y="117"/>
                  <a:pt x="478" y="118"/>
                  <a:pt x="478" y="117"/>
                </a:cubicBezTo>
                <a:close/>
                <a:moveTo>
                  <a:pt x="1482" y="92"/>
                </a:moveTo>
                <a:cubicBezTo>
                  <a:pt x="1482" y="93"/>
                  <a:pt x="1482" y="93"/>
                  <a:pt x="1482" y="94"/>
                </a:cubicBezTo>
                <a:cubicBezTo>
                  <a:pt x="1482" y="94"/>
                  <a:pt x="1483" y="94"/>
                  <a:pt x="1483" y="95"/>
                </a:cubicBezTo>
                <a:cubicBezTo>
                  <a:pt x="1483" y="95"/>
                  <a:pt x="1483" y="95"/>
                  <a:pt x="1484" y="94"/>
                </a:cubicBezTo>
                <a:cubicBezTo>
                  <a:pt x="1485" y="94"/>
                  <a:pt x="1484" y="93"/>
                  <a:pt x="1484" y="92"/>
                </a:cubicBezTo>
                <a:cubicBezTo>
                  <a:pt x="1484" y="92"/>
                  <a:pt x="1483" y="92"/>
                  <a:pt x="1482" y="92"/>
                </a:cubicBezTo>
                <a:cubicBezTo>
                  <a:pt x="1482" y="92"/>
                  <a:pt x="1482" y="92"/>
                  <a:pt x="1482" y="92"/>
                </a:cubicBezTo>
                <a:close/>
                <a:moveTo>
                  <a:pt x="1350" y="92"/>
                </a:moveTo>
                <a:cubicBezTo>
                  <a:pt x="1350" y="93"/>
                  <a:pt x="1349" y="94"/>
                  <a:pt x="1349" y="95"/>
                </a:cubicBezTo>
                <a:cubicBezTo>
                  <a:pt x="1350" y="95"/>
                  <a:pt x="1351" y="94"/>
                  <a:pt x="1352" y="94"/>
                </a:cubicBezTo>
                <a:cubicBezTo>
                  <a:pt x="1352" y="93"/>
                  <a:pt x="1353" y="92"/>
                  <a:pt x="1353" y="91"/>
                </a:cubicBezTo>
                <a:cubicBezTo>
                  <a:pt x="1353" y="91"/>
                  <a:pt x="1352" y="91"/>
                  <a:pt x="1352" y="91"/>
                </a:cubicBezTo>
                <a:cubicBezTo>
                  <a:pt x="1352" y="92"/>
                  <a:pt x="1351" y="92"/>
                  <a:pt x="1350" y="92"/>
                </a:cubicBezTo>
                <a:cubicBezTo>
                  <a:pt x="1350" y="93"/>
                  <a:pt x="1350" y="92"/>
                  <a:pt x="1350" y="92"/>
                </a:cubicBezTo>
                <a:close/>
                <a:moveTo>
                  <a:pt x="450" y="96"/>
                </a:moveTo>
                <a:cubicBezTo>
                  <a:pt x="450" y="95"/>
                  <a:pt x="450" y="95"/>
                  <a:pt x="450" y="95"/>
                </a:cubicBezTo>
                <a:cubicBezTo>
                  <a:pt x="450" y="92"/>
                  <a:pt x="450" y="95"/>
                  <a:pt x="450" y="94"/>
                </a:cubicBezTo>
                <a:cubicBezTo>
                  <a:pt x="449" y="93"/>
                  <a:pt x="450" y="92"/>
                  <a:pt x="449" y="92"/>
                </a:cubicBezTo>
                <a:cubicBezTo>
                  <a:pt x="448" y="92"/>
                  <a:pt x="448" y="92"/>
                  <a:pt x="448" y="92"/>
                </a:cubicBezTo>
                <a:cubicBezTo>
                  <a:pt x="448" y="92"/>
                  <a:pt x="448" y="92"/>
                  <a:pt x="448" y="92"/>
                </a:cubicBezTo>
                <a:cubicBezTo>
                  <a:pt x="447" y="92"/>
                  <a:pt x="447" y="92"/>
                  <a:pt x="446" y="91"/>
                </a:cubicBezTo>
                <a:cubicBezTo>
                  <a:pt x="446" y="92"/>
                  <a:pt x="446" y="92"/>
                  <a:pt x="446" y="92"/>
                </a:cubicBezTo>
                <a:cubicBezTo>
                  <a:pt x="445" y="92"/>
                  <a:pt x="445" y="92"/>
                  <a:pt x="445" y="92"/>
                </a:cubicBezTo>
                <a:cubicBezTo>
                  <a:pt x="444" y="92"/>
                  <a:pt x="445" y="92"/>
                  <a:pt x="444" y="92"/>
                </a:cubicBezTo>
                <a:cubicBezTo>
                  <a:pt x="444" y="92"/>
                  <a:pt x="444" y="92"/>
                  <a:pt x="443" y="92"/>
                </a:cubicBezTo>
                <a:cubicBezTo>
                  <a:pt x="443" y="92"/>
                  <a:pt x="443" y="92"/>
                  <a:pt x="443" y="92"/>
                </a:cubicBezTo>
                <a:cubicBezTo>
                  <a:pt x="443" y="93"/>
                  <a:pt x="442" y="92"/>
                  <a:pt x="442" y="93"/>
                </a:cubicBezTo>
                <a:cubicBezTo>
                  <a:pt x="442" y="93"/>
                  <a:pt x="441" y="94"/>
                  <a:pt x="441" y="93"/>
                </a:cubicBezTo>
                <a:cubicBezTo>
                  <a:pt x="441" y="93"/>
                  <a:pt x="440" y="93"/>
                  <a:pt x="440" y="93"/>
                </a:cubicBezTo>
                <a:cubicBezTo>
                  <a:pt x="440" y="93"/>
                  <a:pt x="440" y="93"/>
                  <a:pt x="440" y="92"/>
                </a:cubicBezTo>
                <a:cubicBezTo>
                  <a:pt x="440" y="92"/>
                  <a:pt x="438" y="92"/>
                  <a:pt x="438" y="92"/>
                </a:cubicBezTo>
                <a:cubicBezTo>
                  <a:pt x="437" y="92"/>
                  <a:pt x="437" y="92"/>
                  <a:pt x="436" y="92"/>
                </a:cubicBezTo>
                <a:cubicBezTo>
                  <a:pt x="436" y="93"/>
                  <a:pt x="436" y="93"/>
                  <a:pt x="435" y="93"/>
                </a:cubicBezTo>
                <a:cubicBezTo>
                  <a:pt x="434" y="93"/>
                  <a:pt x="435" y="93"/>
                  <a:pt x="435" y="93"/>
                </a:cubicBezTo>
                <a:cubicBezTo>
                  <a:pt x="434" y="94"/>
                  <a:pt x="434" y="93"/>
                  <a:pt x="433" y="94"/>
                </a:cubicBezTo>
                <a:cubicBezTo>
                  <a:pt x="433" y="94"/>
                  <a:pt x="432" y="95"/>
                  <a:pt x="432" y="95"/>
                </a:cubicBezTo>
                <a:cubicBezTo>
                  <a:pt x="431" y="96"/>
                  <a:pt x="432" y="96"/>
                  <a:pt x="432" y="96"/>
                </a:cubicBezTo>
                <a:cubicBezTo>
                  <a:pt x="432" y="96"/>
                  <a:pt x="431" y="96"/>
                  <a:pt x="431" y="97"/>
                </a:cubicBezTo>
                <a:cubicBezTo>
                  <a:pt x="432" y="98"/>
                  <a:pt x="432" y="98"/>
                  <a:pt x="431" y="99"/>
                </a:cubicBezTo>
                <a:cubicBezTo>
                  <a:pt x="431" y="99"/>
                  <a:pt x="431" y="100"/>
                  <a:pt x="431" y="100"/>
                </a:cubicBezTo>
                <a:cubicBezTo>
                  <a:pt x="430" y="100"/>
                  <a:pt x="431" y="101"/>
                  <a:pt x="431" y="101"/>
                </a:cubicBezTo>
                <a:cubicBezTo>
                  <a:pt x="431" y="102"/>
                  <a:pt x="432" y="103"/>
                  <a:pt x="433" y="104"/>
                </a:cubicBezTo>
                <a:cubicBezTo>
                  <a:pt x="434" y="104"/>
                  <a:pt x="435" y="104"/>
                  <a:pt x="436" y="103"/>
                </a:cubicBezTo>
                <a:cubicBezTo>
                  <a:pt x="437" y="102"/>
                  <a:pt x="437" y="103"/>
                  <a:pt x="438" y="103"/>
                </a:cubicBezTo>
                <a:cubicBezTo>
                  <a:pt x="440" y="103"/>
                  <a:pt x="441" y="103"/>
                  <a:pt x="442" y="103"/>
                </a:cubicBezTo>
                <a:cubicBezTo>
                  <a:pt x="442" y="103"/>
                  <a:pt x="442" y="103"/>
                  <a:pt x="442" y="103"/>
                </a:cubicBezTo>
                <a:cubicBezTo>
                  <a:pt x="443" y="103"/>
                  <a:pt x="443" y="102"/>
                  <a:pt x="443" y="102"/>
                </a:cubicBezTo>
                <a:cubicBezTo>
                  <a:pt x="443" y="102"/>
                  <a:pt x="444" y="102"/>
                  <a:pt x="444" y="102"/>
                </a:cubicBezTo>
                <a:cubicBezTo>
                  <a:pt x="444" y="102"/>
                  <a:pt x="445" y="100"/>
                  <a:pt x="445" y="100"/>
                </a:cubicBezTo>
                <a:cubicBezTo>
                  <a:pt x="446" y="100"/>
                  <a:pt x="447" y="101"/>
                  <a:pt x="447" y="100"/>
                </a:cubicBezTo>
                <a:cubicBezTo>
                  <a:pt x="449" y="99"/>
                  <a:pt x="448" y="100"/>
                  <a:pt x="450" y="100"/>
                </a:cubicBezTo>
                <a:cubicBezTo>
                  <a:pt x="451" y="100"/>
                  <a:pt x="452" y="99"/>
                  <a:pt x="452" y="98"/>
                </a:cubicBezTo>
                <a:cubicBezTo>
                  <a:pt x="452" y="97"/>
                  <a:pt x="451" y="98"/>
                  <a:pt x="451" y="97"/>
                </a:cubicBezTo>
                <a:cubicBezTo>
                  <a:pt x="451" y="96"/>
                  <a:pt x="451" y="97"/>
                  <a:pt x="451" y="96"/>
                </a:cubicBezTo>
                <a:cubicBezTo>
                  <a:pt x="451" y="96"/>
                  <a:pt x="451" y="96"/>
                  <a:pt x="450" y="96"/>
                </a:cubicBezTo>
                <a:cubicBezTo>
                  <a:pt x="450" y="95"/>
                  <a:pt x="450" y="96"/>
                  <a:pt x="450" y="96"/>
                </a:cubicBezTo>
                <a:close/>
                <a:moveTo>
                  <a:pt x="497" y="683"/>
                </a:moveTo>
                <a:cubicBezTo>
                  <a:pt x="496" y="682"/>
                  <a:pt x="495" y="681"/>
                  <a:pt x="495" y="680"/>
                </a:cubicBezTo>
                <a:cubicBezTo>
                  <a:pt x="496" y="680"/>
                  <a:pt x="496" y="680"/>
                  <a:pt x="496" y="681"/>
                </a:cubicBezTo>
                <a:cubicBezTo>
                  <a:pt x="496" y="681"/>
                  <a:pt x="496" y="682"/>
                  <a:pt x="496" y="682"/>
                </a:cubicBezTo>
                <a:cubicBezTo>
                  <a:pt x="496" y="682"/>
                  <a:pt x="497" y="682"/>
                  <a:pt x="497" y="683"/>
                </a:cubicBezTo>
                <a:cubicBezTo>
                  <a:pt x="496" y="683"/>
                  <a:pt x="497" y="683"/>
                  <a:pt x="497" y="683"/>
                </a:cubicBezTo>
                <a:close/>
                <a:moveTo>
                  <a:pt x="488" y="667"/>
                </a:moveTo>
                <a:cubicBezTo>
                  <a:pt x="488" y="667"/>
                  <a:pt x="488" y="667"/>
                  <a:pt x="488" y="667"/>
                </a:cubicBezTo>
                <a:cubicBezTo>
                  <a:pt x="487" y="667"/>
                  <a:pt x="487" y="666"/>
                  <a:pt x="486" y="666"/>
                </a:cubicBezTo>
                <a:cubicBezTo>
                  <a:pt x="486" y="666"/>
                  <a:pt x="485" y="665"/>
                  <a:pt x="485" y="665"/>
                </a:cubicBezTo>
                <a:cubicBezTo>
                  <a:pt x="484" y="664"/>
                  <a:pt x="484" y="664"/>
                  <a:pt x="483" y="665"/>
                </a:cubicBezTo>
                <a:cubicBezTo>
                  <a:pt x="483" y="664"/>
                  <a:pt x="483" y="664"/>
                  <a:pt x="483" y="663"/>
                </a:cubicBezTo>
                <a:cubicBezTo>
                  <a:pt x="483" y="662"/>
                  <a:pt x="483" y="662"/>
                  <a:pt x="484" y="662"/>
                </a:cubicBezTo>
                <a:cubicBezTo>
                  <a:pt x="485" y="661"/>
                  <a:pt x="484" y="662"/>
                  <a:pt x="485" y="662"/>
                </a:cubicBezTo>
                <a:cubicBezTo>
                  <a:pt x="485" y="662"/>
                  <a:pt x="485" y="663"/>
                  <a:pt x="485" y="663"/>
                </a:cubicBezTo>
                <a:cubicBezTo>
                  <a:pt x="486" y="663"/>
                  <a:pt x="485" y="664"/>
                  <a:pt x="485" y="664"/>
                </a:cubicBezTo>
                <a:cubicBezTo>
                  <a:pt x="485" y="665"/>
                  <a:pt x="486" y="665"/>
                  <a:pt x="487" y="665"/>
                </a:cubicBezTo>
                <a:cubicBezTo>
                  <a:pt x="487" y="665"/>
                  <a:pt x="487" y="665"/>
                  <a:pt x="488" y="666"/>
                </a:cubicBezTo>
                <a:cubicBezTo>
                  <a:pt x="488" y="666"/>
                  <a:pt x="488" y="666"/>
                  <a:pt x="488" y="667"/>
                </a:cubicBezTo>
                <a:close/>
                <a:moveTo>
                  <a:pt x="475" y="896"/>
                </a:moveTo>
                <a:cubicBezTo>
                  <a:pt x="474" y="896"/>
                  <a:pt x="474" y="896"/>
                  <a:pt x="474" y="895"/>
                </a:cubicBezTo>
                <a:cubicBezTo>
                  <a:pt x="474" y="895"/>
                  <a:pt x="475" y="895"/>
                  <a:pt x="475" y="894"/>
                </a:cubicBezTo>
                <a:cubicBezTo>
                  <a:pt x="475" y="893"/>
                  <a:pt x="475" y="893"/>
                  <a:pt x="476" y="893"/>
                </a:cubicBezTo>
                <a:cubicBezTo>
                  <a:pt x="476" y="893"/>
                  <a:pt x="475" y="893"/>
                  <a:pt x="476" y="893"/>
                </a:cubicBezTo>
                <a:cubicBezTo>
                  <a:pt x="476" y="893"/>
                  <a:pt x="476" y="893"/>
                  <a:pt x="476" y="893"/>
                </a:cubicBezTo>
                <a:cubicBezTo>
                  <a:pt x="478" y="894"/>
                  <a:pt x="476" y="895"/>
                  <a:pt x="475" y="896"/>
                </a:cubicBezTo>
                <a:close/>
                <a:moveTo>
                  <a:pt x="473" y="891"/>
                </a:moveTo>
                <a:cubicBezTo>
                  <a:pt x="474" y="892"/>
                  <a:pt x="475" y="892"/>
                  <a:pt x="476" y="892"/>
                </a:cubicBezTo>
                <a:cubicBezTo>
                  <a:pt x="475" y="893"/>
                  <a:pt x="473" y="892"/>
                  <a:pt x="473" y="891"/>
                </a:cubicBezTo>
                <a:cubicBezTo>
                  <a:pt x="473" y="892"/>
                  <a:pt x="473" y="891"/>
                  <a:pt x="473" y="891"/>
                </a:cubicBezTo>
                <a:close/>
                <a:moveTo>
                  <a:pt x="470" y="895"/>
                </a:moveTo>
                <a:cubicBezTo>
                  <a:pt x="470" y="894"/>
                  <a:pt x="471" y="893"/>
                  <a:pt x="472" y="893"/>
                </a:cubicBezTo>
                <a:cubicBezTo>
                  <a:pt x="472" y="894"/>
                  <a:pt x="472" y="894"/>
                  <a:pt x="472" y="895"/>
                </a:cubicBezTo>
                <a:cubicBezTo>
                  <a:pt x="471" y="895"/>
                  <a:pt x="471" y="895"/>
                  <a:pt x="470" y="895"/>
                </a:cubicBezTo>
                <a:cubicBezTo>
                  <a:pt x="470" y="894"/>
                  <a:pt x="470" y="895"/>
                  <a:pt x="470" y="895"/>
                </a:cubicBezTo>
                <a:close/>
                <a:moveTo>
                  <a:pt x="414" y="514"/>
                </a:moveTo>
                <a:cubicBezTo>
                  <a:pt x="413" y="514"/>
                  <a:pt x="412" y="513"/>
                  <a:pt x="411" y="513"/>
                </a:cubicBezTo>
                <a:cubicBezTo>
                  <a:pt x="410" y="513"/>
                  <a:pt x="410" y="513"/>
                  <a:pt x="410" y="512"/>
                </a:cubicBezTo>
                <a:cubicBezTo>
                  <a:pt x="409" y="512"/>
                  <a:pt x="409" y="510"/>
                  <a:pt x="408" y="511"/>
                </a:cubicBezTo>
                <a:cubicBezTo>
                  <a:pt x="408" y="510"/>
                  <a:pt x="408" y="509"/>
                  <a:pt x="409" y="508"/>
                </a:cubicBezTo>
                <a:cubicBezTo>
                  <a:pt x="409" y="508"/>
                  <a:pt x="410" y="509"/>
                  <a:pt x="410" y="509"/>
                </a:cubicBezTo>
                <a:cubicBezTo>
                  <a:pt x="411" y="511"/>
                  <a:pt x="412" y="509"/>
                  <a:pt x="412" y="511"/>
                </a:cubicBezTo>
                <a:cubicBezTo>
                  <a:pt x="412" y="511"/>
                  <a:pt x="413" y="512"/>
                  <a:pt x="413" y="512"/>
                </a:cubicBezTo>
                <a:cubicBezTo>
                  <a:pt x="414" y="513"/>
                  <a:pt x="414" y="513"/>
                  <a:pt x="414" y="514"/>
                </a:cubicBezTo>
                <a:cubicBezTo>
                  <a:pt x="412" y="513"/>
                  <a:pt x="414" y="514"/>
                  <a:pt x="414" y="514"/>
                </a:cubicBezTo>
                <a:close/>
                <a:moveTo>
                  <a:pt x="407" y="507"/>
                </a:moveTo>
                <a:cubicBezTo>
                  <a:pt x="406" y="507"/>
                  <a:pt x="405" y="506"/>
                  <a:pt x="405" y="505"/>
                </a:cubicBezTo>
                <a:cubicBezTo>
                  <a:pt x="406" y="505"/>
                  <a:pt x="407" y="505"/>
                  <a:pt x="407" y="506"/>
                </a:cubicBezTo>
                <a:cubicBezTo>
                  <a:pt x="408" y="506"/>
                  <a:pt x="407" y="507"/>
                  <a:pt x="407" y="507"/>
                </a:cubicBezTo>
                <a:cubicBezTo>
                  <a:pt x="406" y="507"/>
                  <a:pt x="407" y="507"/>
                  <a:pt x="407" y="507"/>
                </a:cubicBezTo>
                <a:close/>
                <a:moveTo>
                  <a:pt x="350" y="275"/>
                </a:moveTo>
                <a:cubicBezTo>
                  <a:pt x="349" y="275"/>
                  <a:pt x="349" y="275"/>
                  <a:pt x="348" y="275"/>
                </a:cubicBezTo>
                <a:cubicBezTo>
                  <a:pt x="348" y="275"/>
                  <a:pt x="347" y="272"/>
                  <a:pt x="347" y="271"/>
                </a:cubicBezTo>
                <a:cubicBezTo>
                  <a:pt x="347" y="270"/>
                  <a:pt x="347" y="270"/>
                  <a:pt x="347" y="269"/>
                </a:cubicBezTo>
                <a:cubicBezTo>
                  <a:pt x="346" y="269"/>
                  <a:pt x="346" y="269"/>
                  <a:pt x="346" y="268"/>
                </a:cubicBezTo>
                <a:cubicBezTo>
                  <a:pt x="345" y="268"/>
                  <a:pt x="345" y="268"/>
                  <a:pt x="345" y="267"/>
                </a:cubicBezTo>
                <a:cubicBezTo>
                  <a:pt x="345" y="267"/>
                  <a:pt x="344" y="267"/>
                  <a:pt x="344" y="267"/>
                </a:cubicBezTo>
                <a:cubicBezTo>
                  <a:pt x="343" y="266"/>
                  <a:pt x="343" y="264"/>
                  <a:pt x="344" y="264"/>
                </a:cubicBezTo>
                <a:cubicBezTo>
                  <a:pt x="345" y="263"/>
                  <a:pt x="346" y="265"/>
                  <a:pt x="346" y="266"/>
                </a:cubicBezTo>
                <a:cubicBezTo>
                  <a:pt x="346" y="266"/>
                  <a:pt x="347" y="266"/>
                  <a:pt x="347" y="266"/>
                </a:cubicBezTo>
                <a:cubicBezTo>
                  <a:pt x="347" y="266"/>
                  <a:pt x="347" y="267"/>
                  <a:pt x="348" y="268"/>
                </a:cubicBezTo>
                <a:cubicBezTo>
                  <a:pt x="348" y="269"/>
                  <a:pt x="348" y="269"/>
                  <a:pt x="349" y="269"/>
                </a:cubicBezTo>
                <a:cubicBezTo>
                  <a:pt x="349" y="269"/>
                  <a:pt x="349" y="270"/>
                  <a:pt x="349" y="271"/>
                </a:cubicBezTo>
                <a:cubicBezTo>
                  <a:pt x="349" y="272"/>
                  <a:pt x="350" y="272"/>
                  <a:pt x="351" y="273"/>
                </a:cubicBezTo>
                <a:cubicBezTo>
                  <a:pt x="351" y="274"/>
                  <a:pt x="350" y="274"/>
                  <a:pt x="350" y="275"/>
                </a:cubicBezTo>
                <a:close/>
                <a:moveTo>
                  <a:pt x="343" y="264"/>
                </a:moveTo>
                <a:cubicBezTo>
                  <a:pt x="342" y="264"/>
                  <a:pt x="341" y="264"/>
                  <a:pt x="341" y="264"/>
                </a:cubicBezTo>
                <a:cubicBezTo>
                  <a:pt x="341" y="264"/>
                  <a:pt x="340" y="263"/>
                  <a:pt x="340" y="263"/>
                </a:cubicBezTo>
                <a:cubicBezTo>
                  <a:pt x="340" y="262"/>
                  <a:pt x="340" y="262"/>
                  <a:pt x="340" y="261"/>
                </a:cubicBezTo>
                <a:cubicBezTo>
                  <a:pt x="341" y="260"/>
                  <a:pt x="340" y="260"/>
                  <a:pt x="340" y="259"/>
                </a:cubicBezTo>
                <a:cubicBezTo>
                  <a:pt x="340" y="257"/>
                  <a:pt x="339" y="258"/>
                  <a:pt x="339" y="257"/>
                </a:cubicBezTo>
                <a:cubicBezTo>
                  <a:pt x="338" y="256"/>
                  <a:pt x="338" y="256"/>
                  <a:pt x="337" y="256"/>
                </a:cubicBezTo>
                <a:cubicBezTo>
                  <a:pt x="337" y="256"/>
                  <a:pt x="337" y="256"/>
                  <a:pt x="337" y="255"/>
                </a:cubicBezTo>
                <a:cubicBezTo>
                  <a:pt x="338" y="255"/>
                  <a:pt x="339" y="255"/>
                  <a:pt x="340" y="255"/>
                </a:cubicBezTo>
                <a:cubicBezTo>
                  <a:pt x="340" y="254"/>
                  <a:pt x="339" y="253"/>
                  <a:pt x="340" y="253"/>
                </a:cubicBezTo>
                <a:cubicBezTo>
                  <a:pt x="341" y="254"/>
                  <a:pt x="341" y="255"/>
                  <a:pt x="341" y="255"/>
                </a:cubicBezTo>
                <a:cubicBezTo>
                  <a:pt x="341" y="256"/>
                  <a:pt x="342" y="256"/>
                  <a:pt x="342" y="256"/>
                </a:cubicBezTo>
                <a:cubicBezTo>
                  <a:pt x="343" y="257"/>
                  <a:pt x="343" y="258"/>
                  <a:pt x="343" y="259"/>
                </a:cubicBezTo>
                <a:cubicBezTo>
                  <a:pt x="343" y="260"/>
                  <a:pt x="342" y="262"/>
                  <a:pt x="343" y="264"/>
                </a:cubicBezTo>
                <a:cubicBezTo>
                  <a:pt x="341" y="264"/>
                  <a:pt x="343" y="264"/>
                  <a:pt x="343" y="264"/>
                </a:cubicBezTo>
                <a:close/>
                <a:moveTo>
                  <a:pt x="344" y="253"/>
                </a:moveTo>
                <a:cubicBezTo>
                  <a:pt x="344" y="253"/>
                  <a:pt x="344" y="253"/>
                  <a:pt x="344" y="253"/>
                </a:cubicBezTo>
                <a:cubicBezTo>
                  <a:pt x="345" y="252"/>
                  <a:pt x="345" y="252"/>
                  <a:pt x="345" y="251"/>
                </a:cubicBezTo>
                <a:cubicBezTo>
                  <a:pt x="346" y="251"/>
                  <a:pt x="346" y="249"/>
                  <a:pt x="346" y="249"/>
                </a:cubicBezTo>
                <a:cubicBezTo>
                  <a:pt x="347" y="249"/>
                  <a:pt x="348" y="249"/>
                  <a:pt x="349" y="249"/>
                </a:cubicBezTo>
                <a:cubicBezTo>
                  <a:pt x="349" y="248"/>
                  <a:pt x="349" y="248"/>
                  <a:pt x="349" y="247"/>
                </a:cubicBezTo>
                <a:cubicBezTo>
                  <a:pt x="349" y="247"/>
                  <a:pt x="349" y="246"/>
                  <a:pt x="350" y="246"/>
                </a:cubicBezTo>
                <a:cubicBezTo>
                  <a:pt x="350" y="247"/>
                  <a:pt x="350" y="248"/>
                  <a:pt x="350" y="248"/>
                </a:cubicBezTo>
                <a:cubicBezTo>
                  <a:pt x="350" y="248"/>
                  <a:pt x="351" y="248"/>
                  <a:pt x="351" y="248"/>
                </a:cubicBezTo>
                <a:cubicBezTo>
                  <a:pt x="351" y="249"/>
                  <a:pt x="350" y="250"/>
                  <a:pt x="350" y="251"/>
                </a:cubicBezTo>
                <a:cubicBezTo>
                  <a:pt x="351" y="251"/>
                  <a:pt x="351" y="252"/>
                  <a:pt x="351" y="252"/>
                </a:cubicBezTo>
                <a:cubicBezTo>
                  <a:pt x="351" y="252"/>
                  <a:pt x="351" y="252"/>
                  <a:pt x="351" y="252"/>
                </a:cubicBezTo>
                <a:cubicBezTo>
                  <a:pt x="351" y="253"/>
                  <a:pt x="351" y="254"/>
                  <a:pt x="352" y="254"/>
                </a:cubicBezTo>
                <a:cubicBezTo>
                  <a:pt x="352" y="255"/>
                  <a:pt x="352" y="255"/>
                  <a:pt x="352" y="256"/>
                </a:cubicBezTo>
                <a:cubicBezTo>
                  <a:pt x="352" y="256"/>
                  <a:pt x="353" y="256"/>
                  <a:pt x="353" y="257"/>
                </a:cubicBezTo>
                <a:cubicBezTo>
                  <a:pt x="353" y="257"/>
                  <a:pt x="353" y="257"/>
                  <a:pt x="353" y="257"/>
                </a:cubicBezTo>
                <a:cubicBezTo>
                  <a:pt x="353" y="258"/>
                  <a:pt x="353" y="258"/>
                  <a:pt x="354" y="258"/>
                </a:cubicBezTo>
                <a:cubicBezTo>
                  <a:pt x="354" y="258"/>
                  <a:pt x="354" y="259"/>
                  <a:pt x="354" y="259"/>
                </a:cubicBezTo>
                <a:cubicBezTo>
                  <a:pt x="356" y="260"/>
                  <a:pt x="355" y="260"/>
                  <a:pt x="355" y="261"/>
                </a:cubicBezTo>
                <a:cubicBezTo>
                  <a:pt x="355" y="261"/>
                  <a:pt x="355" y="261"/>
                  <a:pt x="355" y="262"/>
                </a:cubicBezTo>
                <a:cubicBezTo>
                  <a:pt x="355" y="262"/>
                  <a:pt x="355" y="262"/>
                  <a:pt x="356" y="262"/>
                </a:cubicBezTo>
                <a:cubicBezTo>
                  <a:pt x="356" y="262"/>
                  <a:pt x="356" y="263"/>
                  <a:pt x="356" y="264"/>
                </a:cubicBezTo>
                <a:cubicBezTo>
                  <a:pt x="356" y="264"/>
                  <a:pt x="357" y="264"/>
                  <a:pt x="357" y="264"/>
                </a:cubicBezTo>
                <a:cubicBezTo>
                  <a:pt x="357" y="265"/>
                  <a:pt x="357" y="265"/>
                  <a:pt x="358" y="266"/>
                </a:cubicBezTo>
                <a:cubicBezTo>
                  <a:pt x="359" y="266"/>
                  <a:pt x="359" y="266"/>
                  <a:pt x="360" y="266"/>
                </a:cubicBezTo>
                <a:cubicBezTo>
                  <a:pt x="360" y="267"/>
                  <a:pt x="360" y="268"/>
                  <a:pt x="359" y="268"/>
                </a:cubicBezTo>
                <a:cubicBezTo>
                  <a:pt x="359" y="269"/>
                  <a:pt x="359" y="269"/>
                  <a:pt x="359" y="270"/>
                </a:cubicBezTo>
                <a:cubicBezTo>
                  <a:pt x="359" y="271"/>
                  <a:pt x="359" y="270"/>
                  <a:pt x="360" y="270"/>
                </a:cubicBezTo>
                <a:cubicBezTo>
                  <a:pt x="360" y="271"/>
                  <a:pt x="360" y="271"/>
                  <a:pt x="360" y="272"/>
                </a:cubicBezTo>
                <a:cubicBezTo>
                  <a:pt x="360" y="272"/>
                  <a:pt x="360" y="272"/>
                  <a:pt x="360" y="272"/>
                </a:cubicBezTo>
                <a:cubicBezTo>
                  <a:pt x="360" y="272"/>
                  <a:pt x="358" y="272"/>
                  <a:pt x="358" y="272"/>
                </a:cubicBezTo>
                <a:cubicBezTo>
                  <a:pt x="358" y="273"/>
                  <a:pt x="359" y="273"/>
                  <a:pt x="358" y="273"/>
                </a:cubicBezTo>
                <a:cubicBezTo>
                  <a:pt x="356" y="273"/>
                  <a:pt x="357" y="273"/>
                  <a:pt x="356" y="272"/>
                </a:cubicBezTo>
                <a:cubicBezTo>
                  <a:pt x="356" y="271"/>
                  <a:pt x="355" y="269"/>
                  <a:pt x="356" y="269"/>
                </a:cubicBezTo>
                <a:cubicBezTo>
                  <a:pt x="356" y="268"/>
                  <a:pt x="356" y="268"/>
                  <a:pt x="356" y="268"/>
                </a:cubicBezTo>
                <a:cubicBezTo>
                  <a:pt x="356" y="268"/>
                  <a:pt x="356" y="267"/>
                  <a:pt x="356" y="266"/>
                </a:cubicBezTo>
                <a:cubicBezTo>
                  <a:pt x="356" y="266"/>
                  <a:pt x="353" y="266"/>
                  <a:pt x="355" y="266"/>
                </a:cubicBezTo>
                <a:cubicBezTo>
                  <a:pt x="355" y="265"/>
                  <a:pt x="355" y="264"/>
                  <a:pt x="354" y="264"/>
                </a:cubicBezTo>
                <a:cubicBezTo>
                  <a:pt x="352" y="264"/>
                  <a:pt x="352" y="264"/>
                  <a:pt x="352" y="262"/>
                </a:cubicBezTo>
                <a:cubicBezTo>
                  <a:pt x="352" y="262"/>
                  <a:pt x="353" y="262"/>
                  <a:pt x="353" y="261"/>
                </a:cubicBezTo>
                <a:cubicBezTo>
                  <a:pt x="352" y="261"/>
                  <a:pt x="352" y="261"/>
                  <a:pt x="352" y="260"/>
                </a:cubicBezTo>
                <a:cubicBezTo>
                  <a:pt x="351" y="260"/>
                  <a:pt x="351" y="261"/>
                  <a:pt x="350" y="260"/>
                </a:cubicBezTo>
                <a:cubicBezTo>
                  <a:pt x="349" y="259"/>
                  <a:pt x="349" y="259"/>
                  <a:pt x="348" y="258"/>
                </a:cubicBezTo>
                <a:cubicBezTo>
                  <a:pt x="347" y="258"/>
                  <a:pt x="345" y="257"/>
                  <a:pt x="346" y="256"/>
                </a:cubicBezTo>
                <a:cubicBezTo>
                  <a:pt x="346" y="255"/>
                  <a:pt x="347" y="255"/>
                  <a:pt x="347" y="255"/>
                </a:cubicBezTo>
                <a:cubicBezTo>
                  <a:pt x="347" y="255"/>
                  <a:pt x="345" y="255"/>
                  <a:pt x="345" y="255"/>
                </a:cubicBezTo>
                <a:cubicBezTo>
                  <a:pt x="345" y="255"/>
                  <a:pt x="344" y="253"/>
                  <a:pt x="344" y="253"/>
                </a:cubicBezTo>
                <a:close/>
                <a:moveTo>
                  <a:pt x="333" y="222"/>
                </a:moveTo>
                <a:cubicBezTo>
                  <a:pt x="332" y="222"/>
                  <a:pt x="333" y="222"/>
                  <a:pt x="333" y="223"/>
                </a:cubicBezTo>
                <a:cubicBezTo>
                  <a:pt x="332" y="224"/>
                  <a:pt x="331" y="223"/>
                  <a:pt x="332" y="225"/>
                </a:cubicBezTo>
                <a:cubicBezTo>
                  <a:pt x="332" y="225"/>
                  <a:pt x="333" y="225"/>
                  <a:pt x="332" y="226"/>
                </a:cubicBezTo>
                <a:cubicBezTo>
                  <a:pt x="332" y="226"/>
                  <a:pt x="331" y="226"/>
                  <a:pt x="331" y="227"/>
                </a:cubicBezTo>
                <a:cubicBezTo>
                  <a:pt x="331" y="227"/>
                  <a:pt x="332" y="228"/>
                  <a:pt x="331" y="228"/>
                </a:cubicBezTo>
                <a:cubicBezTo>
                  <a:pt x="330" y="228"/>
                  <a:pt x="331" y="230"/>
                  <a:pt x="330" y="230"/>
                </a:cubicBezTo>
                <a:cubicBezTo>
                  <a:pt x="330" y="231"/>
                  <a:pt x="329" y="231"/>
                  <a:pt x="328" y="231"/>
                </a:cubicBezTo>
                <a:cubicBezTo>
                  <a:pt x="328" y="231"/>
                  <a:pt x="328" y="230"/>
                  <a:pt x="328" y="230"/>
                </a:cubicBezTo>
                <a:cubicBezTo>
                  <a:pt x="328" y="230"/>
                  <a:pt x="328" y="228"/>
                  <a:pt x="328" y="228"/>
                </a:cubicBezTo>
                <a:cubicBezTo>
                  <a:pt x="328" y="226"/>
                  <a:pt x="327" y="226"/>
                  <a:pt x="327" y="225"/>
                </a:cubicBezTo>
                <a:cubicBezTo>
                  <a:pt x="328" y="225"/>
                  <a:pt x="328" y="225"/>
                  <a:pt x="328" y="225"/>
                </a:cubicBezTo>
                <a:cubicBezTo>
                  <a:pt x="328" y="224"/>
                  <a:pt x="328" y="224"/>
                  <a:pt x="329" y="223"/>
                </a:cubicBezTo>
                <a:cubicBezTo>
                  <a:pt x="329" y="223"/>
                  <a:pt x="329" y="223"/>
                  <a:pt x="329" y="222"/>
                </a:cubicBezTo>
                <a:cubicBezTo>
                  <a:pt x="329" y="221"/>
                  <a:pt x="330" y="222"/>
                  <a:pt x="330" y="221"/>
                </a:cubicBezTo>
                <a:cubicBezTo>
                  <a:pt x="330" y="220"/>
                  <a:pt x="331" y="220"/>
                  <a:pt x="332" y="220"/>
                </a:cubicBezTo>
                <a:cubicBezTo>
                  <a:pt x="332" y="221"/>
                  <a:pt x="332" y="221"/>
                  <a:pt x="334" y="221"/>
                </a:cubicBezTo>
                <a:cubicBezTo>
                  <a:pt x="333" y="221"/>
                  <a:pt x="333" y="222"/>
                  <a:pt x="333" y="222"/>
                </a:cubicBezTo>
                <a:close/>
                <a:moveTo>
                  <a:pt x="326" y="233"/>
                </a:moveTo>
                <a:cubicBezTo>
                  <a:pt x="326" y="234"/>
                  <a:pt x="325" y="233"/>
                  <a:pt x="325" y="233"/>
                </a:cubicBezTo>
                <a:cubicBezTo>
                  <a:pt x="325" y="233"/>
                  <a:pt x="325" y="232"/>
                  <a:pt x="325" y="232"/>
                </a:cubicBezTo>
                <a:cubicBezTo>
                  <a:pt x="325" y="232"/>
                  <a:pt x="325" y="232"/>
                  <a:pt x="325" y="232"/>
                </a:cubicBezTo>
                <a:cubicBezTo>
                  <a:pt x="326" y="232"/>
                  <a:pt x="326" y="232"/>
                  <a:pt x="327" y="232"/>
                </a:cubicBezTo>
                <a:cubicBezTo>
                  <a:pt x="326" y="232"/>
                  <a:pt x="326" y="233"/>
                  <a:pt x="326" y="233"/>
                </a:cubicBezTo>
                <a:close/>
                <a:moveTo>
                  <a:pt x="327" y="216"/>
                </a:moveTo>
                <a:cubicBezTo>
                  <a:pt x="328" y="217"/>
                  <a:pt x="328" y="217"/>
                  <a:pt x="328" y="218"/>
                </a:cubicBezTo>
                <a:cubicBezTo>
                  <a:pt x="327" y="219"/>
                  <a:pt x="327" y="221"/>
                  <a:pt x="326" y="219"/>
                </a:cubicBezTo>
                <a:cubicBezTo>
                  <a:pt x="326" y="219"/>
                  <a:pt x="325" y="218"/>
                  <a:pt x="325" y="218"/>
                </a:cubicBezTo>
                <a:cubicBezTo>
                  <a:pt x="325" y="217"/>
                  <a:pt x="327" y="217"/>
                  <a:pt x="327" y="216"/>
                </a:cubicBezTo>
                <a:cubicBezTo>
                  <a:pt x="327" y="216"/>
                  <a:pt x="327" y="216"/>
                  <a:pt x="327" y="216"/>
                </a:cubicBezTo>
                <a:close/>
                <a:moveTo>
                  <a:pt x="306" y="208"/>
                </a:moveTo>
                <a:cubicBezTo>
                  <a:pt x="306" y="207"/>
                  <a:pt x="305" y="208"/>
                  <a:pt x="304" y="208"/>
                </a:cubicBezTo>
                <a:cubicBezTo>
                  <a:pt x="303" y="210"/>
                  <a:pt x="303" y="209"/>
                  <a:pt x="302" y="210"/>
                </a:cubicBezTo>
                <a:cubicBezTo>
                  <a:pt x="301" y="210"/>
                  <a:pt x="300" y="210"/>
                  <a:pt x="300" y="211"/>
                </a:cubicBezTo>
                <a:cubicBezTo>
                  <a:pt x="299" y="211"/>
                  <a:pt x="299" y="212"/>
                  <a:pt x="298" y="212"/>
                </a:cubicBezTo>
                <a:cubicBezTo>
                  <a:pt x="298" y="212"/>
                  <a:pt x="298" y="212"/>
                  <a:pt x="298" y="212"/>
                </a:cubicBezTo>
                <a:cubicBezTo>
                  <a:pt x="297" y="212"/>
                  <a:pt x="297" y="213"/>
                  <a:pt x="296" y="213"/>
                </a:cubicBezTo>
                <a:cubicBezTo>
                  <a:pt x="296" y="213"/>
                  <a:pt x="295" y="214"/>
                  <a:pt x="294" y="214"/>
                </a:cubicBezTo>
                <a:cubicBezTo>
                  <a:pt x="293" y="215"/>
                  <a:pt x="293" y="216"/>
                  <a:pt x="292" y="216"/>
                </a:cubicBezTo>
                <a:cubicBezTo>
                  <a:pt x="292" y="217"/>
                  <a:pt x="292" y="218"/>
                  <a:pt x="292" y="218"/>
                </a:cubicBezTo>
                <a:cubicBezTo>
                  <a:pt x="291" y="218"/>
                  <a:pt x="290" y="218"/>
                  <a:pt x="289" y="218"/>
                </a:cubicBezTo>
                <a:cubicBezTo>
                  <a:pt x="289" y="218"/>
                  <a:pt x="289" y="217"/>
                  <a:pt x="288" y="217"/>
                </a:cubicBezTo>
                <a:cubicBezTo>
                  <a:pt x="288" y="217"/>
                  <a:pt x="288" y="216"/>
                  <a:pt x="288" y="216"/>
                </a:cubicBezTo>
                <a:cubicBezTo>
                  <a:pt x="288" y="216"/>
                  <a:pt x="290" y="215"/>
                  <a:pt x="290" y="215"/>
                </a:cubicBezTo>
                <a:cubicBezTo>
                  <a:pt x="291" y="213"/>
                  <a:pt x="291" y="213"/>
                  <a:pt x="293" y="212"/>
                </a:cubicBezTo>
                <a:cubicBezTo>
                  <a:pt x="293" y="212"/>
                  <a:pt x="295" y="210"/>
                  <a:pt x="295" y="210"/>
                </a:cubicBezTo>
                <a:cubicBezTo>
                  <a:pt x="295" y="208"/>
                  <a:pt x="296" y="208"/>
                  <a:pt x="297" y="207"/>
                </a:cubicBezTo>
                <a:cubicBezTo>
                  <a:pt x="298" y="207"/>
                  <a:pt x="299" y="207"/>
                  <a:pt x="300" y="208"/>
                </a:cubicBezTo>
                <a:cubicBezTo>
                  <a:pt x="300" y="208"/>
                  <a:pt x="300" y="209"/>
                  <a:pt x="300" y="208"/>
                </a:cubicBezTo>
                <a:cubicBezTo>
                  <a:pt x="300" y="208"/>
                  <a:pt x="300" y="208"/>
                  <a:pt x="301" y="208"/>
                </a:cubicBezTo>
                <a:cubicBezTo>
                  <a:pt x="301" y="208"/>
                  <a:pt x="302" y="208"/>
                  <a:pt x="302" y="208"/>
                </a:cubicBezTo>
                <a:cubicBezTo>
                  <a:pt x="302" y="208"/>
                  <a:pt x="302" y="207"/>
                  <a:pt x="303" y="207"/>
                </a:cubicBezTo>
                <a:cubicBezTo>
                  <a:pt x="303" y="207"/>
                  <a:pt x="305" y="207"/>
                  <a:pt x="305" y="208"/>
                </a:cubicBezTo>
                <a:cubicBezTo>
                  <a:pt x="305" y="208"/>
                  <a:pt x="306" y="207"/>
                  <a:pt x="307" y="208"/>
                </a:cubicBezTo>
                <a:cubicBezTo>
                  <a:pt x="308" y="208"/>
                  <a:pt x="309" y="208"/>
                  <a:pt x="309" y="208"/>
                </a:cubicBezTo>
                <a:cubicBezTo>
                  <a:pt x="309" y="209"/>
                  <a:pt x="307" y="209"/>
                  <a:pt x="306" y="208"/>
                </a:cubicBezTo>
                <a:close/>
                <a:moveTo>
                  <a:pt x="287" y="188"/>
                </a:moveTo>
                <a:cubicBezTo>
                  <a:pt x="287" y="189"/>
                  <a:pt x="287" y="189"/>
                  <a:pt x="286" y="190"/>
                </a:cubicBezTo>
                <a:cubicBezTo>
                  <a:pt x="286" y="190"/>
                  <a:pt x="286" y="190"/>
                  <a:pt x="285" y="190"/>
                </a:cubicBezTo>
                <a:cubicBezTo>
                  <a:pt x="285" y="190"/>
                  <a:pt x="284" y="191"/>
                  <a:pt x="284" y="191"/>
                </a:cubicBezTo>
                <a:cubicBezTo>
                  <a:pt x="284" y="192"/>
                  <a:pt x="283" y="191"/>
                  <a:pt x="283" y="192"/>
                </a:cubicBezTo>
                <a:cubicBezTo>
                  <a:pt x="283" y="192"/>
                  <a:pt x="284" y="192"/>
                  <a:pt x="283" y="192"/>
                </a:cubicBezTo>
                <a:cubicBezTo>
                  <a:pt x="283" y="193"/>
                  <a:pt x="281" y="194"/>
                  <a:pt x="281" y="194"/>
                </a:cubicBezTo>
                <a:cubicBezTo>
                  <a:pt x="280" y="194"/>
                  <a:pt x="280" y="193"/>
                  <a:pt x="279" y="193"/>
                </a:cubicBezTo>
                <a:cubicBezTo>
                  <a:pt x="278" y="193"/>
                  <a:pt x="277" y="193"/>
                  <a:pt x="277" y="194"/>
                </a:cubicBezTo>
                <a:cubicBezTo>
                  <a:pt x="277" y="194"/>
                  <a:pt x="276" y="195"/>
                  <a:pt x="276" y="195"/>
                </a:cubicBezTo>
                <a:cubicBezTo>
                  <a:pt x="276" y="196"/>
                  <a:pt x="274" y="196"/>
                  <a:pt x="274" y="197"/>
                </a:cubicBezTo>
                <a:cubicBezTo>
                  <a:pt x="274" y="197"/>
                  <a:pt x="273" y="196"/>
                  <a:pt x="272" y="197"/>
                </a:cubicBezTo>
                <a:cubicBezTo>
                  <a:pt x="272" y="197"/>
                  <a:pt x="272" y="197"/>
                  <a:pt x="272" y="197"/>
                </a:cubicBezTo>
                <a:cubicBezTo>
                  <a:pt x="271" y="197"/>
                  <a:pt x="270" y="197"/>
                  <a:pt x="270" y="197"/>
                </a:cubicBezTo>
                <a:cubicBezTo>
                  <a:pt x="269" y="197"/>
                  <a:pt x="269" y="197"/>
                  <a:pt x="268" y="197"/>
                </a:cubicBezTo>
                <a:cubicBezTo>
                  <a:pt x="268" y="197"/>
                  <a:pt x="266" y="198"/>
                  <a:pt x="266" y="198"/>
                </a:cubicBezTo>
                <a:cubicBezTo>
                  <a:pt x="266" y="198"/>
                  <a:pt x="266" y="197"/>
                  <a:pt x="265" y="197"/>
                </a:cubicBezTo>
                <a:cubicBezTo>
                  <a:pt x="264" y="197"/>
                  <a:pt x="265" y="197"/>
                  <a:pt x="264" y="196"/>
                </a:cubicBezTo>
                <a:cubicBezTo>
                  <a:pt x="264" y="195"/>
                  <a:pt x="264" y="195"/>
                  <a:pt x="263" y="195"/>
                </a:cubicBezTo>
                <a:cubicBezTo>
                  <a:pt x="263" y="195"/>
                  <a:pt x="262" y="195"/>
                  <a:pt x="262" y="195"/>
                </a:cubicBezTo>
                <a:cubicBezTo>
                  <a:pt x="262" y="195"/>
                  <a:pt x="260" y="194"/>
                  <a:pt x="260" y="194"/>
                </a:cubicBezTo>
                <a:cubicBezTo>
                  <a:pt x="260" y="194"/>
                  <a:pt x="259" y="193"/>
                  <a:pt x="259" y="193"/>
                </a:cubicBezTo>
                <a:cubicBezTo>
                  <a:pt x="258" y="193"/>
                  <a:pt x="258" y="193"/>
                  <a:pt x="258" y="192"/>
                </a:cubicBezTo>
                <a:cubicBezTo>
                  <a:pt x="259" y="192"/>
                  <a:pt x="259" y="192"/>
                  <a:pt x="260" y="192"/>
                </a:cubicBezTo>
                <a:cubicBezTo>
                  <a:pt x="260" y="193"/>
                  <a:pt x="260" y="193"/>
                  <a:pt x="260" y="193"/>
                </a:cubicBezTo>
                <a:cubicBezTo>
                  <a:pt x="261" y="193"/>
                  <a:pt x="262" y="192"/>
                  <a:pt x="262" y="193"/>
                </a:cubicBezTo>
                <a:cubicBezTo>
                  <a:pt x="264" y="193"/>
                  <a:pt x="266" y="191"/>
                  <a:pt x="268" y="190"/>
                </a:cubicBezTo>
                <a:cubicBezTo>
                  <a:pt x="269" y="190"/>
                  <a:pt x="269" y="189"/>
                  <a:pt x="270" y="189"/>
                </a:cubicBezTo>
                <a:cubicBezTo>
                  <a:pt x="271" y="189"/>
                  <a:pt x="272" y="189"/>
                  <a:pt x="272" y="189"/>
                </a:cubicBezTo>
                <a:cubicBezTo>
                  <a:pt x="273" y="188"/>
                  <a:pt x="273" y="188"/>
                  <a:pt x="272" y="187"/>
                </a:cubicBezTo>
                <a:cubicBezTo>
                  <a:pt x="272" y="187"/>
                  <a:pt x="272" y="187"/>
                  <a:pt x="271" y="187"/>
                </a:cubicBezTo>
                <a:cubicBezTo>
                  <a:pt x="271" y="186"/>
                  <a:pt x="270" y="186"/>
                  <a:pt x="270" y="185"/>
                </a:cubicBezTo>
                <a:cubicBezTo>
                  <a:pt x="270" y="185"/>
                  <a:pt x="270" y="184"/>
                  <a:pt x="270" y="184"/>
                </a:cubicBezTo>
                <a:cubicBezTo>
                  <a:pt x="269" y="184"/>
                  <a:pt x="270" y="184"/>
                  <a:pt x="270" y="184"/>
                </a:cubicBezTo>
                <a:cubicBezTo>
                  <a:pt x="269" y="183"/>
                  <a:pt x="269" y="184"/>
                  <a:pt x="269" y="183"/>
                </a:cubicBezTo>
                <a:cubicBezTo>
                  <a:pt x="269" y="183"/>
                  <a:pt x="269" y="183"/>
                  <a:pt x="269" y="182"/>
                </a:cubicBezTo>
                <a:cubicBezTo>
                  <a:pt x="269" y="182"/>
                  <a:pt x="268" y="181"/>
                  <a:pt x="267" y="180"/>
                </a:cubicBezTo>
                <a:cubicBezTo>
                  <a:pt x="268" y="180"/>
                  <a:pt x="268" y="180"/>
                  <a:pt x="269" y="180"/>
                </a:cubicBezTo>
                <a:cubicBezTo>
                  <a:pt x="269" y="180"/>
                  <a:pt x="269" y="181"/>
                  <a:pt x="270" y="181"/>
                </a:cubicBezTo>
                <a:cubicBezTo>
                  <a:pt x="270" y="181"/>
                  <a:pt x="270" y="181"/>
                  <a:pt x="271" y="181"/>
                </a:cubicBezTo>
                <a:cubicBezTo>
                  <a:pt x="271" y="181"/>
                  <a:pt x="271" y="181"/>
                  <a:pt x="272" y="181"/>
                </a:cubicBezTo>
                <a:cubicBezTo>
                  <a:pt x="272" y="182"/>
                  <a:pt x="271" y="182"/>
                  <a:pt x="272" y="182"/>
                </a:cubicBezTo>
                <a:cubicBezTo>
                  <a:pt x="274" y="182"/>
                  <a:pt x="274" y="182"/>
                  <a:pt x="274" y="183"/>
                </a:cubicBezTo>
                <a:cubicBezTo>
                  <a:pt x="273" y="183"/>
                  <a:pt x="273" y="185"/>
                  <a:pt x="274" y="185"/>
                </a:cubicBezTo>
                <a:cubicBezTo>
                  <a:pt x="274" y="185"/>
                  <a:pt x="274" y="186"/>
                  <a:pt x="274" y="186"/>
                </a:cubicBezTo>
                <a:cubicBezTo>
                  <a:pt x="275" y="187"/>
                  <a:pt x="275" y="187"/>
                  <a:pt x="276" y="187"/>
                </a:cubicBezTo>
                <a:cubicBezTo>
                  <a:pt x="278" y="187"/>
                  <a:pt x="280" y="187"/>
                  <a:pt x="282" y="187"/>
                </a:cubicBezTo>
                <a:cubicBezTo>
                  <a:pt x="283" y="187"/>
                  <a:pt x="283" y="187"/>
                  <a:pt x="284" y="186"/>
                </a:cubicBezTo>
                <a:cubicBezTo>
                  <a:pt x="285" y="186"/>
                  <a:pt x="285" y="186"/>
                  <a:pt x="286" y="185"/>
                </a:cubicBezTo>
                <a:cubicBezTo>
                  <a:pt x="286" y="185"/>
                  <a:pt x="286" y="185"/>
                  <a:pt x="286" y="185"/>
                </a:cubicBezTo>
                <a:cubicBezTo>
                  <a:pt x="286" y="184"/>
                  <a:pt x="286" y="184"/>
                  <a:pt x="287" y="184"/>
                </a:cubicBezTo>
                <a:cubicBezTo>
                  <a:pt x="288" y="183"/>
                  <a:pt x="289" y="183"/>
                  <a:pt x="290" y="182"/>
                </a:cubicBezTo>
                <a:cubicBezTo>
                  <a:pt x="290" y="181"/>
                  <a:pt x="291" y="181"/>
                  <a:pt x="291" y="181"/>
                </a:cubicBezTo>
                <a:cubicBezTo>
                  <a:pt x="292" y="181"/>
                  <a:pt x="291" y="180"/>
                  <a:pt x="292" y="180"/>
                </a:cubicBezTo>
                <a:cubicBezTo>
                  <a:pt x="292" y="180"/>
                  <a:pt x="293" y="180"/>
                  <a:pt x="293" y="180"/>
                </a:cubicBezTo>
                <a:cubicBezTo>
                  <a:pt x="294" y="180"/>
                  <a:pt x="293" y="180"/>
                  <a:pt x="294" y="180"/>
                </a:cubicBezTo>
                <a:cubicBezTo>
                  <a:pt x="295" y="180"/>
                  <a:pt x="298" y="180"/>
                  <a:pt x="298" y="181"/>
                </a:cubicBezTo>
                <a:cubicBezTo>
                  <a:pt x="297" y="181"/>
                  <a:pt x="296" y="181"/>
                  <a:pt x="295" y="180"/>
                </a:cubicBezTo>
                <a:cubicBezTo>
                  <a:pt x="295" y="181"/>
                  <a:pt x="296" y="182"/>
                  <a:pt x="296" y="182"/>
                </a:cubicBezTo>
                <a:cubicBezTo>
                  <a:pt x="295" y="182"/>
                  <a:pt x="294" y="182"/>
                  <a:pt x="294" y="184"/>
                </a:cubicBezTo>
                <a:cubicBezTo>
                  <a:pt x="294" y="184"/>
                  <a:pt x="294" y="184"/>
                  <a:pt x="293" y="184"/>
                </a:cubicBezTo>
                <a:cubicBezTo>
                  <a:pt x="293" y="184"/>
                  <a:pt x="292" y="184"/>
                  <a:pt x="292" y="185"/>
                </a:cubicBezTo>
                <a:cubicBezTo>
                  <a:pt x="292" y="185"/>
                  <a:pt x="292" y="185"/>
                  <a:pt x="291" y="186"/>
                </a:cubicBezTo>
                <a:cubicBezTo>
                  <a:pt x="291" y="186"/>
                  <a:pt x="290" y="187"/>
                  <a:pt x="290" y="187"/>
                </a:cubicBezTo>
                <a:cubicBezTo>
                  <a:pt x="289" y="187"/>
                  <a:pt x="289" y="187"/>
                  <a:pt x="289" y="187"/>
                </a:cubicBezTo>
                <a:cubicBezTo>
                  <a:pt x="288" y="187"/>
                  <a:pt x="288" y="187"/>
                  <a:pt x="288" y="188"/>
                </a:cubicBezTo>
                <a:cubicBezTo>
                  <a:pt x="287" y="188"/>
                  <a:pt x="287" y="188"/>
                  <a:pt x="287" y="188"/>
                </a:cubicBezTo>
                <a:close/>
                <a:moveTo>
                  <a:pt x="283" y="336"/>
                </a:moveTo>
                <a:cubicBezTo>
                  <a:pt x="282" y="336"/>
                  <a:pt x="281" y="334"/>
                  <a:pt x="280" y="333"/>
                </a:cubicBezTo>
                <a:cubicBezTo>
                  <a:pt x="280" y="333"/>
                  <a:pt x="279" y="333"/>
                  <a:pt x="280" y="332"/>
                </a:cubicBezTo>
                <a:cubicBezTo>
                  <a:pt x="280" y="331"/>
                  <a:pt x="280" y="330"/>
                  <a:pt x="280" y="330"/>
                </a:cubicBezTo>
                <a:cubicBezTo>
                  <a:pt x="281" y="330"/>
                  <a:pt x="280" y="332"/>
                  <a:pt x="281" y="332"/>
                </a:cubicBezTo>
                <a:cubicBezTo>
                  <a:pt x="282" y="332"/>
                  <a:pt x="282" y="332"/>
                  <a:pt x="282" y="332"/>
                </a:cubicBezTo>
                <a:cubicBezTo>
                  <a:pt x="283" y="332"/>
                  <a:pt x="283" y="331"/>
                  <a:pt x="283" y="331"/>
                </a:cubicBezTo>
                <a:cubicBezTo>
                  <a:pt x="283" y="332"/>
                  <a:pt x="283" y="333"/>
                  <a:pt x="284" y="333"/>
                </a:cubicBezTo>
                <a:cubicBezTo>
                  <a:pt x="285" y="334"/>
                  <a:pt x="284" y="335"/>
                  <a:pt x="283" y="336"/>
                </a:cubicBezTo>
                <a:close/>
                <a:moveTo>
                  <a:pt x="257" y="163"/>
                </a:moveTo>
                <a:cubicBezTo>
                  <a:pt x="256" y="165"/>
                  <a:pt x="254" y="164"/>
                  <a:pt x="252" y="164"/>
                </a:cubicBezTo>
                <a:cubicBezTo>
                  <a:pt x="252" y="164"/>
                  <a:pt x="252" y="164"/>
                  <a:pt x="252" y="164"/>
                </a:cubicBezTo>
                <a:cubicBezTo>
                  <a:pt x="251" y="163"/>
                  <a:pt x="251" y="163"/>
                  <a:pt x="250" y="163"/>
                </a:cubicBezTo>
                <a:cubicBezTo>
                  <a:pt x="250" y="163"/>
                  <a:pt x="249" y="164"/>
                  <a:pt x="249" y="164"/>
                </a:cubicBezTo>
                <a:cubicBezTo>
                  <a:pt x="249" y="165"/>
                  <a:pt x="249" y="165"/>
                  <a:pt x="251" y="166"/>
                </a:cubicBezTo>
                <a:cubicBezTo>
                  <a:pt x="251" y="166"/>
                  <a:pt x="252" y="167"/>
                  <a:pt x="253" y="167"/>
                </a:cubicBezTo>
                <a:cubicBezTo>
                  <a:pt x="254" y="167"/>
                  <a:pt x="253" y="167"/>
                  <a:pt x="253" y="168"/>
                </a:cubicBezTo>
                <a:cubicBezTo>
                  <a:pt x="253" y="168"/>
                  <a:pt x="253" y="167"/>
                  <a:pt x="252" y="167"/>
                </a:cubicBezTo>
                <a:cubicBezTo>
                  <a:pt x="251" y="167"/>
                  <a:pt x="251" y="167"/>
                  <a:pt x="251" y="167"/>
                </a:cubicBezTo>
                <a:cubicBezTo>
                  <a:pt x="249" y="167"/>
                  <a:pt x="247" y="168"/>
                  <a:pt x="245" y="168"/>
                </a:cubicBezTo>
                <a:cubicBezTo>
                  <a:pt x="245" y="168"/>
                  <a:pt x="244" y="168"/>
                  <a:pt x="244" y="169"/>
                </a:cubicBezTo>
                <a:cubicBezTo>
                  <a:pt x="244" y="169"/>
                  <a:pt x="244" y="169"/>
                  <a:pt x="243" y="169"/>
                </a:cubicBezTo>
                <a:cubicBezTo>
                  <a:pt x="242" y="170"/>
                  <a:pt x="242" y="170"/>
                  <a:pt x="242" y="171"/>
                </a:cubicBezTo>
                <a:cubicBezTo>
                  <a:pt x="242" y="171"/>
                  <a:pt x="241" y="171"/>
                  <a:pt x="241" y="171"/>
                </a:cubicBezTo>
                <a:cubicBezTo>
                  <a:pt x="241" y="170"/>
                  <a:pt x="241" y="170"/>
                  <a:pt x="241" y="169"/>
                </a:cubicBezTo>
                <a:cubicBezTo>
                  <a:pt x="241" y="169"/>
                  <a:pt x="242" y="169"/>
                  <a:pt x="242" y="169"/>
                </a:cubicBezTo>
                <a:cubicBezTo>
                  <a:pt x="242" y="169"/>
                  <a:pt x="243" y="169"/>
                  <a:pt x="243" y="168"/>
                </a:cubicBezTo>
                <a:cubicBezTo>
                  <a:pt x="243" y="168"/>
                  <a:pt x="244" y="168"/>
                  <a:pt x="244" y="167"/>
                </a:cubicBezTo>
                <a:cubicBezTo>
                  <a:pt x="245" y="167"/>
                  <a:pt x="248" y="166"/>
                  <a:pt x="248" y="166"/>
                </a:cubicBezTo>
                <a:cubicBezTo>
                  <a:pt x="248" y="165"/>
                  <a:pt x="246" y="165"/>
                  <a:pt x="245" y="165"/>
                </a:cubicBezTo>
                <a:cubicBezTo>
                  <a:pt x="245" y="165"/>
                  <a:pt x="244" y="165"/>
                  <a:pt x="243" y="165"/>
                </a:cubicBezTo>
                <a:cubicBezTo>
                  <a:pt x="243" y="165"/>
                  <a:pt x="243" y="165"/>
                  <a:pt x="243" y="165"/>
                </a:cubicBezTo>
                <a:cubicBezTo>
                  <a:pt x="242" y="166"/>
                  <a:pt x="241" y="166"/>
                  <a:pt x="241" y="167"/>
                </a:cubicBezTo>
                <a:cubicBezTo>
                  <a:pt x="241" y="167"/>
                  <a:pt x="241" y="167"/>
                  <a:pt x="240" y="168"/>
                </a:cubicBezTo>
                <a:cubicBezTo>
                  <a:pt x="240" y="168"/>
                  <a:pt x="240" y="169"/>
                  <a:pt x="240" y="169"/>
                </a:cubicBezTo>
                <a:cubicBezTo>
                  <a:pt x="240" y="170"/>
                  <a:pt x="239" y="170"/>
                  <a:pt x="239" y="170"/>
                </a:cubicBezTo>
                <a:cubicBezTo>
                  <a:pt x="238" y="170"/>
                  <a:pt x="237" y="170"/>
                  <a:pt x="235" y="169"/>
                </a:cubicBezTo>
                <a:cubicBezTo>
                  <a:pt x="234" y="169"/>
                  <a:pt x="234" y="169"/>
                  <a:pt x="234" y="168"/>
                </a:cubicBezTo>
                <a:cubicBezTo>
                  <a:pt x="233" y="168"/>
                  <a:pt x="232" y="168"/>
                  <a:pt x="233" y="167"/>
                </a:cubicBezTo>
                <a:cubicBezTo>
                  <a:pt x="233" y="167"/>
                  <a:pt x="233" y="167"/>
                  <a:pt x="234" y="167"/>
                </a:cubicBezTo>
                <a:cubicBezTo>
                  <a:pt x="234" y="165"/>
                  <a:pt x="233" y="165"/>
                  <a:pt x="234" y="164"/>
                </a:cubicBezTo>
                <a:cubicBezTo>
                  <a:pt x="234" y="164"/>
                  <a:pt x="236" y="163"/>
                  <a:pt x="236" y="163"/>
                </a:cubicBezTo>
                <a:cubicBezTo>
                  <a:pt x="236" y="162"/>
                  <a:pt x="236" y="162"/>
                  <a:pt x="236" y="161"/>
                </a:cubicBezTo>
                <a:cubicBezTo>
                  <a:pt x="235" y="161"/>
                  <a:pt x="234" y="160"/>
                  <a:pt x="234" y="159"/>
                </a:cubicBezTo>
                <a:cubicBezTo>
                  <a:pt x="236" y="159"/>
                  <a:pt x="238" y="160"/>
                  <a:pt x="240" y="160"/>
                </a:cubicBezTo>
                <a:cubicBezTo>
                  <a:pt x="240" y="160"/>
                  <a:pt x="240" y="159"/>
                  <a:pt x="240" y="159"/>
                </a:cubicBezTo>
                <a:cubicBezTo>
                  <a:pt x="240" y="158"/>
                  <a:pt x="239" y="160"/>
                  <a:pt x="239" y="158"/>
                </a:cubicBezTo>
                <a:cubicBezTo>
                  <a:pt x="238" y="157"/>
                  <a:pt x="238" y="157"/>
                  <a:pt x="236" y="157"/>
                </a:cubicBezTo>
                <a:cubicBezTo>
                  <a:pt x="236" y="157"/>
                  <a:pt x="235" y="157"/>
                  <a:pt x="234" y="157"/>
                </a:cubicBezTo>
                <a:cubicBezTo>
                  <a:pt x="234" y="157"/>
                  <a:pt x="234" y="156"/>
                  <a:pt x="234" y="156"/>
                </a:cubicBezTo>
                <a:cubicBezTo>
                  <a:pt x="233" y="156"/>
                  <a:pt x="233" y="156"/>
                  <a:pt x="232" y="156"/>
                </a:cubicBezTo>
                <a:cubicBezTo>
                  <a:pt x="232" y="156"/>
                  <a:pt x="232" y="156"/>
                  <a:pt x="232" y="156"/>
                </a:cubicBezTo>
                <a:cubicBezTo>
                  <a:pt x="231" y="156"/>
                  <a:pt x="231" y="156"/>
                  <a:pt x="230" y="156"/>
                </a:cubicBezTo>
                <a:cubicBezTo>
                  <a:pt x="230" y="157"/>
                  <a:pt x="229" y="156"/>
                  <a:pt x="228" y="156"/>
                </a:cubicBezTo>
                <a:cubicBezTo>
                  <a:pt x="228" y="156"/>
                  <a:pt x="228" y="155"/>
                  <a:pt x="228" y="155"/>
                </a:cubicBezTo>
                <a:cubicBezTo>
                  <a:pt x="229" y="155"/>
                  <a:pt x="230" y="155"/>
                  <a:pt x="231" y="155"/>
                </a:cubicBezTo>
                <a:cubicBezTo>
                  <a:pt x="232" y="154"/>
                  <a:pt x="232" y="154"/>
                  <a:pt x="233" y="154"/>
                </a:cubicBezTo>
                <a:cubicBezTo>
                  <a:pt x="233" y="154"/>
                  <a:pt x="234" y="155"/>
                  <a:pt x="235" y="155"/>
                </a:cubicBezTo>
                <a:cubicBezTo>
                  <a:pt x="235" y="155"/>
                  <a:pt x="237" y="154"/>
                  <a:pt x="237" y="154"/>
                </a:cubicBezTo>
                <a:cubicBezTo>
                  <a:pt x="237" y="154"/>
                  <a:pt x="238" y="154"/>
                  <a:pt x="239" y="154"/>
                </a:cubicBezTo>
                <a:cubicBezTo>
                  <a:pt x="240" y="154"/>
                  <a:pt x="239" y="153"/>
                  <a:pt x="240" y="153"/>
                </a:cubicBezTo>
                <a:cubicBezTo>
                  <a:pt x="240" y="153"/>
                  <a:pt x="241" y="153"/>
                  <a:pt x="241" y="153"/>
                </a:cubicBezTo>
                <a:cubicBezTo>
                  <a:pt x="241" y="153"/>
                  <a:pt x="245" y="152"/>
                  <a:pt x="245" y="152"/>
                </a:cubicBezTo>
                <a:cubicBezTo>
                  <a:pt x="246" y="152"/>
                  <a:pt x="246" y="152"/>
                  <a:pt x="247" y="152"/>
                </a:cubicBezTo>
                <a:cubicBezTo>
                  <a:pt x="247" y="152"/>
                  <a:pt x="248" y="152"/>
                  <a:pt x="248" y="152"/>
                </a:cubicBezTo>
                <a:cubicBezTo>
                  <a:pt x="249" y="152"/>
                  <a:pt x="249" y="152"/>
                  <a:pt x="249" y="152"/>
                </a:cubicBezTo>
                <a:cubicBezTo>
                  <a:pt x="250" y="152"/>
                  <a:pt x="250" y="153"/>
                  <a:pt x="251" y="153"/>
                </a:cubicBezTo>
                <a:cubicBezTo>
                  <a:pt x="251" y="153"/>
                  <a:pt x="253" y="153"/>
                  <a:pt x="253" y="154"/>
                </a:cubicBezTo>
                <a:cubicBezTo>
                  <a:pt x="252" y="154"/>
                  <a:pt x="251" y="154"/>
                  <a:pt x="250" y="154"/>
                </a:cubicBezTo>
                <a:cubicBezTo>
                  <a:pt x="249" y="154"/>
                  <a:pt x="248" y="154"/>
                  <a:pt x="248" y="155"/>
                </a:cubicBezTo>
                <a:cubicBezTo>
                  <a:pt x="247" y="155"/>
                  <a:pt x="247" y="155"/>
                  <a:pt x="246" y="155"/>
                </a:cubicBezTo>
                <a:cubicBezTo>
                  <a:pt x="247" y="156"/>
                  <a:pt x="247" y="156"/>
                  <a:pt x="248" y="156"/>
                </a:cubicBezTo>
                <a:cubicBezTo>
                  <a:pt x="249" y="156"/>
                  <a:pt x="250" y="157"/>
                  <a:pt x="251" y="157"/>
                </a:cubicBezTo>
                <a:cubicBezTo>
                  <a:pt x="252" y="157"/>
                  <a:pt x="253" y="158"/>
                  <a:pt x="254" y="158"/>
                </a:cubicBezTo>
                <a:cubicBezTo>
                  <a:pt x="255" y="158"/>
                  <a:pt x="256" y="158"/>
                  <a:pt x="257" y="157"/>
                </a:cubicBezTo>
                <a:cubicBezTo>
                  <a:pt x="258" y="157"/>
                  <a:pt x="258" y="157"/>
                  <a:pt x="259" y="158"/>
                </a:cubicBezTo>
                <a:cubicBezTo>
                  <a:pt x="259" y="159"/>
                  <a:pt x="258" y="160"/>
                  <a:pt x="258" y="161"/>
                </a:cubicBezTo>
                <a:cubicBezTo>
                  <a:pt x="257" y="161"/>
                  <a:pt x="257" y="161"/>
                  <a:pt x="257" y="162"/>
                </a:cubicBezTo>
                <a:cubicBezTo>
                  <a:pt x="257" y="162"/>
                  <a:pt x="258" y="163"/>
                  <a:pt x="258" y="163"/>
                </a:cubicBezTo>
                <a:cubicBezTo>
                  <a:pt x="258" y="163"/>
                  <a:pt x="257" y="163"/>
                  <a:pt x="257" y="163"/>
                </a:cubicBezTo>
                <a:cubicBezTo>
                  <a:pt x="257" y="164"/>
                  <a:pt x="257" y="163"/>
                  <a:pt x="257" y="163"/>
                </a:cubicBezTo>
                <a:close/>
                <a:moveTo>
                  <a:pt x="257" y="180"/>
                </a:moveTo>
                <a:cubicBezTo>
                  <a:pt x="257" y="181"/>
                  <a:pt x="255" y="180"/>
                  <a:pt x="255" y="180"/>
                </a:cubicBezTo>
                <a:cubicBezTo>
                  <a:pt x="253" y="180"/>
                  <a:pt x="252" y="182"/>
                  <a:pt x="251" y="182"/>
                </a:cubicBezTo>
                <a:cubicBezTo>
                  <a:pt x="250" y="182"/>
                  <a:pt x="250" y="182"/>
                  <a:pt x="250" y="181"/>
                </a:cubicBezTo>
                <a:cubicBezTo>
                  <a:pt x="250" y="181"/>
                  <a:pt x="250" y="181"/>
                  <a:pt x="249" y="181"/>
                </a:cubicBezTo>
                <a:cubicBezTo>
                  <a:pt x="249" y="181"/>
                  <a:pt x="248" y="181"/>
                  <a:pt x="248" y="181"/>
                </a:cubicBezTo>
                <a:cubicBezTo>
                  <a:pt x="247" y="181"/>
                  <a:pt x="247" y="180"/>
                  <a:pt x="247" y="180"/>
                </a:cubicBezTo>
                <a:cubicBezTo>
                  <a:pt x="247" y="180"/>
                  <a:pt x="246" y="181"/>
                  <a:pt x="245" y="181"/>
                </a:cubicBezTo>
                <a:cubicBezTo>
                  <a:pt x="245" y="180"/>
                  <a:pt x="244" y="180"/>
                  <a:pt x="244" y="180"/>
                </a:cubicBezTo>
                <a:cubicBezTo>
                  <a:pt x="243" y="180"/>
                  <a:pt x="244" y="180"/>
                  <a:pt x="244" y="180"/>
                </a:cubicBezTo>
                <a:cubicBezTo>
                  <a:pt x="245" y="180"/>
                  <a:pt x="246" y="179"/>
                  <a:pt x="247" y="179"/>
                </a:cubicBezTo>
                <a:cubicBezTo>
                  <a:pt x="248" y="179"/>
                  <a:pt x="247" y="178"/>
                  <a:pt x="248" y="178"/>
                </a:cubicBezTo>
                <a:cubicBezTo>
                  <a:pt x="249" y="178"/>
                  <a:pt x="250" y="178"/>
                  <a:pt x="251" y="178"/>
                </a:cubicBezTo>
                <a:cubicBezTo>
                  <a:pt x="252" y="178"/>
                  <a:pt x="252" y="178"/>
                  <a:pt x="252" y="179"/>
                </a:cubicBezTo>
                <a:cubicBezTo>
                  <a:pt x="252" y="179"/>
                  <a:pt x="252" y="180"/>
                  <a:pt x="252" y="180"/>
                </a:cubicBezTo>
                <a:cubicBezTo>
                  <a:pt x="254" y="180"/>
                  <a:pt x="256" y="179"/>
                  <a:pt x="257" y="179"/>
                </a:cubicBezTo>
                <a:cubicBezTo>
                  <a:pt x="257" y="180"/>
                  <a:pt x="257" y="180"/>
                  <a:pt x="257" y="180"/>
                </a:cubicBezTo>
                <a:close/>
                <a:moveTo>
                  <a:pt x="235" y="295"/>
                </a:moveTo>
                <a:cubicBezTo>
                  <a:pt x="234" y="295"/>
                  <a:pt x="234" y="296"/>
                  <a:pt x="233" y="296"/>
                </a:cubicBezTo>
                <a:cubicBezTo>
                  <a:pt x="233" y="297"/>
                  <a:pt x="233" y="297"/>
                  <a:pt x="232" y="297"/>
                </a:cubicBezTo>
                <a:cubicBezTo>
                  <a:pt x="232" y="296"/>
                  <a:pt x="233" y="295"/>
                  <a:pt x="234" y="295"/>
                </a:cubicBezTo>
                <a:cubicBezTo>
                  <a:pt x="235" y="295"/>
                  <a:pt x="235" y="295"/>
                  <a:pt x="235" y="295"/>
                </a:cubicBezTo>
                <a:cubicBezTo>
                  <a:pt x="234" y="295"/>
                  <a:pt x="235" y="295"/>
                  <a:pt x="235" y="295"/>
                </a:cubicBezTo>
                <a:close/>
                <a:moveTo>
                  <a:pt x="205" y="253"/>
                </a:moveTo>
                <a:cubicBezTo>
                  <a:pt x="204" y="253"/>
                  <a:pt x="205" y="252"/>
                  <a:pt x="205" y="253"/>
                </a:cubicBezTo>
                <a:close/>
                <a:moveTo>
                  <a:pt x="196" y="133"/>
                </a:moveTo>
                <a:cubicBezTo>
                  <a:pt x="194" y="133"/>
                  <a:pt x="196" y="131"/>
                  <a:pt x="196" y="133"/>
                </a:cubicBezTo>
                <a:close/>
                <a:moveTo>
                  <a:pt x="174" y="212"/>
                </a:moveTo>
                <a:cubicBezTo>
                  <a:pt x="174" y="212"/>
                  <a:pt x="173" y="212"/>
                  <a:pt x="173" y="212"/>
                </a:cubicBezTo>
                <a:cubicBezTo>
                  <a:pt x="173" y="211"/>
                  <a:pt x="173" y="211"/>
                  <a:pt x="174" y="211"/>
                </a:cubicBezTo>
                <a:cubicBezTo>
                  <a:pt x="174" y="211"/>
                  <a:pt x="174" y="210"/>
                  <a:pt x="174" y="211"/>
                </a:cubicBezTo>
                <a:cubicBezTo>
                  <a:pt x="174" y="211"/>
                  <a:pt x="174" y="211"/>
                  <a:pt x="174" y="212"/>
                </a:cubicBezTo>
                <a:close/>
                <a:moveTo>
                  <a:pt x="171" y="217"/>
                </a:moveTo>
                <a:cubicBezTo>
                  <a:pt x="171" y="217"/>
                  <a:pt x="171" y="217"/>
                  <a:pt x="171" y="217"/>
                </a:cubicBezTo>
                <a:cubicBezTo>
                  <a:pt x="171" y="216"/>
                  <a:pt x="170" y="216"/>
                  <a:pt x="170" y="216"/>
                </a:cubicBezTo>
                <a:cubicBezTo>
                  <a:pt x="170" y="215"/>
                  <a:pt x="169" y="215"/>
                  <a:pt x="169" y="215"/>
                </a:cubicBezTo>
                <a:cubicBezTo>
                  <a:pt x="168" y="215"/>
                  <a:pt x="168" y="215"/>
                  <a:pt x="167" y="215"/>
                </a:cubicBezTo>
                <a:cubicBezTo>
                  <a:pt x="167" y="215"/>
                  <a:pt x="167" y="214"/>
                  <a:pt x="167" y="213"/>
                </a:cubicBezTo>
                <a:cubicBezTo>
                  <a:pt x="167" y="213"/>
                  <a:pt x="167" y="213"/>
                  <a:pt x="167" y="213"/>
                </a:cubicBezTo>
                <a:cubicBezTo>
                  <a:pt x="168" y="213"/>
                  <a:pt x="170" y="213"/>
                  <a:pt x="170" y="214"/>
                </a:cubicBezTo>
                <a:cubicBezTo>
                  <a:pt x="170" y="215"/>
                  <a:pt x="171" y="216"/>
                  <a:pt x="171" y="217"/>
                </a:cubicBezTo>
                <a:close/>
                <a:moveTo>
                  <a:pt x="65" y="211"/>
                </a:moveTo>
                <a:cubicBezTo>
                  <a:pt x="65" y="211"/>
                  <a:pt x="65" y="212"/>
                  <a:pt x="65" y="210"/>
                </a:cubicBezTo>
                <a:cubicBezTo>
                  <a:pt x="65" y="211"/>
                  <a:pt x="65" y="211"/>
                  <a:pt x="65" y="211"/>
                </a:cubicBezTo>
                <a:close/>
                <a:moveTo>
                  <a:pt x="366" y="105"/>
                </a:moveTo>
                <a:cubicBezTo>
                  <a:pt x="366" y="104"/>
                  <a:pt x="366" y="104"/>
                  <a:pt x="366" y="103"/>
                </a:cubicBezTo>
                <a:cubicBezTo>
                  <a:pt x="367" y="103"/>
                  <a:pt x="367" y="103"/>
                  <a:pt x="368" y="104"/>
                </a:cubicBezTo>
                <a:cubicBezTo>
                  <a:pt x="368" y="104"/>
                  <a:pt x="367" y="104"/>
                  <a:pt x="366" y="105"/>
                </a:cubicBezTo>
                <a:cubicBezTo>
                  <a:pt x="366" y="104"/>
                  <a:pt x="366" y="105"/>
                  <a:pt x="366" y="105"/>
                </a:cubicBezTo>
                <a:close/>
                <a:moveTo>
                  <a:pt x="381" y="298"/>
                </a:moveTo>
                <a:cubicBezTo>
                  <a:pt x="381" y="298"/>
                  <a:pt x="382" y="298"/>
                  <a:pt x="382" y="297"/>
                </a:cubicBezTo>
                <a:cubicBezTo>
                  <a:pt x="382" y="297"/>
                  <a:pt x="382" y="297"/>
                  <a:pt x="382" y="296"/>
                </a:cubicBezTo>
                <a:cubicBezTo>
                  <a:pt x="383" y="296"/>
                  <a:pt x="383" y="296"/>
                  <a:pt x="384" y="296"/>
                </a:cubicBezTo>
                <a:cubicBezTo>
                  <a:pt x="384" y="295"/>
                  <a:pt x="385" y="295"/>
                  <a:pt x="385" y="295"/>
                </a:cubicBezTo>
                <a:cubicBezTo>
                  <a:pt x="386" y="295"/>
                  <a:pt x="386" y="294"/>
                  <a:pt x="387" y="294"/>
                </a:cubicBezTo>
                <a:cubicBezTo>
                  <a:pt x="387" y="293"/>
                  <a:pt x="388" y="293"/>
                  <a:pt x="388" y="293"/>
                </a:cubicBezTo>
                <a:cubicBezTo>
                  <a:pt x="389" y="293"/>
                  <a:pt x="388" y="293"/>
                  <a:pt x="389" y="293"/>
                </a:cubicBezTo>
                <a:cubicBezTo>
                  <a:pt x="390" y="292"/>
                  <a:pt x="390" y="291"/>
                  <a:pt x="391" y="291"/>
                </a:cubicBezTo>
                <a:cubicBezTo>
                  <a:pt x="391" y="291"/>
                  <a:pt x="391" y="292"/>
                  <a:pt x="392" y="291"/>
                </a:cubicBezTo>
                <a:cubicBezTo>
                  <a:pt x="392" y="290"/>
                  <a:pt x="392" y="290"/>
                  <a:pt x="392" y="290"/>
                </a:cubicBezTo>
                <a:cubicBezTo>
                  <a:pt x="393" y="290"/>
                  <a:pt x="392" y="289"/>
                  <a:pt x="392" y="289"/>
                </a:cubicBezTo>
                <a:cubicBezTo>
                  <a:pt x="392" y="288"/>
                  <a:pt x="393" y="288"/>
                  <a:pt x="393" y="288"/>
                </a:cubicBezTo>
                <a:cubicBezTo>
                  <a:pt x="393" y="288"/>
                  <a:pt x="394" y="288"/>
                  <a:pt x="395" y="288"/>
                </a:cubicBezTo>
                <a:cubicBezTo>
                  <a:pt x="395" y="287"/>
                  <a:pt x="396" y="288"/>
                  <a:pt x="396" y="287"/>
                </a:cubicBezTo>
                <a:cubicBezTo>
                  <a:pt x="396" y="286"/>
                  <a:pt x="396" y="286"/>
                  <a:pt x="397" y="286"/>
                </a:cubicBezTo>
                <a:cubicBezTo>
                  <a:pt x="397" y="286"/>
                  <a:pt x="397" y="287"/>
                  <a:pt x="397" y="287"/>
                </a:cubicBezTo>
                <a:cubicBezTo>
                  <a:pt x="397" y="287"/>
                  <a:pt x="397" y="287"/>
                  <a:pt x="398" y="287"/>
                </a:cubicBezTo>
                <a:cubicBezTo>
                  <a:pt x="398" y="286"/>
                  <a:pt x="398" y="287"/>
                  <a:pt x="398" y="286"/>
                </a:cubicBezTo>
                <a:cubicBezTo>
                  <a:pt x="397" y="285"/>
                  <a:pt x="398" y="285"/>
                  <a:pt x="398" y="285"/>
                </a:cubicBezTo>
                <a:cubicBezTo>
                  <a:pt x="399" y="285"/>
                  <a:pt x="400" y="285"/>
                  <a:pt x="401" y="285"/>
                </a:cubicBezTo>
                <a:cubicBezTo>
                  <a:pt x="401" y="285"/>
                  <a:pt x="402" y="285"/>
                  <a:pt x="402" y="285"/>
                </a:cubicBezTo>
                <a:cubicBezTo>
                  <a:pt x="403" y="285"/>
                  <a:pt x="403" y="286"/>
                  <a:pt x="404" y="285"/>
                </a:cubicBezTo>
                <a:cubicBezTo>
                  <a:pt x="404" y="285"/>
                  <a:pt x="405" y="285"/>
                  <a:pt x="405" y="285"/>
                </a:cubicBezTo>
                <a:cubicBezTo>
                  <a:pt x="405" y="286"/>
                  <a:pt x="405" y="286"/>
                  <a:pt x="406" y="287"/>
                </a:cubicBezTo>
                <a:cubicBezTo>
                  <a:pt x="406" y="287"/>
                  <a:pt x="406" y="287"/>
                  <a:pt x="406" y="287"/>
                </a:cubicBezTo>
                <a:cubicBezTo>
                  <a:pt x="406" y="287"/>
                  <a:pt x="406" y="288"/>
                  <a:pt x="406" y="288"/>
                </a:cubicBezTo>
                <a:cubicBezTo>
                  <a:pt x="406" y="289"/>
                  <a:pt x="406" y="288"/>
                  <a:pt x="406" y="289"/>
                </a:cubicBezTo>
                <a:cubicBezTo>
                  <a:pt x="406" y="289"/>
                  <a:pt x="406" y="289"/>
                  <a:pt x="407" y="289"/>
                </a:cubicBezTo>
                <a:cubicBezTo>
                  <a:pt x="408" y="290"/>
                  <a:pt x="408" y="291"/>
                  <a:pt x="409" y="291"/>
                </a:cubicBezTo>
                <a:cubicBezTo>
                  <a:pt x="409" y="292"/>
                  <a:pt x="407" y="291"/>
                  <a:pt x="409" y="292"/>
                </a:cubicBezTo>
                <a:cubicBezTo>
                  <a:pt x="410" y="292"/>
                  <a:pt x="410" y="292"/>
                  <a:pt x="411" y="292"/>
                </a:cubicBezTo>
                <a:cubicBezTo>
                  <a:pt x="411" y="291"/>
                  <a:pt x="413" y="292"/>
                  <a:pt x="413" y="293"/>
                </a:cubicBezTo>
                <a:cubicBezTo>
                  <a:pt x="412" y="294"/>
                  <a:pt x="413" y="295"/>
                  <a:pt x="415" y="296"/>
                </a:cubicBezTo>
                <a:cubicBezTo>
                  <a:pt x="414" y="296"/>
                  <a:pt x="414" y="296"/>
                  <a:pt x="414" y="297"/>
                </a:cubicBezTo>
                <a:cubicBezTo>
                  <a:pt x="414" y="298"/>
                  <a:pt x="414" y="298"/>
                  <a:pt x="415" y="298"/>
                </a:cubicBezTo>
                <a:cubicBezTo>
                  <a:pt x="415" y="299"/>
                  <a:pt x="415" y="300"/>
                  <a:pt x="415" y="300"/>
                </a:cubicBezTo>
                <a:cubicBezTo>
                  <a:pt x="415" y="302"/>
                  <a:pt x="416" y="301"/>
                  <a:pt x="417" y="301"/>
                </a:cubicBezTo>
                <a:cubicBezTo>
                  <a:pt x="418" y="302"/>
                  <a:pt x="418" y="303"/>
                  <a:pt x="419" y="303"/>
                </a:cubicBezTo>
                <a:cubicBezTo>
                  <a:pt x="420" y="303"/>
                  <a:pt x="420" y="304"/>
                  <a:pt x="420" y="303"/>
                </a:cubicBezTo>
                <a:cubicBezTo>
                  <a:pt x="420" y="303"/>
                  <a:pt x="421" y="304"/>
                  <a:pt x="421" y="304"/>
                </a:cubicBezTo>
                <a:cubicBezTo>
                  <a:pt x="421" y="304"/>
                  <a:pt x="424" y="303"/>
                  <a:pt x="424" y="304"/>
                </a:cubicBezTo>
                <a:cubicBezTo>
                  <a:pt x="424" y="304"/>
                  <a:pt x="424" y="304"/>
                  <a:pt x="424" y="304"/>
                </a:cubicBezTo>
                <a:cubicBezTo>
                  <a:pt x="425" y="304"/>
                  <a:pt x="424" y="304"/>
                  <a:pt x="425" y="304"/>
                </a:cubicBezTo>
                <a:cubicBezTo>
                  <a:pt x="425" y="304"/>
                  <a:pt x="426" y="304"/>
                  <a:pt x="426" y="304"/>
                </a:cubicBezTo>
                <a:cubicBezTo>
                  <a:pt x="427" y="304"/>
                  <a:pt x="427" y="304"/>
                  <a:pt x="428" y="305"/>
                </a:cubicBezTo>
                <a:cubicBezTo>
                  <a:pt x="429" y="306"/>
                  <a:pt x="430" y="305"/>
                  <a:pt x="431" y="305"/>
                </a:cubicBezTo>
                <a:cubicBezTo>
                  <a:pt x="432" y="305"/>
                  <a:pt x="432" y="305"/>
                  <a:pt x="433" y="305"/>
                </a:cubicBezTo>
                <a:cubicBezTo>
                  <a:pt x="433" y="305"/>
                  <a:pt x="433" y="305"/>
                  <a:pt x="433" y="305"/>
                </a:cubicBezTo>
                <a:cubicBezTo>
                  <a:pt x="433" y="306"/>
                  <a:pt x="433" y="306"/>
                  <a:pt x="433" y="306"/>
                </a:cubicBezTo>
                <a:cubicBezTo>
                  <a:pt x="434" y="306"/>
                  <a:pt x="434" y="306"/>
                  <a:pt x="434" y="306"/>
                </a:cubicBezTo>
                <a:cubicBezTo>
                  <a:pt x="434" y="306"/>
                  <a:pt x="435" y="307"/>
                  <a:pt x="435" y="307"/>
                </a:cubicBezTo>
                <a:cubicBezTo>
                  <a:pt x="435" y="307"/>
                  <a:pt x="435" y="307"/>
                  <a:pt x="435" y="307"/>
                </a:cubicBezTo>
                <a:cubicBezTo>
                  <a:pt x="435" y="308"/>
                  <a:pt x="436" y="307"/>
                  <a:pt x="437" y="307"/>
                </a:cubicBezTo>
                <a:cubicBezTo>
                  <a:pt x="437" y="309"/>
                  <a:pt x="437" y="310"/>
                  <a:pt x="437" y="311"/>
                </a:cubicBezTo>
                <a:cubicBezTo>
                  <a:pt x="438" y="312"/>
                  <a:pt x="438" y="312"/>
                  <a:pt x="439" y="312"/>
                </a:cubicBezTo>
                <a:cubicBezTo>
                  <a:pt x="439" y="312"/>
                  <a:pt x="438" y="313"/>
                  <a:pt x="438" y="314"/>
                </a:cubicBezTo>
                <a:cubicBezTo>
                  <a:pt x="438" y="313"/>
                  <a:pt x="437" y="313"/>
                  <a:pt x="436" y="314"/>
                </a:cubicBezTo>
                <a:cubicBezTo>
                  <a:pt x="436" y="314"/>
                  <a:pt x="437" y="315"/>
                  <a:pt x="437" y="315"/>
                </a:cubicBezTo>
                <a:cubicBezTo>
                  <a:pt x="437" y="315"/>
                  <a:pt x="437" y="316"/>
                  <a:pt x="436" y="316"/>
                </a:cubicBezTo>
                <a:cubicBezTo>
                  <a:pt x="436" y="316"/>
                  <a:pt x="435" y="316"/>
                  <a:pt x="435" y="315"/>
                </a:cubicBezTo>
                <a:cubicBezTo>
                  <a:pt x="435" y="314"/>
                  <a:pt x="433" y="315"/>
                  <a:pt x="433" y="314"/>
                </a:cubicBezTo>
                <a:cubicBezTo>
                  <a:pt x="433" y="314"/>
                  <a:pt x="432" y="314"/>
                  <a:pt x="432" y="314"/>
                </a:cubicBezTo>
                <a:cubicBezTo>
                  <a:pt x="432" y="313"/>
                  <a:pt x="432" y="314"/>
                  <a:pt x="432" y="313"/>
                </a:cubicBezTo>
                <a:cubicBezTo>
                  <a:pt x="431" y="312"/>
                  <a:pt x="431" y="314"/>
                  <a:pt x="430" y="314"/>
                </a:cubicBezTo>
                <a:cubicBezTo>
                  <a:pt x="430" y="314"/>
                  <a:pt x="429" y="315"/>
                  <a:pt x="429" y="316"/>
                </a:cubicBezTo>
                <a:cubicBezTo>
                  <a:pt x="429" y="315"/>
                  <a:pt x="428" y="316"/>
                  <a:pt x="428" y="316"/>
                </a:cubicBezTo>
                <a:cubicBezTo>
                  <a:pt x="428" y="317"/>
                  <a:pt x="428" y="318"/>
                  <a:pt x="428" y="319"/>
                </a:cubicBezTo>
                <a:cubicBezTo>
                  <a:pt x="428" y="319"/>
                  <a:pt x="428" y="319"/>
                  <a:pt x="428" y="319"/>
                </a:cubicBezTo>
                <a:cubicBezTo>
                  <a:pt x="428" y="320"/>
                  <a:pt x="428" y="321"/>
                  <a:pt x="428" y="323"/>
                </a:cubicBezTo>
                <a:cubicBezTo>
                  <a:pt x="427" y="323"/>
                  <a:pt x="426" y="323"/>
                  <a:pt x="425" y="324"/>
                </a:cubicBezTo>
                <a:cubicBezTo>
                  <a:pt x="424" y="323"/>
                  <a:pt x="424" y="319"/>
                  <a:pt x="423" y="318"/>
                </a:cubicBezTo>
                <a:cubicBezTo>
                  <a:pt x="422" y="318"/>
                  <a:pt x="422" y="318"/>
                  <a:pt x="421" y="318"/>
                </a:cubicBezTo>
                <a:cubicBezTo>
                  <a:pt x="421" y="318"/>
                  <a:pt x="421" y="318"/>
                  <a:pt x="420" y="319"/>
                </a:cubicBezTo>
                <a:cubicBezTo>
                  <a:pt x="420" y="319"/>
                  <a:pt x="419" y="320"/>
                  <a:pt x="418" y="320"/>
                </a:cubicBezTo>
                <a:cubicBezTo>
                  <a:pt x="417" y="319"/>
                  <a:pt x="420" y="316"/>
                  <a:pt x="420" y="315"/>
                </a:cubicBezTo>
                <a:cubicBezTo>
                  <a:pt x="421" y="313"/>
                  <a:pt x="420" y="313"/>
                  <a:pt x="420" y="312"/>
                </a:cubicBezTo>
                <a:cubicBezTo>
                  <a:pt x="420" y="311"/>
                  <a:pt x="419" y="312"/>
                  <a:pt x="419" y="311"/>
                </a:cubicBezTo>
                <a:cubicBezTo>
                  <a:pt x="419" y="311"/>
                  <a:pt x="420" y="310"/>
                  <a:pt x="420" y="310"/>
                </a:cubicBezTo>
                <a:cubicBezTo>
                  <a:pt x="419" y="310"/>
                  <a:pt x="419" y="309"/>
                  <a:pt x="419" y="309"/>
                </a:cubicBezTo>
                <a:cubicBezTo>
                  <a:pt x="418" y="308"/>
                  <a:pt x="418" y="308"/>
                  <a:pt x="417" y="308"/>
                </a:cubicBezTo>
                <a:cubicBezTo>
                  <a:pt x="417" y="308"/>
                  <a:pt x="416" y="308"/>
                  <a:pt x="416" y="308"/>
                </a:cubicBezTo>
                <a:cubicBezTo>
                  <a:pt x="415" y="307"/>
                  <a:pt x="415" y="306"/>
                  <a:pt x="414" y="307"/>
                </a:cubicBezTo>
                <a:cubicBezTo>
                  <a:pt x="413" y="307"/>
                  <a:pt x="413" y="307"/>
                  <a:pt x="413" y="308"/>
                </a:cubicBezTo>
                <a:cubicBezTo>
                  <a:pt x="413" y="309"/>
                  <a:pt x="413" y="309"/>
                  <a:pt x="412" y="309"/>
                </a:cubicBezTo>
                <a:cubicBezTo>
                  <a:pt x="411" y="309"/>
                  <a:pt x="410" y="310"/>
                  <a:pt x="410" y="311"/>
                </a:cubicBezTo>
                <a:cubicBezTo>
                  <a:pt x="410" y="312"/>
                  <a:pt x="409" y="311"/>
                  <a:pt x="408" y="311"/>
                </a:cubicBezTo>
                <a:cubicBezTo>
                  <a:pt x="407" y="311"/>
                  <a:pt x="407" y="315"/>
                  <a:pt x="407" y="316"/>
                </a:cubicBezTo>
                <a:cubicBezTo>
                  <a:pt x="407" y="317"/>
                  <a:pt x="407" y="316"/>
                  <a:pt x="406" y="317"/>
                </a:cubicBezTo>
                <a:cubicBezTo>
                  <a:pt x="405" y="317"/>
                  <a:pt x="406" y="319"/>
                  <a:pt x="406" y="320"/>
                </a:cubicBezTo>
                <a:cubicBezTo>
                  <a:pt x="406" y="321"/>
                  <a:pt x="406" y="321"/>
                  <a:pt x="406" y="322"/>
                </a:cubicBezTo>
                <a:cubicBezTo>
                  <a:pt x="406" y="324"/>
                  <a:pt x="406" y="322"/>
                  <a:pt x="406" y="322"/>
                </a:cubicBezTo>
                <a:cubicBezTo>
                  <a:pt x="406" y="322"/>
                  <a:pt x="406" y="323"/>
                  <a:pt x="406" y="323"/>
                </a:cubicBezTo>
                <a:cubicBezTo>
                  <a:pt x="406" y="323"/>
                  <a:pt x="407" y="323"/>
                  <a:pt x="407" y="323"/>
                </a:cubicBezTo>
                <a:cubicBezTo>
                  <a:pt x="407" y="325"/>
                  <a:pt x="407" y="326"/>
                  <a:pt x="406" y="327"/>
                </a:cubicBezTo>
                <a:cubicBezTo>
                  <a:pt x="405" y="329"/>
                  <a:pt x="405" y="329"/>
                  <a:pt x="405" y="330"/>
                </a:cubicBezTo>
                <a:cubicBezTo>
                  <a:pt x="405" y="331"/>
                  <a:pt x="403" y="332"/>
                  <a:pt x="402" y="332"/>
                </a:cubicBezTo>
                <a:cubicBezTo>
                  <a:pt x="400" y="332"/>
                  <a:pt x="400" y="330"/>
                  <a:pt x="400" y="328"/>
                </a:cubicBezTo>
                <a:cubicBezTo>
                  <a:pt x="400" y="328"/>
                  <a:pt x="399" y="328"/>
                  <a:pt x="399" y="328"/>
                </a:cubicBezTo>
                <a:cubicBezTo>
                  <a:pt x="399" y="327"/>
                  <a:pt x="399" y="326"/>
                  <a:pt x="399" y="326"/>
                </a:cubicBezTo>
                <a:cubicBezTo>
                  <a:pt x="399" y="326"/>
                  <a:pt x="399" y="326"/>
                  <a:pt x="399" y="326"/>
                </a:cubicBezTo>
                <a:cubicBezTo>
                  <a:pt x="399" y="325"/>
                  <a:pt x="399" y="325"/>
                  <a:pt x="399" y="325"/>
                </a:cubicBezTo>
                <a:cubicBezTo>
                  <a:pt x="399" y="324"/>
                  <a:pt x="399" y="325"/>
                  <a:pt x="399" y="325"/>
                </a:cubicBezTo>
                <a:cubicBezTo>
                  <a:pt x="399" y="324"/>
                  <a:pt x="399" y="324"/>
                  <a:pt x="399" y="323"/>
                </a:cubicBezTo>
                <a:cubicBezTo>
                  <a:pt x="399" y="322"/>
                  <a:pt x="400" y="324"/>
                  <a:pt x="399" y="322"/>
                </a:cubicBezTo>
                <a:cubicBezTo>
                  <a:pt x="400" y="322"/>
                  <a:pt x="399" y="321"/>
                  <a:pt x="399" y="321"/>
                </a:cubicBezTo>
                <a:cubicBezTo>
                  <a:pt x="400" y="321"/>
                  <a:pt x="400" y="318"/>
                  <a:pt x="400" y="318"/>
                </a:cubicBezTo>
                <a:cubicBezTo>
                  <a:pt x="400" y="318"/>
                  <a:pt x="400" y="318"/>
                  <a:pt x="400" y="318"/>
                </a:cubicBezTo>
                <a:cubicBezTo>
                  <a:pt x="400" y="317"/>
                  <a:pt x="401" y="317"/>
                  <a:pt x="401" y="316"/>
                </a:cubicBezTo>
                <a:cubicBezTo>
                  <a:pt x="402" y="314"/>
                  <a:pt x="402" y="313"/>
                  <a:pt x="402" y="311"/>
                </a:cubicBezTo>
                <a:cubicBezTo>
                  <a:pt x="401" y="311"/>
                  <a:pt x="401" y="312"/>
                  <a:pt x="400" y="313"/>
                </a:cubicBezTo>
                <a:cubicBezTo>
                  <a:pt x="400" y="314"/>
                  <a:pt x="400" y="315"/>
                  <a:pt x="398" y="315"/>
                </a:cubicBezTo>
                <a:cubicBezTo>
                  <a:pt x="398" y="313"/>
                  <a:pt x="399" y="313"/>
                  <a:pt x="400" y="312"/>
                </a:cubicBezTo>
                <a:cubicBezTo>
                  <a:pt x="401" y="311"/>
                  <a:pt x="401" y="311"/>
                  <a:pt x="401" y="310"/>
                </a:cubicBezTo>
                <a:cubicBezTo>
                  <a:pt x="401" y="309"/>
                  <a:pt x="401" y="310"/>
                  <a:pt x="401" y="309"/>
                </a:cubicBezTo>
                <a:cubicBezTo>
                  <a:pt x="402" y="308"/>
                  <a:pt x="402" y="308"/>
                  <a:pt x="402" y="307"/>
                </a:cubicBezTo>
                <a:cubicBezTo>
                  <a:pt x="402" y="307"/>
                  <a:pt x="402" y="307"/>
                  <a:pt x="402" y="307"/>
                </a:cubicBezTo>
                <a:cubicBezTo>
                  <a:pt x="403" y="307"/>
                  <a:pt x="403" y="307"/>
                  <a:pt x="403" y="306"/>
                </a:cubicBezTo>
                <a:cubicBezTo>
                  <a:pt x="404" y="305"/>
                  <a:pt x="404" y="307"/>
                  <a:pt x="404" y="307"/>
                </a:cubicBezTo>
                <a:cubicBezTo>
                  <a:pt x="406" y="307"/>
                  <a:pt x="404" y="306"/>
                  <a:pt x="406" y="305"/>
                </a:cubicBezTo>
                <a:cubicBezTo>
                  <a:pt x="407" y="305"/>
                  <a:pt x="408" y="306"/>
                  <a:pt x="409" y="305"/>
                </a:cubicBezTo>
                <a:cubicBezTo>
                  <a:pt x="409" y="305"/>
                  <a:pt x="409" y="305"/>
                  <a:pt x="409" y="305"/>
                </a:cubicBezTo>
                <a:cubicBezTo>
                  <a:pt x="410" y="304"/>
                  <a:pt x="410" y="304"/>
                  <a:pt x="411" y="304"/>
                </a:cubicBezTo>
                <a:cubicBezTo>
                  <a:pt x="412" y="305"/>
                  <a:pt x="413" y="305"/>
                  <a:pt x="414" y="305"/>
                </a:cubicBezTo>
                <a:cubicBezTo>
                  <a:pt x="414" y="304"/>
                  <a:pt x="414" y="304"/>
                  <a:pt x="415" y="304"/>
                </a:cubicBezTo>
                <a:cubicBezTo>
                  <a:pt x="416" y="304"/>
                  <a:pt x="416" y="305"/>
                  <a:pt x="416" y="305"/>
                </a:cubicBezTo>
                <a:cubicBezTo>
                  <a:pt x="416" y="305"/>
                  <a:pt x="417" y="305"/>
                  <a:pt x="417" y="305"/>
                </a:cubicBezTo>
                <a:cubicBezTo>
                  <a:pt x="417" y="304"/>
                  <a:pt x="417" y="304"/>
                  <a:pt x="416" y="303"/>
                </a:cubicBezTo>
                <a:cubicBezTo>
                  <a:pt x="416" y="302"/>
                  <a:pt x="416" y="302"/>
                  <a:pt x="415" y="302"/>
                </a:cubicBezTo>
                <a:cubicBezTo>
                  <a:pt x="414" y="302"/>
                  <a:pt x="413" y="302"/>
                  <a:pt x="413" y="303"/>
                </a:cubicBezTo>
                <a:cubicBezTo>
                  <a:pt x="413" y="301"/>
                  <a:pt x="413" y="300"/>
                  <a:pt x="412" y="299"/>
                </a:cubicBezTo>
                <a:cubicBezTo>
                  <a:pt x="411" y="300"/>
                  <a:pt x="411" y="300"/>
                  <a:pt x="409" y="301"/>
                </a:cubicBezTo>
                <a:cubicBezTo>
                  <a:pt x="408" y="301"/>
                  <a:pt x="407" y="301"/>
                  <a:pt x="407" y="302"/>
                </a:cubicBezTo>
                <a:cubicBezTo>
                  <a:pt x="406" y="302"/>
                  <a:pt x="404" y="302"/>
                  <a:pt x="404" y="302"/>
                </a:cubicBezTo>
                <a:cubicBezTo>
                  <a:pt x="403" y="302"/>
                  <a:pt x="403" y="302"/>
                  <a:pt x="402" y="302"/>
                </a:cubicBezTo>
                <a:cubicBezTo>
                  <a:pt x="401" y="302"/>
                  <a:pt x="401" y="302"/>
                  <a:pt x="401" y="301"/>
                </a:cubicBezTo>
                <a:cubicBezTo>
                  <a:pt x="401" y="300"/>
                  <a:pt x="400" y="300"/>
                  <a:pt x="400" y="298"/>
                </a:cubicBezTo>
                <a:cubicBezTo>
                  <a:pt x="398" y="298"/>
                  <a:pt x="397" y="299"/>
                  <a:pt x="396" y="299"/>
                </a:cubicBezTo>
                <a:cubicBezTo>
                  <a:pt x="396" y="299"/>
                  <a:pt x="396" y="299"/>
                  <a:pt x="395" y="299"/>
                </a:cubicBezTo>
                <a:cubicBezTo>
                  <a:pt x="396" y="298"/>
                  <a:pt x="396" y="297"/>
                  <a:pt x="396" y="297"/>
                </a:cubicBezTo>
                <a:cubicBezTo>
                  <a:pt x="397" y="297"/>
                  <a:pt x="396" y="297"/>
                  <a:pt x="397" y="297"/>
                </a:cubicBezTo>
                <a:cubicBezTo>
                  <a:pt x="398" y="297"/>
                  <a:pt x="398" y="296"/>
                  <a:pt x="399" y="296"/>
                </a:cubicBezTo>
                <a:cubicBezTo>
                  <a:pt x="399" y="294"/>
                  <a:pt x="399" y="294"/>
                  <a:pt x="397" y="295"/>
                </a:cubicBezTo>
                <a:cubicBezTo>
                  <a:pt x="397" y="295"/>
                  <a:pt x="396" y="296"/>
                  <a:pt x="395" y="296"/>
                </a:cubicBezTo>
                <a:cubicBezTo>
                  <a:pt x="394" y="296"/>
                  <a:pt x="395" y="296"/>
                  <a:pt x="394" y="297"/>
                </a:cubicBezTo>
                <a:cubicBezTo>
                  <a:pt x="394" y="297"/>
                  <a:pt x="394" y="297"/>
                  <a:pt x="394" y="297"/>
                </a:cubicBezTo>
                <a:cubicBezTo>
                  <a:pt x="393" y="298"/>
                  <a:pt x="393" y="298"/>
                  <a:pt x="392" y="299"/>
                </a:cubicBezTo>
                <a:cubicBezTo>
                  <a:pt x="391" y="299"/>
                  <a:pt x="391" y="299"/>
                  <a:pt x="390" y="299"/>
                </a:cubicBezTo>
                <a:cubicBezTo>
                  <a:pt x="389" y="299"/>
                  <a:pt x="389" y="299"/>
                  <a:pt x="388" y="300"/>
                </a:cubicBezTo>
                <a:cubicBezTo>
                  <a:pt x="388" y="301"/>
                  <a:pt x="387" y="300"/>
                  <a:pt x="387" y="300"/>
                </a:cubicBezTo>
                <a:cubicBezTo>
                  <a:pt x="386" y="300"/>
                  <a:pt x="386" y="301"/>
                  <a:pt x="386" y="300"/>
                </a:cubicBezTo>
                <a:cubicBezTo>
                  <a:pt x="386" y="299"/>
                  <a:pt x="385" y="300"/>
                  <a:pt x="385" y="299"/>
                </a:cubicBezTo>
                <a:cubicBezTo>
                  <a:pt x="384" y="299"/>
                  <a:pt x="382" y="299"/>
                  <a:pt x="381" y="299"/>
                </a:cubicBezTo>
                <a:cubicBezTo>
                  <a:pt x="381" y="299"/>
                  <a:pt x="380" y="299"/>
                  <a:pt x="380" y="299"/>
                </a:cubicBezTo>
                <a:cubicBezTo>
                  <a:pt x="380" y="299"/>
                  <a:pt x="380" y="298"/>
                  <a:pt x="381" y="298"/>
                </a:cubicBezTo>
                <a:close/>
                <a:moveTo>
                  <a:pt x="395" y="278"/>
                </a:moveTo>
                <a:cubicBezTo>
                  <a:pt x="395" y="277"/>
                  <a:pt x="395" y="277"/>
                  <a:pt x="396" y="276"/>
                </a:cubicBezTo>
                <a:cubicBezTo>
                  <a:pt x="397" y="275"/>
                  <a:pt x="398" y="276"/>
                  <a:pt x="399" y="277"/>
                </a:cubicBezTo>
                <a:cubicBezTo>
                  <a:pt x="399" y="278"/>
                  <a:pt x="399" y="278"/>
                  <a:pt x="400" y="279"/>
                </a:cubicBezTo>
                <a:cubicBezTo>
                  <a:pt x="400" y="279"/>
                  <a:pt x="400" y="280"/>
                  <a:pt x="400" y="280"/>
                </a:cubicBezTo>
                <a:cubicBezTo>
                  <a:pt x="400" y="281"/>
                  <a:pt x="400" y="281"/>
                  <a:pt x="399" y="281"/>
                </a:cubicBezTo>
                <a:cubicBezTo>
                  <a:pt x="398" y="281"/>
                  <a:pt x="398" y="281"/>
                  <a:pt x="398" y="281"/>
                </a:cubicBezTo>
                <a:cubicBezTo>
                  <a:pt x="398" y="280"/>
                  <a:pt x="397" y="281"/>
                  <a:pt x="396" y="281"/>
                </a:cubicBezTo>
                <a:cubicBezTo>
                  <a:pt x="396" y="280"/>
                  <a:pt x="396" y="280"/>
                  <a:pt x="396" y="279"/>
                </a:cubicBezTo>
                <a:cubicBezTo>
                  <a:pt x="395" y="279"/>
                  <a:pt x="396" y="280"/>
                  <a:pt x="396" y="280"/>
                </a:cubicBezTo>
                <a:cubicBezTo>
                  <a:pt x="395" y="281"/>
                  <a:pt x="395" y="280"/>
                  <a:pt x="395" y="279"/>
                </a:cubicBezTo>
                <a:cubicBezTo>
                  <a:pt x="395" y="279"/>
                  <a:pt x="395" y="278"/>
                  <a:pt x="395" y="278"/>
                </a:cubicBezTo>
                <a:close/>
                <a:moveTo>
                  <a:pt x="434" y="302"/>
                </a:moveTo>
                <a:cubicBezTo>
                  <a:pt x="434" y="302"/>
                  <a:pt x="436" y="302"/>
                  <a:pt x="436" y="302"/>
                </a:cubicBezTo>
                <a:cubicBezTo>
                  <a:pt x="437" y="302"/>
                  <a:pt x="437" y="302"/>
                  <a:pt x="438" y="302"/>
                </a:cubicBezTo>
                <a:cubicBezTo>
                  <a:pt x="438" y="302"/>
                  <a:pt x="438" y="304"/>
                  <a:pt x="437" y="304"/>
                </a:cubicBezTo>
                <a:cubicBezTo>
                  <a:pt x="436" y="304"/>
                  <a:pt x="437" y="303"/>
                  <a:pt x="436" y="303"/>
                </a:cubicBezTo>
                <a:cubicBezTo>
                  <a:pt x="435" y="303"/>
                  <a:pt x="433" y="303"/>
                  <a:pt x="434" y="302"/>
                </a:cubicBezTo>
                <a:close/>
                <a:moveTo>
                  <a:pt x="440" y="314"/>
                </a:moveTo>
                <a:cubicBezTo>
                  <a:pt x="441" y="314"/>
                  <a:pt x="440" y="315"/>
                  <a:pt x="440" y="315"/>
                </a:cubicBezTo>
                <a:cubicBezTo>
                  <a:pt x="440" y="316"/>
                  <a:pt x="439" y="318"/>
                  <a:pt x="439" y="317"/>
                </a:cubicBezTo>
                <a:cubicBezTo>
                  <a:pt x="438" y="316"/>
                  <a:pt x="439" y="315"/>
                  <a:pt x="440" y="314"/>
                </a:cubicBezTo>
                <a:close/>
                <a:moveTo>
                  <a:pt x="441" y="319"/>
                </a:moveTo>
                <a:cubicBezTo>
                  <a:pt x="443" y="319"/>
                  <a:pt x="445" y="319"/>
                  <a:pt x="447" y="319"/>
                </a:cubicBezTo>
                <a:cubicBezTo>
                  <a:pt x="448" y="319"/>
                  <a:pt x="448" y="320"/>
                  <a:pt x="449" y="320"/>
                </a:cubicBezTo>
                <a:cubicBezTo>
                  <a:pt x="449" y="320"/>
                  <a:pt x="449" y="320"/>
                  <a:pt x="449" y="320"/>
                </a:cubicBezTo>
                <a:cubicBezTo>
                  <a:pt x="450" y="320"/>
                  <a:pt x="450" y="320"/>
                  <a:pt x="450" y="319"/>
                </a:cubicBezTo>
                <a:cubicBezTo>
                  <a:pt x="451" y="319"/>
                  <a:pt x="451" y="319"/>
                  <a:pt x="451" y="318"/>
                </a:cubicBezTo>
                <a:cubicBezTo>
                  <a:pt x="451" y="319"/>
                  <a:pt x="450" y="319"/>
                  <a:pt x="449" y="319"/>
                </a:cubicBezTo>
                <a:cubicBezTo>
                  <a:pt x="449" y="319"/>
                  <a:pt x="449" y="318"/>
                  <a:pt x="449" y="318"/>
                </a:cubicBezTo>
                <a:cubicBezTo>
                  <a:pt x="448" y="318"/>
                  <a:pt x="448" y="318"/>
                  <a:pt x="448" y="318"/>
                </a:cubicBezTo>
                <a:cubicBezTo>
                  <a:pt x="445" y="316"/>
                  <a:pt x="449" y="317"/>
                  <a:pt x="450" y="316"/>
                </a:cubicBezTo>
                <a:cubicBezTo>
                  <a:pt x="450" y="317"/>
                  <a:pt x="452" y="317"/>
                  <a:pt x="452" y="317"/>
                </a:cubicBezTo>
                <a:cubicBezTo>
                  <a:pt x="453" y="317"/>
                  <a:pt x="453" y="317"/>
                  <a:pt x="454" y="316"/>
                </a:cubicBezTo>
                <a:cubicBezTo>
                  <a:pt x="455" y="316"/>
                  <a:pt x="456" y="314"/>
                  <a:pt x="457" y="314"/>
                </a:cubicBezTo>
                <a:cubicBezTo>
                  <a:pt x="457" y="315"/>
                  <a:pt x="457" y="316"/>
                  <a:pt x="457" y="316"/>
                </a:cubicBezTo>
                <a:cubicBezTo>
                  <a:pt x="456" y="317"/>
                  <a:pt x="456" y="317"/>
                  <a:pt x="455" y="317"/>
                </a:cubicBezTo>
                <a:cubicBezTo>
                  <a:pt x="455" y="317"/>
                  <a:pt x="455" y="318"/>
                  <a:pt x="455" y="318"/>
                </a:cubicBezTo>
                <a:cubicBezTo>
                  <a:pt x="455" y="318"/>
                  <a:pt x="456" y="319"/>
                  <a:pt x="455" y="319"/>
                </a:cubicBezTo>
                <a:cubicBezTo>
                  <a:pt x="455" y="319"/>
                  <a:pt x="454" y="320"/>
                  <a:pt x="454" y="320"/>
                </a:cubicBezTo>
                <a:cubicBezTo>
                  <a:pt x="454" y="320"/>
                  <a:pt x="455" y="321"/>
                  <a:pt x="455" y="321"/>
                </a:cubicBezTo>
                <a:cubicBezTo>
                  <a:pt x="454" y="321"/>
                  <a:pt x="455" y="322"/>
                  <a:pt x="454" y="322"/>
                </a:cubicBezTo>
                <a:cubicBezTo>
                  <a:pt x="453" y="322"/>
                  <a:pt x="452" y="322"/>
                  <a:pt x="452" y="322"/>
                </a:cubicBezTo>
                <a:cubicBezTo>
                  <a:pt x="451" y="322"/>
                  <a:pt x="451" y="322"/>
                  <a:pt x="451" y="323"/>
                </a:cubicBezTo>
                <a:cubicBezTo>
                  <a:pt x="450" y="323"/>
                  <a:pt x="449" y="323"/>
                  <a:pt x="449" y="323"/>
                </a:cubicBezTo>
                <a:cubicBezTo>
                  <a:pt x="448" y="323"/>
                  <a:pt x="448" y="323"/>
                  <a:pt x="447" y="323"/>
                </a:cubicBezTo>
                <a:cubicBezTo>
                  <a:pt x="446" y="323"/>
                  <a:pt x="446" y="323"/>
                  <a:pt x="446" y="323"/>
                </a:cubicBezTo>
                <a:cubicBezTo>
                  <a:pt x="446" y="323"/>
                  <a:pt x="446" y="323"/>
                  <a:pt x="446" y="323"/>
                </a:cubicBezTo>
                <a:cubicBezTo>
                  <a:pt x="444" y="322"/>
                  <a:pt x="444" y="323"/>
                  <a:pt x="443" y="323"/>
                </a:cubicBezTo>
                <a:cubicBezTo>
                  <a:pt x="442" y="323"/>
                  <a:pt x="441" y="323"/>
                  <a:pt x="440" y="323"/>
                </a:cubicBezTo>
                <a:cubicBezTo>
                  <a:pt x="440" y="324"/>
                  <a:pt x="441" y="324"/>
                  <a:pt x="441" y="325"/>
                </a:cubicBezTo>
                <a:cubicBezTo>
                  <a:pt x="441" y="326"/>
                  <a:pt x="441" y="326"/>
                  <a:pt x="440" y="326"/>
                </a:cubicBezTo>
                <a:cubicBezTo>
                  <a:pt x="440" y="326"/>
                  <a:pt x="440" y="326"/>
                  <a:pt x="440" y="327"/>
                </a:cubicBezTo>
                <a:cubicBezTo>
                  <a:pt x="440" y="327"/>
                  <a:pt x="439" y="328"/>
                  <a:pt x="439" y="328"/>
                </a:cubicBezTo>
                <a:cubicBezTo>
                  <a:pt x="438" y="329"/>
                  <a:pt x="438" y="329"/>
                  <a:pt x="438" y="329"/>
                </a:cubicBezTo>
                <a:cubicBezTo>
                  <a:pt x="437" y="329"/>
                  <a:pt x="437" y="329"/>
                  <a:pt x="437" y="329"/>
                </a:cubicBezTo>
                <a:cubicBezTo>
                  <a:pt x="437" y="329"/>
                  <a:pt x="436" y="329"/>
                  <a:pt x="436" y="329"/>
                </a:cubicBezTo>
                <a:cubicBezTo>
                  <a:pt x="436" y="329"/>
                  <a:pt x="436" y="330"/>
                  <a:pt x="436" y="330"/>
                </a:cubicBezTo>
                <a:cubicBezTo>
                  <a:pt x="436" y="330"/>
                  <a:pt x="435" y="329"/>
                  <a:pt x="435" y="330"/>
                </a:cubicBezTo>
                <a:cubicBezTo>
                  <a:pt x="434" y="330"/>
                  <a:pt x="435" y="330"/>
                  <a:pt x="434" y="330"/>
                </a:cubicBezTo>
                <a:cubicBezTo>
                  <a:pt x="434" y="330"/>
                  <a:pt x="433" y="331"/>
                  <a:pt x="433" y="331"/>
                </a:cubicBezTo>
                <a:cubicBezTo>
                  <a:pt x="432" y="331"/>
                  <a:pt x="435" y="331"/>
                  <a:pt x="432" y="331"/>
                </a:cubicBezTo>
                <a:cubicBezTo>
                  <a:pt x="432" y="331"/>
                  <a:pt x="431" y="331"/>
                  <a:pt x="430" y="331"/>
                </a:cubicBezTo>
                <a:cubicBezTo>
                  <a:pt x="429" y="331"/>
                  <a:pt x="429" y="333"/>
                  <a:pt x="428" y="334"/>
                </a:cubicBezTo>
                <a:cubicBezTo>
                  <a:pt x="427" y="334"/>
                  <a:pt x="427" y="334"/>
                  <a:pt x="426" y="334"/>
                </a:cubicBezTo>
                <a:cubicBezTo>
                  <a:pt x="426" y="334"/>
                  <a:pt x="425" y="334"/>
                  <a:pt x="425" y="334"/>
                </a:cubicBezTo>
                <a:cubicBezTo>
                  <a:pt x="425" y="334"/>
                  <a:pt x="425" y="335"/>
                  <a:pt x="425" y="335"/>
                </a:cubicBezTo>
                <a:cubicBezTo>
                  <a:pt x="425" y="335"/>
                  <a:pt x="424" y="335"/>
                  <a:pt x="423" y="335"/>
                </a:cubicBezTo>
                <a:cubicBezTo>
                  <a:pt x="423" y="335"/>
                  <a:pt x="423" y="335"/>
                  <a:pt x="422" y="335"/>
                </a:cubicBezTo>
                <a:cubicBezTo>
                  <a:pt x="422" y="335"/>
                  <a:pt x="422" y="335"/>
                  <a:pt x="422" y="334"/>
                </a:cubicBezTo>
                <a:cubicBezTo>
                  <a:pt x="422" y="334"/>
                  <a:pt x="421" y="334"/>
                  <a:pt x="422" y="334"/>
                </a:cubicBezTo>
                <a:cubicBezTo>
                  <a:pt x="423" y="334"/>
                  <a:pt x="423" y="333"/>
                  <a:pt x="423" y="333"/>
                </a:cubicBezTo>
                <a:cubicBezTo>
                  <a:pt x="422" y="333"/>
                  <a:pt x="422" y="333"/>
                  <a:pt x="422" y="333"/>
                </a:cubicBezTo>
                <a:cubicBezTo>
                  <a:pt x="421" y="333"/>
                  <a:pt x="421" y="332"/>
                  <a:pt x="421" y="332"/>
                </a:cubicBezTo>
                <a:cubicBezTo>
                  <a:pt x="421" y="332"/>
                  <a:pt x="420" y="332"/>
                  <a:pt x="420" y="333"/>
                </a:cubicBezTo>
                <a:cubicBezTo>
                  <a:pt x="420" y="332"/>
                  <a:pt x="420" y="331"/>
                  <a:pt x="420" y="331"/>
                </a:cubicBezTo>
                <a:cubicBezTo>
                  <a:pt x="420" y="330"/>
                  <a:pt x="421" y="330"/>
                  <a:pt x="421" y="330"/>
                </a:cubicBezTo>
                <a:cubicBezTo>
                  <a:pt x="422" y="330"/>
                  <a:pt x="423" y="328"/>
                  <a:pt x="423" y="327"/>
                </a:cubicBezTo>
                <a:cubicBezTo>
                  <a:pt x="423" y="326"/>
                  <a:pt x="423" y="326"/>
                  <a:pt x="424" y="326"/>
                </a:cubicBezTo>
                <a:cubicBezTo>
                  <a:pt x="424" y="327"/>
                  <a:pt x="424" y="328"/>
                  <a:pt x="423" y="328"/>
                </a:cubicBezTo>
                <a:cubicBezTo>
                  <a:pt x="422" y="329"/>
                  <a:pt x="422" y="330"/>
                  <a:pt x="423" y="330"/>
                </a:cubicBezTo>
                <a:cubicBezTo>
                  <a:pt x="423" y="330"/>
                  <a:pt x="424" y="330"/>
                  <a:pt x="425" y="330"/>
                </a:cubicBezTo>
                <a:cubicBezTo>
                  <a:pt x="424" y="330"/>
                  <a:pt x="427" y="329"/>
                  <a:pt x="426" y="330"/>
                </a:cubicBezTo>
                <a:cubicBezTo>
                  <a:pt x="426" y="329"/>
                  <a:pt x="426" y="329"/>
                  <a:pt x="426" y="329"/>
                </a:cubicBezTo>
                <a:cubicBezTo>
                  <a:pt x="427" y="329"/>
                  <a:pt x="428" y="329"/>
                  <a:pt x="428" y="328"/>
                </a:cubicBezTo>
                <a:cubicBezTo>
                  <a:pt x="428" y="328"/>
                  <a:pt x="429" y="327"/>
                  <a:pt x="429" y="327"/>
                </a:cubicBezTo>
                <a:cubicBezTo>
                  <a:pt x="430" y="327"/>
                  <a:pt x="430" y="327"/>
                  <a:pt x="430" y="327"/>
                </a:cubicBezTo>
                <a:cubicBezTo>
                  <a:pt x="431" y="326"/>
                  <a:pt x="432" y="326"/>
                  <a:pt x="433" y="326"/>
                </a:cubicBezTo>
                <a:cubicBezTo>
                  <a:pt x="434" y="326"/>
                  <a:pt x="435" y="324"/>
                  <a:pt x="436" y="324"/>
                </a:cubicBezTo>
                <a:cubicBezTo>
                  <a:pt x="437" y="324"/>
                  <a:pt x="438" y="324"/>
                  <a:pt x="438" y="324"/>
                </a:cubicBezTo>
                <a:cubicBezTo>
                  <a:pt x="439" y="324"/>
                  <a:pt x="440" y="324"/>
                  <a:pt x="439" y="323"/>
                </a:cubicBezTo>
                <a:cubicBezTo>
                  <a:pt x="439" y="322"/>
                  <a:pt x="438" y="323"/>
                  <a:pt x="438" y="322"/>
                </a:cubicBezTo>
                <a:cubicBezTo>
                  <a:pt x="437" y="322"/>
                  <a:pt x="439" y="321"/>
                  <a:pt x="439" y="321"/>
                </a:cubicBezTo>
                <a:cubicBezTo>
                  <a:pt x="439" y="321"/>
                  <a:pt x="439" y="320"/>
                  <a:pt x="439" y="320"/>
                </a:cubicBezTo>
                <a:cubicBezTo>
                  <a:pt x="440" y="320"/>
                  <a:pt x="441" y="320"/>
                  <a:pt x="441" y="319"/>
                </a:cubicBezTo>
                <a:close/>
                <a:moveTo>
                  <a:pt x="382" y="406"/>
                </a:moveTo>
                <a:cubicBezTo>
                  <a:pt x="382" y="406"/>
                  <a:pt x="381" y="405"/>
                  <a:pt x="381" y="404"/>
                </a:cubicBezTo>
                <a:cubicBezTo>
                  <a:pt x="382" y="404"/>
                  <a:pt x="382" y="404"/>
                  <a:pt x="382" y="405"/>
                </a:cubicBezTo>
                <a:cubicBezTo>
                  <a:pt x="382" y="406"/>
                  <a:pt x="382" y="406"/>
                  <a:pt x="382" y="406"/>
                </a:cubicBezTo>
                <a:cubicBezTo>
                  <a:pt x="382" y="406"/>
                  <a:pt x="382" y="406"/>
                  <a:pt x="382" y="406"/>
                </a:cubicBezTo>
                <a:close/>
                <a:moveTo>
                  <a:pt x="462" y="233"/>
                </a:moveTo>
                <a:cubicBezTo>
                  <a:pt x="463" y="233"/>
                  <a:pt x="464" y="234"/>
                  <a:pt x="464" y="234"/>
                </a:cubicBezTo>
                <a:cubicBezTo>
                  <a:pt x="465" y="234"/>
                  <a:pt x="465" y="235"/>
                  <a:pt x="464" y="235"/>
                </a:cubicBezTo>
                <a:cubicBezTo>
                  <a:pt x="464" y="235"/>
                  <a:pt x="464" y="235"/>
                  <a:pt x="463" y="235"/>
                </a:cubicBezTo>
                <a:cubicBezTo>
                  <a:pt x="461" y="235"/>
                  <a:pt x="462" y="234"/>
                  <a:pt x="462" y="233"/>
                </a:cubicBezTo>
                <a:cubicBezTo>
                  <a:pt x="464" y="233"/>
                  <a:pt x="462" y="233"/>
                  <a:pt x="462" y="233"/>
                </a:cubicBezTo>
                <a:close/>
                <a:moveTo>
                  <a:pt x="467" y="308"/>
                </a:moveTo>
                <a:cubicBezTo>
                  <a:pt x="467" y="309"/>
                  <a:pt x="466" y="309"/>
                  <a:pt x="465" y="310"/>
                </a:cubicBezTo>
                <a:cubicBezTo>
                  <a:pt x="465" y="310"/>
                  <a:pt x="464" y="311"/>
                  <a:pt x="464" y="311"/>
                </a:cubicBezTo>
                <a:cubicBezTo>
                  <a:pt x="463" y="311"/>
                  <a:pt x="463" y="311"/>
                  <a:pt x="464" y="310"/>
                </a:cubicBezTo>
                <a:cubicBezTo>
                  <a:pt x="464" y="310"/>
                  <a:pt x="465" y="310"/>
                  <a:pt x="465" y="309"/>
                </a:cubicBezTo>
                <a:cubicBezTo>
                  <a:pt x="465" y="309"/>
                  <a:pt x="463" y="309"/>
                  <a:pt x="463" y="308"/>
                </a:cubicBezTo>
                <a:cubicBezTo>
                  <a:pt x="463" y="308"/>
                  <a:pt x="464" y="308"/>
                  <a:pt x="464" y="308"/>
                </a:cubicBezTo>
                <a:cubicBezTo>
                  <a:pt x="465" y="308"/>
                  <a:pt x="467" y="308"/>
                  <a:pt x="466" y="309"/>
                </a:cubicBezTo>
                <a:cubicBezTo>
                  <a:pt x="467" y="309"/>
                  <a:pt x="467" y="309"/>
                  <a:pt x="467" y="308"/>
                </a:cubicBezTo>
                <a:cubicBezTo>
                  <a:pt x="467" y="310"/>
                  <a:pt x="467" y="308"/>
                  <a:pt x="467" y="308"/>
                </a:cubicBezTo>
                <a:close/>
                <a:moveTo>
                  <a:pt x="467" y="272"/>
                </a:moveTo>
                <a:cubicBezTo>
                  <a:pt x="468" y="272"/>
                  <a:pt x="468" y="272"/>
                  <a:pt x="469" y="271"/>
                </a:cubicBezTo>
                <a:cubicBezTo>
                  <a:pt x="470" y="270"/>
                  <a:pt x="470" y="270"/>
                  <a:pt x="471" y="269"/>
                </a:cubicBezTo>
                <a:cubicBezTo>
                  <a:pt x="472" y="269"/>
                  <a:pt x="472" y="268"/>
                  <a:pt x="473" y="268"/>
                </a:cubicBezTo>
                <a:cubicBezTo>
                  <a:pt x="473" y="268"/>
                  <a:pt x="474" y="268"/>
                  <a:pt x="474" y="269"/>
                </a:cubicBezTo>
                <a:cubicBezTo>
                  <a:pt x="473" y="270"/>
                  <a:pt x="473" y="270"/>
                  <a:pt x="472" y="271"/>
                </a:cubicBezTo>
                <a:cubicBezTo>
                  <a:pt x="472" y="271"/>
                  <a:pt x="471" y="271"/>
                  <a:pt x="471" y="272"/>
                </a:cubicBezTo>
                <a:cubicBezTo>
                  <a:pt x="471" y="272"/>
                  <a:pt x="471" y="272"/>
                  <a:pt x="470" y="272"/>
                </a:cubicBezTo>
                <a:cubicBezTo>
                  <a:pt x="470" y="272"/>
                  <a:pt x="471" y="272"/>
                  <a:pt x="470" y="273"/>
                </a:cubicBezTo>
                <a:cubicBezTo>
                  <a:pt x="470" y="273"/>
                  <a:pt x="470" y="273"/>
                  <a:pt x="470" y="273"/>
                </a:cubicBezTo>
                <a:cubicBezTo>
                  <a:pt x="469" y="273"/>
                  <a:pt x="467" y="273"/>
                  <a:pt x="467" y="272"/>
                </a:cubicBezTo>
                <a:cubicBezTo>
                  <a:pt x="467" y="272"/>
                  <a:pt x="467" y="272"/>
                  <a:pt x="467" y="272"/>
                </a:cubicBezTo>
                <a:close/>
                <a:moveTo>
                  <a:pt x="468" y="238"/>
                </a:moveTo>
                <a:cubicBezTo>
                  <a:pt x="468" y="238"/>
                  <a:pt x="469" y="237"/>
                  <a:pt x="469" y="237"/>
                </a:cubicBezTo>
                <a:cubicBezTo>
                  <a:pt x="469" y="238"/>
                  <a:pt x="469" y="238"/>
                  <a:pt x="469" y="239"/>
                </a:cubicBezTo>
                <a:cubicBezTo>
                  <a:pt x="468" y="239"/>
                  <a:pt x="468" y="239"/>
                  <a:pt x="468" y="238"/>
                </a:cubicBezTo>
                <a:close/>
                <a:moveTo>
                  <a:pt x="470" y="245"/>
                </a:moveTo>
                <a:cubicBezTo>
                  <a:pt x="470" y="245"/>
                  <a:pt x="469" y="246"/>
                  <a:pt x="469" y="245"/>
                </a:cubicBezTo>
                <a:cubicBezTo>
                  <a:pt x="469" y="245"/>
                  <a:pt x="469" y="245"/>
                  <a:pt x="469" y="245"/>
                </a:cubicBezTo>
                <a:cubicBezTo>
                  <a:pt x="470" y="245"/>
                  <a:pt x="470" y="245"/>
                  <a:pt x="470" y="245"/>
                </a:cubicBezTo>
                <a:cubicBezTo>
                  <a:pt x="470" y="245"/>
                  <a:pt x="470" y="245"/>
                  <a:pt x="470" y="245"/>
                </a:cubicBezTo>
                <a:close/>
                <a:moveTo>
                  <a:pt x="474" y="270"/>
                </a:moveTo>
                <a:cubicBezTo>
                  <a:pt x="475" y="270"/>
                  <a:pt x="476" y="270"/>
                  <a:pt x="476" y="270"/>
                </a:cubicBezTo>
                <a:cubicBezTo>
                  <a:pt x="477" y="271"/>
                  <a:pt x="476" y="270"/>
                  <a:pt x="475" y="271"/>
                </a:cubicBezTo>
                <a:cubicBezTo>
                  <a:pt x="475" y="271"/>
                  <a:pt x="475" y="271"/>
                  <a:pt x="474" y="271"/>
                </a:cubicBezTo>
                <a:cubicBezTo>
                  <a:pt x="474" y="271"/>
                  <a:pt x="474" y="270"/>
                  <a:pt x="474" y="270"/>
                </a:cubicBezTo>
                <a:cubicBezTo>
                  <a:pt x="475" y="270"/>
                  <a:pt x="474" y="270"/>
                  <a:pt x="474" y="270"/>
                </a:cubicBezTo>
                <a:close/>
                <a:moveTo>
                  <a:pt x="469" y="316"/>
                </a:moveTo>
                <a:cubicBezTo>
                  <a:pt x="469" y="316"/>
                  <a:pt x="469" y="316"/>
                  <a:pt x="469" y="316"/>
                </a:cubicBezTo>
                <a:cubicBezTo>
                  <a:pt x="469" y="315"/>
                  <a:pt x="469" y="312"/>
                  <a:pt x="469" y="313"/>
                </a:cubicBezTo>
                <a:cubicBezTo>
                  <a:pt x="470" y="314"/>
                  <a:pt x="469" y="315"/>
                  <a:pt x="469" y="316"/>
                </a:cubicBezTo>
                <a:close/>
                <a:moveTo>
                  <a:pt x="488" y="257"/>
                </a:moveTo>
                <a:cubicBezTo>
                  <a:pt x="489" y="258"/>
                  <a:pt x="489" y="258"/>
                  <a:pt x="489" y="259"/>
                </a:cubicBezTo>
                <a:cubicBezTo>
                  <a:pt x="488" y="260"/>
                  <a:pt x="488" y="260"/>
                  <a:pt x="488" y="261"/>
                </a:cubicBezTo>
                <a:cubicBezTo>
                  <a:pt x="487" y="260"/>
                  <a:pt x="487" y="260"/>
                  <a:pt x="486" y="261"/>
                </a:cubicBezTo>
                <a:cubicBezTo>
                  <a:pt x="486" y="261"/>
                  <a:pt x="486" y="261"/>
                  <a:pt x="485" y="261"/>
                </a:cubicBezTo>
                <a:cubicBezTo>
                  <a:pt x="486" y="259"/>
                  <a:pt x="487" y="258"/>
                  <a:pt x="488" y="257"/>
                </a:cubicBezTo>
                <a:cubicBezTo>
                  <a:pt x="488" y="257"/>
                  <a:pt x="488" y="257"/>
                  <a:pt x="488" y="257"/>
                </a:cubicBezTo>
                <a:close/>
                <a:moveTo>
                  <a:pt x="491" y="250"/>
                </a:moveTo>
                <a:cubicBezTo>
                  <a:pt x="492" y="250"/>
                  <a:pt x="492" y="250"/>
                  <a:pt x="492" y="248"/>
                </a:cubicBezTo>
                <a:cubicBezTo>
                  <a:pt x="492" y="248"/>
                  <a:pt x="493" y="248"/>
                  <a:pt x="493" y="248"/>
                </a:cubicBezTo>
                <a:cubicBezTo>
                  <a:pt x="493" y="249"/>
                  <a:pt x="493" y="250"/>
                  <a:pt x="493" y="250"/>
                </a:cubicBezTo>
                <a:cubicBezTo>
                  <a:pt x="493" y="251"/>
                  <a:pt x="492" y="251"/>
                  <a:pt x="492" y="251"/>
                </a:cubicBezTo>
                <a:cubicBezTo>
                  <a:pt x="492" y="251"/>
                  <a:pt x="492" y="252"/>
                  <a:pt x="492" y="252"/>
                </a:cubicBezTo>
                <a:cubicBezTo>
                  <a:pt x="492" y="252"/>
                  <a:pt x="492" y="252"/>
                  <a:pt x="491" y="252"/>
                </a:cubicBezTo>
                <a:cubicBezTo>
                  <a:pt x="491" y="252"/>
                  <a:pt x="491" y="253"/>
                  <a:pt x="491" y="253"/>
                </a:cubicBezTo>
                <a:cubicBezTo>
                  <a:pt x="490" y="253"/>
                  <a:pt x="491" y="251"/>
                  <a:pt x="491" y="250"/>
                </a:cubicBezTo>
                <a:cubicBezTo>
                  <a:pt x="491" y="250"/>
                  <a:pt x="491" y="250"/>
                  <a:pt x="491" y="250"/>
                </a:cubicBezTo>
                <a:close/>
                <a:moveTo>
                  <a:pt x="503" y="243"/>
                </a:moveTo>
                <a:cubicBezTo>
                  <a:pt x="503" y="243"/>
                  <a:pt x="503" y="243"/>
                  <a:pt x="503" y="244"/>
                </a:cubicBezTo>
                <a:cubicBezTo>
                  <a:pt x="503" y="244"/>
                  <a:pt x="502" y="242"/>
                  <a:pt x="502" y="242"/>
                </a:cubicBezTo>
                <a:cubicBezTo>
                  <a:pt x="502" y="242"/>
                  <a:pt x="502" y="242"/>
                  <a:pt x="503" y="243"/>
                </a:cubicBezTo>
                <a:close/>
                <a:moveTo>
                  <a:pt x="514" y="254"/>
                </a:moveTo>
                <a:cubicBezTo>
                  <a:pt x="514" y="256"/>
                  <a:pt x="513" y="256"/>
                  <a:pt x="512" y="256"/>
                </a:cubicBezTo>
                <a:cubicBezTo>
                  <a:pt x="512" y="255"/>
                  <a:pt x="511" y="254"/>
                  <a:pt x="511" y="253"/>
                </a:cubicBezTo>
                <a:cubicBezTo>
                  <a:pt x="512" y="253"/>
                  <a:pt x="512" y="254"/>
                  <a:pt x="514" y="254"/>
                </a:cubicBezTo>
                <a:close/>
                <a:moveTo>
                  <a:pt x="495" y="305"/>
                </a:moveTo>
                <a:cubicBezTo>
                  <a:pt x="496" y="305"/>
                  <a:pt x="494" y="307"/>
                  <a:pt x="495" y="305"/>
                </a:cubicBezTo>
                <a:close/>
                <a:moveTo>
                  <a:pt x="652" y="621"/>
                </a:moveTo>
                <a:cubicBezTo>
                  <a:pt x="652" y="620"/>
                  <a:pt x="653" y="616"/>
                  <a:pt x="651" y="616"/>
                </a:cubicBezTo>
                <a:cubicBezTo>
                  <a:pt x="651" y="615"/>
                  <a:pt x="652" y="615"/>
                  <a:pt x="652" y="613"/>
                </a:cubicBezTo>
                <a:cubicBezTo>
                  <a:pt x="651" y="612"/>
                  <a:pt x="650" y="612"/>
                  <a:pt x="650" y="610"/>
                </a:cubicBezTo>
                <a:cubicBezTo>
                  <a:pt x="650" y="610"/>
                  <a:pt x="649" y="610"/>
                  <a:pt x="649" y="609"/>
                </a:cubicBezTo>
                <a:cubicBezTo>
                  <a:pt x="649" y="609"/>
                  <a:pt x="649" y="609"/>
                  <a:pt x="649" y="609"/>
                </a:cubicBezTo>
                <a:cubicBezTo>
                  <a:pt x="649" y="608"/>
                  <a:pt x="649" y="609"/>
                  <a:pt x="649" y="608"/>
                </a:cubicBezTo>
                <a:cubicBezTo>
                  <a:pt x="648" y="608"/>
                  <a:pt x="649" y="607"/>
                  <a:pt x="648" y="607"/>
                </a:cubicBezTo>
                <a:cubicBezTo>
                  <a:pt x="648" y="606"/>
                  <a:pt x="648" y="607"/>
                  <a:pt x="648" y="606"/>
                </a:cubicBezTo>
                <a:cubicBezTo>
                  <a:pt x="648" y="606"/>
                  <a:pt x="647" y="606"/>
                  <a:pt x="647" y="606"/>
                </a:cubicBezTo>
                <a:cubicBezTo>
                  <a:pt x="646" y="605"/>
                  <a:pt x="645" y="604"/>
                  <a:pt x="644" y="605"/>
                </a:cubicBezTo>
                <a:cubicBezTo>
                  <a:pt x="643" y="605"/>
                  <a:pt x="643" y="605"/>
                  <a:pt x="643" y="605"/>
                </a:cubicBezTo>
                <a:cubicBezTo>
                  <a:pt x="643" y="604"/>
                  <a:pt x="643" y="604"/>
                  <a:pt x="643" y="604"/>
                </a:cubicBezTo>
                <a:cubicBezTo>
                  <a:pt x="642" y="604"/>
                  <a:pt x="641" y="604"/>
                  <a:pt x="641" y="604"/>
                </a:cubicBezTo>
                <a:cubicBezTo>
                  <a:pt x="640" y="604"/>
                  <a:pt x="640" y="605"/>
                  <a:pt x="640" y="605"/>
                </a:cubicBezTo>
                <a:cubicBezTo>
                  <a:pt x="640" y="604"/>
                  <a:pt x="640" y="604"/>
                  <a:pt x="640" y="604"/>
                </a:cubicBezTo>
                <a:cubicBezTo>
                  <a:pt x="639" y="603"/>
                  <a:pt x="639" y="603"/>
                  <a:pt x="638" y="602"/>
                </a:cubicBezTo>
                <a:cubicBezTo>
                  <a:pt x="638" y="601"/>
                  <a:pt x="638" y="601"/>
                  <a:pt x="637" y="601"/>
                </a:cubicBezTo>
                <a:cubicBezTo>
                  <a:pt x="637" y="601"/>
                  <a:pt x="637" y="600"/>
                  <a:pt x="636" y="600"/>
                </a:cubicBezTo>
                <a:cubicBezTo>
                  <a:pt x="635" y="599"/>
                  <a:pt x="634" y="598"/>
                  <a:pt x="634" y="598"/>
                </a:cubicBezTo>
                <a:cubicBezTo>
                  <a:pt x="633" y="597"/>
                  <a:pt x="633" y="597"/>
                  <a:pt x="633" y="597"/>
                </a:cubicBezTo>
                <a:cubicBezTo>
                  <a:pt x="632" y="597"/>
                  <a:pt x="632" y="596"/>
                  <a:pt x="632" y="596"/>
                </a:cubicBezTo>
                <a:cubicBezTo>
                  <a:pt x="632" y="596"/>
                  <a:pt x="631" y="596"/>
                  <a:pt x="631" y="596"/>
                </a:cubicBezTo>
                <a:cubicBezTo>
                  <a:pt x="631" y="595"/>
                  <a:pt x="631" y="595"/>
                  <a:pt x="630" y="595"/>
                </a:cubicBezTo>
                <a:cubicBezTo>
                  <a:pt x="630" y="595"/>
                  <a:pt x="630" y="595"/>
                  <a:pt x="630" y="595"/>
                </a:cubicBezTo>
                <a:cubicBezTo>
                  <a:pt x="630" y="595"/>
                  <a:pt x="629" y="595"/>
                  <a:pt x="629" y="595"/>
                </a:cubicBezTo>
                <a:cubicBezTo>
                  <a:pt x="629" y="595"/>
                  <a:pt x="629" y="595"/>
                  <a:pt x="629" y="595"/>
                </a:cubicBezTo>
                <a:cubicBezTo>
                  <a:pt x="629" y="595"/>
                  <a:pt x="628" y="595"/>
                  <a:pt x="628" y="595"/>
                </a:cubicBezTo>
                <a:cubicBezTo>
                  <a:pt x="628" y="595"/>
                  <a:pt x="628" y="594"/>
                  <a:pt x="628" y="594"/>
                </a:cubicBezTo>
                <a:cubicBezTo>
                  <a:pt x="627" y="594"/>
                  <a:pt x="627" y="593"/>
                  <a:pt x="626" y="593"/>
                </a:cubicBezTo>
                <a:cubicBezTo>
                  <a:pt x="625" y="593"/>
                  <a:pt x="624" y="594"/>
                  <a:pt x="624" y="594"/>
                </a:cubicBezTo>
                <a:cubicBezTo>
                  <a:pt x="623" y="594"/>
                  <a:pt x="623" y="593"/>
                  <a:pt x="623" y="593"/>
                </a:cubicBezTo>
                <a:cubicBezTo>
                  <a:pt x="622" y="593"/>
                  <a:pt x="622" y="593"/>
                  <a:pt x="622" y="593"/>
                </a:cubicBezTo>
                <a:cubicBezTo>
                  <a:pt x="621" y="593"/>
                  <a:pt x="622" y="593"/>
                  <a:pt x="621" y="593"/>
                </a:cubicBezTo>
                <a:cubicBezTo>
                  <a:pt x="621" y="593"/>
                  <a:pt x="620" y="593"/>
                  <a:pt x="620" y="593"/>
                </a:cubicBezTo>
                <a:cubicBezTo>
                  <a:pt x="620" y="593"/>
                  <a:pt x="619" y="593"/>
                  <a:pt x="619" y="593"/>
                </a:cubicBezTo>
                <a:cubicBezTo>
                  <a:pt x="619" y="593"/>
                  <a:pt x="619" y="592"/>
                  <a:pt x="618" y="592"/>
                </a:cubicBezTo>
                <a:cubicBezTo>
                  <a:pt x="618" y="592"/>
                  <a:pt x="616" y="591"/>
                  <a:pt x="616" y="593"/>
                </a:cubicBezTo>
                <a:cubicBezTo>
                  <a:pt x="616" y="593"/>
                  <a:pt x="616" y="593"/>
                  <a:pt x="615" y="593"/>
                </a:cubicBezTo>
                <a:cubicBezTo>
                  <a:pt x="615" y="593"/>
                  <a:pt x="615" y="592"/>
                  <a:pt x="615" y="592"/>
                </a:cubicBezTo>
                <a:cubicBezTo>
                  <a:pt x="614" y="592"/>
                  <a:pt x="614" y="590"/>
                  <a:pt x="613" y="590"/>
                </a:cubicBezTo>
                <a:cubicBezTo>
                  <a:pt x="613" y="590"/>
                  <a:pt x="611" y="590"/>
                  <a:pt x="611" y="590"/>
                </a:cubicBezTo>
                <a:cubicBezTo>
                  <a:pt x="611" y="591"/>
                  <a:pt x="611" y="590"/>
                  <a:pt x="610" y="590"/>
                </a:cubicBezTo>
                <a:cubicBezTo>
                  <a:pt x="609" y="590"/>
                  <a:pt x="609" y="593"/>
                  <a:pt x="608" y="593"/>
                </a:cubicBezTo>
                <a:cubicBezTo>
                  <a:pt x="608" y="593"/>
                  <a:pt x="606" y="593"/>
                  <a:pt x="606" y="592"/>
                </a:cubicBezTo>
                <a:cubicBezTo>
                  <a:pt x="606" y="592"/>
                  <a:pt x="607" y="591"/>
                  <a:pt x="606" y="591"/>
                </a:cubicBezTo>
                <a:cubicBezTo>
                  <a:pt x="606" y="591"/>
                  <a:pt x="606" y="590"/>
                  <a:pt x="606" y="590"/>
                </a:cubicBezTo>
                <a:cubicBezTo>
                  <a:pt x="606" y="590"/>
                  <a:pt x="605" y="590"/>
                  <a:pt x="605" y="590"/>
                </a:cubicBezTo>
                <a:cubicBezTo>
                  <a:pt x="605" y="589"/>
                  <a:pt x="606" y="589"/>
                  <a:pt x="606" y="589"/>
                </a:cubicBezTo>
                <a:cubicBezTo>
                  <a:pt x="605" y="588"/>
                  <a:pt x="605" y="588"/>
                  <a:pt x="604" y="587"/>
                </a:cubicBezTo>
                <a:cubicBezTo>
                  <a:pt x="604" y="586"/>
                  <a:pt x="604" y="586"/>
                  <a:pt x="604" y="585"/>
                </a:cubicBezTo>
                <a:cubicBezTo>
                  <a:pt x="603" y="585"/>
                  <a:pt x="603" y="585"/>
                  <a:pt x="602" y="585"/>
                </a:cubicBezTo>
                <a:cubicBezTo>
                  <a:pt x="601" y="585"/>
                  <a:pt x="601" y="586"/>
                  <a:pt x="601" y="586"/>
                </a:cubicBezTo>
                <a:cubicBezTo>
                  <a:pt x="601" y="586"/>
                  <a:pt x="601" y="585"/>
                  <a:pt x="601" y="585"/>
                </a:cubicBezTo>
                <a:cubicBezTo>
                  <a:pt x="601" y="584"/>
                  <a:pt x="601" y="583"/>
                  <a:pt x="600" y="584"/>
                </a:cubicBezTo>
                <a:cubicBezTo>
                  <a:pt x="599" y="584"/>
                  <a:pt x="598" y="583"/>
                  <a:pt x="598" y="582"/>
                </a:cubicBezTo>
                <a:cubicBezTo>
                  <a:pt x="598" y="582"/>
                  <a:pt x="597" y="583"/>
                  <a:pt x="596" y="582"/>
                </a:cubicBezTo>
                <a:cubicBezTo>
                  <a:pt x="596" y="581"/>
                  <a:pt x="596" y="582"/>
                  <a:pt x="595" y="582"/>
                </a:cubicBezTo>
                <a:cubicBezTo>
                  <a:pt x="595" y="580"/>
                  <a:pt x="594" y="580"/>
                  <a:pt x="593" y="580"/>
                </a:cubicBezTo>
                <a:cubicBezTo>
                  <a:pt x="591" y="580"/>
                  <a:pt x="590" y="580"/>
                  <a:pt x="589" y="580"/>
                </a:cubicBezTo>
                <a:cubicBezTo>
                  <a:pt x="589" y="580"/>
                  <a:pt x="589" y="581"/>
                  <a:pt x="589" y="581"/>
                </a:cubicBezTo>
                <a:cubicBezTo>
                  <a:pt x="588" y="582"/>
                  <a:pt x="586" y="582"/>
                  <a:pt x="587" y="583"/>
                </a:cubicBezTo>
                <a:cubicBezTo>
                  <a:pt x="587" y="583"/>
                  <a:pt x="588" y="584"/>
                  <a:pt x="587" y="584"/>
                </a:cubicBezTo>
                <a:cubicBezTo>
                  <a:pt x="587" y="584"/>
                  <a:pt x="586" y="584"/>
                  <a:pt x="586" y="584"/>
                </a:cubicBezTo>
                <a:cubicBezTo>
                  <a:pt x="586" y="584"/>
                  <a:pt x="585" y="586"/>
                  <a:pt x="584" y="586"/>
                </a:cubicBezTo>
                <a:cubicBezTo>
                  <a:pt x="584" y="586"/>
                  <a:pt x="584" y="587"/>
                  <a:pt x="584" y="587"/>
                </a:cubicBezTo>
                <a:cubicBezTo>
                  <a:pt x="583" y="587"/>
                  <a:pt x="583" y="587"/>
                  <a:pt x="583" y="587"/>
                </a:cubicBezTo>
                <a:cubicBezTo>
                  <a:pt x="583" y="586"/>
                  <a:pt x="581" y="587"/>
                  <a:pt x="581" y="587"/>
                </a:cubicBezTo>
                <a:cubicBezTo>
                  <a:pt x="581" y="586"/>
                  <a:pt x="581" y="586"/>
                  <a:pt x="580" y="586"/>
                </a:cubicBezTo>
                <a:cubicBezTo>
                  <a:pt x="580" y="586"/>
                  <a:pt x="579" y="586"/>
                  <a:pt x="579" y="586"/>
                </a:cubicBezTo>
                <a:cubicBezTo>
                  <a:pt x="579" y="586"/>
                  <a:pt x="579" y="587"/>
                  <a:pt x="579" y="587"/>
                </a:cubicBezTo>
                <a:cubicBezTo>
                  <a:pt x="579" y="587"/>
                  <a:pt x="578" y="587"/>
                  <a:pt x="577" y="587"/>
                </a:cubicBezTo>
                <a:cubicBezTo>
                  <a:pt x="577" y="587"/>
                  <a:pt x="575" y="585"/>
                  <a:pt x="575" y="584"/>
                </a:cubicBezTo>
                <a:cubicBezTo>
                  <a:pt x="575" y="583"/>
                  <a:pt x="575" y="584"/>
                  <a:pt x="575" y="583"/>
                </a:cubicBezTo>
                <a:cubicBezTo>
                  <a:pt x="575" y="583"/>
                  <a:pt x="575" y="583"/>
                  <a:pt x="575" y="582"/>
                </a:cubicBezTo>
                <a:cubicBezTo>
                  <a:pt x="575" y="582"/>
                  <a:pt x="574" y="582"/>
                  <a:pt x="574" y="582"/>
                </a:cubicBezTo>
                <a:cubicBezTo>
                  <a:pt x="574" y="581"/>
                  <a:pt x="573" y="582"/>
                  <a:pt x="574" y="582"/>
                </a:cubicBezTo>
                <a:cubicBezTo>
                  <a:pt x="573" y="583"/>
                  <a:pt x="573" y="583"/>
                  <a:pt x="572" y="583"/>
                </a:cubicBezTo>
                <a:cubicBezTo>
                  <a:pt x="571" y="584"/>
                  <a:pt x="571" y="583"/>
                  <a:pt x="572" y="584"/>
                </a:cubicBezTo>
                <a:cubicBezTo>
                  <a:pt x="571" y="584"/>
                  <a:pt x="572" y="589"/>
                  <a:pt x="570" y="589"/>
                </a:cubicBezTo>
                <a:cubicBezTo>
                  <a:pt x="570" y="589"/>
                  <a:pt x="570" y="588"/>
                  <a:pt x="570" y="588"/>
                </a:cubicBezTo>
                <a:cubicBezTo>
                  <a:pt x="570" y="587"/>
                  <a:pt x="571" y="589"/>
                  <a:pt x="571" y="587"/>
                </a:cubicBezTo>
                <a:cubicBezTo>
                  <a:pt x="571" y="586"/>
                  <a:pt x="571" y="585"/>
                  <a:pt x="570" y="584"/>
                </a:cubicBezTo>
                <a:cubicBezTo>
                  <a:pt x="570" y="583"/>
                  <a:pt x="570" y="583"/>
                  <a:pt x="569" y="583"/>
                </a:cubicBezTo>
                <a:cubicBezTo>
                  <a:pt x="568" y="583"/>
                  <a:pt x="568" y="584"/>
                  <a:pt x="567" y="584"/>
                </a:cubicBezTo>
                <a:cubicBezTo>
                  <a:pt x="567" y="584"/>
                  <a:pt x="567" y="584"/>
                  <a:pt x="566" y="584"/>
                </a:cubicBezTo>
                <a:cubicBezTo>
                  <a:pt x="566" y="584"/>
                  <a:pt x="566" y="584"/>
                  <a:pt x="566" y="584"/>
                </a:cubicBezTo>
                <a:cubicBezTo>
                  <a:pt x="566" y="584"/>
                  <a:pt x="566" y="584"/>
                  <a:pt x="566" y="584"/>
                </a:cubicBezTo>
                <a:cubicBezTo>
                  <a:pt x="566" y="584"/>
                  <a:pt x="566" y="584"/>
                  <a:pt x="566" y="584"/>
                </a:cubicBezTo>
                <a:cubicBezTo>
                  <a:pt x="566" y="585"/>
                  <a:pt x="565" y="585"/>
                  <a:pt x="565" y="585"/>
                </a:cubicBezTo>
                <a:cubicBezTo>
                  <a:pt x="564" y="585"/>
                  <a:pt x="564" y="585"/>
                  <a:pt x="563" y="585"/>
                </a:cubicBezTo>
                <a:cubicBezTo>
                  <a:pt x="561" y="585"/>
                  <a:pt x="563" y="585"/>
                  <a:pt x="563" y="585"/>
                </a:cubicBezTo>
                <a:cubicBezTo>
                  <a:pt x="562" y="585"/>
                  <a:pt x="562" y="585"/>
                  <a:pt x="562" y="585"/>
                </a:cubicBezTo>
                <a:cubicBezTo>
                  <a:pt x="561" y="586"/>
                  <a:pt x="563" y="585"/>
                  <a:pt x="561" y="586"/>
                </a:cubicBezTo>
                <a:cubicBezTo>
                  <a:pt x="560" y="586"/>
                  <a:pt x="561" y="586"/>
                  <a:pt x="561" y="587"/>
                </a:cubicBezTo>
                <a:cubicBezTo>
                  <a:pt x="560" y="588"/>
                  <a:pt x="559" y="589"/>
                  <a:pt x="558" y="589"/>
                </a:cubicBezTo>
                <a:cubicBezTo>
                  <a:pt x="557" y="589"/>
                  <a:pt x="555" y="589"/>
                  <a:pt x="553" y="589"/>
                </a:cubicBezTo>
                <a:cubicBezTo>
                  <a:pt x="552" y="589"/>
                  <a:pt x="551" y="589"/>
                  <a:pt x="551" y="589"/>
                </a:cubicBezTo>
                <a:cubicBezTo>
                  <a:pt x="550" y="589"/>
                  <a:pt x="550" y="589"/>
                  <a:pt x="550" y="589"/>
                </a:cubicBezTo>
                <a:cubicBezTo>
                  <a:pt x="551" y="589"/>
                  <a:pt x="552" y="588"/>
                  <a:pt x="553" y="588"/>
                </a:cubicBezTo>
                <a:cubicBezTo>
                  <a:pt x="554" y="588"/>
                  <a:pt x="554" y="589"/>
                  <a:pt x="555" y="589"/>
                </a:cubicBezTo>
                <a:cubicBezTo>
                  <a:pt x="556" y="589"/>
                  <a:pt x="557" y="589"/>
                  <a:pt x="558" y="589"/>
                </a:cubicBezTo>
                <a:cubicBezTo>
                  <a:pt x="559" y="589"/>
                  <a:pt x="560" y="587"/>
                  <a:pt x="560" y="586"/>
                </a:cubicBezTo>
                <a:cubicBezTo>
                  <a:pt x="560" y="586"/>
                  <a:pt x="561" y="585"/>
                  <a:pt x="561" y="585"/>
                </a:cubicBezTo>
                <a:cubicBezTo>
                  <a:pt x="562" y="585"/>
                  <a:pt x="561" y="585"/>
                  <a:pt x="562" y="585"/>
                </a:cubicBezTo>
                <a:cubicBezTo>
                  <a:pt x="562" y="585"/>
                  <a:pt x="563" y="585"/>
                  <a:pt x="563" y="585"/>
                </a:cubicBezTo>
                <a:cubicBezTo>
                  <a:pt x="563" y="585"/>
                  <a:pt x="563" y="584"/>
                  <a:pt x="563" y="584"/>
                </a:cubicBezTo>
                <a:cubicBezTo>
                  <a:pt x="564" y="584"/>
                  <a:pt x="565" y="584"/>
                  <a:pt x="565" y="584"/>
                </a:cubicBezTo>
                <a:cubicBezTo>
                  <a:pt x="565" y="584"/>
                  <a:pt x="566" y="584"/>
                  <a:pt x="566" y="584"/>
                </a:cubicBezTo>
                <a:cubicBezTo>
                  <a:pt x="567" y="584"/>
                  <a:pt x="567" y="583"/>
                  <a:pt x="568" y="583"/>
                </a:cubicBezTo>
                <a:cubicBezTo>
                  <a:pt x="569" y="582"/>
                  <a:pt x="569" y="583"/>
                  <a:pt x="570" y="582"/>
                </a:cubicBezTo>
                <a:cubicBezTo>
                  <a:pt x="570" y="581"/>
                  <a:pt x="570" y="580"/>
                  <a:pt x="570" y="580"/>
                </a:cubicBezTo>
                <a:cubicBezTo>
                  <a:pt x="571" y="579"/>
                  <a:pt x="571" y="579"/>
                  <a:pt x="571" y="578"/>
                </a:cubicBezTo>
                <a:cubicBezTo>
                  <a:pt x="572" y="578"/>
                  <a:pt x="572" y="578"/>
                  <a:pt x="572" y="578"/>
                </a:cubicBezTo>
                <a:cubicBezTo>
                  <a:pt x="572" y="578"/>
                  <a:pt x="572" y="578"/>
                  <a:pt x="572" y="577"/>
                </a:cubicBezTo>
                <a:cubicBezTo>
                  <a:pt x="572" y="577"/>
                  <a:pt x="572" y="578"/>
                  <a:pt x="572" y="577"/>
                </a:cubicBezTo>
                <a:cubicBezTo>
                  <a:pt x="572" y="577"/>
                  <a:pt x="572" y="577"/>
                  <a:pt x="572" y="576"/>
                </a:cubicBezTo>
                <a:cubicBezTo>
                  <a:pt x="572" y="576"/>
                  <a:pt x="573" y="576"/>
                  <a:pt x="573" y="576"/>
                </a:cubicBezTo>
                <a:cubicBezTo>
                  <a:pt x="573" y="576"/>
                  <a:pt x="573" y="576"/>
                  <a:pt x="574" y="576"/>
                </a:cubicBezTo>
                <a:cubicBezTo>
                  <a:pt x="574" y="575"/>
                  <a:pt x="575" y="573"/>
                  <a:pt x="576" y="573"/>
                </a:cubicBezTo>
                <a:cubicBezTo>
                  <a:pt x="576" y="573"/>
                  <a:pt x="576" y="574"/>
                  <a:pt x="576" y="574"/>
                </a:cubicBezTo>
                <a:cubicBezTo>
                  <a:pt x="575" y="575"/>
                  <a:pt x="575" y="575"/>
                  <a:pt x="576" y="576"/>
                </a:cubicBezTo>
                <a:cubicBezTo>
                  <a:pt x="576" y="577"/>
                  <a:pt x="577" y="576"/>
                  <a:pt x="578" y="576"/>
                </a:cubicBezTo>
                <a:cubicBezTo>
                  <a:pt x="579" y="576"/>
                  <a:pt x="578" y="576"/>
                  <a:pt x="579" y="576"/>
                </a:cubicBezTo>
                <a:cubicBezTo>
                  <a:pt x="580" y="576"/>
                  <a:pt x="578" y="575"/>
                  <a:pt x="579" y="575"/>
                </a:cubicBezTo>
                <a:cubicBezTo>
                  <a:pt x="578" y="575"/>
                  <a:pt x="578" y="575"/>
                  <a:pt x="578" y="574"/>
                </a:cubicBezTo>
                <a:cubicBezTo>
                  <a:pt x="578" y="573"/>
                  <a:pt x="578" y="573"/>
                  <a:pt x="578" y="572"/>
                </a:cubicBezTo>
                <a:cubicBezTo>
                  <a:pt x="578" y="573"/>
                  <a:pt x="578" y="573"/>
                  <a:pt x="579" y="573"/>
                </a:cubicBezTo>
                <a:cubicBezTo>
                  <a:pt x="579" y="572"/>
                  <a:pt x="580" y="571"/>
                  <a:pt x="580" y="570"/>
                </a:cubicBezTo>
                <a:cubicBezTo>
                  <a:pt x="579" y="570"/>
                  <a:pt x="579" y="570"/>
                  <a:pt x="578" y="570"/>
                </a:cubicBezTo>
                <a:cubicBezTo>
                  <a:pt x="578" y="571"/>
                  <a:pt x="578" y="571"/>
                  <a:pt x="577" y="571"/>
                </a:cubicBezTo>
                <a:cubicBezTo>
                  <a:pt x="577" y="571"/>
                  <a:pt x="577" y="572"/>
                  <a:pt x="578" y="572"/>
                </a:cubicBezTo>
                <a:cubicBezTo>
                  <a:pt x="577" y="572"/>
                  <a:pt x="577" y="572"/>
                  <a:pt x="576" y="572"/>
                </a:cubicBezTo>
                <a:cubicBezTo>
                  <a:pt x="576" y="572"/>
                  <a:pt x="579" y="569"/>
                  <a:pt x="577" y="569"/>
                </a:cubicBezTo>
                <a:cubicBezTo>
                  <a:pt x="575" y="568"/>
                  <a:pt x="578" y="568"/>
                  <a:pt x="579" y="567"/>
                </a:cubicBezTo>
                <a:cubicBezTo>
                  <a:pt x="579" y="566"/>
                  <a:pt x="579" y="565"/>
                  <a:pt x="578" y="565"/>
                </a:cubicBezTo>
                <a:cubicBezTo>
                  <a:pt x="577" y="565"/>
                  <a:pt x="576" y="565"/>
                  <a:pt x="576" y="565"/>
                </a:cubicBezTo>
                <a:cubicBezTo>
                  <a:pt x="576" y="565"/>
                  <a:pt x="576" y="565"/>
                  <a:pt x="576" y="565"/>
                </a:cubicBezTo>
                <a:cubicBezTo>
                  <a:pt x="576" y="564"/>
                  <a:pt x="576" y="562"/>
                  <a:pt x="575" y="561"/>
                </a:cubicBezTo>
                <a:cubicBezTo>
                  <a:pt x="575" y="561"/>
                  <a:pt x="575" y="560"/>
                  <a:pt x="575" y="560"/>
                </a:cubicBezTo>
                <a:cubicBezTo>
                  <a:pt x="575" y="560"/>
                  <a:pt x="575" y="559"/>
                  <a:pt x="575" y="558"/>
                </a:cubicBezTo>
                <a:cubicBezTo>
                  <a:pt x="574" y="558"/>
                  <a:pt x="575" y="556"/>
                  <a:pt x="574" y="556"/>
                </a:cubicBezTo>
                <a:cubicBezTo>
                  <a:pt x="573" y="556"/>
                  <a:pt x="573" y="553"/>
                  <a:pt x="573" y="552"/>
                </a:cubicBezTo>
                <a:cubicBezTo>
                  <a:pt x="572" y="552"/>
                  <a:pt x="572" y="552"/>
                  <a:pt x="571" y="551"/>
                </a:cubicBezTo>
                <a:cubicBezTo>
                  <a:pt x="571" y="550"/>
                  <a:pt x="571" y="550"/>
                  <a:pt x="570" y="549"/>
                </a:cubicBezTo>
                <a:cubicBezTo>
                  <a:pt x="569" y="549"/>
                  <a:pt x="568" y="549"/>
                  <a:pt x="568" y="548"/>
                </a:cubicBezTo>
                <a:cubicBezTo>
                  <a:pt x="568" y="548"/>
                  <a:pt x="568" y="548"/>
                  <a:pt x="568" y="548"/>
                </a:cubicBezTo>
                <a:cubicBezTo>
                  <a:pt x="568" y="548"/>
                  <a:pt x="567" y="547"/>
                  <a:pt x="567" y="547"/>
                </a:cubicBezTo>
                <a:cubicBezTo>
                  <a:pt x="567" y="547"/>
                  <a:pt x="567" y="547"/>
                  <a:pt x="567" y="547"/>
                </a:cubicBezTo>
                <a:cubicBezTo>
                  <a:pt x="567" y="546"/>
                  <a:pt x="567" y="546"/>
                  <a:pt x="567" y="546"/>
                </a:cubicBezTo>
                <a:cubicBezTo>
                  <a:pt x="566" y="546"/>
                  <a:pt x="567" y="545"/>
                  <a:pt x="566" y="545"/>
                </a:cubicBezTo>
                <a:cubicBezTo>
                  <a:pt x="566" y="545"/>
                  <a:pt x="565" y="544"/>
                  <a:pt x="564" y="544"/>
                </a:cubicBezTo>
                <a:cubicBezTo>
                  <a:pt x="564" y="544"/>
                  <a:pt x="563" y="543"/>
                  <a:pt x="562" y="543"/>
                </a:cubicBezTo>
                <a:cubicBezTo>
                  <a:pt x="562" y="543"/>
                  <a:pt x="562" y="543"/>
                  <a:pt x="561" y="543"/>
                </a:cubicBezTo>
                <a:cubicBezTo>
                  <a:pt x="561" y="543"/>
                  <a:pt x="560" y="543"/>
                  <a:pt x="560" y="543"/>
                </a:cubicBezTo>
                <a:cubicBezTo>
                  <a:pt x="559" y="543"/>
                  <a:pt x="559" y="542"/>
                  <a:pt x="559" y="542"/>
                </a:cubicBezTo>
                <a:cubicBezTo>
                  <a:pt x="558" y="542"/>
                  <a:pt x="559" y="543"/>
                  <a:pt x="558" y="543"/>
                </a:cubicBezTo>
                <a:cubicBezTo>
                  <a:pt x="558" y="543"/>
                  <a:pt x="558" y="542"/>
                  <a:pt x="559" y="541"/>
                </a:cubicBezTo>
                <a:cubicBezTo>
                  <a:pt x="557" y="541"/>
                  <a:pt x="556" y="541"/>
                  <a:pt x="555" y="540"/>
                </a:cubicBezTo>
                <a:cubicBezTo>
                  <a:pt x="555" y="541"/>
                  <a:pt x="555" y="541"/>
                  <a:pt x="555" y="541"/>
                </a:cubicBezTo>
                <a:cubicBezTo>
                  <a:pt x="555" y="541"/>
                  <a:pt x="554" y="541"/>
                  <a:pt x="554" y="541"/>
                </a:cubicBezTo>
                <a:cubicBezTo>
                  <a:pt x="554" y="542"/>
                  <a:pt x="551" y="542"/>
                  <a:pt x="551" y="542"/>
                </a:cubicBezTo>
                <a:cubicBezTo>
                  <a:pt x="551" y="541"/>
                  <a:pt x="549" y="542"/>
                  <a:pt x="549" y="541"/>
                </a:cubicBezTo>
                <a:cubicBezTo>
                  <a:pt x="548" y="541"/>
                  <a:pt x="548" y="541"/>
                  <a:pt x="548" y="541"/>
                </a:cubicBezTo>
                <a:cubicBezTo>
                  <a:pt x="547" y="541"/>
                  <a:pt x="547" y="541"/>
                  <a:pt x="546" y="541"/>
                </a:cubicBezTo>
                <a:cubicBezTo>
                  <a:pt x="546" y="542"/>
                  <a:pt x="546" y="543"/>
                  <a:pt x="546" y="543"/>
                </a:cubicBezTo>
                <a:cubicBezTo>
                  <a:pt x="546" y="542"/>
                  <a:pt x="545" y="542"/>
                  <a:pt x="545" y="541"/>
                </a:cubicBezTo>
                <a:cubicBezTo>
                  <a:pt x="545" y="540"/>
                  <a:pt x="545" y="540"/>
                  <a:pt x="544" y="539"/>
                </a:cubicBezTo>
                <a:cubicBezTo>
                  <a:pt x="544" y="539"/>
                  <a:pt x="542" y="539"/>
                  <a:pt x="542" y="538"/>
                </a:cubicBezTo>
                <a:cubicBezTo>
                  <a:pt x="542" y="538"/>
                  <a:pt x="541" y="538"/>
                  <a:pt x="541" y="537"/>
                </a:cubicBezTo>
                <a:cubicBezTo>
                  <a:pt x="540" y="537"/>
                  <a:pt x="539" y="538"/>
                  <a:pt x="539" y="537"/>
                </a:cubicBezTo>
                <a:cubicBezTo>
                  <a:pt x="539" y="537"/>
                  <a:pt x="539" y="537"/>
                  <a:pt x="539" y="537"/>
                </a:cubicBezTo>
                <a:cubicBezTo>
                  <a:pt x="538" y="538"/>
                  <a:pt x="538" y="539"/>
                  <a:pt x="538" y="541"/>
                </a:cubicBezTo>
                <a:cubicBezTo>
                  <a:pt x="537" y="541"/>
                  <a:pt x="537" y="540"/>
                  <a:pt x="537" y="540"/>
                </a:cubicBezTo>
                <a:cubicBezTo>
                  <a:pt x="537" y="539"/>
                  <a:pt x="536" y="541"/>
                  <a:pt x="536" y="541"/>
                </a:cubicBezTo>
                <a:cubicBezTo>
                  <a:pt x="536" y="540"/>
                  <a:pt x="535" y="539"/>
                  <a:pt x="536" y="538"/>
                </a:cubicBezTo>
                <a:cubicBezTo>
                  <a:pt x="537" y="538"/>
                  <a:pt x="537" y="538"/>
                  <a:pt x="537" y="537"/>
                </a:cubicBezTo>
                <a:cubicBezTo>
                  <a:pt x="538" y="536"/>
                  <a:pt x="538" y="536"/>
                  <a:pt x="538" y="535"/>
                </a:cubicBezTo>
                <a:cubicBezTo>
                  <a:pt x="538" y="534"/>
                  <a:pt x="538" y="534"/>
                  <a:pt x="538" y="533"/>
                </a:cubicBezTo>
                <a:cubicBezTo>
                  <a:pt x="538" y="533"/>
                  <a:pt x="537" y="533"/>
                  <a:pt x="537" y="533"/>
                </a:cubicBezTo>
                <a:cubicBezTo>
                  <a:pt x="537" y="533"/>
                  <a:pt x="537" y="533"/>
                  <a:pt x="536" y="533"/>
                </a:cubicBezTo>
                <a:cubicBezTo>
                  <a:pt x="535" y="532"/>
                  <a:pt x="536" y="532"/>
                  <a:pt x="536" y="532"/>
                </a:cubicBezTo>
                <a:cubicBezTo>
                  <a:pt x="536" y="532"/>
                  <a:pt x="536" y="532"/>
                  <a:pt x="536" y="532"/>
                </a:cubicBezTo>
                <a:cubicBezTo>
                  <a:pt x="535" y="531"/>
                  <a:pt x="535" y="531"/>
                  <a:pt x="535" y="531"/>
                </a:cubicBezTo>
                <a:cubicBezTo>
                  <a:pt x="534" y="530"/>
                  <a:pt x="533" y="531"/>
                  <a:pt x="533" y="530"/>
                </a:cubicBezTo>
                <a:cubicBezTo>
                  <a:pt x="533" y="530"/>
                  <a:pt x="533" y="530"/>
                  <a:pt x="533" y="530"/>
                </a:cubicBezTo>
                <a:cubicBezTo>
                  <a:pt x="532" y="530"/>
                  <a:pt x="533" y="529"/>
                  <a:pt x="532" y="529"/>
                </a:cubicBezTo>
                <a:cubicBezTo>
                  <a:pt x="532" y="529"/>
                  <a:pt x="532" y="528"/>
                  <a:pt x="532" y="528"/>
                </a:cubicBezTo>
                <a:cubicBezTo>
                  <a:pt x="531" y="528"/>
                  <a:pt x="531" y="529"/>
                  <a:pt x="531" y="529"/>
                </a:cubicBezTo>
                <a:cubicBezTo>
                  <a:pt x="531" y="528"/>
                  <a:pt x="531" y="529"/>
                  <a:pt x="530" y="529"/>
                </a:cubicBezTo>
                <a:cubicBezTo>
                  <a:pt x="530" y="529"/>
                  <a:pt x="530" y="528"/>
                  <a:pt x="529" y="528"/>
                </a:cubicBezTo>
                <a:cubicBezTo>
                  <a:pt x="529" y="528"/>
                  <a:pt x="528" y="528"/>
                  <a:pt x="528" y="528"/>
                </a:cubicBezTo>
                <a:cubicBezTo>
                  <a:pt x="527" y="529"/>
                  <a:pt x="526" y="528"/>
                  <a:pt x="525" y="528"/>
                </a:cubicBezTo>
                <a:cubicBezTo>
                  <a:pt x="525" y="529"/>
                  <a:pt x="524" y="529"/>
                  <a:pt x="523" y="529"/>
                </a:cubicBezTo>
                <a:cubicBezTo>
                  <a:pt x="522" y="529"/>
                  <a:pt x="522" y="529"/>
                  <a:pt x="521" y="529"/>
                </a:cubicBezTo>
                <a:cubicBezTo>
                  <a:pt x="520" y="530"/>
                  <a:pt x="520" y="530"/>
                  <a:pt x="519" y="530"/>
                </a:cubicBezTo>
                <a:cubicBezTo>
                  <a:pt x="519" y="530"/>
                  <a:pt x="520" y="530"/>
                  <a:pt x="520" y="529"/>
                </a:cubicBezTo>
                <a:cubicBezTo>
                  <a:pt x="520" y="529"/>
                  <a:pt x="520" y="529"/>
                  <a:pt x="520" y="528"/>
                </a:cubicBezTo>
                <a:cubicBezTo>
                  <a:pt x="520" y="528"/>
                  <a:pt x="521" y="528"/>
                  <a:pt x="521" y="528"/>
                </a:cubicBezTo>
                <a:cubicBezTo>
                  <a:pt x="521" y="528"/>
                  <a:pt x="522" y="528"/>
                  <a:pt x="522" y="528"/>
                </a:cubicBezTo>
                <a:cubicBezTo>
                  <a:pt x="523" y="528"/>
                  <a:pt x="524" y="528"/>
                  <a:pt x="524" y="528"/>
                </a:cubicBezTo>
                <a:cubicBezTo>
                  <a:pt x="524" y="528"/>
                  <a:pt x="525" y="527"/>
                  <a:pt x="525" y="527"/>
                </a:cubicBezTo>
                <a:cubicBezTo>
                  <a:pt x="526" y="527"/>
                  <a:pt x="526" y="526"/>
                  <a:pt x="526" y="525"/>
                </a:cubicBezTo>
                <a:cubicBezTo>
                  <a:pt x="526" y="525"/>
                  <a:pt x="526" y="524"/>
                  <a:pt x="527" y="524"/>
                </a:cubicBezTo>
                <a:cubicBezTo>
                  <a:pt x="527" y="523"/>
                  <a:pt x="526" y="522"/>
                  <a:pt x="526" y="522"/>
                </a:cubicBezTo>
                <a:cubicBezTo>
                  <a:pt x="525" y="522"/>
                  <a:pt x="524" y="521"/>
                  <a:pt x="524" y="523"/>
                </a:cubicBezTo>
                <a:cubicBezTo>
                  <a:pt x="523" y="522"/>
                  <a:pt x="522" y="522"/>
                  <a:pt x="522" y="521"/>
                </a:cubicBezTo>
                <a:cubicBezTo>
                  <a:pt x="521" y="521"/>
                  <a:pt x="521" y="522"/>
                  <a:pt x="520" y="522"/>
                </a:cubicBezTo>
                <a:cubicBezTo>
                  <a:pt x="520" y="522"/>
                  <a:pt x="520" y="520"/>
                  <a:pt x="519" y="520"/>
                </a:cubicBezTo>
                <a:cubicBezTo>
                  <a:pt x="519" y="520"/>
                  <a:pt x="518" y="519"/>
                  <a:pt x="518" y="519"/>
                </a:cubicBezTo>
                <a:cubicBezTo>
                  <a:pt x="519" y="518"/>
                  <a:pt x="520" y="519"/>
                  <a:pt x="521" y="518"/>
                </a:cubicBezTo>
                <a:cubicBezTo>
                  <a:pt x="521" y="516"/>
                  <a:pt x="519" y="517"/>
                  <a:pt x="519" y="517"/>
                </a:cubicBezTo>
                <a:cubicBezTo>
                  <a:pt x="518" y="517"/>
                  <a:pt x="517" y="517"/>
                  <a:pt x="516" y="517"/>
                </a:cubicBezTo>
                <a:cubicBezTo>
                  <a:pt x="515" y="517"/>
                  <a:pt x="514" y="517"/>
                  <a:pt x="514" y="517"/>
                </a:cubicBezTo>
                <a:cubicBezTo>
                  <a:pt x="514" y="518"/>
                  <a:pt x="514" y="518"/>
                  <a:pt x="515" y="518"/>
                </a:cubicBezTo>
                <a:cubicBezTo>
                  <a:pt x="515" y="518"/>
                  <a:pt x="514" y="518"/>
                  <a:pt x="514" y="518"/>
                </a:cubicBezTo>
                <a:cubicBezTo>
                  <a:pt x="513" y="518"/>
                  <a:pt x="513" y="518"/>
                  <a:pt x="512" y="518"/>
                </a:cubicBezTo>
                <a:cubicBezTo>
                  <a:pt x="512" y="518"/>
                  <a:pt x="512" y="518"/>
                  <a:pt x="512" y="518"/>
                </a:cubicBezTo>
                <a:cubicBezTo>
                  <a:pt x="512" y="518"/>
                  <a:pt x="510" y="519"/>
                  <a:pt x="510" y="519"/>
                </a:cubicBezTo>
                <a:cubicBezTo>
                  <a:pt x="510" y="520"/>
                  <a:pt x="509" y="520"/>
                  <a:pt x="508" y="520"/>
                </a:cubicBezTo>
                <a:cubicBezTo>
                  <a:pt x="507" y="520"/>
                  <a:pt x="506" y="520"/>
                  <a:pt x="504" y="520"/>
                </a:cubicBezTo>
                <a:cubicBezTo>
                  <a:pt x="505" y="519"/>
                  <a:pt x="502" y="520"/>
                  <a:pt x="502" y="519"/>
                </a:cubicBezTo>
                <a:cubicBezTo>
                  <a:pt x="502" y="518"/>
                  <a:pt x="502" y="518"/>
                  <a:pt x="502" y="518"/>
                </a:cubicBezTo>
                <a:cubicBezTo>
                  <a:pt x="502" y="517"/>
                  <a:pt x="500" y="517"/>
                  <a:pt x="500" y="517"/>
                </a:cubicBezTo>
                <a:cubicBezTo>
                  <a:pt x="498" y="517"/>
                  <a:pt x="496" y="517"/>
                  <a:pt x="495" y="518"/>
                </a:cubicBezTo>
                <a:cubicBezTo>
                  <a:pt x="493" y="518"/>
                  <a:pt x="492" y="519"/>
                  <a:pt x="492" y="517"/>
                </a:cubicBezTo>
                <a:cubicBezTo>
                  <a:pt x="492" y="517"/>
                  <a:pt x="493" y="516"/>
                  <a:pt x="493" y="516"/>
                </a:cubicBezTo>
                <a:cubicBezTo>
                  <a:pt x="492" y="515"/>
                  <a:pt x="492" y="515"/>
                  <a:pt x="492" y="515"/>
                </a:cubicBezTo>
                <a:cubicBezTo>
                  <a:pt x="492" y="514"/>
                  <a:pt x="491" y="514"/>
                  <a:pt x="491" y="514"/>
                </a:cubicBezTo>
                <a:cubicBezTo>
                  <a:pt x="490" y="514"/>
                  <a:pt x="490" y="513"/>
                  <a:pt x="489" y="512"/>
                </a:cubicBezTo>
                <a:cubicBezTo>
                  <a:pt x="487" y="512"/>
                  <a:pt x="485" y="513"/>
                  <a:pt x="484" y="511"/>
                </a:cubicBezTo>
                <a:cubicBezTo>
                  <a:pt x="484" y="510"/>
                  <a:pt x="484" y="509"/>
                  <a:pt x="484" y="509"/>
                </a:cubicBezTo>
                <a:cubicBezTo>
                  <a:pt x="483" y="509"/>
                  <a:pt x="482" y="510"/>
                  <a:pt x="482" y="510"/>
                </a:cubicBezTo>
                <a:cubicBezTo>
                  <a:pt x="482" y="511"/>
                  <a:pt x="482" y="512"/>
                  <a:pt x="483" y="512"/>
                </a:cubicBezTo>
                <a:cubicBezTo>
                  <a:pt x="483" y="512"/>
                  <a:pt x="483" y="512"/>
                  <a:pt x="484" y="512"/>
                </a:cubicBezTo>
                <a:cubicBezTo>
                  <a:pt x="485" y="512"/>
                  <a:pt x="484" y="512"/>
                  <a:pt x="485" y="513"/>
                </a:cubicBezTo>
                <a:cubicBezTo>
                  <a:pt x="485" y="514"/>
                  <a:pt x="484" y="513"/>
                  <a:pt x="483" y="513"/>
                </a:cubicBezTo>
                <a:cubicBezTo>
                  <a:pt x="481" y="514"/>
                  <a:pt x="480" y="515"/>
                  <a:pt x="478" y="515"/>
                </a:cubicBezTo>
                <a:cubicBezTo>
                  <a:pt x="477" y="515"/>
                  <a:pt x="478" y="517"/>
                  <a:pt x="477" y="517"/>
                </a:cubicBezTo>
                <a:cubicBezTo>
                  <a:pt x="477" y="518"/>
                  <a:pt x="478" y="519"/>
                  <a:pt x="478" y="520"/>
                </a:cubicBezTo>
                <a:cubicBezTo>
                  <a:pt x="479" y="520"/>
                  <a:pt x="479" y="519"/>
                  <a:pt x="479" y="520"/>
                </a:cubicBezTo>
                <a:cubicBezTo>
                  <a:pt x="479" y="520"/>
                  <a:pt x="479" y="521"/>
                  <a:pt x="480" y="521"/>
                </a:cubicBezTo>
                <a:cubicBezTo>
                  <a:pt x="479" y="521"/>
                  <a:pt x="479" y="522"/>
                  <a:pt x="479" y="522"/>
                </a:cubicBezTo>
                <a:cubicBezTo>
                  <a:pt x="480" y="522"/>
                  <a:pt x="480" y="523"/>
                  <a:pt x="480" y="524"/>
                </a:cubicBezTo>
                <a:cubicBezTo>
                  <a:pt x="480" y="525"/>
                  <a:pt x="479" y="525"/>
                  <a:pt x="478" y="525"/>
                </a:cubicBezTo>
                <a:cubicBezTo>
                  <a:pt x="478" y="526"/>
                  <a:pt x="477" y="526"/>
                  <a:pt x="477" y="526"/>
                </a:cubicBezTo>
                <a:cubicBezTo>
                  <a:pt x="477" y="526"/>
                  <a:pt x="477" y="526"/>
                  <a:pt x="477" y="526"/>
                </a:cubicBezTo>
                <a:cubicBezTo>
                  <a:pt x="476" y="527"/>
                  <a:pt x="476" y="526"/>
                  <a:pt x="476" y="526"/>
                </a:cubicBezTo>
                <a:cubicBezTo>
                  <a:pt x="476" y="525"/>
                  <a:pt x="476" y="525"/>
                  <a:pt x="476" y="525"/>
                </a:cubicBezTo>
                <a:cubicBezTo>
                  <a:pt x="475" y="525"/>
                  <a:pt x="475" y="524"/>
                  <a:pt x="475" y="524"/>
                </a:cubicBezTo>
                <a:cubicBezTo>
                  <a:pt x="475" y="523"/>
                  <a:pt x="475" y="523"/>
                  <a:pt x="474" y="523"/>
                </a:cubicBezTo>
                <a:cubicBezTo>
                  <a:pt x="474" y="523"/>
                  <a:pt x="474" y="522"/>
                  <a:pt x="474" y="522"/>
                </a:cubicBezTo>
                <a:cubicBezTo>
                  <a:pt x="475" y="521"/>
                  <a:pt x="474" y="521"/>
                  <a:pt x="474" y="521"/>
                </a:cubicBezTo>
                <a:cubicBezTo>
                  <a:pt x="474" y="520"/>
                  <a:pt x="474" y="520"/>
                  <a:pt x="475" y="519"/>
                </a:cubicBezTo>
                <a:cubicBezTo>
                  <a:pt x="476" y="518"/>
                  <a:pt x="477" y="519"/>
                  <a:pt x="477" y="517"/>
                </a:cubicBezTo>
                <a:cubicBezTo>
                  <a:pt x="476" y="517"/>
                  <a:pt x="476" y="517"/>
                  <a:pt x="476" y="516"/>
                </a:cubicBezTo>
                <a:cubicBezTo>
                  <a:pt x="476" y="516"/>
                  <a:pt x="476" y="516"/>
                  <a:pt x="476" y="515"/>
                </a:cubicBezTo>
                <a:cubicBezTo>
                  <a:pt x="475" y="514"/>
                  <a:pt x="475" y="514"/>
                  <a:pt x="474" y="514"/>
                </a:cubicBezTo>
                <a:cubicBezTo>
                  <a:pt x="474" y="513"/>
                  <a:pt x="474" y="513"/>
                  <a:pt x="475" y="512"/>
                </a:cubicBezTo>
                <a:cubicBezTo>
                  <a:pt x="476" y="512"/>
                  <a:pt x="476" y="512"/>
                  <a:pt x="476" y="511"/>
                </a:cubicBezTo>
                <a:cubicBezTo>
                  <a:pt x="476" y="511"/>
                  <a:pt x="477" y="511"/>
                  <a:pt x="478" y="510"/>
                </a:cubicBezTo>
                <a:cubicBezTo>
                  <a:pt x="478" y="510"/>
                  <a:pt x="478" y="509"/>
                  <a:pt x="478" y="509"/>
                </a:cubicBezTo>
                <a:cubicBezTo>
                  <a:pt x="477" y="509"/>
                  <a:pt x="476" y="508"/>
                  <a:pt x="476" y="508"/>
                </a:cubicBezTo>
                <a:cubicBezTo>
                  <a:pt x="475" y="508"/>
                  <a:pt x="476" y="508"/>
                  <a:pt x="475" y="508"/>
                </a:cubicBezTo>
                <a:cubicBezTo>
                  <a:pt x="475" y="508"/>
                  <a:pt x="475" y="508"/>
                  <a:pt x="474" y="508"/>
                </a:cubicBezTo>
                <a:cubicBezTo>
                  <a:pt x="474" y="509"/>
                  <a:pt x="473" y="508"/>
                  <a:pt x="473" y="510"/>
                </a:cubicBezTo>
                <a:cubicBezTo>
                  <a:pt x="473" y="511"/>
                  <a:pt x="473" y="511"/>
                  <a:pt x="472" y="511"/>
                </a:cubicBezTo>
                <a:cubicBezTo>
                  <a:pt x="472" y="511"/>
                  <a:pt x="472" y="512"/>
                  <a:pt x="472" y="512"/>
                </a:cubicBezTo>
                <a:cubicBezTo>
                  <a:pt x="471" y="512"/>
                  <a:pt x="471" y="511"/>
                  <a:pt x="471" y="512"/>
                </a:cubicBezTo>
                <a:cubicBezTo>
                  <a:pt x="471" y="512"/>
                  <a:pt x="470" y="512"/>
                  <a:pt x="470" y="512"/>
                </a:cubicBezTo>
                <a:cubicBezTo>
                  <a:pt x="470" y="512"/>
                  <a:pt x="470" y="512"/>
                  <a:pt x="469" y="512"/>
                </a:cubicBezTo>
                <a:cubicBezTo>
                  <a:pt x="469" y="512"/>
                  <a:pt x="470" y="513"/>
                  <a:pt x="469" y="513"/>
                </a:cubicBezTo>
                <a:cubicBezTo>
                  <a:pt x="468" y="513"/>
                  <a:pt x="468" y="514"/>
                  <a:pt x="467" y="514"/>
                </a:cubicBezTo>
                <a:cubicBezTo>
                  <a:pt x="466" y="515"/>
                  <a:pt x="465" y="515"/>
                  <a:pt x="464" y="515"/>
                </a:cubicBezTo>
                <a:cubicBezTo>
                  <a:pt x="463" y="515"/>
                  <a:pt x="463" y="515"/>
                  <a:pt x="462" y="516"/>
                </a:cubicBezTo>
                <a:cubicBezTo>
                  <a:pt x="462" y="516"/>
                  <a:pt x="462" y="517"/>
                  <a:pt x="462" y="517"/>
                </a:cubicBezTo>
                <a:cubicBezTo>
                  <a:pt x="461" y="517"/>
                  <a:pt x="462" y="516"/>
                  <a:pt x="461" y="516"/>
                </a:cubicBezTo>
                <a:cubicBezTo>
                  <a:pt x="460" y="516"/>
                  <a:pt x="460" y="517"/>
                  <a:pt x="459" y="517"/>
                </a:cubicBezTo>
                <a:cubicBezTo>
                  <a:pt x="457" y="518"/>
                  <a:pt x="458" y="521"/>
                  <a:pt x="458" y="522"/>
                </a:cubicBezTo>
                <a:cubicBezTo>
                  <a:pt x="457" y="522"/>
                  <a:pt x="457" y="523"/>
                  <a:pt x="456" y="523"/>
                </a:cubicBezTo>
                <a:cubicBezTo>
                  <a:pt x="456" y="523"/>
                  <a:pt x="456" y="524"/>
                  <a:pt x="457" y="525"/>
                </a:cubicBezTo>
                <a:cubicBezTo>
                  <a:pt x="456" y="525"/>
                  <a:pt x="456" y="525"/>
                  <a:pt x="456" y="525"/>
                </a:cubicBezTo>
                <a:cubicBezTo>
                  <a:pt x="456" y="525"/>
                  <a:pt x="455" y="525"/>
                  <a:pt x="455" y="525"/>
                </a:cubicBezTo>
                <a:cubicBezTo>
                  <a:pt x="454" y="526"/>
                  <a:pt x="454" y="526"/>
                  <a:pt x="454" y="527"/>
                </a:cubicBezTo>
                <a:cubicBezTo>
                  <a:pt x="453" y="528"/>
                  <a:pt x="453" y="528"/>
                  <a:pt x="453" y="529"/>
                </a:cubicBezTo>
                <a:cubicBezTo>
                  <a:pt x="453" y="529"/>
                  <a:pt x="453" y="530"/>
                  <a:pt x="453" y="530"/>
                </a:cubicBezTo>
                <a:cubicBezTo>
                  <a:pt x="453" y="530"/>
                  <a:pt x="453" y="531"/>
                  <a:pt x="453" y="531"/>
                </a:cubicBezTo>
                <a:cubicBezTo>
                  <a:pt x="453" y="533"/>
                  <a:pt x="453" y="533"/>
                  <a:pt x="452" y="533"/>
                </a:cubicBezTo>
                <a:cubicBezTo>
                  <a:pt x="451" y="533"/>
                  <a:pt x="451" y="532"/>
                  <a:pt x="451" y="532"/>
                </a:cubicBezTo>
                <a:cubicBezTo>
                  <a:pt x="450" y="531"/>
                  <a:pt x="450" y="531"/>
                  <a:pt x="450" y="531"/>
                </a:cubicBezTo>
                <a:cubicBezTo>
                  <a:pt x="450" y="530"/>
                  <a:pt x="449" y="530"/>
                  <a:pt x="449" y="529"/>
                </a:cubicBezTo>
                <a:cubicBezTo>
                  <a:pt x="448" y="529"/>
                  <a:pt x="447" y="528"/>
                  <a:pt x="447" y="528"/>
                </a:cubicBezTo>
                <a:cubicBezTo>
                  <a:pt x="447" y="528"/>
                  <a:pt x="447" y="527"/>
                  <a:pt x="447" y="527"/>
                </a:cubicBezTo>
                <a:cubicBezTo>
                  <a:pt x="446" y="527"/>
                  <a:pt x="445" y="526"/>
                  <a:pt x="444" y="526"/>
                </a:cubicBezTo>
                <a:cubicBezTo>
                  <a:pt x="444" y="525"/>
                  <a:pt x="444" y="524"/>
                  <a:pt x="444" y="523"/>
                </a:cubicBezTo>
                <a:cubicBezTo>
                  <a:pt x="443" y="523"/>
                  <a:pt x="442" y="523"/>
                  <a:pt x="441" y="523"/>
                </a:cubicBezTo>
                <a:cubicBezTo>
                  <a:pt x="440" y="522"/>
                  <a:pt x="438" y="522"/>
                  <a:pt x="438" y="523"/>
                </a:cubicBezTo>
                <a:cubicBezTo>
                  <a:pt x="438" y="523"/>
                  <a:pt x="438" y="523"/>
                  <a:pt x="438" y="524"/>
                </a:cubicBezTo>
                <a:cubicBezTo>
                  <a:pt x="437" y="524"/>
                  <a:pt x="437" y="524"/>
                  <a:pt x="436" y="524"/>
                </a:cubicBezTo>
                <a:cubicBezTo>
                  <a:pt x="435" y="524"/>
                  <a:pt x="435" y="524"/>
                  <a:pt x="435" y="524"/>
                </a:cubicBezTo>
                <a:cubicBezTo>
                  <a:pt x="434" y="525"/>
                  <a:pt x="434" y="525"/>
                  <a:pt x="434" y="525"/>
                </a:cubicBezTo>
                <a:cubicBezTo>
                  <a:pt x="433" y="525"/>
                  <a:pt x="433" y="525"/>
                  <a:pt x="432" y="526"/>
                </a:cubicBezTo>
                <a:cubicBezTo>
                  <a:pt x="432" y="526"/>
                  <a:pt x="431" y="526"/>
                  <a:pt x="431" y="526"/>
                </a:cubicBezTo>
                <a:cubicBezTo>
                  <a:pt x="431" y="526"/>
                  <a:pt x="431" y="526"/>
                  <a:pt x="431" y="526"/>
                </a:cubicBezTo>
                <a:cubicBezTo>
                  <a:pt x="431" y="526"/>
                  <a:pt x="430" y="526"/>
                  <a:pt x="429" y="526"/>
                </a:cubicBezTo>
                <a:cubicBezTo>
                  <a:pt x="429" y="525"/>
                  <a:pt x="428" y="525"/>
                  <a:pt x="428" y="525"/>
                </a:cubicBezTo>
                <a:cubicBezTo>
                  <a:pt x="428" y="525"/>
                  <a:pt x="428" y="525"/>
                  <a:pt x="428" y="525"/>
                </a:cubicBezTo>
                <a:cubicBezTo>
                  <a:pt x="427" y="525"/>
                  <a:pt x="426" y="525"/>
                  <a:pt x="426" y="525"/>
                </a:cubicBezTo>
                <a:cubicBezTo>
                  <a:pt x="425" y="525"/>
                  <a:pt x="425" y="524"/>
                  <a:pt x="425" y="524"/>
                </a:cubicBezTo>
                <a:cubicBezTo>
                  <a:pt x="425" y="524"/>
                  <a:pt x="425" y="523"/>
                  <a:pt x="425" y="523"/>
                </a:cubicBezTo>
                <a:cubicBezTo>
                  <a:pt x="425" y="523"/>
                  <a:pt x="425" y="523"/>
                  <a:pt x="425" y="523"/>
                </a:cubicBezTo>
                <a:cubicBezTo>
                  <a:pt x="425" y="522"/>
                  <a:pt x="425" y="522"/>
                  <a:pt x="424" y="522"/>
                </a:cubicBezTo>
                <a:cubicBezTo>
                  <a:pt x="424" y="521"/>
                  <a:pt x="423" y="521"/>
                  <a:pt x="423" y="520"/>
                </a:cubicBezTo>
                <a:cubicBezTo>
                  <a:pt x="423" y="520"/>
                  <a:pt x="423" y="520"/>
                  <a:pt x="422" y="520"/>
                </a:cubicBezTo>
                <a:cubicBezTo>
                  <a:pt x="422" y="520"/>
                  <a:pt x="422" y="519"/>
                  <a:pt x="422" y="519"/>
                </a:cubicBezTo>
                <a:cubicBezTo>
                  <a:pt x="421" y="519"/>
                  <a:pt x="421" y="518"/>
                  <a:pt x="421" y="518"/>
                </a:cubicBezTo>
                <a:cubicBezTo>
                  <a:pt x="420" y="517"/>
                  <a:pt x="420" y="518"/>
                  <a:pt x="420" y="517"/>
                </a:cubicBezTo>
                <a:cubicBezTo>
                  <a:pt x="420" y="517"/>
                  <a:pt x="420" y="517"/>
                  <a:pt x="420" y="517"/>
                </a:cubicBezTo>
                <a:cubicBezTo>
                  <a:pt x="419" y="517"/>
                  <a:pt x="419" y="516"/>
                  <a:pt x="419" y="516"/>
                </a:cubicBezTo>
                <a:cubicBezTo>
                  <a:pt x="419" y="515"/>
                  <a:pt x="419" y="514"/>
                  <a:pt x="418" y="514"/>
                </a:cubicBezTo>
                <a:cubicBezTo>
                  <a:pt x="418" y="513"/>
                  <a:pt x="417" y="512"/>
                  <a:pt x="418" y="512"/>
                </a:cubicBezTo>
                <a:cubicBezTo>
                  <a:pt x="419" y="512"/>
                  <a:pt x="419" y="509"/>
                  <a:pt x="418" y="509"/>
                </a:cubicBezTo>
                <a:cubicBezTo>
                  <a:pt x="418" y="508"/>
                  <a:pt x="418" y="505"/>
                  <a:pt x="419" y="505"/>
                </a:cubicBezTo>
                <a:cubicBezTo>
                  <a:pt x="419" y="504"/>
                  <a:pt x="419" y="503"/>
                  <a:pt x="419" y="501"/>
                </a:cubicBezTo>
                <a:cubicBezTo>
                  <a:pt x="419" y="501"/>
                  <a:pt x="419" y="500"/>
                  <a:pt x="419" y="500"/>
                </a:cubicBezTo>
                <a:cubicBezTo>
                  <a:pt x="420" y="500"/>
                  <a:pt x="420" y="500"/>
                  <a:pt x="420" y="500"/>
                </a:cubicBezTo>
                <a:cubicBezTo>
                  <a:pt x="420" y="499"/>
                  <a:pt x="419" y="499"/>
                  <a:pt x="420" y="498"/>
                </a:cubicBezTo>
                <a:cubicBezTo>
                  <a:pt x="420" y="498"/>
                  <a:pt x="420" y="497"/>
                  <a:pt x="420" y="497"/>
                </a:cubicBezTo>
                <a:cubicBezTo>
                  <a:pt x="420" y="497"/>
                  <a:pt x="420" y="497"/>
                  <a:pt x="420" y="497"/>
                </a:cubicBezTo>
                <a:cubicBezTo>
                  <a:pt x="420" y="497"/>
                  <a:pt x="421" y="497"/>
                  <a:pt x="421" y="496"/>
                </a:cubicBezTo>
                <a:cubicBezTo>
                  <a:pt x="421" y="496"/>
                  <a:pt x="421" y="496"/>
                  <a:pt x="421" y="495"/>
                </a:cubicBezTo>
                <a:cubicBezTo>
                  <a:pt x="421" y="495"/>
                  <a:pt x="421" y="495"/>
                  <a:pt x="421" y="495"/>
                </a:cubicBezTo>
                <a:cubicBezTo>
                  <a:pt x="421" y="495"/>
                  <a:pt x="421" y="495"/>
                  <a:pt x="421" y="495"/>
                </a:cubicBezTo>
                <a:cubicBezTo>
                  <a:pt x="421" y="494"/>
                  <a:pt x="421" y="494"/>
                  <a:pt x="421" y="494"/>
                </a:cubicBezTo>
                <a:cubicBezTo>
                  <a:pt x="421" y="493"/>
                  <a:pt x="421" y="492"/>
                  <a:pt x="421" y="492"/>
                </a:cubicBezTo>
                <a:cubicBezTo>
                  <a:pt x="420" y="492"/>
                  <a:pt x="420" y="491"/>
                  <a:pt x="419" y="491"/>
                </a:cubicBezTo>
                <a:cubicBezTo>
                  <a:pt x="418" y="491"/>
                  <a:pt x="417" y="491"/>
                  <a:pt x="417" y="489"/>
                </a:cubicBezTo>
                <a:cubicBezTo>
                  <a:pt x="417" y="488"/>
                  <a:pt x="417" y="489"/>
                  <a:pt x="416" y="488"/>
                </a:cubicBezTo>
                <a:cubicBezTo>
                  <a:pt x="416" y="488"/>
                  <a:pt x="416" y="488"/>
                  <a:pt x="415" y="488"/>
                </a:cubicBezTo>
                <a:cubicBezTo>
                  <a:pt x="415" y="487"/>
                  <a:pt x="412" y="487"/>
                  <a:pt x="411" y="487"/>
                </a:cubicBezTo>
                <a:cubicBezTo>
                  <a:pt x="411" y="487"/>
                  <a:pt x="410" y="487"/>
                  <a:pt x="410" y="487"/>
                </a:cubicBezTo>
                <a:cubicBezTo>
                  <a:pt x="409" y="486"/>
                  <a:pt x="409" y="486"/>
                  <a:pt x="409" y="486"/>
                </a:cubicBezTo>
                <a:cubicBezTo>
                  <a:pt x="408" y="487"/>
                  <a:pt x="408" y="487"/>
                  <a:pt x="407" y="487"/>
                </a:cubicBezTo>
                <a:cubicBezTo>
                  <a:pt x="406" y="487"/>
                  <a:pt x="406" y="487"/>
                  <a:pt x="405" y="487"/>
                </a:cubicBezTo>
                <a:cubicBezTo>
                  <a:pt x="404" y="487"/>
                  <a:pt x="404" y="488"/>
                  <a:pt x="403" y="488"/>
                </a:cubicBezTo>
                <a:cubicBezTo>
                  <a:pt x="403" y="488"/>
                  <a:pt x="402" y="488"/>
                  <a:pt x="402" y="488"/>
                </a:cubicBezTo>
                <a:cubicBezTo>
                  <a:pt x="401" y="488"/>
                  <a:pt x="399" y="488"/>
                  <a:pt x="398" y="488"/>
                </a:cubicBezTo>
                <a:cubicBezTo>
                  <a:pt x="398" y="488"/>
                  <a:pt x="398" y="488"/>
                  <a:pt x="398" y="488"/>
                </a:cubicBezTo>
                <a:cubicBezTo>
                  <a:pt x="397" y="489"/>
                  <a:pt x="397" y="487"/>
                  <a:pt x="396" y="487"/>
                </a:cubicBezTo>
                <a:cubicBezTo>
                  <a:pt x="395" y="488"/>
                  <a:pt x="395" y="488"/>
                  <a:pt x="394" y="488"/>
                </a:cubicBezTo>
                <a:cubicBezTo>
                  <a:pt x="394" y="488"/>
                  <a:pt x="394" y="487"/>
                  <a:pt x="394" y="487"/>
                </a:cubicBezTo>
                <a:cubicBezTo>
                  <a:pt x="395" y="486"/>
                  <a:pt x="395" y="486"/>
                  <a:pt x="395" y="485"/>
                </a:cubicBezTo>
                <a:cubicBezTo>
                  <a:pt x="395" y="485"/>
                  <a:pt x="395" y="485"/>
                  <a:pt x="396" y="485"/>
                </a:cubicBezTo>
                <a:cubicBezTo>
                  <a:pt x="397" y="484"/>
                  <a:pt x="396" y="483"/>
                  <a:pt x="396" y="482"/>
                </a:cubicBezTo>
                <a:cubicBezTo>
                  <a:pt x="397" y="482"/>
                  <a:pt x="397" y="482"/>
                  <a:pt x="397" y="482"/>
                </a:cubicBezTo>
                <a:cubicBezTo>
                  <a:pt x="397" y="482"/>
                  <a:pt x="397" y="481"/>
                  <a:pt x="397" y="481"/>
                </a:cubicBezTo>
                <a:cubicBezTo>
                  <a:pt x="397" y="481"/>
                  <a:pt x="397" y="481"/>
                  <a:pt x="396" y="480"/>
                </a:cubicBezTo>
                <a:cubicBezTo>
                  <a:pt x="397" y="480"/>
                  <a:pt x="397" y="480"/>
                  <a:pt x="397" y="479"/>
                </a:cubicBezTo>
                <a:cubicBezTo>
                  <a:pt x="397" y="479"/>
                  <a:pt x="398" y="479"/>
                  <a:pt x="398" y="479"/>
                </a:cubicBezTo>
                <a:cubicBezTo>
                  <a:pt x="398" y="477"/>
                  <a:pt x="398" y="476"/>
                  <a:pt x="398" y="475"/>
                </a:cubicBezTo>
                <a:cubicBezTo>
                  <a:pt x="397" y="475"/>
                  <a:pt x="398" y="475"/>
                  <a:pt x="398" y="474"/>
                </a:cubicBezTo>
                <a:cubicBezTo>
                  <a:pt x="397" y="474"/>
                  <a:pt x="397" y="474"/>
                  <a:pt x="396" y="474"/>
                </a:cubicBezTo>
                <a:cubicBezTo>
                  <a:pt x="396" y="473"/>
                  <a:pt x="397" y="472"/>
                  <a:pt x="397" y="472"/>
                </a:cubicBezTo>
                <a:cubicBezTo>
                  <a:pt x="397" y="472"/>
                  <a:pt x="398" y="471"/>
                  <a:pt x="398" y="471"/>
                </a:cubicBezTo>
                <a:cubicBezTo>
                  <a:pt x="399" y="471"/>
                  <a:pt x="398" y="472"/>
                  <a:pt x="398" y="473"/>
                </a:cubicBezTo>
                <a:cubicBezTo>
                  <a:pt x="398" y="473"/>
                  <a:pt x="399" y="473"/>
                  <a:pt x="399" y="474"/>
                </a:cubicBezTo>
                <a:cubicBezTo>
                  <a:pt x="399" y="474"/>
                  <a:pt x="400" y="474"/>
                  <a:pt x="400" y="474"/>
                </a:cubicBezTo>
                <a:cubicBezTo>
                  <a:pt x="400" y="473"/>
                  <a:pt x="400" y="472"/>
                  <a:pt x="399" y="471"/>
                </a:cubicBezTo>
                <a:cubicBezTo>
                  <a:pt x="400" y="470"/>
                  <a:pt x="400" y="469"/>
                  <a:pt x="400" y="469"/>
                </a:cubicBezTo>
                <a:cubicBezTo>
                  <a:pt x="401" y="467"/>
                  <a:pt x="401" y="466"/>
                  <a:pt x="401" y="465"/>
                </a:cubicBezTo>
                <a:cubicBezTo>
                  <a:pt x="401" y="465"/>
                  <a:pt x="402" y="465"/>
                  <a:pt x="401" y="465"/>
                </a:cubicBezTo>
                <a:cubicBezTo>
                  <a:pt x="400" y="464"/>
                  <a:pt x="401" y="463"/>
                  <a:pt x="401" y="462"/>
                </a:cubicBezTo>
                <a:cubicBezTo>
                  <a:pt x="402" y="461"/>
                  <a:pt x="401" y="460"/>
                  <a:pt x="402" y="460"/>
                </a:cubicBezTo>
                <a:cubicBezTo>
                  <a:pt x="402" y="460"/>
                  <a:pt x="402" y="459"/>
                  <a:pt x="403" y="459"/>
                </a:cubicBezTo>
                <a:cubicBezTo>
                  <a:pt x="403" y="459"/>
                  <a:pt x="403" y="457"/>
                  <a:pt x="403" y="457"/>
                </a:cubicBezTo>
                <a:cubicBezTo>
                  <a:pt x="403" y="456"/>
                  <a:pt x="403" y="456"/>
                  <a:pt x="403" y="456"/>
                </a:cubicBezTo>
                <a:cubicBezTo>
                  <a:pt x="403" y="455"/>
                  <a:pt x="403" y="455"/>
                  <a:pt x="403" y="454"/>
                </a:cubicBezTo>
                <a:cubicBezTo>
                  <a:pt x="402" y="454"/>
                  <a:pt x="402" y="454"/>
                  <a:pt x="401" y="454"/>
                </a:cubicBezTo>
                <a:cubicBezTo>
                  <a:pt x="401" y="454"/>
                  <a:pt x="401" y="453"/>
                  <a:pt x="401" y="453"/>
                </a:cubicBezTo>
                <a:cubicBezTo>
                  <a:pt x="400" y="453"/>
                  <a:pt x="401" y="453"/>
                  <a:pt x="400" y="453"/>
                </a:cubicBezTo>
                <a:cubicBezTo>
                  <a:pt x="399" y="453"/>
                  <a:pt x="397" y="453"/>
                  <a:pt x="396" y="454"/>
                </a:cubicBezTo>
                <a:cubicBezTo>
                  <a:pt x="396" y="454"/>
                  <a:pt x="395" y="455"/>
                  <a:pt x="395" y="455"/>
                </a:cubicBezTo>
                <a:cubicBezTo>
                  <a:pt x="395" y="455"/>
                  <a:pt x="394" y="455"/>
                  <a:pt x="394" y="455"/>
                </a:cubicBezTo>
                <a:cubicBezTo>
                  <a:pt x="393" y="456"/>
                  <a:pt x="393" y="456"/>
                  <a:pt x="392" y="456"/>
                </a:cubicBezTo>
                <a:cubicBezTo>
                  <a:pt x="392" y="456"/>
                  <a:pt x="392" y="457"/>
                  <a:pt x="392" y="457"/>
                </a:cubicBezTo>
                <a:cubicBezTo>
                  <a:pt x="391" y="457"/>
                  <a:pt x="390" y="457"/>
                  <a:pt x="390" y="457"/>
                </a:cubicBezTo>
                <a:cubicBezTo>
                  <a:pt x="389" y="457"/>
                  <a:pt x="390" y="457"/>
                  <a:pt x="390" y="457"/>
                </a:cubicBezTo>
                <a:cubicBezTo>
                  <a:pt x="388" y="457"/>
                  <a:pt x="388" y="458"/>
                  <a:pt x="388" y="459"/>
                </a:cubicBezTo>
                <a:cubicBezTo>
                  <a:pt x="388" y="461"/>
                  <a:pt x="387" y="462"/>
                  <a:pt x="387" y="464"/>
                </a:cubicBezTo>
                <a:cubicBezTo>
                  <a:pt x="387" y="464"/>
                  <a:pt x="387" y="464"/>
                  <a:pt x="386" y="465"/>
                </a:cubicBezTo>
                <a:cubicBezTo>
                  <a:pt x="386" y="465"/>
                  <a:pt x="386" y="466"/>
                  <a:pt x="386" y="466"/>
                </a:cubicBezTo>
                <a:cubicBezTo>
                  <a:pt x="385" y="466"/>
                  <a:pt x="386" y="468"/>
                  <a:pt x="386" y="468"/>
                </a:cubicBezTo>
                <a:cubicBezTo>
                  <a:pt x="386" y="469"/>
                  <a:pt x="385" y="469"/>
                  <a:pt x="384" y="469"/>
                </a:cubicBezTo>
                <a:cubicBezTo>
                  <a:pt x="384" y="470"/>
                  <a:pt x="383" y="470"/>
                  <a:pt x="383" y="471"/>
                </a:cubicBezTo>
                <a:cubicBezTo>
                  <a:pt x="382" y="472"/>
                  <a:pt x="382" y="472"/>
                  <a:pt x="382" y="472"/>
                </a:cubicBezTo>
                <a:cubicBezTo>
                  <a:pt x="381" y="472"/>
                  <a:pt x="381" y="472"/>
                  <a:pt x="381" y="472"/>
                </a:cubicBezTo>
                <a:cubicBezTo>
                  <a:pt x="380" y="472"/>
                  <a:pt x="380" y="471"/>
                  <a:pt x="380" y="471"/>
                </a:cubicBezTo>
                <a:cubicBezTo>
                  <a:pt x="379" y="471"/>
                  <a:pt x="378" y="471"/>
                  <a:pt x="377" y="471"/>
                </a:cubicBezTo>
                <a:cubicBezTo>
                  <a:pt x="377" y="471"/>
                  <a:pt x="377" y="471"/>
                  <a:pt x="377" y="471"/>
                </a:cubicBezTo>
                <a:cubicBezTo>
                  <a:pt x="376" y="471"/>
                  <a:pt x="375" y="472"/>
                  <a:pt x="375" y="474"/>
                </a:cubicBezTo>
                <a:cubicBezTo>
                  <a:pt x="374" y="473"/>
                  <a:pt x="371" y="473"/>
                  <a:pt x="372" y="474"/>
                </a:cubicBezTo>
                <a:cubicBezTo>
                  <a:pt x="371" y="474"/>
                  <a:pt x="370" y="474"/>
                  <a:pt x="369" y="474"/>
                </a:cubicBezTo>
                <a:cubicBezTo>
                  <a:pt x="368" y="474"/>
                  <a:pt x="367" y="475"/>
                  <a:pt x="367" y="474"/>
                </a:cubicBezTo>
                <a:cubicBezTo>
                  <a:pt x="367" y="473"/>
                  <a:pt x="367" y="473"/>
                  <a:pt x="366" y="472"/>
                </a:cubicBezTo>
                <a:cubicBezTo>
                  <a:pt x="366" y="472"/>
                  <a:pt x="366" y="472"/>
                  <a:pt x="365" y="472"/>
                </a:cubicBezTo>
                <a:cubicBezTo>
                  <a:pt x="364" y="471"/>
                  <a:pt x="365" y="471"/>
                  <a:pt x="365" y="471"/>
                </a:cubicBezTo>
                <a:cubicBezTo>
                  <a:pt x="364" y="471"/>
                  <a:pt x="364" y="471"/>
                  <a:pt x="364" y="471"/>
                </a:cubicBezTo>
                <a:cubicBezTo>
                  <a:pt x="363" y="471"/>
                  <a:pt x="361" y="472"/>
                  <a:pt x="361" y="470"/>
                </a:cubicBezTo>
                <a:cubicBezTo>
                  <a:pt x="361" y="470"/>
                  <a:pt x="360" y="469"/>
                  <a:pt x="360" y="468"/>
                </a:cubicBezTo>
                <a:cubicBezTo>
                  <a:pt x="359" y="467"/>
                  <a:pt x="359" y="467"/>
                  <a:pt x="359" y="466"/>
                </a:cubicBezTo>
                <a:cubicBezTo>
                  <a:pt x="359" y="464"/>
                  <a:pt x="359" y="465"/>
                  <a:pt x="358" y="465"/>
                </a:cubicBezTo>
                <a:cubicBezTo>
                  <a:pt x="357" y="464"/>
                  <a:pt x="357" y="463"/>
                  <a:pt x="356" y="463"/>
                </a:cubicBezTo>
                <a:cubicBezTo>
                  <a:pt x="356" y="463"/>
                  <a:pt x="356" y="462"/>
                  <a:pt x="356" y="462"/>
                </a:cubicBezTo>
                <a:cubicBezTo>
                  <a:pt x="356" y="462"/>
                  <a:pt x="356" y="462"/>
                  <a:pt x="356" y="462"/>
                </a:cubicBezTo>
                <a:cubicBezTo>
                  <a:pt x="355" y="462"/>
                  <a:pt x="356" y="462"/>
                  <a:pt x="356" y="461"/>
                </a:cubicBezTo>
                <a:cubicBezTo>
                  <a:pt x="355" y="461"/>
                  <a:pt x="355" y="462"/>
                  <a:pt x="355" y="461"/>
                </a:cubicBezTo>
                <a:cubicBezTo>
                  <a:pt x="355" y="461"/>
                  <a:pt x="355" y="460"/>
                  <a:pt x="354" y="460"/>
                </a:cubicBezTo>
                <a:cubicBezTo>
                  <a:pt x="353" y="460"/>
                  <a:pt x="354" y="459"/>
                  <a:pt x="354" y="458"/>
                </a:cubicBezTo>
                <a:cubicBezTo>
                  <a:pt x="354" y="458"/>
                  <a:pt x="353" y="457"/>
                  <a:pt x="353" y="457"/>
                </a:cubicBezTo>
                <a:cubicBezTo>
                  <a:pt x="353" y="456"/>
                  <a:pt x="353" y="456"/>
                  <a:pt x="352" y="455"/>
                </a:cubicBezTo>
                <a:cubicBezTo>
                  <a:pt x="352" y="455"/>
                  <a:pt x="352" y="456"/>
                  <a:pt x="351" y="456"/>
                </a:cubicBezTo>
                <a:cubicBezTo>
                  <a:pt x="351" y="455"/>
                  <a:pt x="351" y="454"/>
                  <a:pt x="352" y="454"/>
                </a:cubicBezTo>
                <a:cubicBezTo>
                  <a:pt x="352" y="453"/>
                  <a:pt x="352" y="451"/>
                  <a:pt x="351" y="450"/>
                </a:cubicBezTo>
                <a:cubicBezTo>
                  <a:pt x="352" y="450"/>
                  <a:pt x="352" y="448"/>
                  <a:pt x="353" y="447"/>
                </a:cubicBezTo>
                <a:cubicBezTo>
                  <a:pt x="352" y="447"/>
                  <a:pt x="352" y="445"/>
                  <a:pt x="352" y="444"/>
                </a:cubicBezTo>
                <a:cubicBezTo>
                  <a:pt x="352" y="444"/>
                  <a:pt x="352" y="444"/>
                  <a:pt x="352" y="443"/>
                </a:cubicBezTo>
                <a:cubicBezTo>
                  <a:pt x="352" y="443"/>
                  <a:pt x="352" y="443"/>
                  <a:pt x="351" y="443"/>
                </a:cubicBezTo>
                <a:cubicBezTo>
                  <a:pt x="351" y="443"/>
                  <a:pt x="351" y="442"/>
                  <a:pt x="351" y="442"/>
                </a:cubicBezTo>
                <a:cubicBezTo>
                  <a:pt x="352" y="440"/>
                  <a:pt x="351" y="438"/>
                  <a:pt x="351" y="437"/>
                </a:cubicBezTo>
                <a:cubicBezTo>
                  <a:pt x="351" y="437"/>
                  <a:pt x="351" y="437"/>
                  <a:pt x="351" y="437"/>
                </a:cubicBezTo>
                <a:cubicBezTo>
                  <a:pt x="351" y="436"/>
                  <a:pt x="351" y="435"/>
                  <a:pt x="351" y="435"/>
                </a:cubicBezTo>
                <a:cubicBezTo>
                  <a:pt x="351" y="434"/>
                  <a:pt x="352" y="434"/>
                  <a:pt x="352" y="434"/>
                </a:cubicBezTo>
                <a:cubicBezTo>
                  <a:pt x="352" y="433"/>
                  <a:pt x="352" y="432"/>
                  <a:pt x="353" y="432"/>
                </a:cubicBezTo>
                <a:cubicBezTo>
                  <a:pt x="354" y="432"/>
                  <a:pt x="354" y="431"/>
                  <a:pt x="355" y="430"/>
                </a:cubicBezTo>
                <a:cubicBezTo>
                  <a:pt x="355" y="429"/>
                  <a:pt x="355" y="429"/>
                  <a:pt x="354" y="429"/>
                </a:cubicBezTo>
                <a:cubicBezTo>
                  <a:pt x="354" y="428"/>
                  <a:pt x="354" y="428"/>
                  <a:pt x="354" y="427"/>
                </a:cubicBezTo>
                <a:cubicBezTo>
                  <a:pt x="354" y="427"/>
                  <a:pt x="354" y="426"/>
                  <a:pt x="354" y="426"/>
                </a:cubicBezTo>
                <a:cubicBezTo>
                  <a:pt x="353" y="426"/>
                  <a:pt x="353" y="427"/>
                  <a:pt x="353" y="426"/>
                </a:cubicBezTo>
                <a:cubicBezTo>
                  <a:pt x="353" y="425"/>
                  <a:pt x="353" y="425"/>
                  <a:pt x="353" y="425"/>
                </a:cubicBezTo>
                <a:cubicBezTo>
                  <a:pt x="353" y="425"/>
                  <a:pt x="353" y="424"/>
                  <a:pt x="353" y="424"/>
                </a:cubicBezTo>
                <a:cubicBezTo>
                  <a:pt x="353" y="424"/>
                  <a:pt x="352" y="424"/>
                  <a:pt x="352" y="424"/>
                </a:cubicBezTo>
                <a:cubicBezTo>
                  <a:pt x="352" y="423"/>
                  <a:pt x="352" y="423"/>
                  <a:pt x="352" y="423"/>
                </a:cubicBezTo>
                <a:cubicBezTo>
                  <a:pt x="352" y="422"/>
                  <a:pt x="352" y="421"/>
                  <a:pt x="352" y="420"/>
                </a:cubicBezTo>
                <a:cubicBezTo>
                  <a:pt x="352" y="420"/>
                  <a:pt x="352" y="420"/>
                  <a:pt x="351" y="420"/>
                </a:cubicBezTo>
                <a:cubicBezTo>
                  <a:pt x="352" y="419"/>
                  <a:pt x="352" y="419"/>
                  <a:pt x="352" y="419"/>
                </a:cubicBezTo>
                <a:cubicBezTo>
                  <a:pt x="353" y="419"/>
                  <a:pt x="353" y="419"/>
                  <a:pt x="353" y="418"/>
                </a:cubicBezTo>
                <a:cubicBezTo>
                  <a:pt x="353" y="417"/>
                  <a:pt x="353" y="416"/>
                  <a:pt x="354" y="416"/>
                </a:cubicBezTo>
                <a:cubicBezTo>
                  <a:pt x="354" y="416"/>
                  <a:pt x="354" y="416"/>
                  <a:pt x="355" y="416"/>
                </a:cubicBezTo>
                <a:cubicBezTo>
                  <a:pt x="355" y="415"/>
                  <a:pt x="355" y="415"/>
                  <a:pt x="355" y="415"/>
                </a:cubicBezTo>
                <a:cubicBezTo>
                  <a:pt x="355" y="415"/>
                  <a:pt x="356" y="415"/>
                  <a:pt x="356" y="415"/>
                </a:cubicBezTo>
                <a:cubicBezTo>
                  <a:pt x="357" y="415"/>
                  <a:pt x="357" y="414"/>
                  <a:pt x="357" y="414"/>
                </a:cubicBezTo>
                <a:cubicBezTo>
                  <a:pt x="358" y="414"/>
                  <a:pt x="358" y="414"/>
                  <a:pt x="358" y="414"/>
                </a:cubicBezTo>
                <a:cubicBezTo>
                  <a:pt x="358" y="413"/>
                  <a:pt x="358" y="413"/>
                  <a:pt x="358" y="412"/>
                </a:cubicBezTo>
                <a:cubicBezTo>
                  <a:pt x="359" y="412"/>
                  <a:pt x="359" y="412"/>
                  <a:pt x="360" y="411"/>
                </a:cubicBezTo>
                <a:cubicBezTo>
                  <a:pt x="360" y="411"/>
                  <a:pt x="361" y="411"/>
                  <a:pt x="362" y="412"/>
                </a:cubicBezTo>
                <a:cubicBezTo>
                  <a:pt x="362" y="411"/>
                  <a:pt x="363" y="411"/>
                  <a:pt x="363" y="410"/>
                </a:cubicBezTo>
                <a:cubicBezTo>
                  <a:pt x="363" y="410"/>
                  <a:pt x="363" y="411"/>
                  <a:pt x="364" y="411"/>
                </a:cubicBezTo>
                <a:cubicBezTo>
                  <a:pt x="364" y="410"/>
                  <a:pt x="363" y="409"/>
                  <a:pt x="364" y="408"/>
                </a:cubicBezTo>
                <a:cubicBezTo>
                  <a:pt x="365" y="408"/>
                  <a:pt x="365" y="407"/>
                  <a:pt x="365" y="406"/>
                </a:cubicBezTo>
                <a:cubicBezTo>
                  <a:pt x="365" y="406"/>
                  <a:pt x="366" y="407"/>
                  <a:pt x="366" y="407"/>
                </a:cubicBezTo>
                <a:cubicBezTo>
                  <a:pt x="367" y="407"/>
                  <a:pt x="367" y="407"/>
                  <a:pt x="367" y="407"/>
                </a:cubicBezTo>
                <a:cubicBezTo>
                  <a:pt x="367" y="407"/>
                  <a:pt x="367" y="407"/>
                  <a:pt x="367" y="407"/>
                </a:cubicBezTo>
                <a:cubicBezTo>
                  <a:pt x="368" y="407"/>
                  <a:pt x="368" y="406"/>
                  <a:pt x="369" y="406"/>
                </a:cubicBezTo>
                <a:cubicBezTo>
                  <a:pt x="370" y="406"/>
                  <a:pt x="371" y="406"/>
                  <a:pt x="371" y="405"/>
                </a:cubicBezTo>
                <a:cubicBezTo>
                  <a:pt x="371" y="405"/>
                  <a:pt x="371" y="406"/>
                  <a:pt x="372" y="405"/>
                </a:cubicBezTo>
                <a:cubicBezTo>
                  <a:pt x="373" y="405"/>
                  <a:pt x="373" y="405"/>
                  <a:pt x="373" y="405"/>
                </a:cubicBezTo>
                <a:cubicBezTo>
                  <a:pt x="374" y="405"/>
                  <a:pt x="374" y="405"/>
                  <a:pt x="374" y="405"/>
                </a:cubicBezTo>
                <a:cubicBezTo>
                  <a:pt x="375" y="405"/>
                  <a:pt x="376" y="405"/>
                  <a:pt x="376" y="406"/>
                </a:cubicBezTo>
                <a:cubicBezTo>
                  <a:pt x="377" y="406"/>
                  <a:pt x="378" y="405"/>
                  <a:pt x="379" y="405"/>
                </a:cubicBezTo>
                <a:cubicBezTo>
                  <a:pt x="379" y="405"/>
                  <a:pt x="379" y="406"/>
                  <a:pt x="379" y="406"/>
                </a:cubicBezTo>
                <a:cubicBezTo>
                  <a:pt x="379" y="407"/>
                  <a:pt x="380" y="406"/>
                  <a:pt x="380" y="407"/>
                </a:cubicBezTo>
                <a:cubicBezTo>
                  <a:pt x="381" y="407"/>
                  <a:pt x="381" y="408"/>
                  <a:pt x="381" y="407"/>
                </a:cubicBezTo>
                <a:cubicBezTo>
                  <a:pt x="382" y="407"/>
                  <a:pt x="382" y="407"/>
                  <a:pt x="383" y="406"/>
                </a:cubicBezTo>
                <a:cubicBezTo>
                  <a:pt x="383" y="407"/>
                  <a:pt x="382" y="407"/>
                  <a:pt x="382" y="407"/>
                </a:cubicBezTo>
                <a:cubicBezTo>
                  <a:pt x="382" y="408"/>
                  <a:pt x="382" y="408"/>
                  <a:pt x="382" y="409"/>
                </a:cubicBezTo>
                <a:cubicBezTo>
                  <a:pt x="382" y="409"/>
                  <a:pt x="383" y="409"/>
                  <a:pt x="383" y="409"/>
                </a:cubicBezTo>
                <a:cubicBezTo>
                  <a:pt x="384" y="410"/>
                  <a:pt x="384" y="410"/>
                  <a:pt x="385" y="410"/>
                </a:cubicBezTo>
                <a:cubicBezTo>
                  <a:pt x="385" y="410"/>
                  <a:pt x="385" y="409"/>
                  <a:pt x="386" y="409"/>
                </a:cubicBezTo>
                <a:cubicBezTo>
                  <a:pt x="386" y="409"/>
                  <a:pt x="386" y="409"/>
                  <a:pt x="387" y="409"/>
                </a:cubicBezTo>
                <a:cubicBezTo>
                  <a:pt x="387" y="408"/>
                  <a:pt x="386" y="408"/>
                  <a:pt x="386" y="407"/>
                </a:cubicBezTo>
                <a:cubicBezTo>
                  <a:pt x="386" y="406"/>
                  <a:pt x="387" y="406"/>
                  <a:pt x="387" y="406"/>
                </a:cubicBezTo>
                <a:cubicBezTo>
                  <a:pt x="388" y="406"/>
                  <a:pt x="389" y="407"/>
                  <a:pt x="390" y="407"/>
                </a:cubicBezTo>
                <a:cubicBezTo>
                  <a:pt x="391" y="407"/>
                  <a:pt x="390" y="408"/>
                  <a:pt x="391" y="408"/>
                </a:cubicBezTo>
                <a:cubicBezTo>
                  <a:pt x="392" y="409"/>
                  <a:pt x="393" y="408"/>
                  <a:pt x="393" y="409"/>
                </a:cubicBezTo>
                <a:cubicBezTo>
                  <a:pt x="393" y="410"/>
                  <a:pt x="393" y="410"/>
                  <a:pt x="394" y="410"/>
                </a:cubicBezTo>
                <a:cubicBezTo>
                  <a:pt x="395" y="410"/>
                  <a:pt x="394" y="409"/>
                  <a:pt x="394" y="408"/>
                </a:cubicBezTo>
                <a:cubicBezTo>
                  <a:pt x="394" y="407"/>
                  <a:pt x="392" y="408"/>
                  <a:pt x="392" y="407"/>
                </a:cubicBezTo>
                <a:cubicBezTo>
                  <a:pt x="392" y="406"/>
                  <a:pt x="393" y="406"/>
                  <a:pt x="394" y="406"/>
                </a:cubicBezTo>
                <a:cubicBezTo>
                  <a:pt x="394" y="405"/>
                  <a:pt x="393" y="405"/>
                  <a:pt x="393" y="404"/>
                </a:cubicBezTo>
                <a:cubicBezTo>
                  <a:pt x="393" y="404"/>
                  <a:pt x="392" y="405"/>
                  <a:pt x="392" y="405"/>
                </a:cubicBezTo>
                <a:cubicBezTo>
                  <a:pt x="392" y="404"/>
                  <a:pt x="391" y="404"/>
                  <a:pt x="391" y="404"/>
                </a:cubicBezTo>
                <a:cubicBezTo>
                  <a:pt x="391" y="404"/>
                  <a:pt x="390" y="404"/>
                  <a:pt x="390" y="404"/>
                </a:cubicBezTo>
                <a:cubicBezTo>
                  <a:pt x="390" y="403"/>
                  <a:pt x="389" y="403"/>
                  <a:pt x="388" y="403"/>
                </a:cubicBezTo>
                <a:cubicBezTo>
                  <a:pt x="389" y="402"/>
                  <a:pt x="390" y="402"/>
                  <a:pt x="391" y="403"/>
                </a:cubicBezTo>
                <a:cubicBezTo>
                  <a:pt x="392" y="403"/>
                  <a:pt x="392" y="402"/>
                  <a:pt x="392" y="402"/>
                </a:cubicBezTo>
                <a:cubicBezTo>
                  <a:pt x="393" y="401"/>
                  <a:pt x="394" y="401"/>
                  <a:pt x="395" y="401"/>
                </a:cubicBezTo>
                <a:cubicBezTo>
                  <a:pt x="395" y="402"/>
                  <a:pt x="396" y="401"/>
                  <a:pt x="396" y="401"/>
                </a:cubicBezTo>
                <a:cubicBezTo>
                  <a:pt x="397" y="402"/>
                  <a:pt x="396" y="402"/>
                  <a:pt x="397" y="402"/>
                </a:cubicBezTo>
                <a:cubicBezTo>
                  <a:pt x="397" y="402"/>
                  <a:pt x="397" y="402"/>
                  <a:pt x="397" y="402"/>
                </a:cubicBezTo>
                <a:cubicBezTo>
                  <a:pt x="398" y="402"/>
                  <a:pt x="399" y="402"/>
                  <a:pt x="399" y="401"/>
                </a:cubicBezTo>
                <a:cubicBezTo>
                  <a:pt x="399" y="401"/>
                  <a:pt x="399" y="400"/>
                  <a:pt x="399" y="400"/>
                </a:cubicBezTo>
                <a:cubicBezTo>
                  <a:pt x="400" y="400"/>
                  <a:pt x="399" y="403"/>
                  <a:pt x="400" y="403"/>
                </a:cubicBezTo>
                <a:cubicBezTo>
                  <a:pt x="400" y="403"/>
                  <a:pt x="401" y="403"/>
                  <a:pt x="401" y="402"/>
                </a:cubicBezTo>
                <a:cubicBezTo>
                  <a:pt x="401" y="401"/>
                  <a:pt x="403" y="402"/>
                  <a:pt x="403" y="401"/>
                </a:cubicBezTo>
                <a:cubicBezTo>
                  <a:pt x="403" y="401"/>
                  <a:pt x="403" y="400"/>
                  <a:pt x="403" y="400"/>
                </a:cubicBezTo>
                <a:cubicBezTo>
                  <a:pt x="404" y="401"/>
                  <a:pt x="404" y="402"/>
                  <a:pt x="405" y="402"/>
                </a:cubicBezTo>
                <a:cubicBezTo>
                  <a:pt x="405" y="402"/>
                  <a:pt x="405" y="401"/>
                  <a:pt x="405" y="401"/>
                </a:cubicBezTo>
                <a:cubicBezTo>
                  <a:pt x="406" y="401"/>
                  <a:pt x="407" y="401"/>
                  <a:pt x="407" y="401"/>
                </a:cubicBezTo>
                <a:cubicBezTo>
                  <a:pt x="407" y="402"/>
                  <a:pt x="407" y="402"/>
                  <a:pt x="407" y="403"/>
                </a:cubicBezTo>
                <a:cubicBezTo>
                  <a:pt x="408" y="403"/>
                  <a:pt x="409" y="404"/>
                  <a:pt x="410" y="404"/>
                </a:cubicBezTo>
                <a:cubicBezTo>
                  <a:pt x="410" y="404"/>
                  <a:pt x="411" y="404"/>
                  <a:pt x="411" y="404"/>
                </a:cubicBezTo>
                <a:cubicBezTo>
                  <a:pt x="411" y="404"/>
                  <a:pt x="411" y="405"/>
                  <a:pt x="412" y="405"/>
                </a:cubicBezTo>
                <a:cubicBezTo>
                  <a:pt x="412" y="405"/>
                  <a:pt x="412" y="405"/>
                  <a:pt x="413" y="405"/>
                </a:cubicBezTo>
                <a:cubicBezTo>
                  <a:pt x="413" y="406"/>
                  <a:pt x="413" y="406"/>
                  <a:pt x="415" y="406"/>
                </a:cubicBezTo>
                <a:cubicBezTo>
                  <a:pt x="415" y="406"/>
                  <a:pt x="415" y="406"/>
                  <a:pt x="415" y="406"/>
                </a:cubicBezTo>
                <a:cubicBezTo>
                  <a:pt x="416" y="406"/>
                  <a:pt x="416" y="406"/>
                  <a:pt x="417" y="405"/>
                </a:cubicBezTo>
                <a:cubicBezTo>
                  <a:pt x="417" y="404"/>
                  <a:pt x="418" y="404"/>
                  <a:pt x="419" y="404"/>
                </a:cubicBezTo>
                <a:cubicBezTo>
                  <a:pt x="420" y="405"/>
                  <a:pt x="420" y="406"/>
                  <a:pt x="420" y="406"/>
                </a:cubicBezTo>
                <a:cubicBezTo>
                  <a:pt x="420" y="407"/>
                  <a:pt x="421" y="407"/>
                  <a:pt x="421" y="408"/>
                </a:cubicBezTo>
                <a:cubicBezTo>
                  <a:pt x="421" y="408"/>
                  <a:pt x="422" y="409"/>
                  <a:pt x="422" y="409"/>
                </a:cubicBezTo>
                <a:cubicBezTo>
                  <a:pt x="423" y="409"/>
                  <a:pt x="423" y="409"/>
                  <a:pt x="423" y="410"/>
                </a:cubicBezTo>
                <a:cubicBezTo>
                  <a:pt x="423" y="411"/>
                  <a:pt x="423" y="413"/>
                  <a:pt x="424" y="414"/>
                </a:cubicBezTo>
                <a:cubicBezTo>
                  <a:pt x="423" y="414"/>
                  <a:pt x="423" y="416"/>
                  <a:pt x="423" y="417"/>
                </a:cubicBezTo>
                <a:cubicBezTo>
                  <a:pt x="423" y="418"/>
                  <a:pt x="423" y="418"/>
                  <a:pt x="424" y="418"/>
                </a:cubicBezTo>
                <a:cubicBezTo>
                  <a:pt x="424" y="418"/>
                  <a:pt x="425" y="416"/>
                  <a:pt x="425" y="416"/>
                </a:cubicBezTo>
                <a:cubicBezTo>
                  <a:pt x="425" y="416"/>
                  <a:pt x="426" y="416"/>
                  <a:pt x="426" y="416"/>
                </a:cubicBezTo>
                <a:cubicBezTo>
                  <a:pt x="426" y="418"/>
                  <a:pt x="426" y="419"/>
                  <a:pt x="425" y="420"/>
                </a:cubicBezTo>
                <a:cubicBezTo>
                  <a:pt x="425" y="421"/>
                  <a:pt x="425" y="422"/>
                  <a:pt x="425" y="422"/>
                </a:cubicBezTo>
                <a:cubicBezTo>
                  <a:pt x="426" y="423"/>
                  <a:pt x="426" y="423"/>
                  <a:pt x="427" y="423"/>
                </a:cubicBezTo>
                <a:cubicBezTo>
                  <a:pt x="428" y="423"/>
                  <a:pt x="428" y="424"/>
                  <a:pt x="428" y="425"/>
                </a:cubicBezTo>
                <a:cubicBezTo>
                  <a:pt x="428" y="425"/>
                  <a:pt x="428" y="425"/>
                  <a:pt x="428" y="425"/>
                </a:cubicBezTo>
                <a:cubicBezTo>
                  <a:pt x="429" y="426"/>
                  <a:pt x="428" y="426"/>
                  <a:pt x="428" y="426"/>
                </a:cubicBezTo>
                <a:cubicBezTo>
                  <a:pt x="428" y="426"/>
                  <a:pt x="429" y="426"/>
                  <a:pt x="429" y="426"/>
                </a:cubicBezTo>
                <a:cubicBezTo>
                  <a:pt x="429" y="427"/>
                  <a:pt x="429" y="427"/>
                  <a:pt x="429" y="427"/>
                </a:cubicBezTo>
                <a:cubicBezTo>
                  <a:pt x="429" y="428"/>
                  <a:pt x="429" y="428"/>
                  <a:pt x="429" y="428"/>
                </a:cubicBezTo>
                <a:cubicBezTo>
                  <a:pt x="430" y="429"/>
                  <a:pt x="430" y="430"/>
                  <a:pt x="431" y="431"/>
                </a:cubicBezTo>
                <a:cubicBezTo>
                  <a:pt x="432" y="431"/>
                  <a:pt x="433" y="432"/>
                  <a:pt x="433" y="433"/>
                </a:cubicBezTo>
                <a:cubicBezTo>
                  <a:pt x="433" y="432"/>
                  <a:pt x="433" y="432"/>
                  <a:pt x="434" y="433"/>
                </a:cubicBezTo>
                <a:cubicBezTo>
                  <a:pt x="434" y="432"/>
                  <a:pt x="434" y="432"/>
                  <a:pt x="434" y="431"/>
                </a:cubicBezTo>
                <a:cubicBezTo>
                  <a:pt x="434" y="431"/>
                  <a:pt x="434" y="431"/>
                  <a:pt x="434" y="431"/>
                </a:cubicBezTo>
                <a:cubicBezTo>
                  <a:pt x="434" y="431"/>
                  <a:pt x="434" y="431"/>
                  <a:pt x="434" y="430"/>
                </a:cubicBezTo>
                <a:cubicBezTo>
                  <a:pt x="434" y="430"/>
                  <a:pt x="435" y="430"/>
                  <a:pt x="435" y="429"/>
                </a:cubicBezTo>
                <a:cubicBezTo>
                  <a:pt x="435" y="428"/>
                  <a:pt x="435" y="429"/>
                  <a:pt x="435" y="428"/>
                </a:cubicBezTo>
                <a:cubicBezTo>
                  <a:pt x="435" y="427"/>
                  <a:pt x="435" y="426"/>
                  <a:pt x="435" y="425"/>
                </a:cubicBezTo>
                <a:cubicBezTo>
                  <a:pt x="435" y="425"/>
                  <a:pt x="436" y="426"/>
                  <a:pt x="436" y="425"/>
                </a:cubicBezTo>
                <a:cubicBezTo>
                  <a:pt x="436" y="425"/>
                  <a:pt x="436" y="425"/>
                  <a:pt x="436" y="424"/>
                </a:cubicBezTo>
                <a:cubicBezTo>
                  <a:pt x="436" y="424"/>
                  <a:pt x="436" y="424"/>
                  <a:pt x="436" y="424"/>
                </a:cubicBezTo>
                <a:cubicBezTo>
                  <a:pt x="436" y="423"/>
                  <a:pt x="436" y="424"/>
                  <a:pt x="436" y="424"/>
                </a:cubicBezTo>
                <a:cubicBezTo>
                  <a:pt x="436" y="423"/>
                  <a:pt x="436" y="422"/>
                  <a:pt x="435" y="421"/>
                </a:cubicBezTo>
                <a:cubicBezTo>
                  <a:pt x="435" y="421"/>
                  <a:pt x="435" y="420"/>
                  <a:pt x="435" y="419"/>
                </a:cubicBezTo>
                <a:cubicBezTo>
                  <a:pt x="435" y="418"/>
                  <a:pt x="435" y="418"/>
                  <a:pt x="434" y="417"/>
                </a:cubicBezTo>
                <a:cubicBezTo>
                  <a:pt x="434" y="417"/>
                  <a:pt x="434" y="417"/>
                  <a:pt x="434" y="416"/>
                </a:cubicBezTo>
                <a:cubicBezTo>
                  <a:pt x="433" y="416"/>
                  <a:pt x="433" y="415"/>
                  <a:pt x="433" y="414"/>
                </a:cubicBezTo>
                <a:cubicBezTo>
                  <a:pt x="433" y="414"/>
                  <a:pt x="433" y="414"/>
                  <a:pt x="433" y="414"/>
                </a:cubicBezTo>
                <a:cubicBezTo>
                  <a:pt x="432" y="413"/>
                  <a:pt x="432" y="413"/>
                  <a:pt x="432" y="411"/>
                </a:cubicBezTo>
                <a:cubicBezTo>
                  <a:pt x="432" y="411"/>
                  <a:pt x="432" y="410"/>
                  <a:pt x="432" y="410"/>
                </a:cubicBezTo>
                <a:cubicBezTo>
                  <a:pt x="432" y="410"/>
                  <a:pt x="431" y="409"/>
                  <a:pt x="431" y="408"/>
                </a:cubicBezTo>
                <a:cubicBezTo>
                  <a:pt x="431" y="407"/>
                  <a:pt x="431" y="408"/>
                  <a:pt x="431" y="407"/>
                </a:cubicBezTo>
                <a:cubicBezTo>
                  <a:pt x="431" y="406"/>
                  <a:pt x="431" y="405"/>
                  <a:pt x="431" y="404"/>
                </a:cubicBezTo>
                <a:cubicBezTo>
                  <a:pt x="430" y="404"/>
                  <a:pt x="430" y="405"/>
                  <a:pt x="430" y="404"/>
                </a:cubicBezTo>
                <a:cubicBezTo>
                  <a:pt x="430" y="404"/>
                  <a:pt x="430" y="403"/>
                  <a:pt x="430" y="403"/>
                </a:cubicBezTo>
                <a:cubicBezTo>
                  <a:pt x="429" y="403"/>
                  <a:pt x="429" y="402"/>
                  <a:pt x="429" y="402"/>
                </a:cubicBezTo>
                <a:cubicBezTo>
                  <a:pt x="429" y="401"/>
                  <a:pt x="430" y="401"/>
                  <a:pt x="430" y="400"/>
                </a:cubicBezTo>
                <a:cubicBezTo>
                  <a:pt x="430" y="400"/>
                  <a:pt x="430" y="399"/>
                  <a:pt x="430" y="398"/>
                </a:cubicBezTo>
                <a:cubicBezTo>
                  <a:pt x="432" y="399"/>
                  <a:pt x="430" y="394"/>
                  <a:pt x="432" y="395"/>
                </a:cubicBezTo>
                <a:cubicBezTo>
                  <a:pt x="431" y="394"/>
                  <a:pt x="431" y="394"/>
                  <a:pt x="431" y="394"/>
                </a:cubicBezTo>
                <a:cubicBezTo>
                  <a:pt x="432" y="393"/>
                  <a:pt x="432" y="393"/>
                  <a:pt x="433" y="393"/>
                </a:cubicBezTo>
                <a:cubicBezTo>
                  <a:pt x="433" y="392"/>
                  <a:pt x="433" y="392"/>
                  <a:pt x="433" y="391"/>
                </a:cubicBezTo>
                <a:cubicBezTo>
                  <a:pt x="434" y="391"/>
                  <a:pt x="435" y="391"/>
                  <a:pt x="435" y="389"/>
                </a:cubicBezTo>
                <a:cubicBezTo>
                  <a:pt x="436" y="389"/>
                  <a:pt x="436" y="389"/>
                  <a:pt x="437" y="389"/>
                </a:cubicBezTo>
                <a:cubicBezTo>
                  <a:pt x="437" y="388"/>
                  <a:pt x="439" y="388"/>
                  <a:pt x="439" y="387"/>
                </a:cubicBezTo>
                <a:cubicBezTo>
                  <a:pt x="439" y="386"/>
                  <a:pt x="439" y="386"/>
                  <a:pt x="440" y="386"/>
                </a:cubicBezTo>
                <a:cubicBezTo>
                  <a:pt x="441" y="386"/>
                  <a:pt x="440" y="383"/>
                  <a:pt x="441" y="384"/>
                </a:cubicBezTo>
                <a:cubicBezTo>
                  <a:pt x="443" y="384"/>
                  <a:pt x="444" y="382"/>
                  <a:pt x="445" y="382"/>
                </a:cubicBezTo>
                <a:cubicBezTo>
                  <a:pt x="446" y="382"/>
                  <a:pt x="446" y="382"/>
                  <a:pt x="446" y="381"/>
                </a:cubicBezTo>
                <a:cubicBezTo>
                  <a:pt x="447" y="381"/>
                  <a:pt x="447" y="381"/>
                  <a:pt x="447" y="381"/>
                </a:cubicBezTo>
                <a:cubicBezTo>
                  <a:pt x="447" y="380"/>
                  <a:pt x="448" y="380"/>
                  <a:pt x="448" y="380"/>
                </a:cubicBezTo>
                <a:cubicBezTo>
                  <a:pt x="449" y="379"/>
                  <a:pt x="448" y="379"/>
                  <a:pt x="449" y="378"/>
                </a:cubicBezTo>
                <a:cubicBezTo>
                  <a:pt x="449" y="378"/>
                  <a:pt x="450" y="377"/>
                  <a:pt x="450" y="377"/>
                </a:cubicBezTo>
                <a:cubicBezTo>
                  <a:pt x="451" y="377"/>
                  <a:pt x="450" y="375"/>
                  <a:pt x="450" y="375"/>
                </a:cubicBezTo>
                <a:cubicBezTo>
                  <a:pt x="450" y="375"/>
                  <a:pt x="451" y="375"/>
                  <a:pt x="451" y="375"/>
                </a:cubicBezTo>
                <a:cubicBezTo>
                  <a:pt x="452" y="375"/>
                  <a:pt x="451" y="374"/>
                  <a:pt x="452" y="374"/>
                </a:cubicBezTo>
                <a:cubicBezTo>
                  <a:pt x="452" y="373"/>
                  <a:pt x="450" y="373"/>
                  <a:pt x="450" y="372"/>
                </a:cubicBezTo>
                <a:cubicBezTo>
                  <a:pt x="451" y="372"/>
                  <a:pt x="452" y="372"/>
                  <a:pt x="453" y="371"/>
                </a:cubicBezTo>
                <a:cubicBezTo>
                  <a:pt x="453" y="373"/>
                  <a:pt x="454" y="373"/>
                  <a:pt x="455" y="372"/>
                </a:cubicBezTo>
                <a:cubicBezTo>
                  <a:pt x="456" y="372"/>
                  <a:pt x="456" y="372"/>
                  <a:pt x="456" y="372"/>
                </a:cubicBezTo>
                <a:cubicBezTo>
                  <a:pt x="456" y="371"/>
                  <a:pt x="455" y="372"/>
                  <a:pt x="455" y="371"/>
                </a:cubicBezTo>
                <a:cubicBezTo>
                  <a:pt x="455" y="371"/>
                  <a:pt x="455" y="370"/>
                  <a:pt x="455" y="370"/>
                </a:cubicBezTo>
                <a:cubicBezTo>
                  <a:pt x="454" y="370"/>
                  <a:pt x="454" y="370"/>
                  <a:pt x="453" y="370"/>
                </a:cubicBezTo>
                <a:cubicBezTo>
                  <a:pt x="452" y="370"/>
                  <a:pt x="452" y="369"/>
                  <a:pt x="453" y="369"/>
                </a:cubicBezTo>
                <a:cubicBezTo>
                  <a:pt x="454" y="368"/>
                  <a:pt x="454" y="368"/>
                  <a:pt x="455" y="368"/>
                </a:cubicBezTo>
                <a:cubicBezTo>
                  <a:pt x="455" y="367"/>
                  <a:pt x="455" y="367"/>
                  <a:pt x="454" y="367"/>
                </a:cubicBezTo>
                <a:cubicBezTo>
                  <a:pt x="454" y="366"/>
                  <a:pt x="455" y="365"/>
                  <a:pt x="455" y="365"/>
                </a:cubicBezTo>
                <a:cubicBezTo>
                  <a:pt x="454" y="365"/>
                  <a:pt x="454" y="365"/>
                  <a:pt x="454" y="365"/>
                </a:cubicBezTo>
                <a:cubicBezTo>
                  <a:pt x="453" y="364"/>
                  <a:pt x="452" y="364"/>
                  <a:pt x="451" y="363"/>
                </a:cubicBezTo>
                <a:cubicBezTo>
                  <a:pt x="451" y="363"/>
                  <a:pt x="451" y="363"/>
                  <a:pt x="451" y="363"/>
                </a:cubicBezTo>
                <a:cubicBezTo>
                  <a:pt x="451" y="362"/>
                  <a:pt x="451" y="362"/>
                  <a:pt x="450" y="362"/>
                </a:cubicBezTo>
                <a:cubicBezTo>
                  <a:pt x="450" y="361"/>
                  <a:pt x="453" y="361"/>
                  <a:pt x="453" y="361"/>
                </a:cubicBezTo>
                <a:cubicBezTo>
                  <a:pt x="453" y="360"/>
                  <a:pt x="452" y="359"/>
                  <a:pt x="451" y="359"/>
                </a:cubicBezTo>
                <a:cubicBezTo>
                  <a:pt x="450" y="358"/>
                  <a:pt x="452" y="358"/>
                  <a:pt x="452" y="358"/>
                </a:cubicBezTo>
                <a:cubicBezTo>
                  <a:pt x="453" y="358"/>
                  <a:pt x="451" y="357"/>
                  <a:pt x="451" y="357"/>
                </a:cubicBezTo>
                <a:cubicBezTo>
                  <a:pt x="451" y="356"/>
                  <a:pt x="451" y="356"/>
                  <a:pt x="450" y="356"/>
                </a:cubicBezTo>
                <a:cubicBezTo>
                  <a:pt x="450" y="356"/>
                  <a:pt x="450" y="356"/>
                  <a:pt x="450" y="355"/>
                </a:cubicBezTo>
                <a:cubicBezTo>
                  <a:pt x="450" y="355"/>
                  <a:pt x="450" y="355"/>
                  <a:pt x="451" y="355"/>
                </a:cubicBezTo>
                <a:cubicBezTo>
                  <a:pt x="451" y="354"/>
                  <a:pt x="450" y="354"/>
                  <a:pt x="450" y="353"/>
                </a:cubicBezTo>
                <a:cubicBezTo>
                  <a:pt x="452" y="353"/>
                  <a:pt x="451" y="349"/>
                  <a:pt x="452" y="350"/>
                </a:cubicBezTo>
                <a:cubicBezTo>
                  <a:pt x="452" y="349"/>
                  <a:pt x="451" y="347"/>
                  <a:pt x="452" y="347"/>
                </a:cubicBezTo>
                <a:cubicBezTo>
                  <a:pt x="453" y="347"/>
                  <a:pt x="453" y="347"/>
                  <a:pt x="454" y="346"/>
                </a:cubicBezTo>
                <a:cubicBezTo>
                  <a:pt x="455" y="346"/>
                  <a:pt x="455" y="346"/>
                  <a:pt x="456" y="347"/>
                </a:cubicBezTo>
                <a:cubicBezTo>
                  <a:pt x="456" y="346"/>
                  <a:pt x="456" y="346"/>
                  <a:pt x="456" y="345"/>
                </a:cubicBezTo>
                <a:cubicBezTo>
                  <a:pt x="457" y="345"/>
                  <a:pt x="457" y="345"/>
                  <a:pt x="457" y="346"/>
                </a:cubicBezTo>
                <a:cubicBezTo>
                  <a:pt x="457" y="347"/>
                  <a:pt x="457" y="347"/>
                  <a:pt x="456" y="347"/>
                </a:cubicBezTo>
                <a:cubicBezTo>
                  <a:pt x="456" y="347"/>
                  <a:pt x="455" y="348"/>
                  <a:pt x="455" y="348"/>
                </a:cubicBezTo>
                <a:cubicBezTo>
                  <a:pt x="455" y="349"/>
                  <a:pt x="454" y="349"/>
                  <a:pt x="454" y="350"/>
                </a:cubicBezTo>
                <a:cubicBezTo>
                  <a:pt x="454" y="350"/>
                  <a:pt x="455" y="350"/>
                  <a:pt x="455" y="350"/>
                </a:cubicBezTo>
                <a:cubicBezTo>
                  <a:pt x="455" y="351"/>
                  <a:pt x="453" y="351"/>
                  <a:pt x="453" y="352"/>
                </a:cubicBezTo>
                <a:cubicBezTo>
                  <a:pt x="453" y="353"/>
                  <a:pt x="454" y="353"/>
                  <a:pt x="453" y="354"/>
                </a:cubicBezTo>
                <a:cubicBezTo>
                  <a:pt x="453" y="354"/>
                  <a:pt x="453" y="355"/>
                  <a:pt x="454" y="355"/>
                </a:cubicBezTo>
                <a:cubicBezTo>
                  <a:pt x="453" y="355"/>
                  <a:pt x="453" y="356"/>
                  <a:pt x="453" y="356"/>
                </a:cubicBezTo>
                <a:cubicBezTo>
                  <a:pt x="454" y="356"/>
                  <a:pt x="454" y="357"/>
                  <a:pt x="454" y="357"/>
                </a:cubicBezTo>
                <a:cubicBezTo>
                  <a:pt x="455" y="357"/>
                  <a:pt x="454" y="356"/>
                  <a:pt x="455" y="356"/>
                </a:cubicBezTo>
                <a:cubicBezTo>
                  <a:pt x="455" y="356"/>
                  <a:pt x="456" y="356"/>
                  <a:pt x="456" y="356"/>
                </a:cubicBezTo>
                <a:cubicBezTo>
                  <a:pt x="456" y="357"/>
                  <a:pt x="456" y="357"/>
                  <a:pt x="456" y="358"/>
                </a:cubicBezTo>
                <a:cubicBezTo>
                  <a:pt x="457" y="357"/>
                  <a:pt x="458" y="357"/>
                  <a:pt x="459" y="357"/>
                </a:cubicBezTo>
                <a:cubicBezTo>
                  <a:pt x="459" y="356"/>
                  <a:pt x="459" y="356"/>
                  <a:pt x="459" y="355"/>
                </a:cubicBezTo>
                <a:cubicBezTo>
                  <a:pt x="459" y="355"/>
                  <a:pt x="459" y="355"/>
                  <a:pt x="459" y="354"/>
                </a:cubicBezTo>
                <a:cubicBezTo>
                  <a:pt x="459" y="354"/>
                  <a:pt x="459" y="355"/>
                  <a:pt x="460" y="354"/>
                </a:cubicBezTo>
                <a:cubicBezTo>
                  <a:pt x="460" y="354"/>
                  <a:pt x="460" y="353"/>
                  <a:pt x="460" y="353"/>
                </a:cubicBezTo>
                <a:cubicBezTo>
                  <a:pt x="460" y="353"/>
                  <a:pt x="459" y="353"/>
                  <a:pt x="459" y="353"/>
                </a:cubicBezTo>
                <a:cubicBezTo>
                  <a:pt x="459" y="352"/>
                  <a:pt x="459" y="352"/>
                  <a:pt x="460" y="352"/>
                </a:cubicBezTo>
                <a:cubicBezTo>
                  <a:pt x="460" y="351"/>
                  <a:pt x="460" y="351"/>
                  <a:pt x="459" y="350"/>
                </a:cubicBezTo>
                <a:cubicBezTo>
                  <a:pt x="458" y="350"/>
                  <a:pt x="458" y="348"/>
                  <a:pt x="458" y="347"/>
                </a:cubicBezTo>
                <a:cubicBezTo>
                  <a:pt x="459" y="348"/>
                  <a:pt x="460" y="348"/>
                  <a:pt x="461" y="349"/>
                </a:cubicBezTo>
                <a:cubicBezTo>
                  <a:pt x="461" y="349"/>
                  <a:pt x="462" y="349"/>
                  <a:pt x="463" y="349"/>
                </a:cubicBezTo>
                <a:cubicBezTo>
                  <a:pt x="463" y="349"/>
                  <a:pt x="464" y="346"/>
                  <a:pt x="465" y="345"/>
                </a:cubicBezTo>
                <a:cubicBezTo>
                  <a:pt x="465" y="345"/>
                  <a:pt x="465" y="345"/>
                  <a:pt x="466" y="345"/>
                </a:cubicBezTo>
                <a:cubicBezTo>
                  <a:pt x="466" y="345"/>
                  <a:pt x="466" y="344"/>
                  <a:pt x="466" y="343"/>
                </a:cubicBezTo>
                <a:cubicBezTo>
                  <a:pt x="467" y="342"/>
                  <a:pt x="467" y="341"/>
                  <a:pt x="466" y="340"/>
                </a:cubicBezTo>
                <a:cubicBezTo>
                  <a:pt x="466" y="340"/>
                  <a:pt x="465" y="340"/>
                  <a:pt x="465" y="340"/>
                </a:cubicBezTo>
                <a:cubicBezTo>
                  <a:pt x="465" y="339"/>
                  <a:pt x="465" y="339"/>
                  <a:pt x="466" y="339"/>
                </a:cubicBezTo>
                <a:cubicBezTo>
                  <a:pt x="466" y="339"/>
                  <a:pt x="466" y="338"/>
                  <a:pt x="467" y="338"/>
                </a:cubicBezTo>
                <a:cubicBezTo>
                  <a:pt x="467" y="338"/>
                  <a:pt x="468" y="337"/>
                  <a:pt x="468" y="337"/>
                </a:cubicBezTo>
                <a:cubicBezTo>
                  <a:pt x="468" y="336"/>
                  <a:pt x="468" y="336"/>
                  <a:pt x="468" y="336"/>
                </a:cubicBezTo>
                <a:cubicBezTo>
                  <a:pt x="469" y="335"/>
                  <a:pt x="469" y="335"/>
                  <a:pt x="469" y="335"/>
                </a:cubicBezTo>
                <a:cubicBezTo>
                  <a:pt x="470" y="335"/>
                  <a:pt x="470" y="335"/>
                  <a:pt x="471" y="334"/>
                </a:cubicBezTo>
                <a:cubicBezTo>
                  <a:pt x="472" y="335"/>
                  <a:pt x="473" y="334"/>
                  <a:pt x="474" y="334"/>
                </a:cubicBezTo>
                <a:cubicBezTo>
                  <a:pt x="474" y="333"/>
                  <a:pt x="476" y="333"/>
                  <a:pt x="477" y="333"/>
                </a:cubicBezTo>
                <a:cubicBezTo>
                  <a:pt x="477" y="333"/>
                  <a:pt x="476" y="334"/>
                  <a:pt x="477" y="334"/>
                </a:cubicBezTo>
                <a:cubicBezTo>
                  <a:pt x="477" y="334"/>
                  <a:pt x="478" y="334"/>
                  <a:pt x="478" y="334"/>
                </a:cubicBezTo>
                <a:cubicBezTo>
                  <a:pt x="478" y="333"/>
                  <a:pt x="478" y="334"/>
                  <a:pt x="478" y="333"/>
                </a:cubicBezTo>
                <a:cubicBezTo>
                  <a:pt x="478" y="332"/>
                  <a:pt x="477" y="332"/>
                  <a:pt x="477" y="332"/>
                </a:cubicBezTo>
                <a:cubicBezTo>
                  <a:pt x="478" y="332"/>
                  <a:pt x="478" y="331"/>
                  <a:pt x="478" y="331"/>
                </a:cubicBezTo>
                <a:cubicBezTo>
                  <a:pt x="479" y="331"/>
                  <a:pt x="480" y="331"/>
                  <a:pt x="480" y="331"/>
                </a:cubicBezTo>
                <a:cubicBezTo>
                  <a:pt x="480" y="332"/>
                  <a:pt x="480" y="332"/>
                  <a:pt x="481" y="332"/>
                </a:cubicBezTo>
                <a:cubicBezTo>
                  <a:pt x="481" y="332"/>
                  <a:pt x="482" y="332"/>
                  <a:pt x="482" y="332"/>
                </a:cubicBezTo>
                <a:cubicBezTo>
                  <a:pt x="482" y="332"/>
                  <a:pt x="482" y="331"/>
                  <a:pt x="482" y="331"/>
                </a:cubicBezTo>
                <a:cubicBezTo>
                  <a:pt x="482" y="331"/>
                  <a:pt x="483" y="331"/>
                  <a:pt x="484" y="331"/>
                </a:cubicBezTo>
                <a:cubicBezTo>
                  <a:pt x="483" y="331"/>
                  <a:pt x="483" y="331"/>
                  <a:pt x="483" y="330"/>
                </a:cubicBezTo>
                <a:cubicBezTo>
                  <a:pt x="482" y="330"/>
                  <a:pt x="482" y="330"/>
                  <a:pt x="481" y="330"/>
                </a:cubicBezTo>
                <a:cubicBezTo>
                  <a:pt x="481" y="330"/>
                  <a:pt x="481" y="329"/>
                  <a:pt x="481" y="329"/>
                </a:cubicBezTo>
                <a:cubicBezTo>
                  <a:pt x="480" y="328"/>
                  <a:pt x="480" y="329"/>
                  <a:pt x="480" y="328"/>
                </a:cubicBezTo>
                <a:cubicBezTo>
                  <a:pt x="480" y="328"/>
                  <a:pt x="482" y="327"/>
                  <a:pt x="482" y="327"/>
                </a:cubicBezTo>
                <a:cubicBezTo>
                  <a:pt x="482" y="326"/>
                  <a:pt x="481" y="326"/>
                  <a:pt x="481" y="325"/>
                </a:cubicBezTo>
                <a:cubicBezTo>
                  <a:pt x="481" y="325"/>
                  <a:pt x="482" y="325"/>
                  <a:pt x="482" y="324"/>
                </a:cubicBezTo>
                <a:cubicBezTo>
                  <a:pt x="483" y="324"/>
                  <a:pt x="482" y="324"/>
                  <a:pt x="482" y="323"/>
                </a:cubicBezTo>
                <a:cubicBezTo>
                  <a:pt x="482" y="323"/>
                  <a:pt x="483" y="323"/>
                  <a:pt x="483" y="323"/>
                </a:cubicBezTo>
                <a:cubicBezTo>
                  <a:pt x="484" y="323"/>
                  <a:pt x="484" y="323"/>
                  <a:pt x="484" y="322"/>
                </a:cubicBezTo>
                <a:cubicBezTo>
                  <a:pt x="484" y="322"/>
                  <a:pt x="483" y="322"/>
                  <a:pt x="483" y="322"/>
                </a:cubicBezTo>
                <a:cubicBezTo>
                  <a:pt x="483" y="321"/>
                  <a:pt x="484" y="320"/>
                  <a:pt x="484" y="319"/>
                </a:cubicBezTo>
                <a:cubicBezTo>
                  <a:pt x="485" y="319"/>
                  <a:pt x="486" y="319"/>
                  <a:pt x="486" y="320"/>
                </a:cubicBezTo>
                <a:cubicBezTo>
                  <a:pt x="487" y="319"/>
                  <a:pt x="486" y="319"/>
                  <a:pt x="487" y="319"/>
                </a:cubicBezTo>
                <a:cubicBezTo>
                  <a:pt x="487" y="320"/>
                  <a:pt x="488" y="320"/>
                  <a:pt x="488" y="319"/>
                </a:cubicBezTo>
                <a:cubicBezTo>
                  <a:pt x="489" y="319"/>
                  <a:pt x="489" y="319"/>
                  <a:pt x="490" y="319"/>
                </a:cubicBezTo>
                <a:cubicBezTo>
                  <a:pt x="490" y="318"/>
                  <a:pt x="490" y="317"/>
                  <a:pt x="491" y="316"/>
                </a:cubicBezTo>
                <a:cubicBezTo>
                  <a:pt x="491" y="316"/>
                  <a:pt x="491" y="315"/>
                  <a:pt x="491" y="315"/>
                </a:cubicBezTo>
                <a:cubicBezTo>
                  <a:pt x="491" y="315"/>
                  <a:pt x="492" y="317"/>
                  <a:pt x="492" y="317"/>
                </a:cubicBezTo>
                <a:cubicBezTo>
                  <a:pt x="492" y="317"/>
                  <a:pt x="493" y="317"/>
                  <a:pt x="492" y="316"/>
                </a:cubicBezTo>
                <a:cubicBezTo>
                  <a:pt x="493" y="316"/>
                  <a:pt x="493" y="316"/>
                  <a:pt x="493" y="316"/>
                </a:cubicBezTo>
                <a:cubicBezTo>
                  <a:pt x="493" y="316"/>
                  <a:pt x="494" y="317"/>
                  <a:pt x="495" y="317"/>
                </a:cubicBezTo>
                <a:cubicBezTo>
                  <a:pt x="495" y="317"/>
                  <a:pt x="495" y="317"/>
                  <a:pt x="495" y="317"/>
                </a:cubicBezTo>
                <a:cubicBezTo>
                  <a:pt x="496" y="317"/>
                  <a:pt x="496" y="316"/>
                  <a:pt x="496" y="316"/>
                </a:cubicBezTo>
                <a:cubicBezTo>
                  <a:pt x="497" y="315"/>
                  <a:pt x="497" y="314"/>
                  <a:pt x="498" y="315"/>
                </a:cubicBezTo>
                <a:cubicBezTo>
                  <a:pt x="498" y="314"/>
                  <a:pt x="497" y="311"/>
                  <a:pt x="497" y="311"/>
                </a:cubicBezTo>
                <a:cubicBezTo>
                  <a:pt x="498" y="310"/>
                  <a:pt x="501" y="312"/>
                  <a:pt x="501" y="312"/>
                </a:cubicBezTo>
                <a:cubicBezTo>
                  <a:pt x="502" y="311"/>
                  <a:pt x="502" y="312"/>
                  <a:pt x="503" y="312"/>
                </a:cubicBezTo>
                <a:cubicBezTo>
                  <a:pt x="503" y="311"/>
                  <a:pt x="502" y="311"/>
                  <a:pt x="503" y="311"/>
                </a:cubicBezTo>
                <a:cubicBezTo>
                  <a:pt x="503" y="311"/>
                  <a:pt x="503" y="311"/>
                  <a:pt x="503" y="311"/>
                </a:cubicBezTo>
                <a:cubicBezTo>
                  <a:pt x="503" y="310"/>
                  <a:pt x="501" y="310"/>
                  <a:pt x="502" y="309"/>
                </a:cubicBezTo>
                <a:cubicBezTo>
                  <a:pt x="503" y="309"/>
                  <a:pt x="503" y="308"/>
                  <a:pt x="504" y="308"/>
                </a:cubicBezTo>
                <a:cubicBezTo>
                  <a:pt x="504" y="308"/>
                  <a:pt x="504" y="309"/>
                  <a:pt x="503" y="310"/>
                </a:cubicBezTo>
                <a:cubicBezTo>
                  <a:pt x="504" y="310"/>
                  <a:pt x="504" y="310"/>
                  <a:pt x="504" y="311"/>
                </a:cubicBezTo>
                <a:cubicBezTo>
                  <a:pt x="505" y="310"/>
                  <a:pt x="505" y="310"/>
                  <a:pt x="505" y="310"/>
                </a:cubicBezTo>
                <a:cubicBezTo>
                  <a:pt x="506" y="309"/>
                  <a:pt x="506" y="309"/>
                  <a:pt x="506" y="309"/>
                </a:cubicBezTo>
                <a:cubicBezTo>
                  <a:pt x="506" y="308"/>
                  <a:pt x="506" y="308"/>
                  <a:pt x="507" y="308"/>
                </a:cubicBezTo>
                <a:cubicBezTo>
                  <a:pt x="508" y="308"/>
                  <a:pt x="508" y="306"/>
                  <a:pt x="508" y="305"/>
                </a:cubicBezTo>
                <a:cubicBezTo>
                  <a:pt x="509" y="305"/>
                  <a:pt x="509" y="305"/>
                  <a:pt x="510" y="305"/>
                </a:cubicBezTo>
                <a:cubicBezTo>
                  <a:pt x="510" y="306"/>
                  <a:pt x="510" y="306"/>
                  <a:pt x="509" y="306"/>
                </a:cubicBezTo>
                <a:cubicBezTo>
                  <a:pt x="509" y="307"/>
                  <a:pt x="509" y="307"/>
                  <a:pt x="510" y="307"/>
                </a:cubicBezTo>
                <a:cubicBezTo>
                  <a:pt x="509" y="307"/>
                  <a:pt x="509" y="308"/>
                  <a:pt x="508" y="308"/>
                </a:cubicBezTo>
                <a:cubicBezTo>
                  <a:pt x="508" y="309"/>
                  <a:pt x="509" y="309"/>
                  <a:pt x="508" y="309"/>
                </a:cubicBezTo>
                <a:cubicBezTo>
                  <a:pt x="508" y="309"/>
                  <a:pt x="508" y="310"/>
                  <a:pt x="508" y="310"/>
                </a:cubicBezTo>
                <a:cubicBezTo>
                  <a:pt x="509" y="309"/>
                  <a:pt x="516" y="308"/>
                  <a:pt x="516" y="309"/>
                </a:cubicBezTo>
                <a:cubicBezTo>
                  <a:pt x="515" y="309"/>
                  <a:pt x="514" y="309"/>
                  <a:pt x="514" y="310"/>
                </a:cubicBezTo>
                <a:cubicBezTo>
                  <a:pt x="514" y="311"/>
                  <a:pt x="514" y="310"/>
                  <a:pt x="513" y="311"/>
                </a:cubicBezTo>
                <a:cubicBezTo>
                  <a:pt x="513" y="311"/>
                  <a:pt x="512" y="311"/>
                  <a:pt x="512" y="312"/>
                </a:cubicBezTo>
                <a:cubicBezTo>
                  <a:pt x="511" y="312"/>
                  <a:pt x="511" y="312"/>
                  <a:pt x="511" y="311"/>
                </a:cubicBezTo>
                <a:cubicBezTo>
                  <a:pt x="510" y="311"/>
                  <a:pt x="508" y="311"/>
                  <a:pt x="508" y="312"/>
                </a:cubicBezTo>
                <a:cubicBezTo>
                  <a:pt x="506" y="312"/>
                  <a:pt x="507" y="312"/>
                  <a:pt x="506" y="313"/>
                </a:cubicBezTo>
                <a:cubicBezTo>
                  <a:pt x="506" y="314"/>
                  <a:pt x="505" y="314"/>
                  <a:pt x="504" y="314"/>
                </a:cubicBezTo>
                <a:cubicBezTo>
                  <a:pt x="504" y="314"/>
                  <a:pt x="504" y="315"/>
                  <a:pt x="504" y="315"/>
                </a:cubicBezTo>
                <a:cubicBezTo>
                  <a:pt x="503" y="315"/>
                  <a:pt x="502" y="316"/>
                  <a:pt x="502" y="317"/>
                </a:cubicBezTo>
                <a:cubicBezTo>
                  <a:pt x="502" y="318"/>
                  <a:pt x="501" y="318"/>
                  <a:pt x="502" y="319"/>
                </a:cubicBezTo>
                <a:cubicBezTo>
                  <a:pt x="502" y="319"/>
                  <a:pt x="502" y="320"/>
                  <a:pt x="502" y="320"/>
                </a:cubicBezTo>
                <a:cubicBezTo>
                  <a:pt x="503" y="320"/>
                  <a:pt x="504" y="320"/>
                  <a:pt x="504" y="320"/>
                </a:cubicBezTo>
                <a:cubicBezTo>
                  <a:pt x="505" y="321"/>
                  <a:pt x="505" y="321"/>
                  <a:pt x="506" y="322"/>
                </a:cubicBezTo>
                <a:cubicBezTo>
                  <a:pt x="507" y="321"/>
                  <a:pt x="507" y="320"/>
                  <a:pt x="508" y="321"/>
                </a:cubicBezTo>
                <a:cubicBezTo>
                  <a:pt x="507" y="321"/>
                  <a:pt x="508" y="322"/>
                  <a:pt x="508" y="322"/>
                </a:cubicBezTo>
                <a:cubicBezTo>
                  <a:pt x="508" y="322"/>
                  <a:pt x="509" y="321"/>
                  <a:pt x="509" y="321"/>
                </a:cubicBezTo>
                <a:cubicBezTo>
                  <a:pt x="510" y="319"/>
                  <a:pt x="510" y="319"/>
                  <a:pt x="512" y="320"/>
                </a:cubicBezTo>
                <a:cubicBezTo>
                  <a:pt x="512" y="319"/>
                  <a:pt x="511" y="318"/>
                  <a:pt x="511" y="318"/>
                </a:cubicBezTo>
                <a:cubicBezTo>
                  <a:pt x="512" y="318"/>
                  <a:pt x="512" y="317"/>
                  <a:pt x="512" y="316"/>
                </a:cubicBezTo>
                <a:cubicBezTo>
                  <a:pt x="512" y="316"/>
                  <a:pt x="512" y="316"/>
                  <a:pt x="513" y="316"/>
                </a:cubicBezTo>
                <a:cubicBezTo>
                  <a:pt x="513" y="315"/>
                  <a:pt x="513" y="315"/>
                  <a:pt x="514" y="315"/>
                </a:cubicBezTo>
                <a:cubicBezTo>
                  <a:pt x="514" y="316"/>
                  <a:pt x="514" y="317"/>
                  <a:pt x="515" y="317"/>
                </a:cubicBezTo>
                <a:cubicBezTo>
                  <a:pt x="515" y="316"/>
                  <a:pt x="515" y="316"/>
                  <a:pt x="515" y="316"/>
                </a:cubicBezTo>
                <a:cubicBezTo>
                  <a:pt x="515" y="315"/>
                  <a:pt x="516" y="315"/>
                  <a:pt x="516" y="315"/>
                </a:cubicBezTo>
                <a:cubicBezTo>
                  <a:pt x="518" y="314"/>
                  <a:pt x="520" y="314"/>
                  <a:pt x="521" y="313"/>
                </a:cubicBezTo>
                <a:cubicBezTo>
                  <a:pt x="522" y="312"/>
                  <a:pt x="522" y="312"/>
                  <a:pt x="523" y="312"/>
                </a:cubicBezTo>
                <a:cubicBezTo>
                  <a:pt x="524" y="311"/>
                  <a:pt x="524" y="310"/>
                  <a:pt x="524" y="310"/>
                </a:cubicBezTo>
                <a:cubicBezTo>
                  <a:pt x="524" y="310"/>
                  <a:pt x="524" y="309"/>
                  <a:pt x="524" y="309"/>
                </a:cubicBezTo>
                <a:cubicBezTo>
                  <a:pt x="525" y="309"/>
                  <a:pt x="525" y="309"/>
                  <a:pt x="525" y="309"/>
                </a:cubicBezTo>
                <a:cubicBezTo>
                  <a:pt x="525" y="308"/>
                  <a:pt x="525" y="308"/>
                  <a:pt x="523" y="308"/>
                </a:cubicBezTo>
                <a:cubicBezTo>
                  <a:pt x="524" y="308"/>
                  <a:pt x="524" y="307"/>
                  <a:pt x="524" y="306"/>
                </a:cubicBezTo>
                <a:cubicBezTo>
                  <a:pt x="523" y="306"/>
                  <a:pt x="522" y="306"/>
                  <a:pt x="521" y="307"/>
                </a:cubicBezTo>
                <a:cubicBezTo>
                  <a:pt x="521" y="307"/>
                  <a:pt x="520" y="309"/>
                  <a:pt x="520" y="309"/>
                </a:cubicBezTo>
                <a:cubicBezTo>
                  <a:pt x="519" y="309"/>
                  <a:pt x="519" y="308"/>
                  <a:pt x="519" y="307"/>
                </a:cubicBezTo>
                <a:cubicBezTo>
                  <a:pt x="518" y="307"/>
                  <a:pt x="518" y="307"/>
                  <a:pt x="517" y="307"/>
                </a:cubicBezTo>
                <a:cubicBezTo>
                  <a:pt x="517" y="306"/>
                  <a:pt x="517" y="307"/>
                  <a:pt x="516" y="307"/>
                </a:cubicBezTo>
                <a:cubicBezTo>
                  <a:pt x="516" y="307"/>
                  <a:pt x="515" y="306"/>
                  <a:pt x="515" y="306"/>
                </a:cubicBezTo>
                <a:cubicBezTo>
                  <a:pt x="515" y="306"/>
                  <a:pt x="514" y="307"/>
                  <a:pt x="514" y="307"/>
                </a:cubicBezTo>
                <a:cubicBezTo>
                  <a:pt x="514" y="307"/>
                  <a:pt x="513" y="306"/>
                  <a:pt x="513" y="306"/>
                </a:cubicBezTo>
                <a:cubicBezTo>
                  <a:pt x="514" y="305"/>
                  <a:pt x="514" y="305"/>
                  <a:pt x="514" y="305"/>
                </a:cubicBezTo>
                <a:cubicBezTo>
                  <a:pt x="515" y="305"/>
                  <a:pt x="515" y="305"/>
                  <a:pt x="515" y="304"/>
                </a:cubicBezTo>
                <a:cubicBezTo>
                  <a:pt x="515" y="304"/>
                  <a:pt x="515" y="304"/>
                  <a:pt x="515" y="304"/>
                </a:cubicBezTo>
                <a:cubicBezTo>
                  <a:pt x="514" y="304"/>
                  <a:pt x="513" y="304"/>
                  <a:pt x="512" y="304"/>
                </a:cubicBezTo>
                <a:cubicBezTo>
                  <a:pt x="513" y="303"/>
                  <a:pt x="512" y="304"/>
                  <a:pt x="511" y="304"/>
                </a:cubicBezTo>
                <a:cubicBezTo>
                  <a:pt x="511" y="304"/>
                  <a:pt x="511" y="303"/>
                  <a:pt x="511" y="303"/>
                </a:cubicBezTo>
                <a:cubicBezTo>
                  <a:pt x="511" y="302"/>
                  <a:pt x="510" y="303"/>
                  <a:pt x="510" y="303"/>
                </a:cubicBezTo>
                <a:cubicBezTo>
                  <a:pt x="510" y="302"/>
                  <a:pt x="510" y="301"/>
                  <a:pt x="510" y="300"/>
                </a:cubicBezTo>
                <a:cubicBezTo>
                  <a:pt x="510" y="300"/>
                  <a:pt x="510" y="300"/>
                  <a:pt x="510" y="300"/>
                </a:cubicBezTo>
                <a:cubicBezTo>
                  <a:pt x="510" y="300"/>
                  <a:pt x="510" y="299"/>
                  <a:pt x="511" y="299"/>
                </a:cubicBezTo>
                <a:cubicBezTo>
                  <a:pt x="511" y="299"/>
                  <a:pt x="511" y="298"/>
                  <a:pt x="511" y="298"/>
                </a:cubicBezTo>
                <a:cubicBezTo>
                  <a:pt x="510" y="298"/>
                  <a:pt x="509" y="298"/>
                  <a:pt x="508" y="298"/>
                </a:cubicBezTo>
                <a:cubicBezTo>
                  <a:pt x="508" y="297"/>
                  <a:pt x="508" y="297"/>
                  <a:pt x="510" y="297"/>
                </a:cubicBezTo>
                <a:cubicBezTo>
                  <a:pt x="509" y="296"/>
                  <a:pt x="509" y="293"/>
                  <a:pt x="510" y="294"/>
                </a:cubicBezTo>
                <a:cubicBezTo>
                  <a:pt x="510" y="293"/>
                  <a:pt x="510" y="294"/>
                  <a:pt x="510" y="293"/>
                </a:cubicBezTo>
                <a:cubicBezTo>
                  <a:pt x="510" y="292"/>
                  <a:pt x="509" y="292"/>
                  <a:pt x="508" y="292"/>
                </a:cubicBezTo>
                <a:cubicBezTo>
                  <a:pt x="507" y="293"/>
                  <a:pt x="507" y="293"/>
                  <a:pt x="506" y="293"/>
                </a:cubicBezTo>
                <a:cubicBezTo>
                  <a:pt x="506" y="293"/>
                  <a:pt x="506" y="293"/>
                  <a:pt x="506" y="294"/>
                </a:cubicBezTo>
                <a:cubicBezTo>
                  <a:pt x="505" y="294"/>
                  <a:pt x="504" y="294"/>
                  <a:pt x="504" y="294"/>
                </a:cubicBezTo>
                <a:cubicBezTo>
                  <a:pt x="504" y="293"/>
                  <a:pt x="503" y="292"/>
                  <a:pt x="504" y="293"/>
                </a:cubicBezTo>
                <a:cubicBezTo>
                  <a:pt x="504" y="292"/>
                  <a:pt x="504" y="291"/>
                  <a:pt x="503" y="291"/>
                </a:cubicBezTo>
                <a:cubicBezTo>
                  <a:pt x="503" y="291"/>
                  <a:pt x="503" y="290"/>
                  <a:pt x="504" y="290"/>
                </a:cubicBezTo>
                <a:cubicBezTo>
                  <a:pt x="504" y="290"/>
                  <a:pt x="504" y="290"/>
                  <a:pt x="504" y="289"/>
                </a:cubicBezTo>
                <a:cubicBezTo>
                  <a:pt x="505" y="290"/>
                  <a:pt x="505" y="291"/>
                  <a:pt x="506" y="292"/>
                </a:cubicBezTo>
                <a:cubicBezTo>
                  <a:pt x="507" y="292"/>
                  <a:pt x="506" y="291"/>
                  <a:pt x="507" y="291"/>
                </a:cubicBezTo>
                <a:cubicBezTo>
                  <a:pt x="508" y="291"/>
                  <a:pt x="508" y="291"/>
                  <a:pt x="508" y="291"/>
                </a:cubicBezTo>
                <a:cubicBezTo>
                  <a:pt x="509" y="290"/>
                  <a:pt x="509" y="289"/>
                  <a:pt x="509" y="288"/>
                </a:cubicBezTo>
                <a:cubicBezTo>
                  <a:pt x="510" y="288"/>
                  <a:pt x="511" y="288"/>
                  <a:pt x="511" y="288"/>
                </a:cubicBezTo>
                <a:cubicBezTo>
                  <a:pt x="511" y="288"/>
                  <a:pt x="511" y="287"/>
                  <a:pt x="511" y="287"/>
                </a:cubicBezTo>
                <a:cubicBezTo>
                  <a:pt x="512" y="287"/>
                  <a:pt x="511" y="285"/>
                  <a:pt x="511" y="284"/>
                </a:cubicBezTo>
                <a:cubicBezTo>
                  <a:pt x="512" y="284"/>
                  <a:pt x="512" y="285"/>
                  <a:pt x="512" y="285"/>
                </a:cubicBezTo>
                <a:cubicBezTo>
                  <a:pt x="512" y="283"/>
                  <a:pt x="511" y="284"/>
                  <a:pt x="511" y="282"/>
                </a:cubicBezTo>
                <a:cubicBezTo>
                  <a:pt x="510" y="281"/>
                  <a:pt x="509" y="281"/>
                  <a:pt x="508" y="281"/>
                </a:cubicBezTo>
                <a:cubicBezTo>
                  <a:pt x="507" y="281"/>
                  <a:pt x="507" y="281"/>
                  <a:pt x="506" y="281"/>
                </a:cubicBezTo>
                <a:cubicBezTo>
                  <a:pt x="506" y="281"/>
                  <a:pt x="506" y="281"/>
                  <a:pt x="505" y="281"/>
                </a:cubicBezTo>
                <a:cubicBezTo>
                  <a:pt x="505" y="281"/>
                  <a:pt x="504" y="281"/>
                  <a:pt x="504" y="281"/>
                </a:cubicBezTo>
                <a:cubicBezTo>
                  <a:pt x="503" y="281"/>
                  <a:pt x="505" y="281"/>
                  <a:pt x="503" y="282"/>
                </a:cubicBezTo>
                <a:cubicBezTo>
                  <a:pt x="503" y="282"/>
                  <a:pt x="502" y="282"/>
                  <a:pt x="501" y="282"/>
                </a:cubicBezTo>
                <a:cubicBezTo>
                  <a:pt x="501" y="282"/>
                  <a:pt x="501" y="282"/>
                  <a:pt x="501" y="282"/>
                </a:cubicBezTo>
                <a:cubicBezTo>
                  <a:pt x="501" y="282"/>
                  <a:pt x="500" y="283"/>
                  <a:pt x="499" y="283"/>
                </a:cubicBezTo>
                <a:cubicBezTo>
                  <a:pt x="499" y="283"/>
                  <a:pt x="500" y="283"/>
                  <a:pt x="499" y="283"/>
                </a:cubicBezTo>
                <a:cubicBezTo>
                  <a:pt x="499" y="283"/>
                  <a:pt x="499" y="283"/>
                  <a:pt x="498" y="284"/>
                </a:cubicBezTo>
                <a:cubicBezTo>
                  <a:pt x="498" y="284"/>
                  <a:pt x="497" y="284"/>
                  <a:pt x="497" y="284"/>
                </a:cubicBezTo>
                <a:cubicBezTo>
                  <a:pt x="496" y="285"/>
                  <a:pt x="496" y="285"/>
                  <a:pt x="495" y="286"/>
                </a:cubicBezTo>
                <a:cubicBezTo>
                  <a:pt x="495" y="286"/>
                  <a:pt x="494" y="285"/>
                  <a:pt x="494" y="286"/>
                </a:cubicBezTo>
                <a:cubicBezTo>
                  <a:pt x="494" y="285"/>
                  <a:pt x="493" y="287"/>
                  <a:pt x="493" y="287"/>
                </a:cubicBezTo>
                <a:cubicBezTo>
                  <a:pt x="493" y="287"/>
                  <a:pt x="492" y="288"/>
                  <a:pt x="492" y="288"/>
                </a:cubicBezTo>
                <a:cubicBezTo>
                  <a:pt x="491" y="288"/>
                  <a:pt x="490" y="289"/>
                  <a:pt x="490" y="289"/>
                </a:cubicBezTo>
                <a:cubicBezTo>
                  <a:pt x="489" y="289"/>
                  <a:pt x="489" y="290"/>
                  <a:pt x="489" y="291"/>
                </a:cubicBezTo>
                <a:cubicBezTo>
                  <a:pt x="489" y="291"/>
                  <a:pt x="488" y="291"/>
                  <a:pt x="488" y="291"/>
                </a:cubicBezTo>
                <a:cubicBezTo>
                  <a:pt x="488" y="292"/>
                  <a:pt x="487" y="291"/>
                  <a:pt x="487" y="291"/>
                </a:cubicBezTo>
                <a:cubicBezTo>
                  <a:pt x="486" y="291"/>
                  <a:pt x="486" y="293"/>
                  <a:pt x="486" y="293"/>
                </a:cubicBezTo>
                <a:cubicBezTo>
                  <a:pt x="486" y="294"/>
                  <a:pt x="485" y="294"/>
                  <a:pt x="485" y="295"/>
                </a:cubicBezTo>
                <a:cubicBezTo>
                  <a:pt x="485" y="295"/>
                  <a:pt x="485" y="296"/>
                  <a:pt x="485" y="296"/>
                </a:cubicBezTo>
                <a:cubicBezTo>
                  <a:pt x="484" y="296"/>
                  <a:pt x="484" y="296"/>
                  <a:pt x="483" y="297"/>
                </a:cubicBezTo>
                <a:cubicBezTo>
                  <a:pt x="483" y="297"/>
                  <a:pt x="483" y="298"/>
                  <a:pt x="482" y="298"/>
                </a:cubicBezTo>
                <a:cubicBezTo>
                  <a:pt x="481" y="299"/>
                  <a:pt x="480" y="299"/>
                  <a:pt x="479" y="299"/>
                </a:cubicBezTo>
                <a:cubicBezTo>
                  <a:pt x="480" y="299"/>
                  <a:pt x="480" y="299"/>
                  <a:pt x="480" y="298"/>
                </a:cubicBezTo>
                <a:cubicBezTo>
                  <a:pt x="480" y="298"/>
                  <a:pt x="481" y="298"/>
                  <a:pt x="481" y="298"/>
                </a:cubicBezTo>
                <a:cubicBezTo>
                  <a:pt x="481" y="298"/>
                  <a:pt x="482" y="298"/>
                  <a:pt x="482" y="298"/>
                </a:cubicBezTo>
                <a:cubicBezTo>
                  <a:pt x="482" y="297"/>
                  <a:pt x="483" y="297"/>
                  <a:pt x="483" y="297"/>
                </a:cubicBezTo>
                <a:cubicBezTo>
                  <a:pt x="483" y="296"/>
                  <a:pt x="484" y="295"/>
                  <a:pt x="484" y="294"/>
                </a:cubicBezTo>
                <a:cubicBezTo>
                  <a:pt x="484" y="294"/>
                  <a:pt x="485" y="294"/>
                  <a:pt x="485" y="294"/>
                </a:cubicBezTo>
                <a:cubicBezTo>
                  <a:pt x="485" y="293"/>
                  <a:pt x="485" y="293"/>
                  <a:pt x="485" y="293"/>
                </a:cubicBezTo>
                <a:cubicBezTo>
                  <a:pt x="485" y="292"/>
                  <a:pt x="486" y="292"/>
                  <a:pt x="486" y="291"/>
                </a:cubicBezTo>
                <a:cubicBezTo>
                  <a:pt x="486" y="290"/>
                  <a:pt x="486" y="290"/>
                  <a:pt x="485" y="290"/>
                </a:cubicBezTo>
                <a:cubicBezTo>
                  <a:pt x="484" y="289"/>
                  <a:pt x="485" y="289"/>
                  <a:pt x="485" y="289"/>
                </a:cubicBezTo>
                <a:cubicBezTo>
                  <a:pt x="486" y="289"/>
                  <a:pt x="486" y="289"/>
                  <a:pt x="487" y="289"/>
                </a:cubicBezTo>
                <a:cubicBezTo>
                  <a:pt x="487" y="289"/>
                  <a:pt x="487" y="288"/>
                  <a:pt x="488" y="288"/>
                </a:cubicBezTo>
                <a:cubicBezTo>
                  <a:pt x="488" y="288"/>
                  <a:pt x="488" y="287"/>
                  <a:pt x="488" y="287"/>
                </a:cubicBezTo>
                <a:cubicBezTo>
                  <a:pt x="489" y="286"/>
                  <a:pt x="489" y="286"/>
                  <a:pt x="490" y="286"/>
                </a:cubicBezTo>
                <a:cubicBezTo>
                  <a:pt x="490" y="286"/>
                  <a:pt x="490" y="285"/>
                  <a:pt x="490" y="285"/>
                </a:cubicBezTo>
                <a:cubicBezTo>
                  <a:pt x="490" y="285"/>
                  <a:pt x="492" y="285"/>
                  <a:pt x="492" y="285"/>
                </a:cubicBezTo>
                <a:cubicBezTo>
                  <a:pt x="491" y="283"/>
                  <a:pt x="495" y="283"/>
                  <a:pt x="495" y="282"/>
                </a:cubicBezTo>
                <a:cubicBezTo>
                  <a:pt x="495" y="281"/>
                  <a:pt x="495" y="281"/>
                  <a:pt x="496" y="281"/>
                </a:cubicBezTo>
                <a:cubicBezTo>
                  <a:pt x="497" y="281"/>
                  <a:pt x="498" y="278"/>
                  <a:pt x="498" y="277"/>
                </a:cubicBezTo>
                <a:cubicBezTo>
                  <a:pt x="498" y="277"/>
                  <a:pt x="499" y="277"/>
                  <a:pt x="499" y="277"/>
                </a:cubicBezTo>
                <a:cubicBezTo>
                  <a:pt x="499" y="277"/>
                  <a:pt x="501" y="276"/>
                  <a:pt x="501" y="275"/>
                </a:cubicBezTo>
                <a:cubicBezTo>
                  <a:pt x="501" y="276"/>
                  <a:pt x="502" y="276"/>
                  <a:pt x="502" y="275"/>
                </a:cubicBezTo>
                <a:cubicBezTo>
                  <a:pt x="503" y="275"/>
                  <a:pt x="505" y="276"/>
                  <a:pt x="506" y="276"/>
                </a:cubicBezTo>
                <a:cubicBezTo>
                  <a:pt x="506" y="275"/>
                  <a:pt x="508" y="276"/>
                  <a:pt x="508" y="276"/>
                </a:cubicBezTo>
                <a:cubicBezTo>
                  <a:pt x="508" y="276"/>
                  <a:pt x="509" y="276"/>
                  <a:pt x="509" y="276"/>
                </a:cubicBezTo>
                <a:cubicBezTo>
                  <a:pt x="510" y="276"/>
                  <a:pt x="509" y="275"/>
                  <a:pt x="510" y="275"/>
                </a:cubicBezTo>
                <a:cubicBezTo>
                  <a:pt x="510" y="274"/>
                  <a:pt x="511" y="275"/>
                  <a:pt x="511" y="275"/>
                </a:cubicBezTo>
                <a:cubicBezTo>
                  <a:pt x="511" y="275"/>
                  <a:pt x="511" y="275"/>
                  <a:pt x="511" y="275"/>
                </a:cubicBezTo>
                <a:cubicBezTo>
                  <a:pt x="512" y="275"/>
                  <a:pt x="511" y="276"/>
                  <a:pt x="512" y="276"/>
                </a:cubicBezTo>
                <a:cubicBezTo>
                  <a:pt x="513" y="276"/>
                  <a:pt x="513" y="276"/>
                  <a:pt x="514" y="276"/>
                </a:cubicBezTo>
                <a:cubicBezTo>
                  <a:pt x="514" y="275"/>
                  <a:pt x="514" y="275"/>
                  <a:pt x="514" y="275"/>
                </a:cubicBezTo>
                <a:cubicBezTo>
                  <a:pt x="515" y="275"/>
                  <a:pt x="516" y="275"/>
                  <a:pt x="516" y="276"/>
                </a:cubicBezTo>
                <a:cubicBezTo>
                  <a:pt x="516" y="275"/>
                  <a:pt x="517" y="275"/>
                  <a:pt x="517" y="275"/>
                </a:cubicBezTo>
                <a:cubicBezTo>
                  <a:pt x="518" y="274"/>
                  <a:pt x="518" y="274"/>
                  <a:pt x="518" y="274"/>
                </a:cubicBezTo>
                <a:cubicBezTo>
                  <a:pt x="520" y="274"/>
                  <a:pt x="518" y="275"/>
                  <a:pt x="519" y="275"/>
                </a:cubicBezTo>
                <a:cubicBezTo>
                  <a:pt x="520" y="275"/>
                  <a:pt x="520" y="276"/>
                  <a:pt x="521" y="276"/>
                </a:cubicBezTo>
                <a:cubicBezTo>
                  <a:pt x="521" y="275"/>
                  <a:pt x="521" y="275"/>
                  <a:pt x="521" y="275"/>
                </a:cubicBezTo>
                <a:cubicBezTo>
                  <a:pt x="521" y="275"/>
                  <a:pt x="522" y="275"/>
                  <a:pt x="522" y="275"/>
                </a:cubicBezTo>
                <a:cubicBezTo>
                  <a:pt x="522" y="275"/>
                  <a:pt x="522" y="275"/>
                  <a:pt x="523" y="275"/>
                </a:cubicBezTo>
                <a:cubicBezTo>
                  <a:pt x="524" y="274"/>
                  <a:pt x="524" y="276"/>
                  <a:pt x="524" y="276"/>
                </a:cubicBezTo>
                <a:cubicBezTo>
                  <a:pt x="525" y="277"/>
                  <a:pt x="526" y="276"/>
                  <a:pt x="526" y="276"/>
                </a:cubicBezTo>
                <a:cubicBezTo>
                  <a:pt x="527" y="275"/>
                  <a:pt x="527" y="274"/>
                  <a:pt x="528" y="275"/>
                </a:cubicBezTo>
                <a:cubicBezTo>
                  <a:pt x="528" y="275"/>
                  <a:pt x="528" y="276"/>
                  <a:pt x="528" y="276"/>
                </a:cubicBezTo>
                <a:cubicBezTo>
                  <a:pt x="529" y="276"/>
                  <a:pt x="529" y="275"/>
                  <a:pt x="529" y="276"/>
                </a:cubicBezTo>
                <a:cubicBezTo>
                  <a:pt x="530" y="276"/>
                  <a:pt x="530" y="275"/>
                  <a:pt x="531" y="275"/>
                </a:cubicBezTo>
                <a:cubicBezTo>
                  <a:pt x="531" y="275"/>
                  <a:pt x="530" y="274"/>
                  <a:pt x="531" y="274"/>
                </a:cubicBezTo>
                <a:cubicBezTo>
                  <a:pt x="532" y="274"/>
                  <a:pt x="532" y="275"/>
                  <a:pt x="533" y="275"/>
                </a:cubicBezTo>
                <a:cubicBezTo>
                  <a:pt x="533" y="274"/>
                  <a:pt x="534" y="275"/>
                  <a:pt x="534" y="273"/>
                </a:cubicBezTo>
                <a:cubicBezTo>
                  <a:pt x="534" y="273"/>
                  <a:pt x="534" y="272"/>
                  <a:pt x="534" y="272"/>
                </a:cubicBezTo>
                <a:cubicBezTo>
                  <a:pt x="534" y="272"/>
                  <a:pt x="535" y="272"/>
                  <a:pt x="535" y="272"/>
                </a:cubicBezTo>
                <a:cubicBezTo>
                  <a:pt x="535" y="273"/>
                  <a:pt x="536" y="272"/>
                  <a:pt x="537" y="272"/>
                </a:cubicBezTo>
                <a:cubicBezTo>
                  <a:pt x="538" y="271"/>
                  <a:pt x="537" y="271"/>
                  <a:pt x="537" y="269"/>
                </a:cubicBezTo>
                <a:cubicBezTo>
                  <a:pt x="538" y="269"/>
                  <a:pt x="538" y="268"/>
                  <a:pt x="538" y="268"/>
                </a:cubicBezTo>
                <a:cubicBezTo>
                  <a:pt x="539" y="267"/>
                  <a:pt x="539" y="267"/>
                  <a:pt x="540" y="267"/>
                </a:cubicBezTo>
                <a:cubicBezTo>
                  <a:pt x="540" y="266"/>
                  <a:pt x="540" y="266"/>
                  <a:pt x="540" y="266"/>
                </a:cubicBezTo>
                <a:cubicBezTo>
                  <a:pt x="541" y="266"/>
                  <a:pt x="543" y="266"/>
                  <a:pt x="543" y="265"/>
                </a:cubicBezTo>
                <a:cubicBezTo>
                  <a:pt x="543" y="264"/>
                  <a:pt x="546" y="265"/>
                  <a:pt x="546" y="265"/>
                </a:cubicBezTo>
                <a:cubicBezTo>
                  <a:pt x="546" y="264"/>
                  <a:pt x="547" y="264"/>
                  <a:pt x="548" y="264"/>
                </a:cubicBezTo>
                <a:cubicBezTo>
                  <a:pt x="548" y="264"/>
                  <a:pt x="549" y="263"/>
                  <a:pt x="550" y="263"/>
                </a:cubicBezTo>
                <a:cubicBezTo>
                  <a:pt x="550" y="263"/>
                  <a:pt x="550" y="262"/>
                  <a:pt x="550" y="262"/>
                </a:cubicBezTo>
                <a:cubicBezTo>
                  <a:pt x="551" y="262"/>
                  <a:pt x="551" y="263"/>
                  <a:pt x="551" y="262"/>
                </a:cubicBezTo>
                <a:cubicBezTo>
                  <a:pt x="551" y="261"/>
                  <a:pt x="551" y="260"/>
                  <a:pt x="552" y="261"/>
                </a:cubicBezTo>
                <a:cubicBezTo>
                  <a:pt x="552" y="259"/>
                  <a:pt x="551" y="258"/>
                  <a:pt x="551" y="257"/>
                </a:cubicBezTo>
                <a:cubicBezTo>
                  <a:pt x="551" y="257"/>
                  <a:pt x="552" y="257"/>
                  <a:pt x="552" y="257"/>
                </a:cubicBezTo>
                <a:cubicBezTo>
                  <a:pt x="552" y="257"/>
                  <a:pt x="552" y="256"/>
                  <a:pt x="552" y="255"/>
                </a:cubicBezTo>
                <a:cubicBezTo>
                  <a:pt x="552" y="255"/>
                  <a:pt x="552" y="255"/>
                  <a:pt x="552" y="254"/>
                </a:cubicBezTo>
                <a:cubicBezTo>
                  <a:pt x="551" y="254"/>
                  <a:pt x="551" y="254"/>
                  <a:pt x="551" y="254"/>
                </a:cubicBezTo>
                <a:cubicBezTo>
                  <a:pt x="551" y="254"/>
                  <a:pt x="550" y="254"/>
                  <a:pt x="550" y="254"/>
                </a:cubicBezTo>
                <a:cubicBezTo>
                  <a:pt x="550" y="255"/>
                  <a:pt x="550" y="256"/>
                  <a:pt x="549" y="255"/>
                </a:cubicBezTo>
                <a:cubicBezTo>
                  <a:pt x="549" y="254"/>
                  <a:pt x="549" y="253"/>
                  <a:pt x="547" y="253"/>
                </a:cubicBezTo>
                <a:cubicBezTo>
                  <a:pt x="547" y="253"/>
                  <a:pt x="546" y="252"/>
                  <a:pt x="546" y="252"/>
                </a:cubicBezTo>
                <a:cubicBezTo>
                  <a:pt x="545" y="251"/>
                  <a:pt x="544" y="251"/>
                  <a:pt x="544" y="251"/>
                </a:cubicBezTo>
                <a:cubicBezTo>
                  <a:pt x="544" y="251"/>
                  <a:pt x="542" y="250"/>
                  <a:pt x="542" y="252"/>
                </a:cubicBezTo>
                <a:cubicBezTo>
                  <a:pt x="541" y="252"/>
                  <a:pt x="541" y="252"/>
                  <a:pt x="540" y="252"/>
                </a:cubicBezTo>
                <a:cubicBezTo>
                  <a:pt x="540" y="252"/>
                  <a:pt x="540" y="252"/>
                  <a:pt x="539" y="252"/>
                </a:cubicBezTo>
                <a:cubicBezTo>
                  <a:pt x="539" y="252"/>
                  <a:pt x="539" y="252"/>
                  <a:pt x="539" y="252"/>
                </a:cubicBezTo>
                <a:cubicBezTo>
                  <a:pt x="538" y="252"/>
                  <a:pt x="538" y="254"/>
                  <a:pt x="536" y="254"/>
                </a:cubicBezTo>
                <a:cubicBezTo>
                  <a:pt x="536" y="254"/>
                  <a:pt x="536" y="254"/>
                  <a:pt x="536" y="254"/>
                </a:cubicBezTo>
                <a:cubicBezTo>
                  <a:pt x="536" y="255"/>
                  <a:pt x="535" y="254"/>
                  <a:pt x="535" y="254"/>
                </a:cubicBezTo>
                <a:cubicBezTo>
                  <a:pt x="534" y="255"/>
                  <a:pt x="534" y="255"/>
                  <a:pt x="533" y="255"/>
                </a:cubicBezTo>
                <a:cubicBezTo>
                  <a:pt x="533" y="256"/>
                  <a:pt x="532" y="257"/>
                  <a:pt x="532" y="257"/>
                </a:cubicBezTo>
                <a:cubicBezTo>
                  <a:pt x="531" y="257"/>
                  <a:pt x="531" y="257"/>
                  <a:pt x="530" y="256"/>
                </a:cubicBezTo>
                <a:cubicBezTo>
                  <a:pt x="530" y="256"/>
                  <a:pt x="530" y="256"/>
                  <a:pt x="530" y="255"/>
                </a:cubicBezTo>
                <a:cubicBezTo>
                  <a:pt x="530" y="254"/>
                  <a:pt x="531" y="254"/>
                  <a:pt x="532" y="254"/>
                </a:cubicBezTo>
                <a:cubicBezTo>
                  <a:pt x="532" y="255"/>
                  <a:pt x="533" y="254"/>
                  <a:pt x="533" y="254"/>
                </a:cubicBezTo>
                <a:cubicBezTo>
                  <a:pt x="533" y="254"/>
                  <a:pt x="534" y="254"/>
                  <a:pt x="534" y="254"/>
                </a:cubicBezTo>
                <a:cubicBezTo>
                  <a:pt x="534" y="254"/>
                  <a:pt x="534" y="254"/>
                  <a:pt x="535" y="253"/>
                </a:cubicBezTo>
                <a:cubicBezTo>
                  <a:pt x="535" y="253"/>
                  <a:pt x="535" y="253"/>
                  <a:pt x="535" y="253"/>
                </a:cubicBezTo>
                <a:cubicBezTo>
                  <a:pt x="536" y="253"/>
                  <a:pt x="536" y="253"/>
                  <a:pt x="537" y="252"/>
                </a:cubicBezTo>
                <a:cubicBezTo>
                  <a:pt x="537" y="252"/>
                  <a:pt x="537" y="252"/>
                  <a:pt x="538" y="252"/>
                </a:cubicBezTo>
                <a:cubicBezTo>
                  <a:pt x="538" y="252"/>
                  <a:pt x="538" y="251"/>
                  <a:pt x="539" y="251"/>
                </a:cubicBezTo>
                <a:cubicBezTo>
                  <a:pt x="539" y="251"/>
                  <a:pt x="539" y="251"/>
                  <a:pt x="539" y="251"/>
                </a:cubicBezTo>
                <a:cubicBezTo>
                  <a:pt x="540" y="250"/>
                  <a:pt x="540" y="252"/>
                  <a:pt x="541" y="250"/>
                </a:cubicBezTo>
                <a:cubicBezTo>
                  <a:pt x="541" y="250"/>
                  <a:pt x="542" y="250"/>
                  <a:pt x="542" y="250"/>
                </a:cubicBezTo>
                <a:cubicBezTo>
                  <a:pt x="542" y="250"/>
                  <a:pt x="541" y="250"/>
                  <a:pt x="542" y="250"/>
                </a:cubicBezTo>
                <a:cubicBezTo>
                  <a:pt x="543" y="250"/>
                  <a:pt x="544" y="249"/>
                  <a:pt x="544" y="249"/>
                </a:cubicBezTo>
                <a:cubicBezTo>
                  <a:pt x="544" y="248"/>
                  <a:pt x="545" y="249"/>
                  <a:pt x="545" y="248"/>
                </a:cubicBezTo>
                <a:cubicBezTo>
                  <a:pt x="545" y="248"/>
                  <a:pt x="544" y="248"/>
                  <a:pt x="544" y="248"/>
                </a:cubicBezTo>
                <a:cubicBezTo>
                  <a:pt x="543" y="248"/>
                  <a:pt x="544" y="248"/>
                  <a:pt x="543" y="248"/>
                </a:cubicBezTo>
                <a:cubicBezTo>
                  <a:pt x="542" y="248"/>
                  <a:pt x="542" y="246"/>
                  <a:pt x="542" y="246"/>
                </a:cubicBezTo>
                <a:cubicBezTo>
                  <a:pt x="542" y="246"/>
                  <a:pt x="542" y="245"/>
                  <a:pt x="542" y="245"/>
                </a:cubicBezTo>
                <a:cubicBezTo>
                  <a:pt x="541" y="245"/>
                  <a:pt x="541" y="247"/>
                  <a:pt x="541" y="247"/>
                </a:cubicBezTo>
                <a:cubicBezTo>
                  <a:pt x="540" y="247"/>
                  <a:pt x="538" y="247"/>
                  <a:pt x="538" y="246"/>
                </a:cubicBezTo>
                <a:cubicBezTo>
                  <a:pt x="538" y="245"/>
                  <a:pt x="537" y="244"/>
                  <a:pt x="537" y="243"/>
                </a:cubicBezTo>
                <a:cubicBezTo>
                  <a:pt x="537" y="244"/>
                  <a:pt x="536" y="244"/>
                  <a:pt x="536" y="244"/>
                </a:cubicBezTo>
                <a:cubicBezTo>
                  <a:pt x="536" y="244"/>
                  <a:pt x="536" y="244"/>
                  <a:pt x="536" y="243"/>
                </a:cubicBezTo>
                <a:cubicBezTo>
                  <a:pt x="535" y="244"/>
                  <a:pt x="534" y="245"/>
                  <a:pt x="534" y="245"/>
                </a:cubicBezTo>
                <a:cubicBezTo>
                  <a:pt x="534" y="245"/>
                  <a:pt x="534" y="244"/>
                  <a:pt x="534" y="243"/>
                </a:cubicBezTo>
                <a:cubicBezTo>
                  <a:pt x="533" y="244"/>
                  <a:pt x="533" y="244"/>
                  <a:pt x="532" y="243"/>
                </a:cubicBezTo>
                <a:cubicBezTo>
                  <a:pt x="532" y="243"/>
                  <a:pt x="531" y="243"/>
                  <a:pt x="530" y="243"/>
                </a:cubicBezTo>
                <a:cubicBezTo>
                  <a:pt x="530" y="243"/>
                  <a:pt x="530" y="242"/>
                  <a:pt x="530" y="241"/>
                </a:cubicBezTo>
                <a:cubicBezTo>
                  <a:pt x="530" y="241"/>
                  <a:pt x="530" y="240"/>
                  <a:pt x="530" y="240"/>
                </a:cubicBezTo>
                <a:cubicBezTo>
                  <a:pt x="529" y="239"/>
                  <a:pt x="528" y="238"/>
                  <a:pt x="527" y="238"/>
                </a:cubicBezTo>
                <a:cubicBezTo>
                  <a:pt x="526" y="238"/>
                  <a:pt x="525" y="238"/>
                  <a:pt x="525" y="238"/>
                </a:cubicBezTo>
                <a:cubicBezTo>
                  <a:pt x="524" y="238"/>
                  <a:pt x="525" y="237"/>
                  <a:pt x="525" y="236"/>
                </a:cubicBezTo>
                <a:cubicBezTo>
                  <a:pt x="525" y="235"/>
                  <a:pt x="524" y="235"/>
                  <a:pt x="523" y="235"/>
                </a:cubicBezTo>
                <a:cubicBezTo>
                  <a:pt x="523" y="235"/>
                  <a:pt x="523" y="235"/>
                  <a:pt x="523" y="234"/>
                </a:cubicBezTo>
                <a:cubicBezTo>
                  <a:pt x="523" y="234"/>
                  <a:pt x="522" y="235"/>
                  <a:pt x="522" y="235"/>
                </a:cubicBezTo>
                <a:cubicBezTo>
                  <a:pt x="521" y="234"/>
                  <a:pt x="522" y="234"/>
                  <a:pt x="522" y="233"/>
                </a:cubicBezTo>
                <a:cubicBezTo>
                  <a:pt x="523" y="232"/>
                  <a:pt x="522" y="232"/>
                  <a:pt x="522" y="232"/>
                </a:cubicBezTo>
                <a:cubicBezTo>
                  <a:pt x="521" y="232"/>
                  <a:pt x="521" y="232"/>
                  <a:pt x="521" y="231"/>
                </a:cubicBezTo>
                <a:cubicBezTo>
                  <a:pt x="522" y="231"/>
                  <a:pt x="524" y="232"/>
                  <a:pt x="524" y="231"/>
                </a:cubicBezTo>
                <a:cubicBezTo>
                  <a:pt x="525" y="230"/>
                  <a:pt x="525" y="232"/>
                  <a:pt x="525" y="232"/>
                </a:cubicBezTo>
                <a:cubicBezTo>
                  <a:pt x="526" y="232"/>
                  <a:pt x="526" y="230"/>
                  <a:pt x="526" y="230"/>
                </a:cubicBezTo>
                <a:cubicBezTo>
                  <a:pt x="525" y="230"/>
                  <a:pt x="526" y="229"/>
                  <a:pt x="525" y="229"/>
                </a:cubicBezTo>
                <a:cubicBezTo>
                  <a:pt x="524" y="229"/>
                  <a:pt x="524" y="229"/>
                  <a:pt x="523" y="228"/>
                </a:cubicBezTo>
                <a:cubicBezTo>
                  <a:pt x="523" y="228"/>
                  <a:pt x="523" y="228"/>
                  <a:pt x="523" y="228"/>
                </a:cubicBezTo>
                <a:cubicBezTo>
                  <a:pt x="523" y="228"/>
                  <a:pt x="523" y="227"/>
                  <a:pt x="522" y="227"/>
                </a:cubicBezTo>
                <a:cubicBezTo>
                  <a:pt x="522" y="227"/>
                  <a:pt x="521" y="228"/>
                  <a:pt x="521" y="227"/>
                </a:cubicBezTo>
                <a:cubicBezTo>
                  <a:pt x="521" y="227"/>
                  <a:pt x="521" y="227"/>
                  <a:pt x="521" y="227"/>
                </a:cubicBezTo>
                <a:cubicBezTo>
                  <a:pt x="522" y="227"/>
                  <a:pt x="522" y="226"/>
                  <a:pt x="522" y="226"/>
                </a:cubicBezTo>
                <a:cubicBezTo>
                  <a:pt x="523" y="225"/>
                  <a:pt x="523" y="225"/>
                  <a:pt x="523" y="225"/>
                </a:cubicBezTo>
                <a:cubicBezTo>
                  <a:pt x="523" y="224"/>
                  <a:pt x="523" y="224"/>
                  <a:pt x="522" y="224"/>
                </a:cubicBezTo>
                <a:cubicBezTo>
                  <a:pt x="522" y="223"/>
                  <a:pt x="521" y="223"/>
                  <a:pt x="521" y="223"/>
                </a:cubicBezTo>
                <a:cubicBezTo>
                  <a:pt x="521" y="222"/>
                  <a:pt x="520" y="223"/>
                  <a:pt x="519" y="223"/>
                </a:cubicBezTo>
                <a:cubicBezTo>
                  <a:pt x="520" y="221"/>
                  <a:pt x="518" y="222"/>
                  <a:pt x="518" y="221"/>
                </a:cubicBezTo>
                <a:cubicBezTo>
                  <a:pt x="518" y="221"/>
                  <a:pt x="519" y="221"/>
                  <a:pt x="519" y="221"/>
                </a:cubicBezTo>
                <a:cubicBezTo>
                  <a:pt x="519" y="220"/>
                  <a:pt x="520" y="220"/>
                  <a:pt x="520" y="219"/>
                </a:cubicBezTo>
                <a:cubicBezTo>
                  <a:pt x="519" y="219"/>
                  <a:pt x="516" y="218"/>
                  <a:pt x="516" y="219"/>
                </a:cubicBezTo>
                <a:cubicBezTo>
                  <a:pt x="516" y="219"/>
                  <a:pt x="516" y="219"/>
                  <a:pt x="515" y="219"/>
                </a:cubicBezTo>
                <a:cubicBezTo>
                  <a:pt x="515" y="218"/>
                  <a:pt x="515" y="218"/>
                  <a:pt x="516" y="218"/>
                </a:cubicBezTo>
                <a:cubicBezTo>
                  <a:pt x="517" y="218"/>
                  <a:pt x="517" y="217"/>
                  <a:pt x="518" y="217"/>
                </a:cubicBezTo>
                <a:cubicBezTo>
                  <a:pt x="518" y="215"/>
                  <a:pt x="517" y="216"/>
                  <a:pt x="516" y="215"/>
                </a:cubicBezTo>
                <a:cubicBezTo>
                  <a:pt x="516" y="215"/>
                  <a:pt x="517" y="214"/>
                  <a:pt x="517" y="214"/>
                </a:cubicBezTo>
                <a:cubicBezTo>
                  <a:pt x="516" y="214"/>
                  <a:pt x="516" y="214"/>
                  <a:pt x="516" y="213"/>
                </a:cubicBezTo>
                <a:cubicBezTo>
                  <a:pt x="516" y="212"/>
                  <a:pt x="514" y="212"/>
                  <a:pt x="514" y="213"/>
                </a:cubicBezTo>
                <a:cubicBezTo>
                  <a:pt x="514" y="213"/>
                  <a:pt x="513" y="213"/>
                  <a:pt x="513" y="212"/>
                </a:cubicBezTo>
                <a:cubicBezTo>
                  <a:pt x="513" y="211"/>
                  <a:pt x="512" y="212"/>
                  <a:pt x="512" y="211"/>
                </a:cubicBezTo>
                <a:cubicBezTo>
                  <a:pt x="512" y="211"/>
                  <a:pt x="513" y="210"/>
                  <a:pt x="512" y="210"/>
                </a:cubicBezTo>
                <a:cubicBezTo>
                  <a:pt x="512" y="209"/>
                  <a:pt x="512" y="209"/>
                  <a:pt x="512" y="209"/>
                </a:cubicBezTo>
                <a:cubicBezTo>
                  <a:pt x="512" y="208"/>
                  <a:pt x="512" y="208"/>
                  <a:pt x="512" y="207"/>
                </a:cubicBezTo>
                <a:cubicBezTo>
                  <a:pt x="512" y="206"/>
                  <a:pt x="511" y="206"/>
                  <a:pt x="511" y="206"/>
                </a:cubicBezTo>
                <a:cubicBezTo>
                  <a:pt x="511" y="205"/>
                  <a:pt x="512" y="204"/>
                  <a:pt x="511" y="204"/>
                </a:cubicBezTo>
                <a:cubicBezTo>
                  <a:pt x="511" y="204"/>
                  <a:pt x="511" y="203"/>
                  <a:pt x="511" y="202"/>
                </a:cubicBezTo>
                <a:cubicBezTo>
                  <a:pt x="511" y="202"/>
                  <a:pt x="510" y="202"/>
                  <a:pt x="509" y="203"/>
                </a:cubicBezTo>
                <a:cubicBezTo>
                  <a:pt x="509" y="203"/>
                  <a:pt x="509" y="204"/>
                  <a:pt x="509" y="205"/>
                </a:cubicBezTo>
                <a:cubicBezTo>
                  <a:pt x="508" y="205"/>
                  <a:pt x="508" y="205"/>
                  <a:pt x="508" y="206"/>
                </a:cubicBezTo>
                <a:cubicBezTo>
                  <a:pt x="508" y="207"/>
                  <a:pt x="508" y="207"/>
                  <a:pt x="507" y="207"/>
                </a:cubicBezTo>
                <a:cubicBezTo>
                  <a:pt x="506" y="208"/>
                  <a:pt x="506" y="208"/>
                  <a:pt x="506" y="209"/>
                </a:cubicBezTo>
                <a:cubicBezTo>
                  <a:pt x="506" y="209"/>
                  <a:pt x="507" y="209"/>
                  <a:pt x="507" y="209"/>
                </a:cubicBezTo>
                <a:cubicBezTo>
                  <a:pt x="507" y="210"/>
                  <a:pt x="506" y="210"/>
                  <a:pt x="506" y="210"/>
                </a:cubicBezTo>
                <a:cubicBezTo>
                  <a:pt x="506" y="210"/>
                  <a:pt x="506" y="211"/>
                  <a:pt x="506" y="211"/>
                </a:cubicBezTo>
                <a:cubicBezTo>
                  <a:pt x="506" y="212"/>
                  <a:pt x="505" y="212"/>
                  <a:pt x="504" y="212"/>
                </a:cubicBezTo>
                <a:cubicBezTo>
                  <a:pt x="503" y="213"/>
                  <a:pt x="504" y="214"/>
                  <a:pt x="504" y="215"/>
                </a:cubicBezTo>
                <a:cubicBezTo>
                  <a:pt x="503" y="215"/>
                  <a:pt x="503" y="214"/>
                  <a:pt x="502" y="214"/>
                </a:cubicBezTo>
                <a:cubicBezTo>
                  <a:pt x="502" y="215"/>
                  <a:pt x="502" y="215"/>
                  <a:pt x="502" y="215"/>
                </a:cubicBezTo>
                <a:cubicBezTo>
                  <a:pt x="502" y="215"/>
                  <a:pt x="502" y="215"/>
                  <a:pt x="501" y="215"/>
                </a:cubicBezTo>
                <a:cubicBezTo>
                  <a:pt x="501" y="216"/>
                  <a:pt x="501" y="216"/>
                  <a:pt x="501" y="216"/>
                </a:cubicBezTo>
                <a:cubicBezTo>
                  <a:pt x="501" y="217"/>
                  <a:pt x="501" y="217"/>
                  <a:pt x="501" y="217"/>
                </a:cubicBezTo>
                <a:cubicBezTo>
                  <a:pt x="501" y="217"/>
                  <a:pt x="501" y="217"/>
                  <a:pt x="501" y="217"/>
                </a:cubicBezTo>
                <a:cubicBezTo>
                  <a:pt x="501" y="218"/>
                  <a:pt x="500" y="217"/>
                  <a:pt x="500" y="218"/>
                </a:cubicBezTo>
                <a:cubicBezTo>
                  <a:pt x="500" y="218"/>
                  <a:pt x="499" y="218"/>
                  <a:pt x="499" y="218"/>
                </a:cubicBezTo>
                <a:cubicBezTo>
                  <a:pt x="499" y="218"/>
                  <a:pt x="498" y="219"/>
                  <a:pt x="498" y="219"/>
                </a:cubicBezTo>
                <a:cubicBezTo>
                  <a:pt x="498" y="218"/>
                  <a:pt x="497" y="217"/>
                  <a:pt x="497" y="217"/>
                </a:cubicBezTo>
                <a:cubicBezTo>
                  <a:pt x="496" y="216"/>
                  <a:pt x="496" y="217"/>
                  <a:pt x="496" y="216"/>
                </a:cubicBezTo>
                <a:cubicBezTo>
                  <a:pt x="496" y="215"/>
                  <a:pt x="496" y="215"/>
                  <a:pt x="495" y="215"/>
                </a:cubicBezTo>
                <a:cubicBezTo>
                  <a:pt x="495" y="216"/>
                  <a:pt x="494" y="216"/>
                  <a:pt x="494" y="217"/>
                </a:cubicBezTo>
                <a:cubicBezTo>
                  <a:pt x="494" y="216"/>
                  <a:pt x="493" y="216"/>
                  <a:pt x="493" y="215"/>
                </a:cubicBezTo>
                <a:cubicBezTo>
                  <a:pt x="493" y="215"/>
                  <a:pt x="493" y="215"/>
                  <a:pt x="493" y="214"/>
                </a:cubicBezTo>
                <a:cubicBezTo>
                  <a:pt x="493" y="214"/>
                  <a:pt x="493" y="214"/>
                  <a:pt x="493" y="214"/>
                </a:cubicBezTo>
                <a:cubicBezTo>
                  <a:pt x="492" y="213"/>
                  <a:pt x="492" y="213"/>
                  <a:pt x="491" y="213"/>
                </a:cubicBezTo>
                <a:cubicBezTo>
                  <a:pt x="490" y="213"/>
                  <a:pt x="489" y="213"/>
                  <a:pt x="490" y="212"/>
                </a:cubicBezTo>
                <a:cubicBezTo>
                  <a:pt x="489" y="212"/>
                  <a:pt x="489" y="213"/>
                  <a:pt x="488" y="212"/>
                </a:cubicBezTo>
                <a:cubicBezTo>
                  <a:pt x="487" y="212"/>
                  <a:pt x="486" y="211"/>
                  <a:pt x="486" y="210"/>
                </a:cubicBezTo>
                <a:cubicBezTo>
                  <a:pt x="486" y="210"/>
                  <a:pt x="487" y="208"/>
                  <a:pt x="487" y="208"/>
                </a:cubicBezTo>
                <a:cubicBezTo>
                  <a:pt x="487" y="207"/>
                  <a:pt x="487" y="206"/>
                  <a:pt x="486" y="206"/>
                </a:cubicBezTo>
                <a:cubicBezTo>
                  <a:pt x="485" y="206"/>
                  <a:pt x="485" y="204"/>
                  <a:pt x="485" y="204"/>
                </a:cubicBezTo>
                <a:cubicBezTo>
                  <a:pt x="486" y="203"/>
                  <a:pt x="486" y="204"/>
                  <a:pt x="486" y="204"/>
                </a:cubicBezTo>
                <a:cubicBezTo>
                  <a:pt x="487" y="204"/>
                  <a:pt x="487" y="203"/>
                  <a:pt x="487" y="203"/>
                </a:cubicBezTo>
                <a:cubicBezTo>
                  <a:pt x="487" y="203"/>
                  <a:pt x="487" y="203"/>
                  <a:pt x="487" y="202"/>
                </a:cubicBezTo>
                <a:cubicBezTo>
                  <a:pt x="487" y="202"/>
                  <a:pt x="486" y="202"/>
                  <a:pt x="486" y="202"/>
                </a:cubicBezTo>
                <a:cubicBezTo>
                  <a:pt x="486" y="201"/>
                  <a:pt x="487" y="201"/>
                  <a:pt x="487" y="200"/>
                </a:cubicBezTo>
                <a:cubicBezTo>
                  <a:pt x="487" y="200"/>
                  <a:pt x="488" y="199"/>
                  <a:pt x="489" y="198"/>
                </a:cubicBezTo>
                <a:cubicBezTo>
                  <a:pt x="488" y="198"/>
                  <a:pt x="488" y="198"/>
                  <a:pt x="488" y="198"/>
                </a:cubicBezTo>
                <a:cubicBezTo>
                  <a:pt x="487" y="198"/>
                  <a:pt x="487" y="199"/>
                  <a:pt x="486" y="199"/>
                </a:cubicBezTo>
                <a:cubicBezTo>
                  <a:pt x="487" y="198"/>
                  <a:pt x="483" y="198"/>
                  <a:pt x="483" y="198"/>
                </a:cubicBezTo>
                <a:cubicBezTo>
                  <a:pt x="483" y="197"/>
                  <a:pt x="483" y="197"/>
                  <a:pt x="484" y="197"/>
                </a:cubicBezTo>
                <a:cubicBezTo>
                  <a:pt x="485" y="197"/>
                  <a:pt x="485" y="197"/>
                  <a:pt x="485" y="196"/>
                </a:cubicBezTo>
                <a:cubicBezTo>
                  <a:pt x="485" y="196"/>
                  <a:pt x="483" y="196"/>
                  <a:pt x="483" y="196"/>
                </a:cubicBezTo>
                <a:cubicBezTo>
                  <a:pt x="483" y="196"/>
                  <a:pt x="483" y="196"/>
                  <a:pt x="482" y="196"/>
                </a:cubicBezTo>
                <a:cubicBezTo>
                  <a:pt x="482" y="196"/>
                  <a:pt x="481" y="195"/>
                  <a:pt x="481" y="196"/>
                </a:cubicBezTo>
                <a:cubicBezTo>
                  <a:pt x="480" y="196"/>
                  <a:pt x="479" y="196"/>
                  <a:pt x="478" y="196"/>
                </a:cubicBezTo>
                <a:cubicBezTo>
                  <a:pt x="477" y="196"/>
                  <a:pt x="477" y="195"/>
                  <a:pt x="477" y="194"/>
                </a:cubicBezTo>
                <a:cubicBezTo>
                  <a:pt x="477" y="194"/>
                  <a:pt x="476" y="194"/>
                  <a:pt x="476" y="194"/>
                </a:cubicBezTo>
                <a:cubicBezTo>
                  <a:pt x="476" y="193"/>
                  <a:pt x="476" y="192"/>
                  <a:pt x="476" y="192"/>
                </a:cubicBezTo>
                <a:cubicBezTo>
                  <a:pt x="475" y="192"/>
                  <a:pt x="475" y="192"/>
                  <a:pt x="474" y="191"/>
                </a:cubicBezTo>
                <a:cubicBezTo>
                  <a:pt x="473" y="191"/>
                  <a:pt x="473" y="191"/>
                  <a:pt x="473" y="190"/>
                </a:cubicBezTo>
                <a:cubicBezTo>
                  <a:pt x="473" y="190"/>
                  <a:pt x="472" y="189"/>
                  <a:pt x="472" y="189"/>
                </a:cubicBezTo>
                <a:cubicBezTo>
                  <a:pt x="472" y="189"/>
                  <a:pt x="471" y="188"/>
                  <a:pt x="471" y="188"/>
                </a:cubicBezTo>
                <a:cubicBezTo>
                  <a:pt x="469" y="188"/>
                  <a:pt x="469" y="187"/>
                  <a:pt x="468" y="187"/>
                </a:cubicBezTo>
                <a:cubicBezTo>
                  <a:pt x="468" y="187"/>
                  <a:pt x="468" y="187"/>
                  <a:pt x="468" y="187"/>
                </a:cubicBezTo>
                <a:cubicBezTo>
                  <a:pt x="467" y="186"/>
                  <a:pt x="467" y="187"/>
                  <a:pt x="467" y="187"/>
                </a:cubicBezTo>
                <a:cubicBezTo>
                  <a:pt x="466" y="188"/>
                  <a:pt x="465" y="188"/>
                  <a:pt x="464" y="189"/>
                </a:cubicBezTo>
                <a:cubicBezTo>
                  <a:pt x="463" y="190"/>
                  <a:pt x="461" y="189"/>
                  <a:pt x="460" y="189"/>
                </a:cubicBezTo>
                <a:cubicBezTo>
                  <a:pt x="459" y="189"/>
                  <a:pt x="457" y="189"/>
                  <a:pt x="455" y="189"/>
                </a:cubicBezTo>
                <a:cubicBezTo>
                  <a:pt x="455" y="189"/>
                  <a:pt x="455" y="189"/>
                  <a:pt x="455" y="189"/>
                </a:cubicBezTo>
                <a:cubicBezTo>
                  <a:pt x="454" y="188"/>
                  <a:pt x="454" y="189"/>
                  <a:pt x="452" y="189"/>
                </a:cubicBezTo>
                <a:cubicBezTo>
                  <a:pt x="452" y="188"/>
                  <a:pt x="451" y="188"/>
                  <a:pt x="450" y="188"/>
                </a:cubicBezTo>
                <a:cubicBezTo>
                  <a:pt x="450" y="188"/>
                  <a:pt x="450" y="188"/>
                  <a:pt x="449" y="188"/>
                </a:cubicBezTo>
                <a:cubicBezTo>
                  <a:pt x="449" y="188"/>
                  <a:pt x="449" y="189"/>
                  <a:pt x="448" y="189"/>
                </a:cubicBezTo>
                <a:cubicBezTo>
                  <a:pt x="448" y="189"/>
                  <a:pt x="447" y="189"/>
                  <a:pt x="447" y="189"/>
                </a:cubicBezTo>
                <a:cubicBezTo>
                  <a:pt x="446" y="189"/>
                  <a:pt x="447" y="191"/>
                  <a:pt x="447" y="191"/>
                </a:cubicBezTo>
                <a:cubicBezTo>
                  <a:pt x="448" y="192"/>
                  <a:pt x="448" y="192"/>
                  <a:pt x="449" y="191"/>
                </a:cubicBezTo>
                <a:cubicBezTo>
                  <a:pt x="449" y="193"/>
                  <a:pt x="449" y="193"/>
                  <a:pt x="448" y="193"/>
                </a:cubicBezTo>
                <a:cubicBezTo>
                  <a:pt x="449" y="194"/>
                  <a:pt x="448" y="194"/>
                  <a:pt x="448" y="196"/>
                </a:cubicBezTo>
                <a:cubicBezTo>
                  <a:pt x="447" y="196"/>
                  <a:pt x="447" y="196"/>
                  <a:pt x="446" y="197"/>
                </a:cubicBezTo>
                <a:cubicBezTo>
                  <a:pt x="446" y="197"/>
                  <a:pt x="447" y="198"/>
                  <a:pt x="446" y="198"/>
                </a:cubicBezTo>
                <a:cubicBezTo>
                  <a:pt x="446" y="199"/>
                  <a:pt x="447" y="199"/>
                  <a:pt x="448" y="199"/>
                </a:cubicBezTo>
                <a:cubicBezTo>
                  <a:pt x="448" y="199"/>
                  <a:pt x="448" y="200"/>
                  <a:pt x="448" y="200"/>
                </a:cubicBezTo>
                <a:cubicBezTo>
                  <a:pt x="447" y="200"/>
                  <a:pt x="447" y="201"/>
                  <a:pt x="447" y="201"/>
                </a:cubicBezTo>
                <a:cubicBezTo>
                  <a:pt x="447" y="202"/>
                  <a:pt x="447" y="204"/>
                  <a:pt x="448" y="204"/>
                </a:cubicBezTo>
                <a:cubicBezTo>
                  <a:pt x="448" y="204"/>
                  <a:pt x="448" y="204"/>
                  <a:pt x="448" y="205"/>
                </a:cubicBezTo>
                <a:cubicBezTo>
                  <a:pt x="448" y="205"/>
                  <a:pt x="448" y="205"/>
                  <a:pt x="448" y="205"/>
                </a:cubicBezTo>
                <a:cubicBezTo>
                  <a:pt x="449" y="205"/>
                  <a:pt x="449" y="205"/>
                  <a:pt x="449" y="206"/>
                </a:cubicBezTo>
                <a:cubicBezTo>
                  <a:pt x="449" y="207"/>
                  <a:pt x="448" y="206"/>
                  <a:pt x="448" y="207"/>
                </a:cubicBezTo>
                <a:cubicBezTo>
                  <a:pt x="448" y="207"/>
                  <a:pt x="448" y="207"/>
                  <a:pt x="448" y="208"/>
                </a:cubicBezTo>
                <a:cubicBezTo>
                  <a:pt x="448" y="207"/>
                  <a:pt x="447" y="207"/>
                  <a:pt x="447" y="207"/>
                </a:cubicBezTo>
                <a:cubicBezTo>
                  <a:pt x="447" y="208"/>
                  <a:pt x="447" y="208"/>
                  <a:pt x="447" y="209"/>
                </a:cubicBezTo>
                <a:cubicBezTo>
                  <a:pt x="447" y="211"/>
                  <a:pt x="446" y="210"/>
                  <a:pt x="445" y="211"/>
                </a:cubicBezTo>
                <a:cubicBezTo>
                  <a:pt x="444" y="211"/>
                  <a:pt x="443" y="211"/>
                  <a:pt x="443" y="212"/>
                </a:cubicBezTo>
                <a:cubicBezTo>
                  <a:pt x="443" y="212"/>
                  <a:pt x="443" y="212"/>
                  <a:pt x="443" y="212"/>
                </a:cubicBezTo>
                <a:cubicBezTo>
                  <a:pt x="442" y="212"/>
                  <a:pt x="442" y="213"/>
                  <a:pt x="442" y="213"/>
                </a:cubicBezTo>
                <a:cubicBezTo>
                  <a:pt x="442" y="215"/>
                  <a:pt x="443" y="215"/>
                  <a:pt x="444" y="215"/>
                </a:cubicBezTo>
                <a:cubicBezTo>
                  <a:pt x="444" y="215"/>
                  <a:pt x="445" y="216"/>
                  <a:pt x="445" y="216"/>
                </a:cubicBezTo>
                <a:cubicBezTo>
                  <a:pt x="445" y="217"/>
                  <a:pt x="445" y="217"/>
                  <a:pt x="446" y="217"/>
                </a:cubicBezTo>
                <a:cubicBezTo>
                  <a:pt x="447" y="218"/>
                  <a:pt x="448" y="217"/>
                  <a:pt x="448" y="218"/>
                </a:cubicBezTo>
                <a:cubicBezTo>
                  <a:pt x="448" y="219"/>
                  <a:pt x="448" y="219"/>
                  <a:pt x="448" y="219"/>
                </a:cubicBezTo>
                <a:cubicBezTo>
                  <a:pt x="449" y="220"/>
                  <a:pt x="449" y="220"/>
                  <a:pt x="449" y="221"/>
                </a:cubicBezTo>
                <a:cubicBezTo>
                  <a:pt x="449" y="222"/>
                  <a:pt x="449" y="222"/>
                  <a:pt x="450" y="223"/>
                </a:cubicBezTo>
                <a:cubicBezTo>
                  <a:pt x="451" y="224"/>
                  <a:pt x="451" y="225"/>
                  <a:pt x="451" y="226"/>
                </a:cubicBezTo>
                <a:cubicBezTo>
                  <a:pt x="452" y="227"/>
                  <a:pt x="452" y="227"/>
                  <a:pt x="452" y="227"/>
                </a:cubicBezTo>
                <a:cubicBezTo>
                  <a:pt x="453" y="227"/>
                  <a:pt x="453" y="227"/>
                  <a:pt x="453" y="227"/>
                </a:cubicBezTo>
                <a:cubicBezTo>
                  <a:pt x="453" y="228"/>
                  <a:pt x="453" y="228"/>
                  <a:pt x="454" y="228"/>
                </a:cubicBezTo>
                <a:cubicBezTo>
                  <a:pt x="453" y="229"/>
                  <a:pt x="452" y="230"/>
                  <a:pt x="452" y="231"/>
                </a:cubicBezTo>
                <a:cubicBezTo>
                  <a:pt x="452" y="232"/>
                  <a:pt x="452" y="234"/>
                  <a:pt x="452" y="234"/>
                </a:cubicBezTo>
                <a:cubicBezTo>
                  <a:pt x="453" y="234"/>
                  <a:pt x="453" y="233"/>
                  <a:pt x="453" y="232"/>
                </a:cubicBezTo>
                <a:cubicBezTo>
                  <a:pt x="453" y="231"/>
                  <a:pt x="454" y="234"/>
                  <a:pt x="454" y="235"/>
                </a:cubicBezTo>
                <a:cubicBezTo>
                  <a:pt x="454" y="235"/>
                  <a:pt x="453" y="235"/>
                  <a:pt x="452" y="235"/>
                </a:cubicBezTo>
                <a:cubicBezTo>
                  <a:pt x="451" y="235"/>
                  <a:pt x="452" y="235"/>
                  <a:pt x="452" y="235"/>
                </a:cubicBezTo>
                <a:cubicBezTo>
                  <a:pt x="451" y="235"/>
                  <a:pt x="451" y="236"/>
                  <a:pt x="451" y="236"/>
                </a:cubicBezTo>
                <a:cubicBezTo>
                  <a:pt x="451" y="237"/>
                  <a:pt x="451" y="237"/>
                  <a:pt x="450" y="238"/>
                </a:cubicBezTo>
                <a:cubicBezTo>
                  <a:pt x="449" y="238"/>
                  <a:pt x="449" y="239"/>
                  <a:pt x="449" y="240"/>
                </a:cubicBezTo>
                <a:cubicBezTo>
                  <a:pt x="448" y="240"/>
                  <a:pt x="447" y="241"/>
                  <a:pt x="446" y="242"/>
                </a:cubicBezTo>
                <a:cubicBezTo>
                  <a:pt x="446" y="242"/>
                  <a:pt x="446" y="242"/>
                  <a:pt x="446" y="243"/>
                </a:cubicBezTo>
                <a:cubicBezTo>
                  <a:pt x="446" y="243"/>
                  <a:pt x="444" y="243"/>
                  <a:pt x="444" y="244"/>
                </a:cubicBezTo>
                <a:cubicBezTo>
                  <a:pt x="443" y="244"/>
                  <a:pt x="440" y="245"/>
                  <a:pt x="440" y="246"/>
                </a:cubicBezTo>
                <a:cubicBezTo>
                  <a:pt x="440" y="247"/>
                  <a:pt x="440" y="248"/>
                  <a:pt x="440" y="249"/>
                </a:cubicBezTo>
                <a:cubicBezTo>
                  <a:pt x="440" y="250"/>
                  <a:pt x="440" y="250"/>
                  <a:pt x="441" y="251"/>
                </a:cubicBezTo>
                <a:cubicBezTo>
                  <a:pt x="441" y="251"/>
                  <a:pt x="442" y="252"/>
                  <a:pt x="442" y="252"/>
                </a:cubicBezTo>
                <a:cubicBezTo>
                  <a:pt x="442" y="254"/>
                  <a:pt x="442" y="255"/>
                  <a:pt x="442" y="257"/>
                </a:cubicBezTo>
                <a:cubicBezTo>
                  <a:pt x="442" y="256"/>
                  <a:pt x="442" y="258"/>
                  <a:pt x="442" y="259"/>
                </a:cubicBezTo>
                <a:cubicBezTo>
                  <a:pt x="442" y="259"/>
                  <a:pt x="444" y="260"/>
                  <a:pt x="442" y="260"/>
                </a:cubicBezTo>
                <a:cubicBezTo>
                  <a:pt x="442" y="261"/>
                  <a:pt x="443" y="261"/>
                  <a:pt x="443" y="262"/>
                </a:cubicBezTo>
                <a:cubicBezTo>
                  <a:pt x="443" y="262"/>
                  <a:pt x="443" y="262"/>
                  <a:pt x="443" y="262"/>
                </a:cubicBezTo>
                <a:cubicBezTo>
                  <a:pt x="443" y="263"/>
                  <a:pt x="443" y="263"/>
                  <a:pt x="442" y="263"/>
                </a:cubicBezTo>
                <a:cubicBezTo>
                  <a:pt x="442" y="264"/>
                  <a:pt x="442" y="265"/>
                  <a:pt x="441" y="265"/>
                </a:cubicBezTo>
                <a:cubicBezTo>
                  <a:pt x="442" y="266"/>
                  <a:pt x="442" y="266"/>
                  <a:pt x="442" y="267"/>
                </a:cubicBezTo>
                <a:cubicBezTo>
                  <a:pt x="441" y="267"/>
                  <a:pt x="442" y="267"/>
                  <a:pt x="441" y="267"/>
                </a:cubicBezTo>
                <a:cubicBezTo>
                  <a:pt x="441" y="267"/>
                  <a:pt x="441" y="267"/>
                  <a:pt x="440" y="267"/>
                </a:cubicBezTo>
                <a:cubicBezTo>
                  <a:pt x="439" y="267"/>
                  <a:pt x="440" y="267"/>
                  <a:pt x="439" y="268"/>
                </a:cubicBezTo>
                <a:cubicBezTo>
                  <a:pt x="438" y="268"/>
                  <a:pt x="439" y="268"/>
                  <a:pt x="439" y="269"/>
                </a:cubicBezTo>
                <a:cubicBezTo>
                  <a:pt x="437" y="269"/>
                  <a:pt x="435" y="269"/>
                  <a:pt x="434" y="269"/>
                </a:cubicBezTo>
                <a:cubicBezTo>
                  <a:pt x="434" y="268"/>
                  <a:pt x="434" y="268"/>
                  <a:pt x="434" y="268"/>
                </a:cubicBezTo>
                <a:cubicBezTo>
                  <a:pt x="434" y="268"/>
                  <a:pt x="433" y="266"/>
                  <a:pt x="432" y="265"/>
                </a:cubicBezTo>
                <a:cubicBezTo>
                  <a:pt x="431" y="265"/>
                  <a:pt x="431" y="265"/>
                  <a:pt x="431" y="264"/>
                </a:cubicBezTo>
                <a:cubicBezTo>
                  <a:pt x="430" y="264"/>
                  <a:pt x="430" y="264"/>
                  <a:pt x="429" y="263"/>
                </a:cubicBezTo>
                <a:cubicBezTo>
                  <a:pt x="429" y="263"/>
                  <a:pt x="430" y="262"/>
                  <a:pt x="429" y="261"/>
                </a:cubicBezTo>
                <a:cubicBezTo>
                  <a:pt x="429" y="261"/>
                  <a:pt x="429" y="260"/>
                  <a:pt x="428" y="260"/>
                </a:cubicBezTo>
                <a:cubicBezTo>
                  <a:pt x="428" y="259"/>
                  <a:pt x="427" y="259"/>
                  <a:pt x="426" y="259"/>
                </a:cubicBezTo>
                <a:cubicBezTo>
                  <a:pt x="427" y="257"/>
                  <a:pt x="427" y="256"/>
                  <a:pt x="427" y="255"/>
                </a:cubicBezTo>
                <a:cubicBezTo>
                  <a:pt x="426" y="255"/>
                  <a:pt x="428" y="250"/>
                  <a:pt x="426" y="250"/>
                </a:cubicBezTo>
                <a:cubicBezTo>
                  <a:pt x="426" y="249"/>
                  <a:pt x="426" y="249"/>
                  <a:pt x="426" y="248"/>
                </a:cubicBezTo>
                <a:cubicBezTo>
                  <a:pt x="426" y="247"/>
                  <a:pt x="426" y="248"/>
                  <a:pt x="426" y="248"/>
                </a:cubicBezTo>
                <a:cubicBezTo>
                  <a:pt x="427" y="246"/>
                  <a:pt x="427" y="245"/>
                  <a:pt x="427" y="243"/>
                </a:cubicBezTo>
                <a:cubicBezTo>
                  <a:pt x="426" y="243"/>
                  <a:pt x="424" y="243"/>
                  <a:pt x="424" y="243"/>
                </a:cubicBezTo>
                <a:cubicBezTo>
                  <a:pt x="424" y="242"/>
                  <a:pt x="423" y="243"/>
                  <a:pt x="423" y="242"/>
                </a:cubicBezTo>
                <a:cubicBezTo>
                  <a:pt x="423" y="242"/>
                  <a:pt x="422" y="242"/>
                  <a:pt x="421" y="242"/>
                </a:cubicBezTo>
                <a:cubicBezTo>
                  <a:pt x="422" y="241"/>
                  <a:pt x="420" y="242"/>
                  <a:pt x="420" y="241"/>
                </a:cubicBezTo>
                <a:cubicBezTo>
                  <a:pt x="419" y="241"/>
                  <a:pt x="418" y="241"/>
                  <a:pt x="417" y="242"/>
                </a:cubicBezTo>
                <a:cubicBezTo>
                  <a:pt x="417" y="242"/>
                  <a:pt x="417" y="241"/>
                  <a:pt x="416" y="241"/>
                </a:cubicBezTo>
                <a:cubicBezTo>
                  <a:pt x="416" y="242"/>
                  <a:pt x="416" y="242"/>
                  <a:pt x="415" y="242"/>
                </a:cubicBezTo>
                <a:cubicBezTo>
                  <a:pt x="415" y="242"/>
                  <a:pt x="414" y="242"/>
                  <a:pt x="414" y="242"/>
                </a:cubicBezTo>
                <a:cubicBezTo>
                  <a:pt x="414" y="242"/>
                  <a:pt x="413" y="241"/>
                  <a:pt x="413" y="241"/>
                </a:cubicBezTo>
                <a:cubicBezTo>
                  <a:pt x="412" y="241"/>
                  <a:pt x="412" y="241"/>
                  <a:pt x="412" y="240"/>
                </a:cubicBezTo>
                <a:cubicBezTo>
                  <a:pt x="412" y="240"/>
                  <a:pt x="411" y="240"/>
                  <a:pt x="411" y="240"/>
                </a:cubicBezTo>
                <a:cubicBezTo>
                  <a:pt x="410" y="240"/>
                  <a:pt x="410" y="240"/>
                  <a:pt x="409" y="239"/>
                </a:cubicBezTo>
                <a:cubicBezTo>
                  <a:pt x="409" y="238"/>
                  <a:pt x="409" y="238"/>
                  <a:pt x="408" y="238"/>
                </a:cubicBezTo>
                <a:cubicBezTo>
                  <a:pt x="407" y="238"/>
                  <a:pt x="406" y="238"/>
                  <a:pt x="405" y="238"/>
                </a:cubicBezTo>
                <a:cubicBezTo>
                  <a:pt x="404" y="237"/>
                  <a:pt x="404" y="237"/>
                  <a:pt x="404" y="236"/>
                </a:cubicBezTo>
                <a:cubicBezTo>
                  <a:pt x="403" y="236"/>
                  <a:pt x="402" y="236"/>
                  <a:pt x="401" y="236"/>
                </a:cubicBezTo>
                <a:cubicBezTo>
                  <a:pt x="401" y="235"/>
                  <a:pt x="400" y="232"/>
                  <a:pt x="399" y="232"/>
                </a:cubicBezTo>
                <a:cubicBezTo>
                  <a:pt x="399" y="232"/>
                  <a:pt x="399" y="231"/>
                  <a:pt x="399" y="231"/>
                </a:cubicBezTo>
                <a:cubicBezTo>
                  <a:pt x="398" y="231"/>
                  <a:pt x="397" y="231"/>
                  <a:pt x="396" y="231"/>
                </a:cubicBezTo>
                <a:cubicBezTo>
                  <a:pt x="396" y="231"/>
                  <a:pt x="395" y="229"/>
                  <a:pt x="395" y="229"/>
                </a:cubicBezTo>
                <a:cubicBezTo>
                  <a:pt x="394" y="229"/>
                  <a:pt x="393" y="229"/>
                  <a:pt x="393" y="229"/>
                </a:cubicBezTo>
                <a:cubicBezTo>
                  <a:pt x="393" y="229"/>
                  <a:pt x="393" y="229"/>
                  <a:pt x="392" y="229"/>
                </a:cubicBezTo>
                <a:cubicBezTo>
                  <a:pt x="392" y="229"/>
                  <a:pt x="391" y="229"/>
                  <a:pt x="391" y="228"/>
                </a:cubicBezTo>
                <a:cubicBezTo>
                  <a:pt x="391" y="228"/>
                  <a:pt x="390" y="227"/>
                  <a:pt x="390" y="227"/>
                </a:cubicBezTo>
                <a:cubicBezTo>
                  <a:pt x="390" y="227"/>
                  <a:pt x="389" y="227"/>
                  <a:pt x="389" y="227"/>
                </a:cubicBezTo>
                <a:cubicBezTo>
                  <a:pt x="389" y="227"/>
                  <a:pt x="387" y="226"/>
                  <a:pt x="387" y="226"/>
                </a:cubicBezTo>
                <a:cubicBezTo>
                  <a:pt x="386" y="226"/>
                  <a:pt x="386" y="226"/>
                  <a:pt x="386" y="225"/>
                </a:cubicBezTo>
                <a:cubicBezTo>
                  <a:pt x="385" y="225"/>
                  <a:pt x="384" y="226"/>
                  <a:pt x="383" y="226"/>
                </a:cubicBezTo>
                <a:cubicBezTo>
                  <a:pt x="383" y="226"/>
                  <a:pt x="383" y="226"/>
                  <a:pt x="383" y="226"/>
                </a:cubicBezTo>
                <a:cubicBezTo>
                  <a:pt x="382" y="226"/>
                  <a:pt x="382" y="226"/>
                  <a:pt x="382" y="226"/>
                </a:cubicBezTo>
                <a:cubicBezTo>
                  <a:pt x="382" y="226"/>
                  <a:pt x="382" y="226"/>
                  <a:pt x="381" y="226"/>
                </a:cubicBezTo>
                <a:cubicBezTo>
                  <a:pt x="380" y="226"/>
                  <a:pt x="380" y="227"/>
                  <a:pt x="379" y="227"/>
                </a:cubicBezTo>
                <a:cubicBezTo>
                  <a:pt x="379" y="227"/>
                  <a:pt x="378" y="226"/>
                  <a:pt x="379" y="225"/>
                </a:cubicBezTo>
                <a:cubicBezTo>
                  <a:pt x="379" y="226"/>
                  <a:pt x="379" y="225"/>
                  <a:pt x="379" y="225"/>
                </a:cubicBezTo>
                <a:cubicBezTo>
                  <a:pt x="379" y="225"/>
                  <a:pt x="378" y="224"/>
                  <a:pt x="378" y="223"/>
                </a:cubicBezTo>
                <a:cubicBezTo>
                  <a:pt x="378" y="223"/>
                  <a:pt x="377" y="223"/>
                  <a:pt x="377" y="222"/>
                </a:cubicBezTo>
                <a:cubicBezTo>
                  <a:pt x="377" y="222"/>
                  <a:pt x="377" y="222"/>
                  <a:pt x="377" y="222"/>
                </a:cubicBezTo>
                <a:cubicBezTo>
                  <a:pt x="377" y="221"/>
                  <a:pt x="377" y="221"/>
                  <a:pt x="377" y="221"/>
                </a:cubicBezTo>
                <a:cubicBezTo>
                  <a:pt x="377" y="221"/>
                  <a:pt x="377" y="220"/>
                  <a:pt x="377" y="220"/>
                </a:cubicBezTo>
                <a:cubicBezTo>
                  <a:pt x="377" y="219"/>
                  <a:pt x="376" y="219"/>
                  <a:pt x="376" y="218"/>
                </a:cubicBezTo>
                <a:cubicBezTo>
                  <a:pt x="376" y="218"/>
                  <a:pt x="376" y="217"/>
                  <a:pt x="375" y="217"/>
                </a:cubicBezTo>
                <a:cubicBezTo>
                  <a:pt x="375" y="217"/>
                  <a:pt x="375" y="216"/>
                  <a:pt x="375" y="216"/>
                </a:cubicBezTo>
                <a:cubicBezTo>
                  <a:pt x="374" y="216"/>
                  <a:pt x="374" y="215"/>
                  <a:pt x="374" y="214"/>
                </a:cubicBezTo>
                <a:cubicBezTo>
                  <a:pt x="372" y="214"/>
                  <a:pt x="371" y="215"/>
                  <a:pt x="370" y="215"/>
                </a:cubicBezTo>
                <a:cubicBezTo>
                  <a:pt x="370" y="214"/>
                  <a:pt x="369" y="214"/>
                  <a:pt x="369" y="215"/>
                </a:cubicBezTo>
                <a:cubicBezTo>
                  <a:pt x="368" y="215"/>
                  <a:pt x="367" y="215"/>
                  <a:pt x="367" y="214"/>
                </a:cubicBezTo>
                <a:cubicBezTo>
                  <a:pt x="366" y="213"/>
                  <a:pt x="366" y="211"/>
                  <a:pt x="366" y="210"/>
                </a:cubicBezTo>
                <a:cubicBezTo>
                  <a:pt x="366" y="210"/>
                  <a:pt x="365" y="210"/>
                  <a:pt x="365" y="210"/>
                </a:cubicBezTo>
                <a:cubicBezTo>
                  <a:pt x="365" y="209"/>
                  <a:pt x="365" y="209"/>
                  <a:pt x="365" y="209"/>
                </a:cubicBezTo>
                <a:cubicBezTo>
                  <a:pt x="365" y="208"/>
                  <a:pt x="366" y="208"/>
                  <a:pt x="366" y="208"/>
                </a:cubicBezTo>
                <a:cubicBezTo>
                  <a:pt x="366" y="207"/>
                  <a:pt x="366" y="207"/>
                  <a:pt x="366" y="206"/>
                </a:cubicBezTo>
                <a:cubicBezTo>
                  <a:pt x="366" y="205"/>
                  <a:pt x="366" y="205"/>
                  <a:pt x="366" y="205"/>
                </a:cubicBezTo>
                <a:cubicBezTo>
                  <a:pt x="366" y="204"/>
                  <a:pt x="366" y="204"/>
                  <a:pt x="366" y="204"/>
                </a:cubicBezTo>
                <a:cubicBezTo>
                  <a:pt x="367" y="204"/>
                  <a:pt x="367" y="203"/>
                  <a:pt x="367" y="203"/>
                </a:cubicBezTo>
                <a:cubicBezTo>
                  <a:pt x="368" y="203"/>
                  <a:pt x="368" y="202"/>
                  <a:pt x="368" y="202"/>
                </a:cubicBezTo>
                <a:cubicBezTo>
                  <a:pt x="368" y="202"/>
                  <a:pt x="367" y="201"/>
                  <a:pt x="367" y="201"/>
                </a:cubicBezTo>
                <a:cubicBezTo>
                  <a:pt x="367" y="200"/>
                  <a:pt x="369" y="200"/>
                  <a:pt x="370" y="200"/>
                </a:cubicBezTo>
                <a:cubicBezTo>
                  <a:pt x="371" y="200"/>
                  <a:pt x="371" y="199"/>
                  <a:pt x="370" y="199"/>
                </a:cubicBezTo>
                <a:cubicBezTo>
                  <a:pt x="370" y="199"/>
                  <a:pt x="370" y="198"/>
                  <a:pt x="370" y="198"/>
                </a:cubicBezTo>
                <a:cubicBezTo>
                  <a:pt x="370" y="197"/>
                  <a:pt x="371" y="197"/>
                  <a:pt x="372" y="196"/>
                </a:cubicBezTo>
                <a:cubicBezTo>
                  <a:pt x="372" y="196"/>
                  <a:pt x="373" y="195"/>
                  <a:pt x="373" y="195"/>
                </a:cubicBezTo>
                <a:cubicBezTo>
                  <a:pt x="373" y="195"/>
                  <a:pt x="373" y="194"/>
                  <a:pt x="373" y="194"/>
                </a:cubicBezTo>
                <a:cubicBezTo>
                  <a:pt x="374" y="194"/>
                  <a:pt x="374" y="194"/>
                  <a:pt x="375" y="194"/>
                </a:cubicBezTo>
                <a:cubicBezTo>
                  <a:pt x="375" y="194"/>
                  <a:pt x="375" y="193"/>
                  <a:pt x="376" y="193"/>
                </a:cubicBezTo>
                <a:cubicBezTo>
                  <a:pt x="376" y="193"/>
                  <a:pt x="376" y="192"/>
                  <a:pt x="376" y="192"/>
                </a:cubicBezTo>
                <a:cubicBezTo>
                  <a:pt x="377" y="192"/>
                  <a:pt x="375" y="190"/>
                  <a:pt x="376" y="190"/>
                </a:cubicBezTo>
                <a:cubicBezTo>
                  <a:pt x="378" y="190"/>
                  <a:pt x="377" y="190"/>
                  <a:pt x="377" y="189"/>
                </a:cubicBezTo>
                <a:cubicBezTo>
                  <a:pt x="378" y="189"/>
                  <a:pt x="378" y="189"/>
                  <a:pt x="379" y="189"/>
                </a:cubicBezTo>
                <a:cubicBezTo>
                  <a:pt x="380" y="189"/>
                  <a:pt x="381" y="189"/>
                  <a:pt x="380" y="189"/>
                </a:cubicBezTo>
                <a:cubicBezTo>
                  <a:pt x="380" y="189"/>
                  <a:pt x="378" y="188"/>
                  <a:pt x="379" y="188"/>
                </a:cubicBezTo>
                <a:cubicBezTo>
                  <a:pt x="381" y="188"/>
                  <a:pt x="381" y="188"/>
                  <a:pt x="381" y="187"/>
                </a:cubicBezTo>
                <a:cubicBezTo>
                  <a:pt x="380" y="187"/>
                  <a:pt x="381" y="187"/>
                  <a:pt x="380" y="186"/>
                </a:cubicBezTo>
                <a:cubicBezTo>
                  <a:pt x="381" y="186"/>
                  <a:pt x="381" y="186"/>
                  <a:pt x="382" y="186"/>
                </a:cubicBezTo>
                <a:cubicBezTo>
                  <a:pt x="383" y="186"/>
                  <a:pt x="384" y="187"/>
                  <a:pt x="385" y="187"/>
                </a:cubicBezTo>
                <a:cubicBezTo>
                  <a:pt x="385" y="187"/>
                  <a:pt x="385" y="186"/>
                  <a:pt x="385" y="186"/>
                </a:cubicBezTo>
                <a:cubicBezTo>
                  <a:pt x="385" y="186"/>
                  <a:pt x="386" y="186"/>
                  <a:pt x="386" y="186"/>
                </a:cubicBezTo>
                <a:cubicBezTo>
                  <a:pt x="386" y="186"/>
                  <a:pt x="387" y="185"/>
                  <a:pt x="387" y="185"/>
                </a:cubicBezTo>
                <a:cubicBezTo>
                  <a:pt x="388" y="184"/>
                  <a:pt x="387" y="183"/>
                  <a:pt x="387" y="182"/>
                </a:cubicBezTo>
                <a:cubicBezTo>
                  <a:pt x="387" y="182"/>
                  <a:pt x="386" y="183"/>
                  <a:pt x="386" y="182"/>
                </a:cubicBezTo>
                <a:cubicBezTo>
                  <a:pt x="386" y="182"/>
                  <a:pt x="386" y="181"/>
                  <a:pt x="386" y="181"/>
                </a:cubicBezTo>
                <a:cubicBezTo>
                  <a:pt x="386" y="180"/>
                  <a:pt x="386" y="180"/>
                  <a:pt x="386" y="180"/>
                </a:cubicBezTo>
                <a:cubicBezTo>
                  <a:pt x="386" y="180"/>
                  <a:pt x="388" y="181"/>
                  <a:pt x="388" y="180"/>
                </a:cubicBezTo>
                <a:cubicBezTo>
                  <a:pt x="388" y="180"/>
                  <a:pt x="388" y="180"/>
                  <a:pt x="389" y="179"/>
                </a:cubicBezTo>
                <a:cubicBezTo>
                  <a:pt x="389" y="179"/>
                  <a:pt x="389" y="179"/>
                  <a:pt x="390" y="178"/>
                </a:cubicBezTo>
                <a:cubicBezTo>
                  <a:pt x="388" y="178"/>
                  <a:pt x="389" y="176"/>
                  <a:pt x="389" y="175"/>
                </a:cubicBezTo>
                <a:cubicBezTo>
                  <a:pt x="390" y="175"/>
                  <a:pt x="390" y="175"/>
                  <a:pt x="391" y="175"/>
                </a:cubicBezTo>
                <a:cubicBezTo>
                  <a:pt x="392" y="175"/>
                  <a:pt x="392" y="175"/>
                  <a:pt x="392" y="174"/>
                </a:cubicBezTo>
                <a:cubicBezTo>
                  <a:pt x="392" y="174"/>
                  <a:pt x="392" y="174"/>
                  <a:pt x="392" y="174"/>
                </a:cubicBezTo>
                <a:cubicBezTo>
                  <a:pt x="393" y="174"/>
                  <a:pt x="393" y="174"/>
                  <a:pt x="393" y="174"/>
                </a:cubicBezTo>
                <a:cubicBezTo>
                  <a:pt x="393" y="174"/>
                  <a:pt x="394" y="174"/>
                  <a:pt x="394" y="174"/>
                </a:cubicBezTo>
                <a:cubicBezTo>
                  <a:pt x="395" y="174"/>
                  <a:pt x="395" y="175"/>
                  <a:pt x="395" y="175"/>
                </a:cubicBezTo>
                <a:cubicBezTo>
                  <a:pt x="397" y="175"/>
                  <a:pt x="396" y="175"/>
                  <a:pt x="397" y="176"/>
                </a:cubicBezTo>
                <a:cubicBezTo>
                  <a:pt x="397" y="175"/>
                  <a:pt x="397" y="175"/>
                  <a:pt x="398" y="175"/>
                </a:cubicBezTo>
                <a:cubicBezTo>
                  <a:pt x="399" y="175"/>
                  <a:pt x="400" y="174"/>
                  <a:pt x="400" y="174"/>
                </a:cubicBezTo>
                <a:cubicBezTo>
                  <a:pt x="402" y="174"/>
                  <a:pt x="402" y="173"/>
                  <a:pt x="402" y="171"/>
                </a:cubicBezTo>
                <a:cubicBezTo>
                  <a:pt x="401" y="170"/>
                  <a:pt x="402" y="169"/>
                  <a:pt x="403" y="168"/>
                </a:cubicBezTo>
                <a:cubicBezTo>
                  <a:pt x="404" y="168"/>
                  <a:pt x="403" y="168"/>
                  <a:pt x="402" y="168"/>
                </a:cubicBezTo>
                <a:cubicBezTo>
                  <a:pt x="402" y="168"/>
                  <a:pt x="401" y="168"/>
                  <a:pt x="401" y="168"/>
                </a:cubicBezTo>
                <a:cubicBezTo>
                  <a:pt x="401" y="168"/>
                  <a:pt x="401" y="167"/>
                  <a:pt x="401" y="167"/>
                </a:cubicBezTo>
                <a:cubicBezTo>
                  <a:pt x="400" y="167"/>
                  <a:pt x="400" y="167"/>
                  <a:pt x="399" y="167"/>
                </a:cubicBezTo>
                <a:cubicBezTo>
                  <a:pt x="397" y="167"/>
                  <a:pt x="396" y="166"/>
                  <a:pt x="394" y="167"/>
                </a:cubicBezTo>
                <a:cubicBezTo>
                  <a:pt x="393" y="167"/>
                  <a:pt x="391" y="167"/>
                  <a:pt x="390" y="167"/>
                </a:cubicBezTo>
                <a:cubicBezTo>
                  <a:pt x="389" y="167"/>
                  <a:pt x="388" y="167"/>
                  <a:pt x="387" y="167"/>
                </a:cubicBezTo>
                <a:cubicBezTo>
                  <a:pt x="387" y="167"/>
                  <a:pt x="388" y="166"/>
                  <a:pt x="388" y="166"/>
                </a:cubicBezTo>
                <a:cubicBezTo>
                  <a:pt x="388" y="166"/>
                  <a:pt x="389" y="166"/>
                  <a:pt x="390" y="166"/>
                </a:cubicBezTo>
                <a:cubicBezTo>
                  <a:pt x="390" y="165"/>
                  <a:pt x="391" y="166"/>
                  <a:pt x="392" y="166"/>
                </a:cubicBezTo>
                <a:cubicBezTo>
                  <a:pt x="392" y="166"/>
                  <a:pt x="393" y="165"/>
                  <a:pt x="392" y="165"/>
                </a:cubicBezTo>
                <a:cubicBezTo>
                  <a:pt x="392" y="165"/>
                  <a:pt x="392" y="165"/>
                  <a:pt x="391" y="165"/>
                </a:cubicBezTo>
                <a:cubicBezTo>
                  <a:pt x="392" y="164"/>
                  <a:pt x="392" y="164"/>
                  <a:pt x="392" y="163"/>
                </a:cubicBezTo>
                <a:cubicBezTo>
                  <a:pt x="392" y="163"/>
                  <a:pt x="392" y="163"/>
                  <a:pt x="392" y="163"/>
                </a:cubicBezTo>
                <a:cubicBezTo>
                  <a:pt x="393" y="163"/>
                  <a:pt x="393" y="163"/>
                  <a:pt x="393" y="164"/>
                </a:cubicBezTo>
                <a:cubicBezTo>
                  <a:pt x="393" y="164"/>
                  <a:pt x="394" y="164"/>
                  <a:pt x="394" y="164"/>
                </a:cubicBezTo>
                <a:cubicBezTo>
                  <a:pt x="395" y="164"/>
                  <a:pt x="395" y="165"/>
                  <a:pt x="396" y="164"/>
                </a:cubicBezTo>
                <a:cubicBezTo>
                  <a:pt x="396" y="163"/>
                  <a:pt x="397" y="163"/>
                  <a:pt x="397" y="164"/>
                </a:cubicBezTo>
                <a:cubicBezTo>
                  <a:pt x="398" y="165"/>
                  <a:pt x="399" y="164"/>
                  <a:pt x="399" y="164"/>
                </a:cubicBezTo>
                <a:cubicBezTo>
                  <a:pt x="401" y="164"/>
                  <a:pt x="401" y="164"/>
                  <a:pt x="402" y="165"/>
                </a:cubicBezTo>
                <a:cubicBezTo>
                  <a:pt x="402" y="166"/>
                  <a:pt x="403" y="167"/>
                  <a:pt x="404" y="167"/>
                </a:cubicBezTo>
                <a:cubicBezTo>
                  <a:pt x="404" y="167"/>
                  <a:pt x="405" y="167"/>
                  <a:pt x="405" y="167"/>
                </a:cubicBezTo>
                <a:cubicBezTo>
                  <a:pt x="405" y="167"/>
                  <a:pt x="406" y="167"/>
                  <a:pt x="405" y="166"/>
                </a:cubicBezTo>
                <a:cubicBezTo>
                  <a:pt x="406" y="166"/>
                  <a:pt x="406" y="165"/>
                  <a:pt x="406" y="164"/>
                </a:cubicBezTo>
                <a:cubicBezTo>
                  <a:pt x="407" y="164"/>
                  <a:pt x="407" y="164"/>
                  <a:pt x="407" y="164"/>
                </a:cubicBezTo>
                <a:cubicBezTo>
                  <a:pt x="407" y="163"/>
                  <a:pt x="407" y="162"/>
                  <a:pt x="407" y="162"/>
                </a:cubicBezTo>
                <a:cubicBezTo>
                  <a:pt x="407" y="161"/>
                  <a:pt x="407" y="161"/>
                  <a:pt x="407" y="160"/>
                </a:cubicBezTo>
                <a:cubicBezTo>
                  <a:pt x="407" y="160"/>
                  <a:pt x="405" y="160"/>
                  <a:pt x="406" y="160"/>
                </a:cubicBezTo>
                <a:cubicBezTo>
                  <a:pt x="406" y="159"/>
                  <a:pt x="407" y="159"/>
                  <a:pt x="408" y="159"/>
                </a:cubicBezTo>
                <a:cubicBezTo>
                  <a:pt x="408" y="159"/>
                  <a:pt x="409" y="159"/>
                  <a:pt x="409" y="159"/>
                </a:cubicBezTo>
                <a:cubicBezTo>
                  <a:pt x="409" y="159"/>
                  <a:pt x="409" y="159"/>
                  <a:pt x="409" y="159"/>
                </a:cubicBezTo>
                <a:cubicBezTo>
                  <a:pt x="410" y="159"/>
                  <a:pt x="410" y="158"/>
                  <a:pt x="410" y="159"/>
                </a:cubicBezTo>
                <a:cubicBezTo>
                  <a:pt x="411" y="160"/>
                  <a:pt x="411" y="160"/>
                  <a:pt x="412" y="160"/>
                </a:cubicBezTo>
                <a:cubicBezTo>
                  <a:pt x="413" y="161"/>
                  <a:pt x="413" y="162"/>
                  <a:pt x="415" y="162"/>
                </a:cubicBezTo>
                <a:cubicBezTo>
                  <a:pt x="416" y="162"/>
                  <a:pt x="415" y="161"/>
                  <a:pt x="416" y="161"/>
                </a:cubicBezTo>
                <a:cubicBezTo>
                  <a:pt x="417" y="161"/>
                  <a:pt x="418" y="161"/>
                  <a:pt x="418" y="160"/>
                </a:cubicBezTo>
                <a:cubicBezTo>
                  <a:pt x="418" y="160"/>
                  <a:pt x="417" y="160"/>
                  <a:pt x="417" y="160"/>
                </a:cubicBezTo>
                <a:cubicBezTo>
                  <a:pt x="417" y="160"/>
                  <a:pt x="417" y="159"/>
                  <a:pt x="417" y="159"/>
                </a:cubicBezTo>
                <a:cubicBezTo>
                  <a:pt x="416" y="158"/>
                  <a:pt x="416" y="159"/>
                  <a:pt x="415" y="158"/>
                </a:cubicBezTo>
                <a:cubicBezTo>
                  <a:pt x="415" y="158"/>
                  <a:pt x="415" y="157"/>
                  <a:pt x="414" y="156"/>
                </a:cubicBezTo>
                <a:cubicBezTo>
                  <a:pt x="414" y="157"/>
                  <a:pt x="413" y="157"/>
                  <a:pt x="413" y="157"/>
                </a:cubicBezTo>
                <a:cubicBezTo>
                  <a:pt x="413" y="157"/>
                  <a:pt x="413" y="156"/>
                  <a:pt x="413" y="156"/>
                </a:cubicBezTo>
                <a:cubicBezTo>
                  <a:pt x="414" y="156"/>
                  <a:pt x="414" y="155"/>
                  <a:pt x="414" y="155"/>
                </a:cubicBezTo>
                <a:cubicBezTo>
                  <a:pt x="415" y="155"/>
                  <a:pt x="415" y="156"/>
                  <a:pt x="415" y="156"/>
                </a:cubicBezTo>
                <a:cubicBezTo>
                  <a:pt x="416" y="157"/>
                  <a:pt x="416" y="156"/>
                  <a:pt x="417" y="156"/>
                </a:cubicBezTo>
                <a:cubicBezTo>
                  <a:pt x="417" y="157"/>
                  <a:pt x="417" y="159"/>
                  <a:pt x="418" y="158"/>
                </a:cubicBezTo>
                <a:cubicBezTo>
                  <a:pt x="419" y="158"/>
                  <a:pt x="419" y="160"/>
                  <a:pt x="421" y="160"/>
                </a:cubicBezTo>
                <a:cubicBezTo>
                  <a:pt x="420" y="159"/>
                  <a:pt x="422" y="158"/>
                  <a:pt x="422" y="158"/>
                </a:cubicBezTo>
                <a:cubicBezTo>
                  <a:pt x="423" y="158"/>
                  <a:pt x="423" y="157"/>
                  <a:pt x="423" y="156"/>
                </a:cubicBezTo>
                <a:cubicBezTo>
                  <a:pt x="423" y="156"/>
                  <a:pt x="424" y="157"/>
                  <a:pt x="424" y="156"/>
                </a:cubicBezTo>
                <a:cubicBezTo>
                  <a:pt x="424" y="156"/>
                  <a:pt x="424" y="156"/>
                  <a:pt x="424" y="156"/>
                </a:cubicBezTo>
                <a:cubicBezTo>
                  <a:pt x="424" y="156"/>
                  <a:pt x="425" y="156"/>
                  <a:pt x="425" y="156"/>
                </a:cubicBezTo>
                <a:cubicBezTo>
                  <a:pt x="426" y="156"/>
                  <a:pt x="426" y="155"/>
                  <a:pt x="427" y="155"/>
                </a:cubicBezTo>
                <a:cubicBezTo>
                  <a:pt x="428" y="155"/>
                  <a:pt x="428" y="155"/>
                  <a:pt x="428" y="154"/>
                </a:cubicBezTo>
                <a:cubicBezTo>
                  <a:pt x="428" y="154"/>
                  <a:pt x="429" y="155"/>
                  <a:pt x="429" y="154"/>
                </a:cubicBezTo>
                <a:cubicBezTo>
                  <a:pt x="429" y="154"/>
                  <a:pt x="427" y="154"/>
                  <a:pt x="429" y="154"/>
                </a:cubicBezTo>
                <a:cubicBezTo>
                  <a:pt x="430" y="154"/>
                  <a:pt x="431" y="154"/>
                  <a:pt x="431" y="154"/>
                </a:cubicBezTo>
                <a:cubicBezTo>
                  <a:pt x="432" y="154"/>
                  <a:pt x="432" y="152"/>
                  <a:pt x="433" y="152"/>
                </a:cubicBezTo>
                <a:cubicBezTo>
                  <a:pt x="433" y="152"/>
                  <a:pt x="433" y="151"/>
                  <a:pt x="433" y="151"/>
                </a:cubicBezTo>
                <a:cubicBezTo>
                  <a:pt x="433" y="150"/>
                  <a:pt x="433" y="148"/>
                  <a:pt x="432" y="148"/>
                </a:cubicBezTo>
                <a:cubicBezTo>
                  <a:pt x="432" y="148"/>
                  <a:pt x="431" y="148"/>
                  <a:pt x="431" y="148"/>
                </a:cubicBezTo>
                <a:cubicBezTo>
                  <a:pt x="429" y="147"/>
                  <a:pt x="430" y="147"/>
                  <a:pt x="429" y="146"/>
                </a:cubicBezTo>
                <a:cubicBezTo>
                  <a:pt x="428" y="146"/>
                  <a:pt x="429" y="146"/>
                  <a:pt x="428" y="145"/>
                </a:cubicBezTo>
                <a:cubicBezTo>
                  <a:pt x="428" y="145"/>
                  <a:pt x="428" y="145"/>
                  <a:pt x="428" y="145"/>
                </a:cubicBezTo>
                <a:cubicBezTo>
                  <a:pt x="428" y="144"/>
                  <a:pt x="428" y="144"/>
                  <a:pt x="428" y="144"/>
                </a:cubicBezTo>
                <a:cubicBezTo>
                  <a:pt x="428" y="143"/>
                  <a:pt x="428" y="142"/>
                  <a:pt x="428" y="141"/>
                </a:cubicBezTo>
                <a:cubicBezTo>
                  <a:pt x="429" y="141"/>
                  <a:pt x="431" y="141"/>
                  <a:pt x="431" y="140"/>
                </a:cubicBezTo>
                <a:cubicBezTo>
                  <a:pt x="431" y="139"/>
                  <a:pt x="430" y="139"/>
                  <a:pt x="429" y="139"/>
                </a:cubicBezTo>
                <a:cubicBezTo>
                  <a:pt x="429" y="139"/>
                  <a:pt x="429" y="139"/>
                  <a:pt x="428" y="139"/>
                </a:cubicBezTo>
                <a:cubicBezTo>
                  <a:pt x="429" y="138"/>
                  <a:pt x="429" y="137"/>
                  <a:pt x="429" y="137"/>
                </a:cubicBezTo>
                <a:cubicBezTo>
                  <a:pt x="430" y="137"/>
                  <a:pt x="430" y="137"/>
                  <a:pt x="430" y="137"/>
                </a:cubicBezTo>
                <a:cubicBezTo>
                  <a:pt x="430" y="136"/>
                  <a:pt x="430" y="135"/>
                  <a:pt x="430" y="135"/>
                </a:cubicBezTo>
                <a:cubicBezTo>
                  <a:pt x="431" y="135"/>
                  <a:pt x="431" y="135"/>
                  <a:pt x="431" y="134"/>
                </a:cubicBezTo>
                <a:cubicBezTo>
                  <a:pt x="431" y="134"/>
                  <a:pt x="431" y="134"/>
                  <a:pt x="431" y="133"/>
                </a:cubicBezTo>
                <a:cubicBezTo>
                  <a:pt x="429" y="133"/>
                  <a:pt x="428" y="134"/>
                  <a:pt x="426" y="134"/>
                </a:cubicBezTo>
                <a:cubicBezTo>
                  <a:pt x="426" y="133"/>
                  <a:pt x="425" y="132"/>
                  <a:pt x="425" y="132"/>
                </a:cubicBezTo>
                <a:cubicBezTo>
                  <a:pt x="426" y="131"/>
                  <a:pt x="427" y="132"/>
                  <a:pt x="426" y="131"/>
                </a:cubicBezTo>
                <a:cubicBezTo>
                  <a:pt x="426" y="131"/>
                  <a:pt x="425" y="130"/>
                  <a:pt x="424" y="130"/>
                </a:cubicBezTo>
                <a:cubicBezTo>
                  <a:pt x="424" y="130"/>
                  <a:pt x="425" y="129"/>
                  <a:pt x="425" y="129"/>
                </a:cubicBezTo>
                <a:cubicBezTo>
                  <a:pt x="424" y="129"/>
                  <a:pt x="421" y="128"/>
                  <a:pt x="421" y="129"/>
                </a:cubicBezTo>
                <a:cubicBezTo>
                  <a:pt x="421" y="129"/>
                  <a:pt x="421" y="129"/>
                  <a:pt x="420" y="129"/>
                </a:cubicBezTo>
                <a:cubicBezTo>
                  <a:pt x="420" y="129"/>
                  <a:pt x="419" y="129"/>
                  <a:pt x="419" y="129"/>
                </a:cubicBezTo>
                <a:cubicBezTo>
                  <a:pt x="419" y="128"/>
                  <a:pt x="416" y="128"/>
                  <a:pt x="416" y="128"/>
                </a:cubicBezTo>
                <a:cubicBezTo>
                  <a:pt x="416" y="129"/>
                  <a:pt x="413" y="128"/>
                  <a:pt x="412" y="128"/>
                </a:cubicBezTo>
                <a:cubicBezTo>
                  <a:pt x="413" y="129"/>
                  <a:pt x="413" y="128"/>
                  <a:pt x="413" y="130"/>
                </a:cubicBezTo>
                <a:cubicBezTo>
                  <a:pt x="414" y="130"/>
                  <a:pt x="413" y="132"/>
                  <a:pt x="414" y="132"/>
                </a:cubicBezTo>
                <a:cubicBezTo>
                  <a:pt x="414" y="133"/>
                  <a:pt x="414" y="133"/>
                  <a:pt x="414" y="134"/>
                </a:cubicBezTo>
                <a:cubicBezTo>
                  <a:pt x="414" y="134"/>
                  <a:pt x="414" y="134"/>
                  <a:pt x="414" y="134"/>
                </a:cubicBezTo>
                <a:cubicBezTo>
                  <a:pt x="415" y="134"/>
                  <a:pt x="415" y="134"/>
                  <a:pt x="415" y="135"/>
                </a:cubicBezTo>
                <a:cubicBezTo>
                  <a:pt x="415" y="135"/>
                  <a:pt x="415" y="135"/>
                  <a:pt x="416" y="135"/>
                </a:cubicBezTo>
                <a:cubicBezTo>
                  <a:pt x="415" y="136"/>
                  <a:pt x="415" y="136"/>
                  <a:pt x="416" y="137"/>
                </a:cubicBezTo>
                <a:cubicBezTo>
                  <a:pt x="416" y="137"/>
                  <a:pt x="415" y="137"/>
                  <a:pt x="415" y="137"/>
                </a:cubicBezTo>
                <a:cubicBezTo>
                  <a:pt x="415" y="137"/>
                  <a:pt x="415" y="138"/>
                  <a:pt x="415" y="138"/>
                </a:cubicBezTo>
                <a:cubicBezTo>
                  <a:pt x="415" y="138"/>
                  <a:pt x="414" y="138"/>
                  <a:pt x="413" y="138"/>
                </a:cubicBezTo>
                <a:cubicBezTo>
                  <a:pt x="412" y="138"/>
                  <a:pt x="412" y="139"/>
                  <a:pt x="412" y="140"/>
                </a:cubicBezTo>
                <a:cubicBezTo>
                  <a:pt x="412" y="141"/>
                  <a:pt x="412" y="142"/>
                  <a:pt x="411" y="142"/>
                </a:cubicBezTo>
                <a:cubicBezTo>
                  <a:pt x="410" y="143"/>
                  <a:pt x="412" y="143"/>
                  <a:pt x="411" y="144"/>
                </a:cubicBezTo>
                <a:cubicBezTo>
                  <a:pt x="410" y="144"/>
                  <a:pt x="410" y="145"/>
                  <a:pt x="410" y="145"/>
                </a:cubicBezTo>
                <a:cubicBezTo>
                  <a:pt x="409" y="145"/>
                  <a:pt x="410" y="145"/>
                  <a:pt x="410" y="145"/>
                </a:cubicBezTo>
                <a:cubicBezTo>
                  <a:pt x="409" y="146"/>
                  <a:pt x="409" y="146"/>
                  <a:pt x="409" y="147"/>
                </a:cubicBezTo>
                <a:cubicBezTo>
                  <a:pt x="409" y="147"/>
                  <a:pt x="408" y="148"/>
                  <a:pt x="407" y="148"/>
                </a:cubicBezTo>
                <a:cubicBezTo>
                  <a:pt x="408" y="149"/>
                  <a:pt x="408" y="150"/>
                  <a:pt x="408" y="150"/>
                </a:cubicBezTo>
                <a:cubicBezTo>
                  <a:pt x="407" y="150"/>
                  <a:pt x="407" y="151"/>
                  <a:pt x="406" y="151"/>
                </a:cubicBezTo>
                <a:cubicBezTo>
                  <a:pt x="405" y="151"/>
                  <a:pt x="405" y="151"/>
                  <a:pt x="405" y="153"/>
                </a:cubicBezTo>
                <a:cubicBezTo>
                  <a:pt x="404" y="153"/>
                  <a:pt x="404" y="153"/>
                  <a:pt x="404" y="152"/>
                </a:cubicBezTo>
                <a:cubicBezTo>
                  <a:pt x="403" y="152"/>
                  <a:pt x="403" y="152"/>
                  <a:pt x="402" y="152"/>
                </a:cubicBezTo>
                <a:cubicBezTo>
                  <a:pt x="402" y="152"/>
                  <a:pt x="401" y="151"/>
                  <a:pt x="401" y="151"/>
                </a:cubicBezTo>
                <a:cubicBezTo>
                  <a:pt x="401" y="150"/>
                  <a:pt x="401" y="150"/>
                  <a:pt x="400" y="149"/>
                </a:cubicBezTo>
                <a:cubicBezTo>
                  <a:pt x="400" y="148"/>
                  <a:pt x="400" y="148"/>
                  <a:pt x="399" y="148"/>
                </a:cubicBezTo>
                <a:cubicBezTo>
                  <a:pt x="398" y="148"/>
                  <a:pt x="398" y="147"/>
                  <a:pt x="398" y="147"/>
                </a:cubicBezTo>
                <a:cubicBezTo>
                  <a:pt x="398" y="146"/>
                  <a:pt x="397" y="146"/>
                  <a:pt x="397" y="146"/>
                </a:cubicBezTo>
                <a:cubicBezTo>
                  <a:pt x="397" y="145"/>
                  <a:pt x="396" y="145"/>
                  <a:pt x="396" y="144"/>
                </a:cubicBezTo>
                <a:cubicBezTo>
                  <a:pt x="397" y="144"/>
                  <a:pt x="396" y="143"/>
                  <a:pt x="397" y="143"/>
                </a:cubicBezTo>
                <a:cubicBezTo>
                  <a:pt x="397" y="142"/>
                  <a:pt x="398" y="143"/>
                  <a:pt x="398" y="142"/>
                </a:cubicBezTo>
                <a:cubicBezTo>
                  <a:pt x="398" y="141"/>
                  <a:pt x="398" y="140"/>
                  <a:pt x="399" y="139"/>
                </a:cubicBezTo>
                <a:cubicBezTo>
                  <a:pt x="399" y="139"/>
                  <a:pt x="400" y="138"/>
                  <a:pt x="400" y="137"/>
                </a:cubicBezTo>
                <a:cubicBezTo>
                  <a:pt x="400" y="136"/>
                  <a:pt x="399" y="133"/>
                  <a:pt x="398" y="132"/>
                </a:cubicBezTo>
                <a:cubicBezTo>
                  <a:pt x="397" y="132"/>
                  <a:pt x="394" y="134"/>
                  <a:pt x="394" y="134"/>
                </a:cubicBezTo>
                <a:cubicBezTo>
                  <a:pt x="394" y="135"/>
                  <a:pt x="394" y="136"/>
                  <a:pt x="393" y="136"/>
                </a:cubicBezTo>
                <a:cubicBezTo>
                  <a:pt x="393" y="138"/>
                  <a:pt x="393" y="139"/>
                  <a:pt x="393" y="140"/>
                </a:cubicBezTo>
                <a:cubicBezTo>
                  <a:pt x="392" y="140"/>
                  <a:pt x="392" y="141"/>
                  <a:pt x="391" y="141"/>
                </a:cubicBezTo>
                <a:cubicBezTo>
                  <a:pt x="391" y="141"/>
                  <a:pt x="391" y="143"/>
                  <a:pt x="391" y="143"/>
                </a:cubicBezTo>
                <a:cubicBezTo>
                  <a:pt x="390" y="143"/>
                  <a:pt x="390" y="143"/>
                  <a:pt x="389" y="143"/>
                </a:cubicBezTo>
                <a:cubicBezTo>
                  <a:pt x="389" y="142"/>
                  <a:pt x="389" y="142"/>
                  <a:pt x="389" y="142"/>
                </a:cubicBezTo>
                <a:cubicBezTo>
                  <a:pt x="389" y="141"/>
                  <a:pt x="389" y="141"/>
                  <a:pt x="389" y="140"/>
                </a:cubicBezTo>
                <a:cubicBezTo>
                  <a:pt x="389" y="140"/>
                  <a:pt x="388" y="140"/>
                  <a:pt x="388" y="140"/>
                </a:cubicBezTo>
                <a:cubicBezTo>
                  <a:pt x="388" y="140"/>
                  <a:pt x="388" y="139"/>
                  <a:pt x="388" y="139"/>
                </a:cubicBezTo>
                <a:cubicBezTo>
                  <a:pt x="388" y="138"/>
                  <a:pt x="388" y="138"/>
                  <a:pt x="387" y="138"/>
                </a:cubicBezTo>
                <a:cubicBezTo>
                  <a:pt x="387" y="137"/>
                  <a:pt x="387" y="137"/>
                  <a:pt x="388" y="136"/>
                </a:cubicBezTo>
                <a:cubicBezTo>
                  <a:pt x="387" y="136"/>
                  <a:pt x="387" y="136"/>
                  <a:pt x="387" y="135"/>
                </a:cubicBezTo>
                <a:cubicBezTo>
                  <a:pt x="387" y="135"/>
                  <a:pt x="386" y="135"/>
                  <a:pt x="386" y="134"/>
                </a:cubicBezTo>
                <a:cubicBezTo>
                  <a:pt x="387" y="134"/>
                  <a:pt x="387" y="134"/>
                  <a:pt x="387" y="134"/>
                </a:cubicBezTo>
                <a:cubicBezTo>
                  <a:pt x="387" y="134"/>
                  <a:pt x="386" y="134"/>
                  <a:pt x="386" y="134"/>
                </a:cubicBezTo>
                <a:cubicBezTo>
                  <a:pt x="386" y="133"/>
                  <a:pt x="386" y="133"/>
                  <a:pt x="386" y="133"/>
                </a:cubicBezTo>
                <a:cubicBezTo>
                  <a:pt x="386" y="132"/>
                  <a:pt x="384" y="133"/>
                  <a:pt x="383" y="133"/>
                </a:cubicBezTo>
                <a:cubicBezTo>
                  <a:pt x="383" y="133"/>
                  <a:pt x="383" y="132"/>
                  <a:pt x="383" y="132"/>
                </a:cubicBezTo>
                <a:cubicBezTo>
                  <a:pt x="383" y="132"/>
                  <a:pt x="383" y="132"/>
                  <a:pt x="383" y="132"/>
                </a:cubicBezTo>
                <a:cubicBezTo>
                  <a:pt x="382" y="132"/>
                  <a:pt x="383" y="132"/>
                  <a:pt x="382" y="132"/>
                </a:cubicBezTo>
                <a:cubicBezTo>
                  <a:pt x="382" y="132"/>
                  <a:pt x="382" y="132"/>
                  <a:pt x="382" y="132"/>
                </a:cubicBezTo>
                <a:cubicBezTo>
                  <a:pt x="381" y="132"/>
                  <a:pt x="380" y="131"/>
                  <a:pt x="380" y="131"/>
                </a:cubicBezTo>
                <a:cubicBezTo>
                  <a:pt x="379" y="130"/>
                  <a:pt x="378" y="130"/>
                  <a:pt x="378" y="129"/>
                </a:cubicBezTo>
                <a:cubicBezTo>
                  <a:pt x="378" y="128"/>
                  <a:pt x="381" y="128"/>
                  <a:pt x="381" y="127"/>
                </a:cubicBezTo>
                <a:cubicBezTo>
                  <a:pt x="381" y="127"/>
                  <a:pt x="381" y="127"/>
                  <a:pt x="381" y="126"/>
                </a:cubicBezTo>
                <a:cubicBezTo>
                  <a:pt x="382" y="126"/>
                  <a:pt x="382" y="125"/>
                  <a:pt x="382" y="125"/>
                </a:cubicBezTo>
                <a:cubicBezTo>
                  <a:pt x="381" y="125"/>
                  <a:pt x="380" y="125"/>
                  <a:pt x="379" y="126"/>
                </a:cubicBezTo>
                <a:cubicBezTo>
                  <a:pt x="380" y="125"/>
                  <a:pt x="380" y="124"/>
                  <a:pt x="380" y="123"/>
                </a:cubicBezTo>
                <a:cubicBezTo>
                  <a:pt x="381" y="123"/>
                  <a:pt x="382" y="123"/>
                  <a:pt x="382" y="124"/>
                </a:cubicBezTo>
                <a:cubicBezTo>
                  <a:pt x="382" y="124"/>
                  <a:pt x="382" y="124"/>
                  <a:pt x="383" y="123"/>
                </a:cubicBezTo>
                <a:cubicBezTo>
                  <a:pt x="383" y="123"/>
                  <a:pt x="384" y="123"/>
                  <a:pt x="384" y="124"/>
                </a:cubicBezTo>
                <a:cubicBezTo>
                  <a:pt x="385" y="124"/>
                  <a:pt x="384" y="123"/>
                  <a:pt x="385" y="123"/>
                </a:cubicBezTo>
                <a:cubicBezTo>
                  <a:pt x="385" y="122"/>
                  <a:pt x="385" y="122"/>
                  <a:pt x="384" y="121"/>
                </a:cubicBezTo>
                <a:cubicBezTo>
                  <a:pt x="384" y="121"/>
                  <a:pt x="383" y="122"/>
                  <a:pt x="383" y="121"/>
                </a:cubicBezTo>
                <a:cubicBezTo>
                  <a:pt x="382" y="120"/>
                  <a:pt x="382" y="119"/>
                  <a:pt x="381" y="119"/>
                </a:cubicBezTo>
                <a:cubicBezTo>
                  <a:pt x="381" y="119"/>
                  <a:pt x="380" y="119"/>
                  <a:pt x="379" y="119"/>
                </a:cubicBezTo>
                <a:cubicBezTo>
                  <a:pt x="379" y="119"/>
                  <a:pt x="379" y="118"/>
                  <a:pt x="378" y="118"/>
                </a:cubicBezTo>
                <a:cubicBezTo>
                  <a:pt x="378" y="118"/>
                  <a:pt x="378" y="118"/>
                  <a:pt x="377" y="117"/>
                </a:cubicBezTo>
                <a:cubicBezTo>
                  <a:pt x="377" y="117"/>
                  <a:pt x="377" y="117"/>
                  <a:pt x="376" y="117"/>
                </a:cubicBezTo>
                <a:cubicBezTo>
                  <a:pt x="376" y="117"/>
                  <a:pt x="376" y="117"/>
                  <a:pt x="375" y="117"/>
                </a:cubicBezTo>
                <a:cubicBezTo>
                  <a:pt x="375" y="117"/>
                  <a:pt x="375" y="116"/>
                  <a:pt x="374" y="116"/>
                </a:cubicBezTo>
                <a:cubicBezTo>
                  <a:pt x="374" y="116"/>
                  <a:pt x="374" y="116"/>
                  <a:pt x="373" y="115"/>
                </a:cubicBezTo>
                <a:cubicBezTo>
                  <a:pt x="372" y="115"/>
                  <a:pt x="372" y="114"/>
                  <a:pt x="372" y="114"/>
                </a:cubicBezTo>
                <a:cubicBezTo>
                  <a:pt x="371" y="114"/>
                  <a:pt x="371" y="114"/>
                  <a:pt x="371" y="113"/>
                </a:cubicBezTo>
                <a:cubicBezTo>
                  <a:pt x="370" y="113"/>
                  <a:pt x="370" y="112"/>
                  <a:pt x="369" y="113"/>
                </a:cubicBezTo>
                <a:cubicBezTo>
                  <a:pt x="369" y="112"/>
                  <a:pt x="369" y="112"/>
                  <a:pt x="369" y="112"/>
                </a:cubicBezTo>
                <a:cubicBezTo>
                  <a:pt x="368" y="112"/>
                  <a:pt x="368" y="112"/>
                  <a:pt x="367" y="112"/>
                </a:cubicBezTo>
                <a:cubicBezTo>
                  <a:pt x="367" y="112"/>
                  <a:pt x="367" y="110"/>
                  <a:pt x="367" y="110"/>
                </a:cubicBezTo>
                <a:cubicBezTo>
                  <a:pt x="369" y="110"/>
                  <a:pt x="369" y="111"/>
                  <a:pt x="369" y="109"/>
                </a:cubicBezTo>
                <a:cubicBezTo>
                  <a:pt x="369" y="109"/>
                  <a:pt x="369" y="109"/>
                  <a:pt x="368" y="109"/>
                </a:cubicBezTo>
                <a:cubicBezTo>
                  <a:pt x="368" y="109"/>
                  <a:pt x="369" y="109"/>
                  <a:pt x="369" y="108"/>
                </a:cubicBezTo>
                <a:cubicBezTo>
                  <a:pt x="369" y="108"/>
                  <a:pt x="370" y="108"/>
                  <a:pt x="370" y="108"/>
                </a:cubicBezTo>
                <a:cubicBezTo>
                  <a:pt x="371" y="107"/>
                  <a:pt x="371" y="107"/>
                  <a:pt x="371" y="106"/>
                </a:cubicBezTo>
                <a:cubicBezTo>
                  <a:pt x="371" y="106"/>
                  <a:pt x="369" y="106"/>
                  <a:pt x="369" y="105"/>
                </a:cubicBezTo>
                <a:cubicBezTo>
                  <a:pt x="369" y="104"/>
                  <a:pt x="368" y="104"/>
                  <a:pt x="370" y="104"/>
                </a:cubicBezTo>
                <a:cubicBezTo>
                  <a:pt x="370" y="103"/>
                  <a:pt x="370" y="103"/>
                  <a:pt x="370" y="103"/>
                </a:cubicBezTo>
                <a:cubicBezTo>
                  <a:pt x="370" y="103"/>
                  <a:pt x="370" y="103"/>
                  <a:pt x="371" y="103"/>
                </a:cubicBezTo>
                <a:cubicBezTo>
                  <a:pt x="372" y="103"/>
                  <a:pt x="373" y="103"/>
                  <a:pt x="374" y="103"/>
                </a:cubicBezTo>
                <a:cubicBezTo>
                  <a:pt x="376" y="103"/>
                  <a:pt x="378" y="102"/>
                  <a:pt x="380" y="102"/>
                </a:cubicBezTo>
                <a:cubicBezTo>
                  <a:pt x="381" y="102"/>
                  <a:pt x="382" y="102"/>
                  <a:pt x="383" y="101"/>
                </a:cubicBezTo>
                <a:cubicBezTo>
                  <a:pt x="383" y="101"/>
                  <a:pt x="384" y="101"/>
                  <a:pt x="384" y="100"/>
                </a:cubicBezTo>
                <a:cubicBezTo>
                  <a:pt x="385" y="99"/>
                  <a:pt x="385" y="99"/>
                  <a:pt x="386" y="98"/>
                </a:cubicBezTo>
                <a:cubicBezTo>
                  <a:pt x="386" y="98"/>
                  <a:pt x="386" y="98"/>
                  <a:pt x="386" y="97"/>
                </a:cubicBezTo>
                <a:cubicBezTo>
                  <a:pt x="386" y="96"/>
                  <a:pt x="387" y="96"/>
                  <a:pt x="387" y="96"/>
                </a:cubicBezTo>
                <a:cubicBezTo>
                  <a:pt x="387" y="95"/>
                  <a:pt x="388" y="94"/>
                  <a:pt x="388" y="93"/>
                </a:cubicBezTo>
                <a:cubicBezTo>
                  <a:pt x="387" y="93"/>
                  <a:pt x="386" y="93"/>
                  <a:pt x="386" y="93"/>
                </a:cubicBezTo>
                <a:cubicBezTo>
                  <a:pt x="385" y="93"/>
                  <a:pt x="385" y="93"/>
                  <a:pt x="384" y="92"/>
                </a:cubicBezTo>
                <a:cubicBezTo>
                  <a:pt x="383" y="92"/>
                  <a:pt x="382" y="92"/>
                  <a:pt x="380" y="92"/>
                </a:cubicBezTo>
                <a:cubicBezTo>
                  <a:pt x="380" y="93"/>
                  <a:pt x="380" y="93"/>
                  <a:pt x="379" y="92"/>
                </a:cubicBezTo>
                <a:cubicBezTo>
                  <a:pt x="379" y="91"/>
                  <a:pt x="378" y="91"/>
                  <a:pt x="377" y="91"/>
                </a:cubicBezTo>
                <a:cubicBezTo>
                  <a:pt x="377" y="91"/>
                  <a:pt x="376" y="91"/>
                  <a:pt x="376" y="91"/>
                </a:cubicBezTo>
                <a:cubicBezTo>
                  <a:pt x="376" y="91"/>
                  <a:pt x="374" y="90"/>
                  <a:pt x="374" y="90"/>
                </a:cubicBezTo>
                <a:cubicBezTo>
                  <a:pt x="373" y="90"/>
                  <a:pt x="372" y="90"/>
                  <a:pt x="371" y="90"/>
                </a:cubicBezTo>
                <a:cubicBezTo>
                  <a:pt x="370" y="90"/>
                  <a:pt x="370" y="90"/>
                  <a:pt x="370" y="91"/>
                </a:cubicBezTo>
                <a:cubicBezTo>
                  <a:pt x="369" y="91"/>
                  <a:pt x="369" y="92"/>
                  <a:pt x="369" y="92"/>
                </a:cubicBezTo>
                <a:cubicBezTo>
                  <a:pt x="368" y="93"/>
                  <a:pt x="368" y="91"/>
                  <a:pt x="368" y="91"/>
                </a:cubicBezTo>
                <a:cubicBezTo>
                  <a:pt x="366" y="92"/>
                  <a:pt x="365" y="92"/>
                  <a:pt x="363" y="92"/>
                </a:cubicBezTo>
                <a:cubicBezTo>
                  <a:pt x="363" y="93"/>
                  <a:pt x="364" y="94"/>
                  <a:pt x="364" y="95"/>
                </a:cubicBezTo>
                <a:cubicBezTo>
                  <a:pt x="363" y="94"/>
                  <a:pt x="363" y="94"/>
                  <a:pt x="362" y="94"/>
                </a:cubicBezTo>
                <a:cubicBezTo>
                  <a:pt x="362" y="95"/>
                  <a:pt x="362" y="95"/>
                  <a:pt x="362" y="96"/>
                </a:cubicBezTo>
                <a:cubicBezTo>
                  <a:pt x="362" y="96"/>
                  <a:pt x="363" y="96"/>
                  <a:pt x="363" y="97"/>
                </a:cubicBezTo>
                <a:cubicBezTo>
                  <a:pt x="362" y="97"/>
                  <a:pt x="362" y="96"/>
                  <a:pt x="363" y="97"/>
                </a:cubicBezTo>
                <a:cubicBezTo>
                  <a:pt x="363" y="98"/>
                  <a:pt x="363" y="98"/>
                  <a:pt x="363" y="98"/>
                </a:cubicBezTo>
                <a:cubicBezTo>
                  <a:pt x="364" y="98"/>
                  <a:pt x="363" y="99"/>
                  <a:pt x="364" y="99"/>
                </a:cubicBezTo>
                <a:cubicBezTo>
                  <a:pt x="364" y="99"/>
                  <a:pt x="363" y="100"/>
                  <a:pt x="363" y="100"/>
                </a:cubicBezTo>
                <a:cubicBezTo>
                  <a:pt x="364" y="100"/>
                  <a:pt x="363" y="102"/>
                  <a:pt x="364" y="102"/>
                </a:cubicBezTo>
                <a:cubicBezTo>
                  <a:pt x="365" y="102"/>
                  <a:pt x="365" y="104"/>
                  <a:pt x="364" y="104"/>
                </a:cubicBezTo>
                <a:cubicBezTo>
                  <a:pt x="364" y="105"/>
                  <a:pt x="365" y="106"/>
                  <a:pt x="365" y="106"/>
                </a:cubicBezTo>
                <a:cubicBezTo>
                  <a:pt x="366" y="106"/>
                  <a:pt x="365" y="107"/>
                  <a:pt x="365" y="107"/>
                </a:cubicBezTo>
                <a:cubicBezTo>
                  <a:pt x="365" y="108"/>
                  <a:pt x="366" y="108"/>
                  <a:pt x="365" y="108"/>
                </a:cubicBezTo>
                <a:cubicBezTo>
                  <a:pt x="365" y="109"/>
                  <a:pt x="365" y="109"/>
                  <a:pt x="365" y="109"/>
                </a:cubicBezTo>
                <a:cubicBezTo>
                  <a:pt x="365" y="110"/>
                  <a:pt x="365" y="110"/>
                  <a:pt x="365" y="111"/>
                </a:cubicBezTo>
                <a:cubicBezTo>
                  <a:pt x="365" y="112"/>
                  <a:pt x="364" y="111"/>
                  <a:pt x="363" y="112"/>
                </a:cubicBezTo>
                <a:cubicBezTo>
                  <a:pt x="363" y="112"/>
                  <a:pt x="363" y="113"/>
                  <a:pt x="362" y="113"/>
                </a:cubicBezTo>
                <a:cubicBezTo>
                  <a:pt x="362" y="113"/>
                  <a:pt x="362" y="113"/>
                  <a:pt x="362" y="113"/>
                </a:cubicBezTo>
                <a:cubicBezTo>
                  <a:pt x="363" y="113"/>
                  <a:pt x="365" y="115"/>
                  <a:pt x="365" y="116"/>
                </a:cubicBezTo>
                <a:cubicBezTo>
                  <a:pt x="363" y="116"/>
                  <a:pt x="362" y="115"/>
                  <a:pt x="361" y="115"/>
                </a:cubicBezTo>
                <a:cubicBezTo>
                  <a:pt x="361" y="115"/>
                  <a:pt x="361" y="116"/>
                  <a:pt x="361" y="116"/>
                </a:cubicBezTo>
                <a:cubicBezTo>
                  <a:pt x="360" y="116"/>
                  <a:pt x="360" y="117"/>
                  <a:pt x="360" y="118"/>
                </a:cubicBezTo>
                <a:cubicBezTo>
                  <a:pt x="360" y="118"/>
                  <a:pt x="360" y="118"/>
                  <a:pt x="360" y="118"/>
                </a:cubicBezTo>
                <a:cubicBezTo>
                  <a:pt x="360" y="118"/>
                  <a:pt x="360" y="118"/>
                  <a:pt x="360" y="119"/>
                </a:cubicBezTo>
                <a:cubicBezTo>
                  <a:pt x="359" y="119"/>
                  <a:pt x="359" y="120"/>
                  <a:pt x="360" y="120"/>
                </a:cubicBezTo>
                <a:cubicBezTo>
                  <a:pt x="360" y="121"/>
                  <a:pt x="361" y="122"/>
                  <a:pt x="361" y="122"/>
                </a:cubicBezTo>
                <a:cubicBezTo>
                  <a:pt x="361" y="123"/>
                  <a:pt x="358" y="122"/>
                  <a:pt x="358" y="123"/>
                </a:cubicBezTo>
                <a:cubicBezTo>
                  <a:pt x="358" y="124"/>
                  <a:pt x="358" y="124"/>
                  <a:pt x="359" y="124"/>
                </a:cubicBezTo>
                <a:cubicBezTo>
                  <a:pt x="358" y="125"/>
                  <a:pt x="358" y="125"/>
                  <a:pt x="359" y="125"/>
                </a:cubicBezTo>
                <a:cubicBezTo>
                  <a:pt x="360" y="126"/>
                  <a:pt x="360" y="126"/>
                  <a:pt x="361" y="126"/>
                </a:cubicBezTo>
                <a:cubicBezTo>
                  <a:pt x="362" y="126"/>
                  <a:pt x="362" y="126"/>
                  <a:pt x="362" y="127"/>
                </a:cubicBezTo>
                <a:cubicBezTo>
                  <a:pt x="361" y="128"/>
                  <a:pt x="361" y="129"/>
                  <a:pt x="361" y="130"/>
                </a:cubicBezTo>
                <a:cubicBezTo>
                  <a:pt x="362" y="130"/>
                  <a:pt x="361" y="129"/>
                  <a:pt x="362" y="129"/>
                </a:cubicBezTo>
                <a:cubicBezTo>
                  <a:pt x="362" y="129"/>
                  <a:pt x="362" y="131"/>
                  <a:pt x="363" y="130"/>
                </a:cubicBezTo>
                <a:cubicBezTo>
                  <a:pt x="363" y="130"/>
                  <a:pt x="363" y="129"/>
                  <a:pt x="363" y="128"/>
                </a:cubicBezTo>
                <a:cubicBezTo>
                  <a:pt x="363" y="128"/>
                  <a:pt x="363" y="127"/>
                  <a:pt x="364" y="127"/>
                </a:cubicBezTo>
                <a:cubicBezTo>
                  <a:pt x="364" y="127"/>
                  <a:pt x="364" y="127"/>
                  <a:pt x="364" y="127"/>
                </a:cubicBezTo>
                <a:cubicBezTo>
                  <a:pt x="365" y="127"/>
                  <a:pt x="365" y="128"/>
                  <a:pt x="365" y="128"/>
                </a:cubicBezTo>
                <a:cubicBezTo>
                  <a:pt x="366" y="128"/>
                  <a:pt x="366" y="128"/>
                  <a:pt x="367" y="129"/>
                </a:cubicBezTo>
                <a:cubicBezTo>
                  <a:pt x="368" y="130"/>
                  <a:pt x="368" y="129"/>
                  <a:pt x="368" y="130"/>
                </a:cubicBezTo>
                <a:cubicBezTo>
                  <a:pt x="368" y="130"/>
                  <a:pt x="369" y="132"/>
                  <a:pt x="369" y="132"/>
                </a:cubicBezTo>
                <a:cubicBezTo>
                  <a:pt x="369" y="132"/>
                  <a:pt x="370" y="132"/>
                  <a:pt x="370" y="132"/>
                </a:cubicBezTo>
                <a:cubicBezTo>
                  <a:pt x="371" y="131"/>
                  <a:pt x="370" y="131"/>
                  <a:pt x="371" y="131"/>
                </a:cubicBezTo>
                <a:cubicBezTo>
                  <a:pt x="372" y="131"/>
                  <a:pt x="372" y="131"/>
                  <a:pt x="372" y="130"/>
                </a:cubicBezTo>
                <a:cubicBezTo>
                  <a:pt x="372" y="130"/>
                  <a:pt x="373" y="130"/>
                  <a:pt x="373" y="130"/>
                </a:cubicBezTo>
                <a:cubicBezTo>
                  <a:pt x="373" y="130"/>
                  <a:pt x="372" y="130"/>
                  <a:pt x="373" y="130"/>
                </a:cubicBezTo>
                <a:cubicBezTo>
                  <a:pt x="373" y="130"/>
                  <a:pt x="373" y="130"/>
                  <a:pt x="373" y="130"/>
                </a:cubicBezTo>
                <a:cubicBezTo>
                  <a:pt x="373" y="129"/>
                  <a:pt x="375" y="130"/>
                  <a:pt x="375" y="129"/>
                </a:cubicBezTo>
                <a:cubicBezTo>
                  <a:pt x="376" y="129"/>
                  <a:pt x="378" y="129"/>
                  <a:pt x="376" y="130"/>
                </a:cubicBezTo>
                <a:cubicBezTo>
                  <a:pt x="376" y="130"/>
                  <a:pt x="375" y="129"/>
                  <a:pt x="374" y="130"/>
                </a:cubicBezTo>
                <a:cubicBezTo>
                  <a:pt x="373" y="131"/>
                  <a:pt x="373" y="131"/>
                  <a:pt x="373" y="132"/>
                </a:cubicBezTo>
                <a:cubicBezTo>
                  <a:pt x="373" y="133"/>
                  <a:pt x="373" y="134"/>
                  <a:pt x="373" y="134"/>
                </a:cubicBezTo>
                <a:cubicBezTo>
                  <a:pt x="373" y="134"/>
                  <a:pt x="372" y="134"/>
                  <a:pt x="372" y="134"/>
                </a:cubicBezTo>
                <a:cubicBezTo>
                  <a:pt x="372" y="134"/>
                  <a:pt x="372" y="134"/>
                  <a:pt x="371" y="134"/>
                </a:cubicBezTo>
                <a:cubicBezTo>
                  <a:pt x="370" y="134"/>
                  <a:pt x="371" y="134"/>
                  <a:pt x="371" y="134"/>
                </a:cubicBezTo>
                <a:cubicBezTo>
                  <a:pt x="370" y="134"/>
                  <a:pt x="370" y="133"/>
                  <a:pt x="369" y="133"/>
                </a:cubicBezTo>
                <a:cubicBezTo>
                  <a:pt x="369" y="134"/>
                  <a:pt x="368" y="134"/>
                  <a:pt x="368" y="134"/>
                </a:cubicBezTo>
                <a:cubicBezTo>
                  <a:pt x="368" y="135"/>
                  <a:pt x="368" y="136"/>
                  <a:pt x="369" y="136"/>
                </a:cubicBezTo>
                <a:cubicBezTo>
                  <a:pt x="368" y="137"/>
                  <a:pt x="368" y="138"/>
                  <a:pt x="368" y="139"/>
                </a:cubicBezTo>
                <a:cubicBezTo>
                  <a:pt x="369" y="139"/>
                  <a:pt x="370" y="139"/>
                  <a:pt x="371" y="138"/>
                </a:cubicBezTo>
                <a:cubicBezTo>
                  <a:pt x="371" y="138"/>
                  <a:pt x="372" y="138"/>
                  <a:pt x="372" y="138"/>
                </a:cubicBezTo>
                <a:cubicBezTo>
                  <a:pt x="372" y="138"/>
                  <a:pt x="372" y="139"/>
                  <a:pt x="372" y="139"/>
                </a:cubicBezTo>
                <a:cubicBezTo>
                  <a:pt x="371" y="139"/>
                  <a:pt x="372" y="139"/>
                  <a:pt x="372" y="140"/>
                </a:cubicBezTo>
                <a:cubicBezTo>
                  <a:pt x="372" y="141"/>
                  <a:pt x="371" y="140"/>
                  <a:pt x="371" y="141"/>
                </a:cubicBezTo>
                <a:cubicBezTo>
                  <a:pt x="369" y="142"/>
                  <a:pt x="368" y="141"/>
                  <a:pt x="367" y="142"/>
                </a:cubicBezTo>
                <a:cubicBezTo>
                  <a:pt x="367" y="143"/>
                  <a:pt x="366" y="143"/>
                  <a:pt x="366" y="143"/>
                </a:cubicBezTo>
                <a:cubicBezTo>
                  <a:pt x="366" y="144"/>
                  <a:pt x="366" y="144"/>
                  <a:pt x="366" y="144"/>
                </a:cubicBezTo>
                <a:cubicBezTo>
                  <a:pt x="365" y="144"/>
                  <a:pt x="365" y="145"/>
                  <a:pt x="365" y="145"/>
                </a:cubicBezTo>
                <a:cubicBezTo>
                  <a:pt x="364" y="145"/>
                  <a:pt x="363" y="145"/>
                  <a:pt x="362" y="145"/>
                </a:cubicBezTo>
                <a:cubicBezTo>
                  <a:pt x="363" y="145"/>
                  <a:pt x="363" y="146"/>
                  <a:pt x="363" y="146"/>
                </a:cubicBezTo>
                <a:cubicBezTo>
                  <a:pt x="362" y="146"/>
                  <a:pt x="363" y="147"/>
                  <a:pt x="362" y="147"/>
                </a:cubicBezTo>
                <a:cubicBezTo>
                  <a:pt x="362" y="147"/>
                  <a:pt x="362" y="146"/>
                  <a:pt x="362" y="147"/>
                </a:cubicBezTo>
                <a:cubicBezTo>
                  <a:pt x="362" y="148"/>
                  <a:pt x="362" y="148"/>
                  <a:pt x="361" y="148"/>
                </a:cubicBezTo>
                <a:cubicBezTo>
                  <a:pt x="361" y="149"/>
                  <a:pt x="360" y="149"/>
                  <a:pt x="360" y="150"/>
                </a:cubicBezTo>
                <a:cubicBezTo>
                  <a:pt x="361" y="150"/>
                  <a:pt x="361" y="150"/>
                  <a:pt x="362" y="150"/>
                </a:cubicBezTo>
                <a:cubicBezTo>
                  <a:pt x="362" y="151"/>
                  <a:pt x="362" y="151"/>
                  <a:pt x="362" y="151"/>
                </a:cubicBezTo>
                <a:cubicBezTo>
                  <a:pt x="361" y="153"/>
                  <a:pt x="363" y="153"/>
                  <a:pt x="364" y="153"/>
                </a:cubicBezTo>
                <a:cubicBezTo>
                  <a:pt x="365" y="154"/>
                  <a:pt x="362" y="154"/>
                  <a:pt x="362" y="154"/>
                </a:cubicBezTo>
                <a:cubicBezTo>
                  <a:pt x="362" y="153"/>
                  <a:pt x="360" y="153"/>
                  <a:pt x="359" y="152"/>
                </a:cubicBezTo>
                <a:cubicBezTo>
                  <a:pt x="360" y="151"/>
                  <a:pt x="359" y="151"/>
                  <a:pt x="358" y="151"/>
                </a:cubicBezTo>
                <a:cubicBezTo>
                  <a:pt x="357" y="151"/>
                  <a:pt x="357" y="150"/>
                  <a:pt x="356" y="150"/>
                </a:cubicBezTo>
                <a:cubicBezTo>
                  <a:pt x="356" y="149"/>
                  <a:pt x="356" y="149"/>
                  <a:pt x="356" y="149"/>
                </a:cubicBezTo>
                <a:cubicBezTo>
                  <a:pt x="356" y="149"/>
                  <a:pt x="357" y="148"/>
                  <a:pt x="357" y="148"/>
                </a:cubicBezTo>
                <a:cubicBezTo>
                  <a:pt x="357" y="148"/>
                  <a:pt x="357" y="144"/>
                  <a:pt x="357" y="144"/>
                </a:cubicBezTo>
                <a:cubicBezTo>
                  <a:pt x="357" y="144"/>
                  <a:pt x="356" y="145"/>
                  <a:pt x="356" y="145"/>
                </a:cubicBezTo>
                <a:cubicBezTo>
                  <a:pt x="356" y="144"/>
                  <a:pt x="356" y="145"/>
                  <a:pt x="356" y="144"/>
                </a:cubicBezTo>
                <a:cubicBezTo>
                  <a:pt x="356" y="144"/>
                  <a:pt x="357" y="143"/>
                  <a:pt x="357" y="144"/>
                </a:cubicBezTo>
                <a:cubicBezTo>
                  <a:pt x="357" y="143"/>
                  <a:pt x="357" y="142"/>
                  <a:pt x="356" y="142"/>
                </a:cubicBezTo>
                <a:cubicBezTo>
                  <a:pt x="356" y="142"/>
                  <a:pt x="355" y="144"/>
                  <a:pt x="355" y="144"/>
                </a:cubicBezTo>
                <a:cubicBezTo>
                  <a:pt x="354" y="144"/>
                  <a:pt x="354" y="144"/>
                  <a:pt x="353" y="143"/>
                </a:cubicBezTo>
                <a:cubicBezTo>
                  <a:pt x="353" y="143"/>
                  <a:pt x="353" y="143"/>
                  <a:pt x="353" y="142"/>
                </a:cubicBezTo>
                <a:cubicBezTo>
                  <a:pt x="352" y="141"/>
                  <a:pt x="352" y="142"/>
                  <a:pt x="351" y="141"/>
                </a:cubicBezTo>
                <a:cubicBezTo>
                  <a:pt x="350" y="141"/>
                  <a:pt x="350" y="140"/>
                  <a:pt x="349" y="140"/>
                </a:cubicBezTo>
                <a:cubicBezTo>
                  <a:pt x="349" y="141"/>
                  <a:pt x="349" y="141"/>
                  <a:pt x="349" y="142"/>
                </a:cubicBezTo>
                <a:cubicBezTo>
                  <a:pt x="349" y="142"/>
                  <a:pt x="348" y="141"/>
                  <a:pt x="348" y="141"/>
                </a:cubicBezTo>
                <a:cubicBezTo>
                  <a:pt x="348" y="143"/>
                  <a:pt x="348" y="145"/>
                  <a:pt x="349" y="146"/>
                </a:cubicBezTo>
                <a:cubicBezTo>
                  <a:pt x="349" y="146"/>
                  <a:pt x="349" y="146"/>
                  <a:pt x="349" y="146"/>
                </a:cubicBezTo>
                <a:cubicBezTo>
                  <a:pt x="348" y="146"/>
                  <a:pt x="346" y="146"/>
                  <a:pt x="346" y="147"/>
                </a:cubicBezTo>
                <a:cubicBezTo>
                  <a:pt x="346" y="147"/>
                  <a:pt x="346" y="148"/>
                  <a:pt x="345" y="148"/>
                </a:cubicBezTo>
                <a:cubicBezTo>
                  <a:pt x="345" y="147"/>
                  <a:pt x="341" y="147"/>
                  <a:pt x="340" y="147"/>
                </a:cubicBezTo>
                <a:cubicBezTo>
                  <a:pt x="340" y="146"/>
                  <a:pt x="340" y="146"/>
                  <a:pt x="339" y="146"/>
                </a:cubicBezTo>
                <a:cubicBezTo>
                  <a:pt x="339" y="146"/>
                  <a:pt x="338" y="146"/>
                  <a:pt x="338" y="146"/>
                </a:cubicBezTo>
                <a:cubicBezTo>
                  <a:pt x="337" y="146"/>
                  <a:pt x="338" y="146"/>
                  <a:pt x="337" y="146"/>
                </a:cubicBezTo>
                <a:cubicBezTo>
                  <a:pt x="337" y="146"/>
                  <a:pt x="336" y="147"/>
                  <a:pt x="335" y="147"/>
                </a:cubicBezTo>
                <a:cubicBezTo>
                  <a:pt x="335" y="147"/>
                  <a:pt x="334" y="148"/>
                  <a:pt x="333" y="148"/>
                </a:cubicBezTo>
                <a:cubicBezTo>
                  <a:pt x="333" y="148"/>
                  <a:pt x="332" y="147"/>
                  <a:pt x="332" y="147"/>
                </a:cubicBezTo>
                <a:cubicBezTo>
                  <a:pt x="331" y="146"/>
                  <a:pt x="331" y="147"/>
                  <a:pt x="330" y="147"/>
                </a:cubicBezTo>
                <a:cubicBezTo>
                  <a:pt x="330" y="147"/>
                  <a:pt x="330" y="147"/>
                  <a:pt x="330" y="147"/>
                </a:cubicBezTo>
                <a:cubicBezTo>
                  <a:pt x="329" y="146"/>
                  <a:pt x="328" y="146"/>
                  <a:pt x="328" y="146"/>
                </a:cubicBezTo>
                <a:cubicBezTo>
                  <a:pt x="327" y="146"/>
                  <a:pt x="327" y="146"/>
                  <a:pt x="327" y="145"/>
                </a:cubicBezTo>
                <a:cubicBezTo>
                  <a:pt x="327" y="145"/>
                  <a:pt x="326" y="145"/>
                  <a:pt x="326" y="145"/>
                </a:cubicBezTo>
                <a:cubicBezTo>
                  <a:pt x="325" y="145"/>
                  <a:pt x="325" y="144"/>
                  <a:pt x="325" y="144"/>
                </a:cubicBezTo>
                <a:cubicBezTo>
                  <a:pt x="325" y="144"/>
                  <a:pt x="324" y="144"/>
                  <a:pt x="324" y="144"/>
                </a:cubicBezTo>
                <a:cubicBezTo>
                  <a:pt x="324" y="144"/>
                  <a:pt x="324" y="144"/>
                  <a:pt x="323" y="143"/>
                </a:cubicBezTo>
                <a:cubicBezTo>
                  <a:pt x="323" y="145"/>
                  <a:pt x="322" y="144"/>
                  <a:pt x="321" y="144"/>
                </a:cubicBezTo>
                <a:cubicBezTo>
                  <a:pt x="320" y="144"/>
                  <a:pt x="320" y="145"/>
                  <a:pt x="319" y="145"/>
                </a:cubicBezTo>
                <a:cubicBezTo>
                  <a:pt x="320" y="144"/>
                  <a:pt x="320" y="143"/>
                  <a:pt x="320" y="143"/>
                </a:cubicBezTo>
                <a:cubicBezTo>
                  <a:pt x="320" y="142"/>
                  <a:pt x="319" y="142"/>
                  <a:pt x="319" y="142"/>
                </a:cubicBezTo>
                <a:cubicBezTo>
                  <a:pt x="319" y="142"/>
                  <a:pt x="318" y="142"/>
                  <a:pt x="317" y="143"/>
                </a:cubicBezTo>
                <a:cubicBezTo>
                  <a:pt x="317" y="143"/>
                  <a:pt x="317" y="143"/>
                  <a:pt x="316" y="143"/>
                </a:cubicBezTo>
                <a:cubicBezTo>
                  <a:pt x="315" y="142"/>
                  <a:pt x="315" y="142"/>
                  <a:pt x="315" y="141"/>
                </a:cubicBezTo>
                <a:cubicBezTo>
                  <a:pt x="315" y="141"/>
                  <a:pt x="315" y="141"/>
                  <a:pt x="315" y="140"/>
                </a:cubicBezTo>
                <a:cubicBezTo>
                  <a:pt x="315" y="140"/>
                  <a:pt x="315" y="140"/>
                  <a:pt x="314" y="139"/>
                </a:cubicBezTo>
                <a:cubicBezTo>
                  <a:pt x="314" y="139"/>
                  <a:pt x="314" y="138"/>
                  <a:pt x="315" y="138"/>
                </a:cubicBezTo>
                <a:cubicBezTo>
                  <a:pt x="313" y="137"/>
                  <a:pt x="312" y="137"/>
                  <a:pt x="311" y="136"/>
                </a:cubicBezTo>
                <a:cubicBezTo>
                  <a:pt x="311" y="137"/>
                  <a:pt x="309" y="136"/>
                  <a:pt x="309" y="137"/>
                </a:cubicBezTo>
                <a:cubicBezTo>
                  <a:pt x="308" y="137"/>
                  <a:pt x="307" y="137"/>
                  <a:pt x="306" y="137"/>
                </a:cubicBezTo>
                <a:cubicBezTo>
                  <a:pt x="306" y="138"/>
                  <a:pt x="304" y="137"/>
                  <a:pt x="305" y="138"/>
                </a:cubicBezTo>
                <a:cubicBezTo>
                  <a:pt x="304" y="138"/>
                  <a:pt x="304" y="138"/>
                  <a:pt x="304" y="137"/>
                </a:cubicBezTo>
                <a:cubicBezTo>
                  <a:pt x="303" y="137"/>
                  <a:pt x="303" y="137"/>
                  <a:pt x="302" y="137"/>
                </a:cubicBezTo>
                <a:cubicBezTo>
                  <a:pt x="302" y="137"/>
                  <a:pt x="301" y="138"/>
                  <a:pt x="300" y="138"/>
                </a:cubicBezTo>
                <a:cubicBezTo>
                  <a:pt x="300" y="138"/>
                  <a:pt x="301" y="139"/>
                  <a:pt x="301" y="139"/>
                </a:cubicBezTo>
                <a:cubicBezTo>
                  <a:pt x="300" y="139"/>
                  <a:pt x="300" y="140"/>
                  <a:pt x="300" y="140"/>
                </a:cubicBezTo>
                <a:cubicBezTo>
                  <a:pt x="300" y="142"/>
                  <a:pt x="300" y="140"/>
                  <a:pt x="299" y="141"/>
                </a:cubicBezTo>
                <a:cubicBezTo>
                  <a:pt x="299" y="142"/>
                  <a:pt x="299" y="142"/>
                  <a:pt x="299" y="142"/>
                </a:cubicBezTo>
                <a:cubicBezTo>
                  <a:pt x="298" y="142"/>
                  <a:pt x="298" y="142"/>
                  <a:pt x="298" y="143"/>
                </a:cubicBezTo>
                <a:cubicBezTo>
                  <a:pt x="298" y="144"/>
                  <a:pt x="298" y="143"/>
                  <a:pt x="299" y="144"/>
                </a:cubicBezTo>
                <a:cubicBezTo>
                  <a:pt x="299" y="143"/>
                  <a:pt x="300" y="143"/>
                  <a:pt x="300" y="143"/>
                </a:cubicBezTo>
                <a:cubicBezTo>
                  <a:pt x="300" y="144"/>
                  <a:pt x="301" y="143"/>
                  <a:pt x="301" y="144"/>
                </a:cubicBezTo>
                <a:cubicBezTo>
                  <a:pt x="301" y="143"/>
                  <a:pt x="302" y="143"/>
                  <a:pt x="302" y="143"/>
                </a:cubicBezTo>
                <a:cubicBezTo>
                  <a:pt x="302" y="143"/>
                  <a:pt x="301" y="143"/>
                  <a:pt x="301" y="143"/>
                </a:cubicBezTo>
                <a:cubicBezTo>
                  <a:pt x="301" y="142"/>
                  <a:pt x="302" y="142"/>
                  <a:pt x="302" y="141"/>
                </a:cubicBezTo>
                <a:cubicBezTo>
                  <a:pt x="303" y="142"/>
                  <a:pt x="303" y="143"/>
                  <a:pt x="304" y="142"/>
                </a:cubicBezTo>
                <a:cubicBezTo>
                  <a:pt x="305" y="142"/>
                  <a:pt x="305" y="141"/>
                  <a:pt x="305" y="141"/>
                </a:cubicBezTo>
                <a:cubicBezTo>
                  <a:pt x="306" y="141"/>
                  <a:pt x="307" y="141"/>
                  <a:pt x="308" y="141"/>
                </a:cubicBezTo>
                <a:cubicBezTo>
                  <a:pt x="308" y="140"/>
                  <a:pt x="309" y="140"/>
                  <a:pt x="310" y="140"/>
                </a:cubicBezTo>
                <a:cubicBezTo>
                  <a:pt x="310" y="140"/>
                  <a:pt x="309" y="139"/>
                  <a:pt x="309" y="139"/>
                </a:cubicBezTo>
                <a:cubicBezTo>
                  <a:pt x="310" y="138"/>
                  <a:pt x="310" y="138"/>
                  <a:pt x="311" y="139"/>
                </a:cubicBezTo>
                <a:cubicBezTo>
                  <a:pt x="311" y="139"/>
                  <a:pt x="312" y="139"/>
                  <a:pt x="312" y="140"/>
                </a:cubicBezTo>
                <a:cubicBezTo>
                  <a:pt x="312" y="141"/>
                  <a:pt x="311" y="140"/>
                  <a:pt x="310" y="140"/>
                </a:cubicBezTo>
                <a:cubicBezTo>
                  <a:pt x="310" y="140"/>
                  <a:pt x="310" y="141"/>
                  <a:pt x="309" y="142"/>
                </a:cubicBezTo>
                <a:cubicBezTo>
                  <a:pt x="309" y="142"/>
                  <a:pt x="308" y="142"/>
                  <a:pt x="308" y="142"/>
                </a:cubicBezTo>
                <a:cubicBezTo>
                  <a:pt x="307" y="142"/>
                  <a:pt x="307" y="143"/>
                  <a:pt x="307" y="143"/>
                </a:cubicBezTo>
                <a:cubicBezTo>
                  <a:pt x="306" y="143"/>
                  <a:pt x="306" y="143"/>
                  <a:pt x="306" y="144"/>
                </a:cubicBezTo>
                <a:cubicBezTo>
                  <a:pt x="306" y="144"/>
                  <a:pt x="303" y="144"/>
                  <a:pt x="303" y="145"/>
                </a:cubicBezTo>
                <a:cubicBezTo>
                  <a:pt x="303" y="146"/>
                  <a:pt x="302" y="145"/>
                  <a:pt x="301" y="146"/>
                </a:cubicBezTo>
                <a:cubicBezTo>
                  <a:pt x="301" y="147"/>
                  <a:pt x="301" y="147"/>
                  <a:pt x="300" y="147"/>
                </a:cubicBezTo>
                <a:cubicBezTo>
                  <a:pt x="300" y="147"/>
                  <a:pt x="300" y="149"/>
                  <a:pt x="300" y="149"/>
                </a:cubicBezTo>
                <a:cubicBezTo>
                  <a:pt x="301" y="149"/>
                  <a:pt x="301" y="150"/>
                  <a:pt x="301" y="150"/>
                </a:cubicBezTo>
                <a:cubicBezTo>
                  <a:pt x="302" y="151"/>
                  <a:pt x="301" y="151"/>
                  <a:pt x="301" y="151"/>
                </a:cubicBezTo>
                <a:cubicBezTo>
                  <a:pt x="301" y="152"/>
                  <a:pt x="301" y="152"/>
                  <a:pt x="302" y="153"/>
                </a:cubicBezTo>
                <a:cubicBezTo>
                  <a:pt x="302" y="153"/>
                  <a:pt x="302" y="154"/>
                  <a:pt x="302" y="154"/>
                </a:cubicBezTo>
                <a:cubicBezTo>
                  <a:pt x="301" y="154"/>
                  <a:pt x="301" y="155"/>
                  <a:pt x="301" y="156"/>
                </a:cubicBezTo>
                <a:cubicBezTo>
                  <a:pt x="300" y="155"/>
                  <a:pt x="298" y="155"/>
                  <a:pt x="298" y="153"/>
                </a:cubicBezTo>
                <a:cubicBezTo>
                  <a:pt x="298" y="152"/>
                  <a:pt x="298" y="153"/>
                  <a:pt x="298" y="152"/>
                </a:cubicBezTo>
                <a:cubicBezTo>
                  <a:pt x="298" y="150"/>
                  <a:pt x="297" y="149"/>
                  <a:pt x="297" y="148"/>
                </a:cubicBezTo>
                <a:cubicBezTo>
                  <a:pt x="297" y="148"/>
                  <a:pt x="297" y="149"/>
                  <a:pt x="297" y="150"/>
                </a:cubicBezTo>
                <a:cubicBezTo>
                  <a:pt x="297" y="151"/>
                  <a:pt x="297" y="151"/>
                  <a:pt x="296" y="152"/>
                </a:cubicBezTo>
                <a:cubicBezTo>
                  <a:pt x="295" y="151"/>
                  <a:pt x="295" y="150"/>
                  <a:pt x="295" y="150"/>
                </a:cubicBezTo>
                <a:cubicBezTo>
                  <a:pt x="296" y="150"/>
                  <a:pt x="296" y="149"/>
                  <a:pt x="296" y="149"/>
                </a:cubicBezTo>
                <a:cubicBezTo>
                  <a:pt x="295" y="148"/>
                  <a:pt x="295" y="148"/>
                  <a:pt x="295" y="147"/>
                </a:cubicBezTo>
                <a:cubicBezTo>
                  <a:pt x="295" y="147"/>
                  <a:pt x="294" y="147"/>
                  <a:pt x="294" y="147"/>
                </a:cubicBezTo>
                <a:cubicBezTo>
                  <a:pt x="293" y="147"/>
                  <a:pt x="294" y="147"/>
                  <a:pt x="293" y="146"/>
                </a:cubicBezTo>
                <a:cubicBezTo>
                  <a:pt x="291" y="146"/>
                  <a:pt x="291" y="146"/>
                  <a:pt x="291" y="145"/>
                </a:cubicBezTo>
                <a:cubicBezTo>
                  <a:pt x="291" y="144"/>
                  <a:pt x="290" y="144"/>
                  <a:pt x="290" y="144"/>
                </a:cubicBezTo>
                <a:cubicBezTo>
                  <a:pt x="290" y="144"/>
                  <a:pt x="289" y="144"/>
                  <a:pt x="289" y="145"/>
                </a:cubicBezTo>
                <a:cubicBezTo>
                  <a:pt x="289" y="145"/>
                  <a:pt x="288" y="145"/>
                  <a:pt x="288" y="145"/>
                </a:cubicBezTo>
                <a:cubicBezTo>
                  <a:pt x="288" y="145"/>
                  <a:pt x="287" y="146"/>
                  <a:pt x="287" y="146"/>
                </a:cubicBezTo>
                <a:cubicBezTo>
                  <a:pt x="287" y="146"/>
                  <a:pt x="285" y="146"/>
                  <a:pt x="285" y="146"/>
                </a:cubicBezTo>
                <a:cubicBezTo>
                  <a:pt x="284" y="146"/>
                  <a:pt x="285" y="146"/>
                  <a:pt x="284" y="146"/>
                </a:cubicBezTo>
                <a:cubicBezTo>
                  <a:pt x="284" y="146"/>
                  <a:pt x="283" y="146"/>
                  <a:pt x="283" y="147"/>
                </a:cubicBezTo>
                <a:cubicBezTo>
                  <a:pt x="283" y="147"/>
                  <a:pt x="282" y="146"/>
                  <a:pt x="282" y="147"/>
                </a:cubicBezTo>
                <a:cubicBezTo>
                  <a:pt x="282" y="147"/>
                  <a:pt x="281" y="147"/>
                  <a:pt x="281" y="147"/>
                </a:cubicBezTo>
                <a:cubicBezTo>
                  <a:pt x="281" y="147"/>
                  <a:pt x="280" y="147"/>
                  <a:pt x="280" y="147"/>
                </a:cubicBezTo>
                <a:cubicBezTo>
                  <a:pt x="280" y="147"/>
                  <a:pt x="280" y="148"/>
                  <a:pt x="280" y="148"/>
                </a:cubicBezTo>
                <a:cubicBezTo>
                  <a:pt x="280" y="148"/>
                  <a:pt x="279" y="148"/>
                  <a:pt x="279" y="148"/>
                </a:cubicBezTo>
                <a:cubicBezTo>
                  <a:pt x="278" y="148"/>
                  <a:pt x="278" y="148"/>
                  <a:pt x="277" y="148"/>
                </a:cubicBezTo>
                <a:cubicBezTo>
                  <a:pt x="276" y="148"/>
                  <a:pt x="276" y="148"/>
                  <a:pt x="275" y="148"/>
                </a:cubicBezTo>
                <a:cubicBezTo>
                  <a:pt x="275" y="148"/>
                  <a:pt x="275" y="148"/>
                  <a:pt x="275" y="148"/>
                </a:cubicBezTo>
                <a:cubicBezTo>
                  <a:pt x="275" y="147"/>
                  <a:pt x="273" y="148"/>
                  <a:pt x="273" y="148"/>
                </a:cubicBezTo>
                <a:cubicBezTo>
                  <a:pt x="272" y="148"/>
                  <a:pt x="270" y="147"/>
                  <a:pt x="270" y="147"/>
                </a:cubicBezTo>
                <a:cubicBezTo>
                  <a:pt x="270" y="146"/>
                  <a:pt x="270" y="145"/>
                  <a:pt x="270" y="145"/>
                </a:cubicBezTo>
                <a:cubicBezTo>
                  <a:pt x="270" y="144"/>
                  <a:pt x="270" y="144"/>
                  <a:pt x="271" y="144"/>
                </a:cubicBezTo>
                <a:cubicBezTo>
                  <a:pt x="271" y="143"/>
                  <a:pt x="271" y="143"/>
                  <a:pt x="271" y="142"/>
                </a:cubicBezTo>
                <a:cubicBezTo>
                  <a:pt x="271" y="143"/>
                  <a:pt x="272" y="143"/>
                  <a:pt x="273" y="143"/>
                </a:cubicBezTo>
                <a:cubicBezTo>
                  <a:pt x="274" y="143"/>
                  <a:pt x="274" y="143"/>
                  <a:pt x="275" y="142"/>
                </a:cubicBezTo>
                <a:cubicBezTo>
                  <a:pt x="274" y="141"/>
                  <a:pt x="273" y="141"/>
                  <a:pt x="273" y="140"/>
                </a:cubicBezTo>
                <a:cubicBezTo>
                  <a:pt x="273" y="139"/>
                  <a:pt x="273" y="140"/>
                  <a:pt x="272" y="139"/>
                </a:cubicBezTo>
                <a:cubicBezTo>
                  <a:pt x="272" y="139"/>
                  <a:pt x="271" y="138"/>
                  <a:pt x="271" y="138"/>
                </a:cubicBezTo>
                <a:cubicBezTo>
                  <a:pt x="270" y="138"/>
                  <a:pt x="270" y="138"/>
                  <a:pt x="269" y="138"/>
                </a:cubicBezTo>
                <a:cubicBezTo>
                  <a:pt x="269" y="137"/>
                  <a:pt x="269" y="137"/>
                  <a:pt x="268" y="137"/>
                </a:cubicBezTo>
                <a:cubicBezTo>
                  <a:pt x="267" y="137"/>
                  <a:pt x="266" y="137"/>
                  <a:pt x="265" y="137"/>
                </a:cubicBezTo>
                <a:cubicBezTo>
                  <a:pt x="265" y="138"/>
                  <a:pt x="266" y="138"/>
                  <a:pt x="266" y="139"/>
                </a:cubicBezTo>
                <a:cubicBezTo>
                  <a:pt x="265" y="139"/>
                  <a:pt x="265" y="139"/>
                  <a:pt x="264" y="139"/>
                </a:cubicBezTo>
                <a:cubicBezTo>
                  <a:pt x="264" y="139"/>
                  <a:pt x="264" y="139"/>
                  <a:pt x="263" y="139"/>
                </a:cubicBezTo>
                <a:cubicBezTo>
                  <a:pt x="263" y="138"/>
                  <a:pt x="263" y="138"/>
                  <a:pt x="262" y="138"/>
                </a:cubicBezTo>
                <a:cubicBezTo>
                  <a:pt x="262" y="138"/>
                  <a:pt x="262" y="138"/>
                  <a:pt x="261" y="138"/>
                </a:cubicBezTo>
                <a:cubicBezTo>
                  <a:pt x="261" y="138"/>
                  <a:pt x="260" y="138"/>
                  <a:pt x="260" y="138"/>
                </a:cubicBezTo>
                <a:cubicBezTo>
                  <a:pt x="259" y="137"/>
                  <a:pt x="258" y="137"/>
                  <a:pt x="258" y="136"/>
                </a:cubicBezTo>
                <a:cubicBezTo>
                  <a:pt x="257" y="137"/>
                  <a:pt x="256" y="137"/>
                  <a:pt x="256" y="136"/>
                </a:cubicBezTo>
                <a:cubicBezTo>
                  <a:pt x="256" y="135"/>
                  <a:pt x="254" y="136"/>
                  <a:pt x="254" y="136"/>
                </a:cubicBezTo>
                <a:cubicBezTo>
                  <a:pt x="253" y="135"/>
                  <a:pt x="254" y="135"/>
                  <a:pt x="253" y="135"/>
                </a:cubicBezTo>
                <a:cubicBezTo>
                  <a:pt x="253" y="135"/>
                  <a:pt x="253" y="134"/>
                  <a:pt x="253" y="134"/>
                </a:cubicBezTo>
                <a:cubicBezTo>
                  <a:pt x="253" y="134"/>
                  <a:pt x="252" y="134"/>
                  <a:pt x="251" y="134"/>
                </a:cubicBezTo>
                <a:cubicBezTo>
                  <a:pt x="251" y="134"/>
                  <a:pt x="250" y="134"/>
                  <a:pt x="250" y="134"/>
                </a:cubicBezTo>
                <a:cubicBezTo>
                  <a:pt x="250" y="134"/>
                  <a:pt x="249" y="134"/>
                  <a:pt x="249" y="134"/>
                </a:cubicBezTo>
                <a:cubicBezTo>
                  <a:pt x="249" y="134"/>
                  <a:pt x="249" y="133"/>
                  <a:pt x="249" y="133"/>
                </a:cubicBezTo>
                <a:cubicBezTo>
                  <a:pt x="249" y="133"/>
                  <a:pt x="248" y="133"/>
                  <a:pt x="248" y="133"/>
                </a:cubicBezTo>
                <a:cubicBezTo>
                  <a:pt x="247" y="133"/>
                  <a:pt x="248" y="133"/>
                  <a:pt x="247" y="133"/>
                </a:cubicBezTo>
                <a:cubicBezTo>
                  <a:pt x="247" y="133"/>
                  <a:pt x="247" y="133"/>
                  <a:pt x="246" y="132"/>
                </a:cubicBezTo>
                <a:cubicBezTo>
                  <a:pt x="246" y="132"/>
                  <a:pt x="245" y="132"/>
                  <a:pt x="245" y="132"/>
                </a:cubicBezTo>
                <a:cubicBezTo>
                  <a:pt x="245" y="132"/>
                  <a:pt x="245" y="131"/>
                  <a:pt x="245" y="131"/>
                </a:cubicBezTo>
                <a:cubicBezTo>
                  <a:pt x="244" y="131"/>
                  <a:pt x="243" y="130"/>
                  <a:pt x="241" y="130"/>
                </a:cubicBezTo>
                <a:cubicBezTo>
                  <a:pt x="240" y="130"/>
                  <a:pt x="241" y="129"/>
                  <a:pt x="240" y="129"/>
                </a:cubicBezTo>
                <a:cubicBezTo>
                  <a:pt x="240" y="129"/>
                  <a:pt x="240" y="129"/>
                  <a:pt x="239" y="129"/>
                </a:cubicBezTo>
                <a:cubicBezTo>
                  <a:pt x="239" y="129"/>
                  <a:pt x="239" y="129"/>
                  <a:pt x="239" y="129"/>
                </a:cubicBezTo>
                <a:cubicBezTo>
                  <a:pt x="238" y="129"/>
                  <a:pt x="236" y="128"/>
                  <a:pt x="236" y="129"/>
                </a:cubicBezTo>
                <a:cubicBezTo>
                  <a:pt x="235" y="129"/>
                  <a:pt x="235" y="129"/>
                  <a:pt x="234" y="129"/>
                </a:cubicBezTo>
                <a:cubicBezTo>
                  <a:pt x="234" y="130"/>
                  <a:pt x="234" y="130"/>
                  <a:pt x="233" y="130"/>
                </a:cubicBezTo>
                <a:cubicBezTo>
                  <a:pt x="232" y="131"/>
                  <a:pt x="231" y="132"/>
                  <a:pt x="230" y="132"/>
                </a:cubicBezTo>
                <a:cubicBezTo>
                  <a:pt x="230" y="132"/>
                  <a:pt x="230" y="132"/>
                  <a:pt x="230" y="131"/>
                </a:cubicBezTo>
                <a:cubicBezTo>
                  <a:pt x="230" y="131"/>
                  <a:pt x="230" y="131"/>
                  <a:pt x="230" y="131"/>
                </a:cubicBezTo>
                <a:cubicBezTo>
                  <a:pt x="228" y="130"/>
                  <a:pt x="229" y="130"/>
                  <a:pt x="229" y="128"/>
                </a:cubicBezTo>
                <a:cubicBezTo>
                  <a:pt x="228" y="129"/>
                  <a:pt x="228" y="128"/>
                  <a:pt x="228" y="127"/>
                </a:cubicBezTo>
                <a:cubicBezTo>
                  <a:pt x="229" y="127"/>
                  <a:pt x="229" y="127"/>
                  <a:pt x="229" y="127"/>
                </a:cubicBezTo>
                <a:cubicBezTo>
                  <a:pt x="230" y="126"/>
                  <a:pt x="229" y="126"/>
                  <a:pt x="228" y="126"/>
                </a:cubicBezTo>
                <a:cubicBezTo>
                  <a:pt x="228" y="126"/>
                  <a:pt x="228" y="126"/>
                  <a:pt x="227" y="127"/>
                </a:cubicBezTo>
                <a:cubicBezTo>
                  <a:pt x="226" y="127"/>
                  <a:pt x="227" y="128"/>
                  <a:pt x="227" y="128"/>
                </a:cubicBezTo>
                <a:cubicBezTo>
                  <a:pt x="227" y="129"/>
                  <a:pt x="227" y="129"/>
                  <a:pt x="226" y="129"/>
                </a:cubicBezTo>
                <a:cubicBezTo>
                  <a:pt x="227" y="129"/>
                  <a:pt x="227" y="130"/>
                  <a:pt x="227" y="129"/>
                </a:cubicBezTo>
                <a:cubicBezTo>
                  <a:pt x="227" y="130"/>
                  <a:pt x="227" y="132"/>
                  <a:pt x="226" y="132"/>
                </a:cubicBezTo>
                <a:cubicBezTo>
                  <a:pt x="226" y="132"/>
                  <a:pt x="226" y="133"/>
                  <a:pt x="226" y="133"/>
                </a:cubicBezTo>
                <a:cubicBezTo>
                  <a:pt x="226" y="133"/>
                  <a:pt x="225" y="134"/>
                  <a:pt x="225" y="133"/>
                </a:cubicBezTo>
                <a:cubicBezTo>
                  <a:pt x="225" y="133"/>
                  <a:pt x="224" y="132"/>
                  <a:pt x="223" y="132"/>
                </a:cubicBezTo>
                <a:cubicBezTo>
                  <a:pt x="223" y="131"/>
                  <a:pt x="223" y="131"/>
                  <a:pt x="223" y="131"/>
                </a:cubicBezTo>
                <a:cubicBezTo>
                  <a:pt x="223" y="131"/>
                  <a:pt x="223" y="131"/>
                  <a:pt x="223" y="131"/>
                </a:cubicBezTo>
                <a:cubicBezTo>
                  <a:pt x="222" y="130"/>
                  <a:pt x="221" y="130"/>
                  <a:pt x="220" y="129"/>
                </a:cubicBezTo>
                <a:cubicBezTo>
                  <a:pt x="220" y="128"/>
                  <a:pt x="218" y="128"/>
                  <a:pt x="218" y="127"/>
                </a:cubicBezTo>
                <a:cubicBezTo>
                  <a:pt x="218" y="127"/>
                  <a:pt x="218" y="127"/>
                  <a:pt x="218" y="127"/>
                </a:cubicBezTo>
                <a:cubicBezTo>
                  <a:pt x="218" y="126"/>
                  <a:pt x="217" y="127"/>
                  <a:pt x="217" y="126"/>
                </a:cubicBezTo>
                <a:cubicBezTo>
                  <a:pt x="217" y="126"/>
                  <a:pt x="217" y="126"/>
                  <a:pt x="216" y="125"/>
                </a:cubicBezTo>
                <a:cubicBezTo>
                  <a:pt x="216" y="125"/>
                  <a:pt x="216" y="125"/>
                  <a:pt x="216" y="125"/>
                </a:cubicBezTo>
                <a:cubicBezTo>
                  <a:pt x="216" y="125"/>
                  <a:pt x="215" y="125"/>
                  <a:pt x="215" y="124"/>
                </a:cubicBezTo>
                <a:cubicBezTo>
                  <a:pt x="213" y="124"/>
                  <a:pt x="213" y="123"/>
                  <a:pt x="212" y="122"/>
                </a:cubicBezTo>
                <a:cubicBezTo>
                  <a:pt x="211" y="122"/>
                  <a:pt x="211" y="122"/>
                  <a:pt x="211" y="121"/>
                </a:cubicBezTo>
                <a:cubicBezTo>
                  <a:pt x="210" y="121"/>
                  <a:pt x="210" y="120"/>
                  <a:pt x="210" y="119"/>
                </a:cubicBezTo>
                <a:cubicBezTo>
                  <a:pt x="209" y="119"/>
                  <a:pt x="207" y="118"/>
                  <a:pt x="207" y="117"/>
                </a:cubicBezTo>
                <a:cubicBezTo>
                  <a:pt x="206" y="118"/>
                  <a:pt x="205" y="118"/>
                  <a:pt x="205" y="119"/>
                </a:cubicBezTo>
                <a:cubicBezTo>
                  <a:pt x="206" y="120"/>
                  <a:pt x="205" y="121"/>
                  <a:pt x="206" y="121"/>
                </a:cubicBezTo>
                <a:cubicBezTo>
                  <a:pt x="206" y="122"/>
                  <a:pt x="205" y="124"/>
                  <a:pt x="205" y="125"/>
                </a:cubicBezTo>
                <a:cubicBezTo>
                  <a:pt x="204" y="125"/>
                  <a:pt x="203" y="127"/>
                  <a:pt x="203" y="127"/>
                </a:cubicBezTo>
                <a:cubicBezTo>
                  <a:pt x="202" y="127"/>
                  <a:pt x="202" y="127"/>
                  <a:pt x="201" y="127"/>
                </a:cubicBezTo>
                <a:cubicBezTo>
                  <a:pt x="200" y="127"/>
                  <a:pt x="201" y="127"/>
                  <a:pt x="200" y="127"/>
                </a:cubicBezTo>
                <a:cubicBezTo>
                  <a:pt x="199" y="127"/>
                  <a:pt x="200" y="128"/>
                  <a:pt x="199" y="128"/>
                </a:cubicBezTo>
                <a:cubicBezTo>
                  <a:pt x="198" y="128"/>
                  <a:pt x="197" y="128"/>
                  <a:pt x="197" y="128"/>
                </a:cubicBezTo>
                <a:cubicBezTo>
                  <a:pt x="197" y="129"/>
                  <a:pt x="197" y="128"/>
                  <a:pt x="197" y="129"/>
                </a:cubicBezTo>
                <a:cubicBezTo>
                  <a:pt x="197" y="129"/>
                  <a:pt x="197" y="130"/>
                  <a:pt x="197" y="130"/>
                </a:cubicBezTo>
                <a:cubicBezTo>
                  <a:pt x="197" y="131"/>
                  <a:pt x="195" y="131"/>
                  <a:pt x="195" y="131"/>
                </a:cubicBezTo>
                <a:cubicBezTo>
                  <a:pt x="195" y="132"/>
                  <a:pt x="194" y="132"/>
                  <a:pt x="194" y="132"/>
                </a:cubicBezTo>
                <a:cubicBezTo>
                  <a:pt x="193" y="132"/>
                  <a:pt x="193" y="132"/>
                  <a:pt x="193" y="132"/>
                </a:cubicBezTo>
                <a:cubicBezTo>
                  <a:pt x="193" y="132"/>
                  <a:pt x="193" y="132"/>
                  <a:pt x="193" y="133"/>
                </a:cubicBezTo>
                <a:cubicBezTo>
                  <a:pt x="192" y="133"/>
                  <a:pt x="192" y="133"/>
                  <a:pt x="192" y="132"/>
                </a:cubicBezTo>
                <a:cubicBezTo>
                  <a:pt x="192" y="131"/>
                  <a:pt x="191" y="131"/>
                  <a:pt x="190" y="132"/>
                </a:cubicBezTo>
                <a:cubicBezTo>
                  <a:pt x="190" y="132"/>
                  <a:pt x="190" y="133"/>
                  <a:pt x="191" y="133"/>
                </a:cubicBezTo>
                <a:cubicBezTo>
                  <a:pt x="190" y="133"/>
                  <a:pt x="190" y="133"/>
                  <a:pt x="189" y="133"/>
                </a:cubicBezTo>
                <a:cubicBezTo>
                  <a:pt x="188" y="134"/>
                  <a:pt x="189" y="134"/>
                  <a:pt x="188" y="134"/>
                </a:cubicBezTo>
                <a:cubicBezTo>
                  <a:pt x="187" y="134"/>
                  <a:pt x="187" y="135"/>
                  <a:pt x="187" y="135"/>
                </a:cubicBezTo>
                <a:cubicBezTo>
                  <a:pt x="187" y="135"/>
                  <a:pt x="186" y="136"/>
                  <a:pt x="186" y="136"/>
                </a:cubicBezTo>
                <a:cubicBezTo>
                  <a:pt x="186" y="137"/>
                  <a:pt x="186" y="137"/>
                  <a:pt x="186" y="138"/>
                </a:cubicBezTo>
                <a:cubicBezTo>
                  <a:pt x="185" y="138"/>
                  <a:pt x="184" y="138"/>
                  <a:pt x="183" y="139"/>
                </a:cubicBezTo>
                <a:cubicBezTo>
                  <a:pt x="183" y="138"/>
                  <a:pt x="183" y="137"/>
                  <a:pt x="183" y="137"/>
                </a:cubicBezTo>
                <a:cubicBezTo>
                  <a:pt x="184" y="136"/>
                  <a:pt x="184" y="136"/>
                  <a:pt x="185" y="136"/>
                </a:cubicBezTo>
                <a:cubicBezTo>
                  <a:pt x="186" y="135"/>
                  <a:pt x="185" y="134"/>
                  <a:pt x="185" y="133"/>
                </a:cubicBezTo>
                <a:cubicBezTo>
                  <a:pt x="186" y="133"/>
                  <a:pt x="186" y="133"/>
                  <a:pt x="187" y="133"/>
                </a:cubicBezTo>
                <a:cubicBezTo>
                  <a:pt x="187" y="132"/>
                  <a:pt x="187" y="131"/>
                  <a:pt x="187" y="131"/>
                </a:cubicBezTo>
                <a:cubicBezTo>
                  <a:pt x="188" y="130"/>
                  <a:pt x="188" y="130"/>
                  <a:pt x="189" y="130"/>
                </a:cubicBezTo>
                <a:cubicBezTo>
                  <a:pt x="190" y="129"/>
                  <a:pt x="192" y="129"/>
                  <a:pt x="193" y="129"/>
                </a:cubicBezTo>
                <a:cubicBezTo>
                  <a:pt x="194" y="129"/>
                  <a:pt x="195" y="129"/>
                  <a:pt x="195" y="129"/>
                </a:cubicBezTo>
                <a:cubicBezTo>
                  <a:pt x="197" y="128"/>
                  <a:pt x="195" y="128"/>
                  <a:pt x="196" y="128"/>
                </a:cubicBezTo>
                <a:cubicBezTo>
                  <a:pt x="197" y="127"/>
                  <a:pt x="196" y="128"/>
                  <a:pt x="197" y="127"/>
                </a:cubicBezTo>
                <a:cubicBezTo>
                  <a:pt x="197" y="127"/>
                  <a:pt x="197" y="127"/>
                  <a:pt x="198" y="126"/>
                </a:cubicBezTo>
                <a:cubicBezTo>
                  <a:pt x="198" y="126"/>
                  <a:pt x="198" y="126"/>
                  <a:pt x="198" y="126"/>
                </a:cubicBezTo>
                <a:cubicBezTo>
                  <a:pt x="198" y="126"/>
                  <a:pt x="199" y="126"/>
                  <a:pt x="199" y="126"/>
                </a:cubicBezTo>
                <a:cubicBezTo>
                  <a:pt x="199" y="126"/>
                  <a:pt x="199" y="125"/>
                  <a:pt x="199" y="125"/>
                </a:cubicBezTo>
                <a:cubicBezTo>
                  <a:pt x="200" y="125"/>
                  <a:pt x="200" y="124"/>
                  <a:pt x="200" y="123"/>
                </a:cubicBezTo>
                <a:cubicBezTo>
                  <a:pt x="199" y="123"/>
                  <a:pt x="198" y="124"/>
                  <a:pt x="198" y="124"/>
                </a:cubicBezTo>
                <a:cubicBezTo>
                  <a:pt x="198" y="123"/>
                  <a:pt x="195" y="123"/>
                  <a:pt x="195" y="123"/>
                </a:cubicBezTo>
                <a:cubicBezTo>
                  <a:pt x="193" y="123"/>
                  <a:pt x="194" y="123"/>
                  <a:pt x="193" y="124"/>
                </a:cubicBezTo>
                <a:cubicBezTo>
                  <a:pt x="193" y="125"/>
                  <a:pt x="193" y="126"/>
                  <a:pt x="193" y="126"/>
                </a:cubicBezTo>
                <a:cubicBezTo>
                  <a:pt x="192" y="127"/>
                  <a:pt x="192" y="127"/>
                  <a:pt x="191" y="127"/>
                </a:cubicBezTo>
                <a:cubicBezTo>
                  <a:pt x="191" y="127"/>
                  <a:pt x="191" y="127"/>
                  <a:pt x="191" y="127"/>
                </a:cubicBezTo>
                <a:cubicBezTo>
                  <a:pt x="191" y="126"/>
                  <a:pt x="190" y="127"/>
                  <a:pt x="190" y="126"/>
                </a:cubicBezTo>
                <a:cubicBezTo>
                  <a:pt x="189" y="126"/>
                  <a:pt x="188" y="127"/>
                  <a:pt x="188" y="127"/>
                </a:cubicBezTo>
                <a:cubicBezTo>
                  <a:pt x="188" y="127"/>
                  <a:pt x="187" y="127"/>
                  <a:pt x="186" y="127"/>
                </a:cubicBezTo>
                <a:cubicBezTo>
                  <a:pt x="186" y="128"/>
                  <a:pt x="186" y="128"/>
                  <a:pt x="185" y="128"/>
                </a:cubicBezTo>
                <a:cubicBezTo>
                  <a:pt x="184" y="128"/>
                  <a:pt x="184" y="129"/>
                  <a:pt x="184" y="130"/>
                </a:cubicBezTo>
                <a:cubicBezTo>
                  <a:pt x="184" y="130"/>
                  <a:pt x="184" y="130"/>
                  <a:pt x="183" y="131"/>
                </a:cubicBezTo>
                <a:cubicBezTo>
                  <a:pt x="182" y="131"/>
                  <a:pt x="181" y="131"/>
                  <a:pt x="180" y="131"/>
                </a:cubicBezTo>
                <a:cubicBezTo>
                  <a:pt x="180" y="129"/>
                  <a:pt x="179" y="130"/>
                  <a:pt x="178" y="129"/>
                </a:cubicBezTo>
                <a:cubicBezTo>
                  <a:pt x="177" y="129"/>
                  <a:pt x="177" y="129"/>
                  <a:pt x="177" y="128"/>
                </a:cubicBezTo>
                <a:cubicBezTo>
                  <a:pt x="177" y="128"/>
                  <a:pt x="177" y="128"/>
                  <a:pt x="177" y="128"/>
                </a:cubicBezTo>
                <a:cubicBezTo>
                  <a:pt x="177" y="128"/>
                  <a:pt x="177" y="129"/>
                  <a:pt x="177" y="130"/>
                </a:cubicBezTo>
                <a:cubicBezTo>
                  <a:pt x="177" y="130"/>
                  <a:pt x="177" y="130"/>
                  <a:pt x="177" y="130"/>
                </a:cubicBezTo>
                <a:cubicBezTo>
                  <a:pt x="176" y="130"/>
                  <a:pt x="176" y="131"/>
                  <a:pt x="176" y="132"/>
                </a:cubicBezTo>
                <a:cubicBezTo>
                  <a:pt x="175" y="132"/>
                  <a:pt x="175" y="132"/>
                  <a:pt x="174" y="132"/>
                </a:cubicBezTo>
                <a:cubicBezTo>
                  <a:pt x="174" y="132"/>
                  <a:pt x="174" y="134"/>
                  <a:pt x="174" y="134"/>
                </a:cubicBezTo>
                <a:cubicBezTo>
                  <a:pt x="173" y="134"/>
                  <a:pt x="173" y="134"/>
                  <a:pt x="173" y="133"/>
                </a:cubicBezTo>
                <a:cubicBezTo>
                  <a:pt x="172" y="132"/>
                  <a:pt x="171" y="133"/>
                  <a:pt x="171" y="133"/>
                </a:cubicBezTo>
                <a:cubicBezTo>
                  <a:pt x="171" y="133"/>
                  <a:pt x="170" y="133"/>
                  <a:pt x="170" y="133"/>
                </a:cubicBezTo>
                <a:cubicBezTo>
                  <a:pt x="170" y="134"/>
                  <a:pt x="170" y="135"/>
                  <a:pt x="171" y="135"/>
                </a:cubicBezTo>
                <a:cubicBezTo>
                  <a:pt x="171" y="135"/>
                  <a:pt x="172" y="135"/>
                  <a:pt x="172" y="135"/>
                </a:cubicBezTo>
                <a:cubicBezTo>
                  <a:pt x="172" y="135"/>
                  <a:pt x="172" y="136"/>
                  <a:pt x="173" y="136"/>
                </a:cubicBezTo>
                <a:cubicBezTo>
                  <a:pt x="173" y="136"/>
                  <a:pt x="173" y="137"/>
                  <a:pt x="173" y="137"/>
                </a:cubicBezTo>
                <a:cubicBezTo>
                  <a:pt x="173" y="138"/>
                  <a:pt x="172" y="137"/>
                  <a:pt x="173" y="139"/>
                </a:cubicBezTo>
                <a:cubicBezTo>
                  <a:pt x="172" y="139"/>
                  <a:pt x="172" y="139"/>
                  <a:pt x="172" y="138"/>
                </a:cubicBezTo>
                <a:cubicBezTo>
                  <a:pt x="172" y="137"/>
                  <a:pt x="171" y="137"/>
                  <a:pt x="171" y="136"/>
                </a:cubicBezTo>
                <a:cubicBezTo>
                  <a:pt x="171" y="136"/>
                  <a:pt x="170" y="136"/>
                  <a:pt x="170" y="135"/>
                </a:cubicBezTo>
                <a:cubicBezTo>
                  <a:pt x="170" y="135"/>
                  <a:pt x="169" y="135"/>
                  <a:pt x="169" y="135"/>
                </a:cubicBezTo>
                <a:cubicBezTo>
                  <a:pt x="169" y="135"/>
                  <a:pt x="169" y="135"/>
                  <a:pt x="168" y="135"/>
                </a:cubicBezTo>
                <a:cubicBezTo>
                  <a:pt x="167" y="134"/>
                  <a:pt x="166" y="134"/>
                  <a:pt x="165" y="133"/>
                </a:cubicBezTo>
                <a:cubicBezTo>
                  <a:pt x="164" y="133"/>
                  <a:pt x="165" y="133"/>
                  <a:pt x="164" y="133"/>
                </a:cubicBezTo>
                <a:cubicBezTo>
                  <a:pt x="164" y="133"/>
                  <a:pt x="164" y="133"/>
                  <a:pt x="163" y="133"/>
                </a:cubicBezTo>
                <a:cubicBezTo>
                  <a:pt x="162" y="133"/>
                  <a:pt x="162" y="132"/>
                  <a:pt x="161" y="131"/>
                </a:cubicBezTo>
                <a:cubicBezTo>
                  <a:pt x="161" y="131"/>
                  <a:pt x="161" y="131"/>
                  <a:pt x="160" y="131"/>
                </a:cubicBezTo>
                <a:cubicBezTo>
                  <a:pt x="158" y="131"/>
                  <a:pt x="160" y="131"/>
                  <a:pt x="159" y="131"/>
                </a:cubicBezTo>
                <a:cubicBezTo>
                  <a:pt x="159" y="131"/>
                  <a:pt x="158" y="131"/>
                  <a:pt x="158" y="130"/>
                </a:cubicBezTo>
                <a:cubicBezTo>
                  <a:pt x="158" y="129"/>
                  <a:pt x="158" y="129"/>
                  <a:pt x="157" y="129"/>
                </a:cubicBezTo>
                <a:cubicBezTo>
                  <a:pt x="156" y="129"/>
                  <a:pt x="156" y="129"/>
                  <a:pt x="155" y="128"/>
                </a:cubicBezTo>
                <a:cubicBezTo>
                  <a:pt x="155" y="128"/>
                  <a:pt x="154" y="128"/>
                  <a:pt x="153" y="128"/>
                </a:cubicBezTo>
                <a:cubicBezTo>
                  <a:pt x="152" y="128"/>
                  <a:pt x="149" y="127"/>
                  <a:pt x="149" y="128"/>
                </a:cubicBezTo>
                <a:cubicBezTo>
                  <a:pt x="148" y="129"/>
                  <a:pt x="148" y="127"/>
                  <a:pt x="147" y="127"/>
                </a:cubicBezTo>
                <a:cubicBezTo>
                  <a:pt x="147" y="127"/>
                  <a:pt x="146" y="128"/>
                  <a:pt x="146" y="127"/>
                </a:cubicBezTo>
                <a:cubicBezTo>
                  <a:pt x="146" y="127"/>
                  <a:pt x="144" y="127"/>
                  <a:pt x="144" y="127"/>
                </a:cubicBezTo>
                <a:cubicBezTo>
                  <a:pt x="143" y="125"/>
                  <a:pt x="142" y="126"/>
                  <a:pt x="141" y="125"/>
                </a:cubicBezTo>
                <a:cubicBezTo>
                  <a:pt x="140" y="125"/>
                  <a:pt x="140" y="125"/>
                  <a:pt x="140" y="124"/>
                </a:cubicBezTo>
                <a:cubicBezTo>
                  <a:pt x="139" y="124"/>
                  <a:pt x="139" y="125"/>
                  <a:pt x="138" y="125"/>
                </a:cubicBezTo>
                <a:cubicBezTo>
                  <a:pt x="138" y="125"/>
                  <a:pt x="138" y="125"/>
                  <a:pt x="137" y="125"/>
                </a:cubicBezTo>
                <a:cubicBezTo>
                  <a:pt x="137" y="125"/>
                  <a:pt x="137" y="125"/>
                  <a:pt x="136" y="125"/>
                </a:cubicBezTo>
                <a:cubicBezTo>
                  <a:pt x="135" y="125"/>
                  <a:pt x="135" y="124"/>
                  <a:pt x="134" y="124"/>
                </a:cubicBezTo>
                <a:cubicBezTo>
                  <a:pt x="134" y="124"/>
                  <a:pt x="133" y="125"/>
                  <a:pt x="133" y="125"/>
                </a:cubicBezTo>
                <a:cubicBezTo>
                  <a:pt x="133" y="126"/>
                  <a:pt x="133" y="127"/>
                  <a:pt x="132" y="126"/>
                </a:cubicBezTo>
                <a:cubicBezTo>
                  <a:pt x="132" y="126"/>
                  <a:pt x="132" y="125"/>
                  <a:pt x="131" y="125"/>
                </a:cubicBezTo>
                <a:cubicBezTo>
                  <a:pt x="131" y="125"/>
                  <a:pt x="131" y="126"/>
                  <a:pt x="130" y="126"/>
                </a:cubicBezTo>
                <a:cubicBezTo>
                  <a:pt x="130" y="126"/>
                  <a:pt x="130" y="126"/>
                  <a:pt x="130" y="125"/>
                </a:cubicBezTo>
                <a:cubicBezTo>
                  <a:pt x="129" y="124"/>
                  <a:pt x="129" y="125"/>
                  <a:pt x="128" y="125"/>
                </a:cubicBezTo>
                <a:cubicBezTo>
                  <a:pt x="127" y="125"/>
                  <a:pt x="126" y="125"/>
                  <a:pt x="125" y="124"/>
                </a:cubicBezTo>
                <a:cubicBezTo>
                  <a:pt x="124" y="124"/>
                  <a:pt x="123" y="125"/>
                  <a:pt x="123" y="123"/>
                </a:cubicBezTo>
                <a:cubicBezTo>
                  <a:pt x="122" y="123"/>
                  <a:pt x="120" y="123"/>
                  <a:pt x="120" y="124"/>
                </a:cubicBezTo>
                <a:cubicBezTo>
                  <a:pt x="120" y="124"/>
                  <a:pt x="120" y="123"/>
                  <a:pt x="119" y="123"/>
                </a:cubicBezTo>
                <a:cubicBezTo>
                  <a:pt x="119" y="123"/>
                  <a:pt x="118" y="123"/>
                  <a:pt x="118" y="123"/>
                </a:cubicBezTo>
                <a:cubicBezTo>
                  <a:pt x="117" y="123"/>
                  <a:pt x="115" y="124"/>
                  <a:pt x="116" y="123"/>
                </a:cubicBezTo>
                <a:cubicBezTo>
                  <a:pt x="115" y="123"/>
                  <a:pt x="114" y="123"/>
                  <a:pt x="113" y="123"/>
                </a:cubicBezTo>
                <a:cubicBezTo>
                  <a:pt x="112" y="123"/>
                  <a:pt x="112" y="123"/>
                  <a:pt x="112" y="123"/>
                </a:cubicBezTo>
                <a:cubicBezTo>
                  <a:pt x="111" y="123"/>
                  <a:pt x="110" y="123"/>
                  <a:pt x="110" y="123"/>
                </a:cubicBezTo>
                <a:cubicBezTo>
                  <a:pt x="109" y="122"/>
                  <a:pt x="109" y="123"/>
                  <a:pt x="108" y="122"/>
                </a:cubicBezTo>
                <a:cubicBezTo>
                  <a:pt x="108" y="122"/>
                  <a:pt x="108" y="122"/>
                  <a:pt x="107" y="121"/>
                </a:cubicBezTo>
                <a:cubicBezTo>
                  <a:pt x="107" y="121"/>
                  <a:pt x="106" y="122"/>
                  <a:pt x="106" y="121"/>
                </a:cubicBezTo>
                <a:cubicBezTo>
                  <a:pt x="104" y="120"/>
                  <a:pt x="104" y="122"/>
                  <a:pt x="102" y="122"/>
                </a:cubicBezTo>
                <a:cubicBezTo>
                  <a:pt x="101" y="122"/>
                  <a:pt x="101" y="122"/>
                  <a:pt x="99" y="123"/>
                </a:cubicBezTo>
                <a:cubicBezTo>
                  <a:pt x="99" y="122"/>
                  <a:pt x="98" y="122"/>
                  <a:pt x="97" y="122"/>
                </a:cubicBezTo>
                <a:cubicBezTo>
                  <a:pt x="97" y="122"/>
                  <a:pt x="97" y="122"/>
                  <a:pt x="96" y="122"/>
                </a:cubicBezTo>
                <a:cubicBezTo>
                  <a:pt x="96" y="122"/>
                  <a:pt x="96" y="122"/>
                  <a:pt x="95" y="122"/>
                </a:cubicBezTo>
                <a:cubicBezTo>
                  <a:pt x="95" y="122"/>
                  <a:pt x="96" y="121"/>
                  <a:pt x="95" y="121"/>
                </a:cubicBezTo>
                <a:cubicBezTo>
                  <a:pt x="94" y="121"/>
                  <a:pt x="93" y="121"/>
                  <a:pt x="92" y="121"/>
                </a:cubicBezTo>
                <a:cubicBezTo>
                  <a:pt x="92" y="121"/>
                  <a:pt x="93" y="121"/>
                  <a:pt x="92" y="121"/>
                </a:cubicBezTo>
                <a:cubicBezTo>
                  <a:pt x="92" y="121"/>
                  <a:pt x="92" y="121"/>
                  <a:pt x="92" y="121"/>
                </a:cubicBezTo>
                <a:cubicBezTo>
                  <a:pt x="91" y="121"/>
                  <a:pt x="90" y="121"/>
                  <a:pt x="90" y="121"/>
                </a:cubicBezTo>
                <a:cubicBezTo>
                  <a:pt x="90" y="120"/>
                  <a:pt x="90" y="120"/>
                  <a:pt x="90" y="119"/>
                </a:cubicBezTo>
                <a:cubicBezTo>
                  <a:pt x="89" y="119"/>
                  <a:pt x="88" y="119"/>
                  <a:pt x="86" y="119"/>
                </a:cubicBezTo>
                <a:cubicBezTo>
                  <a:pt x="86" y="119"/>
                  <a:pt x="86" y="119"/>
                  <a:pt x="85" y="119"/>
                </a:cubicBezTo>
                <a:cubicBezTo>
                  <a:pt x="85" y="119"/>
                  <a:pt x="85" y="119"/>
                  <a:pt x="85" y="119"/>
                </a:cubicBezTo>
                <a:cubicBezTo>
                  <a:pt x="84" y="119"/>
                  <a:pt x="82" y="119"/>
                  <a:pt x="82" y="120"/>
                </a:cubicBezTo>
                <a:cubicBezTo>
                  <a:pt x="81" y="120"/>
                  <a:pt x="80" y="120"/>
                  <a:pt x="80" y="119"/>
                </a:cubicBezTo>
                <a:cubicBezTo>
                  <a:pt x="80" y="118"/>
                  <a:pt x="80" y="117"/>
                  <a:pt x="79" y="117"/>
                </a:cubicBezTo>
                <a:cubicBezTo>
                  <a:pt x="79" y="117"/>
                  <a:pt x="79" y="118"/>
                  <a:pt x="79" y="118"/>
                </a:cubicBezTo>
                <a:cubicBezTo>
                  <a:pt x="78" y="118"/>
                  <a:pt x="79" y="118"/>
                  <a:pt x="78" y="118"/>
                </a:cubicBezTo>
                <a:cubicBezTo>
                  <a:pt x="78" y="118"/>
                  <a:pt x="77" y="118"/>
                  <a:pt x="77" y="118"/>
                </a:cubicBezTo>
                <a:cubicBezTo>
                  <a:pt x="77" y="119"/>
                  <a:pt x="77" y="119"/>
                  <a:pt x="76" y="119"/>
                </a:cubicBezTo>
                <a:cubicBezTo>
                  <a:pt x="76" y="119"/>
                  <a:pt x="75" y="120"/>
                  <a:pt x="75" y="120"/>
                </a:cubicBezTo>
                <a:cubicBezTo>
                  <a:pt x="75" y="119"/>
                  <a:pt x="75" y="119"/>
                  <a:pt x="75" y="119"/>
                </a:cubicBezTo>
                <a:cubicBezTo>
                  <a:pt x="75" y="118"/>
                  <a:pt x="75" y="119"/>
                  <a:pt x="75" y="118"/>
                </a:cubicBezTo>
                <a:cubicBezTo>
                  <a:pt x="75" y="118"/>
                  <a:pt x="75" y="117"/>
                  <a:pt x="75" y="117"/>
                </a:cubicBezTo>
                <a:cubicBezTo>
                  <a:pt x="75" y="117"/>
                  <a:pt x="75" y="117"/>
                  <a:pt x="75" y="117"/>
                </a:cubicBezTo>
                <a:cubicBezTo>
                  <a:pt x="74" y="117"/>
                  <a:pt x="74" y="117"/>
                  <a:pt x="73" y="117"/>
                </a:cubicBezTo>
                <a:cubicBezTo>
                  <a:pt x="73" y="117"/>
                  <a:pt x="73" y="116"/>
                  <a:pt x="73" y="116"/>
                </a:cubicBezTo>
                <a:cubicBezTo>
                  <a:pt x="73" y="116"/>
                  <a:pt x="72" y="116"/>
                  <a:pt x="72" y="116"/>
                </a:cubicBezTo>
                <a:cubicBezTo>
                  <a:pt x="72" y="116"/>
                  <a:pt x="72" y="116"/>
                  <a:pt x="71" y="116"/>
                </a:cubicBezTo>
                <a:cubicBezTo>
                  <a:pt x="71" y="116"/>
                  <a:pt x="70" y="116"/>
                  <a:pt x="70" y="116"/>
                </a:cubicBezTo>
                <a:cubicBezTo>
                  <a:pt x="69" y="116"/>
                  <a:pt x="69" y="116"/>
                  <a:pt x="69" y="116"/>
                </a:cubicBezTo>
                <a:cubicBezTo>
                  <a:pt x="68" y="116"/>
                  <a:pt x="68" y="117"/>
                  <a:pt x="67" y="117"/>
                </a:cubicBezTo>
                <a:cubicBezTo>
                  <a:pt x="67" y="117"/>
                  <a:pt x="67" y="118"/>
                  <a:pt x="66" y="118"/>
                </a:cubicBezTo>
                <a:cubicBezTo>
                  <a:pt x="66" y="118"/>
                  <a:pt x="66" y="118"/>
                  <a:pt x="66" y="118"/>
                </a:cubicBezTo>
                <a:cubicBezTo>
                  <a:pt x="66" y="118"/>
                  <a:pt x="66" y="118"/>
                  <a:pt x="66" y="118"/>
                </a:cubicBezTo>
                <a:cubicBezTo>
                  <a:pt x="65" y="119"/>
                  <a:pt x="64" y="119"/>
                  <a:pt x="64" y="119"/>
                </a:cubicBezTo>
                <a:cubicBezTo>
                  <a:pt x="63" y="119"/>
                  <a:pt x="64" y="119"/>
                  <a:pt x="63" y="119"/>
                </a:cubicBezTo>
                <a:cubicBezTo>
                  <a:pt x="63" y="119"/>
                  <a:pt x="62" y="119"/>
                  <a:pt x="61" y="119"/>
                </a:cubicBezTo>
                <a:cubicBezTo>
                  <a:pt x="61" y="119"/>
                  <a:pt x="60" y="119"/>
                  <a:pt x="60" y="119"/>
                </a:cubicBezTo>
                <a:cubicBezTo>
                  <a:pt x="60" y="119"/>
                  <a:pt x="59" y="120"/>
                  <a:pt x="59" y="121"/>
                </a:cubicBezTo>
                <a:cubicBezTo>
                  <a:pt x="59" y="120"/>
                  <a:pt x="58" y="119"/>
                  <a:pt x="58" y="119"/>
                </a:cubicBezTo>
                <a:cubicBezTo>
                  <a:pt x="58" y="120"/>
                  <a:pt x="57" y="120"/>
                  <a:pt x="57" y="120"/>
                </a:cubicBezTo>
                <a:cubicBezTo>
                  <a:pt x="57" y="121"/>
                  <a:pt x="56" y="121"/>
                  <a:pt x="55" y="121"/>
                </a:cubicBezTo>
                <a:cubicBezTo>
                  <a:pt x="55" y="122"/>
                  <a:pt x="55" y="122"/>
                  <a:pt x="54" y="122"/>
                </a:cubicBezTo>
                <a:cubicBezTo>
                  <a:pt x="53" y="122"/>
                  <a:pt x="54" y="122"/>
                  <a:pt x="53" y="122"/>
                </a:cubicBezTo>
                <a:cubicBezTo>
                  <a:pt x="52" y="122"/>
                  <a:pt x="50" y="122"/>
                  <a:pt x="49" y="122"/>
                </a:cubicBezTo>
                <a:cubicBezTo>
                  <a:pt x="49" y="123"/>
                  <a:pt x="48" y="123"/>
                  <a:pt x="47" y="124"/>
                </a:cubicBezTo>
                <a:cubicBezTo>
                  <a:pt x="46" y="124"/>
                  <a:pt x="46" y="125"/>
                  <a:pt x="45" y="126"/>
                </a:cubicBezTo>
                <a:cubicBezTo>
                  <a:pt x="45" y="126"/>
                  <a:pt x="45" y="127"/>
                  <a:pt x="44" y="127"/>
                </a:cubicBezTo>
                <a:cubicBezTo>
                  <a:pt x="44" y="127"/>
                  <a:pt x="44" y="127"/>
                  <a:pt x="43" y="128"/>
                </a:cubicBezTo>
                <a:cubicBezTo>
                  <a:pt x="42" y="128"/>
                  <a:pt x="42" y="130"/>
                  <a:pt x="42" y="131"/>
                </a:cubicBezTo>
                <a:cubicBezTo>
                  <a:pt x="41" y="132"/>
                  <a:pt x="41" y="132"/>
                  <a:pt x="41" y="133"/>
                </a:cubicBezTo>
                <a:cubicBezTo>
                  <a:pt x="41" y="133"/>
                  <a:pt x="41" y="134"/>
                  <a:pt x="41" y="134"/>
                </a:cubicBezTo>
                <a:cubicBezTo>
                  <a:pt x="41" y="134"/>
                  <a:pt x="41" y="134"/>
                  <a:pt x="40" y="134"/>
                </a:cubicBezTo>
                <a:cubicBezTo>
                  <a:pt x="40" y="135"/>
                  <a:pt x="41" y="136"/>
                  <a:pt x="39" y="136"/>
                </a:cubicBezTo>
                <a:cubicBezTo>
                  <a:pt x="39" y="136"/>
                  <a:pt x="38" y="136"/>
                  <a:pt x="38" y="136"/>
                </a:cubicBezTo>
                <a:cubicBezTo>
                  <a:pt x="37" y="136"/>
                  <a:pt x="37" y="136"/>
                  <a:pt x="37" y="136"/>
                </a:cubicBezTo>
                <a:cubicBezTo>
                  <a:pt x="36" y="136"/>
                  <a:pt x="37" y="137"/>
                  <a:pt x="36" y="137"/>
                </a:cubicBezTo>
                <a:cubicBezTo>
                  <a:pt x="36" y="137"/>
                  <a:pt x="35" y="136"/>
                  <a:pt x="35" y="137"/>
                </a:cubicBezTo>
                <a:cubicBezTo>
                  <a:pt x="34" y="137"/>
                  <a:pt x="32" y="136"/>
                  <a:pt x="32" y="137"/>
                </a:cubicBezTo>
                <a:cubicBezTo>
                  <a:pt x="32" y="137"/>
                  <a:pt x="31" y="137"/>
                  <a:pt x="31" y="137"/>
                </a:cubicBezTo>
                <a:cubicBezTo>
                  <a:pt x="30" y="137"/>
                  <a:pt x="28" y="137"/>
                  <a:pt x="28" y="137"/>
                </a:cubicBezTo>
                <a:cubicBezTo>
                  <a:pt x="27" y="137"/>
                  <a:pt x="26" y="137"/>
                  <a:pt x="26" y="137"/>
                </a:cubicBezTo>
                <a:cubicBezTo>
                  <a:pt x="26" y="139"/>
                  <a:pt x="26" y="140"/>
                  <a:pt x="27" y="141"/>
                </a:cubicBezTo>
                <a:cubicBezTo>
                  <a:pt x="26" y="142"/>
                  <a:pt x="26" y="142"/>
                  <a:pt x="25" y="142"/>
                </a:cubicBezTo>
                <a:cubicBezTo>
                  <a:pt x="26" y="143"/>
                  <a:pt x="26" y="143"/>
                  <a:pt x="26" y="143"/>
                </a:cubicBezTo>
                <a:cubicBezTo>
                  <a:pt x="27" y="143"/>
                  <a:pt x="28" y="144"/>
                  <a:pt x="28" y="144"/>
                </a:cubicBezTo>
                <a:cubicBezTo>
                  <a:pt x="29" y="145"/>
                  <a:pt x="29" y="144"/>
                  <a:pt x="29" y="145"/>
                </a:cubicBezTo>
                <a:cubicBezTo>
                  <a:pt x="29" y="145"/>
                  <a:pt x="31" y="145"/>
                  <a:pt x="32" y="146"/>
                </a:cubicBezTo>
                <a:cubicBezTo>
                  <a:pt x="32" y="146"/>
                  <a:pt x="33" y="147"/>
                  <a:pt x="34" y="147"/>
                </a:cubicBezTo>
                <a:cubicBezTo>
                  <a:pt x="34" y="147"/>
                  <a:pt x="35" y="148"/>
                  <a:pt x="35" y="148"/>
                </a:cubicBezTo>
                <a:cubicBezTo>
                  <a:pt x="36" y="148"/>
                  <a:pt x="37" y="148"/>
                  <a:pt x="38" y="149"/>
                </a:cubicBezTo>
                <a:cubicBezTo>
                  <a:pt x="37" y="151"/>
                  <a:pt x="38" y="151"/>
                  <a:pt x="40" y="152"/>
                </a:cubicBezTo>
                <a:cubicBezTo>
                  <a:pt x="40" y="151"/>
                  <a:pt x="41" y="151"/>
                  <a:pt x="41" y="151"/>
                </a:cubicBezTo>
                <a:cubicBezTo>
                  <a:pt x="42" y="150"/>
                  <a:pt x="42" y="150"/>
                  <a:pt x="43" y="151"/>
                </a:cubicBezTo>
                <a:cubicBezTo>
                  <a:pt x="43" y="151"/>
                  <a:pt x="43" y="151"/>
                  <a:pt x="43" y="152"/>
                </a:cubicBezTo>
                <a:cubicBezTo>
                  <a:pt x="44" y="152"/>
                  <a:pt x="47" y="151"/>
                  <a:pt x="47" y="151"/>
                </a:cubicBezTo>
                <a:cubicBezTo>
                  <a:pt x="47" y="152"/>
                  <a:pt x="48" y="151"/>
                  <a:pt x="47" y="152"/>
                </a:cubicBezTo>
                <a:cubicBezTo>
                  <a:pt x="48" y="151"/>
                  <a:pt x="47" y="153"/>
                  <a:pt x="47" y="152"/>
                </a:cubicBezTo>
                <a:cubicBezTo>
                  <a:pt x="47" y="153"/>
                  <a:pt x="46" y="153"/>
                  <a:pt x="46" y="153"/>
                </a:cubicBezTo>
                <a:cubicBezTo>
                  <a:pt x="45" y="153"/>
                  <a:pt x="46" y="153"/>
                  <a:pt x="46" y="154"/>
                </a:cubicBezTo>
                <a:cubicBezTo>
                  <a:pt x="46" y="154"/>
                  <a:pt x="47" y="154"/>
                  <a:pt x="47" y="154"/>
                </a:cubicBezTo>
                <a:cubicBezTo>
                  <a:pt x="48" y="155"/>
                  <a:pt x="48" y="155"/>
                  <a:pt x="48" y="155"/>
                </a:cubicBezTo>
                <a:cubicBezTo>
                  <a:pt x="49" y="155"/>
                  <a:pt x="50" y="155"/>
                  <a:pt x="51" y="155"/>
                </a:cubicBezTo>
                <a:cubicBezTo>
                  <a:pt x="51" y="155"/>
                  <a:pt x="52" y="155"/>
                  <a:pt x="52" y="155"/>
                </a:cubicBezTo>
                <a:cubicBezTo>
                  <a:pt x="52" y="155"/>
                  <a:pt x="51" y="155"/>
                  <a:pt x="52" y="155"/>
                </a:cubicBezTo>
                <a:cubicBezTo>
                  <a:pt x="52" y="157"/>
                  <a:pt x="52" y="156"/>
                  <a:pt x="51" y="156"/>
                </a:cubicBezTo>
                <a:cubicBezTo>
                  <a:pt x="50" y="156"/>
                  <a:pt x="49" y="157"/>
                  <a:pt x="49" y="156"/>
                </a:cubicBezTo>
                <a:cubicBezTo>
                  <a:pt x="48" y="156"/>
                  <a:pt x="46" y="156"/>
                  <a:pt x="46" y="157"/>
                </a:cubicBezTo>
                <a:cubicBezTo>
                  <a:pt x="46" y="158"/>
                  <a:pt x="47" y="157"/>
                  <a:pt x="48" y="157"/>
                </a:cubicBezTo>
                <a:cubicBezTo>
                  <a:pt x="48" y="158"/>
                  <a:pt x="49" y="157"/>
                  <a:pt x="49" y="158"/>
                </a:cubicBezTo>
                <a:cubicBezTo>
                  <a:pt x="49" y="158"/>
                  <a:pt x="49" y="160"/>
                  <a:pt x="49" y="160"/>
                </a:cubicBezTo>
                <a:cubicBezTo>
                  <a:pt x="49" y="160"/>
                  <a:pt x="48" y="160"/>
                  <a:pt x="48" y="159"/>
                </a:cubicBezTo>
                <a:cubicBezTo>
                  <a:pt x="47" y="159"/>
                  <a:pt x="47" y="159"/>
                  <a:pt x="46" y="160"/>
                </a:cubicBezTo>
                <a:cubicBezTo>
                  <a:pt x="46" y="160"/>
                  <a:pt x="46" y="161"/>
                  <a:pt x="46" y="161"/>
                </a:cubicBezTo>
                <a:cubicBezTo>
                  <a:pt x="45" y="161"/>
                  <a:pt x="46" y="160"/>
                  <a:pt x="46" y="160"/>
                </a:cubicBezTo>
                <a:cubicBezTo>
                  <a:pt x="43" y="160"/>
                  <a:pt x="41" y="160"/>
                  <a:pt x="39" y="160"/>
                </a:cubicBezTo>
                <a:cubicBezTo>
                  <a:pt x="38" y="160"/>
                  <a:pt x="38" y="159"/>
                  <a:pt x="36" y="159"/>
                </a:cubicBezTo>
                <a:cubicBezTo>
                  <a:pt x="36" y="159"/>
                  <a:pt x="36" y="158"/>
                  <a:pt x="36" y="158"/>
                </a:cubicBezTo>
                <a:cubicBezTo>
                  <a:pt x="37" y="158"/>
                  <a:pt x="37" y="158"/>
                  <a:pt x="37" y="157"/>
                </a:cubicBezTo>
                <a:cubicBezTo>
                  <a:pt x="37" y="157"/>
                  <a:pt x="37" y="156"/>
                  <a:pt x="37" y="156"/>
                </a:cubicBezTo>
                <a:cubicBezTo>
                  <a:pt x="37" y="156"/>
                  <a:pt x="37" y="156"/>
                  <a:pt x="36" y="156"/>
                </a:cubicBezTo>
                <a:cubicBezTo>
                  <a:pt x="36" y="156"/>
                  <a:pt x="36" y="155"/>
                  <a:pt x="36" y="155"/>
                </a:cubicBezTo>
                <a:cubicBezTo>
                  <a:pt x="36" y="152"/>
                  <a:pt x="33" y="155"/>
                  <a:pt x="31" y="155"/>
                </a:cubicBezTo>
                <a:cubicBezTo>
                  <a:pt x="31" y="155"/>
                  <a:pt x="30" y="156"/>
                  <a:pt x="30" y="156"/>
                </a:cubicBezTo>
                <a:cubicBezTo>
                  <a:pt x="30" y="156"/>
                  <a:pt x="29" y="156"/>
                  <a:pt x="29" y="156"/>
                </a:cubicBezTo>
                <a:cubicBezTo>
                  <a:pt x="28" y="156"/>
                  <a:pt x="28" y="157"/>
                  <a:pt x="28" y="157"/>
                </a:cubicBezTo>
                <a:cubicBezTo>
                  <a:pt x="27" y="157"/>
                  <a:pt x="27" y="157"/>
                  <a:pt x="27" y="158"/>
                </a:cubicBezTo>
                <a:cubicBezTo>
                  <a:pt x="27" y="158"/>
                  <a:pt x="27" y="159"/>
                  <a:pt x="27" y="159"/>
                </a:cubicBezTo>
                <a:cubicBezTo>
                  <a:pt x="27" y="159"/>
                  <a:pt x="25" y="160"/>
                  <a:pt x="25" y="159"/>
                </a:cubicBezTo>
                <a:cubicBezTo>
                  <a:pt x="24" y="158"/>
                  <a:pt x="24" y="159"/>
                  <a:pt x="23" y="159"/>
                </a:cubicBezTo>
                <a:cubicBezTo>
                  <a:pt x="22" y="159"/>
                  <a:pt x="22" y="159"/>
                  <a:pt x="21" y="159"/>
                </a:cubicBezTo>
                <a:cubicBezTo>
                  <a:pt x="21" y="160"/>
                  <a:pt x="21" y="160"/>
                  <a:pt x="21" y="160"/>
                </a:cubicBezTo>
                <a:cubicBezTo>
                  <a:pt x="20" y="160"/>
                  <a:pt x="20" y="161"/>
                  <a:pt x="19" y="161"/>
                </a:cubicBezTo>
                <a:cubicBezTo>
                  <a:pt x="19" y="161"/>
                  <a:pt x="17" y="162"/>
                  <a:pt x="18" y="163"/>
                </a:cubicBezTo>
                <a:cubicBezTo>
                  <a:pt x="18" y="163"/>
                  <a:pt x="18" y="163"/>
                  <a:pt x="19" y="163"/>
                </a:cubicBezTo>
                <a:cubicBezTo>
                  <a:pt x="20" y="163"/>
                  <a:pt x="20" y="163"/>
                  <a:pt x="21" y="163"/>
                </a:cubicBezTo>
                <a:cubicBezTo>
                  <a:pt x="21" y="163"/>
                  <a:pt x="22" y="163"/>
                  <a:pt x="23" y="164"/>
                </a:cubicBezTo>
                <a:cubicBezTo>
                  <a:pt x="23" y="164"/>
                  <a:pt x="24" y="164"/>
                  <a:pt x="24" y="164"/>
                </a:cubicBezTo>
                <a:cubicBezTo>
                  <a:pt x="25" y="164"/>
                  <a:pt x="25" y="164"/>
                  <a:pt x="25" y="165"/>
                </a:cubicBezTo>
                <a:cubicBezTo>
                  <a:pt x="24" y="165"/>
                  <a:pt x="23" y="165"/>
                  <a:pt x="22" y="165"/>
                </a:cubicBezTo>
                <a:cubicBezTo>
                  <a:pt x="22" y="166"/>
                  <a:pt x="22" y="167"/>
                  <a:pt x="23" y="167"/>
                </a:cubicBezTo>
                <a:cubicBezTo>
                  <a:pt x="24" y="167"/>
                  <a:pt x="24" y="168"/>
                  <a:pt x="24" y="168"/>
                </a:cubicBezTo>
                <a:cubicBezTo>
                  <a:pt x="25" y="168"/>
                  <a:pt x="25" y="169"/>
                  <a:pt x="25" y="169"/>
                </a:cubicBezTo>
                <a:cubicBezTo>
                  <a:pt x="25" y="169"/>
                  <a:pt x="25" y="169"/>
                  <a:pt x="25" y="169"/>
                </a:cubicBezTo>
                <a:cubicBezTo>
                  <a:pt x="27" y="170"/>
                  <a:pt x="29" y="171"/>
                  <a:pt x="31" y="171"/>
                </a:cubicBezTo>
                <a:cubicBezTo>
                  <a:pt x="31" y="169"/>
                  <a:pt x="36" y="171"/>
                  <a:pt x="36" y="169"/>
                </a:cubicBezTo>
                <a:cubicBezTo>
                  <a:pt x="37" y="169"/>
                  <a:pt x="39" y="170"/>
                  <a:pt x="39" y="170"/>
                </a:cubicBezTo>
                <a:cubicBezTo>
                  <a:pt x="39" y="169"/>
                  <a:pt x="39" y="169"/>
                  <a:pt x="39" y="169"/>
                </a:cubicBezTo>
                <a:cubicBezTo>
                  <a:pt x="40" y="169"/>
                  <a:pt x="41" y="170"/>
                  <a:pt x="42" y="170"/>
                </a:cubicBezTo>
                <a:cubicBezTo>
                  <a:pt x="42" y="171"/>
                  <a:pt x="42" y="171"/>
                  <a:pt x="42" y="171"/>
                </a:cubicBezTo>
                <a:cubicBezTo>
                  <a:pt x="43" y="173"/>
                  <a:pt x="44" y="170"/>
                  <a:pt x="45" y="170"/>
                </a:cubicBezTo>
                <a:cubicBezTo>
                  <a:pt x="46" y="170"/>
                  <a:pt x="47" y="170"/>
                  <a:pt x="48" y="170"/>
                </a:cubicBezTo>
                <a:cubicBezTo>
                  <a:pt x="48" y="170"/>
                  <a:pt x="48" y="169"/>
                  <a:pt x="48" y="169"/>
                </a:cubicBezTo>
                <a:cubicBezTo>
                  <a:pt x="49" y="169"/>
                  <a:pt x="49" y="170"/>
                  <a:pt x="49" y="169"/>
                </a:cubicBezTo>
                <a:cubicBezTo>
                  <a:pt x="50" y="169"/>
                  <a:pt x="51" y="169"/>
                  <a:pt x="52" y="169"/>
                </a:cubicBezTo>
                <a:cubicBezTo>
                  <a:pt x="52" y="170"/>
                  <a:pt x="52" y="171"/>
                  <a:pt x="51" y="171"/>
                </a:cubicBezTo>
                <a:cubicBezTo>
                  <a:pt x="51" y="172"/>
                  <a:pt x="50" y="171"/>
                  <a:pt x="51" y="172"/>
                </a:cubicBezTo>
                <a:cubicBezTo>
                  <a:pt x="51" y="173"/>
                  <a:pt x="51" y="174"/>
                  <a:pt x="51" y="175"/>
                </a:cubicBezTo>
                <a:cubicBezTo>
                  <a:pt x="52" y="177"/>
                  <a:pt x="52" y="178"/>
                  <a:pt x="51" y="178"/>
                </a:cubicBezTo>
                <a:cubicBezTo>
                  <a:pt x="50" y="178"/>
                  <a:pt x="51" y="179"/>
                  <a:pt x="50" y="179"/>
                </a:cubicBezTo>
                <a:cubicBezTo>
                  <a:pt x="50" y="179"/>
                  <a:pt x="50" y="179"/>
                  <a:pt x="49" y="179"/>
                </a:cubicBezTo>
                <a:cubicBezTo>
                  <a:pt x="49" y="179"/>
                  <a:pt x="48" y="180"/>
                  <a:pt x="47" y="180"/>
                </a:cubicBezTo>
                <a:cubicBezTo>
                  <a:pt x="46" y="179"/>
                  <a:pt x="45" y="179"/>
                  <a:pt x="45" y="180"/>
                </a:cubicBezTo>
                <a:cubicBezTo>
                  <a:pt x="44" y="181"/>
                  <a:pt x="44" y="181"/>
                  <a:pt x="43" y="181"/>
                </a:cubicBezTo>
                <a:cubicBezTo>
                  <a:pt x="43" y="182"/>
                  <a:pt x="43" y="182"/>
                  <a:pt x="42" y="182"/>
                </a:cubicBezTo>
                <a:cubicBezTo>
                  <a:pt x="41" y="182"/>
                  <a:pt x="40" y="182"/>
                  <a:pt x="39" y="182"/>
                </a:cubicBezTo>
                <a:cubicBezTo>
                  <a:pt x="39" y="181"/>
                  <a:pt x="38" y="181"/>
                  <a:pt x="38" y="180"/>
                </a:cubicBezTo>
                <a:cubicBezTo>
                  <a:pt x="37" y="180"/>
                  <a:pt x="36" y="180"/>
                  <a:pt x="35" y="180"/>
                </a:cubicBezTo>
                <a:cubicBezTo>
                  <a:pt x="35" y="181"/>
                  <a:pt x="33" y="181"/>
                  <a:pt x="34" y="182"/>
                </a:cubicBezTo>
                <a:cubicBezTo>
                  <a:pt x="34" y="183"/>
                  <a:pt x="35" y="183"/>
                  <a:pt x="35" y="185"/>
                </a:cubicBezTo>
                <a:cubicBezTo>
                  <a:pt x="35" y="185"/>
                  <a:pt x="36" y="187"/>
                  <a:pt x="35" y="186"/>
                </a:cubicBezTo>
                <a:cubicBezTo>
                  <a:pt x="34" y="186"/>
                  <a:pt x="36" y="185"/>
                  <a:pt x="34" y="185"/>
                </a:cubicBezTo>
                <a:cubicBezTo>
                  <a:pt x="33" y="185"/>
                  <a:pt x="33" y="185"/>
                  <a:pt x="33" y="186"/>
                </a:cubicBezTo>
                <a:cubicBezTo>
                  <a:pt x="32" y="187"/>
                  <a:pt x="33" y="187"/>
                  <a:pt x="32" y="187"/>
                </a:cubicBezTo>
                <a:cubicBezTo>
                  <a:pt x="31" y="188"/>
                  <a:pt x="29" y="189"/>
                  <a:pt x="29" y="189"/>
                </a:cubicBezTo>
                <a:cubicBezTo>
                  <a:pt x="29" y="190"/>
                  <a:pt x="29" y="191"/>
                  <a:pt x="28" y="192"/>
                </a:cubicBezTo>
                <a:cubicBezTo>
                  <a:pt x="27" y="192"/>
                  <a:pt x="27" y="193"/>
                  <a:pt x="27" y="194"/>
                </a:cubicBezTo>
                <a:cubicBezTo>
                  <a:pt x="27" y="194"/>
                  <a:pt x="28" y="194"/>
                  <a:pt x="28" y="194"/>
                </a:cubicBezTo>
                <a:cubicBezTo>
                  <a:pt x="28" y="194"/>
                  <a:pt x="28" y="194"/>
                  <a:pt x="28" y="195"/>
                </a:cubicBezTo>
                <a:cubicBezTo>
                  <a:pt x="28" y="195"/>
                  <a:pt x="29" y="195"/>
                  <a:pt x="29" y="195"/>
                </a:cubicBezTo>
                <a:cubicBezTo>
                  <a:pt x="29" y="194"/>
                  <a:pt x="31" y="197"/>
                  <a:pt x="31" y="197"/>
                </a:cubicBezTo>
                <a:cubicBezTo>
                  <a:pt x="32" y="197"/>
                  <a:pt x="33" y="196"/>
                  <a:pt x="34" y="197"/>
                </a:cubicBezTo>
                <a:cubicBezTo>
                  <a:pt x="35" y="197"/>
                  <a:pt x="35" y="197"/>
                  <a:pt x="35" y="197"/>
                </a:cubicBezTo>
                <a:cubicBezTo>
                  <a:pt x="36" y="197"/>
                  <a:pt x="36" y="197"/>
                  <a:pt x="37" y="197"/>
                </a:cubicBezTo>
                <a:cubicBezTo>
                  <a:pt x="38" y="197"/>
                  <a:pt x="38" y="197"/>
                  <a:pt x="38" y="198"/>
                </a:cubicBezTo>
                <a:cubicBezTo>
                  <a:pt x="37" y="198"/>
                  <a:pt x="37" y="199"/>
                  <a:pt x="36" y="199"/>
                </a:cubicBezTo>
                <a:cubicBezTo>
                  <a:pt x="36" y="200"/>
                  <a:pt x="35" y="200"/>
                  <a:pt x="35" y="201"/>
                </a:cubicBezTo>
                <a:cubicBezTo>
                  <a:pt x="35" y="202"/>
                  <a:pt x="35" y="202"/>
                  <a:pt x="35" y="202"/>
                </a:cubicBezTo>
                <a:cubicBezTo>
                  <a:pt x="35" y="202"/>
                  <a:pt x="36" y="204"/>
                  <a:pt x="35" y="204"/>
                </a:cubicBezTo>
                <a:cubicBezTo>
                  <a:pt x="37" y="204"/>
                  <a:pt x="36" y="204"/>
                  <a:pt x="37" y="205"/>
                </a:cubicBezTo>
                <a:cubicBezTo>
                  <a:pt x="37" y="205"/>
                  <a:pt x="37" y="206"/>
                  <a:pt x="38" y="206"/>
                </a:cubicBezTo>
                <a:cubicBezTo>
                  <a:pt x="39" y="206"/>
                  <a:pt x="42" y="206"/>
                  <a:pt x="42" y="205"/>
                </a:cubicBezTo>
                <a:cubicBezTo>
                  <a:pt x="42" y="204"/>
                  <a:pt x="43" y="204"/>
                  <a:pt x="43" y="203"/>
                </a:cubicBezTo>
                <a:cubicBezTo>
                  <a:pt x="43" y="203"/>
                  <a:pt x="44" y="203"/>
                  <a:pt x="43" y="202"/>
                </a:cubicBezTo>
                <a:cubicBezTo>
                  <a:pt x="43" y="202"/>
                  <a:pt x="43" y="202"/>
                  <a:pt x="43" y="201"/>
                </a:cubicBezTo>
                <a:cubicBezTo>
                  <a:pt x="43" y="201"/>
                  <a:pt x="44" y="201"/>
                  <a:pt x="44" y="201"/>
                </a:cubicBezTo>
                <a:cubicBezTo>
                  <a:pt x="44" y="200"/>
                  <a:pt x="45" y="201"/>
                  <a:pt x="45" y="201"/>
                </a:cubicBezTo>
                <a:cubicBezTo>
                  <a:pt x="45" y="202"/>
                  <a:pt x="45" y="202"/>
                  <a:pt x="45" y="203"/>
                </a:cubicBezTo>
                <a:cubicBezTo>
                  <a:pt x="44" y="203"/>
                  <a:pt x="44" y="203"/>
                  <a:pt x="44" y="203"/>
                </a:cubicBezTo>
                <a:cubicBezTo>
                  <a:pt x="44" y="204"/>
                  <a:pt x="44" y="204"/>
                  <a:pt x="45" y="205"/>
                </a:cubicBezTo>
                <a:cubicBezTo>
                  <a:pt x="46" y="206"/>
                  <a:pt x="45" y="206"/>
                  <a:pt x="46" y="207"/>
                </a:cubicBezTo>
                <a:cubicBezTo>
                  <a:pt x="46" y="207"/>
                  <a:pt x="46" y="207"/>
                  <a:pt x="46" y="207"/>
                </a:cubicBezTo>
                <a:cubicBezTo>
                  <a:pt x="46" y="207"/>
                  <a:pt x="47" y="208"/>
                  <a:pt x="47" y="208"/>
                </a:cubicBezTo>
                <a:cubicBezTo>
                  <a:pt x="47" y="209"/>
                  <a:pt x="46" y="209"/>
                  <a:pt x="46" y="209"/>
                </a:cubicBezTo>
                <a:cubicBezTo>
                  <a:pt x="46" y="210"/>
                  <a:pt x="46" y="211"/>
                  <a:pt x="46" y="211"/>
                </a:cubicBezTo>
                <a:cubicBezTo>
                  <a:pt x="47" y="211"/>
                  <a:pt x="47" y="211"/>
                  <a:pt x="48" y="211"/>
                </a:cubicBezTo>
                <a:cubicBezTo>
                  <a:pt x="49" y="212"/>
                  <a:pt x="47" y="211"/>
                  <a:pt x="47" y="212"/>
                </a:cubicBezTo>
                <a:cubicBezTo>
                  <a:pt x="47" y="214"/>
                  <a:pt x="47" y="213"/>
                  <a:pt x="47" y="213"/>
                </a:cubicBezTo>
                <a:cubicBezTo>
                  <a:pt x="47" y="213"/>
                  <a:pt x="47" y="214"/>
                  <a:pt x="47" y="215"/>
                </a:cubicBezTo>
                <a:cubicBezTo>
                  <a:pt x="48" y="215"/>
                  <a:pt x="48" y="214"/>
                  <a:pt x="49" y="214"/>
                </a:cubicBezTo>
                <a:cubicBezTo>
                  <a:pt x="50" y="213"/>
                  <a:pt x="50" y="213"/>
                  <a:pt x="51" y="213"/>
                </a:cubicBezTo>
                <a:cubicBezTo>
                  <a:pt x="52" y="211"/>
                  <a:pt x="54" y="211"/>
                  <a:pt x="55" y="210"/>
                </a:cubicBezTo>
                <a:cubicBezTo>
                  <a:pt x="55" y="212"/>
                  <a:pt x="57" y="213"/>
                  <a:pt x="58" y="212"/>
                </a:cubicBezTo>
                <a:cubicBezTo>
                  <a:pt x="59" y="212"/>
                  <a:pt x="59" y="213"/>
                  <a:pt x="59" y="213"/>
                </a:cubicBezTo>
                <a:cubicBezTo>
                  <a:pt x="60" y="213"/>
                  <a:pt x="60" y="214"/>
                  <a:pt x="60" y="214"/>
                </a:cubicBezTo>
                <a:cubicBezTo>
                  <a:pt x="60" y="214"/>
                  <a:pt x="62" y="216"/>
                  <a:pt x="62" y="215"/>
                </a:cubicBezTo>
                <a:cubicBezTo>
                  <a:pt x="62" y="216"/>
                  <a:pt x="62" y="214"/>
                  <a:pt x="62" y="214"/>
                </a:cubicBezTo>
                <a:cubicBezTo>
                  <a:pt x="62" y="214"/>
                  <a:pt x="62" y="213"/>
                  <a:pt x="62" y="214"/>
                </a:cubicBezTo>
                <a:cubicBezTo>
                  <a:pt x="63" y="214"/>
                  <a:pt x="63" y="214"/>
                  <a:pt x="63" y="213"/>
                </a:cubicBezTo>
                <a:cubicBezTo>
                  <a:pt x="64" y="213"/>
                  <a:pt x="64" y="212"/>
                  <a:pt x="64" y="212"/>
                </a:cubicBezTo>
                <a:cubicBezTo>
                  <a:pt x="65" y="212"/>
                  <a:pt x="64" y="214"/>
                  <a:pt x="64" y="214"/>
                </a:cubicBezTo>
                <a:cubicBezTo>
                  <a:pt x="66" y="214"/>
                  <a:pt x="67" y="214"/>
                  <a:pt x="68" y="214"/>
                </a:cubicBezTo>
                <a:cubicBezTo>
                  <a:pt x="68" y="213"/>
                  <a:pt x="69" y="213"/>
                  <a:pt x="69" y="213"/>
                </a:cubicBezTo>
                <a:cubicBezTo>
                  <a:pt x="70" y="213"/>
                  <a:pt x="70" y="212"/>
                  <a:pt x="70" y="212"/>
                </a:cubicBezTo>
                <a:cubicBezTo>
                  <a:pt x="70" y="212"/>
                  <a:pt x="71" y="212"/>
                  <a:pt x="71" y="212"/>
                </a:cubicBezTo>
                <a:cubicBezTo>
                  <a:pt x="71" y="212"/>
                  <a:pt x="71" y="213"/>
                  <a:pt x="71" y="214"/>
                </a:cubicBezTo>
                <a:cubicBezTo>
                  <a:pt x="70" y="214"/>
                  <a:pt x="70" y="214"/>
                  <a:pt x="70" y="214"/>
                </a:cubicBezTo>
                <a:cubicBezTo>
                  <a:pt x="70" y="215"/>
                  <a:pt x="69" y="216"/>
                  <a:pt x="68" y="216"/>
                </a:cubicBezTo>
                <a:cubicBezTo>
                  <a:pt x="68" y="217"/>
                  <a:pt x="68" y="217"/>
                  <a:pt x="68" y="218"/>
                </a:cubicBezTo>
                <a:cubicBezTo>
                  <a:pt x="68" y="219"/>
                  <a:pt x="67" y="219"/>
                  <a:pt x="67" y="219"/>
                </a:cubicBezTo>
                <a:cubicBezTo>
                  <a:pt x="67" y="219"/>
                  <a:pt x="67" y="219"/>
                  <a:pt x="66" y="219"/>
                </a:cubicBezTo>
                <a:cubicBezTo>
                  <a:pt x="66" y="220"/>
                  <a:pt x="66" y="220"/>
                  <a:pt x="66" y="221"/>
                </a:cubicBezTo>
                <a:cubicBezTo>
                  <a:pt x="66" y="221"/>
                  <a:pt x="66" y="223"/>
                  <a:pt x="66" y="223"/>
                </a:cubicBezTo>
                <a:cubicBezTo>
                  <a:pt x="66" y="223"/>
                  <a:pt x="65" y="223"/>
                  <a:pt x="65" y="224"/>
                </a:cubicBezTo>
                <a:cubicBezTo>
                  <a:pt x="65" y="225"/>
                  <a:pt x="64" y="225"/>
                  <a:pt x="64" y="226"/>
                </a:cubicBezTo>
                <a:cubicBezTo>
                  <a:pt x="63" y="227"/>
                  <a:pt x="63" y="228"/>
                  <a:pt x="62" y="228"/>
                </a:cubicBezTo>
                <a:cubicBezTo>
                  <a:pt x="61" y="228"/>
                  <a:pt x="60" y="229"/>
                  <a:pt x="60" y="230"/>
                </a:cubicBezTo>
                <a:cubicBezTo>
                  <a:pt x="58" y="230"/>
                  <a:pt x="57" y="231"/>
                  <a:pt x="56" y="232"/>
                </a:cubicBezTo>
                <a:cubicBezTo>
                  <a:pt x="54" y="232"/>
                  <a:pt x="54" y="233"/>
                  <a:pt x="54" y="235"/>
                </a:cubicBezTo>
                <a:cubicBezTo>
                  <a:pt x="54" y="236"/>
                  <a:pt x="54" y="235"/>
                  <a:pt x="53" y="235"/>
                </a:cubicBezTo>
                <a:cubicBezTo>
                  <a:pt x="52" y="235"/>
                  <a:pt x="52" y="236"/>
                  <a:pt x="51" y="236"/>
                </a:cubicBezTo>
                <a:cubicBezTo>
                  <a:pt x="52" y="235"/>
                  <a:pt x="52" y="235"/>
                  <a:pt x="52" y="235"/>
                </a:cubicBezTo>
                <a:cubicBezTo>
                  <a:pt x="50" y="235"/>
                  <a:pt x="49" y="235"/>
                  <a:pt x="47" y="236"/>
                </a:cubicBezTo>
                <a:cubicBezTo>
                  <a:pt x="46" y="236"/>
                  <a:pt x="46" y="236"/>
                  <a:pt x="46" y="237"/>
                </a:cubicBezTo>
                <a:cubicBezTo>
                  <a:pt x="46" y="238"/>
                  <a:pt x="45" y="238"/>
                  <a:pt x="45" y="238"/>
                </a:cubicBezTo>
                <a:cubicBezTo>
                  <a:pt x="44" y="238"/>
                  <a:pt x="44" y="239"/>
                  <a:pt x="44" y="239"/>
                </a:cubicBezTo>
                <a:cubicBezTo>
                  <a:pt x="44" y="240"/>
                  <a:pt x="44" y="240"/>
                  <a:pt x="43" y="240"/>
                </a:cubicBezTo>
                <a:cubicBezTo>
                  <a:pt x="43" y="241"/>
                  <a:pt x="42" y="241"/>
                  <a:pt x="42" y="241"/>
                </a:cubicBezTo>
                <a:cubicBezTo>
                  <a:pt x="41" y="241"/>
                  <a:pt x="40" y="242"/>
                  <a:pt x="40" y="243"/>
                </a:cubicBezTo>
                <a:cubicBezTo>
                  <a:pt x="41" y="242"/>
                  <a:pt x="41" y="242"/>
                  <a:pt x="42" y="242"/>
                </a:cubicBezTo>
                <a:cubicBezTo>
                  <a:pt x="42" y="242"/>
                  <a:pt x="43" y="242"/>
                  <a:pt x="43" y="242"/>
                </a:cubicBezTo>
                <a:cubicBezTo>
                  <a:pt x="43" y="241"/>
                  <a:pt x="44" y="241"/>
                  <a:pt x="44" y="241"/>
                </a:cubicBezTo>
                <a:cubicBezTo>
                  <a:pt x="44" y="242"/>
                  <a:pt x="44" y="242"/>
                  <a:pt x="45" y="242"/>
                </a:cubicBezTo>
                <a:cubicBezTo>
                  <a:pt x="45" y="242"/>
                  <a:pt x="45" y="242"/>
                  <a:pt x="45" y="241"/>
                </a:cubicBezTo>
                <a:cubicBezTo>
                  <a:pt x="45" y="241"/>
                  <a:pt x="46" y="241"/>
                  <a:pt x="46" y="241"/>
                </a:cubicBezTo>
                <a:cubicBezTo>
                  <a:pt x="46" y="239"/>
                  <a:pt x="47" y="240"/>
                  <a:pt x="47" y="238"/>
                </a:cubicBezTo>
                <a:cubicBezTo>
                  <a:pt x="47" y="238"/>
                  <a:pt x="47" y="238"/>
                  <a:pt x="47" y="238"/>
                </a:cubicBezTo>
                <a:cubicBezTo>
                  <a:pt x="47" y="237"/>
                  <a:pt x="47" y="237"/>
                  <a:pt x="48" y="237"/>
                </a:cubicBezTo>
                <a:cubicBezTo>
                  <a:pt x="48" y="237"/>
                  <a:pt x="49" y="237"/>
                  <a:pt x="50" y="237"/>
                </a:cubicBezTo>
                <a:cubicBezTo>
                  <a:pt x="49" y="237"/>
                  <a:pt x="49" y="238"/>
                  <a:pt x="49" y="239"/>
                </a:cubicBezTo>
                <a:cubicBezTo>
                  <a:pt x="50" y="239"/>
                  <a:pt x="51" y="239"/>
                  <a:pt x="51" y="237"/>
                </a:cubicBezTo>
                <a:cubicBezTo>
                  <a:pt x="52" y="238"/>
                  <a:pt x="53" y="238"/>
                  <a:pt x="54" y="238"/>
                </a:cubicBezTo>
                <a:cubicBezTo>
                  <a:pt x="54" y="237"/>
                  <a:pt x="54" y="238"/>
                  <a:pt x="54" y="237"/>
                </a:cubicBezTo>
                <a:cubicBezTo>
                  <a:pt x="54" y="237"/>
                  <a:pt x="56" y="236"/>
                  <a:pt x="57" y="236"/>
                </a:cubicBezTo>
                <a:cubicBezTo>
                  <a:pt x="57" y="237"/>
                  <a:pt x="58" y="237"/>
                  <a:pt x="58" y="235"/>
                </a:cubicBezTo>
                <a:cubicBezTo>
                  <a:pt x="59" y="236"/>
                  <a:pt x="60" y="235"/>
                  <a:pt x="60" y="233"/>
                </a:cubicBezTo>
                <a:cubicBezTo>
                  <a:pt x="61" y="234"/>
                  <a:pt x="61" y="234"/>
                  <a:pt x="62" y="234"/>
                </a:cubicBezTo>
                <a:cubicBezTo>
                  <a:pt x="62" y="234"/>
                  <a:pt x="62" y="234"/>
                  <a:pt x="62" y="234"/>
                </a:cubicBezTo>
                <a:cubicBezTo>
                  <a:pt x="62" y="233"/>
                  <a:pt x="62" y="233"/>
                  <a:pt x="62" y="232"/>
                </a:cubicBezTo>
                <a:cubicBezTo>
                  <a:pt x="62" y="232"/>
                  <a:pt x="61" y="232"/>
                  <a:pt x="61" y="232"/>
                </a:cubicBezTo>
                <a:cubicBezTo>
                  <a:pt x="62" y="232"/>
                  <a:pt x="64" y="231"/>
                  <a:pt x="65" y="231"/>
                </a:cubicBezTo>
                <a:cubicBezTo>
                  <a:pt x="65" y="231"/>
                  <a:pt x="64" y="230"/>
                  <a:pt x="64" y="230"/>
                </a:cubicBezTo>
                <a:cubicBezTo>
                  <a:pt x="65" y="230"/>
                  <a:pt x="66" y="230"/>
                  <a:pt x="66" y="229"/>
                </a:cubicBezTo>
                <a:cubicBezTo>
                  <a:pt x="66" y="229"/>
                  <a:pt x="66" y="228"/>
                  <a:pt x="67" y="228"/>
                </a:cubicBezTo>
                <a:cubicBezTo>
                  <a:pt x="67" y="228"/>
                  <a:pt x="67" y="227"/>
                  <a:pt x="67" y="228"/>
                </a:cubicBezTo>
                <a:cubicBezTo>
                  <a:pt x="68" y="228"/>
                  <a:pt x="68" y="228"/>
                  <a:pt x="69" y="228"/>
                </a:cubicBezTo>
                <a:cubicBezTo>
                  <a:pt x="69" y="227"/>
                  <a:pt x="69" y="227"/>
                  <a:pt x="70" y="227"/>
                </a:cubicBezTo>
                <a:cubicBezTo>
                  <a:pt x="71" y="227"/>
                  <a:pt x="71" y="225"/>
                  <a:pt x="71" y="224"/>
                </a:cubicBezTo>
                <a:cubicBezTo>
                  <a:pt x="71" y="224"/>
                  <a:pt x="72" y="224"/>
                  <a:pt x="72" y="224"/>
                </a:cubicBezTo>
                <a:cubicBezTo>
                  <a:pt x="73" y="223"/>
                  <a:pt x="72" y="223"/>
                  <a:pt x="73" y="223"/>
                </a:cubicBezTo>
                <a:cubicBezTo>
                  <a:pt x="74" y="223"/>
                  <a:pt x="74" y="222"/>
                  <a:pt x="75" y="221"/>
                </a:cubicBezTo>
                <a:cubicBezTo>
                  <a:pt x="76" y="221"/>
                  <a:pt x="76" y="220"/>
                  <a:pt x="77" y="220"/>
                </a:cubicBezTo>
                <a:cubicBezTo>
                  <a:pt x="78" y="220"/>
                  <a:pt x="77" y="218"/>
                  <a:pt x="78" y="218"/>
                </a:cubicBezTo>
                <a:cubicBezTo>
                  <a:pt x="79" y="218"/>
                  <a:pt x="79" y="218"/>
                  <a:pt x="79" y="218"/>
                </a:cubicBezTo>
                <a:cubicBezTo>
                  <a:pt x="79" y="218"/>
                  <a:pt x="80" y="218"/>
                  <a:pt x="80" y="218"/>
                </a:cubicBezTo>
                <a:cubicBezTo>
                  <a:pt x="81" y="218"/>
                  <a:pt x="81" y="217"/>
                  <a:pt x="82" y="217"/>
                </a:cubicBezTo>
                <a:cubicBezTo>
                  <a:pt x="83" y="217"/>
                  <a:pt x="84" y="215"/>
                  <a:pt x="83" y="215"/>
                </a:cubicBezTo>
                <a:cubicBezTo>
                  <a:pt x="83" y="215"/>
                  <a:pt x="83" y="214"/>
                  <a:pt x="83" y="214"/>
                </a:cubicBezTo>
                <a:cubicBezTo>
                  <a:pt x="84" y="214"/>
                  <a:pt x="84" y="214"/>
                  <a:pt x="84" y="214"/>
                </a:cubicBezTo>
                <a:cubicBezTo>
                  <a:pt x="85" y="214"/>
                  <a:pt x="84" y="213"/>
                  <a:pt x="84" y="213"/>
                </a:cubicBezTo>
                <a:cubicBezTo>
                  <a:pt x="85" y="213"/>
                  <a:pt x="86" y="213"/>
                  <a:pt x="86" y="212"/>
                </a:cubicBezTo>
                <a:cubicBezTo>
                  <a:pt x="86" y="211"/>
                  <a:pt x="86" y="211"/>
                  <a:pt x="85" y="211"/>
                </a:cubicBezTo>
                <a:cubicBezTo>
                  <a:pt x="84" y="211"/>
                  <a:pt x="83" y="211"/>
                  <a:pt x="83" y="211"/>
                </a:cubicBezTo>
                <a:cubicBezTo>
                  <a:pt x="83" y="210"/>
                  <a:pt x="83" y="208"/>
                  <a:pt x="83" y="208"/>
                </a:cubicBezTo>
                <a:cubicBezTo>
                  <a:pt x="84" y="208"/>
                  <a:pt x="83" y="207"/>
                  <a:pt x="84" y="207"/>
                </a:cubicBezTo>
                <a:cubicBezTo>
                  <a:pt x="84" y="207"/>
                  <a:pt x="84" y="206"/>
                  <a:pt x="84" y="206"/>
                </a:cubicBezTo>
                <a:cubicBezTo>
                  <a:pt x="85" y="206"/>
                  <a:pt x="87" y="206"/>
                  <a:pt x="87" y="205"/>
                </a:cubicBezTo>
                <a:cubicBezTo>
                  <a:pt x="87" y="204"/>
                  <a:pt x="88" y="204"/>
                  <a:pt x="88" y="204"/>
                </a:cubicBezTo>
                <a:cubicBezTo>
                  <a:pt x="89" y="203"/>
                  <a:pt x="89" y="203"/>
                  <a:pt x="88" y="202"/>
                </a:cubicBezTo>
                <a:cubicBezTo>
                  <a:pt x="89" y="202"/>
                  <a:pt x="90" y="202"/>
                  <a:pt x="90" y="203"/>
                </a:cubicBezTo>
                <a:cubicBezTo>
                  <a:pt x="91" y="202"/>
                  <a:pt x="91" y="202"/>
                  <a:pt x="91" y="200"/>
                </a:cubicBezTo>
                <a:cubicBezTo>
                  <a:pt x="91" y="200"/>
                  <a:pt x="92" y="199"/>
                  <a:pt x="93" y="199"/>
                </a:cubicBezTo>
                <a:cubicBezTo>
                  <a:pt x="93" y="199"/>
                  <a:pt x="95" y="198"/>
                  <a:pt x="95" y="198"/>
                </a:cubicBezTo>
                <a:cubicBezTo>
                  <a:pt x="95" y="197"/>
                  <a:pt x="95" y="197"/>
                  <a:pt x="96" y="196"/>
                </a:cubicBezTo>
                <a:cubicBezTo>
                  <a:pt x="96" y="196"/>
                  <a:pt x="96" y="196"/>
                  <a:pt x="97" y="196"/>
                </a:cubicBezTo>
                <a:cubicBezTo>
                  <a:pt x="98" y="195"/>
                  <a:pt x="99" y="194"/>
                  <a:pt x="100" y="193"/>
                </a:cubicBezTo>
                <a:cubicBezTo>
                  <a:pt x="101" y="192"/>
                  <a:pt x="100" y="193"/>
                  <a:pt x="101" y="194"/>
                </a:cubicBezTo>
                <a:cubicBezTo>
                  <a:pt x="102" y="194"/>
                  <a:pt x="104" y="194"/>
                  <a:pt x="104" y="193"/>
                </a:cubicBezTo>
                <a:cubicBezTo>
                  <a:pt x="105" y="192"/>
                  <a:pt x="105" y="192"/>
                  <a:pt x="106" y="192"/>
                </a:cubicBezTo>
                <a:cubicBezTo>
                  <a:pt x="106" y="192"/>
                  <a:pt x="105" y="193"/>
                  <a:pt x="105" y="193"/>
                </a:cubicBezTo>
                <a:cubicBezTo>
                  <a:pt x="104" y="194"/>
                  <a:pt x="104" y="194"/>
                  <a:pt x="104" y="195"/>
                </a:cubicBezTo>
                <a:cubicBezTo>
                  <a:pt x="105" y="195"/>
                  <a:pt x="105" y="196"/>
                  <a:pt x="106" y="197"/>
                </a:cubicBezTo>
                <a:cubicBezTo>
                  <a:pt x="104" y="197"/>
                  <a:pt x="103" y="197"/>
                  <a:pt x="102" y="196"/>
                </a:cubicBezTo>
                <a:cubicBezTo>
                  <a:pt x="101" y="196"/>
                  <a:pt x="100" y="196"/>
                  <a:pt x="100" y="196"/>
                </a:cubicBezTo>
                <a:cubicBezTo>
                  <a:pt x="100" y="197"/>
                  <a:pt x="99" y="197"/>
                  <a:pt x="99" y="197"/>
                </a:cubicBezTo>
                <a:cubicBezTo>
                  <a:pt x="98" y="197"/>
                  <a:pt x="98" y="198"/>
                  <a:pt x="98" y="198"/>
                </a:cubicBezTo>
                <a:cubicBezTo>
                  <a:pt x="98" y="198"/>
                  <a:pt x="97" y="198"/>
                  <a:pt x="97" y="198"/>
                </a:cubicBezTo>
                <a:cubicBezTo>
                  <a:pt x="96" y="198"/>
                  <a:pt x="96" y="200"/>
                  <a:pt x="96" y="201"/>
                </a:cubicBezTo>
                <a:cubicBezTo>
                  <a:pt x="96" y="201"/>
                  <a:pt x="96" y="202"/>
                  <a:pt x="96" y="202"/>
                </a:cubicBezTo>
                <a:cubicBezTo>
                  <a:pt x="96" y="203"/>
                  <a:pt x="97" y="203"/>
                  <a:pt x="97" y="203"/>
                </a:cubicBezTo>
                <a:cubicBezTo>
                  <a:pt x="96" y="203"/>
                  <a:pt x="95" y="204"/>
                  <a:pt x="95" y="204"/>
                </a:cubicBezTo>
                <a:cubicBezTo>
                  <a:pt x="95" y="205"/>
                  <a:pt x="95" y="205"/>
                  <a:pt x="95" y="205"/>
                </a:cubicBezTo>
                <a:cubicBezTo>
                  <a:pt x="95" y="205"/>
                  <a:pt x="95" y="206"/>
                  <a:pt x="95" y="206"/>
                </a:cubicBezTo>
                <a:cubicBezTo>
                  <a:pt x="96" y="207"/>
                  <a:pt x="96" y="207"/>
                  <a:pt x="96" y="207"/>
                </a:cubicBezTo>
                <a:cubicBezTo>
                  <a:pt x="96" y="207"/>
                  <a:pt x="97" y="207"/>
                  <a:pt x="97" y="207"/>
                </a:cubicBezTo>
                <a:cubicBezTo>
                  <a:pt x="97" y="207"/>
                  <a:pt x="97" y="207"/>
                  <a:pt x="98" y="207"/>
                </a:cubicBezTo>
                <a:cubicBezTo>
                  <a:pt x="97" y="208"/>
                  <a:pt x="96" y="209"/>
                  <a:pt x="95" y="209"/>
                </a:cubicBezTo>
                <a:cubicBezTo>
                  <a:pt x="94" y="208"/>
                  <a:pt x="95" y="209"/>
                  <a:pt x="94" y="210"/>
                </a:cubicBezTo>
                <a:cubicBezTo>
                  <a:pt x="95" y="210"/>
                  <a:pt x="96" y="210"/>
                  <a:pt x="97" y="210"/>
                </a:cubicBezTo>
                <a:cubicBezTo>
                  <a:pt x="97" y="210"/>
                  <a:pt x="98" y="210"/>
                  <a:pt x="98" y="209"/>
                </a:cubicBezTo>
                <a:cubicBezTo>
                  <a:pt x="99" y="210"/>
                  <a:pt x="99" y="210"/>
                  <a:pt x="100" y="210"/>
                </a:cubicBezTo>
                <a:cubicBezTo>
                  <a:pt x="100" y="209"/>
                  <a:pt x="100" y="209"/>
                  <a:pt x="100" y="209"/>
                </a:cubicBezTo>
                <a:cubicBezTo>
                  <a:pt x="101" y="209"/>
                  <a:pt x="102" y="208"/>
                  <a:pt x="102" y="208"/>
                </a:cubicBezTo>
                <a:cubicBezTo>
                  <a:pt x="102" y="207"/>
                  <a:pt x="102" y="207"/>
                  <a:pt x="103" y="207"/>
                </a:cubicBezTo>
                <a:cubicBezTo>
                  <a:pt x="104" y="207"/>
                  <a:pt x="104" y="206"/>
                  <a:pt x="105" y="206"/>
                </a:cubicBezTo>
                <a:cubicBezTo>
                  <a:pt x="104" y="206"/>
                  <a:pt x="104" y="205"/>
                  <a:pt x="104" y="205"/>
                </a:cubicBezTo>
                <a:cubicBezTo>
                  <a:pt x="105" y="205"/>
                  <a:pt x="105" y="205"/>
                  <a:pt x="105" y="205"/>
                </a:cubicBezTo>
                <a:cubicBezTo>
                  <a:pt x="105" y="205"/>
                  <a:pt x="105" y="205"/>
                  <a:pt x="106" y="205"/>
                </a:cubicBezTo>
                <a:cubicBezTo>
                  <a:pt x="106" y="205"/>
                  <a:pt x="106" y="204"/>
                  <a:pt x="106" y="204"/>
                </a:cubicBezTo>
                <a:cubicBezTo>
                  <a:pt x="108" y="202"/>
                  <a:pt x="107" y="204"/>
                  <a:pt x="108" y="204"/>
                </a:cubicBezTo>
                <a:cubicBezTo>
                  <a:pt x="108" y="204"/>
                  <a:pt x="108" y="203"/>
                  <a:pt x="109" y="203"/>
                </a:cubicBezTo>
                <a:cubicBezTo>
                  <a:pt x="110" y="203"/>
                  <a:pt x="111" y="204"/>
                  <a:pt x="111" y="204"/>
                </a:cubicBezTo>
                <a:cubicBezTo>
                  <a:pt x="113" y="204"/>
                  <a:pt x="112" y="203"/>
                  <a:pt x="113" y="202"/>
                </a:cubicBezTo>
                <a:cubicBezTo>
                  <a:pt x="113" y="202"/>
                  <a:pt x="114" y="202"/>
                  <a:pt x="114" y="202"/>
                </a:cubicBezTo>
                <a:cubicBezTo>
                  <a:pt x="114" y="202"/>
                  <a:pt x="113" y="201"/>
                  <a:pt x="114" y="200"/>
                </a:cubicBezTo>
                <a:cubicBezTo>
                  <a:pt x="114" y="200"/>
                  <a:pt x="114" y="200"/>
                  <a:pt x="114" y="199"/>
                </a:cubicBezTo>
                <a:cubicBezTo>
                  <a:pt x="114" y="199"/>
                  <a:pt x="113" y="199"/>
                  <a:pt x="113" y="199"/>
                </a:cubicBezTo>
                <a:cubicBezTo>
                  <a:pt x="113" y="199"/>
                  <a:pt x="113" y="199"/>
                  <a:pt x="112" y="199"/>
                </a:cubicBezTo>
                <a:cubicBezTo>
                  <a:pt x="112" y="199"/>
                  <a:pt x="112" y="198"/>
                  <a:pt x="111" y="198"/>
                </a:cubicBezTo>
                <a:cubicBezTo>
                  <a:pt x="111" y="198"/>
                  <a:pt x="111" y="196"/>
                  <a:pt x="111" y="196"/>
                </a:cubicBezTo>
                <a:cubicBezTo>
                  <a:pt x="113" y="196"/>
                  <a:pt x="113" y="196"/>
                  <a:pt x="114" y="196"/>
                </a:cubicBezTo>
                <a:cubicBezTo>
                  <a:pt x="114" y="197"/>
                  <a:pt x="116" y="197"/>
                  <a:pt x="116" y="197"/>
                </a:cubicBezTo>
                <a:cubicBezTo>
                  <a:pt x="116" y="196"/>
                  <a:pt x="116" y="196"/>
                  <a:pt x="116" y="196"/>
                </a:cubicBezTo>
                <a:cubicBezTo>
                  <a:pt x="117" y="196"/>
                  <a:pt x="118" y="196"/>
                  <a:pt x="118" y="196"/>
                </a:cubicBezTo>
                <a:cubicBezTo>
                  <a:pt x="119" y="196"/>
                  <a:pt x="119" y="195"/>
                  <a:pt x="120" y="195"/>
                </a:cubicBezTo>
                <a:cubicBezTo>
                  <a:pt x="120" y="195"/>
                  <a:pt x="120" y="196"/>
                  <a:pt x="120" y="197"/>
                </a:cubicBezTo>
                <a:cubicBezTo>
                  <a:pt x="120" y="197"/>
                  <a:pt x="121" y="197"/>
                  <a:pt x="121" y="197"/>
                </a:cubicBezTo>
                <a:cubicBezTo>
                  <a:pt x="121" y="198"/>
                  <a:pt x="121" y="197"/>
                  <a:pt x="120" y="197"/>
                </a:cubicBezTo>
                <a:cubicBezTo>
                  <a:pt x="120" y="197"/>
                  <a:pt x="120" y="198"/>
                  <a:pt x="120" y="198"/>
                </a:cubicBezTo>
                <a:cubicBezTo>
                  <a:pt x="119" y="198"/>
                  <a:pt x="119" y="198"/>
                  <a:pt x="120" y="198"/>
                </a:cubicBezTo>
                <a:cubicBezTo>
                  <a:pt x="120" y="198"/>
                  <a:pt x="122" y="198"/>
                  <a:pt x="122" y="198"/>
                </a:cubicBezTo>
                <a:cubicBezTo>
                  <a:pt x="122" y="199"/>
                  <a:pt x="123" y="199"/>
                  <a:pt x="124" y="199"/>
                </a:cubicBezTo>
                <a:cubicBezTo>
                  <a:pt x="124" y="199"/>
                  <a:pt x="124" y="200"/>
                  <a:pt x="123" y="200"/>
                </a:cubicBezTo>
                <a:cubicBezTo>
                  <a:pt x="123" y="201"/>
                  <a:pt x="123" y="201"/>
                  <a:pt x="123" y="201"/>
                </a:cubicBezTo>
                <a:cubicBezTo>
                  <a:pt x="124" y="202"/>
                  <a:pt x="125" y="202"/>
                  <a:pt x="126" y="201"/>
                </a:cubicBezTo>
                <a:cubicBezTo>
                  <a:pt x="127" y="200"/>
                  <a:pt x="127" y="201"/>
                  <a:pt x="127" y="201"/>
                </a:cubicBezTo>
                <a:cubicBezTo>
                  <a:pt x="127" y="202"/>
                  <a:pt x="128" y="203"/>
                  <a:pt x="128" y="203"/>
                </a:cubicBezTo>
                <a:cubicBezTo>
                  <a:pt x="128" y="203"/>
                  <a:pt x="129" y="203"/>
                  <a:pt x="130" y="203"/>
                </a:cubicBezTo>
                <a:cubicBezTo>
                  <a:pt x="130" y="203"/>
                  <a:pt x="130" y="203"/>
                  <a:pt x="130" y="203"/>
                </a:cubicBezTo>
                <a:cubicBezTo>
                  <a:pt x="131" y="203"/>
                  <a:pt x="131" y="204"/>
                  <a:pt x="131" y="204"/>
                </a:cubicBezTo>
                <a:cubicBezTo>
                  <a:pt x="132" y="205"/>
                  <a:pt x="135" y="204"/>
                  <a:pt x="135" y="205"/>
                </a:cubicBezTo>
                <a:cubicBezTo>
                  <a:pt x="136" y="205"/>
                  <a:pt x="135" y="205"/>
                  <a:pt x="136" y="205"/>
                </a:cubicBezTo>
                <a:cubicBezTo>
                  <a:pt x="136" y="205"/>
                  <a:pt x="136" y="205"/>
                  <a:pt x="137" y="205"/>
                </a:cubicBezTo>
                <a:cubicBezTo>
                  <a:pt x="137" y="205"/>
                  <a:pt x="137" y="204"/>
                  <a:pt x="137" y="204"/>
                </a:cubicBezTo>
                <a:cubicBezTo>
                  <a:pt x="138" y="204"/>
                  <a:pt x="138" y="204"/>
                  <a:pt x="139" y="204"/>
                </a:cubicBezTo>
                <a:cubicBezTo>
                  <a:pt x="139" y="204"/>
                  <a:pt x="139" y="204"/>
                  <a:pt x="140" y="204"/>
                </a:cubicBezTo>
                <a:cubicBezTo>
                  <a:pt x="140" y="205"/>
                  <a:pt x="142" y="204"/>
                  <a:pt x="142" y="205"/>
                </a:cubicBezTo>
                <a:cubicBezTo>
                  <a:pt x="143" y="205"/>
                  <a:pt x="143" y="205"/>
                  <a:pt x="144" y="205"/>
                </a:cubicBezTo>
                <a:cubicBezTo>
                  <a:pt x="144" y="205"/>
                  <a:pt x="145" y="206"/>
                  <a:pt x="145" y="206"/>
                </a:cubicBezTo>
                <a:cubicBezTo>
                  <a:pt x="146" y="206"/>
                  <a:pt x="146" y="206"/>
                  <a:pt x="146" y="206"/>
                </a:cubicBezTo>
                <a:cubicBezTo>
                  <a:pt x="147" y="206"/>
                  <a:pt x="146" y="207"/>
                  <a:pt x="147" y="207"/>
                </a:cubicBezTo>
                <a:cubicBezTo>
                  <a:pt x="148" y="207"/>
                  <a:pt x="149" y="207"/>
                  <a:pt x="150" y="207"/>
                </a:cubicBezTo>
                <a:cubicBezTo>
                  <a:pt x="150" y="207"/>
                  <a:pt x="151" y="207"/>
                  <a:pt x="152" y="207"/>
                </a:cubicBezTo>
                <a:cubicBezTo>
                  <a:pt x="153" y="206"/>
                  <a:pt x="154" y="205"/>
                  <a:pt x="154" y="206"/>
                </a:cubicBezTo>
                <a:cubicBezTo>
                  <a:pt x="154" y="207"/>
                  <a:pt x="153" y="207"/>
                  <a:pt x="153" y="207"/>
                </a:cubicBezTo>
                <a:cubicBezTo>
                  <a:pt x="153" y="208"/>
                  <a:pt x="153" y="208"/>
                  <a:pt x="152" y="209"/>
                </a:cubicBezTo>
                <a:cubicBezTo>
                  <a:pt x="153" y="210"/>
                  <a:pt x="154" y="210"/>
                  <a:pt x="155" y="209"/>
                </a:cubicBezTo>
                <a:cubicBezTo>
                  <a:pt x="155" y="209"/>
                  <a:pt x="156" y="211"/>
                  <a:pt x="156" y="211"/>
                </a:cubicBezTo>
                <a:cubicBezTo>
                  <a:pt x="157" y="211"/>
                  <a:pt x="158" y="211"/>
                  <a:pt x="158" y="211"/>
                </a:cubicBezTo>
                <a:cubicBezTo>
                  <a:pt x="158" y="210"/>
                  <a:pt x="158" y="210"/>
                  <a:pt x="158" y="209"/>
                </a:cubicBezTo>
                <a:cubicBezTo>
                  <a:pt x="159" y="209"/>
                  <a:pt x="159" y="209"/>
                  <a:pt x="160" y="209"/>
                </a:cubicBezTo>
                <a:cubicBezTo>
                  <a:pt x="160" y="210"/>
                  <a:pt x="160" y="211"/>
                  <a:pt x="159" y="212"/>
                </a:cubicBezTo>
                <a:cubicBezTo>
                  <a:pt x="159" y="213"/>
                  <a:pt x="160" y="214"/>
                  <a:pt x="161" y="214"/>
                </a:cubicBezTo>
                <a:cubicBezTo>
                  <a:pt x="161" y="215"/>
                  <a:pt x="161" y="214"/>
                  <a:pt x="161" y="214"/>
                </a:cubicBezTo>
                <a:cubicBezTo>
                  <a:pt x="161" y="215"/>
                  <a:pt x="161" y="215"/>
                  <a:pt x="161" y="215"/>
                </a:cubicBezTo>
                <a:cubicBezTo>
                  <a:pt x="162" y="216"/>
                  <a:pt x="162" y="216"/>
                  <a:pt x="163" y="216"/>
                </a:cubicBezTo>
                <a:cubicBezTo>
                  <a:pt x="163" y="217"/>
                  <a:pt x="163" y="217"/>
                  <a:pt x="164" y="217"/>
                </a:cubicBezTo>
                <a:cubicBezTo>
                  <a:pt x="165" y="217"/>
                  <a:pt x="166" y="216"/>
                  <a:pt x="166" y="217"/>
                </a:cubicBezTo>
                <a:cubicBezTo>
                  <a:pt x="166" y="219"/>
                  <a:pt x="166" y="218"/>
                  <a:pt x="167" y="218"/>
                </a:cubicBezTo>
                <a:cubicBezTo>
                  <a:pt x="167" y="218"/>
                  <a:pt x="167" y="219"/>
                  <a:pt x="168" y="219"/>
                </a:cubicBezTo>
                <a:cubicBezTo>
                  <a:pt x="168" y="220"/>
                  <a:pt x="168" y="220"/>
                  <a:pt x="169" y="220"/>
                </a:cubicBezTo>
                <a:cubicBezTo>
                  <a:pt x="169" y="220"/>
                  <a:pt x="169" y="221"/>
                  <a:pt x="169" y="222"/>
                </a:cubicBezTo>
                <a:cubicBezTo>
                  <a:pt x="169" y="222"/>
                  <a:pt x="169" y="222"/>
                  <a:pt x="169" y="222"/>
                </a:cubicBezTo>
                <a:cubicBezTo>
                  <a:pt x="169" y="222"/>
                  <a:pt x="169" y="222"/>
                  <a:pt x="170" y="223"/>
                </a:cubicBezTo>
                <a:cubicBezTo>
                  <a:pt x="170" y="223"/>
                  <a:pt x="171" y="223"/>
                  <a:pt x="171" y="224"/>
                </a:cubicBezTo>
                <a:cubicBezTo>
                  <a:pt x="171" y="224"/>
                  <a:pt x="172" y="225"/>
                  <a:pt x="172" y="225"/>
                </a:cubicBezTo>
                <a:cubicBezTo>
                  <a:pt x="173" y="225"/>
                  <a:pt x="173" y="224"/>
                  <a:pt x="173" y="223"/>
                </a:cubicBezTo>
                <a:cubicBezTo>
                  <a:pt x="173" y="223"/>
                  <a:pt x="174" y="223"/>
                  <a:pt x="174" y="224"/>
                </a:cubicBezTo>
                <a:cubicBezTo>
                  <a:pt x="174" y="224"/>
                  <a:pt x="174" y="224"/>
                  <a:pt x="175" y="225"/>
                </a:cubicBezTo>
                <a:cubicBezTo>
                  <a:pt x="176" y="225"/>
                  <a:pt x="177" y="225"/>
                  <a:pt x="177" y="224"/>
                </a:cubicBezTo>
                <a:cubicBezTo>
                  <a:pt x="176" y="224"/>
                  <a:pt x="177" y="223"/>
                  <a:pt x="176" y="223"/>
                </a:cubicBezTo>
                <a:cubicBezTo>
                  <a:pt x="176" y="222"/>
                  <a:pt x="175" y="222"/>
                  <a:pt x="175" y="222"/>
                </a:cubicBezTo>
                <a:cubicBezTo>
                  <a:pt x="175" y="222"/>
                  <a:pt x="176" y="222"/>
                  <a:pt x="176" y="221"/>
                </a:cubicBezTo>
                <a:cubicBezTo>
                  <a:pt x="175" y="221"/>
                  <a:pt x="175" y="221"/>
                  <a:pt x="174" y="220"/>
                </a:cubicBezTo>
                <a:cubicBezTo>
                  <a:pt x="174" y="220"/>
                  <a:pt x="173" y="220"/>
                  <a:pt x="173" y="220"/>
                </a:cubicBezTo>
                <a:cubicBezTo>
                  <a:pt x="172" y="220"/>
                  <a:pt x="171" y="220"/>
                  <a:pt x="170" y="220"/>
                </a:cubicBezTo>
                <a:cubicBezTo>
                  <a:pt x="169" y="219"/>
                  <a:pt x="169" y="220"/>
                  <a:pt x="169" y="218"/>
                </a:cubicBezTo>
                <a:cubicBezTo>
                  <a:pt x="169" y="218"/>
                  <a:pt x="170" y="219"/>
                  <a:pt x="170" y="219"/>
                </a:cubicBezTo>
                <a:cubicBezTo>
                  <a:pt x="171" y="219"/>
                  <a:pt x="171" y="219"/>
                  <a:pt x="171" y="218"/>
                </a:cubicBezTo>
                <a:cubicBezTo>
                  <a:pt x="171" y="218"/>
                  <a:pt x="171" y="218"/>
                  <a:pt x="171" y="218"/>
                </a:cubicBezTo>
                <a:cubicBezTo>
                  <a:pt x="172" y="218"/>
                  <a:pt x="173" y="217"/>
                  <a:pt x="173" y="217"/>
                </a:cubicBezTo>
                <a:cubicBezTo>
                  <a:pt x="174" y="217"/>
                  <a:pt x="173" y="219"/>
                  <a:pt x="175" y="218"/>
                </a:cubicBezTo>
                <a:cubicBezTo>
                  <a:pt x="175" y="217"/>
                  <a:pt x="174" y="216"/>
                  <a:pt x="175" y="215"/>
                </a:cubicBezTo>
                <a:cubicBezTo>
                  <a:pt x="175" y="215"/>
                  <a:pt x="175" y="214"/>
                  <a:pt x="175" y="214"/>
                </a:cubicBezTo>
                <a:cubicBezTo>
                  <a:pt x="175" y="213"/>
                  <a:pt x="176" y="217"/>
                  <a:pt x="176" y="217"/>
                </a:cubicBezTo>
                <a:cubicBezTo>
                  <a:pt x="177" y="218"/>
                  <a:pt x="178" y="218"/>
                  <a:pt x="180" y="218"/>
                </a:cubicBezTo>
                <a:cubicBezTo>
                  <a:pt x="180" y="218"/>
                  <a:pt x="180" y="219"/>
                  <a:pt x="180" y="220"/>
                </a:cubicBezTo>
                <a:cubicBezTo>
                  <a:pt x="181" y="220"/>
                  <a:pt x="181" y="220"/>
                  <a:pt x="182" y="219"/>
                </a:cubicBezTo>
                <a:cubicBezTo>
                  <a:pt x="182" y="220"/>
                  <a:pt x="181" y="221"/>
                  <a:pt x="181" y="222"/>
                </a:cubicBezTo>
                <a:cubicBezTo>
                  <a:pt x="183" y="221"/>
                  <a:pt x="182" y="223"/>
                  <a:pt x="183" y="223"/>
                </a:cubicBezTo>
                <a:cubicBezTo>
                  <a:pt x="183" y="223"/>
                  <a:pt x="183" y="224"/>
                  <a:pt x="183" y="224"/>
                </a:cubicBezTo>
                <a:cubicBezTo>
                  <a:pt x="183" y="225"/>
                  <a:pt x="184" y="225"/>
                  <a:pt x="184" y="225"/>
                </a:cubicBezTo>
                <a:cubicBezTo>
                  <a:pt x="184" y="226"/>
                  <a:pt x="183" y="227"/>
                  <a:pt x="184" y="227"/>
                </a:cubicBezTo>
                <a:cubicBezTo>
                  <a:pt x="184" y="227"/>
                  <a:pt x="185" y="227"/>
                  <a:pt x="186" y="227"/>
                </a:cubicBezTo>
                <a:cubicBezTo>
                  <a:pt x="186" y="227"/>
                  <a:pt x="186" y="228"/>
                  <a:pt x="185" y="228"/>
                </a:cubicBezTo>
                <a:cubicBezTo>
                  <a:pt x="186" y="230"/>
                  <a:pt x="186" y="230"/>
                  <a:pt x="187" y="230"/>
                </a:cubicBezTo>
                <a:cubicBezTo>
                  <a:pt x="187" y="230"/>
                  <a:pt x="188" y="231"/>
                  <a:pt x="188" y="232"/>
                </a:cubicBezTo>
                <a:cubicBezTo>
                  <a:pt x="189" y="232"/>
                  <a:pt x="191" y="233"/>
                  <a:pt x="191" y="233"/>
                </a:cubicBezTo>
                <a:cubicBezTo>
                  <a:pt x="191" y="234"/>
                  <a:pt x="191" y="235"/>
                  <a:pt x="191" y="236"/>
                </a:cubicBezTo>
                <a:cubicBezTo>
                  <a:pt x="190" y="236"/>
                  <a:pt x="190" y="237"/>
                  <a:pt x="190" y="238"/>
                </a:cubicBezTo>
                <a:cubicBezTo>
                  <a:pt x="191" y="238"/>
                  <a:pt x="192" y="238"/>
                  <a:pt x="192" y="236"/>
                </a:cubicBezTo>
                <a:cubicBezTo>
                  <a:pt x="192" y="236"/>
                  <a:pt x="192" y="236"/>
                  <a:pt x="192" y="235"/>
                </a:cubicBezTo>
                <a:cubicBezTo>
                  <a:pt x="193" y="235"/>
                  <a:pt x="193" y="235"/>
                  <a:pt x="193" y="236"/>
                </a:cubicBezTo>
                <a:cubicBezTo>
                  <a:pt x="194" y="236"/>
                  <a:pt x="194" y="236"/>
                  <a:pt x="194" y="236"/>
                </a:cubicBezTo>
                <a:cubicBezTo>
                  <a:pt x="193" y="236"/>
                  <a:pt x="193" y="236"/>
                  <a:pt x="193" y="236"/>
                </a:cubicBezTo>
                <a:cubicBezTo>
                  <a:pt x="193" y="237"/>
                  <a:pt x="193" y="238"/>
                  <a:pt x="192" y="237"/>
                </a:cubicBezTo>
                <a:cubicBezTo>
                  <a:pt x="192" y="238"/>
                  <a:pt x="193" y="240"/>
                  <a:pt x="193" y="241"/>
                </a:cubicBezTo>
                <a:cubicBezTo>
                  <a:pt x="194" y="241"/>
                  <a:pt x="194" y="240"/>
                  <a:pt x="195" y="241"/>
                </a:cubicBezTo>
                <a:cubicBezTo>
                  <a:pt x="195" y="240"/>
                  <a:pt x="195" y="240"/>
                  <a:pt x="195" y="240"/>
                </a:cubicBezTo>
                <a:cubicBezTo>
                  <a:pt x="195" y="239"/>
                  <a:pt x="195" y="238"/>
                  <a:pt x="195" y="237"/>
                </a:cubicBezTo>
                <a:cubicBezTo>
                  <a:pt x="195" y="238"/>
                  <a:pt x="196" y="240"/>
                  <a:pt x="196" y="240"/>
                </a:cubicBezTo>
                <a:cubicBezTo>
                  <a:pt x="196" y="240"/>
                  <a:pt x="196" y="242"/>
                  <a:pt x="196" y="242"/>
                </a:cubicBezTo>
                <a:cubicBezTo>
                  <a:pt x="195" y="242"/>
                  <a:pt x="195" y="242"/>
                  <a:pt x="194" y="242"/>
                </a:cubicBezTo>
                <a:cubicBezTo>
                  <a:pt x="194" y="243"/>
                  <a:pt x="195" y="243"/>
                  <a:pt x="196" y="243"/>
                </a:cubicBezTo>
                <a:cubicBezTo>
                  <a:pt x="196" y="244"/>
                  <a:pt x="195" y="244"/>
                  <a:pt x="195" y="244"/>
                </a:cubicBezTo>
                <a:cubicBezTo>
                  <a:pt x="196" y="245"/>
                  <a:pt x="196" y="245"/>
                  <a:pt x="197" y="245"/>
                </a:cubicBezTo>
                <a:cubicBezTo>
                  <a:pt x="198" y="245"/>
                  <a:pt x="198" y="245"/>
                  <a:pt x="198" y="244"/>
                </a:cubicBezTo>
                <a:cubicBezTo>
                  <a:pt x="199" y="243"/>
                  <a:pt x="199" y="243"/>
                  <a:pt x="200" y="242"/>
                </a:cubicBezTo>
                <a:cubicBezTo>
                  <a:pt x="201" y="242"/>
                  <a:pt x="201" y="242"/>
                  <a:pt x="201" y="243"/>
                </a:cubicBezTo>
                <a:cubicBezTo>
                  <a:pt x="201" y="243"/>
                  <a:pt x="200" y="244"/>
                  <a:pt x="200" y="244"/>
                </a:cubicBezTo>
                <a:cubicBezTo>
                  <a:pt x="199" y="244"/>
                  <a:pt x="200" y="244"/>
                  <a:pt x="200" y="244"/>
                </a:cubicBezTo>
                <a:cubicBezTo>
                  <a:pt x="199" y="244"/>
                  <a:pt x="199" y="245"/>
                  <a:pt x="198" y="245"/>
                </a:cubicBezTo>
                <a:cubicBezTo>
                  <a:pt x="198" y="245"/>
                  <a:pt x="198" y="246"/>
                  <a:pt x="198" y="246"/>
                </a:cubicBezTo>
                <a:cubicBezTo>
                  <a:pt x="198" y="246"/>
                  <a:pt x="198" y="246"/>
                  <a:pt x="197" y="246"/>
                </a:cubicBezTo>
                <a:cubicBezTo>
                  <a:pt x="197" y="247"/>
                  <a:pt x="197" y="248"/>
                  <a:pt x="197" y="248"/>
                </a:cubicBezTo>
                <a:cubicBezTo>
                  <a:pt x="197" y="249"/>
                  <a:pt x="197" y="249"/>
                  <a:pt x="198" y="249"/>
                </a:cubicBezTo>
                <a:cubicBezTo>
                  <a:pt x="198" y="249"/>
                  <a:pt x="198" y="249"/>
                  <a:pt x="199" y="249"/>
                </a:cubicBezTo>
                <a:cubicBezTo>
                  <a:pt x="198" y="250"/>
                  <a:pt x="198" y="251"/>
                  <a:pt x="199" y="251"/>
                </a:cubicBezTo>
                <a:cubicBezTo>
                  <a:pt x="200" y="252"/>
                  <a:pt x="199" y="252"/>
                  <a:pt x="198" y="252"/>
                </a:cubicBezTo>
                <a:cubicBezTo>
                  <a:pt x="199" y="253"/>
                  <a:pt x="199" y="255"/>
                  <a:pt x="200" y="255"/>
                </a:cubicBezTo>
                <a:cubicBezTo>
                  <a:pt x="200" y="256"/>
                  <a:pt x="201" y="256"/>
                  <a:pt x="201" y="257"/>
                </a:cubicBezTo>
                <a:cubicBezTo>
                  <a:pt x="203" y="256"/>
                  <a:pt x="202" y="256"/>
                  <a:pt x="202" y="254"/>
                </a:cubicBezTo>
                <a:cubicBezTo>
                  <a:pt x="202" y="255"/>
                  <a:pt x="202" y="255"/>
                  <a:pt x="203" y="254"/>
                </a:cubicBezTo>
                <a:cubicBezTo>
                  <a:pt x="203" y="254"/>
                  <a:pt x="204" y="254"/>
                  <a:pt x="204" y="254"/>
                </a:cubicBezTo>
                <a:cubicBezTo>
                  <a:pt x="204" y="254"/>
                  <a:pt x="204" y="254"/>
                  <a:pt x="204" y="254"/>
                </a:cubicBezTo>
                <a:cubicBezTo>
                  <a:pt x="205" y="254"/>
                  <a:pt x="205" y="254"/>
                  <a:pt x="205" y="255"/>
                </a:cubicBezTo>
                <a:cubicBezTo>
                  <a:pt x="204" y="255"/>
                  <a:pt x="203" y="256"/>
                  <a:pt x="204" y="257"/>
                </a:cubicBezTo>
                <a:cubicBezTo>
                  <a:pt x="204" y="257"/>
                  <a:pt x="205" y="257"/>
                  <a:pt x="205" y="258"/>
                </a:cubicBezTo>
                <a:cubicBezTo>
                  <a:pt x="204" y="258"/>
                  <a:pt x="204" y="257"/>
                  <a:pt x="203" y="257"/>
                </a:cubicBezTo>
                <a:cubicBezTo>
                  <a:pt x="202" y="258"/>
                  <a:pt x="203" y="259"/>
                  <a:pt x="204" y="260"/>
                </a:cubicBezTo>
                <a:cubicBezTo>
                  <a:pt x="205" y="260"/>
                  <a:pt x="204" y="260"/>
                  <a:pt x="206" y="260"/>
                </a:cubicBezTo>
                <a:cubicBezTo>
                  <a:pt x="206" y="260"/>
                  <a:pt x="206" y="260"/>
                  <a:pt x="206" y="259"/>
                </a:cubicBezTo>
                <a:cubicBezTo>
                  <a:pt x="206" y="259"/>
                  <a:pt x="206" y="259"/>
                  <a:pt x="207" y="259"/>
                </a:cubicBezTo>
                <a:cubicBezTo>
                  <a:pt x="207" y="260"/>
                  <a:pt x="206" y="260"/>
                  <a:pt x="206" y="261"/>
                </a:cubicBezTo>
                <a:cubicBezTo>
                  <a:pt x="207" y="261"/>
                  <a:pt x="207" y="261"/>
                  <a:pt x="207" y="262"/>
                </a:cubicBezTo>
                <a:cubicBezTo>
                  <a:pt x="208" y="262"/>
                  <a:pt x="208" y="262"/>
                  <a:pt x="209" y="263"/>
                </a:cubicBezTo>
                <a:cubicBezTo>
                  <a:pt x="209" y="263"/>
                  <a:pt x="209" y="263"/>
                  <a:pt x="210" y="263"/>
                </a:cubicBezTo>
                <a:cubicBezTo>
                  <a:pt x="209" y="264"/>
                  <a:pt x="208" y="264"/>
                  <a:pt x="210" y="264"/>
                </a:cubicBezTo>
                <a:cubicBezTo>
                  <a:pt x="211" y="264"/>
                  <a:pt x="210" y="266"/>
                  <a:pt x="210" y="265"/>
                </a:cubicBezTo>
                <a:cubicBezTo>
                  <a:pt x="210" y="266"/>
                  <a:pt x="209" y="267"/>
                  <a:pt x="210" y="267"/>
                </a:cubicBezTo>
                <a:cubicBezTo>
                  <a:pt x="212" y="268"/>
                  <a:pt x="210" y="268"/>
                  <a:pt x="210" y="268"/>
                </a:cubicBezTo>
                <a:cubicBezTo>
                  <a:pt x="210" y="268"/>
                  <a:pt x="210" y="268"/>
                  <a:pt x="210" y="269"/>
                </a:cubicBezTo>
                <a:cubicBezTo>
                  <a:pt x="210" y="269"/>
                  <a:pt x="210" y="269"/>
                  <a:pt x="209" y="269"/>
                </a:cubicBezTo>
                <a:cubicBezTo>
                  <a:pt x="209" y="269"/>
                  <a:pt x="209" y="270"/>
                  <a:pt x="209" y="270"/>
                </a:cubicBezTo>
                <a:cubicBezTo>
                  <a:pt x="209" y="271"/>
                  <a:pt x="209" y="272"/>
                  <a:pt x="210" y="272"/>
                </a:cubicBezTo>
                <a:cubicBezTo>
                  <a:pt x="210" y="272"/>
                  <a:pt x="210" y="272"/>
                  <a:pt x="210" y="272"/>
                </a:cubicBezTo>
                <a:cubicBezTo>
                  <a:pt x="210" y="272"/>
                  <a:pt x="211" y="272"/>
                  <a:pt x="211" y="272"/>
                </a:cubicBezTo>
                <a:cubicBezTo>
                  <a:pt x="211" y="272"/>
                  <a:pt x="211" y="272"/>
                  <a:pt x="211" y="272"/>
                </a:cubicBezTo>
                <a:cubicBezTo>
                  <a:pt x="211" y="271"/>
                  <a:pt x="213" y="271"/>
                  <a:pt x="214" y="271"/>
                </a:cubicBezTo>
                <a:cubicBezTo>
                  <a:pt x="214" y="272"/>
                  <a:pt x="215" y="272"/>
                  <a:pt x="215" y="272"/>
                </a:cubicBezTo>
                <a:cubicBezTo>
                  <a:pt x="215" y="272"/>
                  <a:pt x="215" y="273"/>
                  <a:pt x="214" y="273"/>
                </a:cubicBezTo>
                <a:cubicBezTo>
                  <a:pt x="215" y="273"/>
                  <a:pt x="215" y="274"/>
                  <a:pt x="215" y="274"/>
                </a:cubicBezTo>
                <a:cubicBezTo>
                  <a:pt x="215" y="274"/>
                  <a:pt x="216" y="273"/>
                  <a:pt x="216" y="273"/>
                </a:cubicBezTo>
                <a:cubicBezTo>
                  <a:pt x="216" y="273"/>
                  <a:pt x="217" y="273"/>
                  <a:pt x="217" y="273"/>
                </a:cubicBezTo>
                <a:cubicBezTo>
                  <a:pt x="218" y="273"/>
                  <a:pt x="217" y="273"/>
                  <a:pt x="218" y="273"/>
                </a:cubicBezTo>
                <a:cubicBezTo>
                  <a:pt x="218" y="273"/>
                  <a:pt x="219" y="273"/>
                  <a:pt x="219" y="273"/>
                </a:cubicBezTo>
                <a:cubicBezTo>
                  <a:pt x="220" y="273"/>
                  <a:pt x="221" y="272"/>
                  <a:pt x="222" y="272"/>
                </a:cubicBezTo>
                <a:cubicBezTo>
                  <a:pt x="222" y="273"/>
                  <a:pt x="222" y="274"/>
                  <a:pt x="223" y="274"/>
                </a:cubicBezTo>
                <a:cubicBezTo>
                  <a:pt x="223" y="274"/>
                  <a:pt x="223" y="275"/>
                  <a:pt x="223" y="275"/>
                </a:cubicBezTo>
                <a:cubicBezTo>
                  <a:pt x="223" y="276"/>
                  <a:pt x="223" y="275"/>
                  <a:pt x="224" y="276"/>
                </a:cubicBezTo>
                <a:cubicBezTo>
                  <a:pt x="224" y="276"/>
                  <a:pt x="224" y="276"/>
                  <a:pt x="224" y="276"/>
                </a:cubicBezTo>
                <a:cubicBezTo>
                  <a:pt x="225" y="276"/>
                  <a:pt x="225" y="276"/>
                  <a:pt x="225" y="276"/>
                </a:cubicBezTo>
                <a:cubicBezTo>
                  <a:pt x="226" y="276"/>
                  <a:pt x="226" y="276"/>
                  <a:pt x="227" y="276"/>
                </a:cubicBezTo>
                <a:cubicBezTo>
                  <a:pt x="227" y="277"/>
                  <a:pt x="227" y="277"/>
                  <a:pt x="228" y="277"/>
                </a:cubicBezTo>
                <a:cubicBezTo>
                  <a:pt x="228" y="277"/>
                  <a:pt x="228" y="278"/>
                  <a:pt x="227" y="278"/>
                </a:cubicBezTo>
                <a:cubicBezTo>
                  <a:pt x="227" y="279"/>
                  <a:pt x="227" y="279"/>
                  <a:pt x="227" y="279"/>
                </a:cubicBezTo>
                <a:cubicBezTo>
                  <a:pt x="228" y="279"/>
                  <a:pt x="228" y="279"/>
                  <a:pt x="229" y="279"/>
                </a:cubicBezTo>
                <a:cubicBezTo>
                  <a:pt x="229" y="278"/>
                  <a:pt x="229" y="278"/>
                  <a:pt x="230" y="278"/>
                </a:cubicBezTo>
                <a:cubicBezTo>
                  <a:pt x="230" y="278"/>
                  <a:pt x="231" y="278"/>
                  <a:pt x="231" y="279"/>
                </a:cubicBezTo>
                <a:cubicBezTo>
                  <a:pt x="230" y="279"/>
                  <a:pt x="230" y="279"/>
                  <a:pt x="231" y="280"/>
                </a:cubicBezTo>
                <a:cubicBezTo>
                  <a:pt x="231" y="280"/>
                  <a:pt x="231" y="280"/>
                  <a:pt x="232" y="280"/>
                </a:cubicBezTo>
                <a:cubicBezTo>
                  <a:pt x="232" y="280"/>
                  <a:pt x="232" y="281"/>
                  <a:pt x="232" y="281"/>
                </a:cubicBezTo>
                <a:cubicBezTo>
                  <a:pt x="233" y="282"/>
                  <a:pt x="233" y="281"/>
                  <a:pt x="233" y="282"/>
                </a:cubicBezTo>
                <a:cubicBezTo>
                  <a:pt x="233" y="283"/>
                  <a:pt x="235" y="283"/>
                  <a:pt x="235" y="284"/>
                </a:cubicBezTo>
                <a:cubicBezTo>
                  <a:pt x="235" y="285"/>
                  <a:pt x="234" y="285"/>
                  <a:pt x="233" y="286"/>
                </a:cubicBezTo>
                <a:cubicBezTo>
                  <a:pt x="234" y="286"/>
                  <a:pt x="236" y="288"/>
                  <a:pt x="234" y="288"/>
                </a:cubicBezTo>
                <a:cubicBezTo>
                  <a:pt x="235" y="288"/>
                  <a:pt x="235" y="288"/>
                  <a:pt x="236" y="288"/>
                </a:cubicBezTo>
                <a:cubicBezTo>
                  <a:pt x="236" y="288"/>
                  <a:pt x="236" y="288"/>
                  <a:pt x="236" y="288"/>
                </a:cubicBezTo>
                <a:cubicBezTo>
                  <a:pt x="236" y="290"/>
                  <a:pt x="235" y="291"/>
                  <a:pt x="236" y="293"/>
                </a:cubicBezTo>
                <a:cubicBezTo>
                  <a:pt x="235" y="293"/>
                  <a:pt x="235" y="293"/>
                  <a:pt x="235" y="292"/>
                </a:cubicBezTo>
                <a:cubicBezTo>
                  <a:pt x="235" y="292"/>
                  <a:pt x="234" y="291"/>
                  <a:pt x="234" y="291"/>
                </a:cubicBezTo>
                <a:cubicBezTo>
                  <a:pt x="234" y="290"/>
                  <a:pt x="234" y="290"/>
                  <a:pt x="234" y="289"/>
                </a:cubicBezTo>
                <a:cubicBezTo>
                  <a:pt x="234" y="290"/>
                  <a:pt x="234" y="290"/>
                  <a:pt x="235" y="290"/>
                </a:cubicBezTo>
                <a:cubicBezTo>
                  <a:pt x="235" y="289"/>
                  <a:pt x="234" y="288"/>
                  <a:pt x="234" y="288"/>
                </a:cubicBezTo>
                <a:cubicBezTo>
                  <a:pt x="233" y="288"/>
                  <a:pt x="233" y="288"/>
                  <a:pt x="233" y="289"/>
                </a:cubicBezTo>
                <a:cubicBezTo>
                  <a:pt x="232" y="289"/>
                  <a:pt x="231" y="289"/>
                  <a:pt x="230" y="289"/>
                </a:cubicBezTo>
                <a:cubicBezTo>
                  <a:pt x="230" y="289"/>
                  <a:pt x="230" y="289"/>
                  <a:pt x="230" y="289"/>
                </a:cubicBezTo>
                <a:cubicBezTo>
                  <a:pt x="230" y="289"/>
                  <a:pt x="228" y="289"/>
                  <a:pt x="228" y="288"/>
                </a:cubicBezTo>
                <a:cubicBezTo>
                  <a:pt x="227" y="288"/>
                  <a:pt x="227" y="289"/>
                  <a:pt x="226" y="289"/>
                </a:cubicBezTo>
                <a:cubicBezTo>
                  <a:pt x="226" y="288"/>
                  <a:pt x="224" y="288"/>
                  <a:pt x="223" y="288"/>
                </a:cubicBezTo>
                <a:cubicBezTo>
                  <a:pt x="224" y="289"/>
                  <a:pt x="224" y="290"/>
                  <a:pt x="224" y="291"/>
                </a:cubicBezTo>
                <a:cubicBezTo>
                  <a:pt x="225" y="291"/>
                  <a:pt x="225" y="292"/>
                  <a:pt x="225" y="293"/>
                </a:cubicBezTo>
                <a:cubicBezTo>
                  <a:pt x="226" y="293"/>
                  <a:pt x="226" y="294"/>
                  <a:pt x="227" y="295"/>
                </a:cubicBezTo>
                <a:cubicBezTo>
                  <a:pt x="227" y="296"/>
                  <a:pt x="226" y="297"/>
                  <a:pt x="227" y="296"/>
                </a:cubicBezTo>
                <a:cubicBezTo>
                  <a:pt x="227" y="297"/>
                  <a:pt x="227" y="297"/>
                  <a:pt x="227" y="298"/>
                </a:cubicBezTo>
                <a:cubicBezTo>
                  <a:pt x="228" y="298"/>
                  <a:pt x="228" y="298"/>
                  <a:pt x="228" y="298"/>
                </a:cubicBezTo>
                <a:cubicBezTo>
                  <a:pt x="228" y="299"/>
                  <a:pt x="228" y="300"/>
                  <a:pt x="228" y="300"/>
                </a:cubicBezTo>
                <a:cubicBezTo>
                  <a:pt x="228" y="300"/>
                  <a:pt x="227" y="300"/>
                  <a:pt x="227" y="300"/>
                </a:cubicBezTo>
                <a:cubicBezTo>
                  <a:pt x="227" y="300"/>
                  <a:pt x="227" y="302"/>
                  <a:pt x="227" y="302"/>
                </a:cubicBezTo>
                <a:cubicBezTo>
                  <a:pt x="227" y="303"/>
                  <a:pt x="228" y="302"/>
                  <a:pt x="228" y="303"/>
                </a:cubicBezTo>
                <a:cubicBezTo>
                  <a:pt x="228" y="303"/>
                  <a:pt x="228" y="303"/>
                  <a:pt x="227" y="303"/>
                </a:cubicBezTo>
                <a:cubicBezTo>
                  <a:pt x="227" y="304"/>
                  <a:pt x="227" y="307"/>
                  <a:pt x="228" y="307"/>
                </a:cubicBezTo>
                <a:cubicBezTo>
                  <a:pt x="227" y="308"/>
                  <a:pt x="227" y="308"/>
                  <a:pt x="227" y="309"/>
                </a:cubicBezTo>
                <a:cubicBezTo>
                  <a:pt x="227" y="309"/>
                  <a:pt x="227" y="311"/>
                  <a:pt x="227" y="311"/>
                </a:cubicBezTo>
                <a:cubicBezTo>
                  <a:pt x="227" y="311"/>
                  <a:pt x="227" y="313"/>
                  <a:pt x="227" y="313"/>
                </a:cubicBezTo>
                <a:cubicBezTo>
                  <a:pt x="226" y="313"/>
                  <a:pt x="227" y="314"/>
                  <a:pt x="227" y="315"/>
                </a:cubicBezTo>
                <a:cubicBezTo>
                  <a:pt x="226" y="315"/>
                  <a:pt x="226" y="319"/>
                  <a:pt x="226" y="320"/>
                </a:cubicBezTo>
                <a:cubicBezTo>
                  <a:pt x="226" y="320"/>
                  <a:pt x="226" y="321"/>
                  <a:pt x="226" y="321"/>
                </a:cubicBezTo>
                <a:cubicBezTo>
                  <a:pt x="226" y="321"/>
                  <a:pt x="226" y="321"/>
                  <a:pt x="226" y="322"/>
                </a:cubicBezTo>
                <a:cubicBezTo>
                  <a:pt x="225" y="323"/>
                  <a:pt x="225" y="324"/>
                  <a:pt x="226" y="325"/>
                </a:cubicBezTo>
                <a:cubicBezTo>
                  <a:pt x="226" y="326"/>
                  <a:pt x="226" y="328"/>
                  <a:pt x="226" y="329"/>
                </a:cubicBezTo>
                <a:cubicBezTo>
                  <a:pt x="227" y="329"/>
                  <a:pt x="229" y="331"/>
                  <a:pt x="228" y="331"/>
                </a:cubicBezTo>
                <a:cubicBezTo>
                  <a:pt x="227" y="331"/>
                  <a:pt x="227" y="331"/>
                  <a:pt x="227" y="332"/>
                </a:cubicBezTo>
                <a:cubicBezTo>
                  <a:pt x="227" y="333"/>
                  <a:pt x="227" y="332"/>
                  <a:pt x="227" y="332"/>
                </a:cubicBezTo>
                <a:cubicBezTo>
                  <a:pt x="227" y="333"/>
                  <a:pt x="227" y="333"/>
                  <a:pt x="227" y="334"/>
                </a:cubicBezTo>
                <a:cubicBezTo>
                  <a:pt x="227" y="334"/>
                  <a:pt x="228" y="334"/>
                  <a:pt x="228" y="335"/>
                </a:cubicBezTo>
                <a:cubicBezTo>
                  <a:pt x="227" y="334"/>
                  <a:pt x="227" y="339"/>
                  <a:pt x="227" y="340"/>
                </a:cubicBezTo>
                <a:cubicBezTo>
                  <a:pt x="227" y="340"/>
                  <a:pt x="227" y="339"/>
                  <a:pt x="226" y="340"/>
                </a:cubicBezTo>
                <a:cubicBezTo>
                  <a:pt x="226" y="340"/>
                  <a:pt x="227" y="340"/>
                  <a:pt x="226" y="340"/>
                </a:cubicBezTo>
                <a:cubicBezTo>
                  <a:pt x="226" y="341"/>
                  <a:pt x="226" y="342"/>
                  <a:pt x="227" y="342"/>
                </a:cubicBezTo>
                <a:cubicBezTo>
                  <a:pt x="227" y="342"/>
                  <a:pt x="227" y="342"/>
                  <a:pt x="227" y="342"/>
                </a:cubicBezTo>
                <a:cubicBezTo>
                  <a:pt x="227" y="342"/>
                  <a:pt x="227" y="343"/>
                  <a:pt x="227" y="343"/>
                </a:cubicBezTo>
                <a:cubicBezTo>
                  <a:pt x="227" y="344"/>
                  <a:pt x="228" y="343"/>
                  <a:pt x="228" y="343"/>
                </a:cubicBezTo>
                <a:cubicBezTo>
                  <a:pt x="228" y="344"/>
                  <a:pt x="228" y="344"/>
                  <a:pt x="228" y="344"/>
                </a:cubicBezTo>
                <a:cubicBezTo>
                  <a:pt x="228" y="345"/>
                  <a:pt x="229" y="344"/>
                  <a:pt x="229" y="345"/>
                </a:cubicBezTo>
                <a:cubicBezTo>
                  <a:pt x="229" y="345"/>
                  <a:pt x="229" y="345"/>
                  <a:pt x="229" y="346"/>
                </a:cubicBezTo>
                <a:cubicBezTo>
                  <a:pt x="229" y="347"/>
                  <a:pt x="229" y="346"/>
                  <a:pt x="229" y="347"/>
                </a:cubicBezTo>
                <a:cubicBezTo>
                  <a:pt x="229" y="348"/>
                  <a:pt x="230" y="349"/>
                  <a:pt x="230" y="350"/>
                </a:cubicBezTo>
                <a:cubicBezTo>
                  <a:pt x="230" y="351"/>
                  <a:pt x="231" y="350"/>
                  <a:pt x="231" y="351"/>
                </a:cubicBezTo>
                <a:cubicBezTo>
                  <a:pt x="231" y="351"/>
                  <a:pt x="231" y="352"/>
                  <a:pt x="232" y="352"/>
                </a:cubicBezTo>
                <a:cubicBezTo>
                  <a:pt x="233" y="352"/>
                  <a:pt x="232" y="353"/>
                  <a:pt x="232" y="354"/>
                </a:cubicBezTo>
                <a:cubicBezTo>
                  <a:pt x="232" y="354"/>
                  <a:pt x="232" y="355"/>
                  <a:pt x="232" y="355"/>
                </a:cubicBezTo>
                <a:cubicBezTo>
                  <a:pt x="232" y="355"/>
                  <a:pt x="234" y="355"/>
                  <a:pt x="234" y="356"/>
                </a:cubicBezTo>
                <a:cubicBezTo>
                  <a:pt x="234" y="355"/>
                  <a:pt x="234" y="354"/>
                  <a:pt x="234" y="354"/>
                </a:cubicBezTo>
                <a:cubicBezTo>
                  <a:pt x="235" y="353"/>
                  <a:pt x="236" y="354"/>
                  <a:pt x="236" y="354"/>
                </a:cubicBezTo>
                <a:cubicBezTo>
                  <a:pt x="236" y="355"/>
                  <a:pt x="235" y="356"/>
                  <a:pt x="236" y="356"/>
                </a:cubicBezTo>
                <a:cubicBezTo>
                  <a:pt x="236" y="357"/>
                  <a:pt x="237" y="357"/>
                  <a:pt x="237" y="358"/>
                </a:cubicBezTo>
                <a:cubicBezTo>
                  <a:pt x="235" y="357"/>
                  <a:pt x="234" y="356"/>
                  <a:pt x="234" y="358"/>
                </a:cubicBezTo>
                <a:cubicBezTo>
                  <a:pt x="234" y="359"/>
                  <a:pt x="235" y="359"/>
                  <a:pt x="235" y="359"/>
                </a:cubicBezTo>
                <a:cubicBezTo>
                  <a:pt x="236" y="359"/>
                  <a:pt x="236" y="359"/>
                  <a:pt x="236" y="360"/>
                </a:cubicBezTo>
                <a:cubicBezTo>
                  <a:pt x="236" y="361"/>
                  <a:pt x="237" y="360"/>
                  <a:pt x="237" y="361"/>
                </a:cubicBezTo>
                <a:cubicBezTo>
                  <a:pt x="238" y="361"/>
                  <a:pt x="239" y="361"/>
                  <a:pt x="238" y="362"/>
                </a:cubicBezTo>
                <a:cubicBezTo>
                  <a:pt x="237" y="362"/>
                  <a:pt x="237" y="362"/>
                  <a:pt x="237" y="364"/>
                </a:cubicBezTo>
                <a:cubicBezTo>
                  <a:pt x="237" y="364"/>
                  <a:pt x="238" y="365"/>
                  <a:pt x="238" y="365"/>
                </a:cubicBezTo>
                <a:cubicBezTo>
                  <a:pt x="238" y="366"/>
                  <a:pt x="238" y="366"/>
                  <a:pt x="238" y="366"/>
                </a:cubicBezTo>
                <a:cubicBezTo>
                  <a:pt x="238" y="367"/>
                  <a:pt x="239" y="367"/>
                  <a:pt x="239" y="367"/>
                </a:cubicBezTo>
                <a:cubicBezTo>
                  <a:pt x="239" y="368"/>
                  <a:pt x="240" y="369"/>
                  <a:pt x="241" y="370"/>
                </a:cubicBezTo>
                <a:cubicBezTo>
                  <a:pt x="242" y="370"/>
                  <a:pt x="241" y="371"/>
                  <a:pt x="242" y="371"/>
                </a:cubicBezTo>
                <a:cubicBezTo>
                  <a:pt x="242" y="373"/>
                  <a:pt x="242" y="373"/>
                  <a:pt x="243" y="373"/>
                </a:cubicBezTo>
                <a:cubicBezTo>
                  <a:pt x="244" y="373"/>
                  <a:pt x="244" y="374"/>
                  <a:pt x="244" y="374"/>
                </a:cubicBezTo>
                <a:cubicBezTo>
                  <a:pt x="244" y="374"/>
                  <a:pt x="244" y="375"/>
                  <a:pt x="244" y="376"/>
                </a:cubicBezTo>
                <a:cubicBezTo>
                  <a:pt x="243" y="376"/>
                  <a:pt x="244" y="376"/>
                  <a:pt x="244" y="376"/>
                </a:cubicBezTo>
                <a:cubicBezTo>
                  <a:pt x="244" y="377"/>
                  <a:pt x="244" y="377"/>
                  <a:pt x="244" y="377"/>
                </a:cubicBezTo>
                <a:cubicBezTo>
                  <a:pt x="245" y="377"/>
                  <a:pt x="245" y="377"/>
                  <a:pt x="246" y="377"/>
                </a:cubicBezTo>
                <a:cubicBezTo>
                  <a:pt x="247" y="377"/>
                  <a:pt x="247" y="377"/>
                  <a:pt x="247" y="378"/>
                </a:cubicBezTo>
                <a:cubicBezTo>
                  <a:pt x="247" y="378"/>
                  <a:pt x="248" y="378"/>
                  <a:pt x="248" y="378"/>
                </a:cubicBezTo>
                <a:cubicBezTo>
                  <a:pt x="248" y="378"/>
                  <a:pt x="248" y="378"/>
                  <a:pt x="248" y="378"/>
                </a:cubicBezTo>
                <a:cubicBezTo>
                  <a:pt x="249" y="378"/>
                  <a:pt x="250" y="378"/>
                  <a:pt x="251" y="379"/>
                </a:cubicBezTo>
                <a:cubicBezTo>
                  <a:pt x="252" y="379"/>
                  <a:pt x="252" y="379"/>
                  <a:pt x="252" y="380"/>
                </a:cubicBezTo>
                <a:cubicBezTo>
                  <a:pt x="252" y="380"/>
                  <a:pt x="252" y="381"/>
                  <a:pt x="253" y="381"/>
                </a:cubicBezTo>
                <a:cubicBezTo>
                  <a:pt x="253" y="381"/>
                  <a:pt x="253" y="382"/>
                  <a:pt x="253" y="381"/>
                </a:cubicBezTo>
                <a:cubicBezTo>
                  <a:pt x="254" y="380"/>
                  <a:pt x="254" y="380"/>
                  <a:pt x="255" y="381"/>
                </a:cubicBezTo>
                <a:cubicBezTo>
                  <a:pt x="255" y="382"/>
                  <a:pt x="255" y="382"/>
                  <a:pt x="256" y="383"/>
                </a:cubicBezTo>
                <a:cubicBezTo>
                  <a:pt x="257" y="383"/>
                  <a:pt x="257" y="384"/>
                  <a:pt x="258" y="384"/>
                </a:cubicBezTo>
                <a:cubicBezTo>
                  <a:pt x="258" y="384"/>
                  <a:pt x="259" y="385"/>
                  <a:pt x="259" y="385"/>
                </a:cubicBezTo>
                <a:cubicBezTo>
                  <a:pt x="259" y="385"/>
                  <a:pt x="259" y="386"/>
                  <a:pt x="259" y="386"/>
                </a:cubicBezTo>
                <a:cubicBezTo>
                  <a:pt x="259" y="387"/>
                  <a:pt x="259" y="387"/>
                  <a:pt x="259" y="387"/>
                </a:cubicBezTo>
                <a:cubicBezTo>
                  <a:pt x="259" y="387"/>
                  <a:pt x="259" y="387"/>
                  <a:pt x="259" y="388"/>
                </a:cubicBezTo>
                <a:cubicBezTo>
                  <a:pt x="259" y="388"/>
                  <a:pt x="260" y="388"/>
                  <a:pt x="260" y="388"/>
                </a:cubicBezTo>
                <a:cubicBezTo>
                  <a:pt x="260" y="389"/>
                  <a:pt x="259" y="388"/>
                  <a:pt x="259" y="389"/>
                </a:cubicBezTo>
                <a:cubicBezTo>
                  <a:pt x="260" y="390"/>
                  <a:pt x="260" y="389"/>
                  <a:pt x="260" y="390"/>
                </a:cubicBezTo>
                <a:cubicBezTo>
                  <a:pt x="260" y="391"/>
                  <a:pt x="260" y="391"/>
                  <a:pt x="260" y="391"/>
                </a:cubicBezTo>
                <a:cubicBezTo>
                  <a:pt x="260" y="392"/>
                  <a:pt x="261" y="392"/>
                  <a:pt x="262" y="393"/>
                </a:cubicBezTo>
                <a:cubicBezTo>
                  <a:pt x="262" y="393"/>
                  <a:pt x="262" y="393"/>
                  <a:pt x="262" y="394"/>
                </a:cubicBezTo>
                <a:cubicBezTo>
                  <a:pt x="262" y="394"/>
                  <a:pt x="263" y="395"/>
                  <a:pt x="264" y="395"/>
                </a:cubicBezTo>
                <a:cubicBezTo>
                  <a:pt x="264" y="396"/>
                  <a:pt x="263" y="397"/>
                  <a:pt x="263" y="397"/>
                </a:cubicBezTo>
                <a:cubicBezTo>
                  <a:pt x="263" y="398"/>
                  <a:pt x="263" y="398"/>
                  <a:pt x="264" y="398"/>
                </a:cubicBezTo>
                <a:cubicBezTo>
                  <a:pt x="264" y="398"/>
                  <a:pt x="264" y="399"/>
                  <a:pt x="264" y="399"/>
                </a:cubicBezTo>
                <a:cubicBezTo>
                  <a:pt x="264" y="400"/>
                  <a:pt x="265" y="400"/>
                  <a:pt x="265" y="400"/>
                </a:cubicBezTo>
                <a:cubicBezTo>
                  <a:pt x="265" y="401"/>
                  <a:pt x="266" y="401"/>
                  <a:pt x="266" y="401"/>
                </a:cubicBezTo>
                <a:cubicBezTo>
                  <a:pt x="266" y="401"/>
                  <a:pt x="266" y="401"/>
                  <a:pt x="266" y="401"/>
                </a:cubicBezTo>
                <a:cubicBezTo>
                  <a:pt x="266" y="402"/>
                  <a:pt x="267" y="402"/>
                  <a:pt x="267" y="402"/>
                </a:cubicBezTo>
                <a:cubicBezTo>
                  <a:pt x="268" y="402"/>
                  <a:pt x="267" y="403"/>
                  <a:pt x="268" y="403"/>
                </a:cubicBezTo>
                <a:cubicBezTo>
                  <a:pt x="269" y="403"/>
                  <a:pt x="270" y="403"/>
                  <a:pt x="270" y="404"/>
                </a:cubicBezTo>
                <a:cubicBezTo>
                  <a:pt x="270" y="404"/>
                  <a:pt x="270" y="405"/>
                  <a:pt x="270" y="404"/>
                </a:cubicBezTo>
                <a:cubicBezTo>
                  <a:pt x="271" y="405"/>
                  <a:pt x="271" y="405"/>
                  <a:pt x="272" y="406"/>
                </a:cubicBezTo>
                <a:cubicBezTo>
                  <a:pt x="273" y="407"/>
                  <a:pt x="273" y="407"/>
                  <a:pt x="273" y="409"/>
                </a:cubicBezTo>
                <a:cubicBezTo>
                  <a:pt x="272" y="410"/>
                  <a:pt x="273" y="410"/>
                  <a:pt x="273" y="410"/>
                </a:cubicBezTo>
                <a:cubicBezTo>
                  <a:pt x="273" y="411"/>
                  <a:pt x="273" y="411"/>
                  <a:pt x="274" y="412"/>
                </a:cubicBezTo>
                <a:cubicBezTo>
                  <a:pt x="273" y="412"/>
                  <a:pt x="273" y="412"/>
                  <a:pt x="273" y="412"/>
                </a:cubicBezTo>
                <a:cubicBezTo>
                  <a:pt x="273" y="413"/>
                  <a:pt x="273" y="414"/>
                  <a:pt x="274" y="414"/>
                </a:cubicBezTo>
                <a:cubicBezTo>
                  <a:pt x="273" y="414"/>
                  <a:pt x="273" y="415"/>
                  <a:pt x="273" y="415"/>
                </a:cubicBezTo>
                <a:cubicBezTo>
                  <a:pt x="273" y="416"/>
                  <a:pt x="273" y="415"/>
                  <a:pt x="273" y="416"/>
                </a:cubicBezTo>
                <a:cubicBezTo>
                  <a:pt x="272" y="415"/>
                  <a:pt x="270" y="416"/>
                  <a:pt x="269" y="416"/>
                </a:cubicBezTo>
                <a:cubicBezTo>
                  <a:pt x="270" y="418"/>
                  <a:pt x="271" y="417"/>
                  <a:pt x="271" y="418"/>
                </a:cubicBezTo>
                <a:cubicBezTo>
                  <a:pt x="272" y="419"/>
                  <a:pt x="273" y="420"/>
                  <a:pt x="274" y="421"/>
                </a:cubicBezTo>
                <a:cubicBezTo>
                  <a:pt x="274" y="421"/>
                  <a:pt x="274" y="420"/>
                  <a:pt x="275" y="421"/>
                </a:cubicBezTo>
                <a:cubicBezTo>
                  <a:pt x="275" y="421"/>
                  <a:pt x="274" y="422"/>
                  <a:pt x="275" y="422"/>
                </a:cubicBezTo>
                <a:cubicBezTo>
                  <a:pt x="275" y="422"/>
                  <a:pt x="276" y="422"/>
                  <a:pt x="276" y="422"/>
                </a:cubicBezTo>
                <a:cubicBezTo>
                  <a:pt x="277" y="422"/>
                  <a:pt x="277" y="422"/>
                  <a:pt x="277" y="423"/>
                </a:cubicBezTo>
                <a:cubicBezTo>
                  <a:pt x="278" y="423"/>
                  <a:pt x="279" y="423"/>
                  <a:pt x="279" y="424"/>
                </a:cubicBezTo>
                <a:cubicBezTo>
                  <a:pt x="280" y="424"/>
                  <a:pt x="281" y="424"/>
                  <a:pt x="281" y="425"/>
                </a:cubicBezTo>
                <a:cubicBezTo>
                  <a:pt x="281" y="426"/>
                  <a:pt x="283" y="426"/>
                  <a:pt x="282" y="427"/>
                </a:cubicBezTo>
                <a:cubicBezTo>
                  <a:pt x="282" y="427"/>
                  <a:pt x="282" y="428"/>
                  <a:pt x="282" y="428"/>
                </a:cubicBezTo>
                <a:cubicBezTo>
                  <a:pt x="282" y="429"/>
                  <a:pt x="283" y="428"/>
                  <a:pt x="283" y="429"/>
                </a:cubicBezTo>
                <a:cubicBezTo>
                  <a:pt x="283" y="429"/>
                  <a:pt x="283" y="429"/>
                  <a:pt x="283" y="430"/>
                </a:cubicBezTo>
                <a:cubicBezTo>
                  <a:pt x="283" y="430"/>
                  <a:pt x="283" y="430"/>
                  <a:pt x="283" y="430"/>
                </a:cubicBezTo>
                <a:cubicBezTo>
                  <a:pt x="283" y="431"/>
                  <a:pt x="283" y="433"/>
                  <a:pt x="283" y="434"/>
                </a:cubicBezTo>
                <a:cubicBezTo>
                  <a:pt x="283" y="435"/>
                  <a:pt x="284" y="435"/>
                  <a:pt x="285" y="435"/>
                </a:cubicBezTo>
                <a:cubicBezTo>
                  <a:pt x="285" y="435"/>
                  <a:pt x="286" y="435"/>
                  <a:pt x="285" y="436"/>
                </a:cubicBezTo>
                <a:cubicBezTo>
                  <a:pt x="286" y="437"/>
                  <a:pt x="286" y="436"/>
                  <a:pt x="287" y="437"/>
                </a:cubicBezTo>
                <a:cubicBezTo>
                  <a:pt x="287" y="437"/>
                  <a:pt x="288" y="438"/>
                  <a:pt x="288" y="439"/>
                </a:cubicBezTo>
                <a:cubicBezTo>
                  <a:pt x="289" y="439"/>
                  <a:pt x="289" y="440"/>
                  <a:pt x="290" y="440"/>
                </a:cubicBezTo>
                <a:cubicBezTo>
                  <a:pt x="290" y="441"/>
                  <a:pt x="290" y="441"/>
                  <a:pt x="291" y="441"/>
                </a:cubicBezTo>
                <a:cubicBezTo>
                  <a:pt x="291" y="442"/>
                  <a:pt x="291" y="442"/>
                  <a:pt x="291" y="443"/>
                </a:cubicBezTo>
                <a:cubicBezTo>
                  <a:pt x="292" y="443"/>
                  <a:pt x="292" y="443"/>
                  <a:pt x="292" y="444"/>
                </a:cubicBezTo>
                <a:cubicBezTo>
                  <a:pt x="292" y="445"/>
                  <a:pt x="292" y="444"/>
                  <a:pt x="292" y="445"/>
                </a:cubicBezTo>
                <a:cubicBezTo>
                  <a:pt x="293" y="445"/>
                  <a:pt x="292" y="445"/>
                  <a:pt x="293" y="445"/>
                </a:cubicBezTo>
                <a:cubicBezTo>
                  <a:pt x="294" y="445"/>
                  <a:pt x="293" y="444"/>
                  <a:pt x="293" y="444"/>
                </a:cubicBezTo>
                <a:cubicBezTo>
                  <a:pt x="294" y="444"/>
                  <a:pt x="295" y="444"/>
                  <a:pt x="295" y="442"/>
                </a:cubicBezTo>
                <a:cubicBezTo>
                  <a:pt x="295" y="442"/>
                  <a:pt x="294" y="441"/>
                  <a:pt x="294" y="441"/>
                </a:cubicBezTo>
                <a:cubicBezTo>
                  <a:pt x="294" y="441"/>
                  <a:pt x="294" y="441"/>
                  <a:pt x="294" y="441"/>
                </a:cubicBezTo>
                <a:cubicBezTo>
                  <a:pt x="294" y="441"/>
                  <a:pt x="293" y="440"/>
                  <a:pt x="293" y="440"/>
                </a:cubicBezTo>
                <a:cubicBezTo>
                  <a:pt x="293" y="440"/>
                  <a:pt x="293" y="440"/>
                  <a:pt x="292" y="440"/>
                </a:cubicBezTo>
                <a:cubicBezTo>
                  <a:pt x="292" y="439"/>
                  <a:pt x="292" y="439"/>
                  <a:pt x="292" y="439"/>
                </a:cubicBezTo>
                <a:cubicBezTo>
                  <a:pt x="292" y="438"/>
                  <a:pt x="292" y="438"/>
                  <a:pt x="291" y="437"/>
                </a:cubicBezTo>
                <a:cubicBezTo>
                  <a:pt x="290" y="437"/>
                  <a:pt x="289" y="437"/>
                  <a:pt x="289" y="436"/>
                </a:cubicBezTo>
                <a:cubicBezTo>
                  <a:pt x="289" y="436"/>
                  <a:pt x="289" y="436"/>
                  <a:pt x="289" y="435"/>
                </a:cubicBezTo>
                <a:cubicBezTo>
                  <a:pt x="290" y="434"/>
                  <a:pt x="290" y="434"/>
                  <a:pt x="289" y="433"/>
                </a:cubicBezTo>
                <a:cubicBezTo>
                  <a:pt x="287" y="432"/>
                  <a:pt x="289" y="431"/>
                  <a:pt x="288" y="430"/>
                </a:cubicBezTo>
                <a:cubicBezTo>
                  <a:pt x="288" y="430"/>
                  <a:pt x="288" y="430"/>
                  <a:pt x="288" y="430"/>
                </a:cubicBezTo>
                <a:cubicBezTo>
                  <a:pt x="288" y="429"/>
                  <a:pt x="287" y="430"/>
                  <a:pt x="287" y="429"/>
                </a:cubicBezTo>
                <a:cubicBezTo>
                  <a:pt x="287" y="428"/>
                  <a:pt x="287" y="428"/>
                  <a:pt x="286" y="428"/>
                </a:cubicBezTo>
                <a:cubicBezTo>
                  <a:pt x="286" y="428"/>
                  <a:pt x="286" y="427"/>
                  <a:pt x="286" y="427"/>
                </a:cubicBezTo>
                <a:cubicBezTo>
                  <a:pt x="286" y="426"/>
                  <a:pt x="286" y="426"/>
                  <a:pt x="286" y="426"/>
                </a:cubicBezTo>
                <a:cubicBezTo>
                  <a:pt x="286" y="425"/>
                  <a:pt x="286" y="426"/>
                  <a:pt x="286" y="425"/>
                </a:cubicBezTo>
                <a:cubicBezTo>
                  <a:pt x="286" y="425"/>
                  <a:pt x="286" y="425"/>
                  <a:pt x="286" y="424"/>
                </a:cubicBezTo>
                <a:cubicBezTo>
                  <a:pt x="286" y="424"/>
                  <a:pt x="285" y="425"/>
                  <a:pt x="285" y="424"/>
                </a:cubicBezTo>
                <a:cubicBezTo>
                  <a:pt x="285" y="423"/>
                  <a:pt x="285" y="423"/>
                  <a:pt x="284" y="422"/>
                </a:cubicBezTo>
                <a:cubicBezTo>
                  <a:pt x="284" y="422"/>
                  <a:pt x="284" y="422"/>
                  <a:pt x="283" y="422"/>
                </a:cubicBezTo>
                <a:cubicBezTo>
                  <a:pt x="283" y="422"/>
                  <a:pt x="283" y="420"/>
                  <a:pt x="283" y="420"/>
                </a:cubicBezTo>
                <a:cubicBezTo>
                  <a:pt x="283" y="420"/>
                  <a:pt x="283" y="420"/>
                  <a:pt x="283" y="420"/>
                </a:cubicBezTo>
                <a:cubicBezTo>
                  <a:pt x="283" y="419"/>
                  <a:pt x="283" y="418"/>
                  <a:pt x="282" y="418"/>
                </a:cubicBezTo>
                <a:cubicBezTo>
                  <a:pt x="281" y="418"/>
                  <a:pt x="282" y="417"/>
                  <a:pt x="281" y="417"/>
                </a:cubicBezTo>
                <a:cubicBezTo>
                  <a:pt x="279" y="416"/>
                  <a:pt x="279" y="414"/>
                  <a:pt x="279" y="412"/>
                </a:cubicBezTo>
                <a:cubicBezTo>
                  <a:pt x="279" y="411"/>
                  <a:pt x="278" y="412"/>
                  <a:pt x="279" y="411"/>
                </a:cubicBezTo>
                <a:cubicBezTo>
                  <a:pt x="279" y="410"/>
                  <a:pt x="277" y="410"/>
                  <a:pt x="277" y="410"/>
                </a:cubicBezTo>
                <a:cubicBezTo>
                  <a:pt x="277" y="410"/>
                  <a:pt x="276" y="409"/>
                  <a:pt x="276" y="409"/>
                </a:cubicBezTo>
                <a:cubicBezTo>
                  <a:pt x="277" y="408"/>
                  <a:pt x="277" y="407"/>
                  <a:pt x="276" y="407"/>
                </a:cubicBezTo>
                <a:cubicBezTo>
                  <a:pt x="276" y="406"/>
                  <a:pt x="276" y="405"/>
                  <a:pt x="275" y="405"/>
                </a:cubicBezTo>
                <a:cubicBezTo>
                  <a:pt x="275" y="405"/>
                  <a:pt x="274" y="404"/>
                  <a:pt x="274" y="404"/>
                </a:cubicBezTo>
                <a:cubicBezTo>
                  <a:pt x="274" y="404"/>
                  <a:pt x="274" y="404"/>
                  <a:pt x="273" y="403"/>
                </a:cubicBezTo>
                <a:cubicBezTo>
                  <a:pt x="273" y="403"/>
                  <a:pt x="273" y="403"/>
                  <a:pt x="273" y="403"/>
                </a:cubicBezTo>
                <a:cubicBezTo>
                  <a:pt x="273" y="403"/>
                  <a:pt x="272" y="402"/>
                  <a:pt x="272" y="402"/>
                </a:cubicBezTo>
                <a:cubicBezTo>
                  <a:pt x="272" y="401"/>
                  <a:pt x="272" y="402"/>
                  <a:pt x="272" y="401"/>
                </a:cubicBezTo>
                <a:cubicBezTo>
                  <a:pt x="272" y="400"/>
                  <a:pt x="272" y="400"/>
                  <a:pt x="271" y="400"/>
                </a:cubicBezTo>
                <a:cubicBezTo>
                  <a:pt x="271" y="399"/>
                  <a:pt x="271" y="399"/>
                  <a:pt x="271" y="398"/>
                </a:cubicBezTo>
                <a:cubicBezTo>
                  <a:pt x="270" y="398"/>
                  <a:pt x="270" y="398"/>
                  <a:pt x="270" y="397"/>
                </a:cubicBezTo>
                <a:cubicBezTo>
                  <a:pt x="270" y="397"/>
                  <a:pt x="269" y="397"/>
                  <a:pt x="269" y="396"/>
                </a:cubicBezTo>
                <a:cubicBezTo>
                  <a:pt x="269" y="396"/>
                  <a:pt x="269" y="396"/>
                  <a:pt x="269" y="395"/>
                </a:cubicBezTo>
                <a:cubicBezTo>
                  <a:pt x="270" y="394"/>
                  <a:pt x="270" y="394"/>
                  <a:pt x="270" y="393"/>
                </a:cubicBezTo>
                <a:cubicBezTo>
                  <a:pt x="269" y="393"/>
                  <a:pt x="270" y="393"/>
                  <a:pt x="270" y="393"/>
                </a:cubicBezTo>
                <a:cubicBezTo>
                  <a:pt x="271" y="393"/>
                  <a:pt x="272" y="393"/>
                  <a:pt x="273" y="394"/>
                </a:cubicBezTo>
                <a:cubicBezTo>
                  <a:pt x="273" y="394"/>
                  <a:pt x="274" y="394"/>
                  <a:pt x="274" y="395"/>
                </a:cubicBezTo>
                <a:cubicBezTo>
                  <a:pt x="275" y="393"/>
                  <a:pt x="275" y="393"/>
                  <a:pt x="277" y="393"/>
                </a:cubicBezTo>
                <a:cubicBezTo>
                  <a:pt x="277" y="394"/>
                  <a:pt x="277" y="396"/>
                  <a:pt x="279" y="396"/>
                </a:cubicBezTo>
                <a:cubicBezTo>
                  <a:pt x="279" y="397"/>
                  <a:pt x="278" y="399"/>
                  <a:pt x="279" y="399"/>
                </a:cubicBezTo>
                <a:cubicBezTo>
                  <a:pt x="279" y="400"/>
                  <a:pt x="279" y="402"/>
                  <a:pt x="280" y="402"/>
                </a:cubicBezTo>
                <a:cubicBezTo>
                  <a:pt x="281" y="402"/>
                  <a:pt x="281" y="403"/>
                  <a:pt x="281" y="404"/>
                </a:cubicBezTo>
                <a:cubicBezTo>
                  <a:pt x="281" y="405"/>
                  <a:pt x="282" y="406"/>
                  <a:pt x="282" y="406"/>
                </a:cubicBezTo>
                <a:cubicBezTo>
                  <a:pt x="283" y="407"/>
                  <a:pt x="284" y="407"/>
                  <a:pt x="284" y="408"/>
                </a:cubicBezTo>
                <a:cubicBezTo>
                  <a:pt x="284" y="408"/>
                  <a:pt x="284" y="409"/>
                  <a:pt x="284" y="409"/>
                </a:cubicBezTo>
                <a:cubicBezTo>
                  <a:pt x="284" y="409"/>
                  <a:pt x="285" y="409"/>
                  <a:pt x="285" y="409"/>
                </a:cubicBezTo>
                <a:cubicBezTo>
                  <a:pt x="285" y="409"/>
                  <a:pt x="285" y="410"/>
                  <a:pt x="285" y="410"/>
                </a:cubicBezTo>
                <a:cubicBezTo>
                  <a:pt x="285" y="412"/>
                  <a:pt x="285" y="412"/>
                  <a:pt x="287" y="412"/>
                </a:cubicBezTo>
                <a:cubicBezTo>
                  <a:pt x="287" y="412"/>
                  <a:pt x="288" y="412"/>
                  <a:pt x="288" y="412"/>
                </a:cubicBezTo>
                <a:cubicBezTo>
                  <a:pt x="288" y="413"/>
                  <a:pt x="288" y="414"/>
                  <a:pt x="288" y="414"/>
                </a:cubicBezTo>
                <a:cubicBezTo>
                  <a:pt x="289" y="414"/>
                  <a:pt x="289" y="415"/>
                  <a:pt x="289" y="415"/>
                </a:cubicBezTo>
                <a:cubicBezTo>
                  <a:pt x="289" y="415"/>
                  <a:pt x="289" y="416"/>
                  <a:pt x="290" y="416"/>
                </a:cubicBezTo>
                <a:cubicBezTo>
                  <a:pt x="290" y="416"/>
                  <a:pt x="291" y="416"/>
                  <a:pt x="291" y="416"/>
                </a:cubicBezTo>
                <a:cubicBezTo>
                  <a:pt x="292" y="416"/>
                  <a:pt x="292" y="418"/>
                  <a:pt x="292" y="418"/>
                </a:cubicBezTo>
                <a:cubicBezTo>
                  <a:pt x="292" y="418"/>
                  <a:pt x="292" y="418"/>
                  <a:pt x="291" y="418"/>
                </a:cubicBezTo>
                <a:cubicBezTo>
                  <a:pt x="292" y="419"/>
                  <a:pt x="292" y="420"/>
                  <a:pt x="293" y="420"/>
                </a:cubicBezTo>
                <a:cubicBezTo>
                  <a:pt x="294" y="420"/>
                  <a:pt x="294" y="420"/>
                  <a:pt x="294" y="421"/>
                </a:cubicBezTo>
                <a:cubicBezTo>
                  <a:pt x="294" y="422"/>
                  <a:pt x="294" y="422"/>
                  <a:pt x="295" y="422"/>
                </a:cubicBezTo>
                <a:cubicBezTo>
                  <a:pt x="296" y="422"/>
                  <a:pt x="297" y="423"/>
                  <a:pt x="297" y="423"/>
                </a:cubicBezTo>
                <a:cubicBezTo>
                  <a:pt x="298" y="423"/>
                  <a:pt x="297" y="424"/>
                  <a:pt x="298" y="424"/>
                </a:cubicBezTo>
                <a:cubicBezTo>
                  <a:pt x="298" y="425"/>
                  <a:pt x="296" y="425"/>
                  <a:pt x="296" y="426"/>
                </a:cubicBezTo>
                <a:cubicBezTo>
                  <a:pt x="296" y="428"/>
                  <a:pt x="296" y="428"/>
                  <a:pt x="298" y="428"/>
                </a:cubicBezTo>
                <a:cubicBezTo>
                  <a:pt x="298" y="428"/>
                  <a:pt x="298" y="429"/>
                  <a:pt x="298" y="430"/>
                </a:cubicBezTo>
                <a:cubicBezTo>
                  <a:pt x="299" y="430"/>
                  <a:pt x="299" y="430"/>
                  <a:pt x="300" y="430"/>
                </a:cubicBezTo>
                <a:cubicBezTo>
                  <a:pt x="300" y="430"/>
                  <a:pt x="300" y="430"/>
                  <a:pt x="300" y="431"/>
                </a:cubicBezTo>
                <a:cubicBezTo>
                  <a:pt x="300" y="431"/>
                  <a:pt x="301" y="431"/>
                  <a:pt x="301" y="431"/>
                </a:cubicBezTo>
                <a:cubicBezTo>
                  <a:pt x="301" y="431"/>
                  <a:pt x="301" y="432"/>
                  <a:pt x="301" y="432"/>
                </a:cubicBezTo>
                <a:cubicBezTo>
                  <a:pt x="302" y="432"/>
                  <a:pt x="302" y="433"/>
                  <a:pt x="303" y="434"/>
                </a:cubicBezTo>
                <a:cubicBezTo>
                  <a:pt x="303" y="435"/>
                  <a:pt x="304" y="436"/>
                  <a:pt x="305" y="437"/>
                </a:cubicBezTo>
                <a:cubicBezTo>
                  <a:pt x="305" y="437"/>
                  <a:pt x="305" y="437"/>
                  <a:pt x="306" y="437"/>
                </a:cubicBezTo>
                <a:cubicBezTo>
                  <a:pt x="306" y="437"/>
                  <a:pt x="306" y="438"/>
                  <a:pt x="307" y="438"/>
                </a:cubicBezTo>
                <a:cubicBezTo>
                  <a:pt x="307" y="438"/>
                  <a:pt x="307" y="438"/>
                  <a:pt x="307" y="439"/>
                </a:cubicBezTo>
                <a:cubicBezTo>
                  <a:pt x="307" y="440"/>
                  <a:pt x="308" y="440"/>
                  <a:pt x="309" y="440"/>
                </a:cubicBezTo>
                <a:cubicBezTo>
                  <a:pt x="309" y="441"/>
                  <a:pt x="308" y="441"/>
                  <a:pt x="309" y="441"/>
                </a:cubicBezTo>
                <a:cubicBezTo>
                  <a:pt x="310" y="441"/>
                  <a:pt x="309" y="442"/>
                  <a:pt x="309" y="442"/>
                </a:cubicBezTo>
                <a:cubicBezTo>
                  <a:pt x="309" y="443"/>
                  <a:pt x="311" y="443"/>
                  <a:pt x="311" y="443"/>
                </a:cubicBezTo>
                <a:cubicBezTo>
                  <a:pt x="311" y="444"/>
                  <a:pt x="310" y="444"/>
                  <a:pt x="311" y="444"/>
                </a:cubicBezTo>
                <a:cubicBezTo>
                  <a:pt x="311" y="444"/>
                  <a:pt x="311" y="445"/>
                  <a:pt x="311" y="445"/>
                </a:cubicBezTo>
                <a:cubicBezTo>
                  <a:pt x="311" y="446"/>
                  <a:pt x="312" y="446"/>
                  <a:pt x="312" y="446"/>
                </a:cubicBezTo>
                <a:cubicBezTo>
                  <a:pt x="312" y="447"/>
                  <a:pt x="313" y="447"/>
                  <a:pt x="313" y="447"/>
                </a:cubicBezTo>
                <a:cubicBezTo>
                  <a:pt x="313" y="448"/>
                  <a:pt x="313" y="448"/>
                  <a:pt x="314" y="448"/>
                </a:cubicBezTo>
                <a:cubicBezTo>
                  <a:pt x="314" y="449"/>
                  <a:pt x="314" y="450"/>
                  <a:pt x="315" y="450"/>
                </a:cubicBezTo>
                <a:cubicBezTo>
                  <a:pt x="315" y="451"/>
                  <a:pt x="315" y="452"/>
                  <a:pt x="315" y="453"/>
                </a:cubicBezTo>
                <a:cubicBezTo>
                  <a:pt x="315" y="453"/>
                  <a:pt x="316" y="453"/>
                  <a:pt x="316" y="453"/>
                </a:cubicBezTo>
                <a:cubicBezTo>
                  <a:pt x="316" y="454"/>
                  <a:pt x="316" y="455"/>
                  <a:pt x="316" y="455"/>
                </a:cubicBezTo>
                <a:cubicBezTo>
                  <a:pt x="316" y="457"/>
                  <a:pt x="315" y="458"/>
                  <a:pt x="315" y="459"/>
                </a:cubicBezTo>
                <a:cubicBezTo>
                  <a:pt x="315" y="459"/>
                  <a:pt x="315" y="459"/>
                  <a:pt x="315" y="459"/>
                </a:cubicBezTo>
                <a:cubicBezTo>
                  <a:pt x="315" y="460"/>
                  <a:pt x="315" y="460"/>
                  <a:pt x="315" y="460"/>
                </a:cubicBezTo>
                <a:cubicBezTo>
                  <a:pt x="314" y="461"/>
                  <a:pt x="314" y="461"/>
                  <a:pt x="315" y="462"/>
                </a:cubicBezTo>
                <a:cubicBezTo>
                  <a:pt x="315" y="464"/>
                  <a:pt x="315" y="464"/>
                  <a:pt x="316" y="464"/>
                </a:cubicBezTo>
                <a:cubicBezTo>
                  <a:pt x="316" y="465"/>
                  <a:pt x="316" y="465"/>
                  <a:pt x="317" y="466"/>
                </a:cubicBezTo>
                <a:cubicBezTo>
                  <a:pt x="317" y="467"/>
                  <a:pt x="318" y="467"/>
                  <a:pt x="318" y="468"/>
                </a:cubicBezTo>
                <a:cubicBezTo>
                  <a:pt x="319" y="468"/>
                  <a:pt x="318" y="467"/>
                  <a:pt x="319" y="468"/>
                </a:cubicBezTo>
                <a:cubicBezTo>
                  <a:pt x="320" y="468"/>
                  <a:pt x="320" y="468"/>
                  <a:pt x="320" y="468"/>
                </a:cubicBezTo>
                <a:cubicBezTo>
                  <a:pt x="320" y="469"/>
                  <a:pt x="321" y="469"/>
                  <a:pt x="321" y="469"/>
                </a:cubicBezTo>
                <a:cubicBezTo>
                  <a:pt x="321" y="469"/>
                  <a:pt x="321" y="469"/>
                  <a:pt x="321" y="470"/>
                </a:cubicBezTo>
                <a:cubicBezTo>
                  <a:pt x="321" y="470"/>
                  <a:pt x="322" y="470"/>
                  <a:pt x="322" y="471"/>
                </a:cubicBezTo>
                <a:cubicBezTo>
                  <a:pt x="323" y="471"/>
                  <a:pt x="322" y="470"/>
                  <a:pt x="323" y="471"/>
                </a:cubicBezTo>
                <a:cubicBezTo>
                  <a:pt x="324" y="472"/>
                  <a:pt x="324" y="471"/>
                  <a:pt x="324" y="472"/>
                </a:cubicBezTo>
                <a:cubicBezTo>
                  <a:pt x="325" y="472"/>
                  <a:pt x="325" y="472"/>
                  <a:pt x="325" y="473"/>
                </a:cubicBezTo>
                <a:cubicBezTo>
                  <a:pt x="325" y="473"/>
                  <a:pt x="326" y="473"/>
                  <a:pt x="326" y="474"/>
                </a:cubicBezTo>
                <a:cubicBezTo>
                  <a:pt x="326" y="474"/>
                  <a:pt x="327" y="474"/>
                  <a:pt x="327" y="475"/>
                </a:cubicBezTo>
                <a:cubicBezTo>
                  <a:pt x="327" y="475"/>
                  <a:pt x="327" y="475"/>
                  <a:pt x="327" y="475"/>
                </a:cubicBezTo>
                <a:cubicBezTo>
                  <a:pt x="328" y="475"/>
                  <a:pt x="328" y="475"/>
                  <a:pt x="329" y="475"/>
                </a:cubicBezTo>
                <a:cubicBezTo>
                  <a:pt x="329" y="475"/>
                  <a:pt x="330" y="476"/>
                  <a:pt x="330" y="476"/>
                </a:cubicBezTo>
                <a:cubicBezTo>
                  <a:pt x="330" y="476"/>
                  <a:pt x="331" y="476"/>
                  <a:pt x="331" y="476"/>
                </a:cubicBezTo>
                <a:cubicBezTo>
                  <a:pt x="332" y="476"/>
                  <a:pt x="332" y="476"/>
                  <a:pt x="332" y="476"/>
                </a:cubicBezTo>
                <a:cubicBezTo>
                  <a:pt x="333" y="477"/>
                  <a:pt x="333" y="478"/>
                  <a:pt x="334" y="478"/>
                </a:cubicBezTo>
                <a:cubicBezTo>
                  <a:pt x="336" y="478"/>
                  <a:pt x="335" y="479"/>
                  <a:pt x="336" y="479"/>
                </a:cubicBezTo>
                <a:cubicBezTo>
                  <a:pt x="336" y="479"/>
                  <a:pt x="336" y="480"/>
                  <a:pt x="337" y="480"/>
                </a:cubicBezTo>
                <a:cubicBezTo>
                  <a:pt x="338" y="480"/>
                  <a:pt x="337" y="480"/>
                  <a:pt x="338" y="480"/>
                </a:cubicBezTo>
                <a:cubicBezTo>
                  <a:pt x="338" y="480"/>
                  <a:pt x="338" y="480"/>
                  <a:pt x="339" y="481"/>
                </a:cubicBezTo>
                <a:cubicBezTo>
                  <a:pt x="339" y="481"/>
                  <a:pt x="340" y="481"/>
                  <a:pt x="341" y="482"/>
                </a:cubicBezTo>
                <a:cubicBezTo>
                  <a:pt x="342" y="482"/>
                  <a:pt x="343" y="482"/>
                  <a:pt x="344" y="482"/>
                </a:cubicBezTo>
                <a:cubicBezTo>
                  <a:pt x="344" y="482"/>
                  <a:pt x="344" y="483"/>
                  <a:pt x="344" y="483"/>
                </a:cubicBezTo>
                <a:cubicBezTo>
                  <a:pt x="345" y="483"/>
                  <a:pt x="345" y="482"/>
                  <a:pt x="345" y="483"/>
                </a:cubicBezTo>
                <a:cubicBezTo>
                  <a:pt x="346" y="483"/>
                  <a:pt x="347" y="482"/>
                  <a:pt x="347" y="484"/>
                </a:cubicBezTo>
                <a:cubicBezTo>
                  <a:pt x="348" y="484"/>
                  <a:pt x="348" y="484"/>
                  <a:pt x="349" y="484"/>
                </a:cubicBezTo>
                <a:cubicBezTo>
                  <a:pt x="349" y="484"/>
                  <a:pt x="349" y="484"/>
                  <a:pt x="349" y="485"/>
                </a:cubicBezTo>
                <a:cubicBezTo>
                  <a:pt x="350" y="485"/>
                  <a:pt x="350" y="485"/>
                  <a:pt x="350" y="486"/>
                </a:cubicBezTo>
                <a:cubicBezTo>
                  <a:pt x="351" y="486"/>
                  <a:pt x="352" y="485"/>
                  <a:pt x="353" y="485"/>
                </a:cubicBezTo>
                <a:cubicBezTo>
                  <a:pt x="353" y="486"/>
                  <a:pt x="354" y="486"/>
                  <a:pt x="355" y="486"/>
                </a:cubicBezTo>
                <a:cubicBezTo>
                  <a:pt x="356" y="486"/>
                  <a:pt x="356" y="486"/>
                  <a:pt x="356" y="487"/>
                </a:cubicBezTo>
                <a:cubicBezTo>
                  <a:pt x="357" y="487"/>
                  <a:pt x="358" y="487"/>
                  <a:pt x="360" y="487"/>
                </a:cubicBezTo>
                <a:cubicBezTo>
                  <a:pt x="360" y="487"/>
                  <a:pt x="359" y="487"/>
                  <a:pt x="360" y="487"/>
                </a:cubicBezTo>
                <a:cubicBezTo>
                  <a:pt x="360" y="487"/>
                  <a:pt x="362" y="486"/>
                  <a:pt x="361" y="486"/>
                </a:cubicBezTo>
                <a:cubicBezTo>
                  <a:pt x="362" y="486"/>
                  <a:pt x="362" y="486"/>
                  <a:pt x="363" y="486"/>
                </a:cubicBezTo>
                <a:cubicBezTo>
                  <a:pt x="363" y="486"/>
                  <a:pt x="364" y="486"/>
                  <a:pt x="365" y="486"/>
                </a:cubicBezTo>
                <a:cubicBezTo>
                  <a:pt x="365" y="486"/>
                  <a:pt x="365" y="485"/>
                  <a:pt x="365" y="485"/>
                </a:cubicBezTo>
                <a:cubicBezTo>
                  <a:pt x="366" y="485"/>
                  <a:pt x="367" y="484"/>
                  <a:pt x="367" y="485"/>
                </a:cubicBezTo>
                <a:cubicBezTo>
                  <a:pt x="367" y="485"/>
                  <a:pt x="367" y="485"/>
                  <a:pt x="368" y="485"/>
                </a:cubicBezTo>
                <a:cubicBezTo>
                  <a:pt x="369" y="485"/>
                  <a:pt x="369" y="485"/>
                  <a:pt x="370" y="485"/>
                </a:cubicBezTo>
                <a:cubicBezTo>
                  <a:pt x="371" y="485"/>
                  <a:pt x="370" y="486"/>
                  <a:pt x="371" y="486"/>
                </a:cubicBezTo>
                <a:cubicBezTo>
                  <a:pt x="372" y="486"/>
                  <a:pt x="372" y="487"/>
                  <a:pt x="373" y="487"/>
                </a:cubicBezTo>
                <a:cubicBezTo>
                  <a:pt x="374" y="487"/>
                  <a:pt x="374" y="487"/>
                  <a:pt x="375" y="488"/>
                </a:cubicBezTo>
                <a:cubicBezTo>
                  <a:pt x="376" y="489"/>
                  <a:pt x="376" y="489"/>
                  <a:pt x="376" y="490"/>
                </a:cubicBezTo>
                <a:cubicBezTo>
                  <a:pt x="376" y="490"/>
                  <a:pt x="376" y="490"/>
                  <a:pt x="376" y="491"/>
                </a:cubicBezTo>
                <a:cubicBezTo>
                  <a:pt x="376" y="491"/>
                  <a:pt x="377" y="491"/>
                  <a:pt x="377" y="491"/>
                </a:cubicBezTo>
                <a:cubicBezTo>
                  <a:pt x="377" y="491"/>
                  <a:pt x="378" y="492"/>
                  <a:pt x="378" y="492"/>
                </a:cubicBezTo>
                <a:cubicBezTo>
                  <a:pt x="379" y="493"/>
                  <a:pt x="379" y="493"/>
                  <a:pt x="380" y="494"/>
                </a:cubicBezTo>
                <a:cubicBezTo>
                  <a:pt x="380" y="495"/>
                  <a:pt x="381" y="495"/>
                  <a:pt x="382" y="495"/>
                </a:cubicBezTo>
                <a:cubicBezTo>
                  <a:pt x="383" y="496"/>
                  <a:pt x="383" y="496"/>
                  <a:pt x="383" y="497"/>
                </a:cubicBezTo>
                <a:cubicBezTo>
                  <a:pt x="383" y="497"/>
                  <a:pt x="385" y="498"/>
                  <a:pt x="385" y="498"/>
                </a:cubicBezTo>
                <a:cubicBezTo>
                  <a:pt x="386" y="497"/>
                  <a:pt x="386" y="498"/>
                  <a:pt x="386" y="498"/>
                </a:cubicBezTo>
                <a:cubicBezTo>
                  <a:pt x="387" y="498"/>
                  <a:pt x="387" y="498"/>
                  <a:pt x="387" y="498"/>
                </a:cubicBezTo>
                <a:cubicBezTo>
                  <a:pt x="388" y="499"/>
                  <a:pt x="389" y="499"/>
                  <a:pt x="390" y="499"/>
                </a:cubicBezTo>
                <a:cubicBezTo>
                  <a:pt x="390" y="500"/>
                  <a:pt x="390" y="500"/>
                  <a:pt x="390" y="501"/>
                </a:cubicBezTo>
                <a:cubicBezTo>
                  <a:pt x="391" y="501"/>
                  <a:pt x="393" y="501"/>
                  <a:pt x="393" y="501"/>
                </a:cubicBezTo>
                <a:cubicBezTo>
                  <a:pt x="394" y="501"/>
                  <a:pt x="398" y="501"/>
                  <a:pt x="398" y="502"/>
                </a:cubicBezTo>
                <a:cubicBezTo>
                  <a:pt x="399" y="502"/>
                  <a:pt x="400" y="502"/>
                  <a:pt x="400" y="501"/>
                </a:cubicBezTo>
                <a:cubicBezTo>
                  <a:pt x="400" y="500"/>
                  <a:pt x="402" y="501"/>
                  <a:pt x="402" y="501"/>
                </a:cubicBezTo>
                <a:cubicBezTo>
                  <a:pt x="401" y="501"/>
                  <a:pt x="402" y="502"/>
                  <a:pt x="402" y="502"/>
                </a:cubicBezTo>
                <a:cubicBezTo>
                  <a:pt x="402" y="503"/>
                  <a:pt x="401" y="502"/>
                  <a:pt x="401" y="503"/>
                </a:cubicBezTo>
                <a:cubicBezTo>
                  <a:pt x="401" y="503"/>
                  <a:pt x="401" y="504"/>
                  <a:pt x="401" y="504"/>
                </a:cubicBezTo>
                <a:cubicBezTo>
                  <a:pt x="402" y="504"/>
                  <a:pt x="404" y="506"/>
                  <a:pt x="404" y="507"/>
                </a:cubicBezTo>
                <a:cubicBezTo>
                  <a:pt x="404" y="507"/>
                  <a:pt x="405" y="507"/>
                  <a:pt x="405" y="508"/>
                </a:cubicBezTo>
                <a:cubicBezTo>
                  <a:pt x="405" y="509"/>
                  <a:pt x="406" y="509"/>
                  <a:pt x="406" y="510"/>
                </a:cubicBezTo>
                <a:cubicBezTo>
                  <a:pt x="406" y="510"/>
                  <a:pt x="406" y="510"/>
                  <a:pt x="406" y="510"/>
                </a:cubicBezTo>
                <a:cubicBezTo>
                  <a:pt x="406" y="511"/>
                  <a:pt x="407" y="511"/>
                  <a:pt x="408" y="512"/>
                </a:cubicBezTo>
                <a:cubicBezTo>
                  <a:pt x="408" y="512"/>
                  <a:pt x="407" y="512"/>
                  <a:pt x="408" y="513"/>
                </a:cubicBezTo>
                <a:cubicBezTo>
                  <a:pt x="409" y="513"/>
                  <a:pt x="409" y="513"/>
                  <a:pt x="409" y="514"/>
                </a:cubicBezTo>
                <a:cubicBezTo>
                  <a:pt x="409" y="514"/>
                  <a:pt x="409" y="514"/>
                  <a:pt x="409" y="514"/>
                </a:cubicBezTo>
                <a:cubicBezTo>
                  <a:pt x="409" y="515"/>
                  <a:pt x="409" y="515"/>
                  <a:pt x="409" y="515"/>
                </a:cubicBezTo>
                <a:cubicBezTo>
                  <a:pt x="408" y="516"/>
                  <a:pt x="411" y="517"/>
                  <a:pt x="409" y="517"/>
                </a:cubicBezTo>
                <a:cubicBezTo>
                  <a:pt x="409" y="518"/>
                  <a:pt x="409" y="518"/>
                  <a:pt x="408" y="518"/>
                </a:cubicBezTo>
                <a:cubicBezTo>
                  <a:pt x="408" y="518"/>
                  <a:pt x="408" y="520"/>
                  <a:pt x="408" y="520"/>
                </a:cubicBezTo>
                <a:cubicBezTo>
                  <a:pt x="409" y="521"/>
                  <a:pt x="411" y="521"/>
                  <a:pt x="411" y="522"/>
                </a:cubicBezTo>
                <a:cubicBezTo>
                  <a:pt x="411" y="522"/>
                  <a:pt x="412" y="522"/>
                  <a:pt x="412" y="522"/>
                </a:cubicBezTo>
                <a:cubicBezTo>
                  <a:pt x="412" y="521"/>
                  <a:pt x="413" y="521"/>
                  <a:pt x="412" y="520"/>
                </a:cubicBezTo>
                <a:cubicBezTo>
                  <a:pt x="413" y="520"/>
                  <a:pt x="413" y="520"/>
                  <a:pt x="413" y="520"/>
                </a:cubicBezTo>
                <a:cubicBezTo>
                  <a:pt x="414" y="520"/>
                  <a:pt x="415" y="523"/>
                  <a:pt x="416" y="523"/>
                </a:cubicBezTo>
                <a:cubicBezTo>
                  <a:pt x="416" y="523"/>
                  <a:pt x="417" y="523"/>
                  <a:pt x="417" y="523"/>
                </a:cubicBezTo>
                <a:cubicBezTo>
                  <a:pt x="417" y="524"/>
                  <a:pt x="417" y="524"/>
                  <a:pt x="417" y="524"/>
                </a:cubicBezTo>
                <a:cubicBezTo>
                  <a:pt x="418" y="524"/>
                  <a:pt x="419" y="525"/>
                  <a:pt x="419" y="525"/>
                </a:cubicBezTo>
                <a:cubicBezTo>
                  <a:pt x="419" y="526"/>
                  <a:pt x="419" y="527"/>
                  <a:pt x="418" y="527"/>
                </a:cubicBezTo>
                <a:cubicBezTo>
                  <a:pt x="418" y="527"/>
                  <a:pt x="418" y="528"/>
                  <a:pt x="419" y="528"/>
                </a:cubicBezTo>
                <a:cubicBezTo>
                  <a:pt x="419" y="529"/>
                  <a:pt x="419" y="528"/>
                  <a:pt x="419" y="528"/>
                </a:cubicBezTo>
                <a:cubicBezTo>
                  <a:pt x="419" y="528"/>
                  <a:pt x="420" y="529"/>
                  <a:pt x="420" y="529"/>
                </a:cubicBezTo>
                <a:cubicBezTo>
                  <a:pt x="420" y="530"/>
                  <a:pt x="420" y="529"/>
                  <a:pt x="420" y="529"/>
                </a:cubicBezTo>
                <a:cubicBezTo>
                  <a:pt x="420" y="528"/>
                  <a:pt x="420" y="527"/>
                  <a:pt x="420" y="527"/>
                </a:cubicBezTo>
                <a:cubicBezTo>
                  <a:pt x="421" y="527"/>
                  <a:pt x="421" y="528"/>
                  <a:pt x="421" y="529"/>
                </a:cubicBezTo>
                <a:cubicBezTo>
                  <a:pt x="422" y="531"/>
                  <a:pt x="423" y="529"/>
                  <a:pt x="424" y="529"/>
                </a:cubicBezTo>
                <a:cubicBezTo>
                  <a:pt x="425" y="529"/>
                  <a:pt x="424" y="529"/>
                  <a:pt x="425" y="529"/>
                </a:cubicBezTo>
                <a:cubicBezTo>
                  <a:pt x="425" y="530"/>
                  <a:pt x="426" y="530"/>
                  <a:pt x="427" y="530"/>
                </a:cubicBezTo>
                <a:cubicBezTo>
                  <a:pt x="427" y="530"/>
                  <a:pt x="428" y="530"/>
                  <a:pt x="428" y="530"/>
                </a:cubicBezTo>
                <a:cubicBezTo>
                  <a:pt x="428" y="530"/>
                  <a:pt x="429" y="531"/>
                  <a:pt x="429" y="532"/>
                </a:cubicBezTo>
                <a:cubicBezTo>
                  <a:pt x="429" y="533"/>
                  <a:pt x="431" y="532"/>
                  <a:pt x="432" y="532"/>
                </a:cubicBezTo>
                <a:cubicBezTo>
                  <a:pt x="432" y="533"/>
                  <a:pt x="432" y="533"/>
                  <a:pt x="432" y="534"/>
                </a:cubicBezTo>
                <a:cubicBezTo>
                  <a:pt x="432" y="534"/>
                  <a:pt x="432" y="534"/>
                  <a:pt x="432" y="535"/>
                </a:cubicBezTo>
                <a:cubicBezTo>
                  <a:pt x="433" y="535"/>
                  <a:pt x="434" y="535"/>
                  <a:pt x="434" y="534"/>
                </a:cubicBezTo>
                <a:cubicBezTo>
                  <a:pt x="434" y="534"/>
                  <a:pt x="435" y="534"/>
                  <a:pt x="435" y="534"/>
                </a:cubicBezTo>
                <a:cubicBezTo>
                  <a:pt x="435" y="533"/>
                  <a:pt x="435" y="533"/>
                  <a:pt x="436" y="533"/>
                </a:cubicBezTo>
                <a:cubicBezTo>
                  <a:pt x="436" y="533"/>
                  <a:pt x="436" y="532"/>
                  <a:pt x="436" y="532"/>
                </a:cubicBezTo>
                <a:cubicBezTo>
                  <a:pt x="436" y="531"/>
                  <a:pt x="435" y="531"/>
                  <a:pt x="435" y="531"/>
                </a:cubicBezTo>
                <a:cubicBezTo>
                  <a:pt x="435" y="530"/>
                  <a:pt x="434" y="531"/>
                  <a:pt x="434" y="530"/>
                </a:cubicBezTo>
                <a:cubicBezTo>
                  <a:pt x="434" y="530"/>
                  <a:pt x="434" y="530"/>
                  <a:pt x="433" y="530"/>
                </a:cubicBezTo>
                <a:cubicBezTo>
                  <a:pt x="434" y="529"/>
                  <a:pt x="434" y="529"/>
                  <a:pt x="434" y="529"/>
                </a:cubicBezTo>
                <a:cubicBezTo>
                  <a:pt x="435" y="529"/>
                  <a:pt x="435" y="529"/>
                  <a:pt x="435" y="529"/>
                </a:cubicBezTo>
                <a:cubicBezTo>
                  <a:pt x="435" y="529"/>
                  <a:pt x="436" y="529"/>
                  <a:pt x="436" y="529"/>
                </a:cubicBezTo>
                <a:cubicBezTo>
                  <a:pt x="436" y="529"/>
                  <a:pt x="436" y="529"/>
                  <a:pt x="436" y="529"/>
                </a:cubicBezTo>
                <a:cubicBezTo>
                  <a:pt x="437" y="528"/>
                  <a:pt x="437" y="528"/>
                  <a:pt x="437" y="527"/>
                </a:cubicBezTo>
                <a:cubicBezTo>
                  <a:pt x="437" y="526"/>
                  <a:pt x="439" y="526"/>
                  <a:pt x="439" y="525"/>
                </a:cubicBezTo>
                <a:cubicBezTo>
                  <a:pt x="440" y="526"/>
                  <a:pt x="440" y="526"/>
                  <a:pt x="441" y="527"/>
                </a:cubicBezTo>
                <a:cubicBezTo>
                  <a:pt x="441" y="527"/>
                  <a:pt x="441" y="528"/>
                  <a:pt x="441" y="529"/>
                </a:cubicBezTo>
                <a:cubicBezTo>
                  <a:pt x="442" y="529"/>
                  <a:pt x="442" y="529"/>
                  <a:pt x="442" y="529"/>
                </a:cubicBezTo>
                <a:cubicBezTo>
                  <a:pt x="442" y="529"/>
                  <a:pt x="443" y="530"/>
                  <a:pt x="443" y="530"/>
                </a:cubicBezTo>
                <a:cubicBezTo>
                  <a:pt x="444" y="530"/>
                  <a:pt x="444" y="530"/>
                  <a:pt x="446" y="530"/>
                </a:cubicBezTo>
                <a:cubicBezTo>
                  <a:pt x="446" y="530"/>
                  <a:pt x="446" y="531"/>
                  <a:pt x="446" y="531"/>
                </a:cubicBezTo>
                <a:cubicBezTo>
                  <a:pt x="445" y="531"/>
                  <a:pt x="445" y="531"/>
                  <a:pt x="445" y="531"/>
                </a:cubicBezTo>
                <a:cubicBezTo>
                  <a:pt x="444" y="531"/>
                  <a:pt x="444" y="532"/>
                  <a:pt x="444" y="532"/>
                </a:cubicBezTo>
                <a:cubicBezTo>
                  <a:pt x="443" y="533"/>
                  <a:pt x="444" y="535"/>
                  <a:pt x="445" y="536"/>
                </a:cubicBezTo>
                <a:cubicBezTo>
                  <a:pt x="445" y="536"/>
                  <a:pt x="445" y="536"/>
                  <a:pt x="446" y="536"/>
                </a:cubicBezTo>
                <a:cubicBezTo>
                  <a:pt x="446" y="536"/>
                  <a:pt x="446" y="537"/>
                  <a:pt x="446" y="537"/>
                </a:cubicBezTo>
                <a:cubicBezTo>
                  <a:pt x="447" y="537"/>
                  <a:pt x="448" y="537"/>
                  <a:pt x="448" y="537"/>
                </a:cubicBezTo>
                <a:cubicBezTo>
                  <a:pt x="448" y="537"/>
                  <a:pt x="448" y="537"/>
                  <a:pt x="448" y="538"/>
                </a:cubicBezTo>
                <a:cubicBezTo>
                  <a:pt x="448" y="539"/>
                  <a:pt x="449" y="540"/>
                  <a:pt x="449" y="541"/>
                </a:cubicBezTo>
                <a:cubicBezTo>
                  <a:pt x="448" y="541"/>
                  <a:pt x="448" y="543"/>
                  <a:pt x="448" y="543"/>
                </a:cubicBezTo>
                <a:cubicBezTo>
                  <a:pt x="450" y="544"/>
                  <a:pt x="448" y="545"/>
                  <a:pt x="447" y="546"/>
                </a:cubicBezTo>
                <a:cubicBezTo>
                  <a:pt x="448" y="546"/>
                  <a:pt x="448" y="546"/>
                  <a:pt x="448" y="547"/>
                </a:cubicBezTo>
                <a:cubicBezTo>
                  <a:pt x="448" y="548"/>
                  <a:pt x="448" y="549"/>
                  <a:pt x="447" y="549"/>
                </a:cubicBezTo>
                <a:cubicBezTo>
                  <a:pt x="447" y="549"/>
                  <a:pt x="448" y="550"/>
                  <a:pt x="448" y="550"/>
                </a:cubicBezTo>
                <a:cubicBezTo>
                  <a:pt x="448" y="551"/>
                  <a:pt x="447" y="552"/>
                  <a:pt x="447" y="553"/>
                </a:cubicBezTo>
                <a:cubicBezTo>
                  <a:pt x="447" y="553"/>
                  <a:pt x="446" y="553"/>
                  <a:pt x="446" y="553"/>
                </a:cubicBezTo>
                <a:cubicBezTo>
                  <a:pt x="446" y="554"/>
                  <a:pt x="446" y="554"/>
                  <a:pt x="446" y="555"/>
                </a:cubicBezTo>
                <a:cubicBezTo>
                  <a:pt x="447" y="556"/>
                  <a:pt x="448" y="556"/>
                  <a:pt x="449" y="556"/>
                </a:cubicBezTo>
                <a:cubicBezTo>
                  <a:pt x="449" y="556"/>
                  <a:pt x="447" y="558"/>
                  <a:pt x="447" y="558"/>
                </a:cubicBezTo>
                <a:cubicBezTo>
                  <a:pt x="447" y="558"/>
                  <a:pt x="446" y="560"/>
                  <a:pt x="446" y="560"/>
                </a:cubicBezTo>
                <a:cubicBezTo>
                  <a:pt x="446" y="561"/>
                  <a:pt x="445" y="560"/>
                  <a:pt x="444" y="561"/>
                </a:cubicBezTo>
                <a:cubicBezTo>
                  <a:pt x="444" y="561"/>
                  <a:pt x="444" y="561"/>
                  <a:pt x="443" y="561"/>
                </a:cubicBezTo>
                <a:cubicBezTo>
                  <a:pt x="443" y="561"/>
                  <a:pt x="443" y="561"/>
                  <a:pt x="442" y="562"/>
                </a:cubicBezTo>
                <a:cubicBezTo>
                  <a:pt x="442" y="562"/>
                  <a:pt x="441" y="562"/>
                  <a:pt x="441" y="563"/>
                </a:cubicBezTo>
                <a:cubicBezTo>
                  <a:pt x="441" y="563"/>
                  <a:pt x="441" y="563"/>
                  <a:pt x="441" y="564"/>
                </a:cubicBezTo>
                <a:cubicBezTo>
                  <a:pt x="442" y="564"/>
                  <a:pt x="440" y="564"/>
                  <a:pt x="441" y="565"/>
                </a:cubicBezTo>
                <a:cubicBezTo>
                  <a:pt x="441" y="565"/>
                  <a:pt x="442" y="565"/>
                  <a:pt x="442" y="566"/>
                </a:cubicBezTo>
                <a:cubicBezTo>
                  <a:pt x="442" y="566"/>
                  <a:pt x="442" y="566"/>
                  <a:pt x="442" y="566"/>
                </a:cubicBezTo>
                <a:cubicBezTo>
                  <a:pt x="441" y="566"/>
                  <a:pt x="441" y="566"/>
                  <a:pt x="440" y="566"/>
                </a:cubicBezTo>
                <a:cubicBezTo>
                  <a:pt x="439" y="566"/>
                  <a:pt x="439" y="567"/>
                  <a:pt x="440" y="567"/>
                </a:cubicBezTo>
                <a:cubicBezTo>
                  <a:pt x="440" y="568"/>
                  <a:pt x="438" y="570"/>
                  <a:pt x="437" y="570"/>
                </a:cubicBezTo>
                <a:cubicBezTo>
                  <a:pt x="436" y="570"/>
                  <a:pt x="437" y="571"/>
                  <a:pt x="436" y="571"/>
                </a:cubicBezTo>
                <a:cubicBezTo>
                  <a:pt x="435" y="571"/>
                  <a:pt x="436" y="572"/>
                  <a:pt x="435" y="572"/>
                </a:cubicBezTo>
                <a:cubicBezTo>
                  <a:pt x="436" y="572"/>
                  <a:pt x="436" y="574"/>
                  <a:pt x="436" y="575"/>
                </a:cubicBezTo>
                <a:cubicBezTo>
                  <a:pt x="437" y="576"/>
                  <a:pt x="436" y="576"/>
                  <a:pt x="435" y="577"/>
                </a:cubicBezTo>
                <a:cubicBezTo>
                  <a:pt x="435" y="577"/>
                  <a:pt x="434" y="577"/>
                  <a:pt x="434" y="577"/>
                </a:cubicBezTo>
                <a:cubicBezTo>
                  <a:pt x="434" y="578"/>
                  <a:pt x="434" y="579"/>
                  <a:pt x="433" y="580"/>
                </a:cubicBezTo>
                <a:cubicBezTo>
                  <a:pt x="434" y="581"/>
                  <a:pt x="434" y="581"/>
                  <a:pt x="435" y="582"/>
                </a:cubicBezTo>
                <a:cubicBezTo>
                  <a:pt x="434" y="582"/>
                  <a:pt x="434" y="582"/>
                  <a:pt x="434" y="582"/>
                </a:cubicBezTo>
                <a:cubicBezTo>
                  <a:pt x="433" y="582"/>
                  <a:pt x="433" y="583"/>
                  <a:pt x="432" y="583"/>
                </a:cubicBezTo>
                <a:cubicBezTo>
                  <a:pt x="432" y="584"/>
                  <a:pt x="431" y="584"/>
                  <a:pt x="432" y="585"/>
                </a:cubicBezTo>
                <a:cubicBezTo>
                  <a:pt x="432" y="585"/>
                  <a:pt x="433" y="586"/>
                  <a:pt x="433" y="586"/>
                </a:cubicBezTo>
                <a:cubicBezTo>
                  <a:pt x="432" y="586"/>
                  <a:pt x="432" y="587"/>
                  <a:pt x="431" y="587"/>
                </a:cubicBezTo>
                <a:cubicBezTo>
                  <a:pt x="432" y="588"/>
                  <a:pt x="432" y="589"/>
                  <a:pt x="433" y="589"/>
                </a:cubicBezTo>
                <a:cubicBezTo>
                  <a:pt x="433" y="589"/>
                  <a:pt x="433" y="590"/>
                  <a:pt x="433" y="590"/>
                </a:cubicBezTo>
                <a:cubicBezTo>
                  <a:pt x="433" y="591"/>
                  <a:pt x="431" y="591"/>
                  <a:pt x="431" y="592"/>
                </a:cubicBezTo>
                <a:cubicBezTo>
                  <a:pt x="432" y="592"/>
                  <a:pt x="433" y="593"/>
                  <a:pt x="435" y="594"/>
                </a:cubicBezTo>
                <a:cubicBezTo>
                  <a:pt x="435" y="593"/>
                  <a:pt x="435" y="593"/>
                  <a:pt x="436" y="593"/>
                </a:cubicBezTo>
                <a:cubicBezTo>
                  <a:pt x="436" y="593"/>
                  <a:pt x="436" y="592"/>
                  <a:pt x="436" y="592"/>
                </a:cubicBezTo>
                <a:cubicBezTo>
                  <a:pt x="437" y="592"/>
                  <a:pt x="437" y="593"/>
                  <a:pt x="437" y="594"/>
                </a:cubicBezTo>
                <a:cubicBezTo>
                  <a:pt x="437" y="594"/>
                  <a:pt x="436" y="594"/>
                  <a:pt x="436" y="594"/>
                </a:cubicBezTo>
                <a:cubicBezTo>
                  <a:pt x="435" y="594"/>
                  <a:pt x="436" y="594"/>
                  <a:pt x="435" y="594"/>
                </a:cubicBezTo>
                <a:cubicBezTo>
                  <a:pt x="435" y="594"/>
                  <a:pt x="435" y="595"/>
                  <a:pt x="435" y="595"/>
                </a:cubicBezTo>
                <a:cubicBezTo>
                  <a:pt x="435" y="595"/>
                  <a:pt x="435" y="595"/>
                  <a:pt x="436" y="595"/>
                </a:cubicBezTo>
                <a:cubicBezTo>
                  <a:pt x="434" y="596"/>
                  <a:pt x="431" y="599"/>
                  <a:pt x="430" y="601"/>
                </a:cubicBezTo>
                <a:cubicBezTo>
                  <a:pt x="430" y="601"/>
                  <a:pt x="430" y="602"/>
                  <a:pt x="429" y="603"/>
                </a:cubicBezTo>
                <a:cubicBezTo>
                  <a:pt x="429" y="604"/>
                  <a:pt x="429" y="603"/>
                  <a:pt x="429" y="604"/>
                </a:cubicBezTo>
                <a:cubicBezTo>
                  <a:pt x="429" y="605"/>
                  <a:pt x="431" y="604"/>
                  <a:pt x="430" y="606"/>
                </a:cubicBezTo>
                <a:cubicBezTo>
                  <a:pt x="430" y="607"/>
                  <a:pt x="430" y="607"/>
                  <a:pt x="431" y="608"/>
                </a:cubicBezTo>
                <a:cubicBezTo>
                  <a:pt x="431" y="608"/>
                  <a:pt x="432" y="609"/>
                  <a:pt x="431" y="610"/>
                </a:cubicBezTo>
                <a:cubicBezTo>
                  <a:pt x="431" y="610"/>
                  <a:pt x="431" y="610"/>
                  <a:pt x="431" y="611"/>
                </a:cubicBezTo>
                <a:cubicBezTo>
                  <a:pt x="431" y="612"/>
                  <a:pt x="431" y="612"/>
                  <a:pt x="432" y="612"/>
                </a:cubicBezTo>
                <a:cubicBezTo>
                  <a:pt x="433" y="613"/>
                  <a:pt x="434" y="613"/>
                  <a:pt x="434" y="614"/>
                </a:cubicBezTo>
                <a:cubicBezTo>
                  <a:pt x="434" y="614"/>
                  <a:pt x="435" y="614"/>
                  <a:pt x="435" y="614"/>
                </a:cubicBezTo>
                <a:cubicBezTo>
                  <a:pt x="435" y="615"/>
                  <a:pt x="436" y="615"/>
                  <a:pt x="436" y="616"/>
                </a:cubicBezTo>
                <a:cubicBezTo>
                  <a:pt x="436" y="616"/>
                  <a:pt x="437" y="616"/>
                  <a:pt x="437" y="617"/>
                </a:cubicBezTo>
                <a:cubicBezTo>
                  <a:pt x="437" y="618"/>
                  <a:pt x="438" y="618"/>
                  <a:pt x="439" y="619"/>
                </a:cubicBezTo>
                <a:cubicBezTo>
                  <a:pt x="440" y="619"/>
                  <a:pt x="440" y="620"/>
                  <a:pt x="441" y="621"/>
                </a:cubicBezTo>
                <a:cubicBezTo>
                  <a:pt x="441" y="621"/>
                  <a:pt x="443" y="623"/>
                  <a:pt x="443" y="623"/>
                </a:cubicBezTo>
                <a:cubicBezTo>
                  <a:pt x="443" y="624"/>
                  <a:pt x="443" y="624"/>
                  <a:pt x="444" y="624"/>
                </a:cubicBezTo>
                <a:cubicBezTo>
                  <a:pt x="444" y="624"/>
                  <a:pt x="444" y="624"/>
                  <a:pt x="444" y="625"/>
                </a:cubicBezTo>
                <a:cubicBezTo>
                  <a:pt x="444" y="625"/>
                  <a:pt x="444" y="625"/>
                  <a:pt x="445" y="625"/>
                </a:cubicBezTo>
                <a:cubicBezTo>
                  <a:pt x="445" y="626"/>
                  <a:pt x="444" y="626"/>
                  <a:pt x="445" y="626"/>
                </a:cubicBezTo>
                <a:cubicBezTo>
                  <a:pt x="446" y="627"/>
                  <a:pt x="445" y="628"/>
                  <a:pt x="446" y="629"/>
                </a:cubicBezTo>
                <a:cubicBezTo>
                  <a:pt x="448" y="630"/>
                  <a:pt x="447" y="631"/>
                  <a:pt x="447" y="632"/>
                </a:cubicBezTo>
                <a:cubicBezTo>
                  <a:pt x="447" y="632"/>
                  <a:pt x="447" y="632"/>
                  <a:pt x="447" y="632"/>
                </a:cubicBezTo>
                <a:cubicBezTo>
                  <a:pt x="447" y="632"/>
                  <a:pt x="448" y="633"/>
                  <a:pt x="448" y="633"/>
                </a:cubicBezTo>
                <a:cubicBezTo>
                  <a:pt x="448" y="633"/>
                  <a:pt x="448" y="633"/>
                  <a:pt x="448" y="634"/>
                </a:cubicBezTo>
                <a:cubicBezTo>
                  <a:pt x="448" y="634"/>
                  <a:pt x="448" y="635"/>
                  <a:pt x="448" y="635"/>
                </a:cubicBezTo>
                <a:cubicBezTo>
                  <a:pt x="448" y="636"/>
                  <a:pt x="448" y="635"/>
                  <a:pt x="448" y="636"/>
                </a:cubicBezTo>
                <a:cubicBezTo>
                  <a:pt x="448" y="637"/>
                  <a:pt x="449" y="636"/>
                  <a:pt x="449" y="637"/>
                </a:cubicBezTo>
                <a:cubicBezTo>
                  <a:pt x="449" y="637"/>
                  <a:pt x="449" y="637"/>
                  <a:pt x="449" y="637"/>
                </a:cubicBezTo>
                <a:cubicBezTo>
                  <a:pt x="449" y="637"/>
                  <a:pt x="449" y="637"/>
                  <a:pt x="449" y="637"/>
                </a:cubicBezTo>
                <a:cubicBezTo>
                  <a:pt x="449" y="638"/>
                  <a:pt x="449" y="638"/>
                  <a:pt x="449" y="639"/>
                </a:cubicBezTo>
                <a:cubicBezTo>
                  <a:pt x="449" y="639"/>
                  <a:pt x="449" y="639"/>
                  <a:pt x="449" y="639"/>
                </a:cubicBezTo>
                <a:cubicBezTo>
                  <a:pt x="449" y="639"/>
                  <a:pt x="450" y="640"/>
                  <a:pt x="450" y="641"/>
                </a:cubicBezTo>
                <a:cubicBezTo>
                  <a:pt x="450" y="641"/>
                  <a:pt x="451" y="642"/>
                  <a:pt x="451" y="642"/>
                </a:cubicBezTo>
                <a:cubicBezTo>
                  <a:pt x="452" y="643"/>
                  <a:pt x="451" y="644"/>
                  <a:pt x="451" y="645"/>
                </a:cubicBezTo>
                <a:cubicBezTo>
                  <a:pt x="451" y="645"/>
                  <a:pt x="453" y="645"/>
                  <a:pt x="453" y="646"/>
                </a:cubicBezTo>
                <a:cubicBezTo>
                  <a:pt x="453" y="646"/>
                  <a:pt x="454" y="649"/>
                  <a:pt x="454" y="649"/>
                </a:cubicBezTo>
                <a:cubicBezTo>
                  <a:pt x="455" y="649"/>
                  <a:pt x="455" y="654"/>
                  <a:pt x="455" y="655"/>
                </a:cubicBezTo>
                <a:cubicBezTo>
                  <a:pt x="455" y="655"/>
                  <a:pt x="455" y="655"/>
                  <a:pt x="455" y="655"/>
                </a:cubicBezTo>
                <a:cubicBezTo>
                  <a:pt x="455" y="655"/>
                  <a:pt x="455" y="656"/>
                  <a:pt x="455" y="656"/>
                </a:cubicBezTo>
                <a:cubicBezTo>
                  <a:pt x="456" y="656"/>
                  <a:pt x="456" y="657"/>
                  <a:pt x="456" y="657"/>
                </a:cubicBezTo>
                <a:cubicBezTo>
                  <a:pt x="456" y="657"/>
                  <a:pt x="457" y="659"/>
                  <a:pt x="457" y="659"/>
                </a:cubicBezTo>
                <a:cubicBezTo>
                  <a:pt x="458" y="659"/>
                  <a:pt x="458" y="660"/>
                  <a:pt x="458" y="660"/>
                </a:cubicBezTo>
                <a:cubicBezTo>
                  <a:pt x="458" y="660"/>
                  <a:pt x="458" y="660"/>
                  <a:pt x="458" y="660"/>
                </a:cubicBezTo>
                <a:cubicBezTo>
                  <a:pt x="458" y="661"/>
                  <a:pt x="459" y="662"/>
                  <a:pt x="459" y="662"/>
                </a:cubicBezTo>
                <a:cubicBezTo>
                  <a:pt x="459" y="662"/>
                  <a:pt x="459" y="662"/>
                  <a:pt x="460" y="662"/>
                </a:cubicBezTo>
                <a:cubicBezTo>
                  <a:pt x="460" y="663"/>
                  <a:pt x="460" y="663"/>
                  <a:pt x="461" y="663"/>
                </a:cubicBezTo>
                <a:cubicBezTo>
                  <a:pt x="461" y="663"/>
                  <a:pt x="462" y="664"/>
                  <a:pt x="462" y="665"/>
                </a:cubicBezTo>
                <a:cubicBezTo>
                  <a:pt x="462" y="665"/>
                  <a:pt x="462" y="665"/>
                  <a:pt x="463" y="665"/>
                </a:cubicBezTo>
                <a:cubicBezTo>
                  <a:pt x="463" y="665"/>
                  <a:pt x="462" y="665"/>
                  <a:pt x="463" y="665"/>
                </a:cubicBezTo>
                <a:cubicBezTo>
                  <a:pt x="463" y="665"/>
                  <a:pt x="464" y="666"/>
                  <a:pt x="465" y="666"/>
                </a:cubicBezTo>
                <a:cubicBezTo>
                  <a:pt x="466" y="667"/>
                  <a:pt x="465" y="667"/>
                  <a:pt x="466" y="668"/>
                </a:cubicBezTo>
                <a:cubicBezTo>
                  <a:pt x="466" y="668"/>
                  <a:pt x="467" y="668"/>
                  <a:pt x="467" y="668"/>
                </a:cubicBezTo>
                <a:cubicBezTo>
                  <a:pt x="467" y="669"/>
                  <a:pt x="468" y="669"/>
                  <a:pt x="468" y="669"/>
                </a:cubicBezTo>
                <a:cubicBezTo>
                  <a:pt x="468" y="669"/>
                  <a:pt x="469" y="669"/>
                  <a:pt x="469" y="669"/>
                </a:cubicBezTo>
                <a:cubicBezTo>
                  <a:pt x="469" y="669"/>
                  <a:pt x="470" y="669"/>
                  <a:pt x="470" y="669"/>
                </a:cubicBezTo>
                <a:cubicBezTo>
                  <a:pt x="471" y="670"/>
                  <a:pt x="470" y="670"/>
                  <a:pt x="471" y="670"/>
                </a:cubicBezTo>
                <a:cubicBezTo>
                  <a:pt x="472" y="670"/>
                  <a:pt x="472" y="670"/>
                  <a:pt x="472" y="670"/>
                </a:cubicBezTo>
                <a:cubicBezTo>
                  <a:pt x="472" y="671"/>
                  <a:pt x="473" y="671"/>
                  <a:pt x="473" y="671"/>
                </a:cubicBezTo>
                <a:cubicBezTo>
                  <a:pt x="474" y="672"/>
                  <a:pt x="474" y="672"/>
                  <a:pt x="475" y="672"/>
                </a:cubicBezTo>
                <a:cubicBezTo>
                  <a:pt x="476" y="672"/>
                  <a:pt x="476" y="673"/>
                  <a:pt x="477" y="673"/>
                </a:cubicBezTo>
                <a:cubicBezTo>
                  <a:pt x="477" y="673"/>
                  <a:pt x="478" y="673"/>
                  <a:pt x="478" y="673"/>
                </a:cubicBezTo>
                <a:cubicBezTo>
                  <a:pt x="478" y="674"/>
                  <a:pt x="479" y="674"/>
                  <a:pt x="479" y="674"/>
                </a:cubicBezTo>
                <a:cubicBezTo>
                  <a:pt x="479" y="675"/>
                  <a:pt x="480" y="675"/>
                  <a:pt x="480" y="675"/>
                </a:cubicBezTo>
                <a:cubicBezTo>
                  <a:pt x="480" y="676"/>
                  <a:pt x="480" y="676"/>
                  <a:pt x="481" y="677"/>
                </a:cubicBezTo>
                <a:cubicBezTo>
                  <a:pt x="481" y="677"/>
                  <a:pt x="481" y="677"/>
                  <a:pt x="482" y="678"/>
                </a:cubicBezTo>
                <a:cubicBezTo>
                  <a:pt x="482" y="678"/>
                  <a:pt x="482" y="679"/>
                  <a:pt x="482" y="679"/>
                </a:cubicBezTo>
                <a:cubicBezTo>
                  <a:pt x="483" y="679"/>
                  <a:pt x="483" y="681"/>
                  <a:pt x="483" y="682"/>
                </a:cubicBezTo>
                <a:cubicBezTo>
                  <a:pt x="483" y="683"/>
                  <a:pt x="484" y="684"/>
                  <a:pt x="484" y="685"/>
                </a:cubicBezTo>
                <a:cubicBezTo>
                  <a:pt x="484" y="688"/>
                  <a:pt x="484" y="690"/>
                  <a:pt x="484" y="692"/>
                </a:cubicBezTo>
                <a:cubicBezTo>
                  <a:pt x="483" y="693"/>
                  <a:pt x="483" y="694"/>
                  <a:pt x="483" y="694"/>
                </a:cubicBezTo>
                <a:cubicBezTo>
                  <a:pt x="483" y="695"/>
                  <a:pt x="484" y="696"/>
                  <a:pt x="484" y="697"/>
                </a:cubicBezTo>
                <a:cubicBezTo>
                  <a:pt x="482" y="697"/>
                  <a:pt x="482" y="702"/>
                  <a:pt x="482" y="704"/>
                </a:cubicBezTo>
                <a:cubicBezTo>
                  <a:pt x="482" y="704"/>
                  <a:pt x="482" y="705"/>
                  <a:pt x="482" y="706"/>
                </a:cubicBezTo>
                <a:cubicBezTo>
                  <a:pt x="482" y="707"/>
                  <a:pt x="481" y="706"/>
                  <a:pt x="481" y="708"/>
                </a:cubicBezTo>
                <a:cubicBezTo>
                  <a:pt x="481" y="708"/>
                  <a:pt x="481" y="709"/>
                  <a:pt x="481" y="709"/>
                </a:cubicBezTo>
                <a:cubicBezTo>
                  <a:pt x="482" y="710"/>
                  <a:pt x="482" y="709"/>
                  <a:pt x="482" y="711"/>
                </a:cubicBezTo>
                <a:cubicBezTo>
                  <a:pt x="481" y="713"/>
                  <a:pt x="481" y="715"/>
                  <a:pt x="481" y="717"/>
                </a:cubicBezTo>
                <a:cubicBezTo>
                  <a:pt x="481" y="718"/>
                  <a:pt x="481" y="719"/>
                  <a:pt x="481" y="719"/>
                </a:cubicBezTo>
                <a:cubicBezTo>
                  <a:pt x="481" y="720"/>
                  <a:pt x="481" y="720"/>
                  <a:pt x="481" y="720"/>
                </a:cubicBezTo>
                <a:cubicBezTo>
                  <a:pt x="481" y="720"/>
                  <a:pt x="481" y="721"/>
                  <a:pt x="481" y="722"/>
                </a:cubicBezTo>
                <a:cubicBezTo>
                  <a:pt x="480" y="721"/>
                  <a:pt x="481" y="724"/>
                  <a:pt x="480" y="724"/>
                </a:cubicBezTo>
                <a:cubicBezTo>
                  <a:pt x="480" y="724"/>
                  <a:pt x="481" y="726"/>
                  <a:pt x="481" y="726"/>
                </a:cubicBezTo>
                <a:cubicBezTo>
                  <a:pt x="480" y="726"/>
                  <a:pt x="480" y="728"/>
                  <a:pt x="480" y="728"/>
                </a:cubicBezTo>
                <a:cubicBezTo>
                  <a:pt x="480" y="728"/>
                  <a:pt x="480" y="730"/>
                  <a:pt x="480" y="730"/>
                </a:cubicBezTo>
                <a:cubicBezTo>
                  <a:pt x="480" y="731"/>
                  <a:pt x="480" y="731"/>
                  <a:pt x="479" y="732"/>
                </a:cubicBezTo>
                <a:cubicBezTo>
                  <a:pt x="478" y="732"/>
                  <a:pt x="479" y="734"/>
                  <a:pt x="479" y="735"/>
                </a:cubicBezTo>
                <a:cubicBezTo>
                  <a:pt x="478" y="736"/>
                  <a:pt x="478" y="737"/>
                  <a:pt x="478" y="738"/>
                </a:cubicBezTo>
                <a:cubicBezTo>
                  <a:pt x="478" y="738"/>
                  <a:pt x="478" y="739"/>
                  <a:pt x="478" y="739"/>
                </a:cubicBezTo>
                <a:cubicBezTo>
                  <a:pt x="478" y="739"/>
                  <a:pt x="478" y="739"/>
                  <a:pt x="478" y="739"/>
                </a:cubicBezTo>
                <a:cubicBezTo>
                  <a:pt x="478" y="739"/>
                  <a:pt x="478" y="740"/>
                  <a:pt x="478" y="740"/>
                </a:cubicBezTo>
                <a:cubicBezTo>
                  <a:pt x="478" y="741"/>
                  <a:pt x="478" y="740"/>
                  <a:pt x="477" y="741"/>
                </a:cubicBezTo>
                <a:cubicBezTo>
                  <a:pt x="477" y="741"/>
                  <a:pt x="477" y="741"/>
                  <a:pt x="477" y="741"/>
                </a:cubicBezTo>
                <a:cubicBezTo>
                  <a:pt x="477" y="742"/>
                  <a:pt x="477" y="741"/>
                  <a:pt x="477" y="742"/>
                </a:cubicBezTo>
                <a:cubicBezTo>
                  <a:pt x="476" y="744"/>
                  <a:pt x="478" y="745"/>
                  <a:pt x="478" y="746"/>
                </a:cubicBezTo>
                <a:cubicBezTo>
                  <a:pt x="479" y="746"/>
                  <a:pt x="479" y="747"/>
                  <a:pt x="478" y="747"/>
                </a:cubicBezTo>
                <a:cubicBezTo>
                  <a:pt x="478" y="747"/>
                  <a:pt x="478" y="747"/>
                  <a:pt x="478" y="747"/>
                </a:cubicBezTo>
                <a:cubicBezTo>
                  <a:pt x="478" y="748"/>
                  <a:pt x="478" y="749"/>
                  <a:pt x="478" y="749"/>
                </a:cubicBezTo>
                <a:cubicBezTo>
                  <a:pt x="478" y="750"/>
                  <a:pt x="478" y="750"/>
                  <a:pt x="478" y="751"/>
                </a:cubicBezTo>
                <a:cubicBezTo>
                  <a:pt x="477" y="751"/>
                  <a:pt x="477" y="753"/>
                  <a:pt x="477" y="753"/>
                </a:cubicBezTo>
                <a:cubicBezTo>
                  <a:pt x="477" y="754"/>
                  <a:pt x="477" y="757"/>
                  <a:pt x="478" y="757"/>
                </a:cubicBezTo>
                <a:cubicBezTo>
                  <a:pt x="478" y="758"/>
                  <a:pt x="478" y="758"/>
                  <a:pt x="478" y="758"/>
                </a:cubicBezTo>
                <a:cubicBezTo>
                  <a:pt x="478" y="759"/>
                  <a:pt x="478" y="759"/>
                  <a:pt x="478" y="760"/>
                </a:cubicBezTo>
                <a:cubicBezTo>
                  <a:pt x="478" y="761"/>
                  <a:pt x="478" y="762"/>
                  <a:pt x="478" y="764"/>
                </a:cubicBezTo>
                <a:cubicBezTo>
                  <a:pt x="478" y="764"/>
                  <a:pt x="478" y="764"/>
                  <a:pt x="478" y="765"/>
                </a:cubicBezTo>
                <a:cubicBezTo>
                  <a:pt x="478" y="765"/>
                  <a:pt x="477" y="765"/>
                  <a:pt x="477" y="766"/>
                </a:cubicBezTo>
                <a:cubicBezTo>
                  <a:pt x="476" y="767"/>
                  <a:pt x="476" y="766"/>
                  <a:pt x="476" y="767"/>
                </a:cubicBezTo>
                <a:cubicBezTo>
                  <a:pt x="476" y="768"/>
                  <a:pt x="476" y="768"/>
                  <a:pt x="476" y="768"/>
                </a:cubicBezTo>
                <a:cubicBezTo>
                  <a:pt x="477" y="769"/>
                  <a:pt x="476" y="770"/>
                  <a:pt x="476" y="770"/>
                </a:cubicBezTo>
                <a:cubicBezTo>
                  <a:pt x="476" y="771"/>
                  <a:pt x="475" y="771"/>
                  <a:pt x="474" y="772"/>
                </a:cubicBezTo>
                <a:cubicBezTo>
                  <a:pt x="474" y="772"/>
                  <a:pt x="474" y="772"/>
                  <a:pt x="474" y="773"/>
                </a:cubicBezTo>
                <a:cubicBezTo>
                  <a:pt x="474" y="773"/>
                  <a:pt x="474" y="774"/>
                  <a:pt x="474" y="774"/>
                </a:cubicBezTo>
                <a:cubicBezTo>
                  <a:pt x="474" y="775"/>
                  <a:pt x="474" y="774"/>
                  <a:pt x="474" y="775"/>
                </a:cubicBezTo>
                <a:cubicBezTo>
                  <a:pt x="474" y="775"/>
                  <a:pt x="474" y="775"/>
                  <a:pt x="474" y="775"/>
                </a:cubicBezTo>
                <a:cubicBezTo>
                  <a:pt x="474" y="776"/>
                  <a:pt x="474" y="775"/>
                  <a:pt x="474" y="775"/>
                </a:cubicBezTo>
                <a:cubicBezTo>
                  <a:pt x="473" y="776"/>
                  <a:pt x="473" y="777"/>
                  <a:pt x="473" y="778"/>
                </a:cubicBezTo>
                <a:cubicBezTo>
                  <a:pt x="472" y="779"/>
                  <a:pt x="472" y="778"/>
                  <a:pt x="472" y="779"/>
                </a:cubicBezTo>
                <a:cubicBezTo>
                  <a:pt x="472" y="779"/>
                  <a:pt x="472" y="779"/>
                  <a:pt x="472" y="780"/>
                </a:cubicBezTo>
                <a:cubicBezTo>
                  <a:pt x="472" y="780"/>
                  <a:pt x="472" y="781"/>
                  <a:pt x="472" y="781"/>
                </a:cubicBezTo>
                <a:cubicBezTo>
                  <a:pt x="473" y="781"/>
                  <a:pt x="472" y="783"/>
                  <a:pt x="472" y="784"/>
                </a:cubicBezTo>
                <a:cubicBezTo>
                  <a:pt x="472" y="784"/>
                  <a:pt x="472" y="785"/>
                  <a:pt x="472" y="785"/>
                </a:cubicBezTo>
                <a:cubicBezTo>
                  <a:pt x="472" y="785"/>
                  <a:pt x="471" y="785"/>
                  <a:pt x="472" y="786"/>
                </a:cubicBezTo>
                <a:cubicBezTo>
                  <a:pt x="472" y="786"/>
                  <a:pt x="471" y="786"/>
                  <a:pt x="471" y="787"/>
                </a:cubicBezTo>
                <a:cubicBezTo>
                  <a:pt x="470" y="788"/>
                  <a:pt x="471" y="789"/>
                  <a:pt x="470" y="789"/>
                </a:cubicBezTo>
                <a:cubicBezTo>
                  <a:pt x="469" y="789"/>
                  <a:pt x="469" y="790"/>
                  <a:pt x="469" y="790"/>
                </a:cubicBezTo>
                <a:cubicBezTo>
                  <a:pt x="469" y="791"/>
                  <a:pt x="469" y="792"/>
                  <a:pt x="470" y="793"/>
                </a:cubicBezTo>
                <a:cubicBezTo>
                  <a:pt x="469" y="793"/>
                  <a:pt x="468" y="793"/>
                  <a:pt x="467" y="793"/>
                </a:cubicBezTo>
                <a:cubicBezTo>
                  <a:pt x="466" y="794"/>
                  <a:pt x="468" y="794"/>
                  <a:pt x="468" y="795"/>
                </a:cubicBezTo>
                <a:cubicBezTo>
                  <a:pt x="468" y="795"/>
                  <a:pt x="467" y="796"/>
                  <a:pt x="467" y="796"/>
                </a:cubicBezTo>
                <a:cubicBezTo>
                  <a:pt x="467" y="797"/>
                  <a:pt x="469" y="797"/>
                  <a:pt x="469" y="798"/>
                </a:cubicBezTo>
                <a:cubicBezTo>
                  <a:pt x="469" y="799"/>
                  <a:pt x="468" y="799"/>
                  <a:pt x="468" y="800"/>
                </a:cubicBezTo>
                <a:cubicBezTo>
                  <a:pt x="468" y="800"/>
                  <a:pt x="468" y="801"/>
                  <a:pt x="469" y="801"/>
                </a:cubicBezTo>
                <a:cubicBezTo>
                  <a:pt x="468" y="801"/>
                  <a:pt x="468" y="801"/>
                  <a:pt x="468" y="801"/>
                </a:cubicBezTo>
                <a:cubicBezTo>
                  <a:pt x="468" y="802"/>
                  <a:pt x="469" y="801"/>
                  <a:pt x="469" y="802"/>
                </a:cubicBezTo>
                <a:cubicBezTo>
                  <a:pt x="469" y="802"/>
                  <a:pt x="469" y="803"/>
                  <a:pt x="469" y="803"/>
                </a:cubicBezTo>
                <a:cubicBezTo>
                  <a:pt x="469" y="804"/>
                  <a:pt x="469" y="803"/>
                  <a:pt x="469" y="804"/>
                </a:cubicBezTo>
                <a:cubicBezTo>
                  <a:pt x="469" y="804"/>
                  <a:pt x="469" y="804"/>
                  <a:pt x="469" y="804"/>
                </a:cubicBezTo>
                <a:cubicBezTo>
                  <a:pt x="469" y="805"/>
                  <a:pt x="469" y="809"/>
                  <a:pt x="469" y="809"/>
                </a:cubicBezTo>
                <a:cubicBezTo>
                  <a:pt x="468" y="809"/>
                  <a:pt x="467" y="808"/>
                  <a:pt x="467" y="809"/>
                </a:cubicBezTo>
                <a:cubicBezTo>
                  <a:pt x="467" y="812"/>
                  <a:pt x="467" y="813"/>
                  <a:pt x="466" y="816"/>
                </a:cubicBezTo>
                <a:cubicBezTo>
                  <a:pt x="467" y="816"/>
                  <a:pt x="466" y="819"/>
                  <a:pt x="467" y="819"/>
                </a:cubicBezTo>
                <a:cubicBezTo>
                  <a:pt x="467" y="819"/>
                  <a:pt x="467" y="820"/>
                  <a:pt x="467" y="820"/>
                </a:cubicBezTo>
                <a:cubicBezTo>
                  <a:pt x="469" y="820"/>
                  <a:pt x="468" y="820"/>
                  <a:pt x="469" y="819"/>
                </a:cubicBezTo>
                <a:cubicBezTo>
                  <a:pt x="469" y="819"/>
                  <a:pt x="470" y="818"/>
                  <a:pt x="470" y="818"/>
                </a:cubicBezTo>
                <a:cubicBezTo>
                  <a:pt x="470" y="818"/>
                  <a:pt x="471" y="819"/>
                  <a:pt x="471" y="819"/>
                </a:cubicBezTo>
                <a:cubicBezTo>
                  <a:pt x="472" y="820"/>
                  <a:pt x="472" y="819"/>
                  <a:pt x="472" y="820"/>
                </a:cubicBezTo>
                <a:cubicBezTo>
                  <a:pt x="472" y="820"/>
                  <a:pt x="472" y="821"/>
                  <a:pt x="471" y="821"/>
                </a:cubicBezTo>
                <a:cubicBezTo>
                  <a:pt x="471" y="821"/>
                  <a:pt x="471" y="821"/>
                  <a:pt x="470" y="821"/>
                </a:cubicBezTo>
                <a:cubicBezTo>
                  <a:pt x="471" y="823"/>
                  <a:pt x="471" y="823"/>
                  <a:pt x="471" y="825"/>
                </a:cubicBezTo>
                <a:cubicBezTo>
                  <a:pt x="470" y="826"/>
                  <a:pt x="470" y="827"/>
                  <a:pt x="471" y="828"/>
                </a:cubicBezTo>
                <a:cubicBezTo>
                  <a:pt x="470" y="828"/>
                  <a:pt x="471" y="828"/>
                  <a:pt x="470" y="828"/>
                </a:cubicBezTo>
                <a:cubicBezTo>
                  <a:pt x="470" y="828"/>
                  <a:pt x="469" y="830"/>
                  <a:pt x="469" y="830"/>
                </a:cubicBezTo>
                <a:cubicBezTo>
                  <a:pt x="470" y="830"/>
                  <a:pt x="470" y="831"/>
                  <a:pt x="470" y="832"/>
                </a:cubicBezTo>
                <a:cubicBezTo>
                  <a:pt x="470" y="832"/>
                  <a:pt x="470" y="833"/>
                  <a:pt x="471" y="833"/>
                </a:cubicBezTo>
                <a:cubicBezTo>
                  <a:pt x="470" y="834"/>
                  <a:pt x="469" y="834"/>
                  <a:pt x="468" y="835"/>
                </a:cubicBezTo>
                <a:cubicBezTo>
                  <a:pt x="468" y="836"/>
                  <a:pt x="468" y="836"/>
                  <a:pt x="469" y="836"/>
                </a:cubicBezTo>
                <a:cubicBezTo>
                  <a:pt x="469" y="837"/>
                  <a:pt x="469" y="837"/>
                  <a:pt x="469" y="837"/>
                </a:cubicBezTo>
                <a:cubicBezTo>
                  <a:pt x="468" y="837"/>
                  <a:pt x="468" y="837"/>
                  <a:pt x="467" y="837"/>
                </a:cubicBezTo>
                <a:cubicBezTo>
                  <a:pt x="467" y="837"/>
                  <a:pt x="468" y="838"/>
                  <a:pt x="468" y="838"/>
                </a:cubicBezTo>
                <a:cubicBezTo>
                  <a:pt x="468" y="838"/>
                  <a:pt x="467" y="839"/>
                  <a:pt x="467" y="839"/>
                </a:cubicBezTo>
                <a:cubicBezTo>
                  <a:pt x="467" y="840"/>
                  <a:pt x="467" y="840"/>
                  <a:pt x="467" y="841"/>
                </a:cubicBezTo>
                <a:cubicBezTo>
                  <a:pt x="467" y="842"/>
                  <a:pt x="467" y="842"/>
                  <a:pt x="467" y="842"/>
                </a:cubicBezTo>
                <a:cubicBezTo>
                  <a:pt x="467" y="843"/>
                  <a:pt x="467" y="843"/>
                  <a:pt x="467" y="844"/>
                </a:cubicBezTo>
                <a:cubicBezTo>
                  <a:pt x="467" y="844"/>
                  <a:pt x="467" y="844"/>
                  <a:pt x="468" y="844"/>
                </a:cubicBezTo>
                <a:cubicBezTo>
                  <a:pt x="468" y="845"/>
                  <a:pt x="468" y="846"/>
                  <a:pt x="467" y="846"/>
                </a:cubicBezTo>
                <a:cubicBezTo>
                  <a:pt x="467" y="846"/>
                  <a:pt x="467" y="846"/>
                  <a:pt x="467" y="846"/>
                </a:cubicBezTo>
                <a:cubicBezTo>
                  <a:pt x="467" y="846"/>
                  <a:pt x="467" y="847"/>
                  <a:pt x="467" y="848"/>
                </a:cubicBezTo>
                <a:cubicBezTo>
                  <a:pt x="467" y="848"/>
                  <a:pt x="467" y="849"/>
                  <a:pt x="467" y="850"/>
                </a:cubicBezTo>
                <a:cubicBezTo>
                  <a:pt x="467" y="850"/>
                  <a:pt x="467" y="850"/>
                  <a:pt x="466" y="850"/>
                </a:cubicBezTo>
                <a:cubicBezTo>
                  <a:pt x="466" y="851"/>
                  <a:pt x="466" y="851"/>
                  <a:pt x="466" y="850"/>
                </a:cubicBezTo>
                <a:cubicBezTo>
                  <a:pt x="466" y="849"/>
                  <a:pt x="466" y="849"/>
                  <a:pt x="465" y="849"/>
                </a:cubicBezTo>
                <a:cubicBezTo>
                  <a:pt x="464" y="849"/>
                  <a:pt x="464" y="849"/>
                  <a:pt x="464" y="850"/>
                </a:cubicBezTo>
                <a:cubicBezTo>
                  <a:pt x="464" y="851"/>
                  <a:pt x="463" y="850"/>
                  <a:pt x="463" y="850"/>
                </a:cubicBezTo>
                <a:cubicBezTo>
                  <a:pt x="463" y="850"/>
                  <a:pt x="463" y="850"/>
                  <a:pt x="463" y="849"/>
                </a:cubicBezTo>
                <a:cubicBezTo>
                  <a:pt x="463" y="849"/>
                  <a:pt x="463" y="850"/>
                  <a:pt x="462" y="850"/>
                </a:cubicBezTo>
                <a:cubicBezTo>
                  <a:pt x="462" y="849"/>
                  <a:pt x="462" y="849"/>
                  <a:pt x="462" y="848"/>
                </a:cubicBezTo>
                <a:cubicBezTo>
                  <a:pt x="462" y="848"/>
                  <a:pt x="461" y="848"/>
                  <a:pt x="461" y="848"/>
                </a:cubicBezTo>
                <a:cubicBezTo>
                  <a:pt x="460" y="848"/>
                  <a:pt x="459" y="849"/>
                  <a:pt x="458" y="849"/>
                </a:cubicBezTo>
                <a:cubicBezTo>
                  <a:pt x="459" y="850"/>
                  <a:pt x="460" y="850"/>
                  <a:pt x="459" y="851"/>
                </a:cubicBezTo>
                <a:cubicBezTo>
                  <a:pt x="458" y="852"/>
                  <a:pt x="458" y="853"/>
                  <a:pt x="458" y="854"/>
                </a:cubicBezTo>
                <a:cubicBezTo>
                  <a:pt x="458" y="854"/>
                  <a:pt x="458" y="854"/>
                  <a:pt x="458" y="854"/>
                </a:cubicBezTo>
                <a:cubicBezTo>
                  <a:pt x="458" y="854"/>
                  <a:pt x="458" y="853"/>
                  <a:pt x="458" y="853"/>
                </a:cubicBezTo>
                <a:cubicBezTo>
                  <a:pt x="459" y="853"/>
                  <a:pt x="459" y="853"/>
                  <a:pt x="460" y="853"/>
                </a:cubicBezTo>
                <a:cubicBezTo>
                  <a:pt x="460" y="853"/>
                  <a:pt x="459" y="852"/>
                  <a:pt x="460" y="852"/>
                </a:cubicBezTo>
                <a:cubicBezTo>
                  <a:pt x="460" y="853"/>
                  <a:pt x="459" y="853"/>
                  <a:pt x="459" y="854"/>
                </a:cubicBezTo>
                <a:cubicBezTo>
                  <a:pt x="460" y="854"/>
                  <a:pt x="460" y="855"/>
                  <a:pt x="460" y="855"/>
                </a:cubicBezTo>
                <a:cubicBezTo>
                  <a:pt x="462" y="855"/>
                  <a:pt x="462" y="855"/>
                  <a:pt x="462" y="854"/>
                </a:cubicBezTo>
                <a:cubicBezTo>
                  <a:pt x="463" y="854"/>
                  <a:pt x="464" y="853"/>
                  <a:pt x="464" y="854"/>
                </a:cubicBezTo>
                <a:cubicBezTo>
                  <a:pt x="464" y="855"/>
                  <a:pt x="465" y="854"/>
                  <a:pt x="465" y="856"/>
                </a:cubicBezTo>
                <a:cubicBezTo>
                  <a:pt x="464" y="857"/>
                  <a:pt x="465" y="856"/>
                  <a:pt x="465" y="857"/>
                </a:cubicBezTo>
                <a:cubicBezTo>
                  <a:pt x="465" y="857"/>
                  <a:pt x="464" y="858"/>
                  <a:pt x="464" y="859"/>
                </a:cubicBezTo>
                <a:cubicBezTo>
                  <a:pt x="465" y="859"/>
                  <a:pt x="465" y="859"/>
                  <a:pt x="465" y="859"/>
                </a:cubicBezTo>
                <a:cubicBezTo>
                  <a:pt x="465" y="860"/>
                  <a:pt x="465" y="860"/>
                  <a:pt x="463" y="859"/>
                </a:cubicBezTo>
                <a:cubicBezTo>
                  <a:pt x="463" y="860"/>
                  <a:pt x="463" y="861"/>
                  <a:pt x="463" y="862"/>
                </a:cubicBezTo>
                <a:cubicBezTo>
                  <a:pt x="463" y="863"/>
                  <a:pt x="463" y="863"/>
                  <a:pt x="463" y="864"/>
                </a:cubicBezTo>
                <a:cubicBezTo>
                  <a:pt x="463" y="865"/>
                  <a:pt x="464" y="865"/>
                  <a:pt x="464" y="866"/>
                </a:cubicBezTo>
                <a:cubicBezTo>
                  <a:pt x="463" y="866"/>
                  <a:pt x="463" y="866"/>
                  <a:pt x="463" y="867"/>
                </a:cubicBezTo>
                <a:cubicBezTo>
                  <a:pt x="463" y="868"/>
                  <a:pt x="463" y="869"/>
                  <a:pt x="463" y="870"/>
                </a:cubicBezTo>
                <a:cubicBezTo>
                  <a:pt x="464" y="870"/>
                  <a:pt x="464" y="871"/>
                  <a:pt x="464" y="870"/>
                </a:cubicBezTo>
                <a:cubicBezTo>
                  <a:pt x="464" y="869"/>
                  <a:pt x="465" y="869"/>
                  <a:pt x="466" y="869"/>
                </a:cubicBezTo>
                <a:cubicBezTo>
                  <a:pt x="465" y="870"/>
                  <a:pt x="465" y="870"/>
                  <a:pt x="465" y="872"/>
                </a:cubicBezTo>
                <a:cubicBezTo>
                  <a:pt x="464" y="872"/>
                  <a:pt x="463" y="872"/>
                  <a:pt x="463" y="872"/>
                </a:cubicBezTo>
                <a:cubicBezTo>
                  <a:pt x="463" y="873"/>
                  <a:pt x="463" y="873"/>
                  <a:pt x="463" y="874"/>
                </a:cubicBezTo>
                <a:cubicBezTo>
                  <a:pt x="463" y="874"/>
                  <a:pt x="463" y="874"/>
                  <a:pt x="462" y="874"/>
                </a:cubicBezTo>
                <a:cubicBezTo>
                  <a:pt x="462" y="875"/>
                  <a:pt x="462" y="875"/>
                  <a:pt x="462" y="876"/>
                </a:cubicBezTo>
                <a:cubicBezTo>
                  <a:pt x="462" y="877"/>
                  <a:pt x="462" y="877"/>
                  <a:pt x="463" y="877"/>
                </a:cubicBezTo>
                <a:cubicBezTo>
                  <a:pt x="464" y="877"/>
                  <a:pt x="464" y="877"/>
                  <a:pt x="465" y="878"/>
                </a:cubicBezTo>
                <a:cubicBezTo>
                  <a:pt x="464" y="878"/>
                  <a:pt x="464" y="878"/>
                  <a:pt x="464" y="879"/>
                </a:cubicBezTo>
                <a:cubicBezTo>
                  <a:pt x="464" y="879"/>
                  <a:pt x="466" y="880"/>
                  <a:pt x="466" y="880"/>
                </a:cubicBezTo>
                <a:cubicBezTo>
                  <a:pt x="467" y="880"/>
                  <a:pt x="465" y="881"/>
                  <a:pt x="464" y="881"/>
                </a:cubicBezTo>
                <a:cubicBezTo>
                  <a:pt x="464" y="881"/>
                  <a:pt x="464" y="883"/>
                  <a:pt x="465" y="883"/>
                </a:cubicBezTo>
                <a:cubicBezTo>
                  <a:pt x="465" y="883"/>
                  <a:pt x="466" y="883"/>
                  <a:pt x="466" y="884"/>
                </a:cubicBezTo>
                <a:cubicBezTo>
                  <a:pt x="466" y="884"/>
                  <a:pt x="466" y="886"/>
                  <a:pt x="466" y="885"/>
                </a:cubicBezTo>
                <a:cubicBezTo>
                  <a:pt x="466" y="886"/>
                  <a:pt x="465" y="885"/>
                  <a:pt x="465" y="885"/>
                </a:cubicBezTo>
                <a:cubicBezTo>
                  <a:pt x="464" y="885"/>
                  <a:pt x="465" y="887"/>
                  <a:pt x="465" y="887"/>
                </a:cubicBezTo>
                <a:cubicBezTo>
                  <a:pt x="464" y="887"/>
                  <a:pt x="463" y="886"/>
                  <a:pt x="463" y="886"/>
                </a:cubicBezTo>
                <a:cubicBezTo>
                  <a:pt x="462" y="886"/>
                  <a:pt x="463" y="886"/>
                  <a:pt x="462" y="886"/>
                </a:cubicBezTo>
                <a:cubicBezTo>
                  <a:pt x="463" y="887"/>
                  <a:pt x="464" y="887"/>
                  <a:pt x="464" y="888"/>
                </a:cubicBezTo>
                <a:cubicBezTo>
                  <a:pt x="465" y="888"/>
                  <a:pt x="464" y="887"/>
                  <a:pt x="465" y="887"/>
                </a:cubicBezTo>
                <a:cubicBezTo>
                  <a:pt x="466" y="888"/>
                  <a:pt x="465" y="887"/>
                  <a:pt x="466" y="887"/>
                </a:cubicBezTo>
                <a:cubicBezTo>
                  <a:pt x="466" y="887"/>
                  <a:pt x="467" y="888"/>
                  <a:pt x="467" y="889"/>
                </a:cubicBezTo>
                <a:cubicBezTo>
                  <a:pt x="467" y="888"/>
                  <a:pt x="468" y="888"/>
                  <a:pt x="468" y="887"/>
                </a:cubicBezTo>
                <a:cubicBezTo>
                  <a:pt x="468" y="888"/>
                  <a:pt x="469" y="888"/>
                  <a:pt x="469" y="887"/>
                </a:cubicBezTo>
                <a:cubicBezTo>
                  <a:pt x="469" y="886"/>
                  <a:pt x="469" y="887"/>
                  <a:pt x="469" y="886"/>
                </a:cubicBezTo>
                <a:cubicBezTo>
                  <a:pt x="469" y="886"/>
                  <a:pt x="470" y="885"/>
                  <a:pt x="470" y="886"/>
                </a:cubicBezTo>
                <a:cubicBezTo>
                  <a:pt x="470" y="886"/>
                  <a:pt x="471" y="886"/>
                  <a:pt x="472" y="886"/>
                </a:cubicBezTo>
                <a:cubicBezTo>
                  <a:pt x="472" y="887"/>
                  <a:pt x="470" y="887"/>
                  <a:pt x="470" y="888"/>
                </a:cubicBezTo>
                <a:cubicBezTo>
                  <a:pt x="470" y="888"/>
                  <a:pt x="470" y="888"/>
                  <a:pt x="469" y="887"/>
                </a:cubicBezTo>
                <a:cubicBezTo>
                  <a:pt x="469" y="888"/>
                  <a:pt x="469" y="890"/>
                  <a:pt x="469" y="890"/>
                </a:cubicBezTo>
                <a:cubicBezTo>
                  <a:pt x="468" y="890"/>
                  <a:pt x="468" y="890"/>
                  <a:pt x="468" y="889"/>
                </a:cubicBezTo>
                <a:cubicBezTo>
                  <a:pt x="467" y="889"/>
                  <a:pt x="466" y="889"/>
                  <a:pt x="466" y="889"/>
                </a:cubicBezTo>
                <a:cubicBezTo>
                  <a:pt x="466" y="890"/>
                  <a:pt x="466" y="891"/>
                  <a:pt x="466" y="891"/>
                </a:cubicBezTo>
                <a:cubicBezTo>
                  <a:pt x="466" y="892"/>
                  <a:pt x="466" y="892"/>
                  <a:pt x="467" y="893"/>
                </a:cubicBezTo>
                <a:cubicBezTo>
                  <a:pt x="465" y="894"/>
                  <a:pt x="467" y="896"/>
                  <a:pt x="468" y="894"/>
                </a:cubicBezTo>
                <a:cubicBezTo>
                  <a:pt x="468" y="895"/>
                  <a:pt x="468" y="895"/>
                  <a:pt x="469" y="895"/>
                </a:cubicBezTo>
                <a:cubicBezTo>
                  <a:pt x="469" y="896"/>
                  <a:pt x="468" y="896"/>
                  <a:pt x="469" y="896"/>
                </a:cubicBezTo>
                <a:cubicBezTo>
                  <a:pt x="470" y="897"/>
                  <a:pt x="470" y="897"/>
                  <a:pt x="471" y="897"/>
                </a:cubicBezTo>
                <a:cubicBezTo>
                  <a:pt x="472" y="897"/>
                  <a:pt x="471" y="898"/>
                  <a:pt x="472" y="898"/>
                </a:cubicBezTo>
                <a:cubicBezTo>
                  <a:pt x="472" y="897"/>
                  <a:pt x="471" y="897"/>
                  <a:pt x="472" y="896"/>
                </a:cubicBezTo>
                <a:cubicBezTo>
                  <a:pt x="472" y="896"/>
                  <a:pt x="473" y="896"/>
                  <a:pt x="473" y="896"/>
                </a:cubicBezTo>
                <a:cubicBezTo>
                  <a:pt x="473" y="896"/>
                  <a:pt x="473" y="897"/>
                  <a:pt x="473" y="897"/>
                </a:cubicBezTo>
                <a:cubicBezTo>
                  <a:pt x="472" y="898"/>
                  <a:pt x="473" y="898"/>
                  <a:pt x="473" y="898"/>
                </a:cubicBezTo>
                <a:cubicBezTo>
                  <a:pt x="474" y="899"/>
                  <a:pt x="476" y="900"/>
                  <a:pt x="477" y="900"/>
                </a:cubicBezTo>
                <a:cubicBezTo>
                  <a:pt x="478" y="899"/>
                  <a:pt x="478" y="898"/>
                  <a:pt x="478" y="897"/>
                </a:cubicBezTo>
                <a:cubicBezTo>
                  <a:pt x="478" y="897"/>
                  <a:pt x="478" y="896"/>
                  <a:pt x="478" y="896"/>
                </a:cubicBezTo>
                <a:cubicBezTo>
                  <a:pt x="478" y="895"/>
                  <a:pt x="478" y="896"/>
                  <a:pt x="478" y="895"/>
                </a:cubicBezTo>
                <a:cubicBezTo>
                  <a:pt x="478" y="895"/>
                  <a:pt x="478" y="895"/>
                  <a:pt x="478" y="894"/>
                </a:cubicBezTo>
                <a:cubicBezTo>
                  <a:pt x="478" y="894"/>
                  <a:pt x="478" y="894"/>
                  <a:pt x="478" y="894"/>
                </a:cubicBezTo>
                <a:cubicBezTo>
                  <a:pt x="478" y="893"/>
                  <a:pt x="478" y="893"/>
                  <a:pt x="479" y="893"/>
                </a:cubicBezTo>
                <a:cubicBezTo>
                  <a:pt x="479" y="893"/>
                  <a:pt x="479" y="892"/>
                  <a:pt x="478" y="893"/>
                </a:cubicBezTo>
                <a:cubicBezTo>
                  <a:pt x="479" y="892"/>
                  <a:pt x="478" y="892"/>
                  <a:pt x="479" y="892"/>
                </a:cubicBezTo>
                <a:cubicBezTo>
                  <a:pt x="481" y="892"/>
                  <a:pt x="482" y="891"/>
                  <a:pt x="483" y="891"/>
                </a:cubicBezTo>
                <a:cubicBezTo>
                  <a:pt x="483" y="892"/>
                  <a:pt x="483" y="892"/>
                  <a:pt x="484" y="892"/>
                </a:cubicBezTo>
                <a:cubicBezTo>
                  <a:pt x="485" y="892"/>
                  <a:pt x="485" y="891"/>
                  <a:pt x="485" y="890"/>
                </a:cubicBezTo>
                <a:cubicBezTo>
                  <a:pt x="486" y="889"/>
                  <a:pt x="486" y="889"/>
                  <a:pt x="487" y="889"/>
                </a:cubicBezTo>
                <a:cubicBezTo>
                  <a:pt x="488" y="889"/>
                  <a:pt x="489" y="889"/>
                  <a:pt x="490" y="889"/>
                </a:cubicBezTo>
                <a:cubicBezTo>
                  <a:pt x="490" y="888"/>
                  <a:pt x="489" y="887"/>
                  <a:pt x="489" y="886"/>
                </a:cubicBezTo>
                <a:cubicBezTo>
                  <a:pt x="488" y="886"/>
                  <a:pt x="487" y="886"/>
                  <a:pt x="487" y="886"/>
                </a:cubicBezTo>
                <a:cubicBezTo>
                  <a:pt x="487" y="886"/>
                  <a:pt x="487" y="886"/>
                  <a:pt x="486" y="885"/>
                </a:cubicBezTo>
                <a:cubicBezTo>
                  <a:pt x="488" y="885"/>
                  <a:pt x="488" y="885"/>
                  <a:pt x="487" y="884"/>
                </a:cubicBezTo>
                <a:cubicBezTo>
                  <a:pt x="487" y="883"/>
                  <a:pt x="487" y="882"/>
                  <a:pt x="487" y="882"/>
                </a:cubicBezTo>
                <a:cubicBezTo>
                  <a:pt x="487" y="882"/>
                  <a:pt x="486" y="882"/>
                  <a:pt x="486" y="882"/>
                </a:cubicBezTo>
                <a:cubicBezTo>
                  <a:pt x="486" y="882"/>
                  <a:pt x="486" y="882"/>
                  <a:pt x="487" y="881"/>
                </a:cubicBezTo>
                <a:cubicBezTo>
                  <a:pt x="487" y="881"/>
                  <a:pt x="487" y="881"/>
                  <a:pt x="487" y="879"/>
                </a:cubicBezTo>
                <a:cubicBezTo>
                  <a:pt x="488" y="879"/>
                  <a:pt x="489" y="877"/>
                  <a:pt x="490" y="877"/>
                </a:cubicBezTo>
                <a:cubicBezTo>
                  <a:pt x="490" y="877"/>
                  <a:pt x="490" y="876"/>
                  <a:pt x="489" y="876"/>
                </a:cubicBezTo>
                <a:cubicBezTo>
                  <a:pt x="488" y="875"/>
                  <a:pt x="488" y="875"/>
                  <a:pt x="489" y="874"/>
                </a:cubicBezTo>
                <a:cubicBezTo>
                  <a:pt x="489" y="873"/>
                  <a:pt x="489" y="873"/>
                  <a:pt x="489" y="873"/>
                </a:cubicBezTo>
                <a:cubicBezTo>
                  <a:pt x="490" y="873"/>
                  <a:pt x="491" y="875"/>
                  <a:pt x="491" y="875"/>
                </a:cubicBezTo>
                <a:cubicBezTo>
                  <a:pt x="491" y="876"/>
                  <a:pt x="492" y="875"/>
                  <a:pt x="493" y="875"/>
                </a:cubicBezTo>
                <a:cubicBezTo>
                  <a:pt x="493" y="874"/>
                  <a:pt x="494" y="874"/>
                  <a:pt x="494" y="874"/>
                </a:cubicBezTo>
                <a:cubicBezTo>
                  <a:pt x="494" y="874"/>
                  <a:pt x="494" y="874"/>
                  <a:pt x="494" y="873"/>
                </a:cubicBezTo>
                <a:cubicBezTo>
                  <a:pt x="495" y="873"/>
                  <a:pt x="495" y="872"/>
                  <a:pt x="495" y="872"/>
                </a:cubicBezTo>
                <a:cubicBezTo>
                  <a:pt x="495" y="871"/>
                  <a:pt x="494" y="871"/>
                  <a:pt x="494" y="871"/>
                </a:cubicBezTo>
                <a:cubicBezTo>
                  <a:pt x="494" y="871"/>
                  <a:pt x="493" y="871"/>
                  <a:pt x="493" y="871"/>
                </a:cubicBezTo>
                <a:cubicBezTo>
                  <a:pt x="493" y="870"/>
                  <a:pt x="494" y="869"/>
                  <a:pt x="495" y="869"/>
                </a:cubicBezTo>
                <a:cubicBezTo>
                  <a:pt x="495" y="868"/>
                  <a:pt x="496" y="868"/>
                  <a:pt x="496" y="867"/>
                </a:cubicBezTo>
                <a:cubicBezTo>
                  <a:pt x="496" y="867"/>
                  <a:pt x="497" y="866"/>
                  <a:pt x="497" y="866"/>
                </a:cubicBezTo>
                <a:cubicBezTo>
                  <a:pt x="497" y="865"/>
                  <a:pt x="497" y="865"/>
                  <a:pt x="498" y="865"/>
                </a:cubicBezTo>
                <a:cubicBezTo>
                  <a:pt x="499" y="864"/>
                  <a:pt x="499" y="864"/>
                  <a:pt x="500" y="864"/>
                </a:cubicBezTo>
                <a:cubicBezTo>
                  <a:pt x="500" y="864"/>
                  <a:pt x="502" y="862"/>
                  <a:pt x="502" y="862"/>
                </a:cubicBezTo>
                <a:cubicBezTo>
                  <a:pt x="503" y="862"/>
                  <a:pt x="503" y="861"/>
                  <a:pt x="504" y="860"/>
                </a:cubicBezTo>
                <a:cubicBezTo>
                  <a:pt x="503" y="860"/>
                  <a:pt x="502" y="860"/>
                  <a:pt x="502" y="859"/>
                </a:cubicBezTo>
                <a:cubicBezTo>
                  <a:pt x="502" y="859"/>
                  <a:pt x="501" y="860"/>
                  <a:pt x="501" y="860"/>
                </a:cubicBezTo>
                <a:cubicBezTo>
                  <a:pt x="501" y="859"/>
                  <a:pt x="502" y="859"/>
                  <a:pt x="502" y="859"/>
                </a:cubicBezTo>
                <a:cubicBezTo>
                  <a:pt x="502" y="858"/>
                  <a:pt x="503" y="857"/>
                  <a:pt x="502" y="857"/>
                </a:cubicBezTo>
                <a:cubicBezTo>
                  <a:pt x="502" y="856"/>
                  <a:pt x="502" y="855"/>
                  <a:pt x="501" y="855"/>
                </a:cubicBezTo>
                <a:cubicBezTo>
                  <a:pt x="501" y="855"/>
                  <a:pt x="500" y="855"/>
                  <a:pt x="500" y="855"/>
                </a:cubicBezTo>
                <a:cubicBezTo>
                  <a:pt x="500" y="855"/>
                  <a:pt x="500" y="855"/>
                  <a:pt x="500" y="855"/>
                </a:cubicBezTo>
                <a:cubicBezTo>
                  <a:pt x="499" y="855"/>
                  <a:pt x="499" y="855"/>
                  <a:pt x="499" y="855"/>
                </a:cubicBezTo>
                <a:cubicBezTo>
                  <a:pt x="498" y="855"/>
                  <a:pt x="498" y="854"/>
                  <a:pt x="498" y="854"/>
                </a:cubicBezTo>
                <a:cubicBezTo>
                  <a:pt x="497" y="854"/>
                  <a:pt x="497" y="853"/>
                  <a:pt x="496" y="853"/>
                </a:cubicBezTo>
                <a:cubicBezTo>
                  <a:pt x="495" y="852"/>
                  <a:pt x="495" y="852"/>
                  <a:pt x="495" y="851"/>
                </a:cubicBezTo>
                <a:cubicBezTo>
                  <a:pt x="495" y="851"/>
                  <a:pt x="494" y="851"/>
                  <a:pt x="494" y="850"/>
                </a:cubicBezTo>
                <a:cubicBezTo>
                  <a:pt x="494" y="849"/>
                  <a:pt x="494" y="849"/>
                  <a:pt x="494" y="848"/>
                </a:cubicBezTo>
                <a:cubicBezTo>
                  <a:pt x="494" y="847"/>
                  <a:pt x="495" y="847"/>
                  <a:pt x="495" y="846"/>
                </a:cubicBezTo>
                <a:cubicBezTo>
                  <a:pt x="497" y="846"/>
                  <a:pt x="496" y="846"/>
                  <a:pt x="496" y="845"/>
                </a:cubicBezTo>
                <a:cubicBezTo>
                  <a:pt x="497" y="845"/>
                  <a:pt x="498" y="843"/>
                  <a:pt x="499" y="843"/>
                </a:cubicBezTo>
                <a:cubicBezTo>
                  <a:pt x="500" y="843"/>
                  <a:pt x="500" y="843"/>
                  <a:pt x="500" y="842"/>
                </a:cubicBezTo>
                <a:cubicBezTo>
                  <a:pt x="500" y="841"/>
                  <a:pt x="500" y="841"/>
                  <a:pt x="501" y="841"/>
                </a:cubicBezTo>
                <a:cubicBezTo>
                  <a:pt x="502" y="841"/>
                  <a:pt x="503" y="841"/>
                  <a:pt x="504" y="841"/>
                </a:cubicBezTo>
                <a:cubicBezTo>
                  <a:pt x="504" y="840"/>
                  <a:pt x="505" y="840"/>
                  <a:pt x="503" y="839"/>
                </a:cubicBezTo>
                <a:cubicBezTo>
                  <a:pt x="503" y="839"/>
                  <a:pt x="504" y="839"/>
                  <a:pt x="504" y="838"/>
                </a:cubicBezTo>
                <a:cubicBezTo>
                  <a:pt x="504" y="838"/>
                  <a:pt x="504" y="838"/>
                  <a:pt x="504" y="838"/>
                </a:cubicBezTo>
                <a:cubicBezTo>
                  <a:pt x="505" y="838"/>
                  <a:pt x="506" y="837"/>
                  <a:pt x="506" y="837"/>
                </a:cubicBezTo>
                <a:cubicBezTo>
                  <a:pt x="506" y="837"/>
                  <a:pt x="505" y="837"/>
                  <a:pt x="506" y="837"/>
                </a:cubicBezTo>
                <a:cubicBezTo>
                  <a:pt x="506" y="835"/>
                  <a:pt x="506" y="834"/>
                  <a:pt x="506" y="832"/>
                </a:cubicBezTo>
                <a:cubicBezTo>
                  <a:pt x="506" y="832"/>
                  <a:pt x="506" y="831"/>
                  <a:pt x="507" y="830"/>
                </a:cubicBezTo>
                <a:cubicBezTo>
                  <a:pt x="507" y="829"/>
                  <a:pt x="507" y="829"/>
                  <a:pt x="508" y="828"/>
                </a:cubicBezTo>
                <a:cubicBezTo>
                  <a:pt x="509" y="828"/>
                  <a:pt x="509" y="828"/>
                  <a:pt x="510" y="828"/>
                </a:cubicBezTo>
                <a:cubicBezTo>
                  <a:pt x="510" y="827"/>
                  <a:pt x="511" y="827"/>
                  <a:pt x="510" y="826"/>
                </a:cubicBezTo>
                <a:cubicBezTo>
                  <a:pt x="509" y="826"/>
                  <a:pt x="509" y="826"/>
                  <a:pt x="508" y="826"/>
                </a:cubicBezTo>
                <a:cubicBezTo>
                  <a:pt x="508" y="826"/>
                  <a:pt x="508" y="827"/>
                  <a:pt x="508" y="827"/>
                </a:cubicBezTo>
                <a:cubicBezTo>
                  <a:pt x="508" y="827"/>
                  <a:pt x="507" y="826"/>
                  <a:pt x="507" y="826"/>
                </a:cubicBezTo>
                <a:cubicBezTo>
                  <a:pt x="507" y="826"/>
                  <a:pt x="508" y="825"/>
                  <a:pt x="509" y="825"/>
                </a:cubicBezTo>
                <a:cubicBezTo>
                  <a:pt x="510" y="825"/>
                  <a:pt x="511" y="825"/>
                  <a:pt x="511" y="826"/>
                </a:cubicBezTo>
                <a:cubicBezTo>
                  <a:pt x="512" y="826"/>
                  <a:pt x="511" y="827"/>
                  <a:pt x="511" y="827"/>
                </a:cubicBezTo>
                <a:cubicBezTo>
                  <a:pt x="512" y="827"/>
                  <a:pt x="512" y="827"/>
                  <a:pt x="513" y="827"/>
                </a:cubicBezTo>
                <a:cubicBezTo>
                  <a:pt x="513" y="827"/>
                  <a:pt x="514" y="826"/>
                  <a:pt x="514" y="826"/>
                </a:cubicBezTo>
                <a:cubicBezTo>
                  <a:pt x="514" y="826"/>
                  <a:pt x="514" y="825"/>
                  <a:pt x="514" y="825"/>
                </a:cubicBezTo>
                <a:cubicBezTo>
                  <a:pt x="514" y="825"/>
                  <a:pt x="514" y="824"/>
                  <a:pt x="514" y="824"/>
                </a:cubicBezTo>
                <a:cubicBezTo>
                  <a:pt x="514" y="823"/>
                  <a:pt x="514" y="824"/>
                  <a:pt x="514" y="824"/>
                </a:cubicBezTo>
                <a:cubicBezTo>
                  <a:pt x="514" y="823"/>
                  <a:pt x="514" y="823"/>
                  <a:pt x="513" y="823"/>
                </a:cubicBezTo>
                <a:cubicBezTo>
                  <a:pt x="512" y="823"/>
                  <a:pt x="512" y="823"/>
                  <a:pt x="512" y="824"/>
                </a:cubicBezTo>
                <a:cubicBezTo>
                  <a:pt x="511" y="824"/>
                  <a:pt x="509" y="823"/>
                  <a:pt x="508" y="823"/>
                </a:cubicBezTo>
                <a:cubicBezTo>
                  <a:pt x="508" y="822"/>
                  <a:pt x="507" y="823"/>
                  <a:pt x="507" y="822"/>
                </a:cubicBezTo>
                <a:cubicBezTo>
                  <a:pt x="508" y="821"/>
                  <a:pt x="508" y="820"/>
                  <a:pt x="508" y="819"/>
                </a:cubicBezTo>
                <a:cubicBezTo>
                  <a:pt x="507" y="819"/>
                  <a:pt x="506" y="819"/>
                  <a:pt x="506" y="819"/>
                </a:cubicBezTo>
                <a:cubicBezTo>
                  <a:pt x="506" y="818"/>
                  <a:pt x="506" y="818"/>
                  <a:pt x="506" y="817"/>
                </a:cubicBezTo>
                <a:cubicBezTo>
                  <a:pt x="506" y="817"/>
                  <a:pt x="507" y="817"/>
                  <a:pt x="507" y="817"/>
                </a:cubicBezTo>
                <a:cubicBezTo>
                  <a:pt x="507" y="817"/>
                  <a:pt x="506" y="816"/>
                  <a:pt x="507" y="817"/>
                </a:cubicBezTo>
                <a:cubicBezTo>
                  <a:pt x="507" y="816"/>
                  <a:pt x="507" y="816"/>
                  <a:pt x="507" y="815"/>
                </a:cubicBezTo>
                <a:cubicBezTo>
                  <a:pt x="507" y="815"/>
                  <a:pt x="507" y="814"/>
                  <a:pt x="508" y="814"/>
                </a:cubicBezTo>
                <a:cubicBezTo>
                  <a:pt x="509" y="814"/>
                  <a:pt x="509" y="814"/>
                  <a:pt x="509" y="815"/>
                </a:cubicBezTo>
                <a:cubicBezTo>
                  <a:pt x="509" y="815"/>
                  <a:pt x="510" y="815"/>
                  <a:pt x="510" y="815"/>
                </a:cubicBezTo>
                <a:cubicBezTo>
                  <a:pt x="511" y="815"/>
                  <a:pt x="511" y="817"/>
                  <a:pt x="511" y="817"/>
                </a:cubicBezTo>
                <a:cubicBezTo>
                  <a:pt x="512" y="817"/>
                  <a:pt x="513" y="817"/>
                  <a:pt x="514" y="817"/>
                </a:cubicBezTo>
                <a:cubicBezTo>
                  <a:pt x="514" y="817"/>
                  <a:pt x="514" y="817"/>
                  <a:pt x="515" y="817"/>
                </a:cubicBezTo>
                <a:cubicBezTo>
                  <a:pt x="515" y="817"/>
                  <a:pt x="515" y="817"/>
                  <a:pt x="515" y="817"/>
                </a:cubicBezTo>
                <a:cubicBezTo>
                  <a:pt x="515" y="817"/>
                  <a:pt x="516" y="817"/>
                  <a:pt x="516" y="817"/>
                </a:cubicBezTo>
                <a:cubicBezTo>
                  <a:pt x="517" y="817"/>
                  <a:pt x="517" y="815"/>
                  <a:pt x="518" y="815"/>
                </a:cubicBezTo>
                <a:cubicBezTo>
                  <a:pt x="519" y="814"/>
                  <a:pt x="519" y="814"/>
                  <a:pt x="520" y="813"/>
                </a:cubicBezTo>
                <a:cubicBezTo>
                  <a:pt x="520" y="811"/>
                  <a:pt x="520" y="810"/>
                  <a:pt x="519" y="809"/>
                </a:cubicBezTo>
                <a:cubicBezTo>
                  <a:pt x="520" y="809"/>
                  <a:pt x="520" y="809"/>
                  <a:pt x="520" y="809"/>
                </a:cubicBezTo>
                <a:cubicBezTo>
                  <a:pt x="520" y="809"/>
                  <a:pt x="520" y="808"/>
                  <a:pt x="519" y="807"/>
                </a:cubicBezTo>
                <a:cubicBezTo>
                  <a:pt x="520" y="807"/>
                  <a:pt x="520" y="806"/>
                  <a:pt x="520" y="805"/>
                </a:cubicBezTo>
                <a:cubicBezTo>
                  <a:pt x="521" y="804"/>
                  <a:pt x="518" y="804"/>
                  <a:pt x="518" y="803"/>
                </a:cubicBezTo>
                <a:cubicBezTo>
                  <a:pt x="518" y="802"/>
                  <a:pt x="519" y="801"/>
                  <a:pt x="519" y="801"/>
                </a:cubicBezTo>
                <a:cubicBezTo>
                  <a:pt x="520" y="801"/>
                  <a:pt x="521" y="803"/>
                  <a:pt x="522" y="803"/>
                </a:cubicBezTo>
                <a:cubicBezTo>
                  <a:pt x="522" y="802"/>
                  <a:pt x="521" y="802"/>
                  <a:pt x="521" y="802"/>
                </a:cubicBezTo>
                <a:cubicBezTo>
                  <a:pt x="523" y="802"/>
                  <a:pt x="525" y="802"/>
                  <a:pt x="526" y="801"/>
                </a:cubicBezTo>
                <a:cubicBezTo>
                  <a:pt x="526" y="801"/>
                  <a:pt x="526" y="801"/>
                  <a:pt x="527" y="801"/>
                </a:cubicBezTo>
                <a:cubicBezTo>
                  <a:pt x="527" y="801"/>
                  <a:pt x="528" y="801"/>
                  <a:pt x="528" y="801"/>
                </a:cubicBezTo>
                <a:cubicBezTo>
                  <a:pt x="529" y="801"/>
                  <a:pt x="531" y="801"/>
                  <a:pt x="531" y="801"/>
                </a:cubicBezTo>
                <a:cubicBezTo>
                  <a:pt x="531" y="800"/>
                  <a:pt x="532" y="801"/>
                  <a:pt x="532" y="801"/>
                </a:cubicBezTo>
                <a:cubicBezTo>
                  <a:pt x="532" y="801"/>
                  <a:pt x="532" y="800"/>
                  <a:pt x="532" y="800"/>
                </a:cubicBezTo>
                <a:cubicBezTo>
                  <a:pt x="533" y="800"/>
                  <a:pt x="533" y="800"/>
                  <a:pt x="534" y="800"/>
                </a:cubicBezTo>
                <a:cubicBezTo>
                  <a:pt x="534" y="800"/>
                  <a:pt x="534" y="800"/>
                  <a:pt x="535" y="800"/>
                </a:cubicBezTo>
                <a:cubicBezTo>
                  <a:pt x="535" y="800"/>
                  <a:pt x="535" y="800"/>
                  <a:pt x="536" y="800"/>
                </a:cubicBezTo>
                <a:cubicBezTo>
                  <a:pt x="536" y="799"/>
                  <a:pt x="536" y="799"/>
                  <a:pt x="536" y="799"/>
                </a:cubicBezTo>
                <a:cubicBezTo>
                  <a:pt x="536" y="799"/>
                  <a:pt x="536" y="799"/>
                  <a:pt x="537" y="799"/>
                </a:cubicBezTo>
                <a:cubicBezTo>
                  <a:pt x="537" y="799"/>
                  <a:pt x="537" y="799"/>
                  <a:pt x="537" y="799"/>
                </a:cubicBezTo>
                <a:cubicBezTo>
                  <a:pt x="538" y="799"/>
                  <a:pt x="538" y="799"/>
                  <a:pt x="538" y="799"/>
                </a:cubicBezTo>
                <a:cubicBezTo>
                  <a:pt x="538" y="798"/>
                  <a:pt x="538" y="798"/>
                  <a:pt x="539" y="799"/>
                </a:cubicBezTo>
                <a:cubicBezTo>
                  <a:pt x="539" y="799"/>
                  <a:pt x="539" y="799"/>
                  <a:pt x="540" y="798"/>
                </a:cubicBezTo>
                <a:cubicBezTo>
                  <a:pt x="540" y="798"/>
                  <a:pt x="540" y="798"/>
                  <a:pt x="540" y="798"/>
                </a:cubicBezTo>
                <a:cubicBezTo>
                  <a:pt x="541" y="797"/>
                  <a:pt x="541" y="797"/>
                  <a:pt x="542" y="797"/>
                </a:cubicBezTo>
                <a:cubicBezTo>
                  <a:pt x="542" y="795"/>
                  <a:pt x="542" y="795"/>
                  <a:pt x="543" y="794"/>
                </a:cubicBezTo>
                <a:cubicBezTo>
                  <a:pt x="543" y="793"/>
                  <a:pt x="544" y="793"/>
                  <a:pt x="545" y="792"/>
                </a:cubicBezTo>
                <a:cubicBezTo>
                  <a:pt x="545" y="792"/>
                  <a:pt x="545" y="791"/>
                  <a:pt x="545" y="791"/>
                </a:cubicBezTo>
                <a:cubicBezTo>
                  <a:pt x="545" y="790"/>
                  <a:pt x="545" y="791"/>
                  <a:pt x="545" y="790"/>
                </a:cubicBezTo>
                <a:cubicBezTo>
                  <a:pt x="545" y="790"/>
                  <a:pt x="545" y="790"/>
                  <a:pt x="546" y="790"/>
                </a:cubicBezTo>
                <a:cubicBezTo>
                  <a:pt x="546" y="789"/>
                  <a:pt x="546" y="788"/>
                  <a:pt x="546" y="788"/>
                </a:cubicBezTo>
                <a:cubicBezTo>
                  <a:pt x="546" y="787"/>
                  <a:pt x="546" y="787"/>
                  <a:pt x="546" y="786"/>
                </a:cubicBezTo>
                <a:cubicBezTo>
                  <a:pt x="546" y="785"/>
                  <a:pt x="546" y="786"/>
                  <a:pt x="545" y="785"/>
                </a:cubicBezTo>
                <a:cubicBezTo>
                  <a:pt x="544" y="785"/>
                  <a:pt x="543" y="784"/>
                  <a:pt x="542" y="783"/>
                </a:cubicBezTo>
                <a:cubicBezTo>
                  <a:pt x="542" y="782"/>
                  <a:pt x="544" y="781"/>
                  <a:pt x="543" y="780"/>
                </a:cubicBezTo>
                <a:cubicBezTo>
                  <a:pt x="542" y="779"/>
                  <a:pt x="542" y="779"/>
                  <a:pt x="541" y="779"/>
                </a:cubicBezTo>
                <a:cubicBezTo>
                  <a:pt x="541" y="778"/>
                  <a:pt x="541" y="778"/>
                  <a:pt x="541" y="778"/>
                </a:cubicBezTo>
                <a:cubicBezTo>
                  <a:pt x="541" y="778"/>
                  <a:pt x="540" y="778"/>
                  <a:pt x="540" y="778"/>
                </a:cubicBezTo>
                <a:cubicBezTo>
                  <a:pt x="540" y="778"/>
                  <a:pt x="540" y="778"/>
                  <a:pt x="540" y="777"/>
                </a:cubicBezTo>
                <a:cubicBezTo>
                  <a:pt x="540" y="777"/>
                  <a:pt x="539" y="777"/>
                  <a:pt x="539" y="776"/>
                </a:cubicBezTo>
                <a:cubicBezTo>
                  <a:pt x="539" y="776"/>
                  <a:pt x="539" y="775"/>
                  <a:pt x="539" y="775"/>
                </a:cubicBezTo>
                <a:cubicBezTo>
                  <a:pt x="538" y="775"/>
                  <a:pt x="538" y="775"/>
                  <a:pt x="538" y="774"/>
                </a:cubicBezTo>
                <a:cubicBezTo>
                  <a:pt x="538" y="774"/>
                  <a:pt x="538" y="774"/>
                  <a:pt x="537" y="774"/>
                </a:cubicBezTo>
                <a:cubicBezTo>
                  <a:pt x="537" y="773"/>
                  <a:pt x="537" y="773"/>
                  <a:pt x="537" y="772"/>
                </a:cubicBezTo>
                <a:cubicBezTo>
                  <a:pt x="537" y="772"/>
                  <a:pt x="537" y="771"/>
                  <a:pt x="537" y="770"/>
                </a:cubicBezTo>
                <a:cubicBezTo>
                  <a:pt x="539" y="770"/>
                  <a:pt x="538" y="766"/>
                  <a:pt x="538" y="765"/>
                </a:cubicBezTo>
                <a:cubicBezTo>
                  <a:pt x="539" y="764"/>
                  <a:pt x="538" y="765"/>
                  <a:pt x="538" y="766"/>
                </a:cubicBezTo>
                <a:cubicBezTo>
                  <a:pt x="538" y="767"/>
                  <a:pt x="538" y="769"/>
                  <a:pt x="539" y="770"/>
                </a:cubicBezTo>
                <a:cubicBezTo>
                  <a:pt x="539" y="771"/>
                  <a:pt x="540" y="773"/>
                  <a:pt x="541" y="773"/>
                </a:cubicBezTo>
                <a:cubicBezTo>
                  <a:pt x="541" y="773"/>
                  <a:pt x="541" y="774"/>
                  <a:pt x="541" y="774"/>
                </a:cubicBezTo>
                <a:cubicBezTo>
                  <a:pt x="542" y="774"/>
                  <a:pt x="542" y="773"/>
                  <a:pt x="543" y="774"/>
                </a:cubicBezTo>
                <a:cubicBezTo>
                  <a:pt x="543" y="774"/>
                  <a:pt x="544" y="775"/>
                  <a:pt x="545" y="776"/>
                </a:cubicBezTo>
                <a:cubicBezTo>
                  <a:pt x="545" y="776"/>
                  <a:pt x="546" y="776"/>
                  <a:pt x="546" y="776"/>
                </a:cubicBezTo>
                <a:cubicBezTo>
                  <a:pt x="546" y="776"/>
                  <a:pt x="547" y="777"/>
                  <a:pt x="547" y="777"/>
                </a:cubicBezTo>
                <a:cubicBezTo>
                  <a:pt x="548" y="777"/>
                  <a:pt x="549" y="777"/>
                  <a:pt x="549" y="777"/>
                </a:cubicBezTo>
                <a:cubicBezTo>
                  <a:pt x="550" y="777"/>
                  <a:pt x="550" y="776"/>
                  <a:pt x="551" y="776"/>
                </a:cubicBezTo>
                <a:cubicBezTo>
                  <a:pt x="552" y="776"/>
                  <a:pt x="553" y="777"/>
                  <a:pt x="555" y="777"/>
                </a:cubicBezTo>
                <a:cubicBezTo>
                  <a:pt x="555" y="777"/>
                  <a:pt x="556" y="777"/>
                  <a:pt x="556" y="776"/>
                </a:cubicBezTo>
                <a:cubicBezTo>
                  <a:pt x="556" y="776"/>
                  <a:pt x="557" y="776"/>
                  <a:pt x="558" y="775"/>
                </a:cubicBezTo>
                <a:cubicBezTo>
                  <a:pt x="558" y="775"/>
                  <a:pt x="558" y="775"/>
                  <a:pt x="559" y="775"/>
                </a:cubicBezTo>
                <a:cubicBezTo>
                  <a:pt x="559" y="775"/>
                  <a:pt x="559" y="774"/>
                  <a:pt x="559" y="774"/>
                </a:cubicBezTo>
                <a:cubicBezTo>
                  <a:pt x="560" y="773"/>
                  <a:pt x="560" y="774"/>
                  <a:pt x="560" y="773"/>
                </a:cubicBezTo>
                <a:cubicBezTo>
                  <a:pt x="560" y="772"/>
                  <a:pt x="561" y="772"/>
                  <a:pt x="561" y="771"/>
                </a:cubicBezTo>
                <a:cubicBezTo>
                  <a:pt x="561" y="770"/>
                  <a:pt x="562" y="770"/>
                  <a:pt x="562" y="769"/>
                </a:cubicBezTo>
                <a:cubicBezTo>
                  <a:pt x="563" y="769"/>
                  <a:pt x="562" y="769"/>
                  <a:pt x="563" y="768"/>
                </a:cubicBezTo>
                <a:cubicBezTo>
                  <a:pt x="563" y="768"/>
                  <a:pt x="564" y="768"/>
                  <a:pt x="564" y="767"/>
                </a:cubicBezTo>
                <a:cubicBezTo>
                  <a:pt x="564" y="766"/>
                  <a:pt x="564" y="767"/>
                  <a:pt x="565" y="766"/>
                </a:cubicBezTo>
                <a:cubicBezTo>
                  <a:pt x="565" y="765"/>
                  <a:pt x="566" y="764"/>
                  <a:pt x="564" y="763"/>
                </a:cubicBezTo>
                <a:cubicBezTo>
                  <a:pt x="564" y="763"/>
                  <a:pt x="564" y="762"/>
                  <a:pt x="565" y="762"/>
                </a:cubicBezTo>
                <a:cubicBezTo>
                  <a:pt x="566" y="761"/>
                  <a:pt x="565" y="761"/>
                  <a:pt x="566" y="760"/>
                </a:cubicBezTo>
                <a:cubicBezTo>
                  <a:pt x="566" y="760"/>
                  <a:pt x="567" y="760"/>
                  <a:pt x="567" y="760"/>
                </a:cubicBezTo>
                <a:cubicBezTo>
                  <a:pt x="567" y="759"/>
                  <a:pt x="567" y="759"/>
                  <a:pt x="568" y="758"/>
                </a:cubicBezTo>
                <a:cubicBezTo>
                  <a:pt x="568" y="757"/>
                  <a:pt x="568" y="756"/>
                  <a:pt x="569" y="756"/>
                </a:cubicBezTo>
                <a:cubicBezTo>
                  <a:pt x="570" y="756"/>
                  <a:pt x="569" y="755"/>
                  <a:pt x="570" y="755"/>
                </a:cubicBezTo>
                <a:cubicBezTo>
                  <a:pt x="571" y="755"/>
                  <a:pt x="571" y="752"/>
                  <a:pt x="571" y="751"/>
                </a:cubicBezTo>
                <a:cubicBezTo>
                  <a:pt x="572" y="751"/>
                  <a:pt x="573" y="751"/>
                  <a:pt x="573" y="752"/>
                </a:cubicBezTo>
                <a:cubicBezTo>
                  <a:pt x="573" y="753"/>
                  <a:pt x="574" y="751"/>
                  <a:pt x="575" y="751"/>
                </a:cubicBezTo>
                <a:cubicBezTo>
                  <a:pt x="575" y="751"/>
                  <a:pt x="575" y="751"/>
                  <a:pt x="575" y="751"/>
                </a:cubicBezTo>
                <a:cubicBezTo>
                  <a:pt x="575" y="752"/>
                  <a:pt x="575" y="753"/>
                  <a:pt x="575" y="754"/>
                </a:cubicBezTo>
                <a:cubicBezTo>
                  <a:pt x="575" y="756"/>
                  <a:pt x="574" y="755"/>
                  <a:pt x="574" y="756"/>
                </a:cubicBezTo>
                <a:cubicBezTo>
                  <a:pt x="574" y="757"/>
                  <a:pt x="573" y="756"/>
                  <a:pt x="573" y="757"/>
                </a:cubicBezTo>
                <a:cubicBezTo>
                  <a:pt x="573" y="757"/>
                  <a:pt x="573" y="757"/>
                  <a:pt x="573" y="757"/>
                </a:cubicBezTo>
                <a:cubicBezTo>
                  <a:pt x="573" y="757"/>
                  <a:pt x="573" y="758"/>
                  <a:pt x="572" y="758"/>
                </a:cubicBezTo>
                <a:cubicBezTo>
                  <a:pt x="573" y="759"/>
                  <a:pt x="573" y="758"/>
                  <a:pt x="573" y="758"/>
                </a:cubicBezTo>
                <a:cubicBezTo>
                  <a:pt x="574" y="757"/>
                  <a:pt x="574" y="757"/>
                  <a:pt x="574" y="757"/>
                </a:cubicBezTo>
                <a:cubicBezTo>
                  <a:pt x="574" y="756"/>
                  <a:pt x="575" y="756"/>
                  <a:pt x="575" y="756"/>
                </a:cubicBezTo>
                <a:cubicBezTo>
                  <a:pt x="575" y="755"/>
                  <a:pt x="575" y="755"/>
                  <a:pt x="575" y="755"/>
                </a:cubicBezTo>
                <a:cubicBezTo>
                  <a:pt x="575" y="755"/>
                  <a:pt x="575" y="755"/>
                  <a:pt x="575" y="755"/>
                </a:cubicBezTo>
                <a:cubicBezTo>
                  <a:pt x="575" y="754"/>
                  <a:pt x="575" y="754"/>
                  <a:pt x="575" y="754"/>
                </a:cubicBezTo>
                <a:cubicBezTo>
                  <a:pt x="575" y="753"/>
                  <a:pt x="576" y="754"/>
                  <a:pt x="576" y="753"/>
                </a:cubicBezTo>
                <a:cubicBezTo>
                  <a:pt x="576" y="753"/>
                  <a:pt x="576" y="753"/>
                  <a:pt x="576" y="752"/>
                </a:cubicBezTo>
                <a:cubicBezTo>
                  <a:pt x="576" y="752"/>
                  <a:pt x="576" y="752"/>
                  <a:pt x="576" y="752"/>
                </a:cubicBezTo>
                <a:cubicBezTo>
                  <a:pt x="576" y="752"/>
                  <a:pt x="576" y="752"/>
                  <a:pt x="576" y="752"/>
                </a:cubicBezTo>
                <a:cubicBezTo>
                  <a:pt x="576" y="751"/>
                  <a:pt x="576" y="752"/>
                  <a:pt x="577" y="751"/>
                </a:cubicBezTo>
                <a:cubicBezTo>
                  <a:pt x="577" y="751"/>
                  <a:pt x="577" y="751"/>
                  <a:pt x="577" y="751"/>
                </a:cubicBezTo>
                <a:cubicBezTo>
                  <a:pt x="577" y="750"/>
                  <a:pt x="577" y="751"/>
                  <a:pt x="577" y="750"/>
                </a:cubicBezTo>
                <a:cubicBezTo>
                  <a:pt x="577" y="749"/>
                  <a:pt x="577" y="749"/>
                  <a:pt x="577" y="748"/>
                </a:cubicBezTo>
                <a:cubicBezTo>
                  <a:pt x="578" y="747"/>
                  <a:pt x="578" y="747"/>
                  <a:pt x="579" y="746"/>
                </a:cubicBezTo>
                <a:cubicBezTo>
                  <a:pt x="579" y="746"/>
                  <a:pt x="579" y="746"/>
                  <a:pt x="579" y="746"/>
                </a:cubicBezTo>
                <a:cubicBezTo>
                  <a:pt x="579" y="745"/>
                  <a:pt x="580" y="745"/>
                  <a:pt x="580" y="744"/>
                </a:cubicBezTo>
                <a:cubicBezTo>
                  <a:pt x="580" y="744"/>
                  <a:pt x="580" y="744"/>
                  <a:pt x="580" y="744"/>
                </a:cubicBezTo>
                <a:cubicBezTo>
                  <a:pt x="580" y="744"/>
                  <a:pt x="581" y="743"/>
                  <a:pt x="581" y="743"/>
                </a:cubicBezTo>
                <a:cubicBezTo>
                  <a:pt x="582" y="743"/>
                  <a:pt x="582" y="742"/>
                  <a:pt x="582" y="742"/>
                </a:cubicBezTo>
                <a:cubicBezTo>
                  <a:pt x="583" y="742"/>
                  <a:pt x="583" y="742"/>
                  <a:pt x="583" y="741"/>
                </a:cubicBezTo>
                <a:cubicBezTo>
                  <a:pt x="583" y="741"/>
                  <a:pt x="583" y="740"/>
                  <a:pt x="583" y="740"/>
                </a:cubicBezTo>
                <a:cubicBezTo>
                  <a:pt x="584" y="740"/>
                  <a:pt x="584" y="739"/>
                  <a:pt x="584" y="739"/>
                </a:cubicBezTo>
                <a:cubicBezTo>
                  <a:pt x="584" y="738"/>
                  <a:pt x="583" y="737"/>
                  <a:pt x="584" y="737"/>
                </a:cubicBezTo>
                <a:cubicBezTo>
                  <a:pt x="584" y="736"/>
                  <a:pt x="584" y="736"/>
                  <a:pt x="584" y="736"/>
                </a:cubicBezTo>
                <a:cubicBezTo>
                  <a:pt x="584" y="734"/>
                  <a:pt x="584" y="736"/>
                  <a:pt x="584" y="735"/>
                </a:cubicBezTo>
                <a:cubicBezTo>
                  <a:pt x="584" y="735"/>
                  <a:pt x="584" y="734"/>
                  <a:pt x="584" y="733"/>
                </a:cubicBezTo>
                <a:cubicBezTo>
                  <a:pt x="584" y="732"/>
                  <a:pt x="584" y="733"/>
                  <a:pt x="584" y="732"/>
                </a:cubicBezTo>
                <a:cubicBezTo>
                  <a:pt x="584" y="732"/>
                  <a:pt x="583" y="732"/>
                  <a:pt x="583" y="732"/>
                </a:cubicBezTo>
                <a:cubicBezTo>
                  <a:pt x="583" y="731"/>
                  <a:pt x="583" y="731"/>
                  <a:pt x="583" y="730"/>
                </a:cubicBezTo>
                <a:cubicBezTo>
                  <a:pt x="582" y="731"/>
                  <a:pt x="583" y="729"/>
                  <a:pt x="583" y="728"/>
                </a:cubicBezTo>
                <a:cubicBezTo>
                  <a:pt x="583" y="728"/>
                  <a:pt x="583" y="727"/>
                  <a:pt x="583" y="727"/>
                </a:cubicBezTo>
                <a:cubicBezTo>
                  <a:pt x="584" y="726"/>
                  <a:pt x="582" y="726"/>
                  <a:pt x="582" y="726"/>
                </a:cubicBezTo>
                <a:cubicBezTo>
                  <a:pt x="582" y="725"/>
                  <a:pt x="583" y="726"/>
                  <a:pt x="583" y="725"/>
                </a:cubicBezTo>
                <a:cubicBezTo>
                  <a:pt x="583" y="724"/>
                  <a:pt x="583" y="724"/>
                  <a:pt x="584" y="724"/>
                </a:cubicBezTo>
                <a:cubicBezTo>
                  <a:pt x="584" y="723"/>
                  <a:pt x="584" y="722"/>
                  <a:pt x="583" y="722"/>
                </a:cubicBezTo>
                <a:cubicBezTo>
                  <a:pt x="584" y="721"/>
                  <a:pt x="585" y="721"/>
                  <a:pt x="586" y="721"/>
                </a:cubicBezTo>
                <a:cubicBezTo>
                  <a:pt x="586" y="719"/>
                  <a:pt x="588" y="719"/>
                  <a:pt x="589" y="718"/>
                </a:cubicBezTo>
                <a:cubicBezTo>
                  <a:pt x="590" y="717"/>
                  <a:pt x="590" y="718"/>
                  <a:pt x="591" y="718"/>
                </a:cubicBezTo>
                <a:cubicBezTo>
                  <a:pt x="591" y="718"/>
                  <a:pt x="591" y="717"/>
                  <a:pt x="591" y="717"/>
                </a:cubicBezTo>
                <a:cubicBezTo>
                  <a:pt x="591" y="717"/>
                  <a:pt x="592" y="717"/>
                  <a:pt x="592" y="717"/>
                </a:cubicBezTo>
                <a:cubicBezTo>
                  <a:pt x="592" y="717"/>
                  <a:pt x="593" y="716"/>
                  <a:pt x="593" y="716"/>
                </a:cubicBezTo>
                <a:cubicBezTo>
                  <a:pt x="594" y="716"/>
                  <a:pt x="595" y="715"/>
                  <a:pt x="595" y="714"/>
                </a:cubicBezTo>
                <a:cubicBezTo>
                  <a:pt x="595" y="713"/>
                  <a:pt x="597" y="714"/>
                  <a:pt x="597" y="713"/>
                </a:cubicBezTo>
                <a:cubicBezTo>
                  <a:pt x="598" y="713"/>
                  <a:pt x="598" y="714"/>
                  <a:pt x="599" y="713"/>
                </a:cubicBezTo>
                <a:cubicBezTo>
                  <a:pt x="600" y="712"/>
                  <a:pt x="602" y="712"/>
                  <a:pt x="603" y="712"/>
                </a:cubicBezTo>
                <a:cubicBezTo>
                  <a:pt x="603" y="711"/>
                  <a:pt x="602" y="710"/>
                  <a:pt x="602" y="710"/>
                </a:cubicBezTo>
                <a:cubicBezTo>
                  <a:pt x="602" y="710"/>
                  <a:pt x="604" y="710"/>
                  <a:pt x="604" y="709"/>
                </a:cubicBezTo>
                <a:cubicBezTo>
                  <a:pt x="604" y="709"/>
                  <a:pt x="604" y="709"/>
                  <a:pt x="604" y="709"/>
                </a:cubicBezTo>
                <a:cubicBezTo>
                  <a:pt x="605" y="708"/>
                  <a:pt x="605" y="709"/>
                  <a:pt x="606" y="709"/>
                </a:cubicBezTo>
                <a:cubicBezTo>
                  <a:pt x="606" y="709"/>
                  <a:pt x="606" y="709"/>
                  <a:pt x="606" y="708"/>
                </a:cubicBezTo>
                <a:cubicBezTo>
                  <a:pt x="607" y="708"/>
                  <a:pt x="607" y="708"/>
                  <a:pt x="607" y="708"/>
                </a:cubicBezTo>
                <a:cubicBezTo>
                  <a:pt x="608" y="708"/>
                  <a:pt x="607" y="708"/>
                  <a:pt x="608" y="708"/>
                </a:cubicBezTo>
                <a:cubicBezTo>
                  <a:pt x="608" y="708"/>
                  <a:pt x="609" y="708"/>
                  <a:pt x="609" y="708"/>
                </a:cubicBezTo>
                <a:cubicBezTo>
                  <a:pt x="610" y="708"/>
                  <a:pt x="610" y="708"/>
                  <a:pt x="611" y="708"/>
                </a:cubicBezTo>
                <a:cubicBezTo>
                  <a:pt x="611" y="707"/>
                  <a:pt x="611" y="707"/>
                  <a:pt x="611" y="706"/>
                </a:cubicBezTo>
                <a:cubicBezTo>
                  <a:pt x="611" y="706"/>
                  <a:pt x="612" y="706"/>
                  <a:pt x="612" y="706"/>
                </a:cubicBezTo>
                <a:cubicBezTo>
                  <a:pt x="612" y="707"/>
                  <a:pt x="613" y="707"/>
                  <a:pt x="613" y="708"/>
                </a:cubicBezTo>
                <a:cubicBezTo>
                  <a:pt x="614" y="708"/>
                  <a:pt x="615" y="708"/>
                  <a:pt x="615" y="707"/>
                </a:cubicBezTo>
                <a:cubicBezTo>
                  <a:pt x="616" y="707"/>
                  <a:pt x="616" y="707"/>
                  <a:pt x="616" y="706"/>
                </a:cubicBezTo>
                <a:cubicBezTo>
                  <a:pt x="617" y="706"/>
                  <a:pt x="616" y="704"/>
                  <a:pt x="617" y="704"/>
                </a:cubicBezTo>
                <a:cubicBezTo>
                  <a:pt x="618" y="704"/>
                  <a:pt x="618" y="704"/>
                  <a:pt x="619" y="703"/>
                </a:cubicBezTo>
                <a:cubicBezTo>
                  <a:pt x="619" y="703"/>
                  <a:pt x="619" y="702"/>
                  <a:pt x="619" y="702"/>
                </a:cubicBezTo>
                <a:cubicBezTo>
                  <a:pt x="619" y="702"/>
                  <a:pt x="619" y="702"/>
                  <a:pt x="619" y="702"/>
                </a:cubicBezTo>
                <a:cubicBezTo>
                  <a:pt x="619" y="701"/>
                  <a:pt x="619" y="701"/>
                  <a:pt x="619" y="701"/>
                </a:cubicBezTo>
                <a:cubicBezTo>
                  <a:pt x="618" y="701"/>
                  <a:pt x="618" y="700"/>
                  <a:pt x="618" y="699"/>
                </a:cubicBezTo>
                <a:cubicBezTo>
                  <a:pt x="618" y="698"/>
                  <a:pt x="619" y="697"/>
                  <a:pt x="620" y="697"/>
                </a:cubicBezTo>
                <a:cubicBezTo>
                  <a:pt x="621" y="696"/>
                  <a:pt x="620" y="694"/>
                  <a:pt x="621" y="694"/>
                </a:cubicBezTo>
                <a:cubicBezTo>
                  <a:pt x="622" y="693"/>
                  <a:pt x="622" y="693"/>
                  <a:pt x="623" y="692"/>
                </a:cubicBezTo>
                <a:cubicBezTo>
                  <a:pt x="623" y="691"/>
                  <a:pt x="623" y="691"/>
                  <a:pt x="623" y="690"/>
                </a:cubicBezTo>
                <a:cubicBezTo>
                  <a:pt x="623" y="690"/>
                  <a:pt x="624" y="690"/>
                  <a:pt x="624" y="690"/>
                </a:cubicBezTo>
                <a:cubicBezTo>
                  <a:pt x="624" y="689"/>
                  <a:pt x="624" y="689"/>
                  <a:pt x="625" y="688"/>
                </a:cubicBezTo>
                <a:cubicBezTo>
                  <a:pt x="625" y="688"/>
                  <a:pt x="626" y="688"/>
                  <a:pt x="626" y="687"/>
                </a:cubicBezTo>
                <a:cubicBezTo>
                  <a:pt x="626" y="687"/>
                  <a:pt x="626" y="687"/>
                  <a:pt x="626" y="686"/>
                </a:cubicBezTo>
                <a:cubicBezTo>
                  <a:pt x="628" y="685"/>
                  <a:pt x="627" y="682"/>
                  <a:pt x="627" y="680"/>
                </a:cubicBezTo>
                <a:cubicBezTo>
                  <a:pt x="627" y="679"/>
                  <a:pt x="631" y="678"/>
                  <a:pt x="630" y="677"/>
                </a:cubicBezTo>
                <a:cubicBezTo>
                  <a:pt x="630" y="676"/>
                  <a:pt x="629" y="676"/>
                  <a:pt x="629" y="676"/>
                </a:cubicBezTo>
                <a:cubicBezTo>
                  <a:pt x="629" y="675"/>
                  <a:pt x="629" y="675"/>
                  <a:pt x="630" y="675"/>
                </a:cubicBezTo>
                <a:cubicBezTo>
                  <a:pt x="630" y="674"/>
                  <a:pt x="629" y="674"/>
                  <a:pt x="629" y="674"/>
                </a:cubicBezTo>
                <a:cubicBezTo>
                  <a:pt x="629" y="673"/>
                  <a:pt x="629" y="672"/>
                  <a:pt x="630" y="671"/>
                </a:cubicBezTo>
                <a:cubicBezTo>
                  <a:pt x="630" y="671"/>
                  <a:pt x="631" y="671"/>
                  <a:pt x="631" y="670"/>
                </a:cubicBezTo>
                <a:cubicBezTo>
                  <a:pt x="631" y="670"/>
                  <a:pt x="631" y="670"/>
                  <a:pt x="631" y="670"/>
                </a:cubicBezTo>
                <a:cubicBezTo>
                  <a:pt x="631" y="669"/>
                  <a:pt x="631" y="668"/>
                  <a:pt x="631" y="668"/>
                </a:cubicBezTo>
                <a:cubicBezTo>
                  <a:pt x="631" y="668"/>
                  <a:pt x="631" y="667"/>
                  <a:pt x="631" y="666"/>
                </a:cubicBezTo>
                <a:cubicBezTo>
                  <a:pt x="631" y="666"/>
                  <a:pt x="631" y="666"/>
                  <a:pt x="631" y="666"/>
                </a:cubicBezTo>
                <a:cubicBezTo>
                  <a:pt x="631" y="666"/>
                  <a:pt x="631" y="666"/>
                  <a:pt x="631" y="665"/>
                </a:cubicBezTo>
                <a:cubicBezTo>
                  <a:pt x="631" y="665"/>
                  <a:pt x="631" y="664"/>
                  <a:pt x="631" y="663"/>
                </a:cubicBezTo>
                <a:cubicBezTo>
                  <a:pt x="630" y="662"/>
                  <a:pt x="631" y="659"/>
                  <a:pt x="630" y="659"/>
                </a:cubicBezTo>
                <a:cubicBezTo>
                  <a:pt x="630" y="658"/>
                  <a:pt x="631" y="656"/>
                  <a:pt x="631" y="655"/>
                </a:cubicBezTo>
                <a:cubicBezTo>
                  <a:pt x="630" y="655"/>
                  <a:pt x="630" y="655"/>
                  <a:pt x="629" y="655"/>
                </a:cubicBezTo>
                <a:cubicBezTo>
                  <a:pt x="630" y="654"/>
                  <a:pt x="630" y="654"/>
                  <a:pt x="631" y="653"/>
                </a:cubicBezTo>
                <a:cubicBezTo>
                  <a:pt x="631" y="653"/>
                  <a:pt x="630" y="653"/>
                  <a:pt x="630" y="652"/>
                </a:cubicBezTo>
                <a:cubicBezTo>
                  <a:pt x="631" y="652"/>
                  <a:pt x="631" y="652"/>
                  <a:pt x="631" y="652"/>
                </a:cubicBezTo>
                <a:cubicBezTo>
                  <a:pt x="631" y="651"/>
                  <a:pt x="631" y="651"/>
                  <a:pt x="631" y="651"/>
                </a:cubicBezTo>
                <a:cubicBezTo>
                  <a:pt x="631" y="650"/>
                  <a:pt x="632" y="650"/>
                  <a:pt x="632" y="650"/>
                </a:cubicBezTo>
                <a:cubicBezTo>
                  <a:pt x="632" y="650"/>
                  <a:pt x="632" y="648"/>
                  <a:pt x="633" y="648"/>
                </a:cubicBezTo>
                <a:cubicBezTo>
                  <a:pt x="633" y="648"/>
                  <a:pt x="633" y="647"/>
                  <a:pt x="632" y="647"/>
                </a:cubicBezTo>
                <a:cubicBezTo>
                  <a:pt x="634" y="647"/>
                  <a:pt x="634" y="648"/>
                  <a:pt x="635" y="649"/>
                </a:cubicBezTo>
                <a:cubicBezTo>
                  <a:pt x="636" y="648"/>
                  <a:pt x="636" y="647"/>
                  <a:pt x="636" y="647"/>
                </a:cubicBezTo>
                <a:cubicBezTo>
                  <a:pt x="636" y="646"/>
                  <a:pt x="637" y="646"/>
                  <a:pt x="637" y="646"/>
                </a:cubicBezTo>
                <a:cubicBezTo>
                  <a:pt x="637" y="645"/>
                  <a:pt x="638" y="645"/>
                  <a:pt x="638" y="644"/>
                </a:cubicBezTo>
                <a:cubicBezTo>
                  <a:pt x="638" y="643"/>
                  <a:pt x="638" y="642"/>
                  <a:pt x="638" y="642"/>
                </a:cubicBezTo>
                <a:cubicBezTo>
                  <a:pt x="638" y="642"/>
                  <a:pt x="639" y="642"/>
                  <a:pt x="639" y="642"/>
                </a:cubicBezTo>
                <a:cubicBezTo>
                  <a:pt x="639" y="640"/>
                  <a:pt x="640" y="641"/>
                  <a:pt x="640" y="639"/>
                </a:cubicBezTo>
                <a:cubicBezTo>
                  <a:pt x="640" y="638"/>
                  <a:pt x="641" y="637"/>
                  <a:pt x="642" y="636"/>
                </a:cubicBezTo>
                <a:cubicBezTo>
                  <a:pt x="642" y="636"/>
                  <a:pt x="642" y="636"/>
                  <a:pt x="642" y="635"/>
                </a:cubicBezTo>
                <a:cubicBezTo>
                  <a:pt x="643" y="635"/>
                  <a:pt x="643" y="636"/>
                  <a:pt x="643" y="635"/>
                </a:cubicBezTo>
                <a:cubicBezTo>
                  <a:pt x="644" y="634"/>
                  <a:pt x="644" y="634"/>
                  <a:pt x="646" y="634"/>
                </a:cubicBezTo>
                <a:cubicBezTo>
                  <a:pt x="646" y="633"/>
                  <a:pt x="648" y="631"/>
                  <a:pt x="648" y="631"/>
                </a:cubicBezTo>
                <a:cubicBezTo>
                  <a:pt x="649" y="631"/>
                  <a:pt x="649" y="630"/>
                  <a:pt x="649" y="630"/>
                </a:cubicBezTo>
                <a:cubicBezTo>
                  <a:pt x="649" y="629"/>
                  <a:pt x="649" y="629"/>
                  <a:pt x="650" y="629"/>
                </a:cubicBezTo>
                <a:cubicBezTo>
                  <a:pt x="650" y="629"/>
                  <a:pt x="650" y="628"/>
                  <a:pt x="650" y="628"/>
                </a:cubicBezTo>
                <a:cubicBezTo>
                  <a:pt x="650" y="628"/>
                  <a:pt x="650" y="628"/>
                  <a:pt x="650" y="628"/>
                </a:cubicBezTo>
                <a:cubicBezTo>
                  <a:pt x="650" y="628"/>
                  <a:pt x="650" y="627"/>
                  <a:pt x="650" y="627"/>
                </a:cubicBezTo>
                <a:cubicBezTo>
                  <a:pt x="650" y="627"/>
                  <a:pt x="650" y="627"/>
                  <a:pt x="650" y="627"/>
                </a:cubicBezTo>
                <a:cubicBezTo>
                  <a:pt x="651" y="627"/>
                  <a:pt x="651" y="626"/>
                  <a:pt x="651" y="625"/>
                </a:cubicBezTo>
                <a:cubicBezTo>
                  <a:pt x="651" y="625"/>
                  <a:pt x="651" y="625"/>
                  <a:pt x="651" y="625"/>
                </a:cubicBezTo>
                <a:cubicBezTo>
                  <a:pt x="651" y="624"/>
                  <a:pt x="652" y="624"/>
                  <a:pt x="652" y="624"/>
                </a:cubicBezTo>
                <a:cubicBezTo>
                  <a:pt x="652" y="623"/>
                  <a:pt x="652" y="624"/>
                  <a:pt x="652" y="623"/>
                </a:cubicBezTo>
                <a:cubicBezTo>
                  <a:pt x="652" y="623"/>
                  <a:pt x="652" y="622"/>
                  <a:pt x="652" y="622"/>
                </a:cubicBezTo>
                <a:cubicBezTo>
                  <a:pt x="652" y="621"/>
                  <a:pt x="652" y="621"/>
                  <a:pt x="652" y="621"/>
                </a:cubicBezTo>
                <a:cubicBezTo>
                  <a:pt x="653" y="619"/>
                  <a:pt x="652" y="621"/>
                  <a:pt x="652" y="621"/>
                </a:cubicBezTo>
                <a:close/>
                <a:moveTo>
                  <a:pt x="360" y="107"/>
                </a:moveTo>
                <a:cubicBezTo>
                  <a:pt x="361" y="107"/>
                  <a:pt x="360" y="105"/>
                  <a:pt x="360" y="105"/>
                </a:cubicBezTo>
                <a:cubicBezTo>
                  <a:pt x="360" y="104"/>
                  <a:pt x="360" y="104"/>
                  <a:pt x="360" y="103"/>
                </a:cubicBezTo>
                <a:cubicBezTo>
                  <a:pt x="360" y="103"/>
                  <a:pt x="359" y="103"/>
                  <a:pt x="359" y="102"/>
                </a:cubicBezTo>
                <a:cubicBezTo>
                  <a:pt x="358" y="103"/>
                  <a:pt x="357" y="104"/>
                  <a:pt x="356" y="104"/>
                </a:cubicBezTo>
                <a:cubicBezTo>
                  <a:pt x="356" y="104"/>
                  <a:pt x="356" y="103"/>
                  <a:pt x="356" y="103"/>
                </a:cubicBezTo>
                <a:cubicBezTo>
                  <a:pt x="354" y="102"/>
                  <a:pt x="355" y="101"/>
                  <a:pt x="354" y="100"/>
                </a:cubicBezTo>
                <a:cubicBezTo>
                  <a:pt x="354" y="100"/>
                  <a:pt x="354" y="100"/>
                  <a:pt x="353" y="101"/>
                </a:cubicBezTo>
                <a:cubicBezTo>
                  <a:pt x="353" y="101"/>
                  <a:pt x="353" y="101"/>
                  <a:pt x="352" y="101"/>
                </a:cubicBezTo>
                <a:cubicBezTo>
                  <a:pt x="352" y="101"/>
                  <a:pt x="351" y="101"/>
                  <a:pt x="351" y="101"/>
                </a:cubicBezTo>
                <a:cubicBezTo>
                  <a:pt x="351" y="100"/>
                  <a:pt x="352" y="98"/>
                  <a:pt x="350" y="99"/>
                </a:cubicBezTo>
                <a:cubicBezTo>
                  <a:pt x="351" y="97"/>
                  <a:pt x="354" y="97"/>
                  <a:pt x="355" y="97"/>
                </a:cubicBezTo>
                <a:cubicBezTo>
                  <a:pt x="355" y="97"/>
                  <a:pt x="355" y="96"/>
                  <a:pt x="355" y="95"/>
                </a:cubicBezTo>
                <a:cubicBezTo>
                  <a:pt x="355" y="94"/>
                  <a:pt x="355" y="94"/>
                  <a:pt x="355" y="94"/>
                </a:cubicBezTo>
                <a:cubicBezTo>
                  <a:pt x="354" y="94"/>
                  <a:pt x="354" y="94"/>
                  <a:pt x="353" y="93"/>
                </a:cubicBezTo>
                <a:cubicBezTo>
                  <a:pt x="352" y="92"/>
                  <a:pt x="351" y="93"/>
                  <a:pt x="349" y="93"/>
                </a:cubicBezTo>
                <a:cubicBezTo>
                  <a:pt x="349" y="93"/>
                  <a:pt x="349" y="94"/>
                  <a:pt x="348" y="94"/>
                </a:cubicBezTo>
                <a:cubicBezTo>
                  <a:pt x="348" y="94"/>
                  <a:pt x="346" y="94"/>
                  <a:pt x="346" y="94"/>
                </a:cubicBezTo>
                <a:cubicBezTo>
                  <a:pt x="346" y="93"/>
                  <a:pt x="352" y="92"/>
                  <a:pt x="352" y="91"/>
                </a:cubicBezTo>
                <a:cubicBezTo>
                  <a:pt x="352" y="89"/>
                  <a:pt x="352" y="90"/>
                  <a:pt x="350" y="90"/>
                </a:cubicBezTo>
                <a:cubicBezTo>
                  <a:pt x="349" y="90"/>
                  <a:pt x="350" y="91"/>
                  <a:pt x="349" y="91"/>
                </a:cubicBezTo>
                <a:cubicBezTo>
                  <a:pt x="348" y="91"/>
                  <a:pt x="348" y="91"/>
                  <a:pt x="348" y="92"/>
                </a:cubicBezTo>
                <a:cubicBezTo>
                  <a:pt x="347" y="92"/>
                  <a:pt x="347" y="92"/>
                  <a:pt x="346" y="92"/>
                </a:cubicBezTo>
                <a:cubicBezTo>
                  <a:pt x="346" y="92"/>
                  <a:pt x="345" y="92"/>
                  <a:pt x="345" y="92"/>
                </a:cubicBezTo>
                <a:cubicBezTo>
                  <a:pt x="345" y="93"/>
                  <a:pt x="345" y="92"/>
                  <a:pt x="345" y="92"/>
                </a:cubicBezTo>
                <a:cubicBezTo>
                  <a:pt x="344" y="92"/>
                  <a:pt x="344" y="92"/>
                  <a:pt x="344" y="92"/>
                </a:cubicBezTo>
                <a:cubicBezTo>
                  <a:pt x="343" y="92"/>
                  <a:pt x="344" y="93"/>
                  <a:pt x="343" y="93"/>
                </a:cubicBezTo>
                <a:cubicBezTo>
                  <a:pt x="343" y="93"/>
                  <a:pt x="343" y="93"/>
                  <a:pt x="343" y="93"/>
                </a:cubicBezTo>
                <a:cubicBezTo>
                  <a:pt x="344" y="93"/>
                  <a:pt x="343" y="94"/>
                  <a:pt x="344" y="94"/>
                </a:cubicBezTo>
                <a:cubicBezTo>
                  <a:pt x="344" y="94"/>
                  <a:pt x="344" y="94"/>
                  <a:pt x="345" y="94"/>
                </a:cubicBezTo>
                <a:cubicBezTo>
                  <a:pt x="344" y="94"/>
                  <a:pt x="344" y="95"/>
                  <a:pt x="343" y="94"/>
                </a:cubicBezTo>
                <a:cubicBezTo>
                  <a:pt x="343" y="94"/>
                  <a:pt x="342" y="94"/>
                  <a:pt x="341" y="94"/>
                </a:cubicBezTo>
                <a:cubicBezTo>
                  <a:pt x="340" y="94"/>
                  <a:pt x="340" y="93"/>
                  <a:pt x="340" y="92"/>
                </a:cubicBezTo>
                <a:cubicBezTo>
                  <a:pt x="340" y="93"/>
                  <a:pt x="339" y="93"/>
                  <a:pt x="339" y="93"/>
                </a:cubicBezTo>
                <a:cubicBezTo>
                  <a:pt x="339" y="93"/>
                  <a:pt x="338" y="93"/>
                  <a:pt x="338" y="93"/>
                </a:cubicBezTo>
                <a:cubicBezTo>
                  <a:pt x="337" y="94"/>
                  <a:pt x="337" y="94"/>
                  <a:pt x="336" y="95"/>
                </a:cubicBezTo>
                <a:cubicBezTo>
                  <a:pt x="335" y="96"/>
                  <a:pt x="335" y="97"/>
                  <a:pt x="336" y="98"/>
                </a:cubicBezTo>
                <a:cubicBezTo>
                  <a:pt x="336" y="98"/>
                  <a:pt x="336" y="98"/>
                  <a:pt x="336" y="98"/>
                </a:cubicBezTo>
                <a:cubicBezTo>
                  <a:pt x="337" y="98"/>
                  <a:pt x="337" y="98"/>
                  <a:pt x="338" y="98"/>
                </a:cubicBezTo>
                <a:cubicBezTo>
                  <a:pt x="339" y="98"/>
                  <a:pt x="338" y="99"/>
                  <a:pt x="339" y="99"/>
                </a:cubicBezTo>
                <a:cubicBezTo>
                  <a:pt x="340" y="99"/>
                  <a:pt x="340" y="99"/>
                  <a:pt x="341" y="99"/>
                </a:cubicBezTo>
                <a:cubicBezTo>
                  <a:pt x="341" y="100"/>
                  <a:pt x="341" y="102"/>
                  <a:pt x="340" y="101"/>
                </a:cubicBezTo>
                <a:cubicBezTo>
                  <a:pt x="340" y="103"/>
                  <a:pt x="341" y="104"/>
                  <a:pt x="339" y="104"/>
                </a:cubicBezTo>
                <a:cubicBezTo>
                  <a:pt x="339" y="104"/>
                  <a:pt x="337" y="104"/>
                  <a:pt x="337" y="103"/>
                </a:cubicBezTo>
                <a:cubicBezTo>
                  <a:pt x="336" y="103"/>
                  <a:pt x="334" y="103"/>
                  <a:pt x="333" y="104"/>
                </a:cubicBezTo>
                <a:cubicBezTo>
                  <a:pt x="333" y="103"/>
                  <a:pt x="332" y="103"/>
                  <a:pt x="332" y="102"/>
                </a:cubicBezTo>
                <a:cubicBezTo>
                  <a:pt x="332" y="102"/>
                  <a:pt x="331" y="101"/>
                  <a:pt x="331" y="100"/>
                </a:cubicBezTo>
                <a:cubicBezTo>
                  <a:pt x="330" y="101"/>
                  <a:pt x="329" y="101"/>
                  <a:pt x="328" y="101"/>
                </a:cubicBezTo>
                <a:cubicBezTo>
                  <a:pt x="328" y="101"/>
                  <a:pt x="328" y="101"/>
                  <a:pt x="328" y="102"/>
                </a:cubicBezTo>
                <a:cubicBezTo>
                  <a:pt x="328" y="103"/>
                  <a:pt x="328" y="103"/>
                  <a:pt x="329" y="104"/>
                </a:cubicBezTo>
                <a:cubicBezTo>
                  <a:pt x="328" y="104"/>
                  <a:pt x="328" y="104"/>
                  <a:pt x="328" y="104"/>
                </a:cubicBezTo>
                <a:cubicBezTo>
                  <a:pt x="328" y="105"/>
                  <a:pt x="331" y="106"/>
                  <a:pt x="331" y="107"/>
                </a:cubicBezTo>
                <a:cubicBezTo>
                  <a:pt x="331" y="108"/>
                  <a:pt x="331" y="108"/>
                  <a:pt x="332" y="108"/>
                </a:cubicBezTo>
                <a:cubicBezTo>
                  <a:pt x="333" y="108"/>
                  <a:pt x="333" y="108"/>
                  <a:pt x="333" y="108"/>
                </a:cubicBezTo>
                <a:cubicBezTo>
                  <a:pt x="334" y="109"/>
                  <a:pt x="334" y="108"/>
                  <a:pt x="335" y="109"/>
                </a:cubicBezTo>
                <a:cubicBezTo>
                  <a:pt x="335" y="108"/>
                  <a:pt x="335" y="108"/>
                  <a:pt x="335" y="108"/>
                </a:cubicBezTo>
                <a:cubicBezTo>
                  <a:pt x="335" y="107"/>
                  <a:pt x="335" y="108"/>
                  <a:pt x="336" y="107"/>
                </a:cubicBezTo>
                <a:cubicBezTo>
                  <a:pt x="336" y="107"/>
                  <a:pt x="337" y="107"/>
                  <a:pt x="338" y="108"/>
                </a:cubicBezTo>
                <a:cubicBezTo>
                  <a:pt x="338" y="109"/>
                  <a:pt x="339" y="109"/>
                  <a:pt x="339" y="109"/>
                </a:cubicBezTo>
                <a:cubicBezTo>
                  <a:pt x="340" y="110"/>
                  <a:pt x="340" y="110"/>
                  <a:pt x="340" y="110"/>
                </a:cubicBezTo>
                <a:cubicBezTo>
                  <a:pt x="341" y="111"/>
                  <a:pt x="342" y="111"/>
                  <a:pt x="342" y="111"/>
                </a:cubicBezTo>
                <a:cubicBezTo>
                  <a:pt x="342" y="111"/>
                  <a:pt x="342" y="111"/>
                  <a:pt x="342" y="111"/>
                </a:cubicBezTo>
                <a:cubicBezTo>
                  <a:pt x="343" y="111"/>
                  <a:pt x="343" y="112"/>
                  <a:pt x="344" y="112"/>
                </a:cubicBezTo>
                <a:cubicBezTo>
                  <a:pt x="345" y="113"/>
                  <a:pt x="344" y="114"/>
                  <a:pt x="345" y="115"/>
                </a:cubicBezTo>
                <a:cubicBezTo>
                  <a:pt x="346" y="115"/>
                  <a:pt x="345" y="116"/>
                  <a:pt x="346" y="116"/>
                </a:cubicBezTo>
                <a:cubicBezTo>
                  <a:pt x="347" y="117"/>
                  <a:pt x="347" y="117"/>
                  <a:pt x="348" y="116"/>
                </a:cubicBezTo>
                <a:cubicBezTo>
                  <a:pt x="349" y="116"/>
                  <a:pt x="350" y="115"/>
                  <a:pt x="351" y="114"/>
                </a:cubicBezTo>
                <a:cubicBezTo>
                  <a:pt x="352" y="112"/>
                  <a:pt x="353" y="114"/>
                  <a:pt x="354" y="113"/>
                </a:cubicBezTo>
                <a:cubicBezTo>
                  <a:pt x="356" y="112"/>
                  <a:pt x="357" y="111"/>
                  <a:pt x="359" y="111"/>
                </a:cubicBezTo>
                <a:cubicBezTo>
                  <a:pt x="359" y="111"/>
                  <a:pt x="359" y="110"/>
                  <a:pt x="359" y="110"/>
                </a:cubicBezTo>
                <a:cubicBezTo>
                  <a:pt x="359" y="109"/>
                  <a:pt x="360" y="110"/>
                  <a:pt x="360" y="109"/>
                </a:cubicBezTo>
                <a:cubicBezTo>
                  <a:pt x="360" y="108"/>
                  <a:pt x="360" y="108"/>
                  <a:pt x="360" y="107"/>
                </a:cubicBezTo>
                <a:close/>
                <a:moveTo>
                  <a:pt x="1074" y="90"/>
                </a:moveTo>
                <a:cubicBezTo>
                  <a:pt x="1076" y="90"/>
                  <a:pt x="1076" y="90"/>
                  <a:pt x="1074" y="89"/>
                </a:cubicBezTo>
                <a:cubicBezTo>
                  <a:pt x="1074" y="90"/>
                  <a:pt x="1074" y="90"/>
                  <a:pt x="1074" y="90"/>
                </a:cubicBezTo>
                <a:close/>
                <a:moveTo>
                  <a:pt x="714" y="90"/>
                </a:moveTo>
                <a:cubicBezTo>
                  <a:pt x="714" y="90"/>
                  <a:pt x="714" y="91"/>
                  <a:pt x="715" y="92"/>
                </a:cubicBezTo>
                <a:cubicBezTo>
                  <a:pt x="715" y="92"/>
                  <a:pt x="716" y="92"/>
                  <a:pt x="717" y="92"/>
                </a:cubicBezTo>
                <a:cubicBezTo>
                  <a:pt x="716" y="92"/>
                  <a:pt x="721" y="92"/>
                  <a:pt x="720" y="91"/>
                </a:cubicBezTo>
                <a:cubicBezTo>
                  <a:pt x="718" y="90"/>
                  <a:pt x="716" y="89"/>
                  <a:pt x="714" y="90"/>
                </a:cubicBezTo>
                <a:cubicBezTo>
                  <a:pt x="714" y="91"/>
                  <a:pt x="714" y="90"/>
                  <a:pt x="714" y="90"/>
                </a:cubicBezTo>
                <a:close/>
                <a:moveTo>
                  <a:pt x="362" y="88"/>
                </a:moveTo>
                <a:cubicBezTo>
                  <a:pt x="362" y="88"/>
                  <a:pt x="363" y="89"/>
                  <a:pt x="363" y="89"/>
                </a:cubicBezTo>
                <a:cubicBezTo>
                  <a:pt x="363" y="88"/>
                  <a:pt x="363" y="88"/>
                  <a:pt x="363" y="88"/>
                </a:cubicBezTo>
                <a:cubicBezTo>
                  <a:pt x="363" y="88"/>
                  <a:pt x="362" y="87"/>
                  <a:pt x="362" y="88"/>
                </a:cubicBezTo>
                <a:cubicBezTo>
                  <a:pt x="362" y="88"/>
                  <a:pt x="362" y="88"/>
                  <a:pt x="362" y="88"/>
                </a:cubicBezTo>
                <a:close/>
                <a:moveTo>
                  <a:pt x="549" y="88"/>
                </a:moveTo>
                <a:cubicBezTo>
                  <a:pt x="548" y="87"/>
                  <a:pt x="545" y="87"/>
                  <a:pt x="546" y="89"/>
                </a:cubicBezTo>
                <a:cubicBezTo>
                  <a:pt x="546" y="89"/>
                  <a:pt x="549" y="88"/>
                  <a:pt x="549" y="88"/>
                </a:cubicBezTo>
                <a:cubicBezTo>
                  <a:pt x="549" y="87"/>
                  <a:pt x="549" y="88"/>
                  <a:pt x="549" y="88"/>
                </a:cubicBezTo>
                <a:close/>
                <a:moveTo>
                  <a:pt x="729" y="87"/>
                </a:moveTo>
                <a:cubicBezTo>
                  <a:pt x="729" y="88"/>
                  <a:pt x="730" y="87"/>
                  <a:pt x="730" y="88"/>
                </a:cubicBezTo>
                <a:cubicBezTo>
                  <a:pt x="730" y="87"/>
                  <a:pt x="730" y="87"/>
                  <a:pt x="730" y="87"/>
                </a:cubicBezTo>
                <a:cubicBezTo>
                  <a:pt x="730" y="87"/>
                  <a:pt x="729" y="87"/>
                  <a:pt x="729" y="87"/>
                </a:cubicBezTo>
                <a:close/>
                <a:moveTo>
                  <a:pt x="354" y="87"/>
                </a:moveTo>
                <a:cubicBezTo>
                  <a:pt x="354" y="87"/>
                  <a:pt x="354" y="87"/>
                  <a:pt x="354" y="86"/>
                </a:cubicBezTo>
                <a:cubicBezTo>
                  <a:pt x="353" y="86"/>
                  <a:pt x="353" y="87"/>
                  <a:pt x="353" y="88"/>
                </a:cubicBezTo>
                <a:cubicBezTo>
                  <a:pt x="353" y="88"/>
                  <a:pt x="354" y="88"/>
                  <a:pt x="354" y="87"/>
                </a:cubicBezTo>
                <a:close/>
                <a:moveTo>
                  <a:pt x="230" y="115"/>
                </a:moveTo>
                <a:cubicBezTo>
                  <a:pt x="230" y="116"/>
                  <a:pt x="231" y="116"/>
                  <a:pt x="231" y="117"/>
                </a:cubicBezTo>
                <a:cubicBezTo>
                  <a:pt x="232" y="117"/>
                  <a:pt x="233" y="117"/>
                  <a:pt x="233" y="117"/>
                </a:cubicBezTo>
                <a:cubicBezTo>
                  <a:pt x="233" y="117"/>
                  <a:pt x="234" y="117"/>
                  <a:pt x="235" y="117"/>
                </a:cubicBezTo>
                <a:cubicBezTo>
                  <a:pt x="235" y="117"/>
                  <a:pt x="236" y="116"/>
                  <a:pt x="236" y="116"/>
                </a:cubicBezTo>
                <a:cubicBezTo>
                  <a:pt x="236" y="115"/>
                  <a:pt x="236" y="115"/>
                  <a:pt x="237" y="115"/>
                </a:cubicBezTo>
                <a:cubicBezTo>
                  <a:pt x="237" y="114"/>
                  <a:pt x="238" y="114"/>
                  <a:pt x="238" y="113"/>
                </a:cubicBezTo>
                <a:cubicBezTo>
                  <a:pt x="239" y="113"/>
                  <a:pt x="238" y="113"/>
                  <a:pt x="239" y="113"/>
                </a:cubicBezTo>
                <a:cubicBezTo>
                  <a:pt x="240" y="113"/>
                  <a:pt x="239" y="113"/>
                  <a:pt x="240" y="113"/>
                </a:cubicBezTo>
                <a:cubicBezTo>
                  <a:pt x="241" y="114"/>
                  <a:pt x="242" y="114"/>
                  <a:pt x="244" y="114"/>
                </a:cubicBezTo>
                <a:cubicBezTo>
                  <a:pt x="244" y="113"/>
                  <a:pt x="245" y="113"/>
                  <a:pt x="246" y="113"/>
                </a:cubicBezTo>
                <a:cubicBezTo>
                  <a:pt x="247" y="113"/>
                  <a:pt x="247" y="112"/>
                  <a:pt x="247" y="112"/>
                </a:cubicBezTo>
                <a:cubicBezTo>
                  <a:pt x="247" y="112"/>
                  <a:pt x="247" y="112"/>
                  <a:pt x="247" y="111"/>
                </a:cubicBezTo>
                <a:cubicBezTo>
                  <a:pt x="247" y="111"/>
                  <a:pt x="248" y="111"/>
                  <a:pt x="248" y="110"/>
                </a:cubicBezTo>
                <a:cubicBezTo>
                  <a:pt x="249" y="110"/>
                  <a:pt x="249" y="109"/>
                  <a:pt x="249" y="108"/>
                </a:cubicBezTo>
                <a:cubicBezTo>
                  <a:pt x="248" y="107"/>
                  <a:pt x="248" y="107"/>
                  <a:pt x="249" y="107"/>
                </a:cubicBezTo>
                <a:cubicBezTo>
                  <a:pt x="250" y="106"/>
                  <a:pt x="250" y="106"/>
                  <a:pt x="250" y="106"/>
                </a:cubicBezTo>
                <a:cubicBezTo>
                  <a:pt x="250" y="105"/>
                  <a:pt x="251" y="105"/>
                  <a:pt x="252" y="105"/>
                </a:cubicBezTo>
                <a:cubicBezTo>
                  <a:pt x="252" y="104"/>
                  <a:pt x="252" y="104"/>
                  <a:pt x="253" y="104"/>
                </a:cubicBezTo>
                <a:cubicBezTo>
                  <a:pt x="253" y="103"/>
                  <a:pt x="254" y="101"/>
                  <a:pt x="255" y="101"/>
                </a:cubicBezTo>
                <a:cubicBezTo>
                  <a:pt x="255" y="101"/>
                  <a:pt x="255" y="102"/>
                  <a:pt x="256" y="101"/>
                </a:cubicBezTo>
                <a:cubicBezTo>
                  <a:pt x="256" y="100"/>
                  <a:pt x="257" y="100"/>
                  <a:pt x="258" y="100"/>
                </a:cubicBezTo>
                <a:cubicBezTo>
                  <a:pt x="258" y="100"/>
                  <a:pt x="258" y="100"/>
                  <a:pt x="258" y="100"/>
                </a:cubicBezTo>
                <a:cubicBezTo>
                  <a:pt x="259" y="100"/>
                  <a:pt x="259" y="100"/>
                  <a:pt x="259" y="99"/>
                </a:cubicBezTo>
                <a:cubicBezTo>
                  <a:pt x="260" y="98"/>
                  <a:pt x="261" y="99"/>
                  <a:pt x="261" y="98"/>
                </a:cubicBezTo>
                <a:cubicBezTo>
                  <a:pt x="262" y="98"/>
                  <a:pt x="263" y="98"/>
                  <a:pt x="264" y="98"/>
                </a:cubicBezTo>
                <a:cubicBezTo>
                  <a:pt x="264" y="98"/>
                  <a:pt x="264" y="98"/>
                  <a:pt x="264" y="98"/>
                </a:cubicBezTo>
                <a:cubicBezTo>
                  <a:pt x="265" y="98"/>
                  <a:pt x="265" y="97"/>
                  <a:pt x="266" y="97"/>
                </a:cubicBezTo>
                <a:cubicBezTo>
                  <a:pt x="267" y="97"/>
                  <a:pt x="268" y="98"/>
                  <a:pt x="268" y="97"/>
                </a:cubicBezTo>
                <a:cubicBezTo>
                  <a:pt x="269" y="96"/>
                  <a:pt x="270" y="97"/>
                  <a:pt x="270" y="96"/>
                </a:cubicBezTo>
                <a:cubicBezTo>
                  <a:pt x="270" y="95"/>
                  <a:pt x="270" y="95"/>
                  <a:pt x="269" y="95"/>
                </a:cubicBezTo>
                <a:cubicBezTo>
                  <a:pt x="268" y="94"/>
                  <a:pt x="267" y="94"/>
                  <a:pt x="267" y="94"/>
                </a:cubicBezTo>
                <a:cubicBezTo>
                  <a:pt x="266" y="93"/>
                  <a:pt x="266" y="93"/>
                  <a:pt x="266" y="92"/>
                </a:cubicBezTo>
                <a:cubicBezTo>
                  <a:pt x="266" y="92"/>
                  <a:pt x="266" y="92"/>
                  <a:pt x="266" y="92"/>
                </a:cubicBezTo>
                <a:cubicBezTo>
                  <a:pt x="265" y="92"/>
                  <a:pt x="265" y="92"/>
                  <a:pt x="264" y="92"/>
                </a:cubicBezTo>
                <a:cubicBezTo>
                  <a:pt x="263" y="91"/>
                  <a:pt x="264" y="91"/>
                  <a:pt x="263" y="91"/>
                </a:cubicBezTo>
                <a:cubicBezTo>
                  <a:pt x="262" y="91"/>
                  <a:pt x="263" y="91"/>
                  <a:pt x="262" y="91"/>
                </a:cubicBezTo>
                <a:cubicBezTo>
                  <a:pt x="261" y="91"/>
                  <a:pt x="259" y="90"/>
                  <a:pt x="258" y="90"/>
                </a:cubicBezTo>
                <a:cubicBezTo>
                  <a:pt x="257" y="90"/>
                  <a:pt x="256" y="90"/>
                  <a:pt x="255" y="90"/>
                </a:cubicBezTo>
                <a:cubicBezTo>
                  <a:pt x="255" y="91"/>
                  <a:pt x="255" y="91"/>
                  <a:pt x="254" y="91"/>
                </a:cubicBezTo>
                <a:cubicBezTo>
                  <a:pt x="254" y="90"/>
                  <a:pt x="253" y="91"/>
                  <a:pt x="253" y="90"/>
                </a:cubicBezTo>
                <a:cubicBezTo>
                  <a:pt x="252" y="91"/>
                  <a:pt x="252" y="91"/>
                  <a:pt x="251" y="90"/>
                </a:cubicBezTo>
                <a:cubicBezTo>
                  <a:pt x="250" y="90"/>
                  <a:pt x="248" y="90"/>
                  <a:pt x="247" y="89"/>
                </a:cubicBezTo>
                <a:cubicBezTo>
                  <a:pt x="246" y="89"/>
                  <a:pt x="242" y="87"/>
                  <a:pt x="241" y="86"/>
                </a:cubicBezTo>
                <a:cubicBezTo>
                  <a:pt x="240" y="87"/>
                  <a:pt x="240" y="87"/>
                  <a:pt x="239" y="87"/>
                </a:cubicBezTo>
                <a:cubicBezTo>
                  <a:pt x="238" y="87"/>
                  <a:pt x="239" y="88"/>
                  <a:pt x="238" y="88"/>
                </a:cubicBezTo>
                <a:cubicBezTo>
                  <a:pt x="237" y="88"/>
                  <a:pt x="237" y="88"/>
                  <a:pt x="237" y="88"/>
                </a:cubicBezTo>
                <a:cubicBezTo>
                  <a:pt x="236" y="88"/>
                  <a:pt x="236" y="88"/>
                  <a:pt x="236" y="88"/>
                </a:cubicBezTo>
                <a:cubicBezTo>
                  <a:pt x="235" y="88"/>
                  <a:pt x="234" y="88"/>
                  <a:pt x="234" y="88"/>
                </a:cubicBezTo>
                <a:cubicBezTo>
                  <a:pt x="233" y="88"/>
                  <a:pt x="234" y="89"/>
                  <a:pt x="233" y="89"/>
                </a:cubicBezTo>
                <a:cubicBezTo>
                  <a:pt x="232" y="89"/>
                  <a:pt x="233" y="89"/>
                  <a:pt x="233" y="89"/>
                </a:cubicBezTo>
                <a:cubicBezTo>
                  <a:pt x="232" y="89"/>
                  <a:pt x="231" y="89"/>
                  <a:pt x="231" y="89"/>
                </a:cubicBezTo>
                <a:cubicBezTo>
                  <a:pt x="230" y="89"/>
                  <a:pt x="229" y="90"/>
                  <a:pt x="229" y="90"/>
                </a:cubicBezTo>
                <a:cubicBezTo>
                  <a:pt x="229" y="91"/>
                  <a:pt x="226" y="90"/>
                  <a:pt x="226" y="92"/>
                </a:cubicBezTo>
                <a:cubicBezTo>
                  <a:pt x="227" y="92"/>
                  <a:pt x="227" y="93"/>
                  <a:pt x="227" y="93"/>
                </a:cubicBezTo>
                <a:cubicBezTo>
                  <a:pt x="227" y="95"/>
                  <a:pt x="227" y="93"/>
                  <a:pt x="227" y="94"/>
                </a:cubicBezTo>
                <a:cubicBezTo>
                  <a:pt x="228" y="94"/>
                  <a:pt x="227" y="94"/>
                  <a:pt x="227" y="95"/>
                </a:cubicBezTo>
                <a:cubicBezTo>
                  <a:pt x="228" y="95"/>
                  <a:pt x="228" y="94"/>
                  <a:pt x="228" y="95"/>
                </a:cubicBezTo>
                <a:cubicBezTo>
                  <a:pt x="228" y="95"/>
                  <a:pt x="227" y="95"/>
                  <a:pt x="227" y="95"/>
                </a:cubicBezTo>
                <a:cubicBezTo>
                  <a:pt x="227" y="95"/>
                  <a:pt x="227" y="96"/>
                  <a:pt x="227" y="96"/>
                </a:cubicBezTo>
                <a:cubicBezTo>
                  <a:pt x="227" y="96"/>
                  <a:pt x="228" y="96"/>
                  <a:pt x="227" y="96"/>
                </a:cubicBezTo>
                <a:cubicBezTo>
                  <a:pt x="227" y="96"/>
                  <a:pt x="227" y="97"/>
                  <a:pt x="227" y="97"/>
                </a:cubicBezTo>
                <a:cubicBezTo>
                  <a:pt x="227" y="98"/>
                  <a:pt x="227" y="100"/>
                  <a:pt x="227" y="100"/>
                </a:cubicBezTo>
                <a:cubicBezTo>
                  <a:pt x="228" y="100"/>
                  <a:pt x="228" y="101"/>
                  <a:pt x="228" y="101"/>
                </a:cubicBezTo>
                <a:cubicBezTo>
                  <a:pt x="228" y="101"/>
                  <a:pt x="226" y="101"/>
                  <a:pt x="226" y="101"/>
                </a:cubicBezTo>
                <a:cubicBezTo>
                  <a:pt x="226" y="102"/>
                  <a:pt x="227" y="104"/>
                  <a:pt x="227" y="105"/>
                </a:cubicBezTo>
                <a:cubicBezTo>
                  <a:pt x="226" y="105"/>
                  <a:pt x="227" y="106"/>
                  <a:pt x="227" y="106"/>
                </a:cubicBezTo>
                <a:cubicBezTo>
                  <a:pt x="227" y="107"/>
                  <a:pt x="226" y="107"/>
                  <a:pt x="225" y="107"/>
                </a:cubicBezTo>
                <a:cubicBezTo>
                  <a:pt x="225" y="108"/>
                  <a:pt x="225" y="109"/>
                  <a:pt x="225" y="110"/>
                </a:cubicBezTo>
                <a:cubicBezTo>
                  <a:pt x="226" y="111"/>
                  <a:pt x="226" y="112"/>
                  <a:pt x="227" y="112"/>
                </a:cubicBezTo>
                <a:cubicBezTo>
                  <a:pt x="228" y="113"/>
                  <a:pt x="228" y="113"/>
                  <a:pt x="229" y="114"/>
                </a:cubicBezTo>
                <a:cubicBezTo>
                  <a:pt x="229" y="114"/>
                  <a:pt x="230" y="115"/>
                  <a:pt x="230" y="115"/>
                </a:cubicBezTo>
                <a:close/>
                <a:moveTo>
                  <a:pt x="723" y="84"/>
                </a:moveTo>
                <a:cubicBezTo>
                  <a:pt x="722" y="84"/>
                  <a:pt x="723" y="87"/>
                  <a:pt x="724" y="87"/>
                </a:cubicBezTo>
                <a:cubicBezTo>
                  <a:pt x="725" y="88"/>
                  <a:pt x="726" y="86"/>
                  <a:pt x="726" y="86"/>
                </a:cubicBezTo>
                <a:cubicBezTo>
                  <a:pt x="725" y="86"/>
                  <a:pt x="724" y="86"/>
                  <a:pt x="724" y="85"/>
                </a:cubicBezTo>
                <a:cubicBezTo>
                  <a:pt x="724" y="84"/>
                  <a:pt x="724" y="85"/>
                  <a:pt x="723" y="84"/>
                </a:cubicBezTo>
                <a:close/>
                <a:moveTo>
                  <a:pt x="439" y="85"/>
                </a:moveTo>
                <a:cubicBezTo>
                  <a:pt x="439" y="85"/>
                  <a:pt x="439" y="85"/>
                  <a:pt x="439" y="85"/>
                </a:cubicBezTo>
                <a:cubicBezTo>
                  <a:pt x="438" y="84"/>
                  <a:pt x="438" y="84"/>
                  <a:pt x="437" y="84"/>
                </a:cubicBezTo>
                <a:cubicBezTo>
                  <a:pt x="437" y="85"/>
                  <a:pt x="437" y="85"/>
                  <a:pt x="437" y="86"/>
                </a:cubicBezTo>
                <a:cubicBezTo>
                  <a:pt x="438" y="85"/>
                  <a:pt x="438" y="85"/>
                  <a:pt x="439" y="85"/>
                </a:cubicBezTo>
                <a:cubicBezTo>
                  <a:pt x="439" y="85"/>
                  <a:pt x="439" y="85"/>
                  <a:pt x="439" y="85"/>
                </a:cubicBezTo>
                <a:close/>
                <a:moveTo>
                  <a:pt x="297" y="85"/>
                </a:moveTo>
                <a:cubicBezTo>
                  <a:pt x="297" y="85"/>
                  <a:pt x="297" y="84"/>
                  <a:pt x="297" y="84"/>
                </a:cubicBezTo>
                <a:cubicBezTo>
                  <a:pt x="297" y="83"/>
                  <a:pt x="296" y="85"/>
                  <a:pt x="296" y="85"/>
                </a:cubicBezTo>
                <a:cubicBezTo>
                  <a:pt x="296" y="86"/>
                  <a:pt x="296" y="85"/>
                  <a:pt x="297" y="85"/>
                </a:cubicBezTo>
                <a:close/>
                <a:moveTo>
                  <a:pt x="323" y="83"/>
                </a:moveTo>
                <a:cubicBezTo>
                  <a:pt x="323" y="83"/>
                  <a:pt x="324" y="83"/>
                  <a:pt x="324" y="83"/>
                </a:cubicBezTo>
                <a:cubicBezTo>
                  <a:pt x="324" y="82"/>
                  <a:pt x="324" y="81"/>
                  <a:pt x="323" y="80"/>
                </a:cubicBezTo>
                <a:cubicBezTo>
                  <a:pt x="321" y="81"/>
                  <a:pt x="322" y="82"/>
                  <a:pt x="323" y="83"/>
                </a:cubicBezTo>
                <a:close/>
                <a:moveTo>
                  <a:pt x="1517" y="85"/>
                </a:moveTo>
                <a:cubicBezTo>
                  <a:pt x="1518" y="84"/>
                  <a:pt x="1518" y="85"/>
                  <a:pt x="1518" y="85"/>
                </a:cubicBezTo>
                <a:cubicBezTo>
                  <a:pt x="1519" y="85"/>
                  <a:pt x="1519" y="86"/>
                  <a:pt x="1519" y="86"/>
                </a:cubicBezTo>
                <a:cubicBezTo>
                  <a:pt x="1519" y="86"/>
                  <a:pt x="1520" y="86"/>
                  <a:pt x="1520" y="86"/>
                </a:cubicBezTo>
                <a:cubicBezTo>
                  <a:pt x="1521" y="86"/>
                  <a:pt x="1522" y="85"/>
                  <a:pt x="1522" y="86"/>
                </a:cubicBezTo>
                <a:cubicBezTo>
                  <a:pt x="1523" y="86"/>
                  <a:pt x="1523" y="87"/>
                  <a:pt x="1523" y="86"/>
                </a:cubicBezTo>
                <a:cubicBezTo>
                  <a:pt x="1524" y="86"/>
                  <a:pt x="1524" y="86"/>
                  <a:pt x="1524" y="86"/>
                </a:cubicBezTo>
                <a:cubicBezTo>
                  <a:pt x="1524" y="87"/>
                  <a:pt x="1526" y="87"/>
                  <a:pt x="1526" y="87"/>
                </a:cubicBezTo>
                <a:cubicBezTo>
                  <a:pt x="1526" y="86"/>
                  <a:pt x="1525" y="86"/>
                  <a:pt x="1527" y="86"/>
                </a:cubicBezTo>
                <a:cubicBezTo>
                  <a:pt x="1528" y="86"/>
                  <a:pt x="1528" y="86"/>
                  <a:pt x="1528" y="85"/>
                </a:cubicBezTo>
                <a:cubicBezTo>
                  <a:pt x="1530" y="84"/>
                  <a:pt x="1530" y="84"/>
                  <a:pt x="1532" y="84"/>
                </a:cubicBezTo>
                <a:cubicBezTo>
                  <a:pt x="1532" y="84"/>
                  <a:pt x="1532" y="83"/>
                  <a:pt x="1532" y="83"/>
                </a:cubicBezTo>
                <a:cubicBezTo>
                  <a:pt x="1532" y="83"/>
                  <a:pt x="1531" y="81"/>
                  <a:pt x="1530" y="81"/>
                </a:cubicBezTo>
                <a:cubicBezTo>
                  <a:pt x="1529" y="81"/>
                  <a:pt x="1528" y="81"/>
                  <a:pt x="1527" y="81"/>
                </a:cubicBezTo>
                <a:cubicBezTo>
                  <a:pt x="1526" y="81"/>
                  <a:pt x="1527" y="80"/>
                  <a:pt x="1527" y="80"/>
                </a:cubicBezTo>
                <a:cubicBezTo>
                  <a:pt x="1526" y="80"/>
                  <a:pt x="1526" y="80"/>
                  <a:pt x="1526" y="80"/>
                </a:cubicBezTo>
                <a:cubicBezTo>
                  <a:pt x="1525" y="80"/>
                  <a:pt x="1526" y="80"/>
                  <a:pt x="1526" y="80"/>
                </a:cubicBezTo>
                <a:cubicBezTo>
                  <a:pt x="1525" y="80"/>
                  <a:pt x="1525" y="80"/>
                  <a:pt x="1524" y="80"/>
                </a:cubicBezTo>
                <a:cubicBezTo>
                  <a:pt x="1524" y="79"/>
                  <a:pt x="1523" y="79"/>
                  <a:pt x="1522" y="80"/>
                </a:cubicBezTo>
                <a:cubicBezTo>
                  <a:pt x="1521" y="80"/>
                  <a:pt x="1521" y="80"/>
                  <a:pt x="1520" y="80"/>
                </a:cubicBezTo>
                <a:cubicBezTo>
                  <a:pt x="1518" y="80"/>
                  <a:pt x="1517" y="80"/>
                  <a:pt x="1516" y="79"/>
                </a:cubicBezTo>
                <a:cubicBezTo>
                  <a:pt x="1516" y="80"/>
                  <a:pt x="1516" y="79"/>
                  <a:pt x="1516" y="80"/>
                </a:cubicBezTo>
                <a:cubicBezTo>
                  <a:pt x="1516" y="80"/>
                  <a:pt x="1516" y="81"/>
                  <a:pt x="1516" y="81"/>
                </a:cubicBezTo>
                <a:cubicBezTo>
                  <a:pt x="1516" y="82"/>
                  <a:pt x="1516" y="82"/>
                  <a:pt x="1516" y="83"/>
                </a:cubicBezTo>
                <a:cubicBezTo>
                  <a:pt x="1516" y="84"/>
                  <a:pt x="1516" y="83"/>
                  <a:pt x="1517" y="85"/>
                </a:cubicBezTo>
                <a:close/>
                <a:moveTo>
                  <a:pt x="1496" y="80"/>
                </a:moveTo>
                <a:cubicBezTo>
                  <a:pt x="1496" y="80"/>
                  <a:pt x="1496" y="80"/>
                  <a:pt x="1496" y="81"/>
                </a:cubicBezTo>
                <a:cubicBezTo>
                  <a:pt x="1496" y="82"/>
                  <a:pt x="1496" y="83"/>
                  <a:pt x="1496" y="85"/>
                </a:cubicBezTo>
                <a:cubicBezTo>
                  <a:pt x="1497" y="84"/>
                  <a:pt x="1497" y="86"/>
                  <a:pt x="1497" y="87"/>
                </a:cubicBezTo>
                <a:cubicBezTo>
                  <a:pt x="1498" y="87"/>
                  <a:pt x="1499" y="87"/>
                  <a:pt x="1500" y="86"/>
                </a:cubicBezTo>
                <a:cubicBezTo>
                  <a:pt x="1501" y="85"/>
                  <a:pt x="1502" y="85"/>
                  <a:pt x="1503" y="85"/>
                </a:cubicBezTo>
                <a:cubicBezTo>
                  <a:pt x="1503" y="84"/>
                  <a:pt x="1503" y="83"/>
                  <a:pt x="1503" y="83"/>
                </a:cubicBezTo>
                <a:cubicBezTo>
                  <a:pt x="1503" y="82"/>
                  <a:pt x="1503" y="82"/>
                  <a:pt x="1502" y="81"/>
                </a:cubicBezTo>
                <a:cubicBezTo>
                  <a:pt x="1501" y="81"/>
                  <a:pt x="1501" y="80"/>
                  <a:pt x="1500" y="81"/>
                </a:cubicBezTo>
                <a:cubicBezTo>
                  <a:pt x="1499" y="81"/>
                  <a:pt x="1499" y="81"/>
                  <a:pt x="1498" y="81"/>
                </a:cubicBezTo>
                <a:cubicBezTo>
                  <a:pt x="1498" y="80"/>
                  <a:pt x="1498" y="80"/>
                  <a:pt x="1497" y="80"/>
                </a:cubicBezTo>
                <a:cubicBezTo>
                  <a:pt x="1497" y="80"/>
                  <a:pt x="1497" y="79"/>
                  <a:pt x="1496" y="79"/>
                </a:cubicBezTo>
                <a:cubicBezTo>
                  <a:pt x="1496" y="79"/>
                  <a:pt x="1496" y="79"/>
                  <a:pt x="1495" y="79"/>
                </a:cubicBezTo>
                <a:cubicBezTo>
                  <a:pt x="1495" y="79"/>
                  <a:pt x="1496" y="79"/>
                  <a:pt x="1496" y="80"/>
                </a:cubicBezTo>
                <a:close/>
                <a:moveTo>
                  <a:pt x="732" y="83"/>
                </a:moveTo>
                <a:cubicBezTo>
                  <a:pt x="733" y="82"/>
                  <a:pt x="733" y="83"/>
                  <a:pt x="735" y="83"/>
                </a:cubicBezTo>
                <a:cubicBezTo>
                  <a:pt x="735" y="82"/>
                  <a:pt x="735" y="81"/>
                  <a:pt x="735" y="80"/>
                </a:cubicBezTo>
                <a:cubicBezTo>
                  <a:pt x="734" y="81"/>
                  <a:pt x="734" y="82"/>
                  <a:pt x="733" y="81"/>
                </a:cubicBezTo>
                <a:cubicBezTo>
                  <a:pt x="732" y="81"/>
                  <a:pt x="732" y="81"/>
                  <a:pt x="731" y="81"/>
                </a:cubicBezTo>
                <a:cubicBezTo>
                  <a:pt x="731" y="80"/>
                  <a:pt x="731" y="79"/>
                  <a:pt x="731" y="78"/>
                </a:cubicBezTo>
                <a:cubicBezTo>
                  <a:pt x="730" y="79"/>
                  <a:pt x="729" y="79"/>
                  <a:pt x="728" y="79"/>
                </a:cubicBezTo>
                <a:cubicBezTo>
                  <a:pt x="728" y="80"/>
                  <a:pt x="728" y="82"/>
                  <a:pt x="728" y="83"/>
                </a:cubicBezTo>
                <a:cubicBezTo>
                  <a:pt x="728" y="84"/>
                  <a:pt x="729" y="83"/>
                  <a:pt x="729" y="84"/>
                </a:cubicBezTo>
                <a:cubicBezTo>
                  <a:pt x="730" y="84"/>
                  <a:pt x="732" y="84"/>
                  <a:pt x="732" y="83"/>
                </a:cubicBezTo>
                <a:cubicBezTo>
                  <a:pt x="733" y="82"/>
                  <a:pt x="732" y="83"/>
                  <a:pt x="732" y="83"/>
                </a:cubicBezTo>
                <a:close/>
                <a:moveTo>
                  <a:pt x="366" y="87"/>
                </a:moveTo>
                <a:cubicBezTo>
                  <a:pt x="366" y="87"/>
                  <a:pt x="366" y="86"/>
                  <a:pt x="366" y="86"/>
                </a:cubicBezTo>
                <a:cubicBezTo>
                  <a:pt x="368" y="86"/>
                  <a:pt x="368" y="88"/>
                  <a:pt x="370" y="88"/>
                </a:cubicBezTo>
                <a:cubicBezTo>
                  <a:pt x="370" y="88"/>
                  <a:pt x="370" y="87"/>
                  <a:pt x="370" y="87"/>
                </a:cubicBezTo>
                <a:cubicBezTo>
                  <a:pt x="371" y="87"/>
                  <a:pt x="371" y="87"/>
                  <a:pt x="371" y="86"/>
                </a:cubicBezTo>
                <a:cubicBezTo>
                  <a:pt x="371" y="85"/>
                  <a:pt x="371" y="83"/>
                  <a:pt x="372" y="82"/>
                </a:cubicBezTo>
                <a:cubicBezTo>
                  <a:pt x="371" y="82"/>
                  <a:pt x="372" y="81"/>
                  <a:pt x="371" y="80"/>
                </a:cubicBezTo>
                <a:cubicBezTo>
                  <a:pt x="371" y="80"/>
                  <a:pt x="371" y="79"/>
                  <a:pt x="371" y="79"/>
                </a:cubicBezTo>
                <a:cubicBezTo>
                  <a:pt x="370" y="79"/>
                  <a:pt x="370" y="79"/>
                  <a:pt x="369" y="79"/>
                </a:cubicBezTo>
                <a:cubicBezTo>
                  <a:pt x="369" y="79"/>
                  <a:pt x="369" y="78"/>
                  <a:pt x="369" y="78"/>
                </a:cubicBezTo>
                <a:cubicBezTo>
                  <a:pt x="369" y="78"/>
                  <a:pt x="369" y="78"/>
                  <a:pt x="369" y="78"/>
                </a:cubicBezTo>
                <a:cubicBezTo>
                  <a:pt x="369" y="78"/>
                  <a:pt x="369" y="78"/>
                  <a:pt x="369" y="77"/>
                </a:cubicBezTo>
                <a:cubicBezTo>
                  <a:pt x="369" y="78"/>
                  <a:pt x="368" y="77"/>
                  <a:pt x="368" y="77"/>
                </a:cubicBezTo>
                <a:cubicBezTo>
                  <a:pt x="366" y="77"/>
                  <a:pt x="365" y="77"/>
                  <a:pt x="364" y="77"/>
                </a:cubicBezTo>
                <a:cubicBezTo>
                  <a:pt x="363" y="78"/>
                  <a:pt x="363" y="78"/>
                  <a:pt x="363" y="79"/>
                </a:cubicBezTo>
                <a:cubicBezTo>
                  <a:pt x="363" y="80"/>
                  <a:pt x="363" y="79"/>
                  <a:pt x="362" y="79"/>
                </a:cubicBezTo>
                <a:cubicBezTo>
                  <a:pt x="362" y="80"/>
                  <a:pt x="362" y="80"/>
                  <a:pt x="362" y="80"/>
                </a:cubicBezTo>
                <a:cubicBezTo>
                  <a:pt x="361" y="81"/>
                  <a:pt x="361" y="80"/>
                  <a:pt x="360" y="81"/>
                </a:cubicBezTo>
                <a:cubicBezTo>
                  <a:pt x="360" y="81"/>
                  <a:pt x="360" y="81"/>
                  <a:pt x="360" y="82"/>
                </a:cubicBezTo>
                <a:cubicBezTo>
                  <a:pt x="360" y="83"/>
                  <a:pt x="359" y="83"/>
                  <a:pt x="359" y="83"/>
                </a:cubicBezTo>
                <a:cubicBezTo>
                  <a:pt x="359" y="84"/>
                  <a:pt x="359" y="84"/>
                  <a:pt x="360" y="85"/>
                </a:cubicBezTo>
                <a:cubicBezTo>
                  <a:pt x="361" y="84"/>
                  <a:pt x="361" y="84"/>
                  <a:pt x="362" y="85"/>
                </a:cubicBezTo>
                <a:cubicBezTo>
                  <a:pt x="363" y="85"/>
                  <a:pt x="362" y="86"/>
                  <a:pt x="363" y="86"/>
                </a:cubicBezTo>
                <a:cubicBezTo>
                  <a:pt x="364" y="86"/>
                  <a:pt x="364" y="86"/>
                  <a:pt x="364" y="86"/>
                </a:cubicBezTo>
                <a:cubicBezTo>
                  <a:pt x="364" y="86"/>
                  <a:pt x="365" y="86"/>
                  <a:pt x="365" y="86"/>
                </a:cubicBezTo>
                <a:cubicBezTo>
                  <a:pt x="365" y="86"/>
                  <a:pt x="365" y="87"/>
                  <a:pt x="365" y="87"/>
                </a:cubicBezTo>
                <a:cubicBezTo>
                  <a:pt x="366" y="87"/>
                  <a:pt x="366" y="87"/>
                  <a:pt x="366" y="87"/>
                </a:cubicBezTo>
                <a:close/>
                <a:moveTo>
                  <a:pt x="1470" y="88"/>
                </a:moveTo>
                <a:cubicBezTo>
                  <a:pt x="1471" y="88"/>
                  <a:pt x="1471" y="88"/>
                  <a:pt x="1471" y="88"/>
                </a:cubicBezTo>
                <a:cubicBezTo>
                  <a:pt x="1471" y="88"/>
                  <a:pt x="1471" y="88"/>
                  <a:pt x="1470" y="89"/>
                </a:cubicBezTo>
                <a:cubicBezTo>
                  <a:pt x="1470" y="89"/>
                  <a:pt x="1471" y="89"/>
                  <a:pt x="1471" y="89"/>
                </a:cubicBezTo>
                <a:cubicBezTo>
                  <a:pt x="1472" y="90"/>
                  <a:pt x="1472" y="91"/>
                  <a:pt x="1473" y="91"/>
                </a:cubicBezTo>
                <a:cubicBezTo>
                  <a:pt x="1473" y="92"/>
                  <a:pt x="1474" y="92"/>
                  <a:pt x="1475" y="92"/>
                </a:cubicBezTo>
                <a:cubicBezTo>
                  <a:pt x="1476" y="92"/>
                  <a:pt x="1477" y="92"/>
                  <a:pt x="1477" y="91"/>
                </a:cubicBezTo>
                <a:cubicBezTo>
                  <a:pt x="1478" y="91"/>
                  <a:pt x="1479" y="90"/>
                  <a:pt x="1479" y="89"/>
                </a:cubicBezTo>
                <a:cubicBezTo>
                  <a:pt x="1479" y="89"/>
                  <a:pt x="1479" y="88"/>
                  <a:pt x="1479" y="88"/>
                </a:cubicBezTo>
                <a:cubicBezTo>
                  <a:pt x="1480" y="88"/>
                  <a:pt x="1480" y="87"/>
                  <a:pt x="1481" y="87"/>
                </a:cubicBezTo>
                <a:cubicBezTo>
                  <a:pt x="1482" y="85"/>
                  <a:pt x="1483" y="85"/>
                  <a:pt x="1482" y="83"/>
                </a:cubicBezTo>
                <a:cubicBezTo>
                  <a:pt x="1482" y="83"/>
                  <a:pt x="1482" y="82"/>
                  <a:pt x="1482" y="81"/>
                </a:cubicBezTo>
                <a:cubicBezTo>
                  <a:pt x="1481" y="81"/>
                  <a:pt x="1480" y="81"/>
                  <a:pt x="1480" y="80"/>
                </a:cubicBezTo>
                <a:cubicBezTo>
                  <a:pt x="1480" y="79"/>
                  <a:pt x="1480" y="79"/>
                  <a:pt x="1479" y="79"/>
                </a:cubicBezTo>
                <a:cubicBezTo>
                  <a:pt x="1478" y="78"/>
                  <a:pt x="1478" y="78"/>
                  <a:pt x="1477" y="78"/>
                </a:cubicBezTo>
                <a:cubicBezTo>
                  <a:pt x="1477" y="77"/>
                  <a:pt x="1476" y="77"/>
                  <a:pt x="1476" y="77"/>
                </a:cubicBezTo>
                <a:cubicBezTo>
                  <a:pt x="1475" y="76"/>
                  <a:pt x="1475" y="76"/>
                  <a:pt x="1475" y="76"/>
                </a:cubicBezTo>
                <a:cubicBezTo>
                  <a:pt x="1474" y="76"/>
                  <a:pt x="1472" y="78"/>
                  <a:pt x="1472" y="78"/>
                </a:cubicBezTo>
                <a:cubicBezTo>
                  <a:pt x="1472" y="79"/>
                  <a:pt x="1472" y="79"/>
                  <a:pt x="1472" y="79"/>
                </a:cubicBezTo>
                <a:cubicBezTo>
                  <a:pt x="1471" y="79"/>
                  <a:pt x="1471" y="80"/>
                  <a:pt x="1471" y="80"/>
                </a:cubicBezTo>
                <a:cubicBezTo>
                  <a:pt x="1470" y="80"/>
                  <a:pt x="1471" y="81"/>
                  <a:pt x="1471" y="81"/>
                </a:cubicBezTo>
                <a:cubicBezTo>
                  <a:pt x="1469" y="83"/>
                  <a:pt x="1469" y="84"/>
                  <a:pt x="1470" y="86"/>
                </a:cubicBezTo>
                <a:cubicBezTo>
                  <a:pt x="1470" y="86"/>
                  <a:pt x="1469" y="86"/>
                  <a:pt x="1469" y="86"/>
                </a:cubicBezTo>
                <a:cubicBezTo>
                  <a:pt x="1470" y="86"/>
                  <a:pt x="1470" y="87"/>
                  <a:pt x="1470" y="88"/>
                </a:cubicBezTo>
                <a:close/>
                <a:moveTo>
                  <a:pt x="357" y="80"/>
                </a:moveTo>
                <a:cubicBezTo>
                  <a:pt x="358" y="79"/>
                  <a:pt x="358" y="79"/>
                  <a:pt x="359" y="79"/>
                </a:cubicBezTo>
                <a:cubicBezTo>
                  <a:pt x="359" y="79"/>
                  <a:pt x="359" y="78"/>
                  <a:pt x="360" y="78"/>
                </a:cubicBezTo>
                <a:cubicBezTo>
                  <a:pt x="361" y="78"/>
                  <a:pt x="361" y="78"/>
                  <a:pt x="362" y="76"/>
                </a:cubicBezTo>
                <a:cubicBezTo>
                  <a:pt x="362" y="76"/>
                  <a:pt x="361" y="76"/>
                  <a:pt x="361" y="76"/>
                </a:cubicBezTo>
                <a:cubicBezTo>
                  <a:pt x="361" y="76"/>
                  <a:pt x="361" y="77"/>
                  <a:pt x="360" y="77"/>
                </a:cubicBezTo>
                <a:cubicBezTo>
                  <a:pt x="360" y="77"/>
                  <a:pt x="357" y="78"/>
                  <a:pt x="357" y="78"/>
                </a:cubicBezTo>
                <a:cubicBezTo>
                  <a:pt x="357" y="79"/>
                  <a:pt x="357" y="79"/>
                  <a:pt x="357" y="80"/>
                </a:cubicBezTo>
                <a:cubicBezTo>
                  <a:pt x="358" y="79"/>
                  <a:pt x="357" y="80"/>
                  <a:pt x="357" y="80"/>
                </a:cubicBezTo>
                <a:close/>
                <a:moveTo>
                  <a:pt x="358" y="76"/>
                </a:moveTo>
                <a:cubicBezTo>
                  <a:pt x="358" y="76"/>
                  <a:pt x="358" y="76"/>
                  <a:pt x="358" y="76"/>
                </a:cubicBezTo>
                <a:cubicBezTo>
                  <a:pt x="358" y="76"/>
                  <a:pt x="358" y="76"/>
                  <a:pt x="358" y="76"/>
                </a:cubicBezTo>
                <a:close/>
                <a:moveTo>
                  <a:pt x="356" y="76"/>
                </a:moveTo>
                <a:cubicBezTo>
                  <a:pt x="356" y="76"/>
                  <a:pt x="356" y="76"/>
                  <a:pt x="356" y="77"/>
                </a:cubicBezTo>
                <a:cubicBezTo>
                  <a:pt x="356" y="77"/>
                  <a:pt x="357" y="77"/>
                  <a:pt x="357" y="76"/>
                </a:cubicBezTo>
                <a:cubicBezTo>
                  <a:pt x="357" y="76"/>
                  <a:pt x="357" y="76"/>
                  <a:pt x="357" y="76"/>
                </a:cubicBezTo>
                <a:cubicBezTo>
                  <a:pt x="357" y="76"/>
                  <a:pt x="357" y="75"/>
                  <a:pt x="356" y="76"/>
                </a:cubicBezTo>
                <a:close/>
                <a:moveTo>
                  <a:pt x="1260" y="75"/>
                </a:moveTo>
                <a:cubicBezTo>
                  <a:pt x="1260" y="76"/>
                  <a:pt x="1263" y="75"/>
                  <a:pt x="1260" y="75"/>
                </a:cubicBezTo>
                <a:cubicBezTo>
                  <a:pt x="1260" y="75"/>
                  <a:pt x="1260" y="75"/>
                  <a:pt x="1260" y="75"/>
                </a:cubicBezTo>
                <a:cubicBezTo>
                  <a:pt x="1260" y="76"/>
                  <a:pt x="1260" y="75"/>
                  <a:pt x="1260" y="75"/>
                </a:cubicBezTo>
                <a:close/>
                <a:moveTo>
                  <a:pt x="366" y="76"/>
                </a:moveTo>
                <a:cubicBezTo>
                  <a:pt x="367" y="76"/>
                  <a:pt x="367" y="75"/>
                  <a:pt x="367" y="75"/>
                </a:cubicBezTo>
                <a:cubicBezTo>
                  <a:pt x="366" y="75"/>
                  <a:pt x="366" y="75"/>
                  <a:pt x="366" y="76"/>
                </a:cubicBezTo>
                <a:cubicBezTo>
                  <a:pt x="367" y="76"/>
                  <a:pt x="366" y="76"/>
                  <a:pt x="366" y="76"/>
                </a:cubicBezTo>
                <a:close/>
                <a:moveTo>
                  <a:pt x="437" y="74"/>
                </a:moveTo>
                <a:cubicBezTo>
                  <a:pt x="437" y="74"/>
                  <a:pt x="437" y="74"/>
                  <a:pt x="437" y="74"/>
                </a:cubicBezTo>
                <a:cubicBezTo>
                  <a:pt x="437" y="75"/>
                  <a:pt x="437" y="75"/>
                  <a:pt x="438" y="75"/>
                </a:cubicBezTo>
                <a:cubicBezTo>
                  <a:pt x="439" y="75"/>
                  <a:pt x="440" y="76"/>
                  <a:pt x="440" y="76"/>
                </a:cubicBezTo>
                <a:cubicBezTo>
                  <a:pt x="440" y="76"/>
                  <a:pt x="440" y="75"/>
                  <a:pt x="440" y="75"/>
                </a:cubicBezTo>
                <a:cubicBezTo>
                  <a:pt x="440" y="75"/>
                  <a:pt x="440" y="75"/>
                  <a:pt x="440" y="75"/>
                </a:cubicBezTo>
                <a:cubicBezTo>
                  <a:pt x="441" y="74"/>
                  <a:pt x="441" y="74"/>
                  <a:pt x="441" y="73"/>
                </a:cubicBezTo>
                <a:cubicBezTo>
                  <a:pt x="440" y="73"/>
                  <a:pt x="437" y="74"/>
                  <a:pt x="437" y="74"/>
                </a:cubicBezTo>
                <a:close/>
                <a:moveTo>
                  <a:pt x="256" y="75"/>
                </a:moveTo>
                <a:cubicBezTo>
                  <a:pt x="254" y="75"/>
                  <a:pt x="254" y="77"/>
                  <a:pt x="252" y="78"/>
                </a:cubicBezTo>
                <a:cubicBezTo>
                  <a:pt x="252" y="78"/>
                  <a:pt x="252" y="78"/>
                  <a:pt x="252" y="79"/>
                </a:cubicBezTo>
                <a:cubicBezTo>
                  <a:pt x="252" y="80"/>
                  <a:pt x="252" y="80"/>
                  <a:pt x="253" y="80"/>
                </a:cubicBezTo>
                <a:cubicBezTo>
                  <a:pt x="254" y="80"/>
                  <a:pt x="255" y="80"/>
                  <a:pt x="256" y="80"/>
                </a:cubicBezTo>
                <a:cubicBezTo>
                  <a:pt x="256" y="79"/>
                  <a:pt x="256" y="79"/>
                  <a:pt x="257" y="78"/>
                </a:cubicBezTo>
                <a:cubicBezTo>
                  <a:pt x="257" y="78"/>
                  <a:pt x="257" y="77"/>
                  <a:pt x="257" y="77"/>
                </a:cubicBezTo>
                <a:cubicBezTo>
                  <a:pt x="257" y="76"/>
                  <a:pt x="257" y="76"/>
                  <a:pt x="258" y="76"/>
                </a:cubicBezTo>
                <a:cubicBezTo>
                  <a:pt x="258" y="75"/>
                  <a:pt x="258" y="74"/>
                  <a:pt x="259" y="74"/>
                </a:cubicBezTo>
                <a:cubicBezTo>
                  <a:pt x="258" y="73"/>
                  <a:pt x="258" y="72"/>
                  <a:pt x="257" y="73"/>
                </a:cubicBezTo>
                <a:cubicBezTo>
                  <a:pt x="256" y="74"/>
                  <a:pt x="256" y="74"/>
                  <a:pt x="256" y="75"/>
                </a:cubicBezTo>
                <a:cubicBezTo>
                  <a:pt x="254" y="75"/>
                  <a:pt x="256" y="75"/>
                  <a:pt x="256" y="75"/>
                </a:cubicBezTo>
                <a:close/>
                <a:moveTo>
                  <a:pt x="1273" y="72"/>
                </a:moveTo>
                <a:cubicBezTo>
                  <a:pt x="1273" y="74"/>
                  <a:pt x="1275" y="74"/>
                  <a:pt x="1277" y="74"/>
                </a:cubicBezTo>
                <a:cubicBezTo>
                  <a:pt x="1277" y="74"/>
                  <a:pt x="1278" y="74"/>
                  <a:pt x="1278" y="73"/>
                </a:cubicBezTo>
                <a:cubicBezTo>
                  <a:pt x="1278" y="73"/>
                  <a:pt x="1279" y="73"/>
                  <a:pt x="1279" y="73"/>
                </a:cubicBezTo>
                <a:cubicBezTo>
                  <a:pt x="1279" y="73"/>
                  <a:pt x="1279" y="72"/>
                  <a:pt x="1279" y="72"/>
                </a:cubicBezTo>
                <a:cubicBezTo>
                  <a:pt x="1279" y="71"/>
                  <a:pt x="1277" y="72"/>
                  <a:pt x="1277" y="72"/>
                </a:cubicBezTo>
                <a:cubicBezTo>
                  <a:pt x="1277" y="72"/>
                  <a:pt x="1275" y="73"/>
                  <a:pt x="1275" y="72"/>
                </a:cubicBezTo>
                <a:cubicBezTo>
                  <a:pt x="1274" y="72"/>
                  <a:pt x="1274" y="72"/>
                  <a:pt x="1273" y="72"/>
                </a:cubicBezTo>
                <a:cubicBezTo>
                  <a:pt x="1273" y="73"/>
                  <a:pt x="1273" y="72"/>
                  <a:pt x="1273" y="72"/>
                </a:cubicBezTo>
                <a:close/>
                <a:moveTo>
                  <a:pt x="727" y="71"/>
                </a:moveTo>
                <a:cubicBezTo>
                  <a:pt x="727" y="72"/>
                  <a:pt x="727" y="73"/>
                  <a:pt x="727" y="73"/>
                </a:cubicBezTo>
                <a:cubicBezTo>
                  <a:pt x="727" y="74"/>
                  <a:pt x="728" y="74"/>
                  <a:pt x="728" y="74"/>
                </a:cubicBezTo>
                <a:cubicBezTo>
                  <a:pt x="728" y="75"/>
                  <a:pt x="728" y="75"/>
                  <a:pt x="729" y="75"/>
                </a:cubicBezTo>
                <a:cubicBezTo>
                  <a:pt x="728" y="74"/>
                  <a:pt x="728" y="73"/>
                  <a:pt x="728" y="72"/>
                </a:cubicBezTo>
                <a:cubicBezTo>
                  <a:pt x="727" y="72"/>
                  <a:pt x="727" y="72"/>
                  <a:pt x="728" y="71"/>
                </a:cubicBezTo>
                <a:cubicBezTo>
                  <a:pt x="727" y="70"/>
                  <a:pt x="727" y="70"/>
                  <a:pt x="726" y="71"/>
                </a:cubicBezTo>
                <a:cubicBezTo>
                  <a:pt x="726" y="71"/>
                  <a:pt x="726" y="71"/>
                  <a:pt x="727" y="71"/>
                </a:cubicBezTo>
                <a:cubicBezTo>
                  <a:pt x="727" y="72"/>
                  <a:pt x="727" y="71"/>
                  <a:pt x="727" y="71"/>
                </a:cubicBezTo>
                <a:close/>
                <a:moveTo>
                  <a:pt x="726" y="69"/>
                </a:moveTo>
                <a:cubicBezTo>
                  <a:pt x="726" y="70"/>
                  <a:pt x="726" y="70"/>
                  <a:pt x="727" y="70"/>
                </a:cubicBezTo>
                <a:cubicBezTo>
                  <a:pt x="726" y="70"/>
                  <a:pt x="726" y="70"/>
                  <a:pt x="726" y="69"/>
                </a:cubicBezTo>
                <a:close/>
                <a:moveTo>
                  <a:pt x="266" y="70"/>
                </a:moveTo>
                <a:cubicBezTo>
                  <a:pt x="266" y="70"/>
                  <a:pt x="266" y="71"/>
                  <a:pt x="266" y="71"/>
                </a:cubicBezTo>
                <a:cubicBezTo>
                  <a:pt x="266" y="71"/>
                  <a:pt x="267" y="71"/>
                  <a:pt x="267" y="71"/>
                </a:cubicBezTo>
                <a:cubicBezTo>
                  <a:pt x="268" y="71"/>
                  <a:pt x="267" y="71"/>
                  <a:pt x="268" y="71"/>
                </a:cubicBezTo>
                <a:cubicBezTo>
                  <a:pt x="268" y="70"/>
                  <a:pt x="267" y="68"/>
                  <a:pt x="266" y="70"/>
                </a:cubicBezTo>
                <a:close/>
                <a:moveTo>
                  <a:pt x="322" y="73"/>
                </a:moveTo>
                <a:cubicBezTo>
                  <a:pt x="322" y="73"/>
                  <a:pt x="323" y="73"/>
                  <a:pt x="324" y="73"/>
                </a:cubicBezTo>
                <a:cubicBezTo>
                  <a:pt x="324" y="73"/>
                  <a:pt x="324" y="73"/>
                  <a:pt x="324" y="73"/>
                </a:cubicBezTo>
                <a:cubicBezTo>
                  <a:pt x="324" y="73"/>
                  <a:pt x="325" y="72"/>
                  <a:pt x="325" y="73"/>
                </a:cubicBezTo>
                <a:cubicBezTo>
                  <a:pt x="326" y="73"/>
                  <a:pt x="327" y="72"/>
                  <a:pt x="327" y="72"/>
                </a:cubicBezTo>
                <a:cubicBezTo>
                  <a:pt x="327" y="73"/>
                  <a:pt x="326" y="73"/>
                  <a:pt x="325" y="73"/>
                </a:cubicBezTo>
                <a:cubicBezTo>
                  <a:pt x="324" y="74"/>
                  <a:pt x="323" y="74"/>
                  <a:pt x="323" y="76"/>
                </a:cubicBezTo>
                <a:cubicBezTo>
                  <a:pt x="323" y="75"/>
                  <a:pt x="327" y="74"/>
                  <a:pt x="327" y="75"/>
                </a:cubicBezTo>
                <a:cubicBezTo>
                  <a:pt x="327" y="75"/>
                  <a:pt x="326" y="76"/>
                  <a:pt x="326" y="76"/>
                </a:cubicBezTo>
                <a:cubicBezTo>
                  <a:pt x="325" y="77"/>
                  <a:pt x="326" y="77"/>
                  <a:pt x="325" y="77"/>
                </a:cubicBezTo>
                <a:cubicBezTo>
                  <a:pt x="324" y="78"/>
                  <a:pt x="324" y="77"/>
                  <a:pt x="324" y="79"/>
                </a:cubicBezTo>
                <a:cubicBezTo>
                  <a:pt x="325" y="79"/>
                  <a:pt x="327" y="79"/>
                  <a:pt x="328" y="78"/>
                </a:cubicBezTo>
                <a:cubicBezTo>
                  <a:pt x="329" y="78"/>
                  <a:pt x="329" y="78"/>
                  <a:pt x="329" y="77"/>
                </a:cubicBezTo>
                <a:cubicBezTo>
                  <a:pt x="330" y="76"/>
                  <a:pt x="330" y="77"/>
                  <a:pt x="330" y="77"/>
                </a:cubicBezTo>
                <a:cubicBezTo>
                  <a:pt x="331" y="76"/>
                  <a:pt x="330" y="76"/>
                  <a:pt x="330" y="76"/>
                </a:cubicBezTo>
                <a:cubicBezTo>
                  <a:pt x="331" y="76"/>
                  <a:pt x="331" y="76"/>
                  <a:pt x="331" y="76"/>
                </a:cubicBezTo>
                <a:cubicBezTo>
                  <a:pt x="332" y="75"/>
                  <a:pt x="332" y="76"/>
                  <a:pt x="332" y="75"/>
                </a:cubicBezTo>
                <a:cubicBezTo>
                  <a:pt x="332" y="75"/>
                  <a:pt x="332" y="75"/>
                  <a:pt x="331" y="75"/>
                </a:cubicBezTo>
                <a:cubicBezTo>
                  <a:pt x="332" y="74"/>
                  <a:pt x="332" y="74"/>
                  <a:pt x="332" y="73"/>
                </a:cubicBezTo>
                <a:cubicBezTo>
                  <a:pt x="332" y="72"/>
                  <a:pt x="332" y="72"/>
                  <a:pt x="331" y="72"/>
                </a:cubicBezTo>
                <a:cubicBezTo>
                  <a:pt x="330" y="72"/>
                  <a:pt x="330" y="72"/>
                  <a:pt x="328" y="72"/>
                </a:cubicBezTo>
                <a:cubicBezTo>
                  <a:pt x="329" y="71"/>
                  <a:pt x="330" y="71"/>
                  <a:pt x="330" y="70"/>
                </a:cubicBezTo>
                <a:cubicBezTo>
                  <a:pt x="330" y="69"/>
                  <a:pt x="328" y="69"/>
                  <a:pt x="328" y="69"/>
                </a:cubicBezTo>
                <a:cubicBezTo>
                  <a:pt x="327" y="69"/>
                  <a:pt x="325" y="70"/>
                  <a:pt x="324" y="70"/>
                </a:cubicBezTo>
                <a:cubicBezTo>
                  <a:pt x="323" y="70"/>
                  <a:pt x="323" y="70"/>
                  <a:pt x="323" y="70"/>
                </a:cubicBezTo>
                <a:cubicBezTo>
                  <a:pt x="322" y="71"/>
                  <a:pt x="322" y="71"/>
                  <a:pt x="321" y="71"/>
                </a:cubicBezTo>
                <a:cubicBezTo>
                  <a:pt x="321" y="72"/>
                  <a:pt x="321" y="72"/>
                  <a:pt x="322" y="73"/>
                </a:cubicBezTo>
                <a:cubicBezTo>
                  <a:pt x="322" y="73"/>
                  <a:pt x="322" y="73"/>
                  <a:pt x="322" y="73"/>
                </a:cubicBezTo>
                <a:close/>
                <a:moveTo>
                  <a:pt x="1061" y="112"/>
                </a:moveTo>
                <a:cubicBezTo>
                  <a:pt x="1061" y="113"/>
                  <a:pt x="1061" y="114"/>
                  <a:pt x="1061" y="115"/>
                </a:cubicBezTo>
                <a:cubicBezTo>
                  <a:pt x="1061" y="115"/>
                  <a:pt x="1062" y="116"/>
                  <a:pt x="1062" y="116"/>
                </a:cubicBezTo>
                <a:cubicBezTo>
                  <a:pt x="1062" y="118"/>
                  <a:pt x="1061" y="116"/>
                  <a:pt x="1062" y="117"/>
                </a:cubicBezTo>
                <a:cubicBezTo>
                  <a:pt x="1062" y="117"/>
                  <a:pt x="1062" y="117"/>
                  <a:pt x="1062" y="117"/>
                </a:cubicBezTo>
                <a:cubicBezTo>
                  <a:pt x="1062" y="117"/>
                  <a:pt x="1063" y="117"/>
                  <a:pt x="1063" y="117"/>
                </a:cubicBezTo>
                <a:cubicBezTo>
                  <a:pt x="1064" y="117"/>
                  <a:pt x="1063" y="117"/>
                  <a:pt x="1063" y="116"/>
                </a:cubicBezTo>
                <a:cubicBezTo>
                  <a:pt x="1064" y="116"/>
                  <a:pt x="1065" y="116"/>
                  <a:pt x="1065" y="116"/>
                </a:cubicBezTo>
                <a:cubicBezTo>
                  <a:pt x="1065" y="116"/>
                  <a:pt x="1065" y="116"/>
                  <a:pt x="1065" y="116"/>
                </a:cubicBezTo>
                <a:cubicBezTo>
                  <a:pt x="1066" y="113"/>
                  <a:pt x="1066" y="116"/>
                  <a:pt x="1067" y="116"/>
                </a:cubicBezTo>
                <a:cubicBezTo>
                  <a:pt x="1067" y="116"/>
                  <a:pt x="1068" y="116"/>
                  <a:pt x="1068" y="115"/>
                </a:cubicBezTo>
                <a:cubicBezTo>
                  <a:pt x="1068" y="115"/>
                  <a:pt x="1068" y="115"/>
                  <a:pt x="1068" y="115"/>
                </a:cubicBezTo>
                <a:cubicBezTo>
                  <a:pt x="1069" y="115"/>
                  <a:pt x="1070" y="115"/>
                  <a:pt x="1070" y="115"/>
                </a:cubicBezTo>
                <a:cubicBezTo>
                  <a:pt x="1070" y="115"/>
                  <a:pt x="1069" y="116"/>
                  <a:pt x="1070" y="117"/>
                </a:cubicBezTo>
                <a:cubicBezTo>
                  <a:pt x="1070" y="117"/>
                  <a:pt x="1070" y="118"/>
                  <a:pt x="1070" y="118"/>
                </a:cubicBezTo>
                <a:cubicBezTo>
                  <a:pt x="1071" y="118"/>
                  <a:pt x="1072" y="118"/>
                  <a:pt x="1073" y="118"/>
                </a:cubicBezTo>
                <a:cubicBezTo>
                  <a:pt x="1072" y="118"/>
                  <a:pt x="1074" y="118"/>
                  <a:pt x="1074" y="118"/>
                </a:cubicBezTo>
                <a:cubicBezTo>
                  <a:pt x="1074" y="118"/>
                  <a:pt x="1074" y="119"/>
                  <a:pt x="1074" y="120"/>
                </a:cubicBezTo>
                <a:cubicBezTo>
                  <a:pt x="1073" y="120"/>
                  <a:pt x="1073" y="119"/>
                  <a:pt x="1072" y="121"/>
                </a:cubicBezTo>
                <a:cubicBezTo>
                  <a:pt x="1072" y="120"/>
                  <a:pt x="1071" y="120"/>
                  <a:pt x="1071" y="120"/>
                </a:cubicBezTo>
                <a:cubicBezTo>
                  <a:pt x="1071" y="120"/>
                  <a:pt x="1071" y="120"/>
                  <a:pt x="1070" y="121"/>
                </a:cubicBezTo>
                <a:cubicBezTo>
                  <a:pt x="1070" y="121"/>
                  <a:pt x="1071" y="122"/>
                  <a:pt x="1071" y="122"/>
                </a:cubicBezTo>
                <a:cubicBezTo>
                  <a:pt x="1071" y="122"/>
                  <a:pt x="1072" y="122"/>
                  <a:pt x="1072" y="122"/>
                </a:cubicBezTo>
                <a:cubicBezTo>
                  <a:pt x="1072" y="122"/>
                  <a:pt x="1072" y="123"/>
                  <a:pt x="1072" y="123"/>
                </a:cubicBezTo>
                <a:cubicBezTo>
                  <a:pt x="1072" y="124"/>
                  <a:pt x="1070" y="123"/>
                  <a:pt x="1070" y="123"/>
                </a:cubicBezTo>
                <a:cubicBezTo>
                  <a:pt x="1070" y="124"/>
                  <a:pt x="1070" y="124"/>
                  <a:pt x="1070" y="124"/>
                </a:cubicBezTo>
                <a:cubicBezTo>
                  <a:pt x="1070" y="125"/>
                  <a:pt x="1074" y="124"/>
                  <a:pt x="1075" y="124"/>
                </a:cubicBezTo>
                <a:cubicBezTo>
                  <a:pt x="1076" y="124"/>
                  <a:pt x="1076" y="125"/>
                  <a:pt x="1076" y="125"/>
                </a:cubicBezTo>
                <a:cubicBezTo>
                  <a:pt x="1077" y="125"/>
                  <a:pt x="1077" y="125"/>
                  <a:pt x="1078" y="126"/>
                </a:cubicBezTo>
                <a:cubicBezTo>
                  <a:pt x="1078" y="125"/>
                  <a:pt x="1078" y="125"/>
                  <a:pt x="1078" y="124"/>
                </a:cubicBezTo>
                <a:cubicBezTo>
                  <a:pt x="1079" y="124"/>
                  <a:pt x="1079" y="124"/>
                  <a:pt x="1079" y="123"/>
                </a:cubicBezTo>
                <a:cubicBezTo>
                  <a:pt x="1080" y="123"/>
                  <a:pt x="1081" y="125"/>
                  <a:pt x="1081" y="125"/>
                </a:cubicBezTo>
                <a:cubicBezTo>
                  <a:pt x="1082" y="125"/>
                  <a:pt x="1085" y="124"/>
                  <a:pt x="1085" y="124"/>
                </a:cubicBezTo>
                <a:cubicBezTo>
                  <a:pt x="1085" y="125"/>
                  <a:pt x="1086" y="125"/>
                  <a:pt x="1086" y="124"/>
                </a:cubicBezTo>
                <a:cubicBezTo>
                  <a:pt x="1086" y="124"/>
                  <a:pt x="1085" y="123"/>
                  <a:pt x="1085" y="122"/>
                </a:cubicBezTo>
                <a:cubicBezTo>
                  <a:pt x="1085" y="122"/>
                  <a:pt x="1088" y="122"/>
                  <a:pt x="1088" y="122"/>
                </a:cubicBezTo>
                <a:cubicBezTo>
                  <a:pt x="1088" y="123"/>
                  <a:pt x="1089" y="123"/>
                  <a:pt x="1089" y="123"/>
                </a:cubicBezTo>
                <a:cubicBezTo>
                  <a:pt x="1090" y="123"/>
                  <a:pt x="1090" y="123"/>
                  <a:pt x="1091" y="123"/>
                </a:cubicBezTo>
                <a:cubicBezTo>
                  <a:pt x="1092" y="123"/>
                  <a:pt x="1091" y="123"/>
                  <a:pt x="1092" y="122"/>
                </a:cubicBezTo>
                <a:cubicBezTo>
                  <a:pt x="1092" y="122"/>
                  <a:pt x="1093" y="122"/>
                  <a:pt x="1091" y="122"/>
                </a:cubicBezTo>
                <a:cubicBezTo>
                  <a:pt x="1091" y="121"/>
                  <a:pt x="1091" y="121"/>
                  <a:pt x="1091" y="121"/>
                </a:cubicBezTo>
                <a:cubicBezTo>
                  <a:pt x="1090" y="121"/>
                  <a:pt x="1089" y="121"/>
                  <a:pt x="1089" y="121"/>
                </a:cubicBezTo>
                <a:cubicBezTo>
                  <a:pt x="1089" y="121"/>
                  <a:pt x="1089" y="121"/>
                  <a:pt x="1088" y="121"/>
                </a:cubicBezTo>
                <a:cubicBezTo>
                  <a:pt x="1088" y="121"/>
                  <a:pt x="1088" y="121"/>
                  <a:pt x="1087" y="121"/>
                </a:cubicBezTo>
                <a:cubicBezTo>
                  <a:pt x="1087" y="121"/>
                  <a:pt x="1086" y="120"/>
                  <a:pt x="1086" y="119"/>
                </a:cubicBezTo>
                <a:cubicBezTo>
                  <a:pt x="1085" y="119"/>
                  <a:pt x="1085" y="119"/>
                  <a:pt x="1085" y="119"/>
                </a:cubicBezTo>
                <a:cubicBezTo>
                  <a:pt x="1085" y="118"/>
                  <a:pt x="1083" y="117"/>
                  <a:pt x="1083" y="117"/>
                </a:cubicBezTo>
                <a:cubicBezTo>
                  <a:pt x="1082" y="117"/>
                  <a:pt x="1083" y="116"/>
                  <a:pt x="1083" y="116"/>
                </a:cubicBezTo>
                <a:cubicBezTo>
                  <a:pt x="1083" y="116"/>
                  <a:pt x="1082" y="115"/>
                  <a:pt x="1082" y="115"/>
                </a:cubicBezTo>
                <a:cubicBezTo>
                  <a:pt x="1082" y="114"/>
                  <a:pt x="1081" y="114"/>
                  <a:pt x="1081" y="114"/>
                </a:cubicBezTo>
                <a:cubicBezTo>
                  <a:pt x="1081" y="113"/>
                  <a:pt x="1081" y="112"/>
                  <a:pt x="1081" y="111"/>
                </a:cubicBezTo>
                <a:cubicBezTo>
                  <a:pt x="1081" y="111"/>
                  <a:pt x="1081" y="111"/>
                  <a:pt x="1080" y="111"/>
                </a:cubicBezTo>
                <a:cubicBezTo>
                  <a:pt x="1081" y="110"/>
                  <a:pt x="1082" y="110"/>
                  <a:pt x="1082" y="108"/>
                </a:cubicBezTo>
                <a:cubicBezTo>
                  <a:pt x="1082" y="108"/>
                  <a:pt x="1081" y="108"/>
                  <a:pt x="1081" y="107"/>
                </a:cubicBezTo>
                <a:cubicBezTo>
                  <a:pt x="1081" y="106"/>
                  <a:pt x="1082" y="106"/>
                  <a:pt x="1083" y="106"/>
                </a:cubicBezTo>
                <a:cubicBezTo>
                  <a:pt x="1082" y="105"/>
                  <a:pt x="1082" y="105"/>
                  <a:pt x="1082" y="104"/>
                </a:cubicBezTo>
                <a:cubicBezTo>
                  <a:pt x="1083" y="104"/>
                  <a:pt x="1082" y="104"/>
                  <a:pt x="1083" y="103"/>
                </a:cubicBezTo>
                <a:cubicBezTo>
                  <a:pt x="1083" y="102"/>
                  <a:pt x="1084" y="103"/>
                  <a:pt x="1084" y="102"/>
                </a:cubicBezTo>
                <a:cubicBezTo>
                  <a:pt x="1084" y="101"/>
                  <a:pt x="1084" y="101"/>
                  <a:pt x="1083" y="101"/>
                </a:cubicBezTo>
                <a:cubicBezTo>
                  <a:pt x="1082" y="101"/>
                  <a:pt x="1082" y="101"/>
                  <a:pt x="1081" y="101"/>
                </a:cubicBezTo>
                <a:cubicBezTo>
                  <a:pt x="1081" y="100"/>
                  <a:pt x="1081" y="100"/>
                  <a:pt x="1080" y="100"/>
                </a:cubicBezTo>
                <a:cubicBezTo>
                  <a:pt x="1080" y="100"/>
                  <a:pt x="1080" y="100"/>
                  <a:pt x="1080" y="99"/>
                </a:cubicBezTo>
                <a:cubicBezTo>
                  <a:pt x="1080" y="99"/>
                  <a:pt x="1079" y="99"/>
                  <a:pt x="1079" y="99"/>
                </a:cubicBezTo>
                <a:cubicBezTo>
                  <a:pt x="1078" y="99"/>
                  <a:pt x="1077" y="99"/>
                  <a:pt x="1076" y="100"/>
                </a:cubicBezTo>
                <a:cubicBezTo>
                  <a:pt x="1076" y="99"/>
                  <a:pt x="1076" y="99"/>
                  <a:pt x="1076" y="99"/>
                </a:cubicBezTo>
                <a:cubicBezTo>
                  <a:pt x="1075" y="99"/>
                  <a:pt x="1076" y="98"/>
                  <a:pt x="1076" y="98"/>
                </a:cubicBezTo>
                <a:cubicBezTo>
                  <a:pt x="1076" y="98"/>
                  <a:pt x="1077" y="99"/>
                  <a:pt x="1077" y="99"/>
                </a:cubicBezTo>
                <a:cubicBezTo>
                  <a:pt x="1078" y="99"/>
                  <a:pt x="1077" y="99"/>
                  <a:pt x="1078" y="99"/>
                </a:cubicBezTo>
                <a:cubicBezTo>
                  <a:pt x="1078" y="99"/>
                  <a:pt x="1080" y="100"/>
                  <a:pt x="1080" y="98"/>
                </a:cubicBezTo>
                <a:cubicBezTo>
                  <a:pt x="1081" y="99"/>
                  <a:pt x="1081" y="99"/>
                  <a:pt x="1081" y="100"/>
                </a:cubicBezTo>
                <a:cubicBezTo>
                  <a:pt x="1082" y="100"/>
                  <a:pt x="1083" y="100"/>
                  <a:pt x="1084" y="99"/>
                </a:cubicBezTo>
                <a:cubicBezTo>
                  <a:pt x="1085" y="99"/>
                  <a:pt x="1085" y="99"/>
                  <a:pt x="1086" y="98"/>
                </a:cubicBezTo>
                <a:cubicBezTo>
                  <a:pt x="1086" y="97"/>
                  <a:pt x="1085" y="96"/>
                  <a:pt x="1085" y="96"/>
                </a:cubicBezTo>
                <a:cubicBezTo>
                  <a:pt x="1087" y="96"/>
                  <a:pt x="1087" y="97"/>
                  <a:pt x="1088" y="96"/>
                </a:cubicBezTo>
                <a:cubicBezTo>
                  <a:pt x="1088" y="96"/>
                  <a:pt x="1088" y="95"/>
                  <a:pt x="1088" y="95"/>
                </a:cubicBezTo>
                <a:cubicBezTo>
                  <a:pt x="1089" y="95"/>
                  <a:pt x="1089" y="95"/>
                  <a:pt x="1090" y="95"/>
                </a:cubicBezTo>
                <a:cubicBezTo>
                  <a:pt x="1090" y="94"/>
                  <a:pt x="1089" y="92"/>
                  <a:pt x="1089" y="91"/>
                </a:cubicBezTo>
                <a:cubicBezTo>
                  <a:pt x="1089" y="91"/>
                  <a:pt x="1091" y="91"/>
                  <a:pt x="1091" y="92"/>
                </a:cubicBezTo>
                <a:cubicBezTo>
                  <a:pt x="1091" y="92"/>
                  <a:pt x="1091" y="92"/>
                  <a:pt x="1091" y="93"/>
                </a:cubicBezTo>
                <a:cubicBezTo>
                  <a:pt x="1091" y="93"/>
                  <a:pt x="1092" y="92"/>
                  <a:pt x="1092" y="92"/>
                </a:cubicBezTo>
                <a:cubicBezTo>
                  <a:pt x="1092" y="92"/>
                  <a:pt x="1093" y="92"/>
                  <a:pt x="1093" y="92"/>
                </a:cubicBezTo>
                <a:cubicBezTo>
                  <a:pt x="1093" y="90"/>
                  <a:pt x="1093" y="90"/>
                  <a:pt x="1095" y="90"/>
                </a:cubicBezTo>
                <a:cubicBezTo>
                  <a:pt x="1094" y="89"/>
                  <a:pt x="1093" y="88"/>
                  <a:pt x="1095" y="88"/>
                </a:cubicBezTo>
                <a:cubicBezTo>
                  <a:pt x="1096" y="88"/>
                  <a:pt x="1096" y="88"/>
                  <a:pt x="1097" y="86"/>
                </a:cubicBezTo>
                <a:cubicBezTo>
                  <a:pt x="1097" y="86"/>
                  <a:pt x="1097" y="87"/>
                  <a:pt x="1098" y="87"/>
                </a:cubicBezTo>
                <a:cubicBezTo>
                  <a:pt x="1098" y="87"/>
                  <a:pt x="1099" y="87"/>
                  <a:pt x="1100" y="87"/>
                </a:cubicBezTo>
                <a:cubicBezTo>
                  <a:pt x="1100" y="86"/>
                  <a:pt x="1100" y="86"/>
                  <a:pt x="1100" y="85"/>
                </a:cubicBezTo>
                <a:cubicBezTo>
                  <a:pt x="1101" y="85"/>
                  <a:pt x="1102" y="85"/>
                  <a:pt x="1102" y="86"/>
                </a:cubicBezTo>
                <a:cubicBezTo>
                  <a:pt x="1102" y="86"/>
                  <a:pt x="1103" y="86"/>
                  <a:pt x="1103" y="85"/>
                </a:cubicBezTo>
                <a:cubicBezTo>
                  <a:pt x="1103" y="85"/>
                  <a:pt x="1103" y="84"/>
                  <a:pt x="1104" y="84"/>
                </a:cubicBezTo>
                <a:cubicBezTo>
                  <a:pt x="1105" y="84"/>
                  <a:pt x="1106" y="82"/>
                  <a:pt x="1106" y="82"/>
                </a:cubicBezTo>
                <a:cubicBezTo>
                  <a:pt x="1107" y="82"/>
                  <a:pt x="1107" y="82"/>
                  <a:pt x="1108" y="82"/>
                </a:cubicBezTo>
                <a:cubicBezTo>
                  <a:pt x="1108" y="82"/>
                  <a:pt x="1108" y="82"/>
                  <a:pt x="1108" y="82"/>
                </a:cubicBezTo>
                <a:cubicBezTo>
                  <a:pt x="1108" y="82"/>
                  <a:pt x="1109" y="82"/>
                  <a:pt x="1109" y="82"/>
                </a:cubicBezTo>
                <a:cubicBezTo>
                  <a:pt x="1110" y="81"/>
                  <a:pt x="1107" y="82"/>
                  <a:pt x="1110" y="81"/>
                </a:cubicBezTo>
                <a:cubicBezTo>
                  <a:pt x="1110" y="81"/>
                  <a:pt x="1111" y="81"/>
                  <a:pt x="1111" y="81"/>
                </a:cubicBezTo>
                <a:cubicBezTo>
                  <a:pt x="1111" y="80"/>
                  <a:pt x="1112" y="81"/>
                  <a:pt x="1112" y="80"/>
                </a:cubicBezTo>
                <a:cubicBezTo>
                  <a:pt x="1113" y="80"/>
                  <a:pt x="1114" y="81"/>
                  <a:pt x="1115" y="81"/>
                </a:cubicBezTo>
                <a:cubicBezTo>
                  <a:pt x="1116" y="80"/>
                  <a:pt x="1117" y="80"/>
                  <a:pt x="1117" y="79"/>
                </a:cubicBezTo>
                <a:cubicBezTo>
                  <a:pt x="1118" y="79"/>
                  <a:pt x="1120" y="78"/>
                  <a:pt x="1120" y="79"/>
                </a:cubicBezTo>
                <a:cubicBezTo>
                  <a:pt x="1120" y="79"/>
                  <a:pt x="1120" y="80"/>
                  <a:pt x="1121" y="80"/>
                </a:cubicBezTo>
                <a:cubicBezTo>
                  <a:pt x="1121" y="79"/>
                  <a:pt x="1121" y="79"/>
                  <a:pt x="1122" y="79"/>
                </a:cubicBezTo>
                <a:cubicBezTo>
                  <a:pt x="1122" y="79"/>
                  <a:pt x="1123" y="79"/>
                  <a:pt x="1123" y="78"/>
                </a:cubicBezTo>
                <a:cubicBezTo>
                  <a:pt x="1123" y="78"/>
                  <a:pt x="1124" y="79"/>
                  <a:pt x="1124" y="78"/>
                </a:cubicBezTo>
                <a:cubicBezTo>
                  <a:pt x="1124" y="77"/>
                  <a:pt x="1127" y="77"/>
                  <a:pt x="1127" y="77"/>
                </a:cubicBezTo>
                <a:cubicBezTo>
                  <a:pt x="1128" y="77"/>
                  <a:pt x="1128" y="77"/>
                  <a:pt x="1128" y="77"/>
                </a:cubicBezTo>
                <a:cubicBezTo>
                  <a:pt x="1128" y="77"/>
                  <a:pt x="1129" y="77"/>
                  <a:pt x="1130" y="77"/>
                </a:cubicBezTo>
                <a:cubicBezTo>
                  <a:pt x="1131" y="77"/>
                  <a:pt x="1130" y="77"/>
                  <a:pt x="1131" y="77"/>
                </a:cubicBezTo>
                <a:cubicBezTo>
                  <a:pt x="1132" y="77"/>
                  <a:pt x="1131" y="76"/>
                  <a:pt x="1132" y="76"/>
                </a:cubicBezTo>
                <a:cubicBezTo>
                  <a:pt x="1132" y="76"/>
                  <a:pt x="1132" y="76"/>
                  <a:pt x="1132" y="76"/>
                </a:cubicBezTo>
                <a:cubicBezTo>
                  <a:pt x="1133" y="76"/>
                  <a:pt x="1133" y="76"/>
                  <a:pt x="1134" y="76"/>
                </a:cubicBezTo>
                <a:cubicBezTo>
                  <a:pt x="1135" y="76"/>
                  <a:pt x="1134" y="75"/>
                  <a:pt x="1136" y="75"/>
                </a:cubicBezTo>
                <a:cubicBezTo>
                  <a:pt x="1137" y="75"/>
                  <a:pt x="1137" y="75"/>
                  <a:pt x="1137" y="74"/>
                </a:cubicBezTo>
                <a:cubicBezTo>
                  <a:pt x="1138" y="74"/>
                  <a:pt x="1138" y="74"/>
                  <a:pt x="1138" y="74"/>
                </a:cubicBezTo>
                <a:cubicBezTo>
                  <a:pt x="1138" y="74"/>
                  <a:pt x="1138" y="74"/>
                  <a:pt x="1138" y="73"/>
                </a:cubicBezTo>
                <a:cubicBezTo>
                  <a:pt x="1139" y="73"/>
                  <a:pt x="1139" y="73"/>
                  <a:pt x="1139" y="73"/>
                </a:cubicBezTo>
                <a:cubicBezTo>
                  <a:pt x="1140" y="73"/>
                  <a:pt x="1139" y="72"/>
                  <a:pt x="1140" y="72"/>
                </a:cubicBezTo>
                <a:cubicBezTo>
                  <a:pt x="1140" y="72"/>
                  <a:pt x="1139" y="71"/>
                  <a:pt x="1140" y="70"/>
                </a:cubicBezTo>
                <a:cubicBezTo>
                  <a:pt x="1140" y="70"/>
                  <a:pt x="1139" y="69"/>
                  <a:pt x="1138" y="69"/>
                </a:cubicBezTo>
                <a:cubicBezTo>
                  <a:pt x="1138" y="67"/>
                  <a:pt x="1138" y="67"/>
                  <a:pt x="1136" y="67"/>
                </a:cubicBezTo>
                <a:cubicBezTo>
                  <a:pt x="1136" y="67"/>
                  <a:pt x="1135" y="67"/>
                  <a:pt x="1135" y="68"/>
                </a:cubicBezTo>
                <a:cubicBezTo>
                  <a:pt x="1135" y="68"/>
                  <a:pt x="1134" y="69"/>
                  <a:pt x="1134" y="69"/>
                </a:cubicBezTo>
                <a:cubicBezTo>
                  <a:pt x="1133" y="69"/>
                  <a:pt x="1132" y="69"/>
                  <a:pt x="1131" y="70"/>
                </a:cubicBezTo>
                <a:cubicBezTo>
                  <a:pt x="1130" y="72"/>
                  <a:pt x="1130" y="70"/>
                  <a:pt x="1129" y="70"/>
                </a:cubicBezTo>
                <a:cubicBezTo>
                  <a:pt x="1129" y="70"/>
                  <a:pt x="1128" y="71"/>
                  <a:pt x="1128" y="71"/>
                </a:cubicBezTo>
                <a:cubicBezTo>
                  <a:pt x="1127" y="71"/>
                  <a:pt x="1128" y="71"/>
                  <a:pt x="1127" y="71"/>
                </a:cubicBezTo>
                <a:cubicBezTo>
                  <a:pt x="1127" y="71"/>
                  <a:pt x="1127" y="72"/>
                  <a:pt x="1126" y="72"/>
                </a:cubicBezTo>
                <a:cubicBezTo>
                  <a:pt x="1126" y="72"/>
                  <a:pt x="1125" y="72"/>
                  <a:pt x="1125" y="72"/>
                </a:cubicBezTo>
                <a:cubicBezTo>
                  <a:pt x="1125" y="72"/>
                  <a:pt x="1125" y="72"/>
                  <a:pt x="1124" y="72"/>
                </a:cubicBezTo>
                <a:cubicBezTo>
                  <a:pt x="1124" y="72"/>
                  <a:pt x="1123" y="73"/>
                  <a:pt x="1122" y="73"/>
                </a:cubicBezTo>
                <a:cubicBezTo>
                  <a:pt x="1122" y="73"/>
                  <a:pt x="1122" y="73"/>
                  <a:pt x="1122" y="73"/>
                </a:cubicBezTo>
                <a:cubicBezTo>
                  <a:pt x="1122" y="74"/>
                  <a:pt x="1121" y="74"/>
                  <a:pt x="1120" y="74"/>
                </a:cubicBezTo>
                <a:cubicBezTo>
                  <a:pt x="1120" y="74"/>
                  <a:pt x="1119" y="73"/>
                  <a:pt x="1119" y="74"/>
                </a:cubicBezTo>
                <a:cubicBezTo>
                  <a:pt x="1119" y="74"/>
                  <a:pt x="1117" y="75"/>
                  <a:pt x="1117" y="75"/>
                </a:cubicBezTo>
                <a:cubicBezTo>
                  <a:pt x="1116" y="75"/>
                  <a:pt x="1116" y="75"/>
                  <a:pt x="1115" y="74"/>
                </a:cubicBezTo>
                <a:cubicBezTo>
                  <a:pt x="1115" y="74"/>
                  <a:pt x="1114" y="74"/>
                  <a:pt x="1114" y="74"/>
                </a:cubicBezTo>
                <a:cubicBezTo>
                  <a:pt x="1114" y="74"/>
                  <a:pt x="1112" y="73"/>
                  <a:pt x="1111" y="73"/>
                </a:cubicBezTo>
                <a:cubicBezTo>
                  <a:pt x="1110" y="73"/>
                  <a:pt x="1109" y="73"/>
                  <a:pt x="1108" y="73"/>
                </a:cubicBezTo>
                <a:cubicBezTo>
                  <a:pt x="1108" y="74"/>
                  <a:pt x="1108" y="75"/>
                  <a:pt x="1108" y="76"/>
                </a:cubicBezTo>
                <a:cubicBezTo>
                  <a:pt x="1107" y="76"/>
                  <a:pt x="1107" y="76"/>
                  <a:pt x="1106" y="76"/>
                </a:cubicBezTo>
                <a:cubicBezTo>
                  <a:pt x="1105" y="76"/>
                  <a:pt x="1105" y="75"/>
                  <a:pt x="1105" y="76"/>
                </a:cubicBezTo>
                <a:cubicBezTo>
                  <a:pt x="1105" y="76"/>
                  <a:pt x="1104" y="76"/>
                  <a:pt x="1103" y="76"/>
                </a:cubicBezTo>
                <a:cubicBezTo>
                  <a:pt x="1103" y="76"/>
                  <a:pt x="1103" y="75"/>
                  <a:pt x="1103" y="76"/>
                </a:cubicBezTo>
                <a:cubicBezTo>
                  <a:pt x="1103" y="76"/>
                  <a:pt x="1102" y="76"/>
                  <a:pt x="1101" y="77"/>
                </a:cubicBezTo>
                <a:cubicBezTo>
                  <a:pt x="1101" y="77"/>
                  <a:pt x="1100" y="77"/>
                  <a:pt x="1100" y="77"/>
                </a:cubicBezTo>
                <a:cubicBezTo>
                  <a:pt x="1100" y="77"/>
                  <a:pt x="1099" y="77"/>
                  <a:pt x="1099" y="77"/>
                </a:cubicBezTo>
                <a:cubicBezTo>
                  <a:pt x="1098" y="77"/>
                  <a:pt x="1098" y="78"/>
                  <a:pt x="1098" y="78"/>
                </a:cubicBezTo>
                <a:cubicBezTo>
                  <a:pt x="1098" y="78"/>
                  <a:pt x="1098" y="78"/>
                  <a:pt x="1098" y="78"/>
                </a:cubicBezTo>
                <a:cubicBezTo>
                  <a:pt x="1097" y="79"/>
                  <a:pt x="1097" y="79"/>
                  <a:pt x="1096" y="79"/>
                </a:cubicBezTo>
                <a:cubicBezTo>
                  <a:pt x="1095" y="79"/>
                  <a:pt x="1094" y="79"/>
                  <a:pt x="1093" y="80"/>
                </a:cubicBezTo>
                <a:cubicBezTo>
                  <a:pt x="1093" y="81"/>
                  <a:pt x="1093" y="80"/>
                  <a:pt x="1092" y="81"/>
                </a:cubicBezTo>
                <a:cubicBezTo>
                  <a:pt x="1092" y="81"/>
                  <a:pt x="1092" y="81"/>
                  <a:pt x="1091" y="82"/>
                </a:cubicBezTo>
                <a:cubicBezTo>
                  <a:pt x="1091" y="82"/>
                  <a:pt x="1090" y="82"/>
                  <a:pt x="1090" y="81"/>
                </a:cubicBezTo>
                <a:cubicBezTo>
                  <a:pt x="1089" y="81"/>
                  <a:pt x="1088" y="81"/>
                  <a:pt x="1087" y="81"/>
                </a:cubicBezTo>
                <a:cubicBezTo>
                  <a:pt x="1087" y="81"/>
                  <a:pt x="1086" y="81"/>
                  <a:pt x="1086" y="81"/>
                </a:cubicBezTo>
                <a:cubicBezTo>
                  <a:pt x="1086" y="81"/>
                  <a:pt x="1084" y="83"/>
                  <a:pt x="1085" y="82"/>
                </a:cubicBezTo>
                <a:cubicBezTo>
                  <a:pt x="1085" y="82"/>
                  <a:pt x="1085" y="83"/>
                  <a:pt x="1085" y="83"/>
                </a:cubicBezTo>
                <a:cubicBezTo>
                  <a:pt x="1084" y="83"/>
                  <a:pt x="1083" y="84"/>
                  <a:pt x="1082" y="83"/>
                </a:cubicBezTo>
                <a:cubicBezTo>
                  <a:pt x="1081" y="83"/>
                  <a:pt x="1081" y="83"/>
                  <a:pt x="1080" y="84"/>
                </a:cubicBezTo>
                <a:cubicBezTo>
                  <a:pt x="1081" y="84"/>
                  <a:pt x="1083" y="84"/>
                  <a:pt x="1081" y="85"/>
                </a:cubicBezTo>
                <a:cubicBezTo>
                  <a:pt x="1080" y="85"/>
                  <a:pt x="1080" y="85"/>
                  <a:pt x="1080" y="86"/>
                </a:cubicBezTo>
                <a:cubicBezTo>
                  <a:pt x="1080" y="86"/>
                  <a:pt x="1081" y="87"/>
                  <a:pt x="1081" y="87"/>
                </a:cubicBezTo>
                <a:cubicBezTo>
                  <a:pt x="1081" y="87"/>
                  <a:pt x="1080" y="87"/>
                  <a:pt x="1079" y="87"/>
                </a:cubicBezTo>
                <a:cubicBezTo>
                  <a:pt x="1078" y="86"/>
                  <a:pt x="1078" y="86"/>
                  <a:pt x="1078" y="87"/>
                </a:cubicBezTo>
                <a:cubicBezTo>
                  <a:pt x="1077" y="87"/>
                  <a:pt x="1078" y="88"/>
                  <a:pt x="1077" y="89"/>
                </a:cubicBezTo>
                <a:cubicBezTo>
                  <a:pt x="1077" y="89"/>
                  <a:pt x="1076" y="88"/>
                  <a:pt x="1076" y="88"/>
                </a:cubicBezTo>
                <a:cubicBezTo>
                  <a:pt x="1076" y="89"/>
                  <a:pt x="1076" y="89"/>
                  <a:pt x="1076" y="90"/>
                </a:cubicBezTo>
                <a:cubicBezTo>
                  <a:pt x="1076" y="90"/>
                  <a:pt x="1075" y="91"/>
                  <a:pt x="1075" y="91"/>
                </a:cubicBezTo>
                <a:cubicBezTo>
                  <a:pt x="1074" y="89"/>
                  <a:pt x="1072" y="92"/>
                  <a:pt x="1072" y="92"/>
                </a:cubicBezTo>
                <a:cubicBezTo>
                  <a:pt x="1072" y="93"/>
                  <a:pt x="1071" y="92"/>
                  <a:pt x="1071" y="92"/>
                </a:cubicBezTo>
                <a:cubicBezTo>
                  <a:pt x="1070" y="93"/>
                  <a:pt x="1071" y="93"/>
                  <a:pt x="1070" y="93"/>
                </a:cubicBezTo>
                <a:cubicBezTo>
                  <a:pt x="1069" y="93"/>
                  <a:pt x="1068" y="93"/>
                  <a:pt x="1068" y="94"/>
                </a:cubicBezTo>
                <a:cubicBezTo>
                  <a:pt x="1069" y="95"/>
                  <a:pt x="1069" y="94"/>
                  <a:pt x="1070" y="95"/>
                </a:cubicBezTo>
                <a:cubicBezTo>
                  <a:pt x="1070" y="95"/>
                  <a:pt x="1072" y="95"/>
                  <a:pt x="1072" y="95"/>
                </a:cubicBezTo>
                <a:cubicBezTo>
                  <a:pt x="1073" y="95"/>
                  <a:pt x="1075" y="95"/>
                  <a:pt x="1074" y="95"/>
                </a:cubicBezTo>
                <a:cubicBezTo>
                  <a:pt x="1073" y="95"/>
                  <a:pt x="1073" y="95"/>
                  <a:pt x="1072" y="95"/>
                </a:cubicBezTo>
                <a:cubicBezTo>
                  <a:pt x="1072" y="95"/>
                  <a:pt x="1071" y="97"/>
                  <a:pt x="1071" y="97"/>
                </a:cubicBezTo>
                <a:cubicBezTo>
                  <a:pt x="1071" y="97"/>
                  <a:pt x="1071" y="98"/>
                  <a:pt x="1070" y="98"/>
                </a:cubicBezTo>
                <a:cubicBezTo>
                  <a:pt x="1071" y="98"/>
                  <a:pt x="1071" y="99"/>
                  <a:pt x="1071" y="99"/>
                </a:cubicBezTo>
                <a:cubicBezTo>
                  <a:pt x="1071" y="99"/>
                  <a:pt x="1073" y="98"/>
                  <a:pt x="1073" y="99"/>
                </a:cubicBezTo>
                <a:cubicBezTo>
                  <a:pt x="1073" y="99"/>
                  <a:pt x="1071" y="100"/>
                  <a:pt x="1071" y="101"/>
                </a:cubicBezTo>
                <a:cubicBezTo>
                  <a:pt x="1070" y="101"/>
                  <a:pt x="1068" y="100"/>
                  <a:pt x="1067" y="101"/>
                </a:cubicBezTo>
                <a:cubicBezTo>
                  <a:pt x="1067" y="101"/>
                  <a:pt x="1067" y="101"/>
                  <a:pt x="1066" y="101"/>
                </a:cubicBezTo>
                <a:cubicBezTo>
                  <a:pt x="1066" y="102"/>
                  <a:pt x="1067" y="102"/>
                  <a:pt x="1066" y="102"/>
                </a:cubicBezTo>
                <a:cubicBezTo>
                  <a:pt x="1066" y="103"/>
                  <a:pt x="1066" y="104"/>
                  <a:pt x="1067" y="105"/>
                </a:cubicBezTo>
                <a:cubicBezTo>
                  <a:pt x="1067" y="105"/>
                  <a:pt x="1068" y="106"/>
                  <a:pt x="1067" y="106"/>
                </a:cubicBezTo>
                <a:cubicBezTo>
                  <a:pt x="1065" y="106"/>
                  <a:pt x="1066" y="106"/>
                  <a:pt x="1066" y="107"/>
                </a:cubicBezTo>
                <a:cubicBezTo>
                  <a:pt x="1066" y="108"/>
                  <a:pt x="1065" y="108"/>
                  <a:pt x="1065" y="108"/>
                </a:cubicBezTo>
                <a:cubicBezTo>
                  <a:pt x="1065" y="109"/>
                  <a:pt x="1066" y="109"/>
                  <a:pt x="1065" y="110"/>
                </a:cubicBezTo>
                <a:cubicBezTo>
                  <a:pt x="1065" y="110"/>
                  <a:pt x="1065" y="110"/>
                  <a:pt x="1064" y="110"/>
                </a:cubicBezTo>
                <a:cubicBezTo>
                  <a:pt x="1064" y="110"/>
                  <a:pt x="1064" y="111"/>
                  <a:pt x="1064" y="111"/>
                </a:cubicBezTo>
                <a:cubicBezTo>
                  <a:pt x="1064" y="111"/>
                  <a:pt x="1063" y="110"/>
                  <a:pt x="1063" y="110"/>
                </a:cubicBezTo>
                <a:cubicBezTo>
                  <a:pt x="1061" y="110"/>
                  <a:pt x="1062" y="111"/>
                  <a:pt x="1061" y="112"/>
                </a:cubicBezTo>
                <a:cubicBezTo>
                  <a:pt x="1061" y="114"/>
                  <a:pt x="1061" y="112"/>
                  <a:pt x="1061" y="112"/>
                </a:cubicBezTo>
                <a:close/>
                <a:moveTo>
                  <a:pt x="386" y="67"/>
                </a:moveTo>
                <a:cubicBezTo>
                  <a:pt x="386" y="67"/>
                  <a:pt x="386" y="67"/>
                  <a:pt x="386" y="67"/>
                </a:cubicBezTo>
                <a:cubicBezTo>
                  <a:pt x="386" y="69"/>
                  <a:pt x="387" y="69"/>
                  <a:pt x="389" y="69"/>
                </a:cubicBezTo>
                <a:cubicBezTo>
                  <a:pt x="389" y="68"/>
                  <a:pt x="388" y="67"/>
                  <a:pt x="388" y="66"/>
                </a:cubicBezTo>
                <a:cubicBezTo>
                  <a:pt x="388" y="66"/>
                  <a:pt x="386" y="66"/>
                  <a:pt x="386" y="67"/>
                </a:cubicBezTo>
                <a:close/>
                <a:moveTo>
                  <a:pt x="323" y="66"/>
                </a:moveTo>
                <a:cubicBezTo>
                  <a:pt x="322" y="67"/>
                  <a:pt x="321" y="68"/>
                  <a:pt x="321" y="69"/>
                </a:cubicBezTo>
                <a:cubicBezTo>
                  <a:pt x="323" y="69"/>
                  <a:pt x="325" y="69"/>
                  <a:pt x="326" y="68"/>
                </a:cubicBezTo>
                <a:cubicBezTo>
                  <a:pt x="326" y="67"/>
                  <a:pt x="326" y="67"/>
                  <a:pt x="325" y="67"/>
                </a:cubicBezTo>
                <a:cubicBezTo>
                  <a:pt x="325" y="67"/>
                  <a:pt x="324" y="67"/>
                  <a:pt x="324" y="67"/>
                </a:cubicBezTo>
                <a:cubicBezTo>
                  <a:pt x="324" y="66"/>
                  <a:pt x="324" y="66"/>
                  <a:pt x="324" y="66"/>
                </a:cubicBezTo>
                <a:cubicBezTo>
                  <a:pt x="324" y="66"/>
                  <a:pt x="323" y="66"/>
                  <a:pt x="323" y="66"/>
                </a:cubicBezTo>
                <a:cubicBezTo>
                  <a:pt x="322" y="67"/>
                  <a:pt x="323" y="66"/>
                  <a:pt x="323" y="66"/>
                </a:cubicBezTo>
                <a:close/>
                <a:moveTo>
                  <a:pt x="347" y="66"/>
                </a:moveTo>
                <a:cubicBezTo>
                  <a:pt x="347" y="66"/>
                  <a:pt x="346" y="68"/>
                  <a:pt x="346" y="68"/>
                </a:cubicBezTo>
                <a:cubicBezTo>
                  <a:pt x="346" y="68"/>
                  <a:pt x="346" y="69"/>
                  <a:pt x="347" y="69"/>
                </a:cubicBezTo>
                <a:cubicBezTo>
                  <a:pt x="346" y="70"/>
                  <a:pt x="345" y="70"/>
                  <a:pt x="344" y="70"/>
                </a:cubicBezTo>
                <a:cubicBezTo>
                  <a:pt x="344" y="69"/>
                  <a:pt x="344" y="69"/>
                  <a:pt x="344" y="69"/>
                </a:cubicBezTo>
                <a:cubicBezTo>
                  <a:pt x="344" y="68"/>
                  <a:pt x="345" y="68"/>
                  <a:pt x="345" y="68"/>
                </a:cubicBezTo>
                <a:cubicBezTo>
                  <a:pt x="344" y="68"/>
                  <a:pt x="344" y="68"/>
                  <a:pt x="344" y="67"/>
                </a:cubicBezTo>
                <a:cubicBezTo>
                  <a:pt x="343" y="67"/>
                  <a:pt x="343" y="66"/>
                  <a:pt x="343" y="65"/>
                </a:cubicBezTo>
                <a:cubicBezTo>
                  <a:pt x="342" y="66"/>
                  <a:pt x="340" y="66"/>
                  <a:pt x="340" y="67"/>
                </a:cubicBezTo>
                <a:cubicBezTo>
                  <a:pt x="340" y="68"/>
                  <a:pt x="343" y="68"/>
                  <a:pt x="343" y="68"/>
                </a:cubicBezTo>
                <a:cubicBezTo>
                  <a:pt x="343" y="69"/>
                  <a:pt x="343" y="69"/>
                  <a:pt x="343" y="69"/>
                </a:cubicBezTo>
                <a:cubicBezTo>
                  <a:pt x="342" y="69"/>
                  <a:pt x="342" y="69"/>
                  <a:pt x="341" y="69"/>
                </a:cubicBezTo>
                <a:cubicBezTo>
                  <a:pt x="340" y="70"/>
                  <a:pt x="339" y="69"/>
                  <a:pt x="339" y="71"/>
                </a:cubicBezTo>
                <a:cubicBezTo>
                  <a:pt x="339" y="70"/>
                  <a:pt x="340" y="71"/>
                  <a:pt x="340" y="71"/>
                </a:cubicBezTo>
                <a:cubicBezTo>
                  <a:pt x="340" y="71"/>
                  <a:pt x="341" y="72"/>
                  <a:pt x="341" y="72"/>
                </a:cubicBezTo>
                <a:cubicBezTo>
                  <a:pt x="342" y="72"/>
                  <a:pt x="342" y="72"/>
                  <a:pt x="342" y="73"/>
                </a:cubicBezTo>
                <a:cubicBezTo>
                  <a:pt x="342" y="74"/>
                  <a:pt x="342" y="74"/>
                  <a:pt x="342" y="75"/>
                </a:cubicBezTo>
                <a:cubicBezTo>
                  <a:pt x="342" y="75"/>
                  <a:pt x="343" y="75"/>
                  <a:pt x="343" y="75"/>
                </a:cubicBezTo>
                <a:cubicBezTo>
                  <a:pt x="343" y="76"/>
                  <a:pt x="342" y="76"/>
                  <a:pt x="342" y="77"/>
                </a:cubicBezTo>
                <a:cubicBezTo>
                  <a:pt x="341" y="76"/>
                  <a:pt x="341" y="76"/>
                  <a:pt x="340" y="76"/>
                </a:cubicBezTo>
                <a:cubicBezTo>
                  <a:pt x="340" y="76"/>
                  <a:pt x="340" y="75"/>
                  <a:pt x="341" y="74"/>
                </a:cubicBezTo>
                <a:cubicBezTo>
                  <a:pt x="340" y="74"/>
                  <a:pt x="339" y="74"/>
                  <a:pt x="339" y="73"/>
                </a:cubicBezTo>
                <a:cubicBezTo>
                  <a:pt x="338" y="73"/>
                  <a:pt x="337" y="72"/>
                  <a:pt x="336" y="70"/>
                </a:cubicBezTo>
                <a:cubicBezTo>
                  <a:pt x="336" y="70"/>
                  <a:pt x="336" y="70"/>
                  <a:pt x="336" y="69"/>
                </a:cubicBezTo>
                <a:cubicBezTo>
                  <a:pt x="336" y="69"/>
                  <a:pt x="336" y="69"/>
                  <a:pt x="335" y="69"/>
                </a:cubicBezTo>
                <a:cubicBezTo>
                  <a:pt x="335" y="69"/>
                  <a:pt x="334" y="69"/>
                  <a:pt x="334" y="69"/>
                </a:cubicBezTo>
                <a:cubicBezTo>
                  <a:pt x="333" y="69"/>
                  <a:pt x="333" y="70"/>
                  <a:pt x="333" y="71"/>
                </a:cubicBezTo>
                <a:cubicBezTo>
                  <a:pt x="333" y="71"/>
                  <a:pt x="334" y="71"/>
                  <a:pt x="334" y="71"/>
                </a:cubicBezTo>
                <a:cubicBezTo>
                  <a:pt x="334" y="71"/>
                  <a:pt x="334" y="72"/>
                  <a:pt x="334" y="72"/>
                </a:cubicBezTo>
                <a:cubicBezTo>
                  <a:pt x="333" y="73"/>
                  <a:pt x="333" y="72"/>
                  <a:pt x="334" y="73"/>
                </a:cubicBezTo>
                <a:cubicBezTo>
                  <a:pt x="334" y="74"/>
                  <a:pt x="334" y="74"/>
                  <a:pt x="335" y="74"/>
                </a:cubicBezTo>
                <a:cubicBezTo>
                  <a:pt x="335" y="74"/>
                  <a:pt x="336" y="77"/>
                  <a:pt x="336" y="77"/>
                </a:cubicBezTo>
                <a:cubicBezTo>
                  <a:pt x="336" y="77"/>
                  <a:pt x="334" y="77"/>
                  <a:pt x="334" y="77"/>
                </a:cubicBezTo>
                <a:cubicBezTo>
                  <a:pt x="333" y="77"/>
                  <a:pt x="332" y="77"/>
                  <a:pt x="331" y="77"/>
                </a:cubicBezTo>
                <a:cubicBezTo>
                  <a:pt x="331" y="77"/>
                  <a:pt x="331" y="78"/>
                  <a:pt x="331" y="78"/>
                </a:cubicBezTo>
                <a:cubicBezTo>
                  <a:pt x="331" y="78"/>
                  <a:pt x="331" y="78"/>
                  <a:pt x="332" y="78"/>
                </a:cubicBezTo>
                <a:cubicBezTo>
                  <a:pt x="331" y="79"/>
                  <a:pt x="332" y="79"/>
                  <a:pt x="331" y="79"/>
                </a:cubicBezTo>
                <a:cubicBezTo>
                  <a:pt x="330" y="79"/>
                  <a:pt x="330" y="79"/>
                  <a:pt x="330" y="79"/>
                </a:cubicBezTo>
                <a:cubicBezTo>
                  <a:pt x="330" y="80"/>
                  <a:pt x="330" y="80"/>
                  <a:pt x="330" y="81"/>
                </a:cubicBezTo>
                <a:cubicBezTo>
                  <a:pt x="330" y="81"/>
                  <a:pt x="331" y="80"/>
                  <a:pt x="331" y="81"/>
                </a:cubicBezTo>
                <a:cubicBezTo>
                  <a:pt x="332" y="81"/>
                  <a:pt x="334" y="81"/>
                  <a:pt x="334" y="80"/>
                </a:cubicBezTo>
                <a:cubicBezTo>
                  <a:pt x="335" y="79"/>
                  <a:pt x="336" y="80"/>
                  <a:pt x="337" y="79"/>
                </a:cubicBezTo>
                <a:cubicBezTo>
                  <a:pt x="338" y="79"/>
                  <a:pt x="339" y="79"/>
                  <a:pt x="340" y="79"/>
                </a:cubicBezTo>
                <a:cubicBezTo>
                  <a:pt x="341" y="79"/>
                  <a:pt x="342" y="78"/>
                  <a:pt x="343" y="78"/>
                </a:cubicBezTo>
                <a:cubicBezTo>
                  <a:pt x="343" y="79"/>
                  <a:pt x="343" y="79"/>
                  <a:pt x="343" y="79"/>
                </a:cubicBezTo>
                <a:cubicBezTo>
                  <a:pt x="342" y="80"/>
                  <a:pt x="342" y="80"/>
                  <a:pt x="341" y="80"/>
                </a:cubicBezTo>
                <a:cubicBezTo>
                  <a:pt x="341" y="81"/>
                  <a:pt x="340" y="81"/>
                  <a:pt x="340" y="81"/>
                </a:cubicBezTo>
                <a:cubicBezTo>
                  <a:pt x="339" y="81"/>
                  <a:pt x="339" y="82"/>
                  <a:pt x="339" y="83"/>
                </a:cubicBezTo>
                <a:cubicBezTo>
                  <a:pt x="339" y="84"/>
                  <a:pt x="339" y="84"/>
                  <a:pt x="340" y="84"/>
                </a:cubicBezTo>
                <a:cubicBezTo>
                  <a:pt x="341" y="84"/>
                  <a:pt x="342" y="85"/>
                  <a:pt x="343" y="85"/>
                </a:cubicBezTo>
                <a:cubicBezTo>
                  <a:pt x="344" y="85"/>
                  <a:pt x="344" y="85"/>
                  <a:pt x="344" y="84"/>
                </a:cubicBezTo>
                <a:cubicBezTo>
                  <a:pt x="345" y="84"/>
                  <a:pt x="347" y="84"/>
                  <a:pt x="347" y="85"/>
                </a:cubicBezTo>
                <a:cubicBezTo>
                  <a:pt x="348" y="84"/>
                  <a:pt x="353" y="84"/>
                  <a:pt x="354" y="84"/>
                </a:cubicBezTo>
                <a:cubicBezTo>
                  <a:pt x="356" y="83"/>
                  <a:pt x="354" y="83"/>
                  <a:pt x="354" y="82"/>
                </a:cubicBezTo>
                <a:cubicBezTo>
                  <a:pt x="355" y="82"/>
                  <a:pt x="355" y="82"/>
                  <a:pt x="356" y="82"/>
                </a:cubicBezTo>
                <a:cubicBezTo>
                  <a:pt x="356" y="82"/>
                  <a:pt x="356" y="82"/>
                  <a:pt x="356" y="82"/>
                </a:cubicBezTo>
                <a:cubicBezTo>
                  <a:pt x="356" y="82"/>
                  <a:pt x="356" y="82"/>
                  <a:pt x="356" y="82"/>
                </a:cubicBezTo>
                <a:cubicBezTo>
                  <a:pt x="355" y="81"/>
                  <a:pt x="355" y="80"/>
                  <a:pt x="354" y="80"/>
                </a:cubicBezTo>
                <a:cubicBezTo>
                  <a:pt x="354" y="80"/>
                  <a:pt x="354" y="79"/>
                  <a:pt x="354" y="78"/>
                </a:cubicBezTo>
                <a:cubicBezTo>
                  <a:pt x="354" y="78"/>
                  <a:pt x="355" y="79"/>
                  <a:pt x="355" y="78"/>
                </a:cubicBezTo>
                <a:cubicBezTo>
                  <a:pt x="355" y="77"/>
                  <a:pt x="354" y="77"/>
                  <a:pt x="354" y="77"/>
                </a:cubicBezTo>
                <a:cubicBezTo>
                  <a:pt x="354" y="77"/>
                  <a:pt x="353" y="77"/>
                  <a:pt x="353" y="77"/>
                </a:cubicBezTo>
                <a:cubicBezTo>
                  <a:pt x="353" y="76"/>
                  <a:pt x="353" y="76"/>
                  <a:pt x="353" y="75"/>
                </a:cubicBezTo>
                <a:cubicBezTo>
                  <a:pt x="353" y="74"/>
                  <a:pt x="353" y="74"/>
                  <a:pt x="353" y="73"/>
                </a:cubicBezTo>
                <a:cubicBezTo>
                  <a:pt x="353" y="73"/>
                  <a:pt x="353" y="73"/>
                  <a:pt x="352" y="73"/>
                </a:cubicBezTo>
                <a:cubicBezTo>
                  <a:pt x="352" y="73"/>
                  <a:pt x="352" y="71"/>
                  <a:pt x="352" y="71"/>
                </a:cubicBezTo>
                <a:cubicBezTo>
                  <a:pt x="352" y="71"/>
                  <a:pt x="352" y="71"/>
                  <a:pt x="352" y="71"/>
                </a:cubicBezTo>
                <a:cubicBezTo>
                  <a:pt x="352" y="70"/>
                  <a:pt x="352" y="69"/>
                  <a:pt x="351" y="69"/>
                </a:cubicBezTo>
                <a:cubicBezTo>
                  <a:pt x="351" y="69"/>
                  <a:pt x="351" y="69"/>
                  <a:pt x="350" y="69"/>
                </a:cubicBezTo>
                <a:cubicBezTo>
                  <a:pt x="350" y="69"/>
                  <a:pt x="350" y="69"/>
                  <a:pt x="350" y="69"/>
                </a:cubicBezTo>
                <a:cubicBezTo>
                  <a:pt x="350" y="69"/>
                  <a:pt x="349" y="69"/>
                  <a:pt x="349" y="69"/>
                </a:cubicBezTo>
                <a:cubicBezTo>
                  <a:pt x="349" y="68"/>
                  <a:pt x="349" y="68"/>
                  <a:pt x="350" y="68"/>
                </a:cubicBezTo>
                <a:cubicBezTo>
                  <a:pt x="349" y="67"/>
                  <a:pt x="348" y="66"/>
                  <a:pt x="347" y="66"/>
                </a:cubicBezTo>
                <a:close/>
                <a:moveTo>
                  <a:pt x="272" y="65"/>
                </a:moveTo>
                <a:cubicBezTo>
                  <a:pt x="272" y="65"/>
                  <a:pt x="271" y="65"/>
                  <a:pt x="271" y="65"/>
                </a:cubicBezTo>
                <a:cubicBezTo>
                  <a:pt x="270" y="65"/>
                  <a:pt x="270" y="67"/>
                  <a:pt x="270" y="68"/>
                </a:cubicBezTo>
                <a:cubicBezTo>
                  <a:pt x="271" y="67"/>
                  <a:pt x="272" y="68"/>
                  <a:pt x="272" y="67"/>
                </a:cubicBezTo>
                <a:cubicBezTo>
                  <a:pt x="272" y="66"/>
                  <a:pt x="272" y="66"/>
                  <a:pt x="272" y="65"/>
                </a:cubicBezTo>
                <a:close/>
                <a:moveTo>
                  <a:pt x="392" y="88"/>
                </a:moveTo>
                <a:cubicBezTo>
                  <a:pt x="392" y="87"/>
                  <a:pt x="392" y="86"/>
                  <a:pt x="393" y="86"/>
                </a:cubicBezTo>
                <a:cubicBezTo>
                  <a:pt x="393" y="86"/>
                  <a:pt x="393" y="85"/>
                  <a:pt x="394" y="85"/>
                </a:cubicBezTo>
                <a:cubicBezTo>
                  <a:pt x="394" y="85"/>
                  <a:pt x="395" y="85"/>
                  <a:pt x="395" y="86"/>
                </a:cubicBezTo>
                <a:cubicBezTo>
                  <a:pt x="395" y="86"/>
                  <a:pt x="395" y="87"/>
                  <a:pt x="395" y="87"/>
                </a:cubicBezTo>
                <a:cubicBezTo>
                  <a:pt x="395" y="87"/>
                  <a:pt x="395" y="88"/>
                  <a:pt x="395" y="88"/>
                </a:cubicBezTo>
                <a:cubicBezTo>
                  <a:pt x="396" y="88"/>
                  <a:pt x="397" y="88"/>
                  <a:pt x="397" y="89"/>
                </a:cubicBezTo>
                <a:cubicBezTo>
                  <a:pt x="399" y="89"/>
                  <a:pt x="397" y="88"/>
                  <a:pt x="398" y="88"/>
                </a:cubicBezTo>
                <a:cubicBezTo>
                  <a:pt x="399" y="88"/>
                  <a:pt x="400" y="88"/>
                  <a:pt x="400" y="88"/>
                </a:cubicBezTo>
                <a:cubicBezTo>
                  <a:pt x="400" y="88"/>
                  <a:pt x="400" y="88"/>
                  <a:pt x="401" y="88"/>
                </a:cubicBezTo>
                <a:cubicBezTo>
                  <a:pt x="401" y="88"/>
                  <a:pt x="402" y="88"/>
                  <a:pt x="402" y="88"/>
                </a:cubicBezTo>
                <a:cubicBezTo>
                  <a:pt x="402" y="88"/>
                  <a:pt x="403" y="88"/>
                  <a:pt x="403" y="88"/>
                </a:cubicBezTo>
                <a:cubicBezTo>
                  <a:pt x="403" y="87"/>
                  <a:pt x="403" y="87"/>
                  <a:pt x="404" y="87"/>
                </a:cubicBezTo>
                <a:cubicBezTo>
                  <a:pt x="405" y="87"/>
                  <a:pt x="405" y="87"/>
                  <a:pt x="405" y="88"/>
                </a:cubicBezTo>
                <a:cubicBezTo>
                  <a:pt x="405" y="89"/>
                  <a:pt x="405" y="88"/>
                  <a:pt x="406" y="88"/>
                </a:cubicBezTo>
                <a:cubicBezTo>
                  <a:pt x="407" y="88"/>
                  <a:pt x="407" y="88"/>
                  <a:pt x="408" y="88"/>
                </a:cubicBezTo>
                <a:cubicBezTo>
                  <a:pt x="409" y="88"/>
                  <a:pt x="409" y="88"/>
                  <a:pt x="409" y="88"/>
                </a:cubicBezTo>
                <a:cubicBezTo>
                  <a:pt x="410" y="88"/>
                  <a:pt x="409" y="87"/>
                  <a:pt x="409" y="87"/>
                </a:cubicBezTo>
                <a:cubicBezTo>
                  <a:pt x="410" y="87"/>
                  <a:pt x="409" y="88"/>
                  <a:pt x="410" y="88"/>
                </a:cubicBezTo>
                <a:cubicBezTo>
                  <a:pt x="411" y="88"/>
                  <a:pt x="411" y="87"/>
                  <a:pt x="412" y="88"/>
                </a:cubicBezTo>
                <a:cubicBezTo>
                  <a:pt x="412" y="88"/>
                  <a:pt x="414" y="88"/>
                  <a:pt x="414" y="88"/>
                </a:cubicBezTo>
                <a:cubicBezTo>
                  <a:pt x="414" y="87"/>
                  <a:pt x="416" y="88"/>
                  <a:pt x="416" y="88"/>
                </a:cubicBezTo>
                <a:cubicBezTo>
                  <a:pt x="417" y="88"/>
                  <a:pt x="417" y="88"/>
                  <a:pt x="418" y="88"/>
                </a:cubicBezTo>
                <a:cubicBezTo>
                  <a:pt x="418" y="88"/>
                  <a:pt x="418" y="88"/>
                  <a:pt x="418" y="88"/>
                </a:cubicBezTo>
                <a:cubicBezTo>
                  <a:pt x="418" y="87"/>
                  <a:pt x="420" y="88"/>
                  <a:pt x="420" y="88"/>
                </a:cubicBezTo>
                <a:cubicBezTo>
                  <a:pt x="420" y="87"/>
                  <a:pt x="420" y="87"/>
                  <a:pt x="421" y="87"/>
                </a:cubicBezTo>
                <a:cubicBezTo>
                  <a:pt x="421" y="87"/>
                  <a:pt x="420" y="87"/>
                  <a:pt x="420" y="86"/>
                </a:cubicBezTo>
                <a:cubicBezTo>
                  <a:pt x="420" y="86"/>
                  <a:pt x="421" y="86"/>
                  <a:pt x="420" y="85"/>
                </a:cubicBezTo>
                <a:cubicBezTo>
                  <a:pt x="422" y="85"/>
                  <a:pt x="421" y="85"/>
                  <a:pt x="422" y="87"/>
                </a:cubicBezTo>
                <a:cubicBezTo>
                  <a:pt x="422" y="87"/>
                  <a:pt x="423" y="87"/>
                  <a:pt x="423" y="88"/>
                </a:cubicBezTo>
                <a:cubicBezTo>
                  <a:pt x="424" y="87"/>
                  <a:pt x="425" y="88"/>
                  <a:pt x="425" y="87"/>
                </a:cubicBezTo>
                <a:cubicBezTo>
                  <a:pt x="425" y="86"/>
                  <a:pt x="426" y="88"/>
                  <a:pt x="426" y="88"/>
                </a:cubicBezTo>
                <a:cubicBezTo>
                  <a:pt x="426" y="88"/>
                  <a:pt x="427" y="87"/>
                  <a:pt x="427" y="87"/>
                </a:cubicBezTo>
                <a:cubicBezTo>
                  <a:pt x="427" y="87"/>
                  <a:pt x="427" y="88"/>
                  <a:pt x="427" y="88"/>
                </a:cubicBezTo>
                <a:cubicBezTo>
                  <a:pt x="427" y="88"/>
                  <a:pt x="428" y="88"/>
                  <a:pt x="428" y="88"/>
                </a:cubicBezTo>
                <a:cubicBezTo>
                  <a:pt x="429" y="88"/>
                  <a:pt x="430" y="87"/>
                  <a:pt x="431" y="87"/>
                </a:cubicBezTo>
                <a:cubicBezTo>
                  <a:pt x="432" y="87"/>
                  <a:pt x="436" y="88"/>
                  <a:pt x="436" y="85"/>
                </a:cubicBezTo>
                <a:cubicBezTo>
                  <a:pt x="435" y="85"/>
                  <a:pt x="435" y="84"/>
                  <a:pt x="435" y="84"/>
                </a:cubicBezTo>
                <a:cubicBezTo>
                  <a:pt x="436" y="84"/>
                  <a:pt x="436" y="84"/>
                  <a:pt x="437" y="83"/>
                </a:cubicBezTo>
                <a:cubicBezTo>
                  <a:pt x="438" y="82"/>
                  <a:pt x="437" y="83"/>
                  <a:pt x="438" y="82"/>
                </a:cubicBezTo>
                <a:cubicBezTo>
                  <a:pt x="438" y="82"/>
                  <a:pt x="438" y="82"/>
                  <a:pt x="439" y="82"/>
                </a:cubicBezTo>
                <a:cubicBezTo>
                  <a:pt x="439" y="82"/>
                  <a:pt x="439" y="82"/>
                  <a:pt x="439" y="82"/>
                </a:cubicBezTo>
                <a:cubicBezTo>
                  <a:pt x="439" y="81"/>
                  <a:pt x="439" y="81"/>
                  <a:pt x="439" y="81"/>
                </a:cubicBezTo>
                <a:cubicBezTo>
                  <a:pt x="439" y="81"/>
                  <a:pt x="439" y="79"/>
                  <a:pt x="438" y="79"/>
                </a:cubicBezTo>
                <a:cubicBezTo>
                  <a:pt x="438" y="79"/>
                  <a:pt x="438" y="79"/>
                  <a:pt x="438" y="79"/>
                </a:cubicBezTo>
                <a:cubicBezTo>
                  <a:pt x="437" y="79"/>
                  <a:pt x="437" y="79"/>
                  <a:pt x="437" y="79"/>
                </a:cubicBezTo>
                <a:cubicBezTo>
                  <a:pt x="436" y="78"/>
                  <a:pt x="436" y="79"/>
                  <a:pt x="436" y="78"/>
                </a:cubicBezTo>
                <a:cubicBezTo>
                  <a:pt x="436" y="78"/>
                  <a:pt x="435" y="78"/>
                  <a:pt x="435" y="78"/>
                </a:cubicBezTo>
                <a:cubicBezTo>
                  <a:pt x="434" y="78"/>
                  <a:pt x="435" y="77"/>
                  <a:pt x="434" y="77"/>
                </a:cubicBezTo>
                <a:cubicBezTo>
                  <a:pt x="434" y="77"/>
                  <a:pt x="433" y="77"/>
                  <a:pt x="433" y="77"/>
                </a:cubicBezTo>
                <a:cubicBezTo>
                  <a:pt x="433" y="77"/>
                  <a:pt x="433" y="77"/>
                  <a:pt x="433" y="77"/>
                </a:cubicBezTo>
                <a:cubicBezTo>
                  <a:pt x="432" y="77"/>
                  <a:pt x="431" y="78"/>
                  <a:pt x="430" y="77"/>
                </a:cubicBezTo>
                <a:cubicBezTo>
                  <a:pt x="430" y="77"/>
                  <a:pt x="428" y="77"/>
                  <a:pt x="428" y="77"/>
                </a:cubicBezTo>
                <a:cubicBezTo>
                  <a:pt x="428" y="76"/>
                  <a:pt x="428" y="76"/>
                  <a:pt x="428" y="76"/>
                </a:cubicBezTo>
                <a:cubicBezTo>
                  <a:pt x="428" y="75"/>
                  <a:pt x="426" y="75"/>
                  <a:pt x="426" y="75"/>
                </a:cubicBezTo>
                <a:cubicBezTo>
                  <a:pt x="426" y="75"/>
                  <a:pt x="423" y="75"/>
                  <a:pt x="422" y="75"/>
                </a:cubicBezTo>
                <a:cubicBezTo>
                  <a:pt x="422" y="76"/>
                  <a:pt x="421" y="77"/>
                  <a:pt x="421" y="76"/>
                </a:cubicBezTo>
                <a:cubicBezTo>
                  <a:pt x="421" y="76"/>
                  <a:pt x="419" y="75"/>
                  <a:pt x="419" y="75"/>
                </a:cubicBezTo>
                <a:cubicBezTo>
                  <a:pt x="419" y="75"/>
                  <a:pt x="417" y="75"/>
                  <a:pt x="417" y="75"/>
                </a:cubicBezTo>
                <a:cubicBezTo>
                  <a:pt x="417" y="76"/>
                  <a:pt x="415" y="76"/>
                  <a:pt x="415" y="76"/>
                </a:cubicBezTo>
                <a:cubicBezTo>
                  <a:pt x="415" y="76"/>
                  <a:pt x="415" y="75"/>
                  <a:pt x="414" y="76"/>
                </a:cubicBezTo>
                <a:cubicBezTo>
                  <a:pt x="414" y="77"/>
                  <a:pt x="414" y="76"/>
                  <a:pt x="413" y="76"/>
                </a:cubicBezTo>
                <a:cubicBezTo>
                  <a:pt x="411" y="76"/>
                  <a:pt x="410" y="77"/>
                  <a:pt x="409" y="77"/>
                </a:cubicBezTo>
                <a:cubicBezTo>
                  <a:pt x="408" y="77"/>
                  <a:pt x="407" y="77"/>
                  <a:pt x="407" y="78"/>
                </a:cubicBezTo>
                <a:cubicBezTo>
                  <a:pt x="407" y="78"/>
                  <a:pt x="405" y="78"/>
                  <a:pt x="405" y="78"/>
                </a:cubicBezTo>
                <a:cubicBezTo>
                  <a:pt x="405" y="78"/>
                  <a:pt x="404" y="78"/>
                  <a:pt x="404" y="78"/>
                </a:cubicBezTo>
                <a:cubicBezTo>
                  <a:pt x="404" y="78"/>
                  <a:pt x="403" y="78"/>
                  <a:pt x="403" y="77"/>
                </a:cubicBezTo>
                <a:cubicBezTo>
                  <a:pt x="402" y="77"/>
                  <a:pt x="402" y="77"/>
                  <a:pt x="401" y="77"/>
                </a:cubicBezTo>
                <a:cubicBezTo>
                  <a:pt x="401" y="77"/>
                  <a:pt x="401" y="78"/>
                  <a:pt x="401" y="79"/>
                </a:cubicBezTo>
                <a:cubicBezTo>
                  <a:pt x="400" y="78"/>
                  <a:pt x="400" y="78"/>
                  <a:pt x="399" y="78"/>
                </a:cubicBezTo>
                <a:cubicBezTo>
                  <a:pt x="399" y="78"/>
                  <a:pt x="398" y="79"/>
                  <a:pt x="398" y="78"/>
                </a:cubicBezTo>
                <a:cubicBezTo>
                  <a:pt x="398" y="77"/>
                  <a:pt x="396" y="77"/>
                  <a:pt x="395" y="77"/>
                </a:cubicBezTo>
                <a:cubicBezTo>
                  <a:pt x="394" y="77"/>
                  <a:pt x="394" y="76"/>
                  <a:pt x="393" y="76"/>
                </a:cubicBezTo>
                <a:cubicBezTo>
                  <a:pt x="393" y="77"/>
                  <a:pt x="393" y="77"/>
                  <a:pt x="392" y="77"/>
                </a:cubicBezTo>
                <a:cubicBezTo>
                  <a:pt x="392" y="77"/>
                  <a:pt x="392" y="75"/>
                  <a:pt x="392" y="75"/>
                </a:cubicBezTo>
                <a:cubicBezTo>
                  <a:pt x="391" y="74"/>
                  <a:pt x="390" y="76"/>
                  <a:pt x="390" y="76"/>
                </a:cubicBezTo>
                <a:cubicBezTo>
                  <a:pt x="390" y="75"/>
                  <a:pt x="391" y="74"/>
                  <a:pt x="389" y="75"/>
                </a:cubicBezTo>
                <a:cubicBezTo>
                  <a:pt x="388" y="75"/>
                  <a:pt x="387" y="76"/>
                  <a:pt x="386" y="76"/>
                </a:cubicBezTo>
                <a:cubicBezTo>
                  <a:pt x="386" y="75"/>
                  <a:pt x="387" y="75"/>
                  <a:pt x="387" y="74"/>
                </a:cubicBezTo>
                <a:cubicBezTo>
                  <a:pt x="387" y="74"/>
                  <a:pt x="386" y="74"/>
                  <a:pt x="386" y="74"/>
                </a:cubicBezTo>
                <a:cubicBezTo>
                  <a:pt x="386" y="73"/>
                  <a:pt x="387" y="74"/>
                  <a:pt x="388" y="74"/>
                </a:cubicBezTo>
                <a:cubicBezTo>
                  <a:pt x="388" y="74"/>
                  <a:pt x="388" y="74"/>
                  <a:pt x="389" y="74"/>
                </a:cubicBezTo>
                <a:cubicBezTo>
                  <a:pt x="389" y="73"/>
                  <a:pt x="389" y="73"/>
                  <a:pt x="390" y="73"/>
                </a:cubicBezTo>
                <a:cubicBezTo>
                  <a:pt x="391" y="73"/>
                  <a:pt x="391" y="72"/>
                  <a:pt x="391" y="72"/>
                </a:cubicBezTo>
                <a:cubicBezTo>
                  <a:pt x="391" y="72"/>
                  <a:pt x="387" y="70"/>
                  <a:pt x="387" y="71"/>
                </a:cubicBezTo>
                <a:cubicBezTo>
                  <a:pt x="387" y="70"/>
                  <a:pt x="387" y="70"/>
                  <a:pt x="386" y="70"/>
                </a:cubicBezTo>
                <a:cubicBezTo>
                  <a:pt x="386" y="69"/>
                  <a:pt x="385" y="70"/>
                  <a:pt x="384" y="69"/>
                </a:cubicBezTo>
                <a:cubicBezTo>
                  <a:pt x="383" y="69"/>
                  <a:pt x="383" y="68"/>
                  <a:pt x="383" y="68"/>
                </a:cubicBezTo>
                <a:cubicBezTo>
                  <a:pt x="382" y="68"/>
                  <a:pt x="382" y="68"/>
                  <a:pt x="381" y="68"/>
                </a:cubicBezTo>
                <a:cubicBezTo>
                  <a:pt x="381" y="68"/>
                  <a:pt x="381" y="68"/>
                  <a:pt x="381" y="68"/>
                </a:cubicBezTo>
                <a:cubicBezTo>
                  <a:pt x="380" y="68"/>
                  <a:pt x="380" y="68"/>
                  <a:pt x="380" y="68"/>
                </a:cubicBezTo>
                <a:cubicBezTo>
                  <a:pt x="379" y="68"/>
                  <a:pt x="375" y="69"/>
                  <a:pt x="375" y="68"/>
                </a:cubicBezTo>
                <a:cubicBezTo>
                  <a:pt x="375" y="68"/>
                  <a:pt x="375" y="68"/>
                  <a:pt x="374" y="69"/>
                </a:cubicBezTo>
                <a:cubicBezTo>
                  <a:pt x="374" y="68"/>
                  <a:pt x="374" y="67"/>
                  <a:pt x="373" y="67"/>
                </a:cubicBezTo>
                <a:cubicBezTo>
                  <a:pt x="372" y="66"/>
                  <a:pt x="372" y="66"/>
                  <a:pt x="371" y="66"/>
                </a:cubicBezTo>
                <a:cubicBezTo>
                  <a:pt x="369" y="66"/>
                  <a:pt x="367" y="66"/>
                  <a:pt x="365" y="65"/>
                </a:cubicBezTo>
                <a:cubicBezTo>
                  <a:pt x="364" y="64"/>
                  <a:pt x="364" y="65"/>
                  <a:pt x="363" y="65"/>
                </a:cubicBezTo>
                <a:cubicBezTo>
                  <a:pt x="363" y="64"/>
                  <a:pt x="362" y="64"/>
                  <a:pt x="361" y="65"/>
                </a:cubicBezTo>
                <a:cubicBezTo>
                  <a:pt x="361" y="65"/>
                  <a:pt x="360" y="66"/>
                  <a:pt x="360" y="66"/>
                </a:cubicBezTo>
                <a:cubicBezTo>
                  <a:pt x="359" y="67"/>
                  <a:pt x="359" y="67"/>
                  <a:pt x="360" y="68"/>
                </a:cubicBezTo>
                <a:cubicBezTo>
                  <a:pt x="361" y="68"/>
                  <a:pt x="360" y="68"/>
                  <a:pt x="361" y="68"/>
                </a:cubicBezTo>
                <a:cubicBezTo>
                  <a:pt x="361" y="68"/>
                  <a:pt x="361" y="69"/>
                  <a:pt x="361" y="69"/>
                </a:cubicBezTo>
                <a:cubicBezTo>
                  <a:pt x="362" y="69"/>
                  <a:pt x="361" y="69"/>
                  <a:pt x="362" y="69"/>
                </a:cubicBezTo>
                <a:cubicBezTo>
                  <a:pt x="362" y="69"/>
                  <a:pt x="362" y="70"/>
                  <a:pt x="362" y="70"/>
                </a:cubicBezTo>
                <a:cubicBezTo>
                  <a:pt x="363" y="71"/>
                  <a:pt x="363" y="71"/>
                  <a:pt x="363" y="71"/>
                </a:cubicBezTo>
                <a:cubicBezTo>
                  <a:pt x="364" y="71"/>
                  <a:pt x="364" y="71"/>
                  <a:pt x="364" y="71"/>
                </a:cubicBezTo>
                <a:cubicBezTo>
                  <a:pt x="365" y="71"/>
                  <a:pt x="366" y="71"/>
                  <a:pt x="367" y="71"/>
                </a:cubicBezTo>
                <a:cubicBezTo>
                  <a:pt x="368" y="71"/>
                  <a:pt x="370" y="73"/>
                  <a:pt x="371" y="73"/>
                </a:cubicBezTo>
                <a:cubicBezTo>
                  <a:pt x="372" y="73"/>
                  <a:pt x="372" y="71"/>
                  <a:pt x="373" y="71"/>
                </a:cubicBezTo>
                <a:cubicBezTo>
                  <a:pt x="373" y="71"/>
                  <a:pt x="374" y="71"/>
                  <a:pt x="374" y="72"/>
                </a:cubicBezTo>
                <a:cubicBezTo>
                  <a:pt x="374" y="72"/>
                  <a:pt x="374" y="72"/>
                  <a:pt x="374" y="72"/>
                </a:cubicBezTo>
                <a:cubicBezTo>
                  <a:pt x="375" y="72"/>
                  <a:pt x="375" y="72"/>
                  <a:pt x="376" y="72"/>
                </a:cubicBezTo>
                <a:cubicBezTo>
                  <a:pt x="376" y="72"/>
                  <a:pt x="376" y="73"/>
                  <a:pt x="376" y="73"/>
                </a:cubicBezTo>
                <a:cubicBezTo>
                  <a:pt x="377" y="73"/>
                  <a:pt x="377" y="73"/>
                  <a:pt x="377" y="73"/>
                </a:cubicBezTo>
                <a:cubicBezTo>
                  <a:pt x="378" y="73"/>
                  <a:pt x="378" y="73"/>
                  <a:pt x="378" y="73"/>
                </a:cubicBezTo>
                <a:cubicBezTo>
                  <a:pt x="378" y="73"/>
                  <a:pt x="378" y="74"/>
                  <a:pt x="378" y="74"/>
                </a:cubicBezTo>
                <a:cubicBezTo>
                  <a:pt x="379" y="74"/>
                  <a:pt x="380" y="74"/>
                  <a:pt x="380" y="75"/>
                </a:cubicBezTo>
                <a:cubicBezTo>
                  <a:pt x="380" y="75"/>
                  <a:pt x="380" y="76"/>
                  <a:pt x="381" y="76"/>
                </a:cubicBezTo>
                <a:cubicBezTo>
                  <a:pt x="382" y="76"/>
                  <a:pt x="381" y="78"/>
                  <a:pt x="381" y="79"/>
                </a:cubicBezTo>
                <a:cubicBezTo>
                  <a:pt x="381" y="79"/>
                  <a:pt x="381" y="81"/>
                  <a:pt x="380" y="80"/>
                </a:cubicBezTo>
                <a:cubicBezTo>
                  <a:pt x="380" y="81"/>
                  <a:pt x="381" y="82"/>
                  <a:pt x="381" y="82"/>
                </a:cubicBezTo>
                <a:cubicBezTo>
                  <a:pt x="381" y="83"/>
                  <a:pt x="381" y="83"/>
                  <a:pt x="380" y="83"/>
                </a:cubicBezTo>
                <a:cubicBezTo>
                  <a:pt x="380" y="84"/>
                  <a:pt x="380" y="84"/>
                  <a:pt x="380" y="84"/>
                </a:cubicBezTo>
                <a:cubicBezTo>
                  <a:pt x="380" y="85"/>
                  <a:pt x="380" y="85"/>
                  <a:pt x="380" y="85"/>
                </a:cubicBezTo>
                <a:cubicBezTo>
                  <a:pt x="380" y="86"/>
                  <a:pt x="381" y="86"/>
                  <a:pt x="381" y="87"/>
                </a:cubicBezTo>
                <a:cubicBezTo>
                  <a:pt x="381" y="87"/>
                  <a:pt x="381" y="88"/>
                  <a:pt x="381" y="89"/>
                </a:cubicBezTo>
                <a:cubicBezTo>
                  <a:pt x="381" y="90"/>
                  <a:pt x="383" y="89"/>
                  <a:pt x="384" y="88"/>
                </a:cubicBezTo>
                <a:cubicBezTo>
                  <a:pt x="384" y="87"/>
                  <a:pt x="385" y="88"/>
                  <a:pt x="385" y="88"/>
                </a:cubicBezTo>
                <a:cubicBezTo>
                  <a:pt x="386" y="88"/>
                  <a:pt x="386" y="89"/>
                  <a:pt x="386" y="89"/>
                </a:cubicBezTo>
                <a:cubicBezTo>
                  <a:pt x="388" y="89"/>
                  <a:pt x="390" y="88"/>
                  <a:pt x="392" y="88"/>
                </a:cubicBezTo>
                <a:cubicBezTo>
                  <a:pt x="392" y="87"/>
                  <a:pt x="392" y="88"/>
                  <a:pt x="392" y="88"/>
                </a:cubicBezTo>
                <a:close/>
                <a:moveTo>
                  <a:pt x="273" y="72"/>
                </a:moveTo>
                <a:cubicBezTo>
                  <a:pt x="273" y="73"/>
                  <a:pt x="272" y="72"/>
                  <a:pt x="272" y="72"/>
                </a:cubicBezTo>
                <a:cubicBezTo>
                  <a:pt x="272" y="71"/>
                  <a:pt x="271" y="71"/>
                  <a:pt x="270" y="71"/>
                </a:cubicBezTo>
                <a:cubicBezTo>
                  <a:pt x="269" y="71"/>
                  <a:pt x="267" y="73"/>
                  <a:pt x="267" y="72"/>
                </a:cubicBezTo>
                <a:cubicBezTo>
                  <a:pt x="266" y="72"/>
                  <a:pt x="265" y="72"/>
                  <a:pt x="265" y="73"/>
                </a:cubicBezTo>
                <a:cubicBezTo>
                  <a:pt x="265" y="74"/>
                  <a:pt x="264" y="76"/>
                  <a:pt x="265" y="76"/>
                </a:cubicBezTo>
                <a:cubicBezTo>
                  <a:pt x="265" y="76"/>
                  <a:pt x="267" y="75"/>
                  <a:pt x="267" y="76"/>
                </a:cubicBezTo>
                <a:cubicBezTo>
                  <a:pt x="267" y="76"/>
                  <a:pt x="266" y="77"/>
                  <a:pt x="265" y="77"/>
                </a:cubicBezTo>
                <a:cubicBezTo>
                  <a:pt x="264" y="77"/>
                  <a:pt x="264" y="77"/>
                  <a:pt x="263" y="77"/>
                </a:cubicBezTo>
                <a:cubicBezTo>
                  <a:pt x="263" y="77"/>
                  <a:pt x="263" y="77"/>
                  <a:pt x="262" y="77"/>
                </a:cubicBezTo>
                <a:cubicBezTo>
                  <a:pt x="262" y="78"/>
                  <a:pt x="262" y="78"/>
                  <a:pt x="263" y="79"/>
                </a:cubicBezTo>
                <a:cubicBezTo>
                  <a:pt x="264" y="79"/>
                  <a:pt x="266" y="78"/>
                  <a:pt x="267" y="78"/>
                </a:cubicBezTo>
                <a:cubicBezTo>
                  <a:pt x="266" y="80"/>
                  <a:pt x="264" y="80"/>
                  <a:pt x="262" y="80"/>
                </a:cubicBezTo>
                <a:cubicBezTo>
                  <a:pt x="261" y="80"/>
                  <a:pt x="261" y="82"/>
                  <a:pt x="262" y="82"/>
                </a:cubicBezTo>
                <a:cubicBezTo>
                  <a:pt x="263" y="82"/>
                  <a:pt x="263" y="83"/>
                  <a:pt x="264" y="82"/>
                </a:cubicBezTo>
                <a:cubicBezTo>
                  <a:pt x="264" y="82"/>
                  <a:pt x="264" y="82"/>
                  <a:pt x="265" y="82"/>
                </a:cubicBezTo>
                <a:cubicBezTo>
                  <a:pt x="265" y="82"/>
                  <a:pt x="266" y="82"/>
                  <a:pt x="266" y="81"/>
                </a:cubicBezTo>
                <a:cubicBezTo>
                  <a:pt x="268" y="82"/>
                  <a:pt x="268" y="82"/>
                  <a:pt x="268" y="83"/>
                </a:cubicBezTo>
                <a:cubicBezTo>
                  <a:pt x="268" y="83"/>
                  <a:pt x="269" y="83"/>
                  <a:pt x="269" y="83"/>
                </a:cubicBezTo>
                <a:cubicBezTo>
                  <a:pt x="269" y="82"/>
                  <a:pt x="269" y="82"/>
                  <a:pt x="269" y="81"/>
                </a:cubicBezTo>
                <a:cubicBezTo>
                  <a:pt x="269" y="81"/>
                  <a:pt x="270" y="81"/>
                  <a:pt x="270" y="81"/>
                </a:cubicBezTo>
                <a:cubicBezTo>
                  <a:pt x="270" y="82"/>
                  <a:pt x="270" y="83"/>
                  <a:pt x="271" y="83"/>
                </a:cubicBezTo>
                <a:cubicBezTo>
                  <a:pt x="272" y="83"/>
                  <a:pt x="272" y="83"/>
                  <a:pt x="272" y="83"/>
                </a:cubicBezTo>
                <a:cubicBezTo>
                  <a:pt x="272" y="82"/>
                  <a:pt x="273" y="83"/>
                  <a:pt x="273" y="81"/>
                </a:cubicBezTo>
                <a:cubicBezTo>
                  <a:pt x="273" y="81"/>
                  <a:pt x="272" y="80"/>
                  <a:pt x="273" y="80"/>
                </a:cubicBezTo>
                <a:cubicBezTo>
                  <a:pt x="274" y="79"/>
                  <a:pt x="273" y="78"/>
                  <a:pt x="273" y="77"/>
                </a:cubicBezTo>
                <a:cubicBezTo>
                  <a:pt x="274" y="77"/>
                  <a:pt x="275" y="77"/>
                  <a:pt x="275" y="78"/>
                </a:cubicBezTo>
                <a:cubicBezTo>
                  <a:pt x="274" y="79"/>
                  <a:pt x="274" y="80"/>
                  <a:pt x="274" y="82"/>
                </a:cubicBezTo>
                <a:cubicBezTo>
                  <a:pt x="275" y="82"/>
                  <a:pt x="276" y="81"/>
                  <a:pt x="277" y="81"/>
                </a:cubicBezTo>
                <a:cubicBezTo>
                  <a:pt x="278" y="82"/>
                  <a:pt x="278" y="82"/>
                  <a:pt x="279" y="81"/>
                </a:cubicBezTo>
                <a:cubicBezTo>
                  <a:pt x="280" y="81"/>
                  <a:pt x="280" y="81"/>
                  <a:pt x="281" y="81"/>
                </a:cubicBezTo>
                <a:cubicBezTo>
                  <a:pt x="281" y="81"/>
                  <a:pt x="282" y="80"/>
                  <a:pt x="282" y="80"/>
                </a:cubicBezTo>
                <a:cubicBezTo>
                  <a:pt x="282" y="80"/>
                  <a:pt x="283" y="80"/>
                  <a:pt x="283" y="80"/>
                </a:cubicBezTo>
                <a:cubicBezTo>
                  <a:pt x="284" y="79"/>
                  <a:pt x="284" y="80"/>
                  <a:pt x="284" y="80"/>
                </a:cubicBezTo>
                <a:cubicBezTo>
                  <a:pt x="285" y="81"/>
                  <a:pt x="286" y="80"/>
                  <a:pt x="287" y="80"/>
                </a:cubicBezTo>
                <a:cubicBezTo>
                  <a:pt x="287" y="81"/>
                  <a:pt x="288" y="81"/>
                  <a:pt x="288" y="81"/>
                </a:cubicBezTo>
                <a:cubicBezTo>
                  <a:pt x="288" y="80"/>
                  <a:pt x="289" y="81"/>
                  <a:pt x="289" y="81"/>
                </a:cubicBezTo>
                <a:cubicBezTo>
                  <a:pt x="289" y="80"/>
                  <a:pt x="290" y="80"/>
                  <a:pt x="290" y="79"/>
                </a:cubicBezTo>
                <a:cubicBezTo>
                  <a:pt x="290" y="79"/>
                  <a:pt x="290" y="79"/>
                  <a:pt x="290" y="79"/>
                </a:cubicBezTo>
                <a:cubicBezTo>
                  <a:pt x="291" y="79"/>
                  <a:pt x="291" y="79"/>
                  <a:pt x="291" y="80"/>
                </a:cubicBezTo>
                <a:cubicBezTo>
                  <a:pt x="291" y="80"/>
                  <a:pt x="290" y="81"/>
                  <a:pt x="290" y="81"/>
                </a:cubicBezTo>
                <a:cubicBezTo>
                  <a:pt x="289" y="82"/>
                  <a:pt x="288" y="82"/>
                  <a:pt x="287" y="83"/>
                </a:cubicBezTo>
                <a:cubicBezTo>
                  <a:pt x="287" y="83"/>
                  <a:pt x="285" y="84"/>
                  <a:pt x="285" y="83"/>
                </a:cubicBezTo>
                <a:cubicBezTo>
                  <a:pt x="283" y="83"/>
                  <a:pt x="282" y="84"/>
                  <a:pt x="281" y="84"/>
                </a:cubicBezTo>
                <a:cubicBezTo>
                  <a:pt x="280" y="84"/>
                  <a:pt x="281" y="84"/>
                  <a:pt x="280" y="84"/>
                </a:cubicBezTo>
                <a:cubicBezTo>
                  <a:pt x="279" y="84"/>
                  <a:pt x="279" y="85"/>
                  <a:pt x="278" y="85"/>
                </a:cubicBezTo>
                <a:cubicBezTo>
                  <a:pt x="278" y="85"/>
                  <a:pt x="276" y="85"/>
                  <a:pt x="276" y="86"/>
                </a:cubicBezTo>
                <a:cubicBezTo>
                  <a:pt x="276" y="86"/>
                  <a:pt x="275" y="86"/>
                  <a:pt x="275" y="87"/>
                </a:cubicBezTo>
                <a:cubicBezTo>
                  <a:pt x="275" y="88"/>
                  <a:pt x="276" y="90"/>
                  <a:pt x="278" y="90"/>
                </a:cubicBezTo>
                <a:cubicBezTo>
                  <a:pt x="279" y="90"/>
                  <a:pt x="280" y="89"/>
                  <a:pt x="281" y="90"/>
                </a:cubicBezTo>
                <a:cubicBezTo>
                  <a:pt x="281" y="89"/>
                  <a:pt x="282" y="89"/>
                  <a:pt x="283" y="89"/>
                </a:cubicBezTo>
                <a:cubicBezTo>
                  <a:pt x="283" y="89"/>
                  <a:pt x="284" y="88"/>
                  <a:pt x="284" y="88"/>
                </a:cubicBezTo>
                <a:cubicBezTo>
                  <a:pt x="286" y="88"/>
                  <a:pt x="285" y="88"/>
                  <a:pt x="286" y="87"/>
                </a:cubicBezTo>
                <a:cubicBezTo>
                  <a:pt x="287" y="86"/>
                  <a:pt x="286" y="87"/>
                  <a:pt x="287" y="86"/>
                </a:cubicBezTo>
                <a:cubicBezTo>
                  <a:pt x="287" y="86"/>
                  <a:pt x="287" y="86"/>
                  <a:pt x="287" y="86"/>
                </a:cubicBezTo>
                <a:cubicBezTo>
                  <a:pt x="287" y="86"/>
                  <a:pt x="288" y="85"/>
                  <a:pt x="288" y="85"/>
                </a:cubicBezTo>
                <a:cubicBezTo>
                  <a:pt x="289" y="84"/>
                  <a:pt x="288" y="86"/>
                  <a:pt x="289" y="84"/>
                </a:cubicBezTo>
                <a:cubicBezTo>
                  <a:pt x="290" y="84"/>
                  <a:pt x="291" y="84"/>
                  <a:pt x="292" y="85"/>
                </a:cubicBezTo>
                <a:cubicBezTo>
                  <a:pt x="292" y="84"/>
                  <a:pt x="292" y="84"/>
                  <a:pt x="293" y="84"/>
                </a:cubicBezTo>
                <a:cubicBezTo>
                  <a:pt x="294" y="84"/>
                  <a:pt x="293" y="84"/>
                  <a:pt x="294" y="83"/>
                </a:cubicBezTo>
                <a:cubicBezTo>
                  <a:pt x="295" y="83"/>
                  <a:pt x="296" y="84"/>
                  <a:pt x="297" y="83"/>
                </a:cubicBezTo>
                <a:cubicBezTo>
                  <a:pt x="297" y="83"/>
                  <a:pt x="297" y="83"/>
                  <a:pt x="298" y="83"/>
                </a:cubicBezTo>
                <a:cubicBezTo>
                  <a:pt x="298" y="82"/>
                  <a:pt x="299" y="82"/>
                  <a:pt x="300" y="82"/>
                </a:cubicBezTo>
                <a:cubicBezTo>
                  <a:pt x="300" y="82"/>
                  <a:pt x="300" y="83"/>
                  <a:pt x="300" y="84"/>
                </a:cubicBezTo>
                <a:cubicBezTo>
                  <a:pt x="301" y="84"/>
                  <a:pt x="302" y="84"/>
                  <a:pt x="303" y="84"/>
                </a:cubicBezTo>
                <a:cubicBezTo>
                  <a:pt x="304" y="83"/>
                  <a:pt x="304" y="83"/>
                  <a:pt x="304" y="82"/>
                </a:cubicBezTo>
                <a:cubicBezTo>
                  <a:pt x="305" y="81"/>
                  <a:pt x="306" y="82"/>
                  <a:pt x="307" y="82"/>
                </a:cubicBezTo>
                <a:cubicBezTo>
                  <a:pt x="307" y="82"/>
                  <a:pt x="310" y="82"/>
                  <a:pt x="310" y="82"/>
                </a:cubicBezTo>
                <a:cubicBezTo>
                  <a:pt x="311" y="82"/>
                  <a:pt x="312" y="82"/>
                  <a:pt x="312" y="82"/>
                </a:cubicBezTo>
                <a:cubicBezTo>
                  <a:pt x="312" y="82"/>
                  <a:pt x="313" y="82"/>
                  <a:pt x="313" y="81"/>
                </a:cubicBezTo>
                <a:cubicBezTo>
                  <a:pt x="314" y="80"/>
                  <a:pt x="314" y="81"/>
                  <a:pt x="314" y="79"/>
                </a:cubicBezTo>
                <a:cubicBezTo>
                  <a:pt x="314" y="78"/>
                  <a:pt x="314" y="77"/>
                  <a:pt x="314" y="76"/>
                </a:cubicBezTo>
                <a:cubicBezTo>
                  <a:pt x="314" y="76"/>
                  <a:pt x="313" y="75"/>
                  <a:pt x="313" y="74"/>
                </a:cubicBezTo>
                <a:cubicBezTo>
                  <a:pt x="313" y="74"/>
                  <a:pt x="313" y="74"/>
                  <a:pt x="313" y="74"/>
                </a:cubicBezTo>
                <a:cubicBezTo>
                  <a:pt x="313" y="74"/>
                  <a:pt x="313" y="74"/>
                  <a:pt x="313" y="73"/>
                </a:cubicBezTo>
                <a:cubicBezTo>
                  <a:pt x="313" y="73"/>
                  <a:pt x="313" y="73"/>
                  <a:pt x="313" y="73"/>
                </a:cubicBezTo>
                <a:cubicBezTo>
                  <a:pt x="313" y="73"/>
                  <a:pt x="312" y="73"/>
                  <a:pt x="312" y="72"/>
                </a:cubicBezTo>
                <a:cubicBezTo>
                  <a:pt x="312" y="72"/>
                  <a:pt x="312" y="72"/>
                  <a:pt x="311" y="72"/>
                </a:cubicBezTo>
                <a:cubicBezTo>
                  <a:pt x="311" y="71"/>
                  <a:pt x="311" y="71"/>
                  <a:pt x="310" y="71"/>
                </a:cubicBezTo>
                <a:cubicBezTo>
                  <a:pt x="310" y="71"/>
                  <a:pt x="309" y="72"/>
                  <a:pt x="309" y="73"/>
                </a:cubicBezTo>
                <a:cubicBezTo>
                  <a:pt x="309" y="74"/>
                  <a:pt x="311" y="74"/>
                  <a:pt x="310" y="75"/>
                </a:cubicBezTo>
                <a:cubicBezTo>
                  <a:pt x="309" y="76"/>
                  <a:pt x="309" y="75"/>
                  <a:pt x="309" y="76"/>
                </a:cubicBezTo>
                <a:cubicBezTo>
                  <a:pt x="309" y="77"/>
                  <a:pt x="309" y="77"/>
                  <a:pt x="308" y="77"/>
                </a:cubicBezTo>
                <a:cubicBezTo>
                  <a:pt x="308" y="77"/>
                  <a:pt x="308" y="76"/>
                  <a:pt x="308" y="75"/>
                </a:cubicBezTo>
                <a:cubicBezTo>
                  <a:pt x="308" y="74"/>
                  <a:pt x="308" y="74"/>
                  <a:pt x="306" y="74"/>
                </a:cubicBezTo>
                <a:cubicBezTo>
                  <a:pt x="306" y="74"/>
                  <a:pt x="307" y="74"/>
                  <a:pt x="306" y="75"/>
                </a:cubicBezTo>
                <a:cubicBezTo>
                  <a:pt x="306" y="75"/>
                  <a:pt x="306" y="75"/>
                  <a:pt x="306" y="75"/>
                </a:cubicBezTo>
                <a:cubicBezTo>
                  <a:pt x="306" y="75"/>
                  <a:pt x="305" y="75"/>
                  <a:pt x="305" y="75"/>
                </a:cubicBezTo>
                <a:cubicBezTo>
                  <a:pt x="305" y="75"/>
                  <a:pt x="305" y="76"/>
                  <a:pt x="305" y="76"/>
                </a:cubicBezTo>
                <a:cubicBezTo>
                  <a:pt x="305" y="76"/>
                  <a:pt x="305" y="76"/>
                  <a:pt x="305" y="75"/>
                </a:cubicBezTo>
                <a:cubicBezTo>
                  <a:pt x="305" y="75"/>
                  <a:pt x="305" y="75"/>
                  <a:pt x="305" y="74"/>
                </a:cubicBezTo>
                <a:cubicBezTo>
                  <a:pt x="305" y="74"/>
                  <a:pt x="306" y="71"/>
                  <a:pt x="305" y="71"/>
                </a:cubicBezTo>
                <a:cubicBezTo>
                  <a:pt x="305" y="71"/>
                  <a:pt x="304" y="71"/>
                  <a:pt x="304" y="71"/>
                </a:cubicBezTo>
                <a:cubicBezTo>
                  <a:pt x="304" y="71"/>
                  <a:pt x="304" y="72"/>
                  <a:pt x="303" y="72"/>
                </a:cubicBezTo>
                <a:cubicBezTo>
                  <a:pt x="301" y="73"/>
                  <a:pt x="301" y="70"/>
                  <a:pt x="299" y="70"/>
                </a:cubicBezTo>
                <a:cubicBezTo>
                  <a:pt x="299" y="70"/>
                  <a:pt x="298" y="69"/>
                  <a:pt x="298" y="69"/>
                </a:cubicBezTo>
                <a:cubicBezTo>
                  <a:pt x="297" y="68"/>
                  <a:pt x="297" y="68"/>
                  <a:pt x="297" y="67"/>
                </a:cubicBezTo>
                <a:cubicBezTo>
                  <a:pt x="298" y="66"/>
                  <a:pt x="296" y="65"/>
                  <a:pt x="296" y="64"/>
                </a:cubicBezTo>
                <a:cubicBezTo>
                  <a:pt x="295" y="64"/>
                  <a:pt x="296" y="65"/>
                  <a:pt x="296" y="65"/>
                </a:cubicBezTo>
                <a:cubicBezTo>
                  <a:pt x="295" y="65"/>
                  <a:pt x="294" y="65"/>
                  <a:pt x="294" y="65"/>
                </a:cubicBezTo>
                <a:cubicBezTo>
                  <a:pt x="294" y="66"/>
                  <a:pt x="295" y="67"/>
                  <a:pt x="295" y="68"/>
                </a:cubicBezTo>
                <a:cubicBezTo>
                  <a:pt x="294" y="68"/>
                  <a:pt x="294" y="68"/>
                  <a:pt x="294" y="68"/>
                </a:cubicBezTo>
                <a:cubicBezTo>
                  <a:pt x="294" y="69"/>
                  <a:pt x="295" y="70"/>
                  <a:pt x="294" y="70"/>
                </a:cubicBezTo>
                <a:cubicBezTo>
                  <a:pt x="294" y="71"/>
                  <a:pt x="294" y="71"/>
                  <a:pt x="294" y="72"/>
                </a:cubicBezTo>
                <a:cubicBezTo>
                  <a:pt x="294" y="72"/>
                  <a:pt x="297" y="73"/>
                  <a:pt x="297" y="73"/>
                </a:cubicBezTo>
                <a:cubicBezTo>
                  <a:pt x="297" y="74"/>
                  <a:pt x="296" y="75"/>
                  <a:pt x="296" y="76"/>
                </a:cubicBezTo>
                <a:cubicBezTo>
                  <a:pt x="296" y="76"/>
                  <a:pt x="297" y="76"/>
                  <a:pt x="298" y="76"/>
                </a:cubicBezTo>
                <a:cubicBezTo>
                  <a:pt x="298" y="77"/>
                  <a:pt x="298" y="77"/>
                  <a:pt x="298" y="78"/>
                </a:cubicBezTo>
                <a:cubicBezTo>
                  <a:pt x="296" y="78"/>
                  <a:pt x="294" y="78"/>
                  <a:pt x="292" y="78"/>
                </a:cubicBezTo>
                <a:cubicBezTo>
                  <a:pt x="291" y="77"/>
                  <a:pt x="290" y="77"/>
                  <a:pt x="289" y="77"/>
                </a:cubicBezTo>
                <a:cubicBezTo>
                  <a:pt x="287" y="77"/>
                  <a:pt x="287" y="77"/>
                  <a:pt x="287" y="76"/>
                </a:cubicBezTo>
                <a:cubicBezTo>
                  <a:pt x="286" y="76"/>
                  <a:pt x="285" y="76"/>
                  <a:pt x="285" y="76"/>
                </a:cubicBezTo>
                <a:cubicBezTo>
                  <a:pt x="284" y="75"/>
                  <a:pt x="285" y="75"/>
                  <a:pt x="284" y="75"/>
                </a:cubicBezTo>
                <a:cubicBezTo>
                  <a:pt x="283" y="74"/>
                  <a:pt x="283" y="74"/>
                  <a:pt x="281" y="74"/>
                </a:cubicBezTo>
                <a:cubicBezTo>
                  <a:pt x="281" y="74"/>
                  <a:pt x="281" y="74"/>
                  <a:pt x="280" y="74"/>
                </a:cubicBezTo>
                <a:cubicBezTo>
                  <a:pt x="280" y="74"/>
                  <a:pt x="280" y="74"/>
                  <a:pt x="280" y="74"/>
                </a:cubicBezTo>
                <a:cubicBezTo>
                  <a:pt x="279" y="73"/>
                  <a:pt x="278" y="73"/>
                  <a:pt x="278" y="72"/>
                </a:cubicBezTo>
                <a:cubicBezTo>
                  <a:pt x="277" y="72"/>
                  <a:pt x="277" y="72"/>
                  <a:pt x="277" y="72"/>
                </a:cubicBezTo>
                <a:cubicBezTo>
                  <a:pt x="276" y="72"/>
                  <a:pt x="276" y="72"/>
                  <a:pt x="275" y="72"/>
                </a:cubicBezTo>
                <a:cubicBezTo>
                  <a:pt x="275" y="72"/>
                  <a:pt x="276" y="72"/>
                  <a:pt x="275" y="72"/>
                </a:cubicBezTo>
                <a:cubicBezTo>
                  <a:pt x="274" y="72"/>
                  <a:pt x="274" y="72"/>
                  <a:pt x="273" y="72"/>
                </a:cubicBezTo>
                <a:close/>
                <a:moveTo>
                  <a:pt x="886" y="63"/>
                </a:moveTo>
                <a:cubicBezTo>
                  <a:pt x="885" y="63"/>
                  <a:pt x="885" y="63"/>
                  <a:pt x="885" y="63"/>
                </a:cubicBezTo>
                <a:cubicBezTo>
                  <a:pt x="885" y="63"/>
                  <a:pt x="885" y="63"/>
                  <a:pt x="886" y="63"/>
                </a:cubicBezTo>
                <a:cubicBezTo>
                  <a:pt x="886" y="63"/>
                  <a:pt x="886" y="63"/>
                  <a:pt x="886" y="63"/>
                </a:cubicBezTo>
                <a:close/>
                <a:moveTo>
                  <a:pt x="480" y="62"/>
                </a:moveTo>
                <a:cubicBezTo>
                  <a:pt x="479" y="62"/>
                  <a:pt x="479" y="62"/>
                  <a:pt x="478" y="62"/>
                </a:cubicBezTo>
                <a:cubicBezTo>
                  <a:pt x="479" y="62"/>
                  <a:pt x="479" y="62"/>
                  <a:pt x="480" y="62"/>
                </a:cubicBezTo>
                <a:cubicBezTo>
                  <a:pt x="480" y="62"/>
                  <a:pt x="480" y="62"/>
                  <a:pt x="480" y="62"/>
                </a:cubicBezTo>
                <a:cubicBezTo>
                  <a:pt x="479" y="62"/>
                  <a:pt x="480" y="62"/>
                  <a:pt x="480" y="62"/>
                </a:cubicBezTo>
                <a:close/>
                <a:moveTo>
                  <a:pt x="1445" y="314"/>
                </a:moveTo>
                <a:cubicBezTo>
                  <a:pt x="1445" y="314"/>
                  <a:pt x="1444" y="315"/>
                  <a:pt x="1445" y="315"/>
                </a:cubicBezTo>
                <a:cubicBezTo>
                  <a:pt x="1445" y="317"/>
                  <a:pt x="1444" y="317"/>
                  <a:pt x="1443" y="316"/>
                </a:cubicBezTo>
                <a:cubicBezTo>
                  <a:pt x="1443" y="316"/>
                  <a:pt x="1443" y="316"/>
                  <a:pt x="1443" y="316"/>
                </a:cubicBezTo>
                <a:cubicBezTo>
                  <a:pt x="1443" y="315"/>
                  <a:pt x="1443" y="314"/>
                  <a:pt x="1443" y="313"/>
                </a:cubicBezTo>
                <a:cubicBezTo>
                  <a:pt x="1443" y="313"/>
                  <a:pt x="1442" y="311"/>
                  <a:pt x="1442" y="311"/>
                </a:cubicBezTo>
                <a:cubicBezTo>
                  <a:pt x="1443" y="311"/>
                  <a:pt x="1443" y="311"/>
                  <a:pt x="1444" y="311"/>
                </a:cubicBezTo>
                <a:cubicBezTo>
                  <a:pt x="1445" y="312"/>
                  <a:pt x="1445" y="313"/>
                  <a:pt x="1445" y="314"/>
                </a:cubicBezTo>
                <a:cubicBezTo>
                  <a:pt x="1445" y="314"/>
                  <a:pt x="1445" y="314"/>
                  <a:pt x="1445" y="314"/>
                </a:cubicBezTo>
                <a:close/>
                <a:moveTo>
                  <a:pt x="1374" y="378"/>
                </a:moveTo>
                <a:cubicBezTo>
                  <a:pt x="1373" y="378"/>
                  <a:pt x="1374" y="378"/>
                  <a:pt x="1373" y="377"/>
                </a:cubicBezTo>
                <a:cubicBezTo>
                  <a:pt x="1374" y="378"/>
                  <a:pt x="1374" y="378"/>
                  <a:pt x="1374" y="378"/>
                </a:cubicBezTo>
                <a:close/>
                <a:moveTo>
                  <a:pt x="1372" y="412"/>
                </a:moveTo>
                <a:cubicBezTo>
                  <a:pt x="1371" y="412"/>
                  <a:pt x="1371" y="413"/>
                  <a:pt x="1371" y="412"/>
                </a:cubicBezTo>
                <a:cubicBezTo>
                  <a:pt x="1370" y="411"/>
                  <a:pt x="1370" y="411"/>
                  <a:pt x="1370" y="411"/>
                </a:cubicBezTo>
                <a:cubicBezTo>
                  <a:pt x="1370" y="410"/>
                  <a:pt x="1372" y="410"/>
                  <a:pt x="1373" y="410"/>
                </a:cubicBezTo>
                <a:cubicBezTo>
                  <a:pt x="1373" y="411"/>
                  <a:pt x="1372" y="411"/>
                  <a:pt x="1372" y="412"/>
                </a:cubicBezTo>
                <a:cubicBezTo>
                  <a:pt x="1372" y="412"/>
                  <a:pt x="1372" y="412"/>
                  <a:pt x="1372" y="412"/>
                </a:cubicBezTo>
                <a:close/>
                <a:moveTo>
                  <a:pt x="1386" y="398"/>
                </a:moveTo>
                <a:cubicBezTo>
                  <a:pt x="1387" y="398"/>
                  <a:pt x="1387" y="398"/>
                  <a:pt x="1388" y="398"/>
                </a:cubicBezTo>
                <a:cubicBezTo>
                  <a:pt x="1389" y="399"/>
                  <a:pt x="1388" y="399"/>
                  <a:pt x="1388" y="399"/>
                </a:cubicBezTo>
                <a:cubicBezTo>
                  <a:pt x="1388" y="399"/>
                  <a:pt x="1389" y="400"/>
                  <a:pt x="1388" y="400"/>
                </a:cubicBezTo>
                <a:cubicBezTo>
                  <a:pt x="1388" y="400"/>
                  <a:pt x="1387" y="401"/>
                  <a:pt x="1387" y="400"/>
                </a:cubicBezTo>
                <a:cubicBezTo>
                  <a:pt x="1387" y="400"/>
                  <a:pt x="1386" y="400"/>
                  <a:pt x="1386" y="400"/>
                </a:cubicBezTo>
                <a:cubicBezTo>
                  <a:pt x="1386" y="399"/>
                  <a:pt x="1386" y="399"/>
                  <a:pt x="1386" y="398"/>
                </a:cubicBezTo>
                <a:cubicBezTo>
                  <a:pt x="1387" y="398"/>
                  <a:pt x="1386" y="398"/>
                  <a:pt x="1386" y="398"/>
                </a:cubicBezTo>
                <a:close/>
                <a:moveTo>
                  <a:pt x="1352" y="415"/>
                </a:moveTo>
                <a:cubicBezTo>
                  <a:pt x="1351" y="415"/>
                  <a:pt x="1351" y="415"/>
                  <a:pt x="1350" y="415"/>
                </a:cubicBezTo>
                <a:cubicBezTo>
                  <a:pt x="1350" y="415"/>
                  <a:pt x="1349" y="414"/>
                  <a:pt x="1348" y="414"/>
                </a:cubicBezTo>
                <a:cubicBezTo>
                  <a:pt x="1349" y="414"/>
                  <a:pt x="1349" y="413"/>
                  <a:pt x="1349" y="413"/>
                </a:cubicBezTo>
                <a:cubicBezTo>
                  <a:pt x="1350" y="413"/>
                  <a:pt x="1349" y="414"/>
                  <a:pt x="1350" y="414"/>
                </a:cubicBezTo>
                <a:cubicBezTo>
                  <a:pt x="1350" y="414"/>
                  <a:pt x="1351" y="414"/>
                  <a:pt x="1351" y="414"/>
                </a:cubicBezTo>
                <a:cubicBezTo>
                  <a:pt x="1351" y="413"/>
                  <a:pt x="1351" y="413"/>
                  <a:pt x="1352" y="413"/>
                </a:cubicBezTo>
                <a:cubicBezTo>
                  <a:pt x="1352" y="413"/>
                  <a:pt x="1352" y="413"/>
                  <a:pt x="1353" y="413"/>
                </a:cubicBezTo>
                <a:cubicBezTo>
                  <a:pt x="1353" y="414"/>
                  <a:pt x="1352" y="414"/>
                  <a:pt x="1352" y="415"/>
                </a:cubicBezTo>
                <a:close/>
                <a:moveTo>
                  <a:pt x="1342" y="100"/>
                </a:moveTo>
                <a:cubicBezTo>
                  <a:pt x="1341" y="100"/>
                  <a:pt x="1342" y="101"/>
                  <a:pt x="1341" y="100"/>
                </a:cubicBezTo>
                <a:cubicBezTo>
                  <a:pt x="1341" y="100"/>
                  <a:pt x="1341" y="99"/>
                  <a:pt x="1342" y="99"/>
                </a:cubicBezTo>
                <a:cubicBezTo>
                  <a:pt x="1342" y="99"/>
                  <a:pt x="1342" y="100"/>
                  <a:pt x="1342" y="100"/>
                </a:cubicBezTo>
                <a:close/>
                <a:moveTo>
                  <a:pt x="1337" y="246"/>
                </a:moveTo>
                <a:cubicBezTo>
                  <a:pt x="1337" y="248"/>
                  <a:pt x="1335" y="249"/>
                  <a:pt x="1337" y="249"/>
                </a:cubicBezTo>
                <a:cubicBezTo>
                  <a:pt x="1337" y="251"/>
                  <a:pt x="1335" y="253"/>
                  <a:pt x="1335" y="255"/>
                </a:cubicBezTo>
                <a:cubicBezTo>
                  <a:pt x="1334" y="254"/>
                  <a:pt x="1334" y="254"/>
                  <a:pt x="1333" y="254"/>
                </a:cubicBezTo>
                <a:cubicBezTo>
                  <a:pt x="1333" y="255"/>
                  <a:pt x="1332" y="256"/>
                  <a:pt x="1332" y="257"/>
                </a:cubicBezTo>
                <a:cubicBezTo>
                  <a:pt x="1332" y="257"/>
                  <a:pt x="1333" y="257"/>
                  <a:pt x="1333" y="257"/>
                </a:cubicBezTo>
                <a:cubicBezTo>
                  <a:pt x="1333" y="257"/>
                  <a:pt x="1334" y="257"/>
                  <a:pt x="1333" y="258"/>
                </a:cubicBezTo>
                <a:cubicBezTo>
                  <a:pt x="1332" y="258"/>
                  <a:pt x="1331" y="258"/>
                  <a:pt x="1331" y="259"/>
                </a:cubicBezTo>
                <a:cubicBezTo>
                  <a:pt x="1331" y="259"/>
                  <a:pt x="1331" y="260"/>
                  <a:pt x="1331" y="260"/>
                </a:cubicBezTo>
                <a:cubicBezTo>
                  <a:pt x="1331" y="260"/>
                  <a:pt x="1331" y="259"/>
                  <a:pt x="1330" y="261"/>
                </a:cubicBezTo>
                <a:cubicBezTo>
                  <a:pt x="1330" y="261"/>
                  <a:pt x="1328" y="261"/>
                  <a:pt x="1327" y="261"/>
                </a:cubicBezTo>
                <a:cubicBezTo>
                  <a:pt x="1327" y="262"/>
                  <a:pt x="1328" y="262"/>
                  <a:pt x="1327" y="263"/>
                </a:cubicBezTo>
                <a:cubicBezTo>
                  <a:pt x="1326" y="263"/>
                  <a:pt x="1326" y="264"/>
                  <a:pt x="1325" y="264"/>
                </a:cubicBezTo>
                <a:cubicBezTo>
                  <a:pt x="1324" y="265"/>
                  <a:pt x="1324" y="265"/>
                  <a:pt x="1323" y="264"/>
                </a:cubicBezTo>
                <a:cubicBezTo>
                  <a:pt x="1322" y="264"/>
                  <a:pt x="1322" y="265"/>
                  <a:pt x="1321" y="266"/>
                </a:cubicBezTo>
                <a:cubicBezTo>
                  <a:pt x="1321" y="267"/>
                  <a:pt x="1320" y="267"/>
                  <a:pt x="1319" y="268"/>
                </a:cubicBezTo>
                <a:cubicBezTo>
                  <a:pt x="1319" y="269"/>
                  <a:pt x="1319" y="269"/>
                  <a:pt x="1319" y="270"/>
                </a:cubicBezTo>
                <a:cubicBezTo>
                  <a:pt x="1318" y="270"/>
                  <a:pt x="1318" y="270"/>
                  <a:pt x="1317" y="270"/>
                </a:cubicBezTo>
                <a:cubicBezTo>
                  <a:pt x="1317" y="271"/>
                  <a:pt x="1316" y="272"/>
                  <a:pt x="1315" y="272"/>
                </a:cubicBezTo>
                <a:cubicBezTo>
                  <a:pt x="1315" y="272"/>
                  <a:pt x="1315" y="272"/>
                  <a:pt x="1314" y="273"/>
                </a:cubicBezTo>
                <a:cubicBezTo>
                  <a:pt x="1313" y="273"/>
                  <a:pt x="1312" y="273"/>
                  <a:pt x="1311" y="273"/>
                </a:cubicBezTo>
                <a:cubicBezTo>
                  <a:pt x="1311" y="273"/>
                  <a:pt x="1310" y="273"/>
                  <a:pt x="1310" y="273"/>
                </a:cubicBezTo>
                <a:cubicBezTo>
                  <a:pt x="1310" y="272"/>
                  <a:pt x="1309" y="272"/>
                  <a:pt x="1309" y="272"/>
                </a:cubicBezTo>
                <a:cubicBezTo>
                  <a:pt x="1308" y="272"/>
                  <a:pt x="1308" y="272"/>
                  <a:pt x="1308" y="271"/>
                </a:cubicBezTo>
                <a:cubicBezTo>
                  <a:pt x="1309" y="271"/>
                  <a:pt x="1310" y="271"/>
                  <a:pt x="1311" y="270"/>
                </a:cubicBezTo>
                <a:cubicBezTo>
                  <a:pt x="1312" y="270"/>
                  <a:pt x="1312" y="270"/>
                  <a:pt x="1312" y="270"/>
                </a:cubicBezTo>
                <a:cubicBezTo>
                  <a:pt x="1313" y="270"/>
                  <a:pt x="1313" y="269"/>
                  <a:pt x="1314" y="269"/>
                </a:cubicBezTo>
                <a:cubicBezTo>
                  <a:pt x="1314" y="268"/>
                  <a:pt x="1314" y="269"/>
                  <a:pt x="1314" y="268"/>
                </a:cubicBezTo>
                <a:cubicBezTo>
                  <a:pt x="1314" y="268"/>
                  <a:pt x="1316" y="268"/>
                  <a:pt x="1316" y="267"/>
                </a:cubicBezTo>
                <a:cubicBezTo>
                  <a:pt x="1316" y="267"/>
                  <a:pt x="1316" y="267"/>
                  <a:pt x="1316" y="267"/>
                </a:cubicBezTo>
                <a:cubicBezTo>
                  <a:pt x="1317" y="266"/>
                  <a:pt x="1316" y="266"/>
                  <a:pt x="1317" y="266"/>
                </a:cubicBezTo>
                <a:cubicBezTo>
                  <a:pt x="1318" y="265"/>
                  <a:pt x="1318" y="262"/>
                  <a:pt x="1320" y="262"/>
                </a:cubicBezTo>
                <a:cubicBezTo>
                  <a:pt x="1321" y="261"/>
                  <a:pt x="1322" y="261"/>
                  <a:pt x="1323" y="259"/>
                </a:cubicBezTo>
                <a:cubicBezTo>
                  <a:pt x="1323" y="259"/>
                  <a:pt x="1323" y="259"/>
                  <a:pt x="1324" y="259"/>
                </a:cubicBezTo>
                <a:cubicBezTo>
                  <a:pt x="1324" y="259"/>
                  <a:pt x="1324" y="258"/>
                  <a:pt x="1325" y="258"/>
                </a:cubicBezTo>
                <a:cubicBezTo>
                  <a:pt x="1325" y="258"/>
                  <a:pt x="1327" y="256"/>
                  <a:pt x="1327" y="256"/>
                </a:cubicBezTo>
                <a:cubicBezTo>
                  <a:pt x="1328" y="255"/>
                  <a:pt x="1327" y="255"/>
                  <a:pt x="1328" y="255"/>
                </a:cubicBezTo>
                <a:cubicBezTo>
                  <a:pt x="1328" y="254"/>
                  <a:pt x="1329" y="254"/>
                  <a:pt x="1330" y="253"/>
                </a:cubicBezTo>
                <a:cubicBezTo>
                  <a:pt x="1330" y="253"/>
                  <a:pt x="1330" y="252"/>
                  <a:pt x="1331" y="251"/>
                </a:cubicBezTo>
                <a:cubicBezTo>
                  <a:pt x="1331" y="250"/>
                  <a:pt x="1332" y="250"/>
                  <a:pt x="1332" y="249"/>
                </a:cubicBezTo>
                <a:cubicBezTo>
                  <a:pt x="1333" y="248"/>
                  <a:pt x="1333" y="248"/>
                  <a:pt x="1333" y="247"/>
                </a:cubicBezTo>
                <a:cubicBezTo>
                  <a:pt x="1333" y="245"/>
                  <a:pt x="1333" y="247"/>
                  <a:pt x="1334" y="246"/>
                </a:cubicBezTo>
                <a:cubicBezTo>
                  <a:pt x="1334" y="245"/>
                  <a:pt x="1334" y="245"/>
                  <a:pt x="1335" y="244"/>
                </a:cubicBezTo>
                <a:cubicBezTo>
                  <a:pt x="1335" y="244"/>
                  <a:pt x="1335" y="243"/>
                  <a:pt x="1335" y="243"/>
                </a:cubicBezTo>
                <a:cubicBezTo>
                  <a:pt x="1335" y="243"/>
                  <a:pt x="1336" y="242"/>
                  <a:pt x="1336" y="242"/>
                </a:cubicBezTo>
                <a:cubicBezTo>
                  <a:pt x="1336" y="241"/>
                  <a:pt x="1336" y="241"/>
                  <a:pt x="1337" y="241"/>
                </a:cubicBezTo>
                <a:cubicBezTo>
                  <a:pt x="1337" y="241"/>
                  <a:pt x="1337" y="243"/>
                  <a:pt x="1338" y="243"/>
                </a:cubicBezTo>
                <a:cubicBezTo>
                  <a:pt x="1337" y="244"/>
                  <a:pt x="1336" y="244"/>
                  <a:pt x="1336" y="244"/>
                </a:cubicBezTo>
                <a:cubicBezTo>
                  <a:pt x="1336" y="245"/>
                  <a:pt x="1336" y="247"/>
                  <a:pt x="1337" y="246"/>
                </a:cubicBezTo>
                <a:cubicBezTo>
                  <a:pt x="1337" y="247"/>
                  <a:pt x="1337" y="246"/>
                  <a:pt x="1337" y="246"/>
                </a:cubicBezTo>
                <a:close/>
                <a:moveTo>
                  <a:pt x="1317" y="519"/>
                </a:moveTo>
                <a:cubicBezTo>
                  <a:pt x="1318" y="520"/>
                  <a:pt x="1317" y="520"/>
                  <a:pt x="1316" y="520"/>
                </a:cubicBezTo>
                <a:cubicBezTo>
                  <a:pt x="1316" y="520"/>
                  <a:pt x="1315" y="519"/>
                  <a:pt x="1315" y="518"/>
                </a:cubicBezTo>
                <a:cubicBezTo>
                  <a:pt x="1316" y="518"/>
                  <a:pt x="1316" y="519"/>
                  <a:pt x="1316" y="518"/>
                </a:cubicBezTo>
                <a:cubicBezTo>
                  <a:pt x="1317" y="519"/>
                  <a:pt x="1317" y="519"/>
                  <a:pt x="1317" y="519"/>
                </a:cubicBezTo>
                <a:close/>
                <a:moveTo>
                  <a:pt x="1307" y="109"/>
                </a:moveTo>
                <a:cubicBezTo>
                  <a:pt x="1309" y="109"/>
                  <a:pt x="1310" y="109"/>
                  <a:pt x="1311" y="109"/>
                </a:cubicBezTo>
                <a:cubicBezTo>
                  <a:pt x="1313" y="109"/>
                  <a:pt x="1310" y="110"/>
                  <a:pt x="1310" y="110"/>
                </a:cubicBezTo>
                <a:cubicBezTo>
                  <a:pt x="1309" y="110"/>
                  <a:pt x="1307" y="110"/>
                  <a:pt x="1307" y="109"/>
                </a:cubicBezTo>
                <a:cubicBezTo>
                  <a:pt x="1309" y="109"/>
                  <a:pt x="1307" y="109"/>
                  <a:pt x="1307" y="109"/>
                </a:cubicBezTo>
                <a:close/>
                <a:moveTo>
                  <a:pt x="1307" y="81"/>
                </a:moveTo>
                <a:cubicBezTo>
                  <a:pt x="1307" y="82"/>
                  <a:pt x="1306" y="82"/>
                  <a:pt x="1305" y="82"/>
                </a:cubicBezTo>
                <a:cubicBezTo>
                  <a:pt x="1305" y="83"/>
                  <a:pt x="1305" y="82"/>
                  <a:pt x="1305" y="83"/>
                </a:cubicBezTo>
                <a:cubicBezTo>
                  <a:pt x="1305" y="84"/>
                  <a:pt x="1305" y="83"/>
                  <a:pt x="1304" y="84"/>
                </a:cubicBezTo>
                <a:cubicBezTo>
                  <a:pt x="1303" y="84"/>
                  <a:pt x="1303" y="85"/>
                  <a:pt x="1303" y="85"/>
                </a:cubicBezTo>
                <a:cubicBezTo>
                  <a:pt x="1303" y="86"/>
                  <a:pt x="1302" y="86"/>
                  <a:pt x="1302" y="86"/>
                </a:cubicBezTo>
                <a:cubicBezTo>
                  <a:pt x="1301" y="86"/>
                  <a:pt x="1302" y="86"/>
                  <a:pt x="1301" y="86"/>
                </a:cubicBezTo>
                <a:cubicBezTo>
                  <a:pt x="1302" y="83"/>
                  <a:pt x="1299" y="85"/>
                  <a:pt x="1299" y="84"/>
                </a:cubicBezTo>
                <a:cubicBezTo>
                  <a:pt x="1299" y="83"/>
                  <a:pt x="1298" y="83"/>
                  <a:pt x="1299" y="83"/>
                </a:cubicBezTo>
                <a:cubicBezTo>
                  <a:pt x="1300" y="82"/>
                  <a:pt x="1300" y="82"/>
                  <a:pt x="1300" y="81"/>
                </a:cubicBezTo>
                <a:cubicBezTo>
                  <a:pt x="1300" y="80"/>
                  <a:pt x="1299" y="81"/>
                  <a:pt x="1299" y="80"/>
                </a:cubicBezTo>
                <a:cubicBezTo>
                  <a:pt x="1300" y="80"/>
                  <a:pt x="1300" y="80"/>
                  <a:pt x="1301" y="79"/>
                </a:cubicBezTo>
                <a:cubicBezTo>
                  <a:pt x="1301" y="81"/>
                  <a:pt x="1301" y="81"/>
                  <a:pt x="1303" y="81"/>
                </a:cubicBezTo>
                <a:cubicBezTo>
                  <a:pt x="1305" y="81"/>
                  <a:pt x="1307" y="80"/>
                  <a:pt x="1308" y="80"/>
                </a:cubicBezTo>
                <a:cubicBezTo>
                  <a:pt x="1309" y="80"/>
                  <a:pt x="1310" y="79"/>
                  <a:pt x="1310" y="78"/>
                </a:cubicBezTo>
                <a:cubicBezTo>
                  <a:pt x="1310" y="77"/>
                  <a:pt x="1310" y="78"/>
                  <a:pt x="1310" y="78"/>
                </a:cubicBezTo>
                <a:cubicBezTo>
                  <a:pt x="1310" y="78"/>
                  <a:pt x="1310" y="77"/>
                  <a:pt x="1310" y="77"/>
                </a:cubicBezTo>
                <a:cubicBezTo>
                  <a:pt x="1311" y="77"/>
                  <a:pt x="1311" y="77"/>
                  <a:pt x="1311" y="77"/>
                </a:cubicBezTo>
                <a:cubicBezTo>
                  <a:pt x="1312" y="78"/>
                  <a:pt x="1312" y="78"/>
                  <a:pt x="1313" y="78"/>
                </a:cubicBezTo>
                <a:cubicBezTo>
                  <a:pt x="1313" y="79"/>
                  <a:pt x="1313" y="79"/>
                  <a:pt x="1312" y="79"/>
                </a:cubicBezTo>
                <a:cubicBezTo>
                  <a:pt x="1311" y="80"/>
                  <a:pt x="1310" y="80"/>
                  <a:pt x="1309" y="80"/>
                </a:cubicBezTo>
                <a:cubicBezTo>
                  <a:pt x="1308" y="81"/>
                  <a:pt x="1308" y="81"/>
                  <a:pt x="1307" y="81"/>
                </a:cubicBezTo>
                <a:close/>
                <a:moveTo>
                  <a:pt x="1305" y="110"/>
                </a:moveTo>
                <a:cubicBezTo>
                  <a:pt x="1306" y="110"/>
                  <a:pt x="1306" y="110"/>
                  <a:pt x="1306" y="110"/>
                </a:cubicBezTo>
                <a:cubicBezTo>
                  <a:pt x="1306" y="110"/>
                  <a:pt x="1306" y="110"/>
                  <a:pt x="1305" y="110"/>
                </a:cubicBezTo>
                <a:cubicBezTo>
                  <a:pt x="1306" y="110"/>
                  <a:pt x="1305" y="110"/>
                  <a:pt x="1305" y="110"/>
                </a:cubicBezTo>
                <a:close/>
                <a:moveTo>
                  <a:pt x="1301" y="114"/>
                </a:moveTo>
                <a:cubicBezTo>
                  <a:pt x="1302" y="113"/>
                  <a:pt x="1302" y="113"/>
                  <a:pt x="1302" y="114"/>
                </a:cubicBezTo>
                <a:cubicBezTo>
                  <a:pt x="1302" y="114"/>
                  <a:pt x="1302" y="114"/>
                  <a:pt x="1301" y="114"/>
                </a:cubicBezTo>
                <a:cubicBezTo>
                  <a:pt x="1301" y="113"/>
                  <a:pt x="1301" y="114"/>
                  <a:pt x="1301" y="114"/>
                </a:cubicBezTo>
                <a:close/>
                <a:moveTo>
                  <a:pt x="1295" y="366"/>
                </a:moveTo>
                <a:cubicBezTo>
                  <a:pt x="1294" y="366"/>
                  <a:pt x="1293" y="366"/>
                  <a:pt x="1293" y="365"/>
                </a:cubicBezTo>
                <a:cubicBezTo>
                  <a:pt x="1293" y="365"/>
                  <a:pt x="1293" y="364"/>
                  <a:pt x="1293" y="364"/>
                </a:cubicBezTo>
                <a:cubicBezTo>
                  <a:pt x="1294" y="364"/>
                  <a:pt x="1295" y="365"/>
                  <a:pt x="1295" y="366"/>
                </a:cubicBezTo>
                <a:cubicBezTo>
                  <a:pt x="1294" y="366"/>
                  <a:pt x="1295" y="366"/>
                  <a:pt x="1295" y="366"/>
                </a:cubicBezTo>
                <a:close/>
                <a:moveTo>
                  <a:pt x="1294" y="272"/>
                </a:moveTo>
                <a:cubicBezTo>
                  <a:pt x="1295" y="271"/>
                  <a:pt x="1294" y="274"/>
                  <a:pt x="1294" y="275"/>
                </a:cubicBezTo>
                <a:cubicBezTo>
                  <a:pt x="1293" y="276"/>
                  <a:pt x="1294" y="274"/>
                  <a:pt x="1293" y="274"/>
                </a:cubicBezTo>
                <a:cubicBezTo>
                  <a:pt x="1293" y="273"/>
                  <a:pt x="1293" y="272"/>
                  <a:pt x="1294" y="272"/>
                </a:cubicBezTo>
                <a:close/>
                <a:moveTo>
                  <a:pt x="1290" y="473"/>
                </a:moveTo>
                <a:cubicBezTo>
                  <a:pt x="1289" y="473"/>
                  <a:pt x="1289" y="474"/>
                  <a:pt x="1289" y="472"/>
                </a:cubicBezTo>
                <a:cubicBezTo>
                  <a:pt x="1289" y="472"/>
                  <a:pt x="1290" y="472"/>
                  <a:pt x="1290" y="472"/>
                </a:cubicBezTo>
                <a:cubicBezTo>
                  <a:pt x="1290" y="472"/>
                  <a:pt x="1290" y="473"/>
                  <a:pt x="1290" y="473"/>
                </a:cubicBezTo>
                <a:cubicBezTo>
                  <a:pt x="1290" y="473"/>
                  <a:pt x="1290" y="473"/>
                  <a:pt x="1290" y="473"/>
                </a:cubicBezTo>
                <a:close/>
                <a:moveTo>
                  <a:pt x="1258" y="278"/>
                </a:moveTo>
                <a:cubicBezTo>
                  <a:pt x="1258" y="278"/>
                  <a:pt x="1256" y="279"/>
                  <a:pt x="1256" y="278"/>
                </a:cubicBezTo>
                <a:cubicBezTo>
                  <a:pt x="1257" y="277"/>
                  <a:pt x="1257" y="277"/>
                  <a:pt x="1257" y="276"/>
                </a:cubicBezTo>
                <a:cubicBezTo>
                  <a:pt x="1259" y="277"/>
                  <a:pt x="1259" y="277"/>
                  <a:pt x="1258" y="278"/>
                </a:cubicBezTo>
                <a:cubicBezTo>
                  <a:pt x="1258" y="278"/>
                  <a:pt x="1258" y="278"/>
                  <a:pt x="1258" y="278"/>
                </a:cubicBezTo>
                <a:close/>
                <a:moveTo>
                  <a:pt x="1228" y="99"/>
                </a:moveTo>
                <a:cubicBezTo>
                  <a:pt x="1227" y="99"/>
                  <a:pt x="1227" y="99"/>
                  <a:pt x="1227" y="99"/>
                </a:cubicBezTo>
                <a:cubicBezTo>
                  <a:pt x="1226" y="99"/>
                  <a:pt x="1226" y="101"/>
                  <a:pt x="1226" y="101"/>
                </a:cubicBezTo>
                <a:cubicBezTo>
                  <a:pt x="1224" y="101"/>
                  <a:pt x="1226" y="99"/>
                  <a:pt x="1226" y="99"/>
                </a:cubicBezTo>
                <a:cubicBezTo>
                  <a:pt x="1227" y="99"/>
                  <a:pt x="1228" y="99"/>
                  <a:pt x="1228" y="99"/>
                </a:cubicBezTo>
                <a:close/>
                <a:moveTo>
                  <a:pt x="1195" y="298"/>
                </a:moveTo>
                <a:cubicBezTo>
                  <a:pt x="1194" y="298"/>
                  <a:pt x="1195" y="299"/>
                  <a:pt x="1195" y="300"/>
                </a:cubicBezTo>
                <a:cubicBezTo>
                  <a:pt x="1195" y="300"/>
                  <a:pt x="1194" y="300"/>
                  <a:pt x="1194" y="300"/>
                </a:cubicBezTo>
                <a:cubicBezTo>
                  <a:pt x="1193" y="300"/>
                  <a:pt x="1192" y="300"/>
                  <a:pt x="1192" y="300"/>
                </a:cubicBezTo>
                <a:cubicBezTo>
                  <a:pt x="1192" y="301"/>
                  <a:pt x="1192" y="301"/>
                  <a:pt x="1192" y="302"/>
                </a:cubicBezTo>
                <a:cubicBezTo>
                  <a:pt x="1191" y="301"/>
                  <a:pt x="1191" y="301"/>
                  <a:pt x="1190" y="301"/>
                </a:cubicBezTo>
                <a:cubicBezTo>
                  <a:pt x="1190" y="301"/>
                  <a:pt x="1190" y="301"/>
                  <a:pt x="1190" y="302"/>
                </a:cubicBezTo>
                <a:cubicBezTo>
                  <a:pt x="1189" y="300"/>
                  <a:pt x="1188" y="301"/>
                  <a:pt x="1186" y="301"/>
                </a:cubicBezTo>
                <a:cubicBezTo>
                  <a:pt x="1186" y="301"/>
                  <a:pt x="1185" y="301"/>
                  <a:pt x="1184" y="301"/>
                </a:cubicBezTo>
                <a:cubicBezTo>
                  <a:pt x="1184" y="301"/>
                  <a:pt x="1184" y="302"/>
                  <a:pt x="1184" y="302"/>
                </a:cubicBezTo>
                <a:cubicBezTo>
                  <a:pt x="1183" y="301"/>
                  <a:pt x="1183" y="301"/>
                  <a:pt x="1182" y="301"/>
                </a:cubicBezTo>
                <a:cubicBezTo>
                  <a:pt x="1182" y="301"/>
                  <a:pt x="1182" y="301"/>
                  <a:pt x="1181" y="301"/>
                </a:cubicBezTo>
                <a:cubicBezTo>
                  <a:pt x="1181" y="301"/>
                  <a:pt x="1182" y="300"/>
                  <a:pt x="1181" y="300"/>
                </a:cubicBezTo>
                <a:cubicBezTo>
                  <a:pt x="1181" y="300"/>
                  <a:pt x="1180" y="302"/>
                  <a:pt x="1180" y="301"/>
                </a:cubicBezTo>
                <a:cubicBezTo>
                  <a:pt x="1180" y="300"/>
                  <a:pt x="1180" y="300"/>
                  <a:pt x="1179" y="300"/>
                </a:cubicBezTo>
                <a:cubicBezTo>
                  <a:pt x="1178" y="300"/>
                  <a:pt x="1178" y="301"/>
                  <a:pt x="1178" y="302"/>
                </a:cubicBezTo>
                <a:cubicBezTo>
                  <a:pt x="1178" y="302"/>
                  <a:pt x="1177" y="302"/>
                  <a:pt x="1177" y="303"/>
                </a:cubicBezTo>
                <a:cubicBezTo>
                  <a:pt x="1176" y="303"/>
                  <a:pt x="1176" y="303"/>
                  <a:pt x="1175" y="303"/>
                </a:cubicBezTo>
                <a:cubicBezTo>
                  <a:pt x="1174" y="303"/>
                  <a:pt x="1174" y="303"/>
                  <a:pt x="1174" y="304"/>
                </a:cubicBezTo>
                <a:cubicBezTo>
                  <a:pt x="1174" y="304"/>
                  <a:pt x="1173" y="304"/>
                  <a:pt x="1173" y="304"/>
                </a:cubicBezTo>
                <a:cubicBezTo>
                  <a:pt x="1173" y="305"/>
                  <a:pt x="1173" y="305"/>
                  <a:pt x="1172" y="305"/>
                </a:cubicBezTo>
                <a:cubicBezTo>
                  <a:pt x="1172" y="306"/>
                  <a:pt x="1172" y="306"/>
                  <a:pt x="1172" y="306"/>
                </a:cubicBezTo>
                <a:cubicBezTo>
                  <a:pt x="1171" y="306"/>
                  <a:pt x="1172" y="306"/>
                  <a:pt x="1171" y="306"/>
                </a:cubicBezTo>
                <a:cubicBezTo>
                  <a:pt x="1170" y="306"/>
                  <a:pt x="1170" y="306"/>
                  <a:pt x="1169" y="307"/>
                </a:cubicBezTo>
                <a:cubicBezTo>
                  <a:pt x="1169" y="307"/>
                  <a:pt x="1170" y="307"/>
                  <a:pt x="1169" y="308"/>
                </a:cubicBezTo>
                <a:cubicBezTo>
                  <a:pt x="1169" y="308"/>
                  <a:pt x="1168" y="308"/>
                  <a:pt x="1168" y="308"/>
                </a:cubicBezTo>
                <a:cubicBezTo>
                  <a:pt x="1167" y="308"/>
                  <a:pt x="1167" y="309"/>
                  <a:pt x="1167" y="309"/>
                </a:cubicBezTo>
                <a:cubicBezTo>
                  <a:pt x="1167" y="310"/>
                  <a:pt x="1166" y="311"/>
                  <a:pt x="1166" y="311"/>
                </a:cubicBezTo>
                <a:cubicBezTo>
                  <a:pt x="1166" y="311"/>
                  <a:pt x="1166" y="312"/>
                  <a:pt x="1166" y="312"/>
                </a:cubicBezTo>
                <a:cubicBezTo>
                  <a:pt x="1166" y="312"/>
                  <a:pt x="1166" y="312"/>
                  <a:pt x="1166" y="312"/>
                </a:cubicBezTo>
                <a:cubicBezTo>
                  <a:pt x="1166" y="313"/>
                  <a:pt x="1167" y="313"/>
                  <a:pt x="1167" y="313"/>
                </a:cubicBezTo>
                <a:cubicBezTo>
                  <a:pt x="1168" y="313"/>
                  <a:pt x="1167" y="313"/>
                  <a:pt x="1167" y="314"/>
                </a:cubicBezTo>
                <a:cubicBezTo>
                  <a:pt x="1167" y="313"/>
                  <a:pt x="1166" y="313"/>
                  <a:pt x="1165" y="313"/>
                </a:cubicBezTo>
                <a:cubicBezTo>
                  <a:pt x="1166" y="313"/>
                  <a:pt x="1164" y="312"/>
                  <a:pt x="1164" y="312"/>
                </a:cubicBezTo>
                <a:cubicBezTo>
                  <a:pt x="1165" y="312"/>
                  <a:pt x="1165" y="311"/>
                  <a:pt x="1165" y="311"/>
                </a:cubicBezTo>
                <a:cubicBezTo>
                  <a:pt x="1165" y="309"/>
                  <a:pt x="1165" y="309"/>
                  <a:pt x="1163" y="309"/>
                </a:cubicBezTo>
                <a:cubicBezTo>
                  <a:pt x="1162" y="309"/>
                  <a:pt x="1163" y="309"/>
                  <a:pt x="1163" y="308"/>
                </a:cubicBezTo>
                <a:cubicBezTo>
                  <a:pt x="1163" y="307"/>
                  <a:pt x="1163" y="306"/>
                  <a:pt x="1165" y="306"/>
                </a:cubicBezTo>
                <a:cubicBezTo>
                  <a:pt x="1166" y="306"/>
                  <a:pt x="1165" y="305"/>
                  <a:pt x="1166" y="304"/>
                </a:cubicBezTo>
                <a:cubicBezTo>
                  <a:pt x="1166" y="304"/>
                  <a:pt x="1167" y="304"/>
                  <a:pt x="1167" y="303"/>
                </a:cubicBezTo>
                <a:cubicBezTo>
                  <a:pt x="1168" y="303"/>
                  <a:pt x="1168" y="304"/>
                  <a:pt x="1169" y="303"/>
                </a:cubicBezTo>
                <a:cubicBezTo>
                  <a:pt x="1169" y="302"/>
                  <a:pt x="1170" y="301"/>
                  <a:pt x="1171" y="301"/>
                </a:cubicBezTo>
                <a:cubicBezTo>
                  <a:pt x="1172" y="301"/>
                  <a:pt x="1172" y="300"/>
                  <a:pt x="1172" y="299"/>
                </a:cubicBezTo>
                <a:cubicBezTo>
                  <a:pt x="1173" y="299"/>
                  <a:pt x="1175" y="299"/>
                  <a:pt x="1176" y="299"/>
                </a:cubicBezTo>
                <a:cubicBezTo>
                  <a:pt x="1176" y="300"/>
                  <a:pt x="1178" y="299"/>
                  <a:pt x="1178" y="299"/>
                </a:cubicBezTo>
                <a:cubicBezTo>
                  <a:pt x="1180" y="299"/>
                  <a:pt x="1181" y="299"/>
                  <a:pt x="1182" y="299"/>
                </a:cubicBezTo>
                <a:cubicBezTo>
                  <a:pt x="1182" y="300"/>
                  <a:pt x="1182" y="299"/>
                  <a:pt x="1183" y="299"/>
                </a:cubicBezTo>
                <a:cubicBezTo>
                  <a:pt x="1185" y="299"/>
                  <a:pt x="1184" y="300"/>
                  <a:pt x="1185" y="300"/>
                </a:cubicBezTo>
                <a:cubicBezTo>
                  <a:pt x="1185" y="300"/>
                  <a:pt x="1188" y="301"/>
                  <a:pt x="1188" y="299"/>
                </a:cubicBezTo>
                <a:cubicBezTo>
                  <a:pt x="1189" y="299"/>
                  <a:pt x="1191" y="301"/>
                  <a:pt x="1191" y="300"/>
                </a:cubicBezTo>
                <a:cubicBezTo>
                  <a:pt x="1192" y="299"/>
                  <a:pt x="1193" y="298"/>
                  <a:pt x="1193" y="297"/>
                </a:cubicBezTo>
                <a:cubicBezTo>
                  <a:pt x="1193" y="297"/>
                  <a:pt x="1193" y="298"/>
                  <a:pt x="1194" y="298"/>
                </a:cubicBezTo>
                <a:cubicBezTo>
                  <a:pt x="1193" y="297"/>
                  <a:pt x="1195" y="296"/>
                  <a:pt x="1196" y="297"/>
                </a:cubicBezTo>
                <a:cubicBezTo>
                  <a:pt x="1196" y="297"/>
                  <a:pt x="1196" y="297"/>
                  <a:pt x="1196" y="298"/>
                </a:cubicBezTo>
                <a:cubicBezTo>
                  <a:pt x="1196" y="298"/>
                  <a:pt x="1195" y="298"/>
                  <a:pt x="1195" y="298"/>
                </a:cubicBezTo>
                <a:close/>
                <a:moveTo>
                  <a:pt x="1189" y="327"/>
                </a:moveTo>
                <a:cubicBezTo>
                  <a:pt x="1189" y="328"/>
                  <a:pt x="1188" y="327"/>
                  <a:pt x="1187" y="327"/>
                </a:cubicBezTo>
                <a:cubicBezTo>
                  <a:pt x="1187" y="328"/>
                  <a:pt x="1187" y="329"/>
                  <a:pt x="1185" y="329"/>
                </a:cubicBezTo>
                <a:cubicBezTo>
                  <a:pt x="1185" y="329"/>
                  <a:pt x="1184" y="329"/>
                  <a:pt x="1184" y="330"/>
                </a:cubicBezTo>
                <a:cubicBezTo>
                  <a:pt x="1182" y="329"/>
                  <a:pt x="1181" y="328"/>
                  <a:pt x="1180" y="328"/>
                </a:cubicBezTo>
                <a:cubicBezTo>
                  <a:pt x="1181" y="327"/>
                  <a:pt x="1182" y="327"/>
                  <a:pt x="1183" y="327"/>
                </a:cubicBezTo>
                <a:cubicBezTo>
                  <a:pt x="1183" y="327"/>
                  <a:pt x="1184" y="327"/>
                  <a:pt x="1185" y="326"/>
                </a:cubicBezTo>
                <a:cubicBezTo>
                  <a:pt x="1186" y="326"/>
                  <a:pt x="1186" y="326"/>
                  <a:pt x="1187" y="326"/>
                </a:cubicBezTo>
                <a:cubicBezTo>
                  <a:pt x="1188" y="326"/>
                  <a:pt x="1190" y="326"/>
                  <a:pt x="1189" y="327"/>
                </a:cubicBezTo>
                <a:close/>
                <a:moveTo>
                  <a:pt x="1111" y="316"/>
                </a:moveTo>
                <a:cubicBezTo>
                  <a:pt x="1110" y="316"/>
                  <a:pt x="1110" y="316"/>
                  <a:pt x="1109" y="316"/>
                </a:cubicBezTo>
                <a:cubicBezTo>
                  <a:pt x="1109" y="317"/>
                  <a:pt x="1110" y="318"/>
                  <a:pt x="1110" y="318"/>
                </a:cubicBezTo>
                <a:cubicBezTo>
                  <a:pt x="1109" y="318"/>
                  <a:pt x="1108" y="318"/>
                  <a:pt x="1108" y="319"/>
                </a:cubicBezTo>
                <a:cubicBezTo>
                  <a:pt x="1108" y="320"/>
                  <a:pt x="1107" y="321"/>
                  <a:pt x="1106" y="322"/>
                </a:cubicBezTo>
                <a:cubicBezTo>
                  <a:pt x="1105" y="322"/>
                  <a:pt x="1105" y="323"/>
                  <a:pt x="1104" y="323"/>
                </a:cubicBezTo>
                <a:cubicBezTo>
                  <a:pt x="1104" y="324"/>
                  <a:pt x="1101" y="324"/>
                  <a:pt x="1101" y="324"/>
                </a:cubicBezTo>
                <a:cubicBezTo>
                  <a:pt x="1101" y="323"/>
                  <a:pt x="1101" y="323"/>
                  <a:pt x="1101" y="323"/>
                </a:cubicBezTo>
                <a:cubicBezTo>
                  <a:pt x="1101" y="322"/>
                  <a:pt x="1101" y="323"/>
                  <a:pt x="1101" y="322"/>
                </a:cubicBezTo>
                <a:cubicBezTo>
                  <a:pt x="1101" y="322"/>
                  <a:pt x="1100" y="321"/>
                  <a:pt x="1100" y="321"/>
                </a:cubicBezTo>
                <a:cubicBezTo>
                  <a:pt x="1100" y="321"/>
                  <a:pt x="1100" y="322"/>
                  <a:pt x="1100" y="323"/>
                </a:cubicBezTo>
                <a:cubicBezTo>
                  <a:pt x="1099" y="323"/>
                  <a:pt x="1099" y="326"/>
                  <a:pt x="1098" y="326"/>
                </a:cubicBezTo>
                <a:cubicBezTo>
                  <a:pt x="1098" y="326"/>
                  <a:pt x="1097" y="325"/>
                  <a:pt x="1097" y="325"/>
                </a:cubicBezTo>
                <a:cubicBezTo>
                  <a:pt x="1097" y="324"/>
                  <a:pt x="1098" y="324"/>
                  <a:pt x="1098" y="324"/>
                </a:cubicBezTo>
                <a:cubicBezTo>
                  <a:pt x="1098" y="324"/>
                  <a:pt x="1098" y="323"/>
                  <a:pt x="1098" y="322"/>
                </a:cubicBezTo>
                <a:cubicBezTo>
                  <a:pt x="1098" y="322"/>
                  <a:pt x="1099" y="322"/>
                  <a:pt x="1098" y="321"/>
                </a:cubicBezTo>
                <a:cubicBezTo>
                  <a:pt x="1097" y="321"/>
                  <a:pt x="1098" y="321"/>
                  <a:pt x="1097" y="321"/>
                </a:cubicBezTo>
                <a:cubicBezTo>
                  <a:pt x="1096" y="321"/>
                  <a:pt x="1095" y="322"/>
                  <a:pt x="1093" y="322"/>
                </a:cubicBezTo>
                <a:cubicBezTo>
                  <a:pt x="1093" y="322"/>
                  <a:pt x="1093" y="321"/>
                  <a:pt x="1093" y="321"/>
                </a:cubicBezTo>
                <a:cubicBezTo>
                  <a:pt x="1093" y="320"/>
                  <a:pt x="1094" y="320"/>
                  <a:pt x="1093" y="320"/>
                </a:cubicBezTo>
                <a:cubicBezTo>
                  <a:pt x="1093" y="320"/>
                  <a:pt x="1094" y="319"/>
                  <a:pt x="1093" y="320"/>
                </a:cubicBezTo>
                <a:cubicBezTo>
                  <a:pt x="1093" y="319"/>
                  <a:pt x="1093" y="319"/>
                  <a:pt x="1093" y="318"/>
                </a:cubicBezTo>
                <a:cubicBezTo>
                  <a:pt x="1092" y="319"/>
                  <a:pt x="1092" y="316"/>
                  <a:pt x="1093" y="316"/>
                </a:cubicBezTo>
                <a:cubicBezTo>
                  <a:pt x="1094" y="315"/>
                  <a:pt x="1093" y="314"/>
                  <a:pt x="1093" y="313"/>
                </a:cubicBezTo>
                <a:cubicBezTo>
                  <a:pt x="1093" y="312"/>
                  <a:pt x="1093" y="312"/>
                  <a:pt x="1094" y="312"/>
                </a:cubicBezTo>
                <a:cubicBezTo>
                  <a:pt x="1094" y="311"/>
                  <a:pt x="1095" y="311"/>
                  <a:pt x="1095" y="310"/>
                </a:cubicBezTo>
                <a:cubicBezTo>
                  <a:pt x="1095" y="309"/>
                  <a:pt x="1095" y="309"/>
                  <a:pt x="1096" y="308"/>
                </a:cubicBezTo>
                <a:cubicBezTo>
                  <a:pt x="1097" y="308"/>
                  <a:pt x="1097" y="308"/>
                  <a:pt x="1098" y="308"/>
                </a:cubicBezTo>
                <a:cubicBezTo>
                  <a:pt x="1098" y="308"/>
                  <a:pt x="1097" y="309"/>
                  <a:pt x="1097" y="310"/>
                </a:cubicBezTo>
                <a:cubicBezTo>
                  <a:pt x="1098" y="310"/>
                  <a:pt x="1099" y="310"/>
                  <a:pt x="1099" y="309"/>
                </a:cubicBezTo>
                <a:cubicBezTo>
                  <a:pt x="1099" y="308"/>
                  <a:pt x="1099" y="306"/>
                  <a:pt x="1099" y="306"/>
                </a:cubicBezTo>
                <a:cubicBezTo>
                  <a:pt x="1100" y="306"/>
                  <a:pt x="1101" y="307"/>
                  <a:pt x="1101" y="306"/>
                </a:cubicBezTo>
                <a:cubicBezTo>
                  <a:pt x="1101" y="306"/>
                  <a:pt x="1101" y="305"/>
                  <a:pt x="1102" y="306"/>
                </a:cubicBezTo>
                <a:cubicBezTo>
                  <a:pt x="1103" y="306"/>
                  <a:pt x="1103" y="305"/>
                  <a:pt x="1104" y="305"/>
                </a:cubicBezTo>
                <a:cubicBezTo>
                  <a:pt x="1104" y="305"/>
                  <a:pt x="1103" y="304"/>
                  <a:pt x="1103" y="303"/>
                </a:cubicBezTo>
                <a:cubicBezTo>
                  <a:pt x="1104" y="303"/>
                  <a:pt x="1106" y="303"/>
                  <a:pt x="1107" y="303"/>
                </a:cubicBezTo>
                <a:cubicBezTo>
                  <a:pt x="1107" y="303"/>
                  <a:pt x="1107" y="303"/>
                  <a:pt x="1107" y="302"/>
                </a:cubicBezTo>
                <a:cubicBezTo>
                  <a:pt x="1107" y="302"/>
                  <a:pt x="1108" y="302"/>
                  <a:pt x="1108" y="303"/>
                </a:cubicBezTo>
                <a:cubicBezTo>
                  <a:pt x="1109" y="303"/>
                  <a:pt x="1109" y="303"/>
                  <a:pt x="1110" y="303"/>
                </a:cubicBezTo>
                <a:cubicBezTo>
                  <a:pt x="1109" y="304"/>
                  <a:pt x="1109" y="305"/>
                  <a:pt x="1108" y="305"/>
                </a:cubicBezTo>
                <a:cubicBezTo>
                  <a:pt x="1107" y="306"/>
                  <a:pt x="1107" y="307"/>
                  <a:pt x="1107" y="307"/>
                </a:cubicBezTo>
                <a:cubicBezTo>
                  <a:pt x="1107" y="308"/>
                  <a:pt x="1107" y="308"/>
                  <a:pt x="1107" y="309"/>
                </a:cubicBezTo>
                <a:cubicBezTo>
                  <a:pt x="1107" y="309"/>
                  <a:pt x="1107" y="309"/>
                  <a:pt x="1107" y="309"/>
                </a:cubicBezTo>
                <a:cubicBezTo>
                  <a:pt x="1107" y="311"/>
                  <a:pt x="1107" y="312"/>
                  <a:pt x="1108" y="313"/>
                </a:cubicBezTo>
                <a:cubicBezTo>
                  <a:pt x="1108" y="314"/>
                  <a:pt x="1108" y="314"/>
                  <a:pt x="1109" y="315"/>
                </a:cubicBezTo>
                <a:cubicBezTo>
                  <a:pt x="1110" y="315"/>
                  <a:pt x="1111" y="315"/>
                  <a:pt x="1111" y="316"/>
                </a:cubicBezTo>
                <a:cubicBezTo>
                  <a:pt x="1110" y="316"/>
                  <a:pt x="1111" y="316"/>
                  <a:pt x="1111" y="316"/>
                </a:cubicBezTo>
                <a:close/>
                <a:moveTo>
                  <a:pt x="1074" y="340"/>
                </a:moveTo>
                <a:cubicBezTo>
                  <a:pt x="1074" y="340"/>
                  <a:pt x="1074" y="340"/>
                  <a:pt x="1074" y="340"/>
                </a:cubicBezTo>
                <a:cubicBezTo>
                  <a:pt x="1074" y="340"/>
                  <a:pt x="1074" y="340"/>
                  <a:pt x="1074" y="341"/>
                </a:cubicBezTo>
                <a:cubicBezTo>
                  <a:pt x="1074" y="341"/>
                  <a:pt x="1073" y="341"/>
                  <a:pt x="1073" y="341"/>
                </a:cubicBezTo>
                <a:cubicBezTo>
                  <a:pt x="1072" y="341"/>
                  <a:pt x="1072" y="340"/>
                  <a:pt x="1072" y="340"/>
                </a:cubicBezTo>
                <a:cubicBezTo>
                  <a:pt x="1071" y="340"/>
                  <a:pt x="1070" y="340"/>
                  <a:pt x="1070" y="340"/>
                </a:cubicBezTo>
                <a:cubicBezTo>
                  <a:pt x="1069" y="340"/>
                  <a:pt x="1069" y="341"/>
                  <a:pt x="1069" y="340"/>
                </a:cubicBezTo>
                <a:cubicBezTo>
                  <a:pt x="1069" y="340"/>
                  <a:pt x="1069" y="339"/>
                  <a:pt x="1069" y="338"/>
                </a:cubicBezTo>
                <a:cubicBezTo>
                  <a:pt x="1068" y="338"/>
                  <a:pt x="1068" y="338"/>
                  <a:pt x="1068" y="338"/>
                </a:cubicBezTo>
                <a:cubicBezTo>
                  <a:pt x="1068" y="340"/>
                  <a:pt x="1067" y="341"/>
                  <a:pt x="1067" y="343"/>
                </a:cubicBezTo>
                <a:cubicBezTo>
                  <a:pt x="1067" y="344"/>
                  <a:pt x="1067" y="344"/>
                  <a:pt x="1066" y="345"/>
                </a:cubicBezTo>
                <a:cubicBezTo>
                  <a:pt x="1066" y="345"/>
                  <a:pt x="1067" y="346"/>
                  <a:pt x="1067" y="346"/>
                </a:cubicBezTo>
                <a:cubicBezTo>
                  <a:pt x="1067" y="346"/>
                  <a:pt x="1068" y="345"/>
                  <a:pt x="1068" y="345"/>
                </a:cubicBezTo>
                <a:cubicBezTo>
                  <a:pt x="1069" y="345"/>
                  <a:pt x="1069" y="345"/>
                  <a:pt x="1069" y="345"/>
                </a:cubicBezTo>
                <a:cubicBezTo>
                  <a:pt x="1070" y="345"/>
                  <a:pt x="1069" y="344"/>
                  <a:pt x="1069" y="344"/>
                </a:cubicBezTo>
                <a:cubicBezTo>
                  <a:pt x="1070" y="344"/>
                  <a:pt x="1070" y="344"/>
                  <a:pt x="1071" y="344"/>
                </a:cubicBezTo>
                <a:cubicBezTo>
                  <a:pt x="1072" y="344"/>
                  <a:pt x="1074" y="345"/>
                  <a:pt x="1071" y="345"/>
                </a:cubicBezTo>
                <a:cubicBezTo>
                  <a:pt x="1070" y="345"/>
                  <a:pt x="1069" y="345"/>
                  <a:pt x="1070" y="347"/>
                </a:cubicBezTo>
                <a:cubicBezTo>
                  <a:pt x="1070" y="347"/>
                  <a:pt x="1071" y="347"/>
                  <a:pt x="1071" y="348"/>
                </a:cubicBezTo>
                <a:cubicBezTo>
                  <a:pt x="1072" y="348"/>
                  <a:pt x="1071" y="348"/>
                  <a:pt x="1071" y="349"/>
                </a:cubicBezTo>
                <a:cubicBezTo>
                  <a:pt x="1071" y="349"/>
                  <a:pt x="1071" y="349"/>
                  <a:pt x="1072" y="350"/>
                </a:cubicBezTo>
                <a:cubicBezTo>
                  <a:pt x="1072" y="350"/>
                  <a:pt x="1072" y="350"/>
                  <a:pt x="1073" y="350"/>
                </a:cubicBezTo>
                <a:cubicBezTo>
                  <a:pt x="1073" y="350"/>
                  <a:pt x="1073" y="351"/>
                  <a:pt x="1073" y="351"/>
                </a:cubicBezTo>
                <a:cubicBezTo>
                  <a:pt x="1074" y="351"/>
                  <a:pt x="1073" y="354"/>
                  <a:pt x="1073" y="354"/>
                </a:cubicBezTo>
                <a:cubicBezTo>
                  <a:pt x="1071" y="354"/>
                  <a:pt x="1072" y="355"/>
                  <a:pt x="1072" y="356"/>
                </a:cubicBezTo>
                <a:cubicBezTo>
                  <a:pt x="1072" y="357"/>
                  <a:pt x="1072" y="359"/>
                  <a:pt x="1073" y="360"/>
                </a:cubicBezTo>
                <a:cubicBezTo>
                  <a:pt x="1073" y="361"/>
                  <a:pt x="1073" y="363"/>
                  <a:pt x="1072" y="364"/>
                </a:cubicBezTo>
                <a:cubicBezTo>
                  <a:pt x="1072" y="365"/>
                  <a:pt x="1071" y="365"/>
                  <a:pt x="1070" y="365"/>
                </a:cubicBezTo>
                <a:cubicBezTo>
                  <a:pt x="1070" y="364"/>
                  <a:pt x="1070" y="364"/>
                  <a:pt x="1070" y="364"/>
                </a:cubicBezTo>
                <a:cubicBezTo>
                  <a:pt x="1069" y="364"/>
                  <a:pt x="1067" y="365"/>
                  <a:pt x="1065" y="365"/>
                </a:cubicBezTo>
                <a:cubicBezTo>
                  <a:pt x="1064" y="366"/>
                  <a:pt x="1064" y="366"/>
                  <a:pt x="1063" y="366"/>
                </a:cubicBezTo>
                <a:cubicBezTo>
                  <a:pt x="1063" y="366"/>
                  <a:pt x="1062" y="366"/>
                  <a:pt x="1062" y="366"/>
                </a:cubicBezTo>
                <a:cubicBezTo>
                  <a:pt x="1062" y="366"/>
                  <a:pt x="1062" y="365"/>
                  <a:pt x="1062" y="365"/>
                </a:cubicBezTo>
                <a:cubicBezTo>
                  <a:pt x="1061" y="365"/>
                  <a:pt x="1059" y="365"/>
                  <a:pt x="1058" y="364"/>
                </a:cubicBezTo>
                <a:cubicBezTo>
                  <a:pt x="1058" y="363"/>
                  <a:pt x="1057" y="364"/>
                  <a:pt x="1057" y="363"/>
                </a:cubicBezTo>
                <a:cubicBezTo>
                  <a:pt x="1056" y="362"/>
                  <a:pt x="1056" y="361"/>
                  <a:pt x="1055" y="361"/>
                </a:cubicBezTo>
                <a:cubicBezTo>
                  <a:pt x="1054" y="361"/>
                  <a:pt x="1054" y="361"/>
                  <a:pt x="1053" y="361"/>
                </a:cubicBezTo>
                <a:cubicBezTo>
                  <a:pt x="1053" y="360"/>
                  <a:pt x="1052" y="361"/>
                  <a:pt x="1052" y="361"/>
                </a:cubicBezTo>
                <a:cubicBezTo>
                  <a:pt x="1051" y="361"/>
                  <a:pt x="1051" y="361"/>
                  <a:pt x="1050" y="360"/>
                </a:cubicBezTo>
                <a:cubicBezTo>
                  <a:pt x="1050" y="360"/>
                  <a:pt x="1049" y="359"/>
                  <a:pt x="1049" y="359"/>
                </a:cubicBezTo>
                <a:cubicBezTo>
                  <a:pt x="1049" y="359"/>
                  <a:pt x="1049" y="358"/>
                  <a:pt x="1049" y="358"/>
                </a:cubicBezTo>
                <a:cubicBezTo>
                  <a:pt x="1048" y="358"/>
                  <a:pt x="1048" y="356"/>
                  <a:pt x="1048" y="355"/>
                </a:cubicBezTo>
                <a:cubicBezTo>
                  <a:pt x="1048" y="355"/>
                  <a:pt x="1048" y="355"/>
                  <a:pt x="1048" y="354"/>
                </a:cubicBezTo>
                <a:cubicBezTo>
                  <a:pt x="1048" y="354"/>
                  <a:pt x="1048" y="353"/>
                  <a:pt x="1048" y="353"/>
                </a:cubicBezTo>
                <a:cubicBezTo>
                  <a:pt x="1048" y="352"/>
                  <a:pt x="1048" y="352"/>
                  <a:pt x="1048" y="351"/>
                </a:cubicBezTo>
                <a:cubicBezTo>
                  <a:pt x="1049" y="351"/>
                  <a:pt x="1049" y="350"/>
                  <a:pt x="1050" y="350"/>
                </a:cubicBezTo>
                <a:cubicBezTo>
                  <a:pt x="1051" y="349"/>
                  <a:pt x="1049" y="349"/>
                  <a:pt x="1049" y="348"/>
                </a:cubicBezTo>
                <a:cubicBezTo>
                  <a:pt x="1050" y="348"/>
                  <a:pt x="1050" y="348"/>
                  <a:pt x="1050" y="347"/>
                </a:cubicBezTo>
                <a:cubicBezTo>
                  <a:pt x="1050" y="346"/>
                  <a:pt x="1051" y="347"/>
                  <a:pt x="1051" y="346"/>
                </a:cubicBezTo>
                <a:cubicBezTo>
                  <a:pt x="1051" y="345"/>
                  <a:pt x="1051" y="345"/>
                  <a:pt x="1051" y="344"/>
                </a:cubicBezTo>
                <a:cubicBezTo>
                  <a:pt x="1051" y="344"/>
                  <a:pt x="1053" y="342"/>
                  <a:pt x="1053" y="342"/>
                </a:cubicBezTo>
                <a:cubicBezTo>
                  <a:pt x="1053" y="341"/>
                  <a:pt x="1054" y="342"/>
                  <a:pt x="1055" y="342"/>
                </a:cubicBezTo>
                <a:cubicBezTo>
                  <a:pt x="1055" y="342"/>
                  <a:pt x="1055" y="341"/>
                  <a:pt x="1054" y="341"/>
                </a:cubicBezTo>
                <a:cubicBezTo>
                  <a:pt x="1054" y="340"/>
                  <a:pt x="1053" y="341"/>
                  <a:pt x="1053" y="340"/>
                </a:cubicBezTo>
                <a:cubicBezTo>
                  <a:pt x="1053" y="340"/>
                  <a:pt x="1052" y="340"/>
                  <a:pt x="1052" y="340"/>
                </a:cubicBezTo>
                <a:cubicBezTo>
                  <a:pt x="1052" y="340"/>
                  <a:pt x="1051" y="339"/>
                  <a:pt x="1051" y="338"/>
                </a:cubicBezTo>
                <a:cubicBezTo>
                  <a:pt x="1051" y="338"/>
                  <a:pt x="1051" y="338"/>
                  <a:pt x="1050" y="338"/>
                </a:cubicBezTo>
                <a:cubicBezTo>
                  <a:pt x="1050" y="337"/>
                  <a:pt x="1050" y="336"/>
                  <a:pt x="1050" y="336"/>
                </a:cubicBezTo>
                <a:cubicBezTo>
                  <a:pt x="1049" y="336"/>
                  <a:pt x="1050" y="336"/>
                  <a:pt x="1050" y="336"/>
                </a:cubicBezTo>
                <a:cubicBezTo>
                  <a:pt x="1050" y="335"/>
                  <a:pt x="1048" y="335"/>
                  <a:pt x="1048" y="334"/>
                </a:cubicBezTo>
                <a:cubicBezTo>
                  <a:pt x="1048" y="333"/>
                  <a:pt x="1048" y="334"/>
                  <a:pt x="1047" y="334"/>
                </a:cubicBezTo>
                <a:cubicBezTo>
                  <a:pt x="1047" y="333"/>
                  <a:pt x="1047" y="333"/>
                  <a:pt x="1046" y="332"/>
                </a:cubicBezTo>
                <a:cubicBezTo>
                  <a:pt x="1046" y="332"/>
                  <a:pt x="1046" y="332"/>
                  <a:pt x="1045" y="331"/>
                </a:cubicBezTo>
                <a:cubicBezTo>
                  <a:pt x="1045" y="331"/>
                  <a:pt x="1045" y="331"/>
                  <a:pt x="1045" y="330"/>
                </a:cubicBezTo>
                <a:cubicBezTo>
                  <a:pt x="1045" y="329"/>
                  <a:pt x="1044" y="330"/>
                  <a:pt x="1044" y="329"/>
                </a:cubicBezTo>
                <a:cubicBezTo>
                  <a:pt x="1044" y="328"/>
                  <a:pt x="1043" y="328"/>
                  <a:pt x="1043" y="328"/>
                </a:cubicBezTo>
                <a:cubicBezTo>
                  <a:pt x="1043" y="327"/>
                  <a:pt x="1043" y="327"/>
                  <a:pt x="1043" y="326"/>
                </a:cubicBezTo>
                <a:cubicBezTo>
                  <a:pt x="1042" y="326"/>
                  <a:pt x="1042" y="326"/>
                  <a:pt x="1042" y="326"/>
                </a:cubicBezTo>
                <a:cubicBezTo>
                  <a:pt x="1042" y="325"/>
                  <a:pt x="1042" y="324"/>
                  <a:pt x="1042" y="322"/>
                </a:cubicBezTo>
                <a:cubicBezTo>
                  <a:pt x="1041" y="323"/>
                  <a:pt x="1042" y="322"/>
                  <a:pt x="1041" y="322"/>
                </a:cubicBezTo>
                <a:cubicBezTo>
                  <a:pt x="1041" y="321"/>
                  <a:pt x="1042" y="320"/>
                  <a:pt x="1042" y="320"/>
                </a:cubicBezTo>
                <a:cubicBezTo>
                  <a:pt x="1042" y="319"/>
                  <a:pt x="1042" y="319"/>
                  <a:pt x="1041" y="318"/>
                </a:cubicBezTo>
                <a:cubicBezTo>
                  <a:pt x="1041" y="317"/>
                  <a:pt x="1039" y="319"/>
                  <a:pt x="1038" y="318"/>
                </a:cubicBezTo>
                <a:cubicBezTo>
                  <a:pt x="1038" y="318"/>
                  <a:pt x="1037" y="318"/>
                  <a:pt x="1037" y="318"/>
                </a:cubicBezTo>
                <a:cubicBezTo>
                  <a:pt x="1037" y="317"/>
                  <a:pt x="1039" y="317"/>
                  <a:pt x="1038" y="317"/>
                </a:cubicBezTo>
                <a:cubicBezTo>
                  <a:pt x="1038" y="316"/>
                  <a:pt x="1038" y="315"/>
                  <a:pt x="1039" y="315"/>
                </a:cubicBezTo>
                <a:cubicBezTo>
                  <a:pt x="1039" y="315"/>
                  <a:pt x="1039" y="311"/>
                  <a:pt x="1040" y="311"/>
                </a:cubicBezTo>
                <a:cubicBezTo>
                  <a:pt x="1040" y="311"/>
                  <a:pt x="1040" y="310"/>
                  <a:pt x="1040" y="310"/>
                </a:cubicBezTo>
                <a:cubicBezTo>
                  <a:pt x="1040" y="310"/>
                  <a:pt x="1040" y="309"/>
                  <a:pt x="1040" y="309"/>
                </a:cubicBezTo>
                <a:cubicBezTo>
                  <a:pt x="1041" y="309"/>
                  <a:pt x="1042" y="308"/>
                  <a:pt x="1041" y="308"/>
                </a:cubicBezTo>
                <a:cubicBezTo>
                  <a:pt x="1041" y="308"/>
                  <a:pt x="1041" y="308"/>
                  <a:pt x="1041" y="307"/>
                </a:cubicBezTo>
                <a:cubicBezTo>
                  <a:pt x="1041" y="307"/>
                  <a:pt x="1041" y="306"/>
                  <a:pt x="1041" y="306"/>
                </a:cubicBezTo>
                <a:cubicBezTo>
                  <a:pt x="1041" y="306"/>
                  <a:pt x="1042" y="305"/>
                  <a:pt x="1042" y="306"/>
                </a:cubicBezTo>
                <a:cubicBezTo>
                  <a:pt x="1042" y="305"/>
                  <a:pt x="1043" y="306"/>
                  <a:pt x="1043" y="305"/>
                </a:cubicBezTo>
                <a:cubicBezTo>
                  <a:pt x="1043" y="304"/>
                  <a:pt x="1044" y="304"/>
                  <a:pt x="1044" y="305"/>
                </a:cubicBezTo>
                <a:cubicBezTo>
                  <a:pt x="1044" y="305"/>
                  <a:pt x="1044" y="306"/>
                  <a:pt x="1044" y="306"/>
                </a:cubicBezTo>
                <a:cubicBezTo>
                  <a:pt x="1045" y="306"/>
                  <a:pt x="1045" y="306"/>
                  <a:pt x="1046" y="306"/>
                </a:cubicBezTo>
                <a:cubicBezTo>
                  <a:pt x="1045" y="306"/>
                  <a:pt x="1045" y="307"/>
                  <a:pt x="1045" y="307"/>
                </a:cubicBezTo>
                <a:cubicBezTo>
                  <a:pt x="1045" y="307"/>
                  <a:pt x="1047" y="306"/>
                  <a:pt x="1047" y="306"/>
                </a:cubicBezTo>
                <a:cubicBezTo>
                  <a:pt x="1047" y="306"/>
                  <a:pt x="1047" y="305"/>
                  <a:pt x="1047" y="305"/>
                </a:cubicBezTo>
                <a:cubicBezTo>
                  <a:pt x="1046" y="305"/>
                  <a:pt x="1045" y="304"/>
                  <a:pt x="1046" y="303"/>
                </a:cubicBezTo>
                <a:cubicBezTo>
                  <a:pt x="1047" y="305"/>
                  <a:pt x="1048" y="304"/>
                  <a:pt x="1048" y="303"/>
                </a:cubicBezTo>
                <a:cubicBezTo>
                  <a:pt x="1049" y="304"/>
                  <a:pt x="1050" y="303"/>
                  <a:pt x="1051" y="302"/>
                </a:cubicBezTo>
                <a:cubicBezTo>
                  <a:pt x="1052" y="302"/>
                  <a:pt x="1053" y="302"/>
                  <a:pt x="1054" y="302"/>
                </a:cubicBezTo>
                <a:cubicBezTo>
                  <a:pt x="1054" y="302"/>
                  <a:pt x="1055" y="302"/>
                  <a:pt x="1055" y="301"/>
                </a:cubicBezTo>
                <a:cubicBezTo>
                  <a:pt x="1055" y="301"/>
                  <a:pt x="1055" y="301"/>
                  <a:pt x="1056" y="301"/>
                </a:cubicBezTo>
                <a:cubicBezTo>
                  <a:pt x="1056" y="300"/>
                  <a:pt x="1057" y="301"/>
                  <a:pt x="1057" y="300"/>
                </a:cubicBezTo>
                <a:cubicBezTo>
                  <a:pt x="1057" y="299"/>
                  <a:pt x="1059" y="299"/>
                  <a:pt x="1058" y="298"/>
                </a:cubicBezTo>
                <a:cubicBezTo>
                  <a:pt x="1058" y="298"/>
                  <a:pt x="1058" y="298"/>
                  <a:pt x="1058" y="298"/>
                </a:cubicBezTo>
                <a:cubicBezTo>
                  <a:pt x="1059" y="298"/>
                  <a:pt x="1060" y="298"/>
                  <a:pt x="1061" y="299"/>
                </a:cubicBezTo>
                <a:cubicBezTo>
                  <a:pt x="1062" y="299"/>
                  <a:pt x="1061" y="299"/>
                  <a:pt x="1061" y="300"/>
                </a:cubicBezTo>
                <a:cubicBezTo>
                  <a:pt x="1062" y="300"/>
                  <a:pt x="1063" y="300"/>
                  <a:pt x="1064" y="300"/>
                </a:cubicBezTo>
                <a:cubicBezTo>
                  <a:pt x="1064" y="301"/>
                  <a:pt x="1066" y="301"/>
                  <a:pt x="1066" y="300"/>
                </a:cubicBezTo>
                <a:cubicBezTo>
                  <a:pt x="1066" y="301"/>
                  <a:pt x="1066" y="301"/>
                  <a:pt x="1067" y="301"/>
                </a:cubicBezTo>
                <a:cubicBezTo>
                  <a:pt x="1067" y="301"/>
                  <a:pt x="1068" y="302"/>
                  <a:pt x="1068" y="302"/>
                </a:cubicBezTo>
                <a:cubicBezTo>
                  <a:pt x="1068" y="302"/>
                  <a:pt x="1069" y="302"/>
                  <a:pt x="1069" y="303"/>
                </a:cubicBezTo>
                <a:cubicBezTo>
                  <a:pt x="1069" y="303"/>
                  <a:pt x="1069" y="304"/>
                  <a:pt x="1070" y="304"/>
                </a:cubicBezTo>
                <a:cubicBezTo>
                  <a:pt x="1070" y="304"/>
                  <a:pt x="1069" y="304"/>
                  <a:pt x="1070" y="304"/>
                </a:cubicBezTo>
                <a:cubicBezTo>
                  <a:pt x="1070" y="304"/>
                  <a:pt x="1071" y="304"/>
                  <a:pt x="1071" y="304"/>
                </a:cubicBezTo>
                <a:cubicBezTo>
                  <a:pt x="1072" y="304"/>
                  <a:pt x="1071" y="305"/>
                  <a:pt x="1072" y="305"/>
                </a:cubicBezTo>
                <a:cubicBezTo>
                  <a:pt x="1072" y="305"/>
                  <a:pt x="1072" y="307"/>
                  <a:pt x="1072" y="307"/>
                </a:cubicBezTo>
                <a:cubicBezTo>
                  <a:pt x="1073" y="307"/>
                  <a:pt x="1073" y="307"/>
                  <a:pt x="1073" y="308"/>
                </a:cubicBezTo>
                <a:cubicBezTo>
                  <a:pt x="1073" y="309"/>
                  <a:pt x="1073" y="308"/>
                  <a:pt x="1073" y="308"/>
                </a:cubicBezTo>
                <a:cubicBezTo>
                  <a:pt x="1073" y="309"/>
                  <a:pt x="1074" y="309"/>
                  <a:pt x="1074" y="310"/>
                </a:cubicBezTo>
                <a:cubicBezTo>
                  <a:pt x="1075" y="310"/>
                  <a:pt x="1075" y="310"/>
                  <a:pt x="1075" y="312"/>
                </a:cubicBezTo>
                <a:cubicBezTo>
                  <a:pt x="1075" y="312"/>
                  <a:pt x="1074" y="312"/>
                  <a:pt x="1074" y="312"/>
                </a:cubicBezTo>
                <a:cubicBezTo>
                  <a:pt x="1074" y="313"/>
                  <a:pt x="1075" y="313"/>
                  <a:pt x="1074" y="314"/>
                </a:cubicBezTo>
                <a:cubicBezTo>
                  <a:pt x="1074" y="314"/>
                  <a:pt x="1074" y="314"/>
                  <a:pt x="1074" y="314"/>
                </a:cubicBezTo>
                <a:cubicBezTo>
                  <a:pt x="1074" y="315"/>
                  <a:pt x="1073" y="314"/>
                  <a:pt x="1072" y="314"/>
                </a:cubicBezTo>
                <a:cubicBezTo>
                  <a:pt x="1072" y="314"/>
                  <a:pt x="1071" y="315"/>
                  <a:pt x="1070" y="315"/>
                </a:cubicBezTo>
                <a:cubicBezTo>
                  <a:pt x="1070" y="316"/>
                  <a:pt x="1069" y="316"/>
                  <a:pt x="1069" y="316"/>
                </a:cubicBezTo>
                <a:cubicBezTo>
                  <a:pt x="1068" y="317"/>
                  <a:pt x="1069" y="317"/>
                  <a:pt x="1068" y="317"/>
                </a:cubicBezTo>
                <a:cubicBezTo>
                  <a:pt x="1068" y="317"/>
                  <a:pt x="1068" y="318"/>
                  <a:pt x="1068" y="318"/>
                </a:cubicBezTo>
                <a:cubicBezTo>
                  <a:pt x="1067" y="319"/>
                  <a:pt x="1067" y="319"/>
                  <a:pt x="1066" y="319"/>
                </a:cubicBezTo>
                <a:cubicBezTo>
                  <a:pt x="1066" y="318"/>
                  <a:pt x="1066" y="318"/>
                  <a:pt x="1065" y="318"/>
                </a:cubicBezTo>
                <a:cubicBezTo>
                  <a:pt x="1065" y="318"/>
                  <a:pt x="1065" y="318"/>
                  <a:pt x="1065" y="318"/>
                </a:cubicBezTo>
                <a:cubicBezTo>
                  <a:pt x="1064" y="318"/>
                  <a:pt x="1065" y="317"/>
                  <a:pt x="1065" y="317"/>
                </a:cubicBezTo>
                <a:cubicBezTo>
                  <a:pt x="1066" y="317"/>
                  <a:pt x="1066" y="317"/>
                  <a:pt x="1067" y="318"/>
                </a:cubicBezTo>
                <a:cubicBezTo>
                  <a:pt x="1067" y="318"/>
                  <a:pt x="1068" y="316"/>
                  <a:pt x="1068" y="316"/>
                </a:cubicBezTo>
                <a:cubicBezTo>
                  <a:pt x="1069" y="316"/>
                  <a:pt x="1069" y="316"/>
                  <a:pt x="1069" y="315"/>
                </a:cubicBezTo>
                <a:cubicBezTo>
                  <a:pt x="1069" y="315"/>
                  <a:pt x="1070" y="315"/>
                  <a:pt x="1070" y="315"/>
                </a:cubicBezTo>
                <a:cubicBezTo>
                  <a:pt x="1070" y="315"/>
                  <a:pt x="1071" y="314"/>
                  <a:pt x="1071" y="314"/>
                </a:cubicBezTo>
                <a:cubicBezTo>
                  <a:pt x="1071" y="313"/>
                  <a:pt x="1068" y="313"/>
                  <a:pt x="1067" y="312"/>
                </a:cubicBezTo>
                <a:cubicBezTo>
                  <a:pt x="1066" y="311"/>
                  <a:pt x="1065" y="311"/>
                  <a:pt x="1064" y="311"/>
                </a:cubicBezTo>
                <a:cubicBezTo>
                  <a:pt x="1063" y="312"/>
                  <a:pt x="1064" y="313"/>
                  <a:pt x="1064" y="314"/>
                </a:cubicBezTo>
                <a:cubicBezTo>
                  <a:pt x="1063" y="314"/>
                  <a:pt x="1063" y="314"/>
                  <a:pt x="1062" y="314"/>
                </a:cubicBezTo>
                <a:cubicBezTo>
                  <a:pt x="1062" y="314"/>
                  <a:pt x="1062" y="314"/>
                  <a:pt x="1062" y="314"/>
                </a:cubicBezTo>
                <a:cubicBezTo>
                  <a:pt x="1062" y="315"/>
                  <a:pt x="1059" y="314"/>
                  <a:pt x="1059" y="314"/>
                </a:cubicBezTo>
                <a:cubicBezTo>
                  <a:pt x="1059" y="314"/>
                  <a:pt x="1059" y="314"/>
                  <a:pt x="1059" y="314"/>
                </a:cubicBezTo>
                <a:cubicBezTo>
                  <a:pt x="1059" y="315"/>
                  <a:pt x="1059" y="315"/>
                  <a:pt x="1059" y="316"/>
                </a:cubicBezTo>
                <a:cubicBezTo>
                  <a:pt x="1059" y="316"/>
                  <a:pt x="1060" y="316"/>
                  <a:pt x="1060" y="317"/>
                </a:cubicBezTo>
                <a:cubicBezTo>
                  <a:pt x="1060" y="317"/>
                  <a:pt x="1062" y="317"/>
                  <a:pt x="1062" y="317"/>
                </a:cubicBezTo>
                <a:cubicBezTo>
                  <a:pt x="1061" y="319"/>
                  <a:pt x="1059" y="317"/>
                  <a:pt x="1057" y="317"/>
                </a:cubicBezTo>
                <a:cubicBezTo>
                  <a:pt x="1056" y="318"/>
                  <a:pt x="1056" y="318"/>
                  <a:pt x="1055" y="318"/>
                </a:cubicBezTo>
                <a:cubicBezTo>
                  <a:pt x="1056" y="319"/>
                  <a:pt x="1056" y="319"/>
                  <a:pt x="1057" y="319"/>
                </a:cubicBezTo>
                <a:cubicBezTo>
                  <a:pt x="1058" y="319"/>
                  <a:pt x="1058" y="320"/>
                  <a:pt x="1059" y="321"/>
                </a:cubicBezTo>
                <a:cubicBezTo>
                  <a:pt x="1059" y="321"/>
                  <a:pt x="1059" y="321"/>
                  <a:pt x="1059" y="321"/>
                </a:cubicBezTo>
                <a:cubicBezTo>
                  <a:pt x="1059" y="322"/>
                  <a:pt x="1059" y="321"/>
                  <a:pt x="1059" y="322"/>
                </a:cubicBezTo>
                <a:cubicBezTo>
                  <a:pt x="1060" y="322"/>
                  <a:pt x="1059" y="322"/>
                  <a:pt x="1060" y="322"/>
                </a:cubicBezTo>
                <a:cubicBezTo>
                  <a:pt x="1060" y="323"/>
                  <a:pt x="1060" y="324"/>
                  <a:pt x="1061" y="324"/>
                </a:cubicBezTo>
                <a:cubicBezTo>
                  <a:pt x="1061" y="324"/>
                  <a:pt x="1060" y="324"/>
                  <a:pt x="1061" y="325"/>
                </a:cubicBezTo>
                <a:cubicBezTo>
                  <a:pt x="1061" y="325"/>
                  <a:pt x="1061" y="325"/>
                  <a:pt x="1061" y="325"/>
                </a:cubicBezTo>
                <a:cubicBezTo>
                  <a:pt x="1062" y="325"/>
                  <a:pt x="1061" y="325"/>
                  <a:pt x="1063" y="325"/>
                </a:cubicBezTo>
                <a:cubicBezTo>
                  <a:pt x="1063" y="326"/>
                  <a:pt x="1063" y="326"/>
                  <a:pt x="1064" y="327"/>
                </a:cubicBezTo>
                <a:cubicBezTo>
                  <a:pt x="1065" y="327"/>
                  <a:pt x="1066" y="327"/>
                  <a:pt x="1067" y="327"/>
                </a:cubicBezTo>
                <a:cubicBezTo>
                  <a:pt x="1067" y="328"/>
                  <a:pt x="1067" y="329"/>
                  <a:pt x="1066" y="329"/>
                </a:cubicBezTo>
                <a:cubicBezTo>
                  <a:pt x="1066" y="330"/>
                  <a:pt x="1066" y="330"/>
                  <a:pt x="1066" y="331"/>
                </a:cubicBezTo>
                <a:cubicBezTo>
                  <a:pt x="1066" y="332"/>
                  <a:pt x="1065" y="332"/>
                  <a:pt x="1065" y="333"/>
                </a:cubicBezTo>
                <a:cubicBezTo>
                  <a:pt x="1065" y="333"/>
                  <a:pt x="1065" y="334"/>
                  <a:pt x="1066" y="334"/>
                </a:cubicBezTo>
                <a:cubicBezTo>
                  <a:pt x="1066" y="335"/>
                  <a:pt x="1067" y="336"/>
                  <a:pt x="1067" y="335"/>
                </a:cubicBezTo>
                <a:cubicBezTo>
                  <a:pt x="1068" y="333"/>
                  <a:pt x="1067" y="334"/>
                  <a:pt x="1067" y="334"/>
                </a:cubicBezTo>
                <a:cubicBezTo>
                  <a:pt x="1067" y="333"/>
                  <a:pt x="1067" y="333"/>
                  <a:pt x="1068" y="333"/>
                </a:cubicBezTo>
                <a:cubicBezTo>
                  <a:pt x="1068" y="333"/>
                  <a:pt x="1069" y="332"/>
                  <a:pt x="1069" y="332"/>
                </a:cubicBezTo>
                <a:cubicBezTo>
                  <a:pt x="1070" y="331"/>
                  <a:pt x="1070" y="331"/>
                  <a:pt x="1071" y="332"/>
                </a:cubicBezTo>
                <a:cubicBezTo>
                  <a:pt x="1072" y="332"/>
                  <a:pt x="1073" y="332"/>
                  <a:pt x="1073" y="332"/>
                </a:cubicBezTo>
                <a:cubicBezTo>
                  <a:pt x="1074" y="333"/>
                  <a:pt x="1072" y="334"/>
                  <a:pt x="1074" y="335"/>
                </a:cubicBezTo>
                <a:cubicBezTo>
                  <a:pt x="1075" y="336"/>
                  <a:pt x="1077" y="337"/>
                  <a:pt x="1076" y="339"/>
                </a:cubicBezTo>
                <a:cubicBezTo>
                  <a:pt x="1076" y="339"/>
                  <a:pt x="1075" y="339"/>
                  <a:pt x="1074" y="340"/>
                </a:cubicBezTo>
                <a:close/>
                <a:moveTo>
                  <a:pt x="1036" y="364"/>
                </a:moveTo>
                <a:cubicBezTo>
                  <a:pt x="1036" y="364"/>
                  <a:pt x="1036" y="365"/>
                  <a:pt x="1035" y="365"/>
                </a:cubicBezTo>
                <a:cubicBezTo>
                  <a:pt x="1035" y="366"/>
                  <a:pt x="1034" y="366"/>
                  <a:pt x="1033" y="365"/>
                </a:cubicBezTo>
                <a:cubicBezTo>
                  <a:pt x="1032" y="365"/>
                  <a:pt x="1032" y="363"/>
                  <a:pt x="1031" y="363"/>
                </a:cubicBezTo>
                <a:cubicBezTo>
                  <a:pt x="1031" y="363"/>
                  <a:pt x="1031" y="362"/>
                  <a:pt x="1031" y="362"/>
                </a:cubicBezTo>
                <a:cubicBezTo>
                  <a:pt x="1031" y="361"/>
                  <a:pt x="1030" y="361"/>
                  <a:pt x="1030" y="360"/>
                </a:cubicBezTo>
                <a:cubicBezTo>
                  <a:pt x="1030" y="359"/>
                  <a:pt x="1031" y="358"/>
                  <a:pt x="1030" y="358"/>
                </a:cubicBezTo>
                <a:cubicBezTo>
                  <a:pt x="1029" y="357"/>
                  <a:pt x="1028" y="357"/>
                  <a:pt x="1028" y="356"/>
                </a:cubicBezTo>
                <a:cubicBezTo>
                  <a:pt x="1029" y="356"/>
                  <a:pt x="1031" y="356"/>
                  <a:pt x="1031" y="357"/>
                </a:cubicBezTo>
                <a:cubicBezTo>
                  <a:pt x="1032" y="357"/>
                  <a:pt x="1032" y="359"/>
                  <a:pt x="1033" y="359"/>
                </a:cubicBezTo>
                <a:cubicBezTo>
                  <a:pt x="1035" y="360"/>
                  <a:pt x="1034" y="361"/>
                  <a:pt x="1034" y="362"/>
                </a:cubicBezTo>
                <a:cubicBezTo>
                  <a:pt x="1036" y="363"/>
                  <a:pt x="1036" y="362"/>
                  <a:pt x="1036" y="364"/>
                </a:cubicBezTo>
                <a:close/>
                <a:moveTo>
                  <a:pt x="1031" y="342"/>
                </a:moveTo>
                <a:cubicBezTo>
                  <a:pt x="1031" y="343"/>
                  <a:pt x="1032" y="343"/>
                  <a:pt x="1032" y="344"/>
                </a:cubicBezTo>
                <a:cubicBezTo>
                  <a:pt x="1032" y="344"/>
                  <a:pt x="1032" y="344"/>
                  <a:pt x="1032" y="344"/>
                </a:cubicBezTo>
                <a:cubicBezTo>
                  <a:pt x="1031" y="345"/>
                  <a:pt x="1029" y="343"/>
                  <a:pt x="1029" y="342"/>
                </a:cubicBezTo>
                <a:cubicBezTo>
                  <a:pt x="1030" y="342"/>
                  <a:pt x="1030" y="343"/>
                  <a:pt x="1031" y="342"/>
                </a:cubicBezTo>
                <a:cubicBezTo>
                  <a:pt x="1032" y="343"/>
                  <a:pt x="1031" y="342"/>
                  <a:pt x="1031" y="342"/>
                </a:cubicBezTo>
                <a:close/>
                <a:moveTo>
                  <a:pt x="1022" y="354"/>
                </a:moveTo>
                <a:cubicBezTo>
                  <a:pt x="1021" y="354"/>
                  <a:pt x="1022" y="355"/>
                  <a:pt x="1022" y="355"/>
                </a:cubicBezTo>
                <a:cubicBezTo>
                  <a:pt x="1022" y="357"/>
                  <a:pt x="1021" y="355"/>
                  <a:pt x="1019" y="355"/>
                </a:cubicBezTo>
                <a:cubicBezTo>
                  <a:pt x="1019" y="355"/>
                  <a:pt x="1019" y="355"/>
                  <a:pt x="1018" y="356"/>
                </a:cubicBezTo>
                <a:cubicBezTo>
                  <a:pt x="1018" y="356"/>
                  <a:pt x="1018" y="356"/>
                  <a:pt x="1018" y="356"/>
                </a:cubicBezTo>
                <a:cubicBezTo>
                  <a:pt x="1017" y="356"/>
                  <a:pt x="1016" y="356"/>
                  <a:pt x="1016" y="356"/>
                </a:cubicBezTo>
                <a:cubicBezTo>
                  <a:pt x="1016" y="355"/>
                  <a:pt x="1016" y="355"/>
                  <a:pt x="1016" y="355"/>
                </a:cubicBezTo>
                <a:cubicBezTo>
                  <a:pt x="1016" y="355"/>
                  <a:pt x="1016" y="354"/>
                  <a:pt x="1016" y="354"/>
                </a:cubicBezTo>
                <a:cubicBezTo>
                  <a:pt x="1017" y="354"/>
                  <a:pt x="1019" y="354"/>
                  <a:pt x="1019" y="354"/>
                </a:cubicBezTo>
                <a:cubicBezTo>
                  <a:pt x="1020" y="354"/>
                  <a:pt x="1021" y="354"/>
                  <a:pt x="1021" y="353"/>
                </a:cubicBezTo>
                <a:cubicBezTo>
                  <a:pt x="1021" y="354"/>
                  <a:pt x="1022" y="353"/>
                  <a:pt x="1021" y="353"/>
                </a:cubicBezTo>
                <a:cubicBezTo>
                  <a:pt x="1022" y="352"/>
                  <a:pt x="1021" y="352"/>
                  <a:pt x="1022" y="352"/>
                </a:cubicBezTo>
                <a:cubicBezTo>
                  <a:pt x="1022" y="353"/>
                  <a:pt x="1022" y="353"/>
                  <a:pt x="1022" y="354"/>
                </a:cubicBezTo>
                <a:close/>
                <a:moveTo>
                  <a:pt x="987" y="398"/>
                </a:moveTo>
                <a:cubicBezTo>
                  <a:pt x="986" y="398"/>
                  <a:pt x="986" y="396"/>
                  <a:pt x="986" y="396"/>
                </a:cubicBezTo>
                <a:cubicBezTo>
                  <a:pt x="986" y="396"/>
                  <a:pt x="987" y="395"/>
                  <a:pt x="987" y="395"/>
                </a:cubicBezTo>
                <a:cubicBezTo>
                  <a:pt x="987" y="395"/>
                  <a:pt x="987" y="396"/>
                  <a:pt x="987" y="396"/>
                </a:cubicBezTo>
                <a:cubicBezTo>
                  <a:pt x="987" y="396"/>
                  <a:pt x="987" y="397"/>
                  <a:pt x="987" y="398"/>
                </a:cubicBezTo>
                <a:close/>
                <a:moveTo>
                  <a:pt x="972" y="409"/>
                </a:moveTo>
                <a:cubicBezTo>
                  <a:pt x="971" y="409"/>
                  <a:pt x="972" y="405"/>
                  <a:pt x="972" y="409"/>
                </a:cubicBezTo>
                <a:close/>
                <a:moveTo>
                  <a:pt x="972" y="570"/>
                </a:moveTo>
                <a:cubicBezTo>
                  <a:pt x="972" y="570"/>
                  <a:pt x="972" y="570"/>
                  <a:pt x="972" y="570"/>
                </a:cubicBezTo>
                <a:cubicBezTo>
                  <a:pt x="971" y="570"/>
                  <a:pt x="970" y="570"/>
                  <a:pt x="969" y="570"/>
                </a:cubicBezTo>
                <a:cubicBezTo>
                  <a:pt x="970" y="569"/>
                  <a:pt x="971" y="568"/>
                  <a:pt x="972" y="568"/>
                </a:cubicBezTo>
                <a:cubicBezTo>
                  <a:pt x="972" y="568"/>
                  <a:pt x="972" y="570"/>
                  <a:pt x="972" y="570"/>
                </a:cubicBezTo>
                <a:close/>
                <a:moveTo>
                  <a:pt x="973" y="577"/>
                </a:moveTo>
                <a:cubicBezTo>
                  <a:pt x="974" y="577"/>
                  <a:pt x="973" y="577"/>
                  <a:pt x="974" y="577"/>
                </a:cubicBezTo>
                <a:cubicBezTo>
                  <a:pt x="974" y="577"/>
                  <a:pt x="975" y="577"/>
                  <a:pt x="975" y="577"/>
                </a:cubicBezTo>
                <a:cubicBezTo>
                  <a:pt x="976" y="577"/>
                  <a:pt x="975" y="575"/>
                  <a:pt x="977" y="576"/>
                </a:cubicBezTo>
                <a:cubicBezTo>
                  <a:pt x="977" y="576"/>
                  <a:pt x="977" y="577"/>
                  <a:pt x="978" y="577"/>
                </a:cubicBezTo>
                <a:cubicBezTo>
                  <a:pt x="978" y="577"/>
                  <a:pt x="979" y="578"/>
                  <a:pt x="978" y="578"/>
                </a:cubicBezTo>
                <a:cubicBezTo>
                  <a:pt x="978" y="578"/>
                  <a:pt x="978" y="579"/>
                  <a:pt x="978" y="579"/>
                </a:cubicBezTo>
                <a:cubicBezTo>
                  <a:pt x="979" y="580"/>
                  <a:pt x="979" y="579"/>
                  <a:pt x="979" y="580"/>
                </a:cubicBezTo>
                <a:cubicBezTo>
                  <a:pt x="980" y="580"/>
                  <a:pt x="980" y="581"/>
                  <a:pt x="980" y="581"/>
                </a:cubicBezTo>
                <a:cubicBezTo>
                  <a:pt x="982" y="581"/>
                  <a:pt x="981" y="579"/>
                  <a:pt x="983" y="580"/>
                </a:cubicBezTo>
                <a:cubicBezTo>
                  <a:pt x="983" y="580"/>
                  <a:pt x="983" y="580"/>
                  <a:pt x="983" y="580"/>
                </a:cubicBezTo>
                <a:cubicBezTo>
                  <a:pt x="982" y="581"/>
                  <a:pt x="982" y="581"/>
                  <a:pt x="982" y="581"/>
                </a:cubicBezTo>
                <a:cubicBezTo>
                  <a:pt x="982" y="582"/>
                  <a:pt x="982" y="583"/>
                  <a:pt x="982" y="583"/>
                </a:cubicBezTo>
                <a:cubicBezTo>
                  <a:pt x="980" y="584"/>
                  <a:pt x="980" y="584"/>
                  <a:pt x="980" y="585"/>
                </a:cubicBezTo>
                <a:cubicBezTo>
                  <a:pt x="980" y="586"/>
                  <a:pt x="980" y="587"/>
                  <a:pt x="980" y="587"/>
                </a:cubicBezTo>
                <a:cubicBezTo>
                  <a:pt x="980" y="588"/>
                  <a:pt x="980" y="588"/>
                  <a:pt x="979" y="589"/>
                </a:cubicBezTo>
                <a:cubicBezTo>
                  <a:pt x="977" y="589"/>
                  <a:pt x="979" y="589"/>
                  <a:pt x="980" y="589"/>
                </a:cubicBezTo>
                <a:cubicBezTo>
                  <a:pt x="980" y="590"/>
                  <a:pt x="979" y="591"/>
                  <a:pt x="980" y="591"/>
                </a:cubicBezTo>
                <a:cubicBezTo>
                  <a:pt x="980" y="591"/>
                  <a:pt x="981" y="591"/>
                  <a:pt x="982" y="591"/>
                </a:cubicBezTo>
                <a:cubicBezTo>
                  <a:pt x="981" y="592"/>
                  <a:pt x="982" y="592"/>
                  <a:pt x="980" y="592"/>
                </a:cubicBezTo>
                <a:cubicBezTo>
                  <a:pt x="980" y="592"/>
                  <a:pt x="980" y="592"/>
                  <a:pt x="979" y="592"/>
                </a:cubicBezTo>
                <a:cubicBezTo>
                  <a:pt x="978" y="592"/>
                  <a:pt x="978" y="593"/>
                  <a:pt x="978" y="594"/>
                </a:cubicBezTo>
                <a:cubicBezTo>
                  <a:pt x="979" y="594"/>
                  <a:pt x="978" y="595"/>
                  <a:pt x="978" y="595"/>
                </a:cubicBezTo>
                <a:cubicBezTo>
                  <a:pt x="978" y="596"/>
                  <a:pt x="979" y="595"/>
                  <a:pt x="979" y="596"/>
                </a:cubicBezTo>
                <a:cubicBezTo>
                  <a:pt x="979" y="595"/>
                  <a:pt x="978" y="596"/>
                  <a:pt x="978" y="596"/>
                </a:cubicBezTo>
                <a:cubicBezTo>
                  <a:pt x="978" y="596"/>
                  <a:pt x="977" y="595"/>
                  <a:pt x="977" y="595"/>
                </a:cubicBezTo>
                <a:cubicBezTo>
                  <a:pt x="977" y="594"/>
                  <a:pt x="978" y="593"/>
                  <a:pt x="976" y="593"/>
                </a:cubicBezTo>
                <a:cubicBezTo>
                  <a:pt x="975" y="593"/>
                  <a:pt x="974" y="592"/>
                  <a:pt x="973" y="592"/>
                </a:cubicBezTo>
                <a:cubicBezTo>
                  <a:pt x="973" y="592"/>
                  <a:pt x="973" y="593"/>
                  <a:pt x="973" y="593"/>
                </a:cubicBezTo>
                <a:cubicBezTo>
                  <a:pt x="973" y="593"/>
                  <a:pt x="970" y="594"/>
                  <a:pt x="971" y="594"/>
                </a:cubicBezTo>
                <a:cubicBezTo>
                  <a:pt x="972" y="595"/>
                  <a:pt x="971" y="595"/>
                  <a:pt x="971" y="595"/>
                </a:cubicBezTo>
                <a:cubicBezTo>
                  <a:pt x="970" y="595"/>
                  <a:pt x="970" y="596"/>
                  <a:pt x="970" y="595"/>
                </a:cubicBezTo>
                <a:cubicBezTo>
                  <a:pt x="970" y="595"/>
                  <a:pt x="970" y="594"/>
                  <a:pt x="969" y="594"/>
                </a:cubicBezTo>
                <a:cubicBezTo>
                  <a:pt x="969" y="594"/>
                  <a:pt x="969" y="594"/>
                  <a:pt x="969" y="593"/>
                </a:cubicBezTo>
                <a:cubicBezTo>
                  <a:pt x="969" y="593"/>
                  <a:pt x="968" y="593"/>
                  <a:pt x="968" y="593"/>
                </a:cubicBezTo>
                <a:cubicBezTo>
                  <a:pt x="968" y="592"/>
                  <a:pt x="969" y="592"/>
                  <a:pt x="968" y="591"/>
                </a:cubicBezTo>
                <a:cubicBezTo>
                  <a:pt x="968" y="591"/>
                  <a:pt x="967" y="591"/>
                  <a:pt x="968" y="590"/>
                </a:cubicBezTo>
                <a:cubicBezTo>
                  <a:pt x="968" y="590"/>
                  <a:pt x="968" y="590"/>
                  <a:pt x="968" y="590"/>
                </a:cubicBezTo>
                <a:cubicBezTo>
                  <a:pt x="968" y="589"/>
                  <a:pt x="968" y="589"/>
                  <a:pt x="968" y="589"/>
                </a:cubicBezTo>
                <a:cubicBezTo>
                  <a:pt x="969" y="588"/>
                  <a:pt x="968" y="587"/>
                  <a:pt x="969" y="587"/>
                </a:cubicBezTo>
                <a:cubicBezTo>
                  <a:pt x="969" y="586"/>
                  <a:pt x="967" y="584"/>
                  <a:pt x="967" y="584"/>
                </a:cubicBezTo>
                <a:cubicBezTo>
                  <a:pt x="967" y="584"/>
                  <a:pt x="968" y="583"/>
                  <a:pt x="968" y="582"/>
                </a:cubicBezTo>
                <a:cubicBezTo>
                  <a:pt x="969" y="581"/>
                  <a:pt x="967" y="581"/>
                  <a:pt x="968" y="580"/>
                </a:cubicBezTo>
                <a:cubicBezTo>
                  <a:pt x="968" y="579"/>
                  <a:pt x="968" y="579"/>
                  <a:pt x="968" y="579"/>
                </a:cubicBezTo>
                <a:cubicBezTo>
                  <a:pt x="968" y="577"/>
                  <a:pt x="970" y="578"/>
                  <a:pt x="970" y="577"/>
                </a:cubicBezTo>
                <a:cubicBezTo>
                  <a:pt x="971" y="577"/>
                  <a:pt x="972" y="577"/>
                  <a:pt x="972" y="577"/>
                </a:cubicBezTo>
                <a:cubicBezTo>
                  <a:pt x="973" y="577"/>
                  <a:pt x="973" y="577"/>
                  <a:pt x="973" y="577"/>
                </a:cubicBezTo>
                <a:close/>
                <a:moveTo>
                  <a:pt x="984" y="599"/>
                </a:moveTo>
                <a:cubicBezTo>
                  <a:pt x="984" y="600"/>
                  <a:pt x="983" y="601"/>
                  <a:pt x="982" y="601"/>
                </a:cubicBezTo>
                <a:cubicBezTo>
                  <a:pt x="983" y="600"/>
                  <a:pt x="983" y="599"/>
                  <a:pt x="984" y="599"/>
                </a:cubicBezTo>
                <a:cubicBezTo>
                  <a:pt x="984" y="600"/>
                  <a:pt x="984" y="599"/>
                  <a:pt x="984" y="599"/>
                </a:cubicBezTo>
                <a:close/>
                <a:moveTo>
                  <a:pt x="983" y="656"/>
                </a:moveTo>
                <a:cubicBezTo>
                  <a:pt x="982" y="655"/>
                  <a:pt x="981" y="655"/>
                  <a:pt x="981" y="655"/>
                </a:cubicBezTo>
                <a:cubicBezTo>
                  <a:pt x="981" y="655"/>
                  <a:pt x="980" y="655"/>
                  <a:pt x="980" y="655"/>
                </a:cubicBezTo>
                <a:cubicBezTo>
                  <a:pt x="980" y="654"/>
                  <a:pt x="980" y="654"/>
                  <a:pt x="980" y="653"/>
                </a:cubicBezTo>
                <a:cubicBezTo>
                  <a:pt x="980" y="653"/>
                  <a:pt x="980" y="652"/>
                  <a:pt x="980" y="652"/>
                </a:cubicBezTo>
                <a:cubicBezTo>
                  <a:pt x="979" y="651"/>
                  <a:pt x="979" y="651"/>
                  <a:pt x="979" y="650"/>
                </a:cubicBezTo>
                <a:cubicBezTo>
                  <a:pt x="979" y="649"/>
                  <a:pt x="980" y="648"/>
                  <a:pt x="979" y="648"/>
                </a:cubicBezTo>
                <a:cubicBezTo>
                  <a:pt x="979" y="647"/>
                  <a:pt x="978" y="647"/>
                  <a:pt x="978" y="646"/>
                </a:cubicBezTo>
                <a:cubicBezTo>
                  <a:pt x="979" y="645"/>
                  <a:pt x="979" y="645"/>
                  <a:pt x="979" y="644"/>
                </a:cubicBezTo>
                <a:cubicBezTo>
                  <a:pt x="978" y="644"/>
                  <a:pt x="978" y="644"/>
                  <a:pt x="977" y="644"/>
                </a:cubicBezTo>
                <a:cubicBezTo>
                  <a:pt x="978" y="643"/>
                  <a:pt x="978" y="643"/>
                  <a:pt x="978" y="643"/>
                </a:cubicBezTo>
                <a:cubicBezTo>
                  <a:pt x="978" y="642"/>
                  <a:pt x="978" y="643"/>
                  <a:pt x="978" y="642"/>
                </a:cubicBezTo>
                <a:cubicBezTo>
                  <a:pt x="978" y="642"/>
                  <a:pt x="978" y="641"/>
                  <a:pt x="978" y="641"/>
                </a:cubicBezTo>
                <a:cubicBezTo>
                  <a:pt x="978" y="640"/>
                  <a:pt x="979" y="640"/>
                  <a:pt x="979" y="640"/>
                </a:cubicBezTo>
                <a:cubicBezTo>
                  <a:pt x="979" y="639"/>
                  <a:pt x="979" y="639"/>
                  <a:pt x="979" y="639"/>
                </a:cubicBezTo>
                <a:cubicBezTo>
                  <a:pt x="979" y="638"/>
                  <a:pt x="979" y="638"/>
                  <a:pt x="979" y="638"/>
                </a:cubicBezTo>
                <a:cubicBezTo>
                  <a:pt x="978" y="637"/>
                  <a:pt x="979" y="636"/>
                  <a:pt x="979" y="635"/>
                </a:cubicBezTo>
                <a:cubicBezTo>
                  <a:pt x="979" y="633"/>
                  <a:pt x="978" y="632"/>
                  <a:pt x="978" y="630"/>
                </a:cubicBezTo>
                <a:cubicBezTo>
                  <a:pt x="979" y="631"/>
                  <a:pt x="979" y="631"/>
                  <a:pt x="980" y="632"/>
                </a:cubicBezTo>
                <a:cubicBezTo>
                  <a:pt x="980" y="632"/>
                  <a:pt x="981" y="632"/>
                  <a:pt x="981" y="633"/>
                </a:cubicBezTo>
                <a:cubicBezTo>
                  <a:pt x="981" y="634"/>
                  <a:pt x="981" y="635"/>
                  <a:pt x="981" y="635"/>
                </a:cubicBezTo>
                <a:cubicBezTo>
                  <a:pt x="981" y="635"/>
                  <a:pt x="981" y="636"/>
                  <a:pt x="982" y="637"/>
                </a:cubicBezTo>
                <a:cubicBezTo>
                  <a:pt x="981" y="637"/>
                  <a:pt x="982" y="638"/>
                  <a:pt x="981" y="638"/>
                </a:cubicBezTo>
                <a:cubicBezTo>
                  <a:pt x="981" y="639"/>
                  <a:pt x="981" y="641"/>
                  <a:pt x="981" y="642"/>
                </a:cubicBezTo>
                <a:cubicBezTo>
                  <a:pt x="980" y="642"/>
                  <a:pt x="981" y="645"/>
                  <a:pt x="981" y="645"/>
                </a:cubicBezTo>
                <a:cubicBezTo>
                  <a:pt x="980" y="646"/>
                  <a:pt x="980" y="646"/>
                  <a:pt x="981" y="647"/>
                </a:cubicBezTo>
                <a:cubicBezTo>
                  <a:pt x="981" y="647"/>
                  <a:pt x="981" y="647"/>
                  <a:pt x="981" y="647"/>
                </a:cubicBezTo>
                <a:cubicBezTo>
                  <a:pt x="981" y="648"/>
                  <a:pt x="982" y="648"/>
                  <a:pt x="982" y="648"/>
                </a:cubicBezTo>
                <a:cubicBezTo>
                  <a:pt x="982" y="649"/>
                  <a:pt x="982" y="650"/>
                  <a:pt x="981" y="650"/>
                </a:cubicBezTo>
                <a:cubicBezTo>
                  <a:pt x="981" y="650"/>
                  <a:pt x="982" y="650"/>
                  <a:pt x="982" y="651"/>
                </a:cubicBezTo>
                <a:cubicBezTo>
                  <a:pt x="982" y="652"/>
                  <a:pt x="982" y="652"/>
                  <a:pt x="982" y="653"/>
                </a:cubicBezTo>
                <a:cubicBezTo>
                  <a:pt x="982" y="653"/>
                  <a:pt x="983" y="654"/>
                  <a:pt x="983" y="654"/>
                </a:cubicBezTo>
                <a:cubicBezTo>
                  <a:pt x="983" y="654"/>
                  <a:pt x="983" y="655"/>
                  <a:pt x="983" y="656"/>
                </a:cubicBezTo>
                <a:cubicBezTo>
                  <a:pt x="982" y="655"/>
                  <a:pt x="983" y="656"/>
                  <a:pt x="983" y="656"/>
                </a:cubicBezTo>
                <a:close/>
                <a:moveTo>
                  <a:pt x="975" y="622"/>
                </a:moveTo>
                <a:cubicBezTo>
                  <a:pt x="975" y="622"/>
                  <a:pt x="975" y="622"/>
                  <a:pt x="974" y="622"/>
                </a:cubicBezTo>
                <a:cubicBezTo>
                  <a:pt x="973" y="622"/>
                  <a:pt x="974" y="621"/>
                  <a:pt x="973" y="621"/>
                </a:cubicBezTo>
                <a:cubicBezTo>
                  <a:pt x="972" y="621"/>
                  <a:pt x="973" y="620"/>
                  <a:pt x="973" y="620"/>
                </a:cubicBezTo>
                <a:cubicBezTo>
                  <a:pt x="974" y="620"/>
                  <a:pt x="976" y="621"/>
                  <a:pt x="975" y="622"/>
                </a:cubicBezTo>
                <a:close/>
                <a:moveTo>
                  <a:pt x="968" y="625"/>
                </a:moveTo>
                <a:cubicBezTo>
                  <a:pt x="968" y="626"/>
                  <a:pt x="965" y="626"/>
                  <a:pt x="966" y="625"/>
                </a:cubicBezTo>
                <a:cubicBezTo>
                  <a:pt x="965" y="625"/>
                  <a:pt x="964" y="626"/>
                  <a:pt x="963" y="626"/>
                </a:cubicBezTo>
                <a:cubicBezTo>
                  <a:pt x="963" y="626"/>
                  <a:pt x="963" y="624"/>
                  <a:pt x="963" y="624"/>
                </a:cubicBezTo>
                <a:cubicBezTo>
                  <a:pt x="963" y="623"/>
                  <a:pt x="963" y="623"/>
                  <a:pt x="963" y="623"/>
                </a:cubicBezTo>
                <a:cubicBezTo>
                  <a:pt x="963" y="623"/>
                  <a:pt x="962" y="623"/>
                  <a:pt x="962" y="623"/>
                </a:cubicBezTo>
                <a:cubicBezTo>
                  <a:pt x="962" y="622"/>
                  <a:pt x="963" y="621"/>
                  <a:pt x="962" y="621"/>
                </a:cubicBezTo>
                <a:cubicBezTo>
                  <a:pt x="962" y="621"/>
                  <a:pt x="962" y="621"/>
                  <a:pt x="962" y="621"/>
                </a:cubicBezTo>
                <a:cubicBezTo>
                  <a:pt x="962" y="621"/>
                  <a:pt x="962" y="620"/>
                  <a:pt x="962" y="620"/>
                </a:cubicBezTo>
                <a:cubicBezTo>
                  <a:pt x="962" y="620"/>
                  <a:pt x="961" y="618"/>
                  <a:pt x="961" y="618"/>
                </a:cubicBezTo>
                <a:cubicBezTo>
                  <a:pt x="960" y="618"/>
                  <a:pt x="959" y="616"/>
                  <a:pt x="959" y="616"/>
                </a:cubicBezTo>
                <a:cubicBezTo>
                  <a:pt x="958" y="616"/>
                  <a:pt x="957" y="615"/>
                  <a:pt x="957" y="615"/>
                </a:cubicBezTo>
                <a:cubicBezTo>
                  <a:pt x="957" y="615"/>
                  <a:pt x="957" y="613"/>
                  <a:pt x="956" y="613"/>
                </a:cubicBezTo>
                <a:cubicBezTo>
                  <a:pt x="956" y="613"/>
                  <a:pt x="956" y="612"/>
                  <a:pt x="956" y="612"/>
                </a:cubicBezTo>
                <a:cubicBezTo>
                  <a:pt x="956" y="611"/>
                  <a:pt x="956" y="611"/>
                  <a:pt x="956" y="611"/>
                </a:cubicBezTo>
                <a:cubicBezTo>
                  <a:pt x="956" y="610"/>
                  <a:pt x="955" y="610"/>
                  <a:pt x="955" y="609"/>
                </a:cubicBezTo>
                <a:cubicBezTo>
                  <a:pt x="955" y="609"/>
                  <a:pt x="956" y="608"/>
                  <a:pt x="956" y="608"/>
                </a:cubicBezTo>
                <a:cubicBezTo>
                  <a:pt x="956" y="607"/>
                  <a:pt x="956" y="607"/>
                  <a:pt x="956" y="606"/>
                </a:cubicBezTo>
                <a:cubicBezTo>
                  <a:pt x="956" y="605"/>
                  <a:pt x="956" y="606"/>
                  <a:pt x="956" y="606"/>
                </a:cubicBezTo>
                <a:cubicBezTo>
                  <a:pt x="955" y="605"/>
                  <a:pt x="955" y="604"/>
                  <a:pt x="955" y="604"/>
                </a:cubicBezTo>
                <a:cubicBezTo>
                  <a:pt x="955" y="603"/>
                  <a:pt x="955" y="602"/>
                  <a:pt x="955" y="601"/>
                </a:cubicBezTo>
                <a:cubicBezTo>
                  <a:pt x="955" y="601"/>
                  <a:pt x="954" y="601"/>
                  <a:pt x="954" y="601"/>
                </a:cubicBezTo>
                <a:cubicBezTo>
                  <a:pt x="954" y="600"/>
                  <a:pt x="954" y="600"/>
                  <a:pt x="954" y="599"/>
                </a:cubicBezTo>
                <a:cubicBezTo>
                  <a:pt x="955" y="599"/>
                  <a:pt x="955" y="599"/>
                  <a:pt x="955" y="599"/>
                </a:cubicBezTo>
                <a:cubicBezTo>
                  <a:pt x="955" y="599"/>
                  <a:pt x="955" y="598"/>
                  <a:pt x="955" y="597"/>
                </a:cubicBezTo>
                <a:cubicBezTo>
                  <a:pt x="955" y="597"/>
                  <a:pt x="955" y="596"/>
                  <a:pt x="955" y="596"/>
                </a:cubicBezTo>
                <a:cubicBezTo>
                  <a:pt x="956" y="596"/>
                  <a:pt x="956" y="596"/>
                  <a:pt x="956" y="596"/>
                </a:cubicBezTo>
                <a:cubicBezTo>
                  <a:pt x="958" y="596"/>
                  <a:pt x="957" y="596"/>
                  <a:pt x="957" y="597"/>
                </a:cubicBezTo>
                <a:cubicBezTo>
                  <a:pt x="958" y="599"/>
                  <a:pt x="958" y="600"/>
                  <a:pt x="958" y="602"/>
                </a:cubicBezTo>
                <a:cubicBezTo>
                  <a:pt x="958" y="603"/>
                  <a:pt x="958" y="604"/>
                  <a:pt x="958" y="605"/>
                </a:cubicBezTo>
                <a:cubicBezTo>
                  <a:pt x="958" y="606"/>
                  <a:pt x="959" y="606"/>
                  <a:pt x="958" y="606"/>
                </a:cubicBezTo>
                <a:cubicBezTo>
                  <a:pt x="958" y="607"/>
                  <a:pt x="959" y="607"/>
                  <a:pt x="958" y="608"/>
                </a:cubicBezTo>
                <a:cubicBezTo>
                  <a:pt x="958" y="609"/>
                  <a:pt x="958" y="609"/>
                  <a:pt x="958" y="609"/>
                </a:cubicBezTo>
                <a:cubicBezTo>
                  <a:pt x="958" y="610"/>
                  <a:pt x="958" y="610"/>
                  <a:pt x="958" y="611"/>
                </a:cubicBezTo>
                <a:cubicBezTo>
                  <a:pt x="958" y="611"/>
                  <a:pt x="958" y="611"/>
                  <a:pt x="958" y="612"/>
                </a:cubicBezTo>
                <a:cubicBezTo>
                  <a:pt x="959" y="612"/>
                  <a:pt x="959" y="612"/>
                  <a:pt x="960" y="612"/>
                </a:cubicBezTo>
                <a:cubicBezTo>
                  <a:pt x="960" y="612"/>
                  <a:pt x="960" y="612"/>
                  <a:pt x="960" y="612"/>
                </a:cubicBezTo>
                <a:cubicBezTo>
                  <a:pt x="962" y="613"/>
                  <a:pt x="960" y="613"/>
                  <a:pt x="961" y="613"/>
                </a:cubicBezTo>
                <a:cubicBezTo>
                  <a:pt x="961" y="613"/>
                  <a:pt x="961" y="613"/>
                  <a:pt x="961" y="613"/>
                </a:cubicBezTo>
                <a:cubicBezTo>
                  <a:pt x="961" y="614"/>
                  <a:pt x="962" y="614"/>
                  <a:pt x="962" y="614"/>
                </a:cubicBezTo>
                <a:cubicBezTo>
                  <a:pt x="962" y="615"/>
                  <a:pt x="963" y="614"/>
                  <a:pt x="963" y="615"/>
                </a:cubicBezTo>
                <a:cubicBezTo>
                  <a:pt x="963" y="616"/>
                  <a:pt x="962" y="619"/>
                  <a:pt x="963" y="619"/>
                </a:cubicBezTo>
                <a:cubicBezTo>
                  <a:pt x="963" y="619"/>
                  <a:pt x="964" y="619"/>
                  <a:pt x="964" y="620"/>
                </a:cubicBezTo>
                <a:cubicBezTo>
                  <a:pt x="964" y="620"/>
                  <a:pt x="964" y="620"/>
                  <a:pt x="964" y="621"/>
                </a:cubicBezTo>
                <a:cubicBezTo>
                  <a:pt x="964" y="621"/>
                  <a:pt x="964" y="621"/>
                  <a:pt x="965" y="621"/>
                </a:cubicBezTo>
                <a:cubicBezTo>
                  <a:pt x="965" y="622"/>
                  <a:pt x="965" y="622"/>
                  <a:pt x="966" y="622"/>
                </a:cubicBezTo>
                <a:cubicBezTo>
                  <a:pt x="966" y="622"/>
                  <a:pt x="966" y="622"/>
                  <a:pt x="966" y="623"/>
                </a:cubicBezTo>
                <a:cubicBezTo>
                  <a:pt x="966" y="623"/>
                  <a:pt x="966" y="623"/>
                  <a:pt x="967" y="624"/>
                </a:cubicBezTo>
                <a:cubicBezTo>
                  <a:pt x="967" y="624"/>
                  <a:pt x="968" y="625"/>
                  <a:pt x="968" y="625"/>
                </a:cubicBezTo>
                <a:cubicBezTo>
                  <a:pt x="968" y="625"/>
                  <a:pt x="968" y="625"/>
                  <a:pt x="968" y="625"/>
                </a:cubicBezTo>
                <a:close/>
                <a:moveTo>
                  <a:pt x="953" y="591"/>
                </a:moveTo>
                <a:cubicBezTo>
                  <a:pt x="953" y="590"/>
                  <a:pt x="953" y="589"/>
                  <a:pt x="953" y="588"/>
                </a:cubicBezTo>
                <a:cubicBezTo>
                  <a:pt x="953" y="588"/>
                  <a:pt x="953" y="587"/>
                  <a:pt x="953" y="586"/>
                </a:cubicBezTo>
                <a:cubicBezTo>
                  <a:pt x="954" y="587"/>
                  <a:pt x="954" y="586"/>
                  <a:pt x="955" y="587"/>
                </a:cubicBezTo>
                <a:cubicBezTo>
                  <a:pt x="955" y="587"/>
                  <a:pt x="955" y="587"/>
                  <a:pt x="956" y="587"/>
                </a:cubicBezTo>
                <a:cubicBezTo>
                  <a:pt x="956" y="588"/>
                  <a:pt x="955" y="588"/>
                  <a:pt x="956" y="588"/>
                </a:cubicBezTo>
                <a:cubicBezTo>
                  <a:pt x="956" y="589"/>
                  <a:pt x="956" y="589"/>
                  <a:pt x="955" y="590"/>
                </a:cubicBezTo>
                <a:cubicBezTo>
                  <a:pt x="955" y="591"/>
                  <a:pt x="954" y="591"/>
                  <a:pt x="953" y="591"/>
                </a:cubicBezTo>
                <a:cubicBezTo>
                  <a:pt x="953" y="590"/>
                  <a:pt x="953" y="591"/>
                  <a:pt x="953" y="591"/>
                </a:cubicBezTo>
                <a:close/>
                <a:moveTo>
                  <a:pt x="952" y="627"/>
                </a:moveTo>
                <a:cubicBezTo>
                  <a:pt x="953" y="628"/>
                  <a:pt x="951" y="628"/>
                  <a:pt x="951" y="629"/>
                </a:cubicBezTo>
                <a:cubicBezTo>
                  <a:pt x="950" y="630"/>
                  <a:pt x="950" y="629"/>
                  <a:pt x="949" y="629"/>
                </a:cubicBezTo>
                <a:cubicBezTo>
                  <a:pt x="949" y="627"/>
                  <a:pt x="950" y="627"/>
                  <a:pt x="951" y="626"/>
                </a:cubicBezTo>
                <a:cubicBezTo>
                  <a:pt x="952" y="626"/>
                  <a:pt x="952" y="626"/>
                  <a:pt x="952" y="626"/>
                </a:cubicBezTo>
                <a:cubicBezTo>
                  <a:pt x="953" y="626"/>
                  <a:pt x="953" y="627"/>
                  <a:pt x="953" y="627"/>
                </a:cubicBezTo>
                <a:cubicBezTo>
                  <a:pt x="953" y="627"/>
                  <a:pt x="952" y="627"/>
                  <a:pt x="952" y="627"/>
                </a:cubicBezTo>
                <a:close/>
                <a:moveTo>
                  <a:pt x="954" y="582"/>
                </a:moveTo>
                <a:cubicBezTo>
                  <a:pt x="955" y="581"/>
                  <a:pt x="955" y="581"/>
                  <a:pt x="955" y="581"/>
                </a:cubicBezTo>
                <a:cubicBezTo>
                  <a:pt x="955" y="580"/>
                  <a:pt x="955" y="580"/>
                  <a:pt x="956" y="580"/>
                </a:cubicBezTo>
                <a:cubicBezTo>
                  <a:pt x="956" y="579"/>
                  <a:pt x="958" y="579"/>
                  <a:pt x="958" y="579"/>
                </a:cubicBezTo>
                <a:cubicBezTo>
                  <a:pt x="958" y="581"/>
                  <a:pt x="956" y="581"/>
                  <a:pt x="956" y="583"/>
                </a:cubicBezTo>
                <a:cubicBezTo>
                  <a:pt x="955" y="583"/>
                  <a:pt x="954" y="582"/>
                  <a:pt x="954" y="582"/>
                </a:cubicBezTo>
                <a:cubicBezTo>
                  <a:pt x="954" y="581"/>
                  <a:pt x="954" y="582"/>
                  <a:pt x="954" y="582"/>
                </a:cubicBezTo>
                <a:close/>
                <a:moveTo>
                  <a:pt x="963" y="569"/>
                </a:moveTo>
                <a:cubicBezTo>
                  <a:pt x="964" y="569"/>
                  <a:pt x="964" y="569"/>
                  <a:pt x="964" y="568"/>
                </a:cubicBezTo>
                <a:cubicBezTo>
                  <a:pt x="964" y="568"/>
                  <a:pt x="965" y="568"/>
                  <a:pt x="965" y="567"/>
                </a:cubicBezTo>
                <a:cubicBezTo>
                  <a:pt x="965" y="567"/>
                  <a:pt x="966" y="566"/>
                  <a:pt x="966" y="567"/>
                </a:cubicBezTo>
                <a:cubicBezTo>
                  <a:pt x="966" y="567"/>
                  <a:pt x="966" y="568"/>
                  <a:pt x="966" y="568"/>
                </a:cubicBezTo>
                <a:cubicBezTo>
                  <a:pt x="966" y="568"/>
                  <a:pt x="964" y="570"/>
                  <a:pt x="964" y="570"/>
                </a:cubicBezTo>
                <a:cubicBezTo>
                  <a:pt x="963" y="571"/>
                  <a:pt x="963" y="571"/>
                  <a:pt x="962" y="571"/>
                </a:cubicBezTo>
                <a:cubicBezTo>
                  <a:pt x="962" y="571"/>
                  <a:pt x="962" y="571"/>
                  <a:pt x="962" y="571"/>
                </a:cubicBezTo>
                <a:cubicBezTo>
                  <a:pt x="962" y="570"/>
                  <a:pt x="962" y="569"/>
                  <a:pt x="963" y="569"/>
                </a:cubicBezTo>
                <a:close/>
                <a:moveTo>
                  <a:pt x="971" y="512"/>
                </a:moveTo>
                <a:cubicBezTo>
                  <a:pt x="971" y="512"/>
                  <a:pt x="971" y="512"/>
                  <a:pt x="971" y="513"/>
                </a:cubicBezTo>
                <a:cubicBezTo>
                  <a:pt x="971" y="513"/>
                  <a:pt x="972" y="513"/>
                  <a:pt x="972" y="513"/>
                </a:cubicBezTo>
                <a:cubicBezTo>
                  <a:pt x="972" y="513"/>
                  <a:pt x="971" y="513"/>
                  <a:pt x="971" y="513"/>
                </a:cubicBezTo>
                <a:cubicBezTo>
                  <a:pt x="971" y="513"/>
                  <a:pt x="971" y="512"/>
                  <a:pt x="971" y="512"/>
                </a:cubicBezTo>
                <a:close/>
                <a:moveTo>
                  <a:pt x="988" y="556"/>
                </a:moveTo>
                <a:cubicBezTo>
                  <a:pt x="988" y="556"/>
                  <a:pt x="988" y="556"/>
                  <a:pt x="988" y="555"/>
                </a:cubicBezTo>
                <a:cubicBezTo>
                  <a:pt x="988" y="555"/>
                  <a:pt x="988" y="554"/>
                  <a:pt x="988" y="555"/>
                </a:cubicBezTo>
                <a:cubicBezTo>
                  <a:pt x="988" y="554"/>
                  <a:pt x="988" y="554"/>
                  <a:pt x="988" y="554"/>
                </a:cubicBezTo>
                <a:cubicBezTo>
                  <a:pt x="988" y="554"/>
                  <a:pt x="988" y="553"/>
                  <a:pt x="988" y="553"/>
                </a:cubicBezTo>
                <a:cubicBezTo>
                  <a:pt x="990" y="553"/>
                  <a:pt x="990" y="553"/>
                  <a:pt x="990" y="555"/>
                </a:cubicBezTo>
                <a:cubicBezTo>
                  <a:pt x="990" y="556"/>
                  <a:pt x="990" y="555"/>
                  <a:pt x="990" y="555"/>
                </a:cubicBezTo>
                <a:cubicBezTo>
                  <a:pt x="990" y="556"/>
                  <a:pt x="990" y="556"/>
                  <a:pt x="990" y="556"/>
                </a:cubicBezTo>
                <a:cubicBezTo>
                  <a:pt x="990" y="557"/>
                  <a:pt x="990" y="558"/>
                  <a:pt x="990" y="559"/>
                </a:cubicBezTo>
                <a:cubicBezTo>
                  <a:pt x="991" y="559"/>
                  <a:pt x="991" y="560"/>
                  <a:pt x="991" y="560"/>
                </a:cubicBezTo>
                <a:cubicBezTo>
                  <a:pt x="991" y="560"/>
                  <a:pt x="992" y="561"/>
                  <a:pt x="992" y="562"/>
                </a:cubicBezTo>
                <a:cubicBezTo>
                  <a:pt x="992" y="562"/>
                  <a:pt x="992" y="563"/>
                  <a:pt x="992" y="564"/>
                </a:cubicBezTo>
                <a:cubicBezTo>
                  <a:pt x="990" y="563"/>
                  <a:pt x="991" y="562"/>
                  <a:pt x="990" y="561"/>
                </a:cubicBezTo>
                <a:cubicBezTo>
                  <a:pt x="990" y="561"/>
                  <a:pt x="988" y="560"/>
                  <a:pt x="988" y="559"/>
                </a:cubicBezTo>
                <a:cubicBezTo>
                  <a:pt x="988" y="559"/>
                  <a:pt x="988" y="558"/>
                  <a:pt x="987" y="558"/>
                </a:cubicBezTo>
                <a:cubicBezTo>
                  <a:pt x="987" y="558"/>
                  <a:pt x="988" y="557"/>
                  <a:pt x="988" y="556"/>
                </a:cubicBezTo>
                <a:close/>
                <a:moveTo>
                  <a:pt x="992" y="513"/>
                </a:moveTo>
                <a:cubicBezTo>
                  <a:pt x="993" y="513"/>
                  <a:pt x="994" y="512"/>
                  <a:pt x="995" y="512"/>
                </a:cubicBezTo>
                <a:cubicBezTo>
                  <a:pt x="995" y="513"/>
                  <a:pt x="995" y="514"/>
                  <a:pt x="995" y="514"/>
                </a:cubicBezTo>
                <a:cubicBezTo>
                  <a:pt x="995" y="515"/>
                  <a:pt x="994" y="515"/>
                  <a:pt x="994" y="515"/>
                </a:cubicBezTo>
                <a:cubicBezTo>
                  <a:pt x="994" y="515"/>
                  <a:pt x="992" y="515"/>
                  <a:pt x="992" y="514"/>
                </a:cubicBezTo>
                <a:cubicBezTo>
                  <a:pt x="992" y="514"/>
                  <a:pt x="992" y="513"/>
                  <a:pt x="992" y="513"/>
                </a:cubicBezTo>
                <a:cubicBezTo>
                  <a:pt x="993" y="513"/>
                  <a:pt x="992" y="513"/>
                  <a:pt x="992" y="513"/>
                </a:cubicBezTo>
                <a:close/>
                <a:moveTo>
                  <a:pt x="890" y="501"/>
                </a:moveTo>
                <a:cubicBezTo>
                  <a:pt x="890" y="501"/>
                  <a:pt x="890" y="500"/>
                  <a:pt x="890" y="501"/>
                </a:cubicBezTo>
                <a:cubicBezTo>
                  <a:pt x="890" y="501"/>
                  <a:pt x="889" y="501"/>
                  <a:pt x="889" y="501"/>
                </a:cubicBezTo>
                <a:cubicBezTo>
                  <a:pt x="889" y="500"/>
                  <a:pt x="889" y="500"/>
                  <a:pt x="888" y="500"/>
                </a:cubicBezTo>
                <a:cubicBezTo>
                  <a:pt x="887" y="500"/>
                  <a:pt x="887" y="500"/>
                  <a:pt x="886" y="500"/>
                </a:cubicBezTo>
                <a:cubicBezTo>
                  <a:pt x="886" y="500"/>
                  <a:pt x="885" y="500"/>
                  <a:pt x="884" y="499"/>
                </a:cubicBezTo>
                <a:cubicBezTo>
                  <a:pt x="884" y="499"/>
                  <a:pt x="884" y="499"/>
                  <a:pt x="884" y="499"/>
                </a:cubicBezTo>
                <a:cubicBezTo>
                  <a:pt x="884" y="498"/>
                  <a:pt x="884" y="498"/>
                  <a:pt x="884" y="498"/>
                </a:cubicBezTo>
                <a:cubicBezTo>
                  <a:pt x="883" y="497"/>
                  <a:pt x="881" y="496"/>
                  <a:pt x="883" y="496"/>
                </a:cubicBezTo>
                <a:cubicBezTo>
                  <a:pt x="884" y="496"/>
                  <a:pt x="884" y="496"/>
                  <a:pt x="884" y="497"/>
                </a:cubicBezTo>
                <a:cubicBezTo>
                  <a:pt x="884" y="498"/>
                  <a:pt x="886" y="498"/>
                  <a:pt x="886" y="498"/>
                </a:cubicBezTo>
                <a:cubicBezTo>
                  <a:pt x="887" y="499"/>
                  <a:pt x="887" y="499"/>
                  <a:pt x="888" y="499"/>
                </a:cubicBezTo>
                <a:cubicBezTo>
                  <a:pt x="888" y="498"/>
                  <a:pt x="889" y="498"/>
                  <a:pt x="889" y="499"/>
                </a:cubicBezTo>
                <a:cubicBezTo>
                  <a:pt x="889" y="499"/>
                  <a:pt x="890" y="499"/>
                  <a:pt x="890" y="499"/>
                </a:cubicBezTo>
                <a:cubicBezTo>
                  <a:pt x="890" y="500"/>
                  <a:pt x="890" y="500"/>
                  <a:pt x="890" y="501"/>
                </a:cubicBezTo>
                <a:close/>
                <a:moveTo>
                  <a:pt x="886" y="688"/>
                </a:moveTo>
                <a:cubicBezTo>
                  <a:pt x="886" y="688"/>
                  <a:pt x="885" y="689"/>
                  <a:pt x="885" y="688"/>
                </a:cubicBezTo>
                <a:cubicBezTo>
                  <a:pt x="885" y="687"/>
                  <a:pt x="886" y="689"/>
                  <a:pt x="885" y="687"/>
                </a:cubicBezTo>
                <a:cubicBezTo>
                  <a:pt x="886" y="687"/>
                  <a:pt x="886" y="688"/>
                  <a:pt x="886" y="688"/>
                </a:cubicBezTo>
                <a:close/>
                <a:moveTo>
                  <a:pt x="1003" y="217"/>
                </a:moveTo>
                <a:cubicBezTo>
                  <a:pt x="1003" y="218"/>
                  <a:pt x="1002" y="218"/>
                  <a:pt x="1002" y="218"/>
                </a:cubicBezTo>
                <a:cubicBezTo>
                  <a:pt x="1002" y="218"/>
                  <a:pt x="1002" y="219"/>
                  <a:pt x="1002" y="220"/>
                </a:cubicBezTo>
                <a:cubicBezTo>
                  <a:pt x="1002" y="220"/>
                  <a:pt x="1001" y="220"/>
                  <a:pt x="1001" y="219"/>
                </a:cubicBezTo>
                <a:cubicBezTo>
                  <a:pt x="1001" y="221"/>
                  <a:pt x="1001" y="221"/>
                  <a:pt x="1000" y="221"/>
                </a:cubicBezTo>
                <a:cubicBezTo>
                  <a:pt x="999" y="221"/>
                  <a:pt x="999" y="221"/>
                  <a:pt x="998" y="221"/>
                </a:cubicBezTo>
                <a:cubicBezTo>
                  <a:pt x="998" y="221"/>
                  <a:pt x="998" y="220"/>
                  <a:pt x="998" y="220"/>
                </a:cubicBezTo>
                <a:cubicBezTo>
                  <a:pt x="997" y="220"/>
                  <a:pt x="997" y="220"/>
                  <a:pt x="997" y="220"/>
                </a:cubicBezTo>
                <a:cubicBezTo>
                  <a:pt x="996" y="219"/>
                  <a:pt x="996" y="219"/>
                  <a:pt x="996" y="219"/>
                </a:cubicBezTo>
                <a:cubicBezTo>
                  <a:pt x="996" y="218"/>
                  <a:pt x="993" y="217"/>
                  <a:pt x="994" y="216"/>
                </a:cubicBezTo>
                <a:cubicBezTo>
                  <a:pt x="994" y="216"/>
                  <a:pt x="994" y="216"/>
                  <a:pt x="995" y="216"/>
                </a:cubicBezTo>
                <a:cubicBezTo>
                  <a:pt x="995" y="216"/>
                  <a:pt x="995" y="217"/>
                  <a:pt x="995" y="217"/>
                </a:cubicBezTo>
                <a:cubicBezTo>
                  <a:pt x="996" y="217"/>
                  <a:pt x="996" y="216"/>
                  <a:pt x="996" y="217"/>
                </a:cubicBezTo>
                <a:cubicBezTo>
                  <a:pt x="996" y="217"/>
                  <a:pt x="997" y="217"/>
                  <a:pt x="997" y="217"/>
                </a:cubicBezTo>
                <a:cubicBezTo>
                  <a:pt x="998" y="217"/>
                  <a:pt x="998" y="217"/>
                  <a:pt x="998" y="216"/>
                </a:cubicBezTo>
                <a:cubicBezTo>
                  <a:pt x="998" y="216"/>
                  <a:pt x="998" y="215"/>
                  <a:pt x="998" y="214"/>
                </a:cubicBezTo>
                <a:cubicBezTo>
                  <a:pt x="997" y="214"/>
                  <a:pt x="996" y="214"/>
                  <a:pt x="997" y="213"/>
                </a:cubicBezTo>
                <a:cubicBezTo>
                  <a:pt x="996" y="213"/>
                  <a:pt x="995" y="213"/>
                  <a:pt x="995" y="214"/>
                </a:cubicBezTo>
                <a:cubicBezTo>
                  <a:pt x="994" y="212"/>
                  <a:pt x="996" y="213"/>
                  <a:pt x="996" y="213"/>
                </a:cubicBezTo>
                <a:cubicBezTo>
                  <a:pt x="996" y="212"/>
                  <a:pt x="997" y="211"/>
                  <a:pt x="997" y="212"/>
                </a:cubicBezTo>
                <a:cubicBezTo>
                  <a:pt x="998" y="213"/>
                  <a:pt x="998" y="213"/>
                  <a:pt x="998" y="214"/>
                </a:cubicBezTo>
                <a:cubicBezTo>
                  <a:pt x="998" y="215"/>
                  <a:pt x="999" y="215"/>
                  <a:pt x="999" y="215"/>
                </a:cubicBezTo>
                <a:cubicBezTo>
                  <a:pt x="1000" y="216"/>
                  <a:pt x="1001" y="216"/>
                  <a:pt x="1002" y="216"/>
                </a:cubicBezTo>
                <a:cubicBezTo>
                  <a:pt x="1002" y="217"/>
                  <a:pt x="1003" y="216"/>
                  <a:pt x="1003" y="217"/>
                </a:cubicBezTo>
                <a:cubicBezTo>
                  <a:pt x="1003" y="218"/>
                  <a:pt x="1003" y="217"/>
                  <a:pt x="1003" y="217"/>
                </a:cubicBezTo>
                <a:close/>
                <a:moveTo>
                  <a:pt x="993" y="204"/>
                </a:moveTo>
                <a:cubicBezTo>
                  <a:pt x="994" y="204"/>
                  <a:pt x="995" y="204"/>
                  <a:pt x="995" y="203"/>
                </a:cubicBezTo>
                <a:cubicBezTo>
                  <a:pt x="996" y="203"/>
                  <a:pt x="996" y="204"/>
                  <a:pt x="997" y="204"/>
                </a:cubicBezTo>
                <a:cubicBezTo>
                  <a:pt x="998" y="205"/>
                  <a:pt x="997" y="205"/>
                  <a:pt x="996" y="205"/>
                </a:cubicBezTo>
                <a:cubicBezTo>
                  <a:pt x="996" y="205"/>
                  <a:pt x="995" y="205"/>
                  <a:pt x="995" y="205"/>
                </a:cubicBezTo>
                <a:cubicBezTo>
                  <a:pt x="994" y="205"/>
                  <a:pt x="995" y="205"/>
                  <a:pt x="995" y="205"/>
                </a:cubicBezTo>
                <a:cubicBezTo>
                  <a:pt x="994" y="205"/>
                  <a:pt x="993" y="204"/>
                  <a:pt x="993" y="204"/>
                </a:cubicBezTo>
                <a:close/>
                <a:moveTo>
                  <a:pt x="991" y="198"/>
                </a:moveTo>
                <a:cubicBezTo>
                  <a:pt x="990" y="198"/>
                  <a:pt x="991" y="199"/>
                  <a:pt x="990" y="200"/>
                </a:cubicBezTo>
                <a:cubicBezTo>
                  <a:pt x="990" y="200"/>
                  <a:pt x="989" y="201"/>
                  <a:pt x="989" y="201"/>
                </a:cubicBezTo>
                <a:cubicBezTo>
                  <a:pt x="989" y="201"/>
                  <a:pt x="988" y="200"/>
                  <a:pt x="988" y="200"/>
                </a:cubicBezTo>
                <a:cubicBezTo>
                  <a:pt x="988" y="200"/>
                  <a:pt x="988" y="200"/>
                  <a:pt x="988" y="199"/>
                </a:cubicBezTo>
                <a:cubicBezTo>
                  <a:pt x="988" y="199"/>
                  <a:pt x="987" y="198"/>
                  <a:pt x="986" y="197"/>
                </a:cubicBezTo>
                <a:cubicBezTo>
                  <a:pt x="986" y="197"/>
                  <a:pt x="986" y="197"/>
                  <a:pt x="985" y="197"/>
                </a:cubicBezTo>
                <a:cubicBezTo>
                  <a:pt x="984" y="197"/>
                  <a:pt x="985" y="196"/>
                  <a:pt x="984" y="195"/>
                </a:cubicBezTo>
                <a:cubicBezTo>
                  <a:pt x="983" y="195"/>
                  <a:pt x="984" y="195"/>
                  <a:pt x="983" y="195"/>
                </a:cubicBezTo>
                <a:cubicBezTo>
                  <a:pt x="982" y="195"/>
                  <a:pt x="982" y="194"/>
                  <a:pt x="982" y="193"/>
                </a:cubicBezTo>
                <a:cubicBezTo>
                  <a:pt x="982" y="193"/>
                  <a:pt x="985" y="194"/>
                  <a:pt x="984" y="192"/>
                </a:cubicBezTo>
                <a:cubicBezTo>
                  <a:pt x="984" y="192"/>
                  <a:pt x="987" y="193"/>
                  <a:pt x="987" y="191"/>
                </a:cubicBezTo>
                <a:cubicBezTo>
                  <a:pt x="987" y="190"/>
                  <a:pt x="987" y="190"/>
                  <a:pt x="986" y="189"/>
                </a:cubicBezTo>
                <a:cubicBezTo>
                  <a:pt x="985" y="189"/>
                  <a:pt x="983" y="190"/>
                  <a:pt x="983" y="189"/>
                </a:cubicBezTo>
                <a:cubicBezTo>
                  <a:pt x="983" y="188"/>
                  <a:pt x="983" y="188"/>
                  <a:pt x="983" y="187"/>
                </a:cubicBezTo>
                <a:cubicBezTo>
                  <a:pt x="984" y="188"/>
                  <a:pt x="985" y="188"/>
                  <a:pt x="987" y="188"/>
                </a:cubicBezTo>
                <a:cubicBezTo>
                  <a:pt x="987" y="188"/>
                  <a:pt x="988" y="188"/>
                  <a:pt x="988" y="188"/>
                </a:cubicBezTo>
                <a:cubicBezTo>
                  <a:pt x="988" y="189"/>
                  <a:pt x="988" y="190"/>
                  <a:pt x="988" y="190"/>
                </a:cubicBezTo>
                <a:cubicBezTo>
                  <a:pt x="988" y="190"/>
                  <a:pt x="988" y="191"/>
                  <a:pt x="988" y="191"/>
                </a:cubicBezTo>
                <a:cubicBezTo>
                  <a:pt x="988" y="192"/>
                  <a:pt x="988" y="192"/>
                  <a:pt x="988" y="193"/>
                </a:cubicBezTo>
                <a:cubicBezTo>
                  <a:pt x="988" y="194"/>
                  <a:pt x="989" y="193"/>
                  <a:pt x="990" y="194"/>
                </a:cubicBezTo>
                <a:cubicBezTo>
                  <a:pt x="990" y="195"/>
                  <a:pt x="991" y="197"/>
                  <a:pt x="991" y="197"/>
                </a:cubicBezTo>
                <a:cubicBezTo>
                  <a:pt x="991" y="197"/>
                  <a:pt x="991" y="198"/>
                  <a:pt x="991" y="198"/>
                </a:cubicBezTo>
                <a:close/>
                <a:moveTo>
                  <a:pt x="980" y="179"/>
                </a:moveTo>
                <a:cubicBezTo>
                  <a:pt x="981" y="179"/>
                  <a:pt x="982" y="179"/>
                  <a:pt x="983" y="180"/>
                </a:cubicBezTo>
                <a:cubicBezTo>
                  <a:pt x="983" y="180"/>
                  <a:pt x="984" y="180"/>
                  <a:pt x="984" y="181"/>
                </a:cubicBezTo>
                <a:cubicBezTo>
                  <a:pt x="985" y="181"/>
                  <a:pt x="984" y="182"/>
                  <a:pt x="985" y="182"/>
                </a:cubicBezTo>
                <a:cubicBezTo>
                  <a:pt x="986" y="182"/>
                  <a:pt x="986" y="182"/>
                  <a:pt x="986" y="183"/>
                </a:cubicBezTo>
                <a:cubicBezTo>
                  <a:pt x="985" y="183"/>
                  <a:pt x="983" y="183"/>
                  <a:pt x="982" y="183"/>
                </a:cubicBezTo>
                <a:cubicBezTo>
                  <a:pt x="982" y="181"/>
                  <a:pt x="980" y="180"/>
                  <a:pt x="980" y="179"/>
                </a:cubicBezTo>
                <a:cubicBezTo>
                  <a:pt x="981" y="179"/>
                  <a:pt x="980" y="179"/>
                  <a:pt x="980" y="179"/>
                </a:cubicBezTo>
                <a:close/>
                <a:moveTo>
                  <a:pt x="972" y="203"/>
                </a:moveTo>
                <a:cubicBezTo>
                  <a:pt x="972" y="204"/>
                  <a:pt x="972" y="204"/>
                  <a:pt x="973" y="205"/>
                </a:cubicBezTo>
                <a:cubicBezTo>
                  <a:pt x="972" y="205"/>
                  <a:pt x="970" y="204"/>
                  <a:pt x="969" y="205"/>
                </a:cubicBezTo>
                <a:cubicBezTo>
                  <a:pt x="969" y="205"/>
                  <a:pt x="968" y="206"/>
                  <a:pt x="968" y="206"/>
                </a:cubicBezTo>
                <a:cubicBezTo>
                  <a:pt x="968" y="207"/>
                  <a:pt x="967" y="206"/>
                  <a:pt x="967" y="206"/>
                </a:cubicBezTo>
                <a:cubicBezTo>
                  <a:pt x="965" y="206"/>
                  <a:pt x="966" y="205"/>
                  <a:pt x="965" y="204"/>
                </a:cubicBezTo>
                <a:cubicBezTo>
                  <a:pt x="965" y="203"/>
                  <a:pt x="964" y="203"/>
                  <a:pt x="964" y="202"/>
                </a:cubicBezTo>
                <a:cubicBezTo>
                  <a:pt x="964" y="202"/>
                  <a:pt x="964" y="202"/>
                  <a:pt x="963" y="201"/>
                </a:cubicBezTo>
                <a:cubicBezTo>
                  <a:pt x="963" y="201"/>
                  <a:pt x="963" y="200"/>
                  <a:pt x="963" y="200"/>
                </a:cubicBezTo>
                <a:cubicBezTo>
                  <a:pt x="963" y="199"/>
                  <a:pt x="962" y="198"/>
                  <a:pt x="962" y="198"/>
                </a:cubicBezTo>
                <a:cubicBezTo>
                  <a:pt x="961" y="197"/>
                  <a:pt x="961" y="197"/>
                  <a:pt x="960" y="196"/>
                </a:cubicBezTo>
                <a:cubicBezTo>
                  <a:pt x="961" y="196"/>
                  <a:pt x="962" y="195"/>
                  <a:pt x="962" y="195"/>
                </a:cubicBezTo>
                <a:cubicBezTo>
                  <a:pt x="962" y="195"/>
                  <a:pt x="963" y="195"/>
                  <a:pt x="964" y="195"/>
                </a:cubicBezTo>
                <a:cubicBezTo>
                  <a:pt x="964" y="195"/>
                  <a:pt x="964" y="194"/>
                  <a:pt x="964" y="194"/>
                </a:cubicBezTo>
                <a:cubicBezTo>
                  <a:pt x="964" y="194"/>
                  <a:pt x="964" y="194"/>
                  <a:pt x="964" y="194"/>
                </a:cubicBezTo>
                <a:cubicBezTo>
                  <a:pt x="964" y="193"/>
                  <a:pt x="965" y="193"/>
                  <a:pt x="965" y="194"/>
                </a:cubicBezTo>
                <a:cubicBezTo>
                  <a:pt x="966" y="194"/>
                  <a:pt x="967" y="194"/>
                  <a:pt x="967" y="194"/>
                </a:cubicBezTo>
                <a:cubicBezTo>
                  <a:pt x="968" y="195"/>
                  <a:pt x="967" y="196"/>
                  <a:pt x="968" y="196"/>
                </a:cubicBezTo>
                <a:cubicBezTo>
                  <a:pt x="968" y="196"/>
                  <a:pt x="969" y="196"/>
                  <a:pt x="969" y="196"/>
                </a:cubicBezTo>
                <a:cubicBezTo>
                  <a:pt x="969" y="196"/>
                  <a:pt x="969" y="196"/>
                  <a:pt x="969" y="196"/>
                </a:cubicBezTo>
                <a:cubicBezTo>
                  <a:pt x="970" y="197"/>
                  <a:pt x="970" y="197"/>
                  <a:pt x="971" y="197"/>
                </a:cubicBezTo>
                <a:cubicBezTo>
                  <a:pt x="972" y="198"/>
                  <a:pt x="971" y="198"/>
                  <a:pt x="972" y="199"/>
                </a:cubicBezTo>
                <a:cubicBezTo>
                  <a:pt x="973" y="200"/>
                  <a:pt x="974" y="202"/>
                  <a:pt x="974" y="204"/>
                </a:cubicBezTo>
                <a:cubicBezTo>
                  <a:pt x="974" y="203"/>
                  <a:pt x="973" y="203"/>
                  <a:pt x="972" y="203"/>
                </a:cubicBezTo>
                <a:cubicBezTo>
                  <a:pt x="972" y="204"/>
                  <a:pt x="972" y="203"/>
                  <a:pt x="972" y="203"/>
                </a:cubicBezTo>
                <a:close/>
                <a:moveTo>
                  <a:pt x="952" y="224"/>
                </a:moveTo>
                <a:cubicBezTo>
                  <a:pt x="950" y="223"/>
                  <a:pt x="952" y="223"/>
                  <a:pt x="952" y="224"/>
                </a:cubicBezTo>
                <a:close/>
                <a:moveTo>
                  <a:pt x="949" y="222"/>
                </a:moveTo>
                <a:cubicBezTo>
                  <a:pt x="949" y="220"/>
                  <a:pt x="948" y="220"/>
                  <a:pt x="948" y="219"/>
                </a:cubicBezTo>
                <a:cubicBezTo>
                  <a:pt x="948" y="218"/>
                  <a:pt x="948" y="218"/>
                  <a:pt x="947" y="217"/>
                </a:cubicBezTo>
                <a:cubicBezTo>
                  <a:pt x="947" y="217"/>
                  <a:pt x="947" y="216"/>
                  <a:pt x="948" y="216"/>
                </a:cubicBezTo>
                <a:cubicBezTo>
                  <a:pt x="948" y="215"/>
                  <a:pt x="948" y="215"/>
                  <a:pt x="949" y="215"/>
                </a:cubicBezTo>
                <a:cubicBezTo>
                  <a:pt x="949" y="215"/>
                  <a:pt x="950" y="215"/>
                  <a:pt x="950" y="216"/>
                </a:cubicBezTo>
                <a:cubicBezTo>
                  <a:pt x="950" y="217"/>
                  <a:pt x="950" y="219"/>
                  <a:pt x="951" y="219"/>
                </a:cubicBezTo>
                <a:cubicBezTo>
                  <a:pt x="951" y="219"/>
                  <a:pt x="950" y="220"/>
                  <a:pt x="950" y="221"/>
                </a:cubicBezTo>
                <a:cubicBezTo>
                  <a:pt x="950" y="222"/>
                  <a:pt x="950" y="222"/>
                  <a:pt x="949" y="222"/>
                </a:cubicBezTo>
                <a:cubicBezTo>
                  <a:pt x="949" y="220"/>
                  <a:pt x="949" y="222"/>
                  <a:pt x="949" y="222"/>
                </a:cubicBezTo>
                <a:close/>
                <a:moveTo>
                  <a:pt x="862" y="255"/>
                </a:moveTo>
                <a:cubicBezTo>
                  <a:pt x="862" y="255"/>
                  <a:pt x="862" y="255"/>
                  <a:pt x="862" y="255"/>
                </a:cubicBezTo>
                <a:cubicBezTo>
                  <a:pt x="862" y="255"/>
                  <a:pt x="862" y="255"/>
                  <a:pt x="862" y="255"/>
                </a:cubicBezTo>
                <a:cubicBezTo>
                  <a:pt x="862" y="255"/>
                  <a:pt x="862" y="255"/>
                  <a:pt x="862" y="255"/>
                </a:cubicBezTo>
                <a:close/>
                <a:moveTo>
                  <a:pt x="901" y="211"/>
                </a:moveTo>
                <a:cubicBezTo>
                  <a:pt x="901" y="211"/>
                  <a:pt x="901" y="211"/>
                  <a:pt x="901" y="212"/>
                </a:cubicBezTo>
                <a:cubicBezTo>
                  <a:pt x="902" y="212"/>
                  <a:pt x="902" y="211"/>
                  <a:pt x="903" y="211"/>
                </a:cubicBezTo>
                <a:cubicBezTo>
                  <a:pt x="903" y="212"/>
                  <a:pt x="904" y="212"/>
                  <a:pt x="904" y="213"/>
                </a:cubicBezTo>
                <a:cubicBezTo>
                  <a:pt x="903" y="213"/>
                  <a:pt x="902" y="212"/>
                  <a:pt x="901" y="212"/>
                </a:cubicBezTo>
                <a:cubicBezTo>
                  <a:pt x="900" y="212"/>
                  <a:pt x="900" y="212"/>
                  <a:pt x="900" y="211"/>
                </a:cubicBezTo>
                <a:cubicBezTo>
                  <a:pt x="900" y="211"/>
                  <a:pt x="901" y="211"/>
                  <a:pt x="901" y="211"/>
                </a:cubicBezTo>
                <a:close/>
                <a:moveTo>
                  <a:pt x="898" y="211"/>
                </a:moveTo>
                <a:cubicBezTo>
                  <a:pt x="898" y="211"/>
                  <a:pt x="898" y="211"/>
                  <a:pt x="897" y="212"/>
                </a:cubicBezTo>
                <a:cubicBezTo>
                  <a:pt x="897" y="211"/>
                  <a:pt x="898" y="211"/>
                  <a:pt x="898" y="211"/>
                </a:cubicBezTo>
                <a:cubicBezTo>
                  <a:pt x="898" y="211"/>
                  <a:pt x="898" y="211"/>
                  <a:pt x="898" y="211"/>
                </a:cubicBezTo>
                <a:close/>
                <a:moveTo>
                  <a:pt x="894" y="153"/>
                </a:moveTo>
                <a:cubicBezTo>
                  <a:pt x="895" y="154"/>
                  <a:pt x="895" y="153"/>
                  <a:pt x="895" y="154"/>
                </a:cubicBezTo>
                <a:cubicBezTo>
                  <a:pt x="895" y="154"/>
                  <a:pt x="895" y="154"/>
                  <a:pt x="894" y="153"/>
                </a:cubicBezTo>
                <a:cubicBezTo>
                  <a:pt x="895" y="154"/>
                  <a:pt x="894" y="153"/>
                  <a:pt x="894" y="153"/>
                </a:cubicBezTo>
                <a:close/>
                <a:moveTo>
                  <a:pt x="888" y="219"/>
                </a:moveTo>
                <a:cubicBezTo>
                  <a:pt x="886" y="219"/>
                  <a:pt x="887" y="222"/>
                  <a:pt x="886" y="222"/>
                </a:cubicBezTo>
                <a:cubicBezTo>
                  <a:pt x="886" y="220"/>
                  <a:pt x="887" y="217"/>
                  <a:pt x="888" y="216"/>
                </a:cubicBezTo>
                <a:cubicBezTo>
                  <a:pt x="888" y="217"/>
                  <a:pt x="888" y="216"/>
                  <a:pt x="889" y="217"/>
                </a:cubicBezTo>
                <a:cubicBezTo>
                  <a:pt x="888" y="218"/>
                  <a:pt x="888" y="218"/>
                  <a:pt x="888" y="219"/>
                </a:cubicBezTo>
                <a:close/>
                <a:moveTo>
                  <a:pt x="887" y="162"/>
                </a:moveTo>
                <a:cubicBezTo>
                  <a:pt x="887" y="162"/>
                  <a:pt x="888" y="163"/>
                  <a:pt x="887" y="163"/>
                </a:cubicBezTo>
                <a:cubicBezTo>
                  <a:pt x="887" y="164"/>
                  <a:pt x="887" y="163"/>
                  <a:pt x="887" y="162"/>
                </a:cubicBezTo>
                <a:close/>
                <a:moveTo>
                  <a:pt x="884" y="215"/>
                </a:moveTo>
                <a:cubicBezTo>
                  <a:pt x="884" y="216"/>
                  <a:pt x="884" y="216"/>
                  <a:pt x="883" y="217"/>
                </a:cubicBezTo>
                <a:cubicBezTo>
                  <a:pt x="882" y="217"/>
                  <a:pt x="883" y="217"/>
                  <a:pt x="882" y="217"/>
                </a:cubicBezTo>
                <a:cubicBezTo>
                  <a:pt x="882" y="218"/>
                  <a:pt x="881" y="218"/>
                  <a:pt x="881" y="218"/>
                </a:cubicBezTo>
                <a:cubicBezTo>
                  <a:pt x="881" y="218"/>
                  <a:pt x="881" y="218"/>
                  <a:pt x="880" y="218"/>
                </a:cubicBezTo>
                <a:cubicBezTo>
                  <a:pt x="880" y="219"/>
                  <a:pt x="878" y="219"/>
                  <a:pt x="877" y="219"/>
                </a:cubicBezTo>
                <a:cubicBezTo>
                  <a:pt x="877" y="219"/>
                  <a:pt x="877" y="219"/>
                  <a:pt x="877" y="218"/>
                </a:cubicBezTo>
                <a:cubicBezTo>
                  <a:pt x="877" y="218"/>
                  <a:pt x="877" y="218"/>
                  <a:pt x="877" y="218"/>
                </a:cubicBezTo>
                <a:cubicBezTo>
                  <a:pt x="877" y="217"/>
                  <a:pt x="877" y="216"/>
                  <a:pt x="878" y="215"/>
                </a:cubicBezTo>
                <a:cubicBezTo>
                  <a:pt x="879" y="215"/>
                  <a:pt x="879" y="215"/>
                  <a:pt x="880" y="215"/>
                </a:cubicBezTo>
                <a:cubicBezTo>
                  <a:pt x="880" y="215"/>
                  <a:pt x="880" y="214"/>
                  <a:pt x="881" y="214"/>
                </a:cubicBezTo>
                <a:cubicBezTo>
                  <a:pt x="881" y="213"/>
                  <a:pt x="881" y="213"/>
                  <a:pt x="881" y="212"/>
                </a:cubicBezTo>
                <a:cubicBezTo>
                  <a:pt x="881" y="212"/>
                  <a:pt x="881" y="212"/>
                  <a:pt x="881" y="211"/>
                </a:cubicBezTo>
                <a:cubicBezTo>
                  <a:pt x="881" y="211"/>
                  <a:pt x="882" y="211"/>
                  <a:pt x="882" y="211"/>
                </a:cubicBezTo>
                <a:cubicBezTo>
                  <a:pt x="882" y="212"/>
                  <a:pt x="882" y="212"/>
                  <a:pt x="883" y="212"/>
                </a:cubicBezTo>
                <a:cubicBezTo>
                  <a:pt x="884" y="213"/>
                  <a:pt x="885" y="214"/>
                  <a:pt x="884" y="215"/>
                </a:cubicBezTo>
                <a:cubicBezTo>
                  <a:pt x="884" y="217"/>
                  <a:pt x="884" y="215"/>
                  <a:pt x="884" y="215"/>
                </a:cubicBezTo>
                <a:close/>
                <a:moveTo>
                  <a:pt x="856" y="188"/>
                </a:moveTo>
                <a:cubicBezTo>
                  <a:pt x="856" y="188"/>
                  <a:pt x="856" y="188"/>
                  <a:pt x="857" y="188"/>
                </a:cubicBezTo>
                <a:cubicBezTo>
                  <a:pt x="856" y="188"/>
                  <a:pt x="856" y="188"/>
                  <a:pt x="856" y="188"/>
                </a:cubicBezTo>
                <a:cubicBezTo>
                  <a:pt x="857" y="188"/>
                  <a:pt x="856" y="188"/>
                  <a:pt x="856" y="188"/>
                </a:cubicBezTo>
                <a:close/>
                <a:moveTo>
                  <a:pt x="1706" y="179"/>
                </a:moveTo>
                <a:cubicBezTo>
                  <a:pt x="1706" y="179"/>
                  <a:pt x="1706" y="178"/>
                  <a:pt x="1706" y="178"/>
                </a:cubicBezTo>
                <a:cubicBezTo>
                  <a:pt x="1707" y="179"/>
                  <a:pt x="1708" y="179"/>
                  <a:pt x="1709" y="179"/>
                </a:cubicBezTo>
                <a:cubicBezTo>
                  <a:pt x="1708" y="178"/>
                  <a:pt x="1707" y="176"/>
                  <a:pt x="1706" y="176"/>
                </a:cubicBezTo>
                <a:cubicBezTo>
                  <a:pt x="1706" y="176"/>
                  <a:pt x="1707" y="175"/>
                  <a:pt x="1707" y="175"/>
                </a:cubicBezTo>
                <a:cubicBezTo>
                  <a:pt x="1707" y="175"/>
                  <a:pt x="1706" y="175"/>
                  <a:pt x="1706" y="175"/>
                </a:cubicBezTo>
                <a:cubicBezTo>
                  <a:pt x="1705" y="174"/>
                  <a:pt x="1708" y="174"/>
                  <a:pt x="1708" y="174"/>
                </a:cubicBezTo>
                <a:cubicBezTo>
                  <a:pt x="1709" y="173"/>
                  <a:pt x="1709" y="172"/>
                  <a:pt x="1709" y="171"/>
                </a:cubicBezTo>
                <a:cubicBezTo>
                  <a:pt x="1708" y="171"/>
                  <a:pt x="1707" y="171"/>
                  <a:pt x="1707" y="171"/>
                </a:cubicBezTo>
                <a:cubicBezTo>
                  <a:pt x="1706" y="171"/>
                  <a:pt x="1707" y="171"/>
                  <a:pt x="1706" y="171"/>
                </a:cubicBezTo>
                <a:cubicBezTo>
                  <a:pt x="1706" y="169"/>
                  <a:pt x="1707" y="170"/>
                  <a:pt x="1709" y="170"/>
                </a:cubicBezTo>
                <a:cubicBezTo>
                  <a:pt x="1709" y="170"/>
                  <a:pt x="1710" y="171"/>
                  <a:pt x="1710" y="170"/>
                </a:cubicBezTo>
                <a:cubicBezTo>
                  <a:pt x="1711" y="170"/>
                  <a:pt x="1713" y="170"/>
                  <a:pt x="1713" y="171"/>
                </a:cubicBezTo>
                <a:cubicBezTo>
                  <a:pt x="1713" y="171"/>
                  <a:pt x="1713" y="171"/>
                  <a:pt x="1713" y="170"/>
                </a:cubicBezTo>
                <a:cubicBezTo>
                  <a:pt x="1713" y="170"/>
                  <a:pt x="1714" y="171"/>
                  <a:pt x="1714" y="171"/>
                </a:cubicBezTo>
                <a:cubicBezTo>
                  <a:pt x="1714" y="171"/>
                  <a:pt x="1715" y="170"/>
                  <a:pt x="1715" y="170"/>
                </a:cubicBezTo>
                <a:cubicBezTo>
                  <a:pt x="1715" y="170"/>
                  <a:pt x="1715" y="169"/>
                  <a:pt x="1715" y="169"/>
                </a:cubicBezTo>
                <a:cubicBezTo>
                  <a:pt x="1715" y="169"/>
                  <a:pt x="1718" y="169"/>
                  <a:pt x="1716" y="168"/>
                </a:cubicBezTo>
                <a:cubicBezTo>
                  <a:pt x="1716" y="168"/>
                  <a:pt x="1716" y="167"/>
                  <a:pt x="1717" y="167"/>
                </a:cubicBezTo>
                <a:cubicBezTo>
                  <a:pt x="1718" y="167"/>
                  <a:pt x="1718" y="166"/>
                  <a:pt x="1718" y="165"/>
                </a:cubicBezTo>
                <a:cubicBezTo>
                  <a:pt x="1717" y="165"/>
                  <a:pt x="1717" y="165"/>
                  <a:pt x="1716" y="165"/>
                </a:cubicBezTo>
                <a:cubicBezTo>
                  <a:pt x="1716" y="165"/>
                  <a:pt x="1716" y="165"/>
                  <a:pt x="1716" y="164"/>
                </a:cubicBezTo>
                <a:cubicBezTo>
                  <a:pt x="1715" y="164"/>
                  <a:pt x="1714" y="164"/>
                  <a:pt x="1714" y="163"/>
                </a:cubicBezTo>
                <a:cubicBezTo>
                  <a:pt x="1714" y="163"/>
                  <a:pt x="1713" y="163"/>
                  <a:pt x="1713" y="163"/>
                </a:cubicBezTo>
                <a:cubicBezTo>
                  <a:pt x="1713" y="163"/>
                  <a:pt x="1712" y="162"/>
                  <a:pt x="1712" y="162"/>
                </a:cubicBezTo>
                <a:cubicBezTo>
                  <a:pt x="1711" y="162"/>
                  <a:pt x="1711" y="162"/>
                  <a:pt x="1711" y="161"/>
                </a:cubicBezTo>
                <a:cubicBezTo>
                  <a:pt x="1711" y="161"/>
                  <a:pt x="1710" y="161"/>
                  <a:pt x="1710" y="161"/>
                </a:cubicBezTo>
                <a:cubicBezTo>
                  <a:pt x="1709" y="160"/>
                  <a:pt x="1709" y="160"/>
                  <a:pt x="1709" y="160"/>
                </a:cubicBezTo>
                <a:cubicBezTo>
                  <a:pt x="1708" y="158"/>
                  <a:pt x="1708" y="159"/>
                  <a:pt x="1707" y="158"/>
                </a:cubicBezTo>
                <a:cubicBezTo>
                  <a:pt x="1707" y="158"/>
                  <a:pt x="1708" y="158"/>
                  <a:pt x="1707" y="158"/>
                </a:cubicBezTo>
                <a:cubicBezTo>
                  <a:pt x="1707" y="158"/>
                  <a:pt x="1707" y="158"/>
                  <a:pt x="1707" y="158"/>
                </a:cubicBezTo>
                <a:cubicBezTo>
                  <a:pt x="1707" y="157"/>
                  <a:pt x="1705" y="158"/>
                  <a:pt x="1705" y="157"/>
                </a:cubicBezTo>
                <a:cubicBezTo>
                  <a:pt x="1702" y="157"/>
                  <a:pt x="1699" y="157"/>
                  <a:pt x="1697" y="158"/>
                </a:cubicBezTo>
                <a:cubicBezTo>
                  <a:pt x="1697" y="159"/>
                  <a:pt x="1697" y="160"/>
                  <a:pt x="1698" y="161"/>
                </a:cubicBezTo>
                <a:cubicBezTo>
                  <a:pt x="1697" y="161"/>
                  <a:pt x="1695" y="161"/>
                  <a:pt x="1695" y="160"/>
                </a:cubicBezTo>
                <a:cubicBezTo>
                  <a:pt x="1696" y="159"/>
                  <a:pt x="1696" y="158"/>
                  <a:pt x="1695" y="157"/>
                </a:cubicBezTo>
                <a:cubicBezTo>
                  <a:pt x="1695" y="157"/>
                  <a:pt x="1696" y="157"/>
                  <a:pt x="1696" y="157"/>
                </a:cubicBezTo>
                <a:cubicBezTo>
                  <a:pt x="1696" y="156"/>
                  <a:pt x="1695" y="156"/>
                  <a:pt x="1694" y="154"/>
                </a:cubicBezTo>
                <a:cubicBezTo>
                  <a:pt x="1694" y="154"/>
                  <a:pt x="1693" y="155"/>
                  <a:pt x="1693" y="154"/>
                </a:cubicBezTo>
                <a:cubicBezTo>
                  <a:pt x="1693" y="154"/>
                  <a:pt x="1694" y="153"/>
                  <a:pt x="1693" y="153"/>
                </a:cubicBezTo>
                <a:cubicBezTo>
                  <a:pt x="1693" y="153"/>
                  <a:pt x="1692" y="153"/>
                  <a:pt x="1692" y="153"/>
                </a:cubicBezTo>
                <a:cubicBezTo>
                  <a:pt x="1690" y="153"/>
                  <a:pt x="1690" y="152"/>
                  <a:pt x="1689" y="151"/>
                </a:cubicBezTo>
                <a:cubicBezTo>
                  <a:pt x="1689" y="151"/>
                  <a:pt x="1689" y="151"/>
                  <a:pt x="1688" y="151"/>
                </a:cubicBezTo>
                <a:cubicBezTo>
                  <a:pt x="1688" y="151"/>
                  <a:pt x="1688" y="151"/>
                  <a:pt x="1688" y="151"/>
                </a:cubicBezTo>
                <a:cubicBezTo>
                  <a:pt x="1688" y="151"/>
                  <a:pt x="1688" y="151"/>
                  <a:pt x="1688" y="151"/>
                </a:cubicBezTo>
                <a:cubicBezTo>
                  <a:pt x="1687" y="150"/>
                  <a:pt x="1688" y="150"/>
                  <a:pt x="1687" y="150"/>
                </a:cubicBezTo>
                <a:cubicBezTo>
                  <a:pt x="1687" y="150"/>
                  <a:pt x="1687" y="150"/>
                  <a:pt x="1687" y="150"/>
                </a:cubicBezTo>
                <a:cubicBezTo>
                  <a:pt x="1686" y="149"/>
                  <a:pt x="1686" y="149"/>
                  <a:pt x="1685" y="149"/>
                </a:cubicBezTo>
                <a:cubicBezTo>
                  <a:pt x="1684" y="148"/>
                  <a:pt x="1684" y="148"/>
                  <a:pt x="1683" y="148"/>
                </a:cubicBezTo>
                <a:cubicBezTo>
                  <a:pt x="1683" y="148"/>
                  <a:pt x="1682" y="147"/>
                  <a:pt x="1682" y="146"/>
                </a:cubicBezTo>
                <a:cubicBezTo>
                  <a:pt x="1681" y="146"/>
                  <a:pt x="1681" y="146"/>
                  <a:pt x="1680" y="146"/>
                </a:cubicBezTo>
                <a:cubicBezTo>
                  <a:pt x="1680" y="146"/>
                  <a:pt x="1679" y="145"/>
                  <a:pt x="1680" y="145"/>
                </a:cubicBezTo>
                <a:cubicBezTo>
                  <a:pt x="1680" y="145"/>
                  <a:pt x="1679" y="143"/>
                  <a:pt x="1679" y="143"/>
                </a:cubicBezTo>
                <a:cubicBezTo>
                  <a:pt x="1678" y="143"/>
                  <a:pt x="1678" y="143"/>
                  <a:pt x="1677" y="143"/>
                </a:cubicBezTo>
                <a:cubicBezTo>
                  <a:pt x="1676" y="143"/>
                  <a:pt x="1677" y="143"/>
                  <a:pt x="1676" y="142"/>
                </a:cubicBezTo>
                <a:cubicBezTo>
                  <a:pt x="1675" y="142"/>
                  <a:pt x="1674" y="142"/>
                  <a:pt x="1674" y="142"/>
                </a:cubicBezTo>
                <a:cubicBezTo>
                  <a:pt x="1672" y="141"/>
                  <a:pt x="1673" y="140"/>
                  <a:pt x="1671" y="139"/>
                </a:cubicBezTo>
                <a:cubicBezTo>
                  <a:pt x="1671" y="139"/>
                  <a:pt x="1672" y="138"/>
                  <a:pt x="1671" y="138"/>
                </a:cubicBezTo>
                <a:cubicBezTo>
                  <a:pt x="1670" y="138"/>
                  <a:pt x="1670" y="138"/>
                  <a:pt x="1669" y="138"/>
                </a:cubicBezTo>
                <a:cubicBezTo>
                  <a:pt x="1669" y="138"/>
                  <a:pt x="1669" y="137"/>
                  <a:pt x="1669" y="137"/>
                </a:cubicBezTo>
                <a:cubicBezTo>
                  <a:pt x="1668" y="137"/>
                  <a:pt x="1669" y="136"/>
                  <a:pt x="1669" y="136"/>
                </a:cubicBezTo>
                <a:cubicBezTo>
                  <a:pt x="1669" y="136"/>
                  <a:pt x="1668" y="135"/>
                  <a:pt x="1668" y="135"/>
                </a:cubicBezTo>
                <a:cubicBezTo>
                  <a:pt x="1668" y="135"/>
                  <a:pt x="1668" y="135"/>
                  <a:pt x="1668" y="135"/>
                </a:cubicBezTo>
                <a:cubicBezTo>
                  <a:pt x="1667" y="134"/>
                  <a:pt x="1663" y="135"/>
                  <a:pt x="1663" y="134"/>
                </a:cubicBezTo>
                <a:cubicBezTo>
                  <a:pt x="1664" y="134"/>
                  <a:pt x="1663" y="134"/>
                  <a:pt x="1663" y="134"/>
                </a:cubicBezTo>
                <a:cubicBezTo>
                  <a:pt x="1663" y="134"/>
                  <a:pt x="1663" y="134"/>
                  <a:pt x="1662" y="133"/>
                </a:cubicBezTo>
                <a:cubicBezTo>
                  <a:pt x="1662" y="133"/>
                  <a:pt x="1661" y="133"/>
                  <a:pt x="1661" y="133"/>
                </a:cubicBezTo>
                <a:cubicBezTo>
                  <a:pt x="1660" y="133"/>
                  <a:pt x="1660" y="133"/>
                  <a:pt x="1659" y="134"/>
                </a:cubicBezTo>
                <a:cubicBezTo>
                  <a:pt x="1659" y="134"/>
                  <a:pt x="1657" y="134"/>
                  <a:pt x="1657" y="133"/>
                </a:cubicBezTo>
                <a:cubicBezTo>
                  <a:pt x="1656" y="133"/>
                  <a:pt x="1656" y="133"/>
                  <a:pt x="1655" y="133"/>
                </a:cubicBezTo>
                <a:cubicBezTo>
                  <a:pt x="1655" y="132"/>
                  <a:pt x="1655" y="131"/>
                  <a:pt x="1655" y="131"/>
                </a:cubicBezTo>
                <a:cubicBezTo>
                  <a:pt x="1654" y="131"/>
                  <a:pt x="1654" y="131"/>
                  <a:pt x="1654" y="131"/>
                </a:cubicBezTo>
                <a:cubicBezTo>
                  <a:pt x="1654" y="130"/>
                  <a:pt x="1651" y="130"/>
                  <a:pt x="1650" y="130"/>
                </a:cubicBezTo>
                <a:cubicBezTo>
                  <a:pt x="1650" y="130"/>
                  <a:pt x="1650" y="130"/>
                  <a:pt x="1650" y="129"/>
                </a:cubicBezTo>
                <a:cubicBezTo>
                  <a:pt x="1649" y="129"/>
                  <a:pt x="1649" y="129"/>
                  <a:pt x="1649" y="129"/>
                </a:cubicBezTo>
                <a:cubicBezTo>
                  <a:pt x="1649" y="129"/>
                  <a:pt x="1648" y="129"/>
                  <a:pt x="1648" y="128"/>
                </a:cubicBezTo>
                <a:cubicBezTo>
                  <a:pt x="1648" y="127"/>
                  <a:pt x="1647" y="129"/>
                  <a:pt x="1647" y="129"/>
                </a:cubicBezTo>
                <a:cubicBezTo>
                  <a:pt x="1646" y="129"/>
                  <a:pt x="1644" y="129"/>
                  <a:pt x="1643" y="129"/>
                </a:cubicBezTo>
                <a:cubicBezTo>
                  <a:pt x="1642" y="129"/>
                  <a:pt x="1642" y="129"/>
                  <a:pt x="1641" y="129"/>
                </a:cubicBezTo>
                <a:cubicBezTo>
                  <a:pt x="1641" y="128"/>
                  <a:pt x="1641" y="128"/>
                  <a:pt x="1640" y="128"/>
                </a:cubicBezTo>
                <a:cubicBezTo>
                  <a:pt x="1640" y="128"/>
                  <a:pt x="1640" y="128"/>
                  <a:pt x="1640" y="128"/>
                </a:cubicBezTo>
                <a:cubicBezTo>
                  <a:pt x="1640" y="128"/>
                  <a:pt x="1639" y="128"/>
                  <a:pt x="1638" y="129"/>
                </a:cubicBezTo>
                <a:cubicBezTo>
                  <a:pt x="1638" y="129"/>
                  <a:pt x="1637" y="129"/>
                  <a:pt x="1637" y="129"/>
                </a:cubicBezTo>
                <a:cubicBezTo>
                  <a:pt x="1637" y="129"/>
                  <a:pt x="1635" y="128"/>
                  <a:pt x="1636" y="128"/>
                </a:cubicBezTo>
                <a:cubicBezTo>
                  <a:pt x="1635" y="128"/>
                  <a:pt x="1635" y="128"/>
                  <a:pt x="1634" y="128"/>
                </a:cubicBezTo>
                <a:cubicBezTo>
                  <a:pt x="1634" y="128"/>
                  <a:pt x="1634" y="128"/>
                  <a:pt x="1634" y="128"/>
                </a:cubicBezTo>
                <a:cubicBezTo>
                  <a:pt x="1632" y="128"/>
                  <a:pt x="1631" y="128"/>
                  <a:pt x="1630" y="128"/>
                </a:cubicBezTo>
                <a:cubicBezTo>
                  <a:pt x="1629" y="128"/>
                  <a:pt x="1630" y="128"/>
                  <a:pt x="1629" y="128"/>
                </a:cubicBezTo>
                <a:cubicBezTo>
                  <a:pt x="1628" y="127"/>
                  <a:pt x="1628" y="127"/>
                  <a:pt x="1627" y="127"/>
                </a:cubicBezTo>
                <a:cubicBezTo>
                  <a:pt x="1627" y="128"/>
                  <a:pt x="1627" y="129"/>
                  <a:pt x="1627" y="130"/>
                </a:cubicBezTo>
                <a:cubicBezTo>
                  <a:pt x="1627" y="130"/>
                  <a:pt x="1627" y="131"/>
                  <a:pt x="1627" y="132"/>
                </a:cubicBezTo>
                <a:cubicBezTo>
                  <a:pt x="1627" y="132"/>
                  <a:pt x="1628" y="132"/>
                  <a:pt x="1628" y="132"/>
                </a:cubicBezTo>
                <a:cubicBezTo>
                  <a:pt x="1629" y="133"/>
                  <a:pt x="1629" y="135"/>
                  <a:pt x="1629" y="136"/>
                </a:cubicBezTo>
                <a:cubicBezTo>
                  <a:pt x="1629" y="136"/>
                  <a:pt x="1628" y="136"/>
                  <a:pt x="1628" y="136"/>
                </a:cubicBezTo>
                <a:cubicBezTo>
                  <a:pt x="1627" y="136"/>
                  <a:pt x="1628" y="137"/>
                  <a:pt x="1627" y="137"/>
                </a:cubicBezTo>
                <a:cubicBezTo>
                  <a:pt x="1627" y="138"/>
                  <a:pt x="1627" y="138"/>
                  <a:pt x="1626" y="138"/>
                </a:cubicBezTo>
                <a:cubicBezTo>
                  <a:pt x="1625" y="138"/>
                  <a:pt x="1625" y="138"/>
                  <a:pt x="1625" y="139"/>
                </a:cubicBezTo>
                <a:cubicBezTo>
                  <a:pt x="1625" y="139"/>
                  <a:pt x="1626" y="139"/>
                  <a:pt x="1625" y="140"/>
                </a:cubicBezTo>
                <a:cubicBezTo>
                  <a:pt x="1625" y="140"/>
                  <a:pt x="1624" y="140"/>
                  <a:pt x="1623" y="140"/>
                </a:cubicBezTo>
                <a:cubicBezTo>
                  <a:pt x="1622" y="140"/>
                  <a:pt x="1619" y="141"/>
                  <a:pt x="1619" y="140"/>
                </a:cubicBezTo>
                <a:cubicBezTo>
                  <a:pt x="1619" y="139"/>
                  <a:pt x="1619" y="137"/>
                  <a:pt x="1618" y="136"/>
                </a:cubicBezTo>
                <a:cubicBezTo>
                  <a:pt x="1618" y="135"/>
                  <a:pt x="1616" y="136"/>
                  <a:pt x="1616" y="135"/>
                </a:cubicBezTo>
                <a:cubicBezTo>
                  <a:pt x="1616" y="134"/>
                  <a:pt x="1617" y="133"/>
                  <a:pt x="1616" y="133"/>
                </a:cubicBezTo>
                <a:cubicBezTo>
                  <a:pt x="1615" y="132"/>
                  <a:pt x="1616" y="132"/>
                  <a:pt x="1616" y="131"/>
                </a:cubicBezTo>
                <a:cubicBezTo>
                  <a:pt x="1615" y="131"/>
                  <a:pt x="1614" y="132"/>
                  <a:pt x="1614" y="133"/>
                </a:cubicBezTo>
                <a:cubicBezTo>
                  <a:pt x="1614" y="133"/>
                  <a:pt x="1613" y="133"/>
                  <a:pt x="1613" y="133"/>
                </a:cubicBezTo>
                <a:cubicBezTo>
                  <a:pt x="1613" y="133"/>
                  <a:pt x="1613" y="133"/>
                  <a:pt x="1613" y="133"/>
                </a:cubicBezTo>
                <a:cubicBezTo>
                  <a:pt x="1612" y="133"/>
                  <a:pt x="1612" y="133"/>
                  <a:pt x="1612" y="133"/>
                </a:cubicBezTo>
                <a:cubicBezTo>
                  <a:pt x="1611" y="133"/>
                  <a:pt x="1609" y="134"/>
                  <a:pt x="1608" y="134"/>
                </a:cubicBezTo>
                <a:cubicBezTo>
                  <a:pt x="1608" y="134"/>
                  <a:pt x="1608" y="133"/>
                  <a:pt x="1609" y="133"/>
                </a:cubicBezTo>
                <a:cubicBezTo>
                  <a:pt x="1608" y="133"/>
                  <a:pt x="1607" y="133"/>
                  <a:pt x="1607" y="133"/>
                </a:cubicBezTo>
                <a:cubicBezTo>
                  <a:pt x="1606" y="132"/>
                  <a:pt x="1605" y="131"/>
                  <a:pt x="1604" y="132"/>
                </a:cubicBezTo>
                <a:cubicBezTo>
                  <a:pt x="1604" y="133"/>
                  <a:pt x="1601" y="131"/>
                  <a:pt x="1601" y="132"/>
                </a:cubicBezTo>
                <a:cubicBezTo>
                  <a:pt x="1600" y="133"/>
                  <a:pt x="1600" y="133"/>
                  <a:pt x="1600" y="133"/>
                </a:cubicBezTo>
                <a:cubicBezTo>
                  <a:pt x="1599" y="133"/>
                  <a:pt x="1599" y="133"/>
                  <a:pt x="1599" y="133"/>
                </a:cubicBezTo>
                <a:cubicBezTo>
                  <a:pt x="1598" y="132"/>
                  <a:pt x="1598" y="132"/>
                  <a:pt x="1598" y="131"/>
                </a:cubicBezTo>
                <a:cubicBezTo>
                  <a:pt x="1596" y="131"/>
                  <a:pt x="1593" y="131"/>
                  <a:pt x="1590" y="131"/>
                </a:cubicBezTo>
                <a:cubicBezTo>
                  <a:pt x="1590" y="131"/>
                  <a:pt x="1589" y="131"/>
                  <a:pt x="1588" y="131"/>
                </a:cubicBezTo>
                <a:cubicBezTo>
                  <a:pt x="1588" y="132"/>
                  <a:pt x="1588" y="132"/>
                  <a:pt x="1588" y="132"/>
                </a:cubicBezTo>
                <a:cubicBezTo>
                  <a:pt x="1587" y="132"/>
                  <a:pt x="1587" y="132"/>
                  <a:pt x="1587" y="132"/>
                </a:cubicBezTo>
                <a:cubicBezTo>
                  <a:pt x="1586" y="132"/>
                  <a:pt x="1586" y="133"/>
                  <a:pt x="1586" y="133"/>
                </a:cubicBezTo>
                <a:cubicBezTo>
                  <a:pt x="1585" y="133"/>
                  <a:pt x="1585" y="132"/>
                  <a:pt x="1584" y="133"/>
                </a:cubicBezTo>
                <a:cubicBezTo>
                  <a:pt x="1584" y="133"/>
                  <a:pt x="1583" y="133"/>
                  <a:pt x="1583" y="133"/>
                </a:cubicBezTo>
                <a:cubicBezTo>
                  <a:pt x="1583" y="133"/>
                  <a:pt x="1583" y="134"/>
                  <a:pt x="1583" y="134"/>
                </a:cubicBezTo>
                <a:cubicBezTo>
                  <a:pt x="1582" y="134"/>
                  <a:pt x="1583" y="135"/>
                  <a:pt x="1583" y="135"/>
                </a:cubicBezTo>
                <a:cubicBezTo>
                  <a:pt x="1583" y="136"/>
                  <a:pt x="1582" y="136"/>
                  <a:pt x="1582" y="137"/>
                </a:cubicBezTo>
                <a:cubicBezTo>
                  <a:pt x="1582" y="137"/>
                  <a:pt x="1582" y="138"/>
                  <a:pt x="1582" y="139"/>
                </a:cubicBezTo>
                <a:cubicBezTo>
                  <a:pt x="1581" y="139"/>
                  <a:pt x="1581" y="139"/>
                  <a:pt x="1581" y="139"/>
                </a:cubicBezTo>
                <a:cubicBezTo>
                  <a:pt x="1581" y="138"/>
                  <a:pt x="1581" y="137"/>
                  <a:pt x="1581" y="137"/>
                </a:cubicBezTo>
                <a:cubicBezTo>
                  <a:pt x="1580" y="136"/>
                  <a:pt x="1581" y="135"/>
                  <a:pt x="1580" y="134"/>
                </a:cubicBezTo>
                <a:cubicBezTo>
                  <a:pt x="1579" y="134"/>
                  <a:pt x="1580" y="133"/>
                  <a:pt x="1579" y="132"/>
                </a:cubicBezTo>
                <a:cubicBezTo>
                  <a:pt x="1578" y="132"/>
                  <a:pt x="1577" y="132"/>
                  <a:pt x="1577" y="132"/>
                </a:cubicBezTo>
                <a:cubicBezTo>
                  <a:pt x="1577" y="131"/>
                  <a:pt x="1577" y="131"/>
                  <a:pt x="1577" y="130"/>
                </a:cubicBezTo>
                <a:cubicBezTo>
                  <a:pt x="1577" y="130"/>
                  <a:pt x="1577" y="130"/>
                  <a:pt x="1576" y="130"/>
                </a:cubicBezTo>
                <a:cubicBezTo>
                  <a:pt x="1577" y="129"/>
                  <a:pt x="1577" y="129"/>
                  <a:pt x="1578" y="128"/>
                </a:cubicBezTo>
                <a:cubicBezTo>
                  <a:pt x="1577" y="127"/>
                  <a:pt x="1577" y="127"/>
                  <a:pt x="1577" y="126"/>
                </a:cubicBezTo>
                <a:cubicBezTo>
                  <a:pt x="1576" y="126"/>
                  <a:pt x="1576" y="126"/>
                  <a:pt x="1576" y="126"/>
                </a:cubicBezTo>
                <a:cubicBezTo>
                  <a:pt x="1576" y="125"/>
                  <a:pt x="1574" y="125"/>
                  <a:pt x="1574" y="125"/>
                </a:cubicBezTo>
                <a:cubicBezTo>
                  <a:pt x="1573" y="125"/>
                  <a:pt x="1573" y="124"/>
                  <a:pt x="1573" y="123"/>
                </a:cubicBezTo>
                <a:cubicBezTo>
                  <a:pt x="1572" y="123"/>
                  <a:pt x="1572" y="123"/>
                  <a:pt x="1572" y="123"/>
                </a:cubicBezTo>
                <a:cubicBezTo>
                  <a:pt x="1572" y="122"/>
                  <a:pt x="1570" y="122"/>
                  <a:pt x="1569" y="122"/>
                </a:cubicBezTo>
                <a:cubicBezTo>
                  <a:pt x="1569" y="122"/>
                  <a:pt x="1569" y="122"/>
                  <a:pt x="1569" y="122"/>
                </a:cubicBezTo>
                <a:cubicBezTo>
                  <a:pt x="1568" y="122"/>
                  <a:pt x="1568" y="121"/>
                  <a:pt x="1567" y="121"/>
                </a:cubicBezTo>
                <a:cubicBezTo>
                  <a:pt x="1566" y="121"/>
                  <a:pt x="1565" y="121"/>
                  <a:pt x="1565" y="122"/>
                </a:cubicBezTo>
                <a:cubicBezTo>
                  <a:pt x="1565" y="122"/>
                  <a:pt x="1564" y="121"/>
                  <a:pt x="1564" y="121"/>
                </a:cubicBezTo>
                <a:cubicBezTo>
                  <a:pt x="1563" y="121"/>
                  <a:pt x="1564" y="122"/>
                  <a:pt x="1563" y="122"/>
                </a:cubicBezTo>
                <a:cubicBezTo>
                  <a:pt x="1563" y="122"/>
                  <a:pt x="1562" y="122"/>
                  <a:pt x="1563" y="122"/>
                </a:cubicBezTo>
                <a:cubicBezTo>
                  <a:pt x="1563" y="122"/>
                  <a:pt x="1562" y="122"/>
                  <a:pt x="1561" y="122"/>
                </a:cubicBezTo>
                <a:cubicBezTo>
                  <a:pt x="1561" y="122"/>
                  <a:pt x="1560" y="123"/>
                  <a:pt x="1560" y="122"/>
                </a:cubicBezTo>
                <a:cubicBezTo>
                  <a:pt x="1560" y="122"/>
                  <a:pt x="1560" y="122"/>
                  <a:pt x="1560" y="122"/>
                </a:cubicBezTo>
                <a:cubicBezTo>
                  <a:pt x="1559" y="121"/>
                  <a:pt x="1558" y="122"/>
                  <a:pt x="1557" y="122"/>
                </a:cubicBezTo>
                <a:cubicBezTo>
                  <a:pt x="1556" y="122"/>
                  <a:pt x="1557" y="122"/>
                  <a:pt x="1556" y="122"/>
                </a:cubicBezTo>
                <a:cubicBezTo>
                  <a:pt x="1555" y="122"/>
                  <a:pt x="1556" y="121"/>
                  <a:pt x="1555" y="121"/>
                </a:cubicBezTo>
                <a:cubicBezTo>
                  <a:pt x="1554" y="121"/>
                  <a:pt x="1553" y="122"/>
                  <a:pt x="1552" y="122"/>
                </a:cubicBezTo>
                <a:cubicBezTo>
                  <a:pt x="1550" y="123"/>
                  <a:pt x="1549" y="123"/>
                  <a:pt x="1547" y="122"/>
                </a:cubicBezTo>
                <a:cubicBezTo>
                  <a:pt x="1547" y="122"/>
                  <a:pt x="1546" y="122"/>
                  <a:pt x="1546" y="122"/>
                </a:cubicBezTo>
                <a:cubicBezTo>
                  <a:pt x="1545" y="122"/>
                  <a:pt x="1545" y="122"/>
                  <a:pt x="1544" y="122"/>
                </a:cubicBezTo>
                <a:cubicBezTo>
                  <a:pt x="1543" y="122"/>
                  <a:pt x="1544" y="123"/>
                  <a:pt x="1543" y="123"/>
                </a:cubicBezTo>
                <a:cubicBezTo>
                  <a:pt x="1542" y="123"/>
                  <a:pt x="1541" y="123"/>
                  <a:pt x="1541" y="123"/>
                </a:cubicBezTo>
                <a:cubicBezTo>
                  <a:pt x="1541" y="124"/>
                  <a:pt x="1541" y="124"/>
                  <a:pt x="1541" y="124"/>
                </a:cubicBezTo>
                <a:cubicBezTo>
                  <a:pt x="1540" y="124"/>
                  <a:pt x="1538" y="123"/>
                  <a:pt x="1538" y="124"/>
                </a:cubicBezTo>
                <a:cubicBezTo>
                  <a:pt x="1537" y="124"/>
                  <a:pt x="1535" y="124"/>
                  <a:pt x="1533" y="124"/>
                </a:cubicBezTo>
                <a:cubicBezTo>
                  <a:pt x="1533" y="124"/>
                  <a:pt x="1533" y="124"/>
                  <a:pt x="1532" y="124"/>
                </a:cubicBezTo>
                <a:cubicBezTo>
                  <a:pt x="1532" y="124"/>
                  <a:pt x="1531" y="124"/>
                  <a:pt x="1531" y="124"/>
                </a:cubicBezTo>
                <a:cubicBezTo>
                  <a:pt x="1531" y="124"/>
                  <a:pt x="1528" y="125"/>
                  <a:pt x="1528" y="124"/>
                </a:cubicBezTo>
                <a:cubicBezTo>
                  <a:pt x="1528" y="124"/>
                  <a:pt x="1527" y="124"/>
                  <a:pt x="1527" y="124"/>
                </a:cubicBezTo>
                <a:cubicBezTo>
                  <a:pt x="1527" y="124"/>
                  <a:pt x="1526" y="124"/>
                  <a:pt x="1526" y="124"/>
                </a:cubicBezTo>
                <a:cubicBezTo>
                  <a:pt x="1525" y="124"/>
                  <a:pt x="1525" y="124"/>
                  <a:pt x="1525" y="124"/>
                </a:cubicBezTo>
                <a:cubicBezTo>
                  <a:pt x="1524" y="124"/>
                  <a:pt x="1525" y="124"/>
                  <a:pt x="1524" y="124"/>
                </a:cubicBezTo>
                <a:cubicBezTo>
                  <a:pt x="1524" y="124"/>
                  <a:pt x="1524" y="124"/>
                  <a:pt x="1524" y="124"/>
                </a:cubicBezTo>
                <a:cubicBezTo>
                  <a:pt x="1524" y="124"/>
                  <a:pt x="1524" y="124"/>
                  <a:pt x="1524" y="124"/>
                </a:cubicBezTo>
                <a:cubicBezTo>
                  <a:pt x="1523" y="124"/>
                  <a:pt x="1523" y="124"/>
                  <a:pt x="1523" y="124"/>
                </a:cubicBezTo>
                <a:cubicBezTo>
                  <a:pt x="1524" y="123"/>
                  <a:pt x="1525" y="121"/>
                  <a:pt x="1526" y="120"/>
                </a:cubicBezTo>
                <a:cubicBezTo>
                  <a:pt x="1527" y="120"/>
                  <a:pt x="1527" y="119"/>
                  <a:pt x="1527" y="119"/>
                </a:cubicBezTo>
                <a:cubicBezTo>
                  <a:pt x="1527" y="118"/>
                  <a:pt x="1526" y="118"/>
                  <a:pt x="1526" y="118"/>
                </a:cubicBezTo>
                <a:cubicBezTo>
                  <a:pt x="1524" y="118"/>
                  <a:pt x="1524" y="119"/>
                  <a:pt x="1524" y="117"/>
                </a:cubicBezTo>
                <a:cubicBezTo>
                  <a:pt x="1524" y="117"/>
                  <a:pt x="1524" y="117"/>
                  <a:pt x="1524" y="116"/>
                </a:cubicBezTo>
                <a:cubicBezTo>
                  <a:pt x="1525" y="116"/>
                  <a:pt x="1525" y="117"/>
                  <a:pt x="1525" y="116"/>
                </a:cubicBezTo>
                <a:cubicBezTo>
                  <a:pt x="1525" y="116"/>
                  <a:pt x="1526" y="116"/>
                  <a:pt x="1526" y="116"/>
                </a:cubicBezTo>
                <a:cubicBezTo>
                  <a:pt x="1526" y="116"/>
                  <a:pt x="1526" y="118"/>
                  <a:pt x="1527" y="117"/>
                </a:cubicBezTo>
                <a:cubicBezTo>
                  <a:pt x="1529" y="117"/>
                  <a:pt x="1530" y="115"/>
                  <a:pt x="1529" y="114"/>
                </a:cubicBezTo>
                <a:cubicBezTo>
                  <a:pt x="1529" y="114"/>
                  <a:pt x="1527" y="113"/>
                  <a:pt x="1527" y="113"/>
                </a:cubicBezTo>
                <a:cubicBezTo>
                  <a:pt x="1526" y="113"/>
                  <a:pt x="1526" y="112"/>
                  <a:pt x="1526" y="112"/>
                </a:cubicBezTo>
                <a:cubicBezTo>
                  <a:pt x="1525" y="112"/>
                  <a:pt x="1525" y="112"/>
                  <a:pt x="1524" y="112"/>
                </a:cubicBezTo>
                <a:cubicBezTo>
                  <a:pt x="1523" y="112"/>
                  <a:pt x="1523" y="112"/>
                  <a:pt x="1523" y="111"/>
                </a:cubicBezTo>
                <a:cubicBezTo>
                  <a:pt x="1521" y="111"/>
                  <a:pt x="1520" y="111"/>
                  <a:pt x="1519" y="111"/>
                </a:cubicBezTo>
                <a:cubicBezTo>
                  <a:pt x="1519" y="111"/>
                  <a:pt x="1519" y="111"/>
                  <a:pt x="1519" y="111"/>
                </a:cubicBezTo>
                <a:cubicBezTo>
                  <a:pt x="1518" y="111"/>
                  <a:pt x="1517" y="110"/>
                  <a:pt x="1516" y="111"/>
                </a:cubicBezTo>
                <a:cubicBezTo>
                  <a:pt x="1515" y="111"/>
                  <a:pt x="1515" y="112"/>
                  <a:pt x="1515" y="112"/>
                </a:cubicBezTo>
                <a:cubicBezTo>
                  <a:pt x="1514" y="113"/>
                  <a:pt x="1514" y="113"/>
                  <a:pt x="1513" y="114"/>
                </a:cubicBezTo>
                <a:cubicBezTo>
                  <a:pt x="1513" y="115"/>
                  <a:pt x="1513" y="115"/>
                  <a:pt x="1512" y="116"/>
                </a:cubicBezTo>
                <a:cubicBezTo>
                  <a:pt x="1511" y="116"/>
                  <a:pt x="1512" y="116"/>
                  <a:pt x="1512" y="117"/>
                </a:cubicBezTo>
                <a:cubicBezTo>
                  <a:pt x="1511" y="117"/>
                  <a:pt x="1512" y="116"/>
                  <a:pt x="1511" y="117"/>
                </a:cubicBezTo>
                <a:cubicBezTo>
                  <a:pt x="1511" y="118"/>
                  <a:pt x="1511" y="118"/>
                  <a:pt x="1511" y="118"/>
                </a:cubicBezTo>
                <a:cubicBezTo>
                  <a:pt x="1510" y="118"/>
                  <a:pt x="1510" y="119"/>
                  <a:pt x="1510" y="119"/>
                </a:cubicBezTo>
                <a:cubicBezTo>
                  <a:pt x="1509" y="119"/>
                  <a:pt x="1509" y="119"/>
                  <a:pt x="1509" y="119"/>
                </a:cubicBezTo>
                <a:cubicBezTo>
                  <a:pt x="1509" y="119"/>
                  <a:pt x="1508" y="120"/>
                  <a:pt x="1508" y="120"/>
                </a:cubicBezTo>
                <a:cubicBezTo>
                  <a:pt x="1507" y="120"/>
                  <a:pt x="1506" y="119"/>
                  <a:pt x="1505" y="119"/>
                </a:cubicBezTo>
                <a:cubicBezTo>
                  <a:pt x="1505" y="118"/>
                  <a:pt x="1505" y="118"/>
                  <a:pt x="1506" y="118"/>
                </a:cubicBezTo>
                <a:cubicBezTo>
                  <a:pt x="1507" y="118"/>
                  <a:pt x="1507" y="118"/>
                  <a:pt x="1507" y="117"/>
                </a:cubicBezTo>
                <a:cubicBezTo>
                  <a:pt x="1507" y="117"/>
                  <a:pt x="1507" y="117"/>
                  <a:pt x="1506" y="117"/>
                </a:cubicBezTo>
                <a:cubicBezTo>
                  <a:pt x="1506" y="117"/>
                  <a:pt x="1506" y="116"/>
                  <a:pt x="1506" y="116"/>
                </a:cubicBezTo>
                <a:cubicBezTo>
                  <a:pt x="1506" y="115"/>
                  <a:pt x="1506" y="116"/>
                  <a:pt x="1507" y="116"/>
                </a:cubicBezTo>
                <a:cubicBezTo>
                  <a:pt x="1508" y="115"/>
                  <a:pt x="1508" y="115"/>
                  <a:pt x="1509" y="114"/>
                </a:cubicBezTo>
                <a:cubicBezTo>
                  <a:pt x="1509" y="113"/>
                  <a:pt x="1509" y="113"/>
                  <a:pt x="1510" y="113"/>
                </a:cubicBezTo>
                <a:cubicBezTo>
                  <a:pt x="1510" y="113"/>
                  <a:pt x="1511" y="113"/>
                  <a:pt x="1511" y="113"/>
                </a:cubicBezTo>
                <a:cubicBezTo>
                  <a:pt x="1511" y="114"/>
                  <a:pt x="1510" y="114"/>
                  <a:pt x="1510" y="114"/>
                </a:cubicBezTo>
                <a:cubicBezTo>
                  <a:pt x="1510" y="116"/>
                  <a:pt x="1511" y="114"/>
                  <a:pt x="1512" y="114"/>
                </a:cubicBezTo>
                <a:cubicBezTo>
                  <a:pt x="1512" y="112"/>
                  <a:pt x="1512" y="112"/>
                  <a:pt x="1511" y="112"/>
                </a:cubicBezTo>
                <a:cubicBezTo>
                  <a:pt x="1511" y="112"/>
                  <a:pt x="1510" y="112"/>
                  <a:pt x="1509" y="112"/>
                </a:cubicBezTo>
                <a:cubicBezTo>
                  <a:pt x="1509" y="112"/>
                  <a:pt x="1508" y="112"/>
                  <a:pt x="1508" y="112"/>
                </a:cubicBezTo>
                <a:cubicBezTo>
                  <a:pt x="1508" y="112"/>
                  <a:pt x="1508" y="112"/>
                  <a:pt x="1507" y="112"/>
                </a:cubicBezTo>
                <a:cubicBezTo>
                  <a:pt x="1506" y="112"/>
                  <a:pt x="1505" y="112"/>
                  <a:pt x="1505" y="112"/>
                </a:cubicBezTo>
                <a:cubicBezTo>
                  <a:pt x="1504" y="112"/>
                  <a:pt x="1503" y="113"/>
                  <a:pt x="1503" y="112"/>
                </a:cubicBezTo>
                <a:cubicBezTo>
                  <a:pt x="1501" y="112"/>
                  <a:pt x="1502" y="111"/>
                  <a:pt x="1501" y="110"/>
                </a:cubicBezTo>
                <a:cubicBezTo>
                  <a:pt x="1502" y="110"/>
                  <a:pt x="1503" y="109"/>
                  <a:pt x="1503" y="110"/>
                </a:cubicBezTo>
                <a:cubicBezTo>
                  <a:pt x="1503" y="110"/>
                  <a:pt x="1503" y="110"/>
                  <a:pt x="1503" y="110"/>
                </a:cubicBezTo>
                <a:cubicBezTo>
                  <a:pt x="1504" y="110"/>
                  <a:pt x="1505" y="110"/>
                  <a:pt x="1507" y="110"/>
                </a:cubicBezTo>
                <a:cubicBezTo>
                  <a:pt x="1506" y="109"/>
                  <a:pt x="1506" y="109"/>
                  <a:pt x="1506" y="109"/>
                </a:cubicBezTo>
                <a:cubicBezTo>
                  <a:pt x="1505" y="109"/>
                  <a:pt x="1504" y="109"/>
                  <a:pt x="1504" y="109"/>
                </a:cubicBezTo>
                <a:cubicBezTo>
                  <a:pt x="1503" y="109"/>
                  <a:pt x="1504" y="108"/>
                  <a:pt x="1503" y="108"/>
                </a:cubicBezTo>
                <a:cubicBezTo>
                  <a:pt x="1502" y="108"/>
                  <a:pt x="1500" y="108"/>
                  <a:pt x="1500" y="108"/>
                </a:cubicBezTo>
                <a:cubicBezTo>
                  <a:pt x="1499" y="108"/>
                  <a:pt x="1498" y="108"/>
                  <a:pt x="1497" y="108"/>
                </a:cubicBezTo>
                <a:cubicBezTo>
                  <a:pt x="1497" y="108"/>
                  <a:pt x="1494" y="107"/>
                  <a:pt x="1494" y="107"/>
                </a:cubicBezTo>
                <a:cubicBezTo>
                  <a:pt x="1493" y="107"/>
                  <a:pt x="1493" y="107"/>
                  <a:pt x="1492" y="107"/>
                </a:cubicBezTo>
                <a:cubicBezTo>
                  <a:pt x="1492" y="107"/>
                  <a:pt x="1492" y="107"/>
                  <a:pt x="1491" y="107"/>
                </a:cubicBezTo>
                <a:cubicBezTo>
                  <a:pt x="1491" y="107"/>
                  <a:pt x="1491" y="107"/>
                  <a:pt x="1491" y="107"/>
                </a:cubicBezTo>
                <a:cubicBezTo>
                  <a:pt x="1491" y="107"/>
                  <a:pt x="1490" y="107"/>
                  <a:pt x="1490" y="106"/>
                </a:cubicBezTo>
                <a:cubicBezTo>
                  <a:pt x="1490" y="106"/>
                  <a:pt x="1490" y="106"/>
                  <a:pt x="1489" y="106"/>
                </a:cubicBezTo>
                <a:cubicBezTo>
                  <a:pt x="1489" y="106"/>
                  <a:pt x="1489" y="106"/>
                  <a:pt x="1488" y="106"/>
                </a:cubicBezTo>
                <a:cubicBezTo>
                  <a:pt x="1488" y="106"/>
                  <a:pt x="1488" y="106"/>
                  <a:pt x="1488" y="106"/>
                </a:cubicBezTo>
                <a:cubicBezTo>
                  <a:pt x="1487" y="106"/>
                  <a:pt x="1487" y="105"/>
                  <a:pt x="1486" y="105"/>
                </a:cubicBezTo>
                <a:cubicBezTo>
                  <a:pt x="1486" y="104"/>
                  <a:pt x="1486" y="105"/>
                  <a:pt x="1486" y="105"/>
                </a:cubicBezTo>
                <a:cubicBezTo>
                  <a:pt x="1485" y="105"/>
                  <a:pt x="1484" y="105"/>
                  <a:pt x="1483" y="105"/>
                </a:cubicBezTo>
                <a:cubicBezTo>
                  <a:pt x="1483" y="106"/>
                  <a:pt x="1484" y="105"/>
                  <a:pt x="1485" y="106"/>
                </a:cubicBezTo>
                <a:cubicBezTo>
                  <a:pt x="1487" y="108"/>
                  <a:pt x="1481" y="108"/>
                  <a:pt x="1480" y="108"/>
                </a:cubicBezTo>
                <a:cubicBezTo>
                  <a:pt x="1480" y="108"/>
                  <a:pt x="1480" y="108"/>
                  <a:pt x="1480" y="109"/>
                </a:cubicBezTo>
                <a:cubicBezTo>
                  <a:pt x="1480" y="109"/>
                  <a:pt x="1480" y="109"/>
                  <a:pt x="1480" y="110"/>
                </a:cubicBezTo>
                <a:cubicBezTo>
                  <a:pt x="1480" y="110"/>
                  <a:pt x="1481" y="110"/>
                  <a:pt x="1481" y="110"/>
                </a:cubicBezTo>
                <a:cubicBezTo>
                  <a:pt x="1481" y="111"/>
                  <a:pt x="1483" y="110"/>
                  <a:pt x="1484" y="110"/>
                </a:cubicBezTo>
                <a:cubicBezTo>
                  <a:pt x="1485" y="111"/>
                  <a:pt x="1485" y="111"/>
                  <a:pt x="1485" y="112"/>
                </a:cubicBezTo>
                <a:cubicBezTo>
                  <a:pt x="1484" y="111"/>
                  <a:pt x="1483" y="112"/>
                  <a:pt x="1483" y="111"/>
                </a:cubicBezTo>
                <a:cubicBezTo>
                  <a:pt x="1481" y="111"/>
                  <a:pt x="1479" y="111"/>
                  <a:pt x="1479" y="113"/>
                </a:cubicBezTo>
                <a:cubicBezTo>
                  <a:pt x="1479" y="114"/>
                  <a:pt x="1479" y="115"/>
                  <a:pt x="1480" y="116"/>
                </a:cubicBezTo>
                <a:cubicBezTo>
                  <a:pt x="1480" y="116"/>
                  <a:pt x="1481" y="116"/>
                  <a:pt x="1480" y="117"/>
                </a:cubicBezTo>
                <a:cubicBezTo>
                  <a:pt x="1480" y="119"/>
                  <a:pt x="1480" y="119"/>
                  <a:pt x="1478" y="119"/>
                </a:cubicBezTo>
                <a:cubicBezTo>
                  <a:pt x="1478" y="119"/>
                  <a:pt x="1478" y="118"/>
                  <a:pt x="1477" y="118"/>
                </a:cubicBezTo>
                <a:cubicBezTo>
                  <a:pt x="1476" y="118"/>
                  <a:pt x="1477" y="119"/>
                  <a:pt x="1476" y="119"/>
                </a:cubicBezTo>
                <a:cubicBezTo>
                  <a:pt x="1476" y="118"/>
                  <a:pt x="1476" y="118"/>
                  <a:pt x="1476" y="118"/>
                </a:cubicBezTo>
                <a:cubicBezTo>
                  <a:pt x="1476" y="117"/>
                  <a:pt x="1475" y="117"/>
                  <a:pt x="1475" y="116"/>
                </a:cubicBezTo>
                <a:cubicBezTo>
                  <a:pt x="1475" y="116"/>
                  <a:pt x="1474" y="116"/>
                  <a:pt x="1474" y="117"/>
                </a:cubicBezTo>
                <a:cubicBezTo>
                  <a:pt x="1474" y="117"/>
                  <a:pt x="1474" y="116"/>
                  <a:pt x="1473" y="116"/>
                </a:cubicBezTo>
                <a:cubicBezTo>
                  <a:pt x="1473" y="117"/>
                  <a:pt x="1472" y="117"/>
                  <a:pt x="1473" y="118"/>
                </a:cubicBezTo>
                <a:cubicBezTo>
                  <a:pt x="1473" y="119"/>
                  <a:pt x="1473" y="119"/>
                  <a:pt x="1474" y="119"/>
                </a:cubicBezTo>
                <a:cubicBezTo>
                  <a:pt x="1473" y="120"/>
                  <a:pt x="1473" y="120"/>
                  <a:pt x="1472" y="120"/>
                </a:cubicBezTo>
                <a:cubicBezTo>
                  <a:pt x="1472" y="120"/>
                  <a:pt x="1472" y="121"/>
                  <a:pt x="1472" y="121"/>
                </a:cubicBezTo>
                <a:cubicBezTo>
                  <a:pt x="1471" y="121"/>
                  <a:pt x="1471" y="120"/>
                  <a:pt x="1471" y="120"/>
                </a:cubicBezTo>
                <a:cubicBezTo>
                  <a:pt x="1470" y="120"/>
                  <a:pt x="1470" y="120"/>
                  <a:pt x="1469" y="121"/>
                </a:cubicBezTo>
                <a:cubicBezTo>
                  <a:pt x="1469" y="121"/>
                  <a:pt x="1469" y="120"/>
                  <a:pt x="1468" y="120"/>
                </a:cubicBezTo>
                <a:cubicBezTo>
                  <a:pt x="1468" y="120"/>
                  <a:pt x="1467" y="120"/>
                  <a:pt x="1467" y="120"/>
                </a:cubicBezTo>
                <a:cubicBezTo>
                  <a:pt x="1466" y="120"/>
                  <a:pt x="1467" y="119"/>
                  <a:pt x="1466" y="119"/>
                </a:cubicBezTo>
                <a:cubicBezTo>
                  <a:pt x="1465" y="119"/>
                  <a:pt x="1465" y="118"/>
                  <a:pt x="1464" y="118"/>
                </a:cubicBezTo>
                <a:cubicBezTo>
                  <a:pt x="1464" y="118"/>
                  <a:pt x="1464" y="117"/>
                  <a:pt x="1463" y="117"/>
                </a:cubicBezTo>
                <a:cubicBezTo>
                  <a:pt x="1463" y="117"/>
                  <a:pt x="1463" y="117"/>
                  <a:pt x="1462" y="117"/>
                </a:cubicBezTo>
                <a:cubicBezTo>
                  <a:pt x="1462" y="116"/>
                  <a:pt x="1461" y="115"/>
                  <a:pt x="1461" y="115"/>
                </a:cubicBezTo>
                <a:cubicBezTo>
                  <a:pt x="1460" y="115"/>
                  <a:pt x="1460" y="116"/>
                  <a:pt x="1459" y="115"/>
                </a:cubicBezTo>
                <a:cubicBezTo>
                  <a:pt x="1458" y="114"/>
                  <a:pt x="1458" y="115"/>
                  <a:pt x="1457" y="115"/>
                </a:cubicBezTo>
                <a:cubicBezTo>
                  <a:pt x="1457" y="115"/>
                  <a:pt x="1456" y="115"/>
                  <a:pt x="1456" y="115"/>
                </a:cubicBezTo>
                <a:cubicBezTo>
                  <a:pt x="1456" y="116"/>
                  <a:pt x="1455" y="116"/>
                  <a:pt x="1454" y="116"/>
                </a:cubicBezTo>
                <a:cubicBezTo>
                  <a:pt x="1454" y="117"/>
                  <a:pt x="1453" y="118"/>
                  <a:pt x="1452" y="118"/>
                </a:cubicBezTo>
                <a:cubicBezTo>
                  <a:pt x="1452" y="118"/>
                  <a:pt x="1451" y="118"/>
                  <a:pt x="1451" y="118"/>
                </a:cubicBezTo>
                <a:cubicBezTo>
                  <a:pt x="1450" y="119"/>
                  <a:pt x="1450" y="119"/>
                  <a:pt x="1449" y="119"/>
                </a:cubicBezTo>
                <a:cubicBezTo>
                  <a:pt x="1449" y="118"/>
                  <a:pt x="1449" y="117"/>
                  <a:pt x="1449" y="116"/>
                </a:cubicBezTo>
                <a:cubicBezTo>
                  <a:pt x="1449" y="115"/>
                  <a:pt x="1448" y="115"/>
                  <a:pt x="1448" y="114"/>
                </a:cubicBezTo>
                <a:cubicBezTo>
                  <a:pt x="1448" y="114"/>
                  <a:pt x="1448" y="113"/>
                  <a:pt x="1448" y="113"/>
                </a:cubicBezTo>
                <a:cubicBezTo>
                  <a:pt x="1448" y="113"/>
                  <a:pt x="1447" y="113"/>
                  <a:pt x="1447" y="113"/>
                </a:cubicBezTo>
                <a:cubicBezTo>
                  <a:pt x="1446" y="112"/>
                  <a:pt x="1446" y="115"/>
                  <a:pt x="1445" y="115"/>
                </a:cubicBezTo>
                <a:cubicBezTo>
                  <a:pt x="1445" y="115"/>
                  <a:pt x="1445" y="117"/>
                  <a:pt x="1445" y="117"/>
                </a:cubicBezTo>
                <a:cubicBezTo>
                  <a:pt x="1446" y="118"/>
                  <a:pt x="1445" y="118"/>
                  <a:pt x="1444" y="119"/>
                </a:cubicBezTo>
                <a:cubicBezTo>
                  <a:pt x="1444" y="119"/>
                  <a:pt x="1444" y="120"/>
                  <a:pt x="1444" y="121"/>
                </a:cubicBezTo>
                <a:cubicBezTo>
                  <a:pt x="1444" y="122"/>
                  <a:pt x="1444" y="123"/>
                  <a:pt x="1443" y="124"/>
                </a:cubicBezTo>
                <a:cubicBezTo>
                  <a:pt x="1442" y="125"/>
                  <a:pt x="1440" y="128"/>
                  <a:pt x="1439" y="127"/>
                </a:cubicBezTo>
                <a:cubicBezTo>
                  <a:pt x="1439" y="126"/>
                  <a:pt x="1439" y="126"/>
                  <a:pt x="1439" y="125"/>
                </a:cubicBezTo>
                <a:cubicBezTo>
                  <a:pt x="1440" y="124"/>
                  <a:pt x="1440" y="124"/>
                  <a:pt x="1440" y="123"/>
                </a:cubicBezTo>
                <a:cubicBezTo>
                  <a:pt x="1439" y="123"/>
                  <a:pt x="1439" y="123"/>
                  <a:pt x="1439" y="124"/>
                </a:cubicBezTo>
                <a:cubicBezTo>
                  <a:pt x="1438" y="123"/>
                  <a:pt x="1438" y="123"/>
                  <a:pt x="1437" y="123"/>
                </a:cubicBezTo>
                <a:cubicBezTo>
                  <a:pt x="1436" y="123"/>
                  <a:pt x="1436" y="122"/>
                  <a:pt x="1436" y="122"/>
                </a:cubicBezTo>
                <a:cubicBezTo>
                  <a:pt x="1435" y="121"/>
                  <a:pt x="1433" y="122"/>
                  <a:pt x="1432" y="122"/>
                </a:cubicBezTo>
                <a:cubicBezTo>
                  <a:pt x="1432" y="121"/>
                  <a:pt x="1432" y="121"/>
                  <a:pt x="1431" y="121"/>
                </a:cubicBezTo>
                <a:cubicBezTo>
                  <a:pt x="1431" y="121"/>
                  <a:pt x="1430" y="119"/>
                  <a:pt x="1430" y="119"/>
                </a:cubicBezTo>
                <a:cubicBezTo>
                  <a:pt x="1429" y="119"/>
                  <a:pt x="1428" y="120"/>
                  <a:pt x="1427" y="119"/>
                </a:cubicBezTo>
                <a:cubicBezTo>
                  <a:pt x="1427" y="118"/>
                  <a:pt x="1429" y="117"/>
                  <a:pt x="1430" y="117"/>
                </a:cubicBezTo>
                <a:cubicBezTo>
                  <a:pt x="1430" y="116"/>
                  <a:pt x="1429" y="115"/>
                  <a:pt x="1428" y="115"/>
                </a:cubicBezTo>
                <a:cubicBezTo>
                  <a:pt x="1428" y="116"/>
                  <a:pt x="1429" y="116"/>
                  <a:pt x="1428" y="117"/>
                </a:cubicBezTo>
                <a:cubicBezTo>
                  <a:pt x="1428" y="117"/>
                  <a:pt x="1427" y="117"/>
                  <a:pt x="1426" y="117"/>
                </a:cubicBezTo>
                <a:cubicBezTo>
                  <a:pt x="1426" y="116"/>
                  <a:pt x="1426" y="115"/>
                  <a:pt x="1425" y="114"/>
                </a:cubicBezTo>
                <a:cubicBezTo>
                  <a:pt x="1425" y="114"/>
                  <a:pt x="1424" y="114"/>
                  <a:pt x="1424" y="114"/>
                </a:cubicBezTo>
                <a:cubicBezTo>
                  <a:pt x="1424" y="113"/>
                  <a:pt x="1424" y="114"/>
                  <a:pt x="1423" y="114"/>
                </a:cubicBezTo>
                <a:cubicBezTo>
                  <a:pt x="1423" y="113"/>
                  <a:pt x="1421" y="111"/>
                  <a:pt x="1420" y="111"/>
                </a:cubicBezTo>
                <a:cubicBezTo>
                  <a:pt x="1419" y="112"/>
                  <a:pt x="1419" y="112"/>
                  <a:pt x="1419" y="113"/>
                </a:cubicBezTo>
                <a:cubicBezTo>
                  <a:pt x="1419" y="114"/>
                  <a:pt x="1419" y="115"/>
                  <a:pt x="1420" y="115"/>
                </a:cubicBezTo>
                <a:cubicBezTo>
                  <a:pt x="1420" y="116"/>
                  <a:pt x="1420" y="116"/>
                  <a:pt x="1419" y="116"/>
                </a:cubicBezTo>
                <a:cubicBezTo>
                  <a:pt x="1419" y="116"/>
                  <a:pt x="1419" y="115"/>
                  <a:pt x="1418" y="114"/>
                </a:cubicBezTo>
                <a:cubicBezTo>
                  <a:pt x="1418" y="114"/>
                  <a:pt x="1418" y="114"/>
                  <a:pt x="1418" y="113"/>
                </a:cubicBezTo>
                <a:cubicBezTo>
                  <a:pt x="1418" y="113"/>
                  <a:pt x="1418" y="113"/>
                  <a:pt x="1418" y="113"/>
                </a:cubicBezTo>
                <a:cubicBezTo>
                  <a:pt x="1417" y="113"/>
                  <a:pt x="1417" y="112"/>
                  <a:pt x="1416" y="112"/>
                </a:cubicBezTo>
                <a:cubicBezTo>
                  <a:pt x="1416" y="112"/>
                  <a:pt x="1415" y="112"/>
                  <a:pt x="1415" y="112"/>
                </a:cubicBezTo>
                <a:cubicBezTo>
                  <a:pt x="1415" y="111"/>
                  <a:pt x="1414" y="112"/>
                  <a:pt x="1414" y="112"/>
                </a:cubicBezTo>
                <a:cubicBezTo>
                  <a:pt x="1414" y="112"/>
                  <a:pt x="1414" y="111"/>
                  <a:pt x="1414" y="111"/>
                </a:cubicBezTo>
                <a:cubicBezTo>
                  <a:pt x="1413" y="111"/>
                  <a:pt x="1413" y="111"/>
                  <a:pt x="1413" y="111"/>
                </a:cubicBezTo>
                <a:cubicBezTo>
                  <a:pt x="1412" y="111"/>
                  <a:pt x="1413" y="111"/>
                  <a:pt x="1412" y="111"/>
                </a:cubicBezTo>
                <a:cubicBezTo>
                  <a:pt x="1412" y="111"/>
                  <a:pt x="1411" y="111"/>
                  <a:pt x="1410" y="110"/>
                </a:cubicBezTo>
                <a:cubicBezTo>
                  <a:pt x="1410" y="110"/>
                  <a:pt x="1409" y="109"/>
                  <a:pt x="1409" y="109"/>
                </a:cubicBezTo>
                <a:cubicBezTo>
                  <a:pt x="1408" y="109"/>
                  <a:pt x="1407" y="109"/>
                  <a:pt x="1408" y="109"/>
                </a:cubicBezTo>
                <a:cubicBezTo>
                  <a:pt x="1409" y="109"/>
                  <a:pt x="1409" y="107"/>
                  <a:pt x="1410" y="107"/>
                </a:cubicBezTo>
                <a:cubicBezTo>
                  <a:pt x="1409" y="107"/>
                  <a:pt x="1407" y="106"/>
                  <a:pt x="1407" y="107"/>
                </a:cubicBezTo>
                <a:cubicBezTo>
                  <a:pt x="1407" y="107"/>
                  <a:pt x="1405" y="107"/>
                  <a:pt x="1405" y="106"/>
                </a:cubicBezTo>
                <a:cubicBezTo>
                  <a:pt x="1404" y="106"/>
                  <a:pt x="1403" y="106"/>
                  <a:pt x="1403" y="107"/>
                </a:cubicBezTo>
                <a:cubicBezTo>
                  <a:pt x="1403" y="107"/>
                  <a:pt x="1403" y="108"/>
                  <a:pt x="1403" y="108"/>
                </a:cubicBezTo>
                <a:cubicBezTo>
                  <a:pt x="1402" y="108"/>
                  <a:pt x="1401" y="108"/>
                  <a:pt x="1400" y="108"/>
                </a:cubicBezTo>
                <a:cubicBezTo>
                  <a:pt x="1399" y="108"/>
                  <a:pt x="1400" y="108"/>
                  <a:pt x="1399" y="108"/>
                </a:cubicBezTo>
                <a:cubicBezTo>
                  <a:pt x="1399" y="108"/>
                  <a:pt x="1398" y="108"/>
                  <a:pt x="1398" y="108"/>
                </a:cubicBezTo>
                <a:cubicBezTo>
                  <a:pt x="1397" y="107"/>
                  <a:pt x="1397" y="107"/>
                  <a:pt x="1396" y="106"/>
                </a:cubicBezTo>
                <a:cubicBezTo>
                  <a:pt x="1396" y="106"/>
                  <a:pt x="1396" y="107"/>
                  <a:pt x="1396" y="106"/>
                </a:cubicBezTo>
                <a:cubicBezTo>
                  <a:pt x="1395" y="106"/>
                  <a:pt x="1395" y="106"/>
                  <a:pt x="1394" y="106"/>
                </a:cubicBezTo>
                <a:cubicBezTo>
                  <a:pt x="1394" y="106"/>
                  <a:pt x="1394" y="106"/>
                  <a:pt x="1394" y="106"/>
                </a:cubicBezTo>
                <a:cubicBezTo>
                  <a:pt x="1393" y="106"/>
                  <a:pt x="1393" y="106"/>
                  <a:pt x="1393" y="106"/>
                </a:cubicBezTo>
                <a:cubicBezTo>
                  <a:pt x="1393" y="106"/>
                  <a:pt x="1393" y="105"/>
                  <a:pt x="1392" y="105"/>
                </a:cubicBezTo>
                <a:cubicBezTo>
                  <a:pt x="1392" y="105"/>
                  <a:pt x="1392" y="105"/>
                  <a:pt x="1392" y="105"/>
                </a:cubicBezTo>
                <a:cubicBezTo>
                  <a:pt x="1391" y="105"/>
                  <a:pt x="1391" y="105"/>
                  <a:pt x="1391" y="106"/>
                </a:cubicBezTo>
                <a:cubicBezTo>
                  <a:pt x="1389" y="105"/>
                  <a:pt x="1388" y="105"/>
                  <a:pt x="1386" y="105"/>
                </a:cubicBezTo>
                <a:cubicBezTo>
                  <a:pt x="1386" y="105"/>
                  <a:pt x="1386" y="106"/>
                  <a:pt x="1386" y="106"/>
                </a:cubicBezTo>
                <a:cubicBezTo>
                  <a:pt x="1385" y="106"/>
                  <a:pt x="1384" y="105"/>
                  <a:pt x="1383" y="104"/>
                </a:cubicBezTo>
                <a:cubicBezTo>
                  <a:pt x="1383" y="104"/>
                  <a:pt x="1382" y="104"/>
                  <a:pt x="1382" y="104"/>
                </a:cubicBezTo>
                <a:cubicBezTo>
                  <a:pt x="1381" y="104"/>
                  <a:pt x="1382" y="104"/>
                  <a:pt x="1381" y="103"/>
                </a:cubicBezTo>
                <a:cubicBezTo>
                  <a:pt x="1380" y="103"/>
                  <a:pt x="1379" y="103"/>
                  <a:pt x="1379" y="103"/>
                </a:cubicBezTo>
                <a:cubicBezTo>
                  <a:pt x="1379" y="103"/>
                  <a:pt x="1379" y="103"/>
                  <a:pt x="1378" y="103"/>
                </a:cubicBezTo>
                <a:cubicBezTo>
                  <a:pt x="1378" y="101"/>
                  <a:pt x="1378" y="103"/>
                  <a:pt x="1377" y="102"/>
                </a:cubicBezTo>
                <a:cubicBezTo>
                  <a:pt x="1377" y="102"/>
                  <a:pt x="1377" y="102"/>
                  <a:pt x="1377" y="102"/>
                </a:cubicBezTo>
                <a:cubicBezTo>
                  <a:pt x="1376" y="101"/>
                  <a:pt x="1378" y="101"/>
                  <a:pt x="1378" y="101"/>
                </a:cubicBezTo>
                <a:cubicBezTo>
                  <a:pt x="1378" y="100"/>
                  <a:pt x="1378" y="99"/>
                  <a:pt x="1378" y="99"/>
                </a:cubicBezTo>
                <a:cubicBezTo>
                  <a:pt x="1378" y="97"/>
                  <a:pt x="1378" y="97"/>
                  <a:pt x="1376" y="97"/>
                </a:cubicBezTo>
                <a:cubicBezTo>
                  <a:pt x="1376" y="97"/>
                  <a:pt x="1376" y="97"/>
                  <a:pt x="1376" y="97"/>
                </a:cubicBezTo>
                <a:cubicBezTo>
                  <a:pt x="1375" y="98"/>
                  <a:pt x="1376" y="97"/>
                  <a:pt x="1375" y="97"/>
                </a:cubicBezTo>
                <a:cubicBezTo>
                  <a:pt x="1374" y="97"/>
                  <a:pt x="1373" y="97"/>
                  <a:pt x="1373" y="97"/>
                </a:cubicBezTo>
                <a:cubicBezTo>
                  <a:pt x="1372" y="97"/>
                  <a:pt x="1371" y="98"/>
                  <a:pt x="1370" y="97"/>
                </a:cubicBezTo>
                <a:cubicBezTo>
                  <a:pt x="1369" y="97"/>
                  <a:pt x="1369" y="96"/>
                  <a:pt x="1368" y="96"/>
                </a:cubicBezTo>
                <a:cubicBezTo>
                  <a:pt x="1368" y="97"/>
                  <a:pt x="1366" y="97"/>
                  <a:pt x="1366" y="96"/>
                </a:cubicBezTo>
                <a:cubicBezTo>
                  <a:pt x="1366" y="96"/>
                  <a:pt x="1364" y="96"/>
                  <a:pt x="1363" y="95"/>
                </a:cubicBezTo>
                <a:cubicBezTo>
                  <a:pt x="1361" y="95"/>
                  <a:pt x="1361" y="97"/>
                  <a:pt x="1359" y="97"/>
                </a:cubicBezTo>
                <a:cubicBezTo>
                  <a:pt x="1359" y="98"/>
                  <a:pt x="1358" y="98"/>
                  <a:pt x="1358" y="99"/>
                </a:cubicBezTo>
                <a:cubicBezTo>
                  <a:pt x="1357" y="99"/>
                  <a:pt x="1357" y="98"/>
                  <a:pt x="1357" y="99"/>
                </a:cubicBezTo>
                <a:cubicBezTo>
                  <a:pt x="1357" y="99"/>
                  <a:pt x="1355" y="100"/>
                  <a:pt x="1355" y="100"/>
                </a:cubicBezTo>
                <a:cubicBezTo>
                  <a:pt x="1355" y="101"/>
                  <a:pt x="1354" y="101"/>
                  <a:pt x="1354" y="102"/>
                </a:cubicBezTo>
                <a:cubicBezTo>
                  <a:pt x="1354" y="103"/>
                  <a:pt x="1354" y="103"/>
                  <a:pt x="1355" y="103"/>
                </a:cubicBezTo>
                <a:cubicBezTo>
                  <a:pt x="1356" y="103"/>
                  <a:pt x="1356" y="104"/>
                  <a:pt x="1356" y="105"/>
                </a:cubicBezTo>
                <a:cubicBezTo>
                  <a:pt x="1356" y="105"/>
                  <a:pt x="1356" y="105"/>
                  <a:pt x="1356" y="105"/>
                </a:cubicBezTo>
                <a:cubicBezTo>
                  <a:pt x="1356" y="106"/>
                  <a:pt x="1356" y="105"/>
                  <a:pt x="1355" y="106"/>
                </a:cubicBezTo>
                <a:cubicBezTo>
                  <a:pt x="1355" y="107"/>
                  <a:pt x="1353" y="108"/>
                  <a:pt x="1353" y="109"/>
                </a:cubicBezTo>
                <a:cubicBezTo>
                  <a:pt x="1353" y="109"/>
                  <a:pt x="1354" y="109"/>
                  <a:pt x="1353" y="110"/>
                </a:cubicBezTo>
                <a:cubicBezTo>
                  <a:pt x="1353" y="111"/>
                  <a:pt x="1352" y="108"/>
                  <a:pt x="1352" y="108"/>
                </a:cubicBezTo>
                <a:cubicBezTo>
                  <a:pt x="1353" y="108"/>
                  <a:pt x="1353" y="107"/>
                  <a:pt x="1353" y="107"/>
                </a:cubicBezTo>
                <a:cubicBezTo>
                  <a:pt x="1354" y="107"/>
                  <a:pt x="1354" y="106"/>
                  <a:pt x="1354" y="106"/>
                </a:cubicBezTo>
                <a:cubicBezTo>
                  <a:pt x="1354" y="106"/>
                  <a:pt x="1353" y="106"/>
                  <a:pt x="1353" y="105"/>
                </a:cubicBezTo>
                <a:cubicBezTo>
                  <a:pt x="1353" y="105"/>
                  <a:pt x="1352" y="105"/>
                  <a:pt x="1353" y="105"/>
                </a:cubicBezTo>
                <a:cubicBezTo>
                  <a:pt x="1353" y="105"/>
                  <a:pt x="1353" y="105"/>
                  <a:pt x="1353" y="105"/>
                </a:cubicBezTo>
                <a:cubicBezTo>
                  <a:pt x="1353" y="104"/>
                  <a:pt x="1354" y="105"/>
                  <a:pt x="1354" y="105"/>
                </a:cubicBezTo>
                <a:cubicBezTo>
                  <a:pt x="1355" y="105"/>
                  <a:pt x="1355" y="103"/>
                  <a:pt x="1354" y="103"/>
                </a:cubicBezTo>
                <a:cubicBezTo>
                  <a:pt x="1353" y="102"/>
                  <a:pt x="1353" y="101"/>
                  <a:pt x="1354" y="100"/>
                </a:cubicBezTo>
                <a:cubicBezTo>
                  <a:pt x="1354" y="99"/>
                  <a:pt x="1354" y="98"/>
                  <a:pt x="1353" y="98"/>
                </a:cubicBezTo>
                <a:cubicBezTo>
                  <a:pt x="1353" y="98"/>
                  <a:pt x="1352" y="96"/>
                  <a:pt x="1352" y="97"/>
                </a:cubicBezTo>
                <a:cubicBezTo>
                  <a:pt x="1352" y="97"/>
                  <a:pt x="1352" y="98"/>
                  <a:pt x="1352" y="99"/>
                </a:cubicBezTo>
                <a:cubicBezTo>
                  <a:pt x="1352" y="100"/>
                  <a:pt x="1350" y="99"/>
                  <a:pt x="1349" y="99"/>
                </a:cubicBezTo>
                <a:cubicBezTo>
                  <a:pt x="1348" y="99"/>
                  <a:pt x="1348" y="99"/>
                  <a:pt x="1347" y="99"/>
                </a:cubicBezTo>
                <a:cubicBezTo>
                  <a:pt x="1346" y="99"/>
                  <a:pt x="1347" y="100"/>
                  <a:pt x="1346" y="100"/>
                </a:cubicBezTo>
                <a:cubicBezTo>
                  <a:pt x="1346" y="100"/>
                  <a:pt x="1346" y="99"/>
                  <a:pt x="1346" y="99"/>
                </a:cubicBezTo>
                <a:cubicBezTo>
                  <a:pt x="1345" y="99"/>
                  <a:pt x="1346" y="100"/>
                  <a:pt x="1345" y="99"/>
                </a:cubicBezTo>
                <a:cubicBezTo>
                  <a:pt x="1345" y="98"/>
                  <a:pt x="1344" y="97"/>
                  <a:pt x="1344" y="96"/>
                </a:cubicBezTo>
                <a:cubicBezTo>
                  <a:pt x="1343" y="96"/>
                  <a:pt x="1343" y="96"/>
                  <a:pt x="1343" y="96"/>
                </a:cubicBezTo>
                <a:cubicBezTo>
                  <a:pt x="1343" y="97"/>
                  <a:pt x="1343" y="97"/>
                  <a:pt x="1343" y="97"/>
                </a:cubicBezTo>
                <a:cubicBezTo>
                  <a:pt x="1342" y="97"/>
                  <a:pt x="1342" y="97"/>
                  <a:pt x="1342" y="96"/>
                </a:cubicBezTo>
                <a:cubicBezTo>
                  <a:pt x="1341" y="96"/>
                  <a:pt x="1341" y="96"/>
                  <a:pt x="1341" y="96"/>
                </a:cubicBezTo>
                <a:cubicBezTo>
                  <a:pt x="1340" y="95"/>
                  <a:pt x="1339" y="98"/>
                  <a:pt x="1338" y="99"/>
                </a:cubicBezTo>
                <a:cubicBezTo>
                  <a:pt x="1338" y="99"/>
                  <a:pt x="1338" y="98"/>
                  <a:pt x="1337" y="99"/>
                </a:cubicBezTo>
                <a:cubicBezTo>
                  <a:pt x="1337" y="100"/>
                  <a:pt x="1337" y="100"/>
                  <a:pt x="1337" y="100"/>
                </a:cubicBezTo>
                <a:cubicBezTo>
                  <a:pt x="1338" y="102"/>
                  <a:pt x="1339" y="102"/>
                  <a:pt x="1340" y="101"/>
                </a:cubicBezTo>
                <a:cubicBezTo>
                  <a:pt x="1340" y="102"/>
                  <a:pt x="1339" y="103"/>
                  <a:pt x="1338" y="103"/>
                </a:cubicBezTo>
                <a:cubicBezTo>
                  <a:pt x="1337" y="103"/>
                  <a:pt x="1336" y="102"/>
                  <a:pt x="1336" y="102"/>
                </a:cubicBezTo>
                <a:cubicBezTo>
                  <a:pt x="1336" y="102"/>
                  <a:pt x="1336" y="103"/>
                  <a:pt x="1336" y="103"/>
                </a:cubicBezTo>
                <a:cubicBezTo>
                  <a:pt x="1336" y="103"/>
                  <a:pt x="1336" y="103"/>
                  <a:pt x="1335" y="103"/>
                </a:cubicBezTo>
                <a:cubicBezTo>
                  <a:pt x="1335" y="104"/>
                  <a:pt x="1335" y="104"/>
                  <a:pt x="1334" y="104"/>
                </a:cubicBezTo>
                <a:cubicBezTo>
                  <a:pt x="1333" y="105"/>
                  <a:pt x="1331" y="105"/>
                  <a:pt x="1331" y="106"/>
                </a:cubicBezTo>
                <a:cubicBezTo>
                  <a:pt x="1330" y="106"/>
                  <a:pt x="1329" y="105"/>
                  <a:pt x="1328" y="105"/>
                </a:cubicBezTo>
                <a:cubicBezTo>
                  <a:pt x="1327" y="106"/>
                  <a:pt x="1327" y="106"/>
                  <a:pt x="1326" y="106"/>
                </a:cubicBezTo>
                <a:cubicBezTo>
                  <a:pt x="1326" y="106"/>
                  <a:pt x="1325" y="106"/>
                  <a:pt x="1325" y="106"/>
                </a:cubicBezTo>
                <a:cubicBezTo>
                  <a:pt x="1324" y="106"/>
                  <a:pt x="1325" y="106"/>
                  <a:pt x="1325" y="106"/>
                </a:cubicBezTo>
                <a:cubicBezTo>
                  <a:pt x="1324" y="106"/>
                  <a:pt x="1324" y="106"/>
                  <a:pt x="1324" y="106"/>
                </a:cubicBezTo>
                <a:cubicBezTo>
                  <a:pt x="1324" y="107"/>
                  <a:pt x="1324" y="107"/>
                  <a:pt x="1323" y="107"/>
                </a:cubicBezTo>
                <a:cubicBezTo>
                  <a:pt x="1322" y="108"/>
                  <a:pt x="1322" y="108"/>
                  <a:pt x="1321" y="108"/>
                </a:cubicBezTo>
                <a:cubicBezTo>
                  <a:pt x="1320" y="108"/>
                  <a:pt x="1321" y="108"/>
                  <a:pt x="1321" y="108"/>
                </a:cubicBezTo>
                <a:cubicBezTo>
                  <a:pt x="1320" y="109"/>
                  <a:pt x="1319" y="108"/>
                  <a:pt x="1318" y="108"/>
                </a:cubicBezTo>
                <a:cubicBezTo>
                  <a:pt x="1318" y="108"/>
                  <a:pt x="1314" y="109"/>
                  <a:pt x="1313" y="109"/>
                </a:cubicBezTo>
                <a:cubicBezTo>
                  <a:pt x="1313" y="108"/>
                  <a:pt x="1317" y="108"/>
                  <a:pt x="1317" y="108"/>
                </a:cubicBezTo>
                <a:cubicBezTo>
                  <a:pt x="1319" y="107"/>
                  <a:pt x="1320" y="107"/>
                  <a:pt x="1322" y="106"/>
                </a:cubicBezTo>
                <a:cubicBezTo>
                  <a:pt x="1323" y="106"/>
                  <a:pt x="1323" y="104"/>
                  <a:pt x="1324" y="104"/>
                </a:cubicBezTo>
                <a:cubicBezTo>
                  <a:pt x="1325" y="103"/>
                  <a:pt x="1326" y="103"/>
                  <a:pt x="1327" y="103"/>
                </a:cubicBezTo>
                <a:cubicBezTo>
                  <a:pt x="1328" y="103"/>
                  <a:pt x="1328" y="102"/>
                  <a:pt x="1329" y="102"/>
                </a:cubicBezTo>
                <a:cubicBezTo>
                  <a:pt x="1329" y="102"/>
                  <a:pt x="1329" y="102"/>
                  <a:pt x="1329" y="102"/>
                </a:cubicBezTo>
                <a:cubicBezTo>
                  <a:pt x="1329" y="102"/>
                  <a:pt x="1331" y="102"/>
                  <a:pt x="1331" y="101"/>
                </a:cubicBezTo>
                <a:cubicBezTo>
                  <a:pt x="1331" y="101"/>
                  <a:pt x="1333" y="100"/>
                  <a:pt x="1333" y="100"/>
                </a:cubicBezTo>
                <a:cubicBezTo>
                  <a:pt x="1333" y="99"/>
                  <a:pt x="1333" y="99"/>
                  <a:pt x="1333" y="99"/>
                </a:cubicBezTo>
                <a:cubicBezTo>
                  <a:pt x="1334" y="98"/>
                  <a:pt x="1335" y="98"/>
                  <a:pt x="1335" y="98"/>
                </a:cubicBezTo>
                <a:cubicBezTo>
                  <a:pt x="1335" y="97"/>
                  <a:pt x="1336" y="96"/>
                  <a:pt x="1335" y="96"/>
                </a:cubicBezTo>
                <a:cubicBezTo>
                  <a:pt x="1335" y="95"/>
                  <a:pt x="1335" y="95"/>
                  <a:pt x="1335" y="95"/>
                </a:cubicBezTo>
                <a:cubicBezTo>
                  <a:pt x="1335" y="95"/>
                  <a:pt x="1336" y="95"/>
                  <a:pt x="1336" y="95"/>
                </a:cubicBezTo>
                <a:cubicBezTo>
                  <a:pt x="1336" y="95"/>
                  <a:pt x="1336" y="94"/>
                  <a:pt x="1337" y="93"/>
                </a:cubicBezTo>
                <a:cubicBezTo>
                  <a:pt x="1337" y="92"/>
                  <a:pt x="1338" y="92"/>
                  <a:pt x="1339" y="92"/>
                </a:cubicBezTo>
                <a:cubicBezTo>
                  <a:pt x="1340" y="92"/>
                  <a:pt x="1341" y="92"/>
                  <a:pt x="1342" y="92"/>
                </a:cubicBezTo>
                <a:cubicBezTo>
                  <a:pt x="1342" y="91"/>
                  <a:pt x="1342" y="91"/>
                  <a:pt x="1343" y="91"/>
                </a:cubicBezTo>
                <a:cubicBezTo>
                  <a:pt x="1344" y="91"/>
                  <a:pt x="1343" y="91"/>
                  <a:pt x="1344" y="91"/>
                </a:cubicBezTo>
                <a:cubicBezTo>
                  <a:pt x="1344" y="91"/>
                  <a:pt x="1344" y="91"/>
                  <a:pt x="1344" y="91"/>
                </a:cubicBezTo>
                <a:cubicBezTo>
                  <a:pt x="1345" y="91"/>
                  <a:pt x="1345" y="90"/>
                  <a:pt x="1346" y="90"/>
                </a:cubicBezTo>
                <a:cubicBezTo>
                  <a:pt x="1347" y="90"/>
                  <a:pt x="1348" y="90"/>
                  <a:pt x="1350" y="90"/>
                </a:cubicBezTo>
                <a:cubicBezTo>
                  <a:pt x="1350" y="90"/>
                  <a:pt x="1349" y="90"/>
                  <a:pt x="1350" y="90"/>
                </a:cubicBezTo>
                <a:cubicBezTo>
                  <a:pt x="1351" y="90"/>
                  <a:pt x="1350" y="89"/>
                  <a:pt x="1351" y="89"/>
                </a:cubicBezTo>
                <a:cubicBezTo>
                  <a:pt x="1352" y="89"/>
                  <a:pt x="1351" y="89"/>
                  <a:pt x="1352" y="89"/>
                </a:cubicBezTo>
                <a:cubicBezTo>
                  <a:pt x="1354" y="89"/>
                  <a:pt x="1355" y="89"/>
                  <a:pt x="1356" y="88"/>
                </a:cubicBezTo>
                <a:cubicBezTo>
                  <a:pt x="1357" y="87"/>
                  <a:pt x="1358" y="88"/>
                  <a:pt x="1358" y="86"/>
                </a:cubicBezTo>
                <a:cubicBezTo>
                  <a:pt x="1357" y="85"/>
                  <a:pt x="1356" y="84"/>
                  <a:pt x="1356" y="83"/>
                </a:cubicBezTo>
                <a:cubicBezTo>
                  <a:pt x="1354" y="83"/>
                  <a:pt x="1354" y="82"/>
                  <a:pt x="1354" y="81"/>
                </a:cubicBezTo>
                <a:cubicBezTo>
                  <a:pt x="1355" y="81"/>
                  <a:pt x="1356" y="82"/>
                  <a:pt x="1357" y="82"/>
                </a:cubicBezTo>
                <a:cubicBezTo>
                  <a:pt x="1358" y="82"/>
                  <a:pt x="1358" y="80"/>
                  <a:pt x="1358" y="79"/>
                </a:cubicBezTo>
                <a:cubicBezTo>
                  <a:pt x="1357" y="79"/>
                  <a:pt x="1358" y="78"/>
                  <a:pt x="1357" y="78"/>
                </a:cubicBezTo>
                <a:cubicBezTo>
                  <a:pt x="1356" y="78"/>
                  <a:pt x="1356" y="77"/>
                  <a:pt x="1355" y="76"/>
                </a:cubicBezTo>
                <a:cubicBezTo>
                  <a:pt x="1355" y="75"/>
                  <a:pt x="1355" y="74"/>
                  <a:pt x="1354" y="74"/>
                </a:cubicBezTo>
                <a:cubicBezTo>
                  <a:pt x="1353" y="73"/>
                  <a:pt x="1352" y="73"/>
                  <a:pt x="1351" y="73"/>
                </a:cubicBezTo>
                <a:cubicBezTo>
                  <a:pt x="1351" y="73"/>
                  <a:pt x="1351" y="73"/>
                  <a:pt x="1350" y="73"/>
                </a:cubicBezTo>
                <a:cubicBezTo>
                  <a:pt x="1349" y="73"/>
                  <a:pt x="1349" y="72"/>
                  <a:pt x="1349" y="71"/>
                </a:cubicBezTo>
                <a:cubicBezTo>
                  <a:pt x="1349" y="70"/>
                  <a:pt x="1349" y="70"/>
                  <a:pt x="1349" y="69"/>
                </a:cubicBezTo>
                <a:cubicBezTo>
                  <a:pt x="1348" y="69"/>
                  <a:pt x="1348" y="68"/>
                  <a:pt x="1347" y="68"/>
                </a:cubicBezTo>
                <a:cubicBezTo>
                  <a:pt x="1346" y="68"/>
                  <a:pt x="1347" y="68"/>
                  <a:pt x="1346" y="68"/>
                </a:cubicBezTo>
                <a:cubicBezTo>
                  <a:pt x="1346" y="68"/>
                  <a:pt x="1346" y="69"/>
                  <a:pt x="1345" y="69"/>
                </a:cubicBezTo>
                <a:cubicBezTo>
                  <a:pt x="1345" y="69"/>
                  <a:pt x="1344" y="68"/>
                  <a:pt x="1343" y="69"/>
                </a:cubicBezTo>
                <a:cubicBezTo>
                  <a:pt x="1343" y="69"/>
                  <a:pt x="1344" y="69"/>
                  <a:pt x="1343" y="69"/>
                </a:cubicBezTo>
                <a:cubicBezTo>
                  <a:pt x="1342" y="69"/>
                  <a:pt x="1341" y="70"/>
                  <a:pt x="1341" y="69"/>
                </a:cubicBezTo>
                <a:cubicBezTo>
                  <a:pt x="1340" y="68"/>
                  <a:pt x="1340" y="68"/>
                  <a:pt x="1339" y="68"/>
                </a:cubicBezTo>
                <a:cubicBezTo>
                  <a:pt x="1338" y="69"/>
                  <a:pt x="1337" y="69"/>
                  <a:pt x="1336" y="69"/>
                </a:cubicBezTo>
                <a:cubicBezTo>
                  <a:pt x="1335" y="70"/>
                  <a:pt x="1333" y="70"/>
                  <a:pt x="1332" y="70"/>
                </a:cubicBezTo>
                <a:cubicBezTo>
                  <a:pt x="1331" y="71"/>
                  <a:pt x="1330" y="73"/>
                  <a:pt x="1329" y="73"/>
                </a:cubicBezTo>
                <a:cubicBezTo>
                  <a:pt x="1328" y="73"/>
                  <a:pt x="1327" y="73"/>
                  <a:pt x="1326" y="73"/>
                </a:cubicBezTo>
                <a:cubicBezTo>
                  <a:pt x="1326" y="73"/>
                  <a:pt x="1326" y="73"/>
                  <a:pt x="1326" y="72"/>
                </a:cubicBezTo>
                <a:cubicBezTo>
                  <a:pt x="1327" y="71"/>
                  <a:pt x="1327" y="72"/>
                  <a:pt x="1327" y="72"/>
                </a:cubicBezTo>
                <a:cubicBezTo>
                  <a:pt x="1327" y="71"/>
                  <a:pt x="1327" y="70"/>
                  <a:pt x="1328" y="70"/>
                </a:cubicBezTo>
                <a:cubicBezTo>
                  <a:pt x="1328" y="67"/>
                  <a:pt x="1323" y="69"/>
                  <a:pt x="1324" y="67"/>
                </a:cubicBezTo>
                <a:cubicBezTo>
                  <a:pt x="1323" y="67"/>
                  <a:pt x="1322" y="68"/>
                  <a:pt x="1321" y="68"/>
                </a:cubicBezTo>
                <a:cubicBezTo>
                  <a:pt x="1321" y="68"/>
                  <a:pt x="1320" y="68"/>
                  <a:pt x="1320" y="68"/>
                </a:cubicBezTo>
                <a:cubicBezTo>
                  <a:pt x="1320" y="68"/>
                  <a:pt x="1320" y="68"/>
                  <a:pt x="1319" y="68"/>
                </a:cubicBezTo>
                <a:cubicBezTo>
                  <a:pt x="1319" y="68"/>
                  <a:pt x="1320" y="68"/>
                  <a:pt x="1320" y="67"/>
                </a:cubicBezTo>
                <a:cubicBezTo>
                  <a:pt x="1320" y="67"/>
                  <a:pt x="1320" y="67"/>
                  <a:pt x="1320" y="67"/>
                </a:cubicBezTo>
                <a:cubicBezTo>
                  <a:pt x="1320" y="67"/>
                  <a:pt x="1320" y="67"/>
                  <a:pt x="1320" y="67"/>
                </a:cubicBezTo>
                <a:cubicBezTo>
                  <a:pt x="1319" y="67"/>
                  <a:pt x="1319" y="67"/>
                  <a:pt x="1319" y="67"/>
                </a:cubicBezTo>
                <a:cubicBezTo>
                  <a:pt x="1319" y="67"/>
                  <a:pt x="1318" y="68"/>
                  <a:pt x="1318" y="67"/>
                </a:cubicBezTo>
                <a:cubicBezTo>
                  <a:pt x="1318" y="66"/>
                  <a:pt x="1319" y="66"/>
                  <a:pt x="1319" y="65"/>
                </a:cubicBezTo>
                <a:cubicBezTo>
                  <a:pt x="1320" y="65"/>
                  <a:pt x="1320" y="65"/>
                  <a:pt x="1321" y="65"/>
                </a:cubicBezTo>
                <a:cubicBezTo>
                  <a:pt x="1321" y="63"/>
                  <a:pt x="1319" y="63"/>
                  <a:pt x="1317" y="63"/>
                </a:cubicBezTo>
                <a:cubicBezTo>
                  <a:pt x="1317" y="63"/>
                  <a:pt x="1317" y="62"/>
                  <a:pt x="1317" y="61"/>
                </a:cubicBezTo>
                <a:cubicBezTo>
                  <a:pt x="1316" y="62"/>
                  <a:pt x="1315" y="62"/>
                  <a:pt x="1314" y="61"/>
                </a:cubicBezTo>
                <a:cubicBezTo>
                  <a:pt x="1313" y="61"/>
                  <a:pt x="1313" y="61"/>
                  <a:pt x="1312" y="61"/>
                </a:cubicBezTo>
                <a:cubicBezTo>
                  <a:pt x="1312" y="61"/>
                  <a:pt x="1312" y="61"/>
                  <a:pt x="1312" y="61"/>
                </a:cubicBezTo>
                <a:cubicBezTo>
                  <a:pt x="1311" y="61"/>
                  <a:pt x="1311" y="61"/>
                  <a:pt x="1311" y="61"/>
                </a:cubicBezTo>
                <a:cubicBezTo>
                  <a:pt x="1311" y="62"/>
                  <a:pt x="1311" y="62"/>
                  <a:pt x="1311" y="62"/>
                </a:cubicBezTo>
                <a:cubicBezTo>
                  <a:pt x="1311" y="63"/>
                  <a:pt x="1310" y="63"/>
                  <a:pt x="1309" y="63"/>
                </a:cubicBezTo>
                <a:cubicBezTo>
                  <a:pt x="1308" y="63"/>
                  <a:pt x="1308" y="63"/>
                  <a:pt x="1308" y="62"/>
                </a:cubicBezTo>
                <a:cubicBezTo>
                  <a:pt x="1307" y="62"/>
                  <a:pt x="1306" y="62"/>
                  <a:pt x="1306" y="62"/>
                </a:cubicBezTo>
                <a:cubicBezTo>
                  <a:pt x="1305" y="63"/>
                  <a:pt x="1302" y="63"/>
                  <a:pt x="1302" y="64"/>
                </a:cubicBezTo>
                <a:cubicBezTo>
                  <a:pt x="1302" y="64"/>
                  <a:pt x="1302" y="65"/>
                  <a:pt x="1302" y="65"/>
                </a:cubicBezTo>
                <a:cubicBezTo>
                  <a:pt x="1302" y="65"/>
                  <a:pt x="1302" y="66"/>
                  <a:pt x="1301" y="66"/>
                </a:cubicBezTo>
                <a:cubicBezTo>
                  <a:pt x="1301" y="66"/>
                  <a:pt x="1300" y="66"/>
                  <a:pt x="1300" y="67"/>
                </a:cubicBezTo>
                <a:cubicBezTo>
                  <a:pt x="1299" y="67"/>
                  <a:pt x="1299" y="68"/>
                  <a:pt x="1299" y="68"/>
                </a:cubicBezTo>
                <a:cubicBezTo>
                  <a:pt x="1299" y="68"/>
                  <a:pt x="1299" y="68"/>
                  <a:pt x="1298" y="68"/>
                </a:cubicBezTo>
                <a:cubicBezTo>
                  <a:pt x="1294" y="69"/>
                  <a:pt x="1301" y="72"/>
                  <a:pt x="1300" y="73"/>
                </a:cubicBezTo>
                <a:cubicBezTo>
                  <a:pt x="1299" y="73"/>
                  <a:pt x="1298" y="73"/>
                  <a:pt x="1297" y="72"/>
                </a:cubicBezTo>
                <a:cubicBezTo>
                  <a:pt x="1297" y="71"/>
                  <a:pt x="1296" y="71"/>
                  <a:pt x="1295" y="72"/>
                </a:cubicBezTo>
                <a:cubicBezTo>
                  <a:pt x="1295" y="72"/>
                  <a:pt x="1294" y="73"/>
                  <a:pt x="1294" y="72"/>
                </a:cubicBezTo>
                <a:cubicBezTo>
                  <a:pt x="1294" y="72"/>
                  <a:pt x="1291" y="72"/>
                  <a:pt x="1291" y="72"/>
                </a:cubicBezTo>
                <a:cubicBezTo>
                  <a:pt x="1291" y="72"/>
                  <a:pt x="1288" y="72"/>
                  <a:pt x="1288" y="73"/>
                </a:cubicBezTo>
                <a:cubicBezTo>
                  <a:pt x="1288" y="73"/>
                  <a:pt x="1288" y="73"/>
                  <a:pt x="1289" y="73"/>
                </a:cubicBezTo>
                <a:cubicBezTo>
                  <a:pt x="1289" y="73"/>
                  <a:pt x="1289" y="74"/>
                  <a:pt x="1289" y="74"/>
                </a:cubicBezTo>
                <a:cubicBezTo>
                  <a:pt x="1290" y="74"/>
                  <a:pt x="1290" y="74"/>
                  <a:pt x="1290" y="74"/>
                </a:cubicBezTo>
                <a:cubicBezTo>
                  <a:pt x="1290" y="75"/>
                  <a:pt x="1291" y="75"/>
                  <a:pt x="1291" y="75"/>
                </a:cubicBezTo>
                <a:cubicBezTo>
                  <a:pt x="1291" y="75"/>
                  <a:pt x="1291" y="76"/>
                  <a:pt x="1291" y="77"/>
                </a:cubicBezTo>
                <a:cubicBezTo>
                  <a:pt x="1291" y="77"/>
                  <a:pt x="1291" y="78"/>
                  <a:pt x="1291" y="78"/>
                </a:cubicBezTo>
                <a:cubicBezTo>
                  <a:pt x="1290" y="78"/>
                  <a:pt x="1290" y="78"/>
                  <a:pt x="1290" y="79"/>
                </a:cubicBezTo>
                <a:cubicBezTo>
                  <a:pt x="1290" y="79"/>
                  <a:pt x="1290" y="79"/>
                  <a:pt x="1290" y="79"/>
                </a:cubicBezTo>
                <a:cubicBezTo>
                  <a:pt x="1290" y="79"/>
                  <a:pt x="1290" y="78"/>
                  <a:pt x="1290" y="78"/>
                </a:cubicBezTo>
                <a:cubicBezTo>
                  <a:pt x="1290" y="77"/>
                  <a:pt x="1290" y="77"/>
                  <a:pt x="1290" y="76"/>
                </a:cubicBezTo>
                <a:cubicBezTo>
                  <a:pt x="1290" y="75"/>
                  <a:pt x="1289" y="75"/>
                  <a:pt x="1288" y="74"/>
                </a:cubicBezTo>
                <a:cubicBezTo>
                  <a:pt x="1287" y="74"/>
                  <a:pt x="1285" y="75"/>
                  <a:pt x="1285" y="76"/>
                </a:cubicBezTo>
                <a:cubicBezTo>
                  <a:pt x="1284" y="76"/>
                  <a:pt x="1284" y="78"/>
                  <a:pt x="1283" y="78"/>
                </a:cubicBezTo>
                <a:cubicBezTo>
                  <a:pt x="1283" y="78"/>
                  <a:pt x="1283" y="77"/>
                  <a:pt x="1283" y="78"/>
                </a:cubicBezTo>
                <a:cubicBezTo>
                  <a:pt x="1282" y="78"/>
                  <a:pt x="1282" y="78"/>
                  <a:pt x="1282" y="77"/>
                </a:cubicBezTo>
                <a:cubicBezTo>
                  <a:pt x="1281" y="77"/>
                  <a:pt x="1281" y="78"/>
                  <a:pt x="1281" y="78"/>
                </a:cubicBezTo>
                <a:cubicBezTo>
                  <a:pt x="1281" y="78"/>
                  <a:pt x="1280" y="79"/>
                  <a:pt x="1280" y="79"/>
                </a:cubicBezTo>
                <a:cubicBezTo>
                  <a:pt x="1280" y="78"/>
                  <a:pt x="1280" y="78"/>
                  <a:pt x="1279" y="77"/>
                </a:cubicBezTo>
                <a:cubicBezTo>
                  <a:pt x="1279" y="79"/>
                  <a:pt x="1278" y="79"/>
                  <a:pt x="1277" y="79"/>
                </a:cubicBezTo>
                <a:cubicBezTo>
                  <a:pt x="1276" y="79"/>
                  <a:pt x="1277" y="79"/>
                  <a:pt x="1276" y="79"/>
                </a:cubicBezTo>
                <a:cubicBezTo>
                  <a:pt x="1276" y="79"/>
                  <a:pt x="1275" y="80"/>
                  <a:pt x="1275" y="79"/>
                </a:cubicBezTo>
                <a:cubicBezTo>
                  <a:pt x="1275" y="79"/>
                  <a:pt x="1277" y="78"/>
                  <a:pt x="1276" y="78"/>
                </a:cubicBezTo>
                <a:cubicBezTo>
                  <a:pt x="1277" y="78"/>
                  <a:pt x="1277" y="78"/>
                  <a:pt x="1277" y="77"/>
                </a:cubicBezTo>
                <a:cubicBezTo>
                  <a:pt x="1277" y="77"/>
                  <a:pt x="1278" y="76"/>
                  <a:pt x="1278" y="76"/>
                </a:cubicBezTo>
                <a:cubicBezTo>
                  <a:pt x="1279" y="75"/>
                  <a:pt x="1274" y="74"/>
                  <a:pt x="1274" y="75"/>
                </a:cubicBezTo>
                <a:cubicBezTo>
                  <a:pt x="1274" y="75"/>
                  <a:pt x="1273" y="75"/>
                  <a:pt x="1272" y="75"/>
                </a:cubicBezTo>
                <a:cubicBezTo>
                  <a:pt x="1272" y="74"/>
                  <a:pt x="1272" y="74"/>
                  <a:pt x="1271" y="74"/>
                </a:cubicBezTo>
                <a:cubicBezTo>
                  <a:pt x="1271" y="75"/>
                  <a:pt x="1271" y="75"/>
                  <a:pt x="1271" y="76"/>
                </a:cubicBezTo>
                <a:cubicBezTo>
                  <a:pt x="1270" y="75"/>
                  <a:pt x="1269" y="74"/>
                  <a:pt x="1269" y="74"/>
                </a:cubicBezTo>
                <a:cubicBezTo>
                  <a:pt x="1268" y="74"/>
                  <a:pt x="1267" y="74"/>
                  <a:pt x="1267" y="75"/>
                </a:cubicBezTo>
                <a:cubicBezTo>
                  <a:pt x="1267" y="75"/>
                  <a:pt x="1266" y="75"/>
                  <a:pt x="1266" y="74"/>
                </a:cubicBezTo>
                <a:cubicBezTo>
                  <a:pt x="1266" y="75"/>
                  <a:pt x="1266" y="75"/>
                  <a:pt x="1266" y="76"/>
                </a:cubicBezTo>
                <a:cubicBezTo>
                  <a:pt x="1265" y="75"/>
                  <a:pt x="1265" y="75"/>
                  <a:pt x="1264" y="75"/>
                </a:cubicBezTo>
                <a:cubicBezTo>
                  <a:pt x="1264" y="75"/>
                  <a:pt x="1264" y="74"/>
                  <a:pt x="1264" y="74"/>
                </a:cubicBezTo>
                <a:cubicBezTo>
                  <a:pt x="1263" y="74"/>
                  <a:pt x="1264" y="75"/>
                  <a:pt x="1263" y="75"/>
                </a:cubicBezTo>
                <a:cubicBezTo>
                  <a:pt x="1262" y="75"/>
                  <a:pt x="1262" y="75"/>
                  <a:pt x="1262" y="76"/>
                </a:cubicBezTo>
                <a:cubicBezTo>
                  <a:pt x="1262" y="76"/>
                  <a:pt x="1262" y="76"/>
                  <a:pt x="1262" y="77"/>
                </a:cubicBezTo>
                <a:cubicBezTo>
                  <a:pt x="1260" y="77"/>
                  <a:pt x="1258" y="77"/>
                  <a:pt x="1255" y="77"/>
                </a:cubicBezTo>
                <a:cubicBezTo>
                  <a:pt x="1255" y="77"/>
                  <a:pt x="1255" y="77"/>
                  <a:pt x="1255" y="78"/>
                </a:cubicBezTo>
                <a:cubicBezTo>
                  <a:pt x="1255" y="78"/>
                  <a:pt x="1255" y="77"/>
                  <a:pt x="1254" y="78"/>
                </a:cubicBezTo>
                <a:cubicBezTo>
                  <a:pt x="1254" y="78"/>
                  <a:pt x="1255" y="78"/>
                  <a:pt x="1254" y="78"/>
                </a:cubicBezTo>
                <a:cubicBezTo>
                  <a:pt x="1254" y="78"/>
                  <a:pt x="1254" y="78"/>
                  <a:pt x="1253" y="78"/>
                </a:cubicBezTo>
                <a:cubicBezTo>
                  <a:pt x="1253" y="78"/>
                  <a:pt x="1251" y="78"/>
                  <a:pt x="1251" y="78"/>
                </a:cubicBezTo>
                <a:cubicBezTo>
                  <a:pt x="1251" y="79"/>
                  <a:pt x="1250" y="78"/>
                  <a:pt x="1250" y="78"/>
                </a:cubicBezTo>
                <a:cubicBezTo>
                  <a:pt x="1250" y="79"/>
                  <a:pt x="1248" y="79"/>
                  <a:pt x="1248" y="79"/>
                </a:cubicBezTo>
                <a:cubicBezTo>
                  <a:pt x="1247" y="78"/>
                  <a:pt x="1247" y="78"/>
                  <a:pt x="1246" y="78"/>
                </a:cubicBezTo>
                <a:cubicBezTo>
                  <a:pt x="1246" y="78"/>
                  <a:pt x="1246" y="79"/>
                  <a:pt x="1246" y="79"/>
                </a:cubicBezTo>
                <a:cubicBezTo>
                  <a:pt x="1244" y="79"/>
                  <a:pt x="1244" y="79"/>
                  <a:pt x="1243" y="80"/>
                </a:cubicBezTo>
                <a:cubicBezTo>
                  <a:pt x="1243" y="80"/>
                  <a:pt x="1242" y="80"/>
                  <a:pt x="1242" y="80"/>
                </a:cubicBezTo>
                <a:cubicBezTo>
                  <a:pt x="1242" y="80"/>
                  <a:pt x="1241" y="81"/>
                  <a:pt x="1241" y="81"/>
                </a:cubicBezTo>
                <a:cubicBezTo>
                  <a:pt x="1240" y="81"/>
                  <a:pt x="1240" y="81"/>
                  <a:pt x="1239" y="81"/>
                </a:cubicBezTo>
                <a:cubicBezTo>
                  <a:pt x="1238" y="81"/>
                  <a:pt x="1238" y="81"/>
                  <a:pt x="1238" y="81"/>
                </a:cubicBezTo>
                <a:cubicBezTo>
                  <a:pt x="1238" y="81"/>
                  <a:pt x="1237" y="81"/>
                  <a:pt x="1237" y="82"/>
                </a:cubicBezTo>
                <a:cubicBezTo>
                  <a:pt x="1237" y="82"/>
                  <a:pt x="1236" y="81"/>
                  <a:pt x="1236" y="81"/>
                </a:cubicBezTo>
                <a:cubicBezTo>
                  <a:pt x="1235" y="81"/>
                  <a:pt x="1236" y="82"/>
                  <a:pt x="1235" y="82"/>
                </a:cubicBezTo>
                <a:cubicBezTo>
                  <a:pt x="1235" y="82"/>
                  <a:pt x="1235" y="81"/>
                  <a:pt x="1235" y="81"/>
                </a:cubicBezTo>
                <a:cubicBezTo>
                  <a:pt x="1235" y="81"/>
                  <a:pt x="1233" y="81"/>
                  <a:pt x="1233" y="82"/>
                </a:cubicBezTo>
                <a:cubicBezTo>
                  <a:pt x="1233" y="82"/>
                  <a:pt x="1233" y="82"/>
                  <a:pt x="1234" y="82"/>
                </a:cubicBezTo>
                <a:cubicBezTo>
                  <a:pt x="1235" y="82"/>
                  <a:pt x="1235" y="83"/>
                  <a:pt x="1236" y="83"/>
                </a:cubicBezTo>
                <a:cubicBezTo>
                  <a:pt x="1236" y="83"/>
                  <a:pt x="1235" y="84"/>
                  <a:pt x="1235" y="84"/>
                </a:cubicBezTo>
                <a:cubicBezTo>
                  <a:pt x="1235" y="84"/>
                  <a:pt x="1234" y="84"/>
                  <a:pt x="1234" y="85"/>
                </a:cubicBezTo>
                <a:cubicBezTo>
                  <a:pt x="1234" y="85"/>
                  <a:pt x="1233" y="85"/>
                  <a:pt x="1233" y="85"/>
                </a:cubicBezTo>
                <a:cubicBezTo>
                  <a:pt x="1233" y="86"/>
                  <a:pt x="1233" y="86"/>
                  <a:pt x="1233" y="86"/>
                </a:cubicBezTo>
                <a:cubicBezTo>
                  <a:pt x="1233" y="87"/>
                  <a:pt x="1233" y="87"/>
                  <a:pt x="1233" y="88"/>
                </a:cubicBezTo>
                <a:cubicBezTo>
                  <a:pt x="1232" y="88"/>
                  <a:pt x="1232" y="87"/>
                  <a:pt x="1231" y="87"/>
                </a:cubicBezTo>
                <a:cubicBezTo>
                  <a:pt x="1230" y="87"/>
                  <a:pt x="1232" y="87"/>
                  <a:pt x="1230" y="86"/>
                </a:cubicBezTo>
                <a:cubicBezTo>
                  <a:pt x="1230" y="86"/>
                  <a:pt x="1230" y="86"/>
                  <a:pt x="1229" y="86"/>
                </a:cubicBezTo>
                <a:cubicBezTo>
                  <a:pt x="1229" y="86"/>
                  <a:pt x="1228" y="87"/>
                  <a:pt x="1228" y="88"/>
                </a:cubicBezTo>
                <a:cubicBezTo>
                  <a:pt x="1229" y="88"/>
                  <a:pt x="1230" y="88"/>
                  <a:pt x="1231" y="88"/>
                </a:cubicBezTo>
                <a:cubicBezTo>
                  <a:pt x="1231" y="89"/>
                  <a:pt x="1232" y="90"/>
                  <a:pt x="1232" y="90"/>
                </a:cubicBezTo>
                <a:cubicBezTo>
                  <a:pt x="1231" y="90"/>
                  <a:pt x="1231" y="90"/>
                  <a:pt x="1230" y="90"/>
                </a:cubicBezTo>
                <a:cubicBezTo>
                  <a:pt x="1230" y="90"/>
                  <a:pt x="1228" y="90"/>
                  <a:pt x="1228" y="91"/>
                </a:cubicBezTo>
                <a:cubicBezTo>
                  <a:pt x="1228" y="91"/>
                  <a:pt x="1228" y="91"/>
                  <a:pt x="1229" y="92"/>
                </a:cubicBezTo>
                <a:cubicBezTo>
                  <a:pt x="1229" y="92"/>
                  <a:pt x="1231" y="92"/>
                  <a:pt x="1231" y="93"/>
                </a:cubicBezTo>
                <a:cubicBezTo>
                  <a:pt x="1231" y="93"/>
                  <a:pt x="1231" y="94"/>
                  <a:pt x="1231" y="94"/>
                </a:cubicBezTo>
                <a:cubicBezTo>
                  <a:pt x="1232" y="95"/>
                  <a:pt x="1232" y="95"/>
                  <a:pt x="1232" y="96"/>
                </a:cubicBezTo>
                <a:cubicBezTo>
                  <a:pt x="1232" y="96"/>
                  <a:pt x="1233" y="96"/>
                  <a:pt x="1233" y="97"/>
                </a:cubicBezTo>
                <a:cubicBezTo>
                  <a:pt x="1233" y="97"/>
                  <a:pt x="1233" y="98"/>
                  <a:pt x="1233" y="99"/>
                </a:cubicBezTo>
                <a:cubicBezTo>
                  <a:pt x="1232" y="99"/>
                  <a:pt x="1230" y="99"/>
                  <a:pt x="1229" y="99"/>
                </a:cubicBezTo>
                <a:cubicBezTo>
                  <a:pt x="1230" y="98"/>
                  <a:pt x="1231" y="98"/>
                  <a:pt x="1231" y="97"/>
                </a:cubicBezTo>
                <a:cubicBezTo>
                  <a:pt x="1231" y="97"/>
                  <a:pt x="1230" y="96"/>
                  <a:pt x="1230" y="96"/>
                </a:cubicBezTo>
                <a:cubicBezTo>
                  <a:pt x="1230" y="96"/>
                  <a:pt x="1229" y="96"/>
                  <a:pt x="1230" y="96"/>
                </a:cubicBezTo>
                <a:cubicBezTo>
                  <a:pt x="1229" y="95"/>
                  <a:pt x="1228" y="96"/>
                  <a:pt x="1228" y="95"/>
                </a:cubicBezTo>
                <a:cubicBezTo>
                  <a:pt x="1228" y="95"/>
                  <a:pt x="1227" y="95"/>
                  <a:pt x="1226" y="96"/>
                </a:cubicBezTo>
                <a:cubicBezTo>
                  <a:pt x="1226" y="96"/>
                  <a:pt x="1227" y="96"/>
                  <a:pt x="1226" y="96"/>
                </a:cubicBezTo>
                <a:cubicBezTo>
                  <a:pt x="1225" y="96"/>
                  <a:pt x="1224" y="96"/>
                  <a:pt x="1224" y="96"/>
                </a:cubicBezTo>
                <a:cubicBezTo>
                  <a:pt x="1224" y="96"/>
                  <a:pt x="1223" y="96"/>
                  <a:pt x="1222" y="96"/>
                </a:cubicBezTo>
                <a:cubicBezTo>
                  <a:pt x="1222" y="97"/>
                  <a:pt x="1222" y="97"/>
                  <a:pt x="1221" y="97"/>
                </a:cubicBezTo>
                <a:cubicBezTo>
                  <a:pt x="1220" y="96"/>
                  <a:pt x="1219" y="95"/>
                  <a:pt x="1218" y="95"/>
                </a:cubicBezTo>
                <a:cubicBezTo>
                  <a:pt x="1217" y="95"/>
                  <a:pt x="1217" y="96"/>
                  <a:pt x="1216" y="96"/>
                </a:cubicBezTo>
                <a:cubicBezTo>
                  <a:pt x="1215" y="96"/>
                  <a:pt x="1216" y="96"/>
                  <a:pt x="1215" y="96"/>
                </a:cubicBezTo>
                <a:cubicBezTo>
                  <a:pt x="1215" y="96"/>
                  <a:pt x="1215" y="96"/>
                  <a:pt x="1215" y="97"/>
                </a:cubicBezTo>
                <a:cubicBezTo>
                  <a:pt x="1213" y="97"/>
                  <a:pt x="1212" y="96"/>
                  <a:pt x="1211" y="96"/>
                </a:cubicBezTo>
                <a:cubicBezTo>
                  <a:pt x="1211" y="97"/>
                  <a:pt x="1211" y="97"/>
                  <a:pt x="1210" y="97"/>
                </a:cubicBezTo>
                <a:cubicBezTo>
                  <a:pt x="1210" y="97"/>
                  <a:pt x="1210" y="97"/>
                  <a:pt x="1210" y="97"/>
                </a:cubicBezTo>
                <a:cubicBezTo>
                  <a:pt x="1209" y="97"/>
                  <a:pt x="1208" y="97"/>
                  <a:pt x="1207" y="97"/>
                </a:cubicBezTo>
                <a:cubicBezTo>
                  <a:pt x="1206" y="97"/>
                  <a:pt x="1207" y="97"/>
                  <a:pt x="1206" y="97"/>
                </a:cubicBezTo>
                <a:cubicBezTo>
                  <a:pt x="1205" y="98"/>
                  <a:pt x="1204" y="97"/>
                  <a:pt x="1204" y="98"/>
                </a:cubicBezTo>
                <a:cubicBezTo>
                  <a:pt x="1204" y="99"/>
                  <a:pt x="1204" y="99"/>
                  <a:pt x="1203" y="99"/>
                </a:cubicBezTo>
                <a:cubicBezTo>
                  <a:pt x="1203" y="100"/>
                  <a:pt x="1203" y="100"/>
                  <a:pt x="1203" y="100"/>
                </a:cubicBezTo>
                <a:cubicBezTo>
                  <a:pt x="1203" y="101"/>
                  <a:pt x="1203" y="101"/>
                  <a:pt x="1203" y="102"/>
                </a:cubicBezTo>
                <a:cubicBezTo>
                  <a:pt x="1202" y="102"/>
                  <a:pt x="1203" y="102"/>
                  <a:pt x="1203" y="103"/>
                </a:cubicBezTo>
                <a:cubicBezTo>
                  <a:pt x="1203" y="103"/>
                  <a:pt x="1202" y="103"/>
                  <a:pt x="1202" y="103"/>
                </a:cubicBezTo>
                <a:cubicBezTo>
                  <a:pt x="1202" y="104"/>
                  <a:pt x="1202" y="104"/>
                  <a:pt x="1202" y="104"/>
                </a:cubicBezTo>
                <a:cubicBezTo>
                  <a:pt x="1202" y="105"/>
                  <a:pt x="1202" y="104"/>
                  <a:pt x="1202" y="105"/>
                </a:cubicBezTo>
                <a:cubicBezTo>
                  <a:pt x="1202" y="105"/>
                  <a:pt x="1202" y="106"/>
                  <a:pt x="1202" y="106"/>
                </a:cubicBezTo>
                <a:cubicBezTo>
                  <a:pt x="1202" y="108"/>
                  <a:pt x="1202" y="110"/>
                  <a:pt x="1204" y="111"/>
                </a:cubicBezTo>
                <a:cubicBezTo>
                  <a:pt x="1205" y="111"/>
                  <a:pt x="1205" y="111"/>
                  <a:pt x="1205" y="111"/>
                </a:cubicBezTo>
                <a:cubicBezTo>
                  <a:pt x="1205" y="111"/>
                  <a:pt x="1206" y="112"/>
                  <a:pt x="1206" y="112"/>
                </a:cubicBezTo>
                <a:cubicBezTo>
                  <a:pt x="1207" y="112"/>
                  <a:pt x="1208" y="112"/>
                  <a:pt x="1209" y="112"/>
                </a:cubicBezTo>
                <a:cubicBezTo>
                  <a:pt x="1209" y="112"/>
                  <a:pt x="1210" y="112"/>
                  <a:pt x="1211" y="113"/>
                </a:cubicBezTo>
                <a:cubicBezTo>
                  <a:pt x="1211" y="113"/>
                  <a:pt x="1211" y="114"/>
                  <a:pt x="1212" y="114"/>
                </a:cubicBezTo>
                <a:cubicBezTo>
                  <a:pt x="1212" y="114"/>
                  <a:pt x="1213" y="114"/>
                  <a:pt x="1214" y="114"/>
                </a:cubicBezTo>
                <a:cubicBezTo>
                  <a:pt x="1214" y="115"/>
                  <a:pt x="1215" y="115"/>
                  <a:pt x="1215" y="116"/>
                </a:cubicBezTo>
                <a:cubicBezTo>
                  <a:pt x="1215" y="118"/>
                  <a:pt x="1214" y="117"/>
                  <a:pt x="1214" y="118"/>
                </a:cubicBezTo>
                <a:cubicBezTo>
                  <a:pt x="1214" y="119"/>
                  <a:pt x="1214" y="118"/>
                  <a:pt x="1214" y="119"/>
                </a:cubicBezTo>
                <a:cubicBezTo>
                  <a:pt x="1214" y="119"/>
                  <a:pt x="1214" y="119"/>
                  <a:pt x="1213" y="119"/>
                </a:cubicBezTo>
                <a:cubicBezTo>
                  <a:pt x="1213" y="120"/>
                  <a:pt x="1213" y="120"/>
                  <a:pt x="1213" y="120"/>
                </a:cubicBezTo>
                <a:cubicBezTo>
                  <a:pt x="1213" y="121"/>
                  <a:pt x="1213" y="122"/>
                  <a:pt x="1214" y="123"/>
                </a:cubicBezTo>
                <a:cubicBezTo>
                  <a:pt x="1214" y="124"/>
                  <a:pt x="1215" y="124"/>
                  <a:pt x="1215" y="125"/>
                </a:cubicBezTo>
                <a:cubicBezTo>
                  <a:pt x="1215" y="126"/>
                  <a:pt x="1215" y="127"/>
                  <a:pt x="1214" y="128"/>
                </a:cubicBezTo>
                <a:cubicBezTo>
                  <a:pt x="1213" y="128"/>
                  <a:pt x="1211" y="127"/>
                  <a:pt x="1211" y="128"/>
                </a:cubicBezTo>
                <a:cubicBezTo>
                  <a:pt x="1211" y="128"/>
                  <a:pt x="1211" y="129"/>
                  <a:pt x="1211" y="129"/>
                </a:cubicBezTo>
                <a:cubicBezTo>
                  <a:pt x="1212" y="129"/>
                  <a:pt x="1212" y="130"/>
                  <a:pt x="1212" y="130"/>
                </a:cubicBezTo>
                <a:cubicBezTo>
                  <a:pt x="1213" y="130"/>
                  <a:pt x="1214" y="131"/>
                  <a:pt x="1214" y="131"/>
                </a:cubicBezTo>
                <a:cubicBezTo>
                  <a:pt x="1215" y="131"/>
                  <a:pt x="1216" y="132"/>
                  <a:pt x="1217" y="132"/>
                </a:cubicBezTo>
                <a:cubicBezTo>
                  <a:pt x="1217" y="133"/>
                  <a:pt x="1218" y="132"/>
                  <a:pt x="1218" y="132"/>
                </a:cubicBezTo>
                <a:cubicBezTo>
                  <a:pt x="1219" y="132"/>
                  <a:pt x="1220" y="131"/>
                  <a:pt x="1221" y="131"/>
                </a:cubicBezTo>
                <a:cubicBezTo>
                  <a:pt x="1222" y="132"/>
                  <a:pt x="1221" y="133"/>
                  <a:pt x="1223" y="133"/>
                </a:cubicBezTo>
                <a:cubicBezTo>
                  <a:pt x="1223" y="133"/>
                  <a:pt x="1223" y="133"/>
                  <a:pt x="1224" y="133"/>
                </a:cubicBezTo>
                <a:cubicBezTo>
                  <a:pt x="1224" y="133"/>
                  <a:pt x="1224" y="134"/>
                  <a:pt x="1224" y="134"/>
                </a:cubicBezTo>
                <a:cubicBezTo>
                  <a:pt x="1224" y="135"/>
                  <a:pt x="1224" y="136"/>
                  <a:pt x="1225" y="136"/>
                </a:cubicBezTo>
                <a:cubicBezTo>
                  <a:pt x="1223" y="136"/>
                  <a:pt x="1223" y="136"/>
                  <a:pt x="1223" y="134"/>
                </a:cubicBezTo>
                <a:cubicBezTo>
                  <a:pt x="1223" y="133"/>
                  <a:pt x="1223" y="134"/>
                  <a:pt x="1222" y="133"/>
                </a:cubicBezTo>
                <a:cubicBezTo>
                  <a:pt x="1221" y="133"/>
                  <a:pt x="1221" y="132"/>
                  <a:pt x="1219" y="133"/>
                </a:cubicBezTo>
                <a:cubicBezTo>
                  <a:pt x="1219" y="133"/>
                  <a:pt x="1218" y="134"/>
                  <a:pt x="1218" y="133"/>
                </a:cubicBezTo>
                <a:cubicBezTo>
                  <a:pt x="1218" y="133"/>
                  <a:pt x="1215" y="133"/>
                  <a:pt x="1215" y="133"/>
                </a:cubicBezTo>
                <a:cubicBezTo>
                  <a:pt x="1214" y="133"/>
                  <a:pt x="1214" y="133"/>
                  <a:pt x="1213" y="133"/>
                </a:cubicBezTo>
                <a:cubicBezTo>
                  <a:pt x="1213" y="133"/>
                  <a:pt x="1213" y="133"/>
                  <a:pt x="1213" y="133"/>
                </a:cubicBezTo>
                <a:cubicBezTo>
                  <a:pt x="1212" y="133"/>
                  <a:pt x="1211" y="133"/>
                  <a:pt x="1211" y="132"/>
                </a:cubicBezTo>
                <a:cubicBezTo>
                  <a:pt x="1211" y="131"/>
                  <a:pt x="1211" y="131"/>
                  <a:pt x="1211" y="131"/>
                </a:cubicBezTo>
                <a:cubicBezTo>
                  <a:pt x="1210" y="130"/>
                  <a:pt x="1209" y="128"/>
                  <a:pt x="1208" y="128"/>
                </a:cubicBezTo>
                <a:cubicBezTo>
                  <a:pt x="1208" y="128"/>
                  <a:pt x="1207" y="130"/>
                  <a:pt x="1207" y="130"/>
                </a:cubicBezTo>
                <a:cubicBezTo>
                  <a:pt x="1206" y="131"/>
                  <a:pt x="1206" y="131"/>
                  <a:pt x="1205" y="131"/>
                </a:cubicBezTo>
                <a:cubicBezTo>
                  <a:pt x="1205" y="130"/>
                  <a:pt x="1206" y="130"/>
                  <a:pt x="1206" y="129"/>
                </a:cubicBezTo>
                <a:cubicBezTo>
                  <a:pt x="1207" y="129"/>
                  <a:pt x="1207" y="129"/>
                  <a:pt x="1207" y="127"/>
                </a:cubicBezTo>
                <a:cubicBezTo>
                  <a:pt x="1207" y="127"/>
                  <a:pt x="1208" y="125"/>
                  <a:pt x="1208" y="125"/>
                </a:cubicBezTo>
                <a:cubicBezTo>
                  <a:pt x="1209" y="125"/>
                  <a:pt x="1208" y="122"/>
                  <a:pt x="1208" y="122"/>
                </a:cubicBezTo>
                <a:cubicBezTo>
                  <a:pt x="1208" y="121"/>
                  <a:pt x="1209" y="120"/>
                  <a:pt x="1209" y="119"/>
                </a:cubicBezTo>
                <a:cubicBezTo>
                  <a:pt x="1210" y="119"/>
                  <a:pt x="1210" y="119"/>
                  <a:pt x="1211" y="118"/>
                </a:cubicBezTo>
                <a:cubicBezTo>
                  <a:pt x="1211" y="117"/>
                  <a:pt x="1212" y="117"/>
                  <a:pt x="1212" y="117"/>
                </a:cubicBezTo>
                <a:cubicBezTo>
                  <a:pt x="1212" y="116"/>
                  <a:pt x="1212" y="116"/>
                  <a:pt x="1211" y="115"/>
                </a:cubicBezTo>
                <a:cubicBezTo>
                  <a:pt x="1210" y="115"/>
                  <a:pt x="1208" y="115"/>
                  <a:pt x="1206" y="115"/>
                </a:cubicBezTo>
                <a:cubicBezTo>
                  <a:pt x="1206" y="115"/>
                  <a:pt x="1205" y="115"/>
                  <a:pt x="1204" y="115"/>
                </a:cubicBezTo>
                <a:cubicBezTo>
                  <a:pt x="1203" y="115"/>
                  <a:pt x="1204" y="115"/>
                  <a:pt x="1203" y="115"/>
                </a:cubicBezTo>
                <a:cubicBezTo>
                  <a:pt x="1203" y="115"/>
                  <a:pt x="1202" y="114"/>
                  <a:pt x="1202" y="113"/>
                </a:cubicBezTo>
                <a:cubicBezTo>
                  <a:pt x="1201" y="112"/>
                  <a:pt x="1201" y="112"/>
                  <a:pt x="1200" y="112"/>
                </a:cubicBezTo>
                <a:cubicBezTo>
                  <a:pt x="1200" y="112"/>
                  <a:pt x="1199" y="111"/>
                  <a:pt x="1199" y="111"/>
                </a:cubicBezTo>
                <a:cubicBezTo>
                  <a:pt x="1199" y="111"/>
                  <a:pt x="1198" y="111"/>
                  <a:pt x="1198" y="111"/>
                </a:cubicBezTo>
                <a:cubicBezTo>
                  <a:pt x="1198" y="111"/>
                  <a:pt x="1198" y="110"/>
                  <a:pt x="1197" y="110"/>
                </a:cubicBezTo>
                <a:cubicBezTo>
                  <a:pt x="1197" y="110"/>
                  <a:pt x="1197" y="110"/>
                  <a:pt x="1197" y="110"/>
                </a:cubicBezTo>
                <a:cubicBezTo>
                  <a:pt x="1196" y="110"/>
                  <a:pt x="1196" y="110"/>
                  <a:pt x="1196" y="110"/>
                </a:cubicBezTo>
                <a:cubicBezTo>
                  <a:pt x="1196" y="110"/>
                  <a:pt x="1195" y="110"/>
                  <a:pt x="1195" y="110"/>
                </a:cubicBezTo>
                <a:cubicBezTo>
                  <a:pt x="1194" y="109"/>
                  <a:pt x="1194" y="109"/>
                  <a:pt x="1193" y="109"/>
                </a:cubicBezTo>
                <a:cubicBezTo>
                  <a:pt x="1192" y="109"/>
                  <a:pt x="1192" y="109"/>
                  <a:pt x="1192" y="110"/>
                </a:cubicBezTo>
                <a:cubicBezTo>
                  <a:pt x="1192" y="110"/>
                  <a:pt x="1191" y="110"/>
                  <a:pt x="1191" y="110"/>
                </a:cubicBezTo>
                <a:cubicBezTo>
                  <a:pt x="1190" y="110"/>
                  <a:pt x="1190" y="111"/>
                  <a:pt x="1190" y="111"/>
                </a:cubicBezTo>
                <a:cubicBezTo>
                  <a:pt x="1189" y="111"/>
                  <a:pt x="1189" y="111"/>
                  <a:pt x="1189" y="111"/>
                </a:cubicBezTo>
                <a:cubicBezTo>
                  <a:pt x="1189" y="111"/>
                  <a:pt x="1187" y="112"/>
                  <a:pt x="1187" y="112"/>
                </a:cubicBezTo>
                <a:cubicBezTo>
                  <a:pt x="1187" y="112"/>
                  <a:pt x="1189" y="112"/>
                  <a:pt x="1189" y="112"/>
                </a:cubicBezTo>
                <a:cubicBezTo>
                  <a:pt x="1189" y="112"/>
                  <a:pt x="1189" y="113"/>
                  <a:pt x="1189" y="113"/>
                </a:cubicBezTo>
                <a:cubicBezTo>
                  <a:pt x="1190" y="113"/>
                  <a:pt x="1190" y="113"/>
                  <a:pt x="1191" y="113"/>
                </a:cubicBezTo>
                <a:cubicBezTo>
                  <a:pt x="1191" y="114"/>
                  <a:pt x="1189" y="116"/>
                  <a:pt x="1188" y="116"/>
                </a:cubicBezTo>
                <a:cubicBezTo>
                  <a:pt x="1188" y="116"/>
                  <a:pt x="1188" y="116"/>
                  <a:pt x="1187" y="116"/>
                </a:cubicBezTo>
                <a:cubicBezTo>
                  <a:pt x="1186" y="115"/>
                  <a:pt x="1186" y="114"/>
                  <a:pt x="1185" y="114"/>
                </a:cubicBezTo>
                <a:cubicBezTo>
                  <a:pt x="1184" y="114"/>
                  <a:pt x="1184" y="114"/>
                  <a:pt x="1184" y="114"/>
                </a:cubicBezTo>
                <a:cubicBezTo>
                  <a:pt x="1183" y="114"/>
                  <a:pt x="1182" y="114"/>
                  <a:pt x="1182" y="114"/>
                </a:cubicBezTo>
                <a:cubicBezTo>
                  <a:pt x="1181" y="114"/>
                  <a:pt x="1181" y="115"/>
                  <a:pt x="1180" y="116"/>
                </a:cubicBezTo>
                <a:cubicBezTo>
                  <a:pt x="1180" y="116"/>
                  <a:pt x="1180" y="117"/>
                  <a:pt x="1181" y="117"/>
                </a:cubicBezTo>
                <a:cubicBezTo>
                  <a:pt x="1181" y="118"/>
                  <a:pt x="1182" y="118"/>
                  <a:pt x="1182" y="118"/>
                </a:cubicBezTo>
                <a:cubicBezTo>
                  <a:pt x="1183" y="118"/>
                  <a:pt x="1183" y="119"/>
                  <a:pt x="1183" y="119"/>
                </a:cubicBezTo>
                <a:cubicBezTo>
                  <a:pt x="1184" y="119"/>
                  <a:pt x="1184" y="119"/>
                  <a:pt x="1185" y="119"/>
                </a:cubicBezTo>
                <a:cubicBezTo>
                  <a:pt x="1185" y="119"/>
                  <a:pt x="1185" y="120"/>
                  <a:pt x="1185" y="120"/>
                </a:cubicBezTo>
                <a:cubicBezTo>
                  <a:pt x="1186" y="120"/>
                  <a:pt x="1186" y="120"/>
                  <a:pt x="1186" y="120"/>
                </a:cubicBezTo>
                <a:cubicBezTo>
                  <a:pt x="1187" y="120"/>
                  <a:pt x="1186" y="121"/>
                  <a:pt x="1187" y="121"/>
                </a:cubicBezTo>
                <a:cubicBezTo>
                  <a:pt x="1187" y="121"/>
                  <a:pt x="1187" y="121"/>
                  <a:pt x="1188" y="121"/>
                </a:cubicBezTo>
                <a:cubicBezTo>
                  <a:pt x="1188" y="122"/>
                  <a:pt x="1188" y="122"/>
                  <a:pt x="1187" y="123"/>
                </a:cubicBezTo>
                <a:cubicBezTo>
                  <a:pt x="1188" y="123"/>
                  <a:pt x="1190" y="124"/>
                  <a:pt x="1190" y="124"/>
                </a:cubicBezTo>
                <a:cubicBezTo>
                  <a:pt x="1190" y="124"/>
                  <a:pt x="1188" y="123"/>
                  <a:pt x="1188" y="124"/>
                </a:cubicBezTo>
                <a:cubicBezTo>
                  <a:pt x="1188" y="124"/>
                  <a:pt x="1188" y="122"/>
                  <a:pt x="1187" y="122"/>
                </a:cubicBezTo>
                <a:cubicBezTo>
                  <a:pt x="1186" y="122"/>
                  <a:pt x="1184" y="122"/>
                  <a:pt x="1184" y="122"/>
                </a:cubicBezTo>
                <a:cubicBezTo>
                  <a:pt x="1184" y="122"/>
                  <a:pt x="1182" y="123"/>
                  <a:pt x="1182" y="122"/>
                </a:cubicBezTo>
                <a:cubicBezTo>
                  <a:pt x="1182" y="122"/>
                  <a:pt x="1180" y="122"/>
                  <a:pt x="1180" y="122"/>
                </a:cubicBezTo>
                <a:cubicBezTo>
                  <a:pt x="1179" y="122"/>
                  <a:pt x="1179" y="122"/>
                  <a:pt x="1179" y="122"/>
                </a:cubicBezTo>
                <a:cubicBezTo>
                  <a:pt x="1178" y="123"/>
                  <a:pt x="1178" y="123"/>
                  <a:pt x="1177" y="123"/>
                </a:cubicBezTo>
                <a:cubicBezTo>
                  <a:pt x="1176" y="122"/>
                  <a:pt x="1175" y="121"/>
                  <a:pt x="1175" y="121"/>
                </a:cubicBezTo>
                <a:cubicBezTo>
                  <a:pt x="1175" y="121"/>
                  <a:pt x="1175" y="120"/>
                  <a:pt x="1175" y="119"/>
                </a:cubicBezTo>
                <a:cubicBezTo>
                  <a:pt x="1175" y="119"/>
                  <a:pt x="1175" y="119"/>
                  <a:pt x="1175" y="118"/>
                </a:cubicBezTo>
                <a:cubicBezTo>
                  <a:pt x="1175" y="117"/>
                  <a:pt x="1174" y="117"/>
                  <a:pt x="1174" y="117"/>
                </a:cubicBezTo>
                <a:cubicBezTo>
                  <a:pt x="1174" y="116"/>
                  <a:pt x="1174" y="116"/>
                  <a:pt x="1174" y="115"/>
                </a:cubicBezTo>
                <a:cubicBezTo>
                  <a:pt x="1174" y="115"/>
                  <a:pt x="1174" y="115"/>
                  <a:pt x="1174" y="114"/>
                </a:cubicBezTo>
                <a:cubicBezTo>
                  <a:pt x="1174" y="114"/>
                  <a:pt x="1173" y="114"/>
                  <a:pt x="1173" y="114"/>
                </a:cubicBezTo>
                <a:cubicBezTo>
                  <a:pt x="1173" y="114"/>
                  <a:pt x="1173" y="113"/>
                  <a:pt x="1173" y="113"/>
                </a:cubicBezTo>
                <a:cubicBezTo>
                  <a:pt x="1174" y="112"/>
                  <a:pt x="1174" y="112"/>
                  <a:pt x="1174" y="112"/>
                </a:cubicBezTo>
                <a:cubicBezTo>
                  <a:pt x="1174" y="112"/>
                  <a:pt x="1174" y="112"/>
                  <a:pt x="1174" y="112"/>
                </a:cubicBezTo>
                <a:cubicBezTo>
                  <a:pt x="1174" y="112"/>
                  <a:pt x="1175" y="111"/>
                  <a:pt x="1175" y="111"/>
                </a:cubicBezTo>
                <a:cubicBezTo>
                  <a:pt x="1174" y="111"/>
                  <a:pt x="1173" y="110"/>
                  <a:pt x="1173" y="110"/>
                </a:cubicBezTo>
                <a:cubicBezTo>
                  <a:pt x="1173" y="109"/>
                  <a:pt x="1173" y="108"/>
                  <a:pt x="1174" y="108"/>
                </a:cubicBezTo>
                <a:cubicBezTo>
                  <a:pt x="1174" y="107"/>
                  <a:pt x="1174" y="106"/>
                  <a:pt x="1173" y="106"/>
                </a:cubicBezTo>
                <a:cubicBezTo>
                  <a:pt x="1173" y="106"/>
                  <a:pt x="1173" y="106"/>
                  <a:pt x="1173" y="105"/>
                </a:cubicBezTo>
                <a:cubicBezTo>
                  <a:pt x="1172" y="104"/>
                  <a:pt x="1172" y="105"/>
                  <a:pt x="1171" y="105"/>
                </a:cubicBezTo>
                <a:cubicBezTo>
                  <a:pt x="1172" y="108"/>
                  <a:pt x="1172" y="110"/>
                  <a:pt x="1172" y="113"/>
                </a:cubicBezTo>
                <a:cubicBezTo>
                  <a:pt x="1171" y="114"/>
                  <a:pt x="1171" y="115"/>
                  <a:pt x="1171" y="115"/>
                </a:cubicBezTo>
                <a:cubicBezTo>
                  <a:pt x="1170" y="115"/>
                  <a:pt x="1170" y="115"/>
                  <a:pt x="1170" y="116"/>
                </a:cubicBezTo>
                <a:cubicBezTo>
                  <a:pt x="1170" y="116"/>
                  <a:pt x="1169" y="116"/>
                  <a:pt x="1169" y="117"/>
                </a:cubicBezTo>
                <a:cubicBezTo>
                  <a:pt x="1169" y="117"/>
                  <a:pt x="1169" y="117"/>
                  <a:pt x="1169" y="117"/>
                </a:cubicBezTo>
                <a:cubicBezTo>
                  <a:pt x="1168" y="117"/>
                  <a:pt x="1169" y="117"/>
                  <a:pt x="1168" y="117"/>
                </a:cubicBezTo>
                <a:cubicBezTo>
                  <a:pt x="1168" y="118"/>
                  <a:pt x="1168" y="118"/>
                  <a:pt x="1168" y="119"/>
                </a:cubicBezTo>
                <a:cubicBezTo>
                  <a:pt x="1168" y="120"/>
                  <a:pt x="1168" y="120"/>
                  <a:pt x="1167" y="121"/>
                </a:cubicBezTo>
                <a:cubicBezTo>
                  <a:pt x="1167" y="122"/>
                  <a:pt x="1166" y="122"/>
                  <a:pt x="1166" y="122"/>
                </a:cubicBezTo>
                <a:cubicBezTo>
                  <a:pt x="1167" y="123"/>
                  <a:pt x="1167" y="124"/>
                  <a:pt x="1167" y="124"/>
                </a:cubicBezTo>
                <a:cubicBezTo>
                  <a:pt x="1168" y="124"/>
                  <a:pt x="1168" y="124"/>
                  <a:pt x="1168" y="124"/>
                </a:cubicBezTo>
                <a:cubicBezTo>
                  <a:pt x="1168" y="124"/>
                  <a:pt x="1168" y="125"/>
                  <a:pt x="1168" y="125"/>
                </a:cubicBezTo>
                <a:cubicBezTo>
                  <a:pt x="1168" y="125"/>
                  <a:pt x="1168" y="125"/>
                  <a:pt x="1168" y="125"/>
                </a:cubicBezTo>
                <a:cubicBezTo>
                  <a:pt x="1168" y="125"/>
                  <a:pt x="1168" y="126"/>
                  <a:pt x="1169" y="126"/>
                </a:cubicBezTo>
                <a:cubicBezTo>
                  <a:pt x="1169" y="126"/>
                  <a:pt x="1169" y="127"/>
                  <a:pt x="1170" y="127"/>
                </a:cubicBezTo>
                <a:cubicBezTo>
                  <a:pt x="1169" y="128"/>
                  <a:pt x="1169" y="129"/>
                  <a:pt x="1169" y="129"/>
                </a:cubicBezTo>
                <a:cubicBezTo>
                  <a:pt x="1169" y="129"/>
                  <a:pt x="1168" y="129"/>
                  <a:pt x="1168" y="130"/>
                </a:cubicBezTo>
                <a:cubicBezTo>
                  <a:pt x="1168" y="131"/>
                  <a:pt x="1168" y="130"/>
                  <a:pt x="1168" y="131"/>
                </a:cubicBezTo>
                <a:cubicBezTo>
                  <a:pt x="1168" y="131"/>
                  <a:pt x="1168" y="131"/>
                  <a:pt x="1168" y="131"/>
                </a:cubicBezTo>
                <a:cubicBezTo>
                  <a:pt x="1168" y="131"/>
                  <a:pt x="1168" y="131"/>
                  <a:pt x="1168" y="132"/>
                </a:cubicBezTo>
                <a:cubicBezTo>
                  <a:pt x="1168" y="132"/>
                  <a:pt x="1168" y="133"/>
                  <a:pt x="1168" y="134"/>
                </a:cubicBezTo>
                <a:cubicBezTo>
                  <a:pt x="1168" y="134"/>
                  <a:pt x="1169" y="134"/>
                  <a:pt x="1169" y="135"/>
                </a:cubicBezTo>
                <a:cubicBezTo>
                  <a:pt x="1169" y="136"/>
                  <a:pt x="1169" y="137"/>
                  <a:pt x="1170" y="137"/>
                </a:cubicBezTo>
                <a:cubicBezTo>
                  <a:pt x="1170" y="138"/>
                  <a:pt x="1171" y="138"/>
                  <a:pt x="1171" y="137"/>
                </a:cubicBezTo>
                <a:cubicBezTo>
                  <a:pt x="1171" y="136"/>
                  <a:pt x="1174" y="137"/>
                  <a:pt x="1175" y="136"/>
                </a:cubicBezTo>
                <a:cubicBezTo>
                  <a:pt x="1175" y="136"/>
                  <a:pt x="1175" y="136"/>
                  <a:pt x="1175" y="136"/>
                </a:cubicBezTo>
                <a:cubicBezTo>
                  <a:pt x="1175" y="136"/>
                  <a:pt x="1176" y="136"/>
                  <a:pt x="1176" y="135"/>
                </a:cubicBezTo>
                <a:cubicBezTo>
                  <a:pt x="1177" y="135"/>
                  <a:pt x="1178" y="135"/>
                  <a:pt x="1179" y="135"/>
                </a:cubicBezTo>
                <a:cubicBezTo>
                  <a:pt x="1181" y="135"/>
                  <a:pt x="1179" y="135"/>
                  <a:pt x="1180" y="135"/>
                </a:cubicBezTo>
                <a:cubicBezTo>
                  <a:pt x="1180" y="135"/>
                  <a:pt x="1180" y="135"/>
                  <a:pt x="1181" y="135"/>
                </a:cubicBezTo>
                <a:cubicBezTo>
                  <a:pt x="1181" y="136"/>
                  <a:pt x="1179" y="136"/>
                  <a:pt x="1181" y="136"/>
                </a:cubicBezTo>
                <a:cubicBezTo>
                  <a:pt x="1182" y="136"/>
                  <a:pt x="1183" y="136"/>
                  <a:pt x="1183" y="136"/>
                </a:cubicBezTo>
                <a:cubicBezTo>
                  <a:pt x="1184" y="136"/>
                  <a:pt x="1185" y="137"/>
                  <a:pt x="1185" y="137"/>
                </a:cubicBezTo>
                <a:cubicBezTo>
                  <a:pt x="1186" y="137"/>
                  <a:pt x="1186" y="138"/>
                  <a:pt x="1186" y="139"/>
                </a:cubicBezTo>
                <a:cubicBezTo>
                  <a:pt x="1187" y="139"/>
                  <a:pt x="1187" y="139"/>
                  <a:pt x="1187" y="140"/>
                </a:cubicBezTo>
                <a:cubicBezTo>
                  <a:pt x="1187" y="140"/>
                  <a:pt x="1187" y="140"/>
                  <a:pt x="1187" y="141"/>
                </a:cubicBezTo>
                <a:cubicBezTo>
                  <a:pt x="1187" y="141"/>
                  <a:pt x="1187" y="141"/>
                  <a:pt x="1187" y="141"/>
                </a:cubicBezTo>
                <a:cubicBezTo>
                  <a:pt x="1188" y="141"/>
                  <a:pt x="1188" y="141"/>
                  <a:pt x="1188" y="142"/>
                </a:cubicBezTo>
                <a:cubicBezTo>
                  <a:pt x="1189" y="142"/>
                  <a:pt x="1189" y="142"/>
                  <a:pt x="1189" y="143"/>
                </a:cubicBezTo>
                <a:cubicBezTo>
                  <a:pt x="1189" y="143"/>
                  <a:pt x="1190" y="144"/>
                  <a:pt x="1190" y="145"/>
                </a:cubicBezTo>
                <a:cubicBezTo>
                  <a:pt x="1190" y="146"/>
                  <a:pt x="1188" y="146"/>
                  <a:pt x="1187" y="146"/>
                </a:cubicBezTo>
                <a:cubicBezTo>
                  <a:pt x="1187" y="147"/>
                  <a:pt x="1187" y="147"/>
                  <a:pt x="1187" y="148"/>
                </a:cubicBezTo>
                <a:cubicBezTo>
                  <a:pt x="1187" y="149"/>
                  <a:pt x="1187" y="149"/>
                  <a:pt x="1188" y="150"/>
                </a:cubicBezTo>
                <a:cubicBezTo>
                  <a:pt x="1188" y="150"/>
                  <a:pt x="1189" y="150"/>
                  <a:pt x="1189" y="150"/>
                </a:cubicBezTo>
                <a:cubicBezTo>
                  <a:pt x="1189" y="150"/>
                  <a:pt x="1190" y="151"/>
                  <a:pt x="1190" y="151"/>
                </a:cubicBezTo>
                <a:cubicBezTo>
                  <a:pt x="1190" y="151"/>
                  <a:pt x="1191" y="151"/>
                  <a:pt x="1191" y="151"/>
                </a:cubicBezTo>
                <a:cubicBezTo>
                  <a:pt x="1191" y="151"/>
                  <a:pt x="1192" y="151"/>
                  <a:pt x="1192" y="151"/>
                </a:cubicBezTo>
                <a:cubicBezTo>
                  <a:pt x="1193" y="151"/>
                  <a:pt x="1192" y="152"/>
                  <a:pt x="1193" y="152"/>
                </a:cubicBezTo>
                <a:cubicBezTo>
                  <a:pt x="1194" y="152"/>
                  <a:pt x="1193" y="152"/>
                  <a:pt x="1194" y="152"/>
                </a:cubicBezTo>
                <a:cubicBezTo>
                  <a:pt x="1194" y="152"/>
                  <a:pt x="1194" y="152"/>
                  <a:pt x="1195" y="152"/>
                </a:cubicBezTo>
                <a:cubicBezTo>
                  <a:pt x="1195" y="152"/>
                  <a:pt x="1195" y="152"/>
                  <a:pt x="1195" y="152"/>
                </a:cubicBezTo>
                <a:cubicBezTo>
                  <a:pt x="1196" y="153"/>
                  <a:pt x="1196" y="152"/>
                  <a:pt x="1196" y="153"/>
                </a:cubicBezTo>
                <a:cubicBezTo>
                  <a:pt x="1197" y="154"/>
                  <a:pt x="1195" y="154"/>
                  <a:pt x="1194" y="154"/>
                </a:cubicBezTo>
                <a:cubicBezTo>
                  <a:pt x="1194" y="153"/>
                  <a:pt x="1194" y="153"/>
                  <a:pt x="1194" y="153"/>
                </a:cubicBezTo>
                <a:cubicBezTo>
                  <a:pt x="1193" y="153"/>
                  <a:pt x="1194" y="153"/>
                  <a:pt x="1193" y="153"/>
                </a:cubicBezTo>
                <a:cubicBezTo>
                  <a:pt x="1192" y="153"/>
                  <a:pt x="1192" y="153"/>
                  <a:pt x="1191" y="153"/>
                </a:cubicBezTo>
                <a:cubicBezTo>
                  <a:pt x="1191" y="153"/>
                  <a:pt x="1190" y="152"/>
                  <a:pt x="1190" y="152"/>
                </a:cubicBezTo>
                <a:cubicBezTo>
                  <a:pt x="1189" y="152"/>
                  <a:pt x="1188" y="152"/>
                  <a:pt x="1188" y="152"/>
                </a:cubicBezTo>
                <a:cubicBezTo>
                  <a:pt x="1188" y="153"/>
                  <a:pt x="1188" y="153"/>
                  <a:pt x="1188" y="154"/>
                </a:cubicBezTo>
                <a:cubicBezTo>
                  <a:pt x="1188" y="154"/>
                  <a:pt x="1188" y="154"/>
                  <a:pt x="1188" y="154"/>
                </a:cubicBezTo>
                <a:cubicBezTo>
                  <a:pt x="1187" y="154"/>
                  <a:pt x="1186" y="153"/>
                  <a:pt x="1184" y="152"/>
                </a:cubicBezTo>
                <a:cubicBezTo>
                  <a:pt x="1183" y="151"/>
                  <a:pt x="1184" y="150"/>
                  <a:pt x="1184" y="149"/>
                </a:cubicBezTo>
                <a:cubicBezTo>
                  <a:pt x="1185" y="147"/>
                  <a:pt x="1185" y="145"/>
                  <a:pt x="1185" y="144"/>
                </a:cubicBezTo>
                <a:cubicBezTo>
                  <a:pt x="1185" y="143"/>
                  <a:pt x="1185" y="143"/>
                  <a:pt x="1185" y="142"/>
                </a:cubicBezTo>
                <a:cubicBezTo>
                  <a:pt x="1185" y="142"/>
                  <a:pt x="1184" y="143"/>
                  <a:pt x="1184" y="142"/>
                </a:cubicBezTo>
                <a:cubicBezTo>
                  <a:pt x="1184" y="142"/>
                  <a:pt x="1184" y="142"/>
                  <a:pt x="1183" y="141"/>
                </a:cubicBezTo>
                <a:cubicBezTo>
                  <a:pt x="1183" y="141"/>
                  <a:pt x="1183" y="137"/>
                  <a:pt x="1182" y="137"/>
                </a:cubicBezTo>
                <a:cubicBezTo>
                  <a:pt x="1181" y="137"/>
                  <a:pt x="1181" y="137"/>
                  <a:pt x="1180" y="137"/>
                </a:cubicBezTo>
                <a:cubicBezTo>
                  <a:pt x="1180" y="137"/>
                  <a:pt x="1179" y="137"/>
                  <a:pt x="1179" y="137"/>
                </a:cubicBezTo>
                <a:cubicBezTo>
                  <a:pt x="1179" y="137"/>
                  <a:pt x="1179" y="139"/>
                  <a:pt x="1178" y="139"/>
                </a:cubicBezTo>
                <a:cubicBezTo>
                  <a:pt x="1178" y="139"/>
                  <a:pt x="1178" y="139"/>
                  <a:pt x="1177" y="139"/>
                </a:cubicBezTo>
                <a:cubicBezTo>
                  <a:pt x="1177" y="139"/>
                  <a:pt x="1177" y="139"/>
                  <a:pt x="1177" y="139"/>
                </a:cubicBezTo>
                <a:cubicBezTo>
                  <a:pt x="1176" y="139"/>
                  <a:pt x="1175" y="139"/>
                  <a:pt x="1174" y="140"/>
                </a:cubicBezTo>
                <a:cubicBezTo>
                  <a:pt x="1174" y="140"/>
                  <a:pt x="1173" y="140"/>
                  <a:pt x="1172" y="140"/>
                </a:cubicBezTo>
                <a:cubicBezTo>
                  <a:pt x="1172" y="141"/>
                  <a:pt x="1172" y="142"/>
                  <a:pt x="1172" y="142"/>
                </a:cubicBezTo>
                <a:cubicBezTo>
                  <a:pt x="1172" y="143"/>
                  <a:pt x="1171" y="143"/>
                  <a:pt x="1171" y="144"/>
                </a:cubicBezTo>
                <a:cubicBezTo>
                  <a:pt x="1172" y="144"/>
                  <a:pt x="1172" y="145"/>
                  <a:pt x="1172" y="145"/>
                </a:cubicBezTo>
                <a:cubicBezTo>
                  <a:pt x="1172" y="147"/>
                  <a:pt x="1172" y="148"/>
                  <a:pt x="1171" y="150"/>
                </a:cubicBezTo>
                <a:cubicBezTo>
                  <a:pt x="1171" y="150"/>
                  <a:pt x="1171" y="150"/>
                  <a:pt x="1171" y="150"/>
                </a:cubicBezTo>
                <a:cubicBezTo>
                  <a:pt x="1171" y="151"/>
                  <a:pt x="1171" y="151"/>
                  <a:pt x="1171" y="151"/>
                </a:cubicBezTo>
                <a:cubicBezTo>
                  <a:pt x="1171" y="151"/>
                  <a:pt x="1171" y="152"/>
                  <a:pt x="1171" y="152"/>
                </a:cubicBezTo>
                <a:cubicBezTo>
                  <a:pt x="1171" y="153"/>
                  <a:pt x="1171" y="153"/>
                  <a:pt x="1170" y="153"/>
                </a:cubicBezTo>
                <a:cubicBezTo>
                  <a:pt x="1170" y="154"/>
                  <a:pt x="1170" y="154"/>
                  <a:pt x="1170" y="155"/>
                </a:cubicBezTo>
                <a:cubicBezTo>
                  <a:pt x="1169" y="155"/>
                  <a:pt x="1169" y="155"/>
                  <a:pt x="1169" y="155"/>
                </a:cubicBezTo>
                <a:cubicBezTo>
                  <a:pt x="1169" y="157"/>
                  <a:pt x="1166" y="157"/>
                  <a:pt x="1165" y="157"/>
                </a:cubicBezTo>
                <a:cubicBezTo>
                  <a:pt x="1164" y="157"/>
                  <a:pt x="1162" y="158"/>
                  <a:pt x="1161" y="159"/>
                </a:cubicBezTo>
                <a:cubicBezTo>
                  <a:pt x="1160" y="159"/>
                  <a:pt x="1160" y="159"/>
                  <a:pt x="1160" y="160"/>
                </a:cubicBezTo>
                <a:cubicBezTo>
                  <a:pt x="1161" y="160"/>
                  <a:pt x="1161" y="160"/>
                  <a:pt x="1162" y="160"/>
                </a:cubicBezTo>
                <a:cubicBezTo>
                  <a:pt x="1163" y="160"/>
                  <a:pt x="1163" y="160"/>
                  <a:pt x="1163" y="161"/>
                </a:cubicBezTo>
                <a:cubicBezTo>
                  <a:pt x="1163" y="162"/>
                  <a:pt x="1163" y="163"/>
                  <a:pt x="1163" y="164"/>
                </a:cubicBezTo>
                <a:cubicBezTo>
                  <a:pt x="1163" y="165"/>
                  <a:pt x="1163" y="165"/>
                  <a:pt x="1164" y="165"/>
                </a:cubicBezTo>
                <a:cubicBezTo>
                  <a:pt x="1164" y="165"/>
                  <a:pt x="1164" y="166"/>
                  <a:pt x="1164" y="166"/>
                </a:cubicBezTo>
                <a:cubicBezTo>
                  <a:pt x="1164" y="166"/>
                  <a:pt x="1163" y="166"/>
                  <a:pt x="1164" y="166"/>
                </a:cubicBezTo>
                <a:cubicBezTo>
                  <a:pt x="1163" y="165"/>
                  <a:pt x="1163" y="165"/>
                  <a:pt x="1162" y="165"/>
                </a:cubicBezTo>
                <a:cubicBezTo>
                  <a:pt x="1162" y="165"/>
                  <a:pt x="1161" y="164"/>
                  <a:pt x="1161" y="163"/>
                </a:cubicBezTo>
                <a:cubicBezTo>
                  <a:pt x="1161" y="163"/>
                  <a:pt x="1161" y="163"/>
                  <a:pt x="1160" y="163"/>
                </a:cubicBezTo>
                <a:cubicBezTo>
                  <a:pt x="1159" y="162"/>
                  <a:pt x="1160" y="162"/>
                  <a:pt x="1159" y="161"/>
                </a:cubicBezTo>
                <a:cubicBezTo>
                  <a:pt x="1158" y="161"/>
                  <a:pt x="1156" y="161"/>
                  <a:pt x="1155" y="161"/>
                </a:cubicBezTo>
                <a:cubicBezTo>
                  <a:pt x="1155" y="161"/>
                  <a:pt x="1154" y="161"/>
                  <a:pt x="1153" y="161"/>
                </a:cubicBezTo>
                <a:cubicBezTo>
                  <a:pt x="1154" y="161"/>
                  <a:pt x="1152" y="161"/>
                  <a:pt x="1151" y="161"/>
                </a:cubicBezTo>
                <a:cubicBezTo>
                  <a:pt x="1151" y="161"/>
                  <a:pt x="1151" y="161"/>
                  <a:pt x="1151" y="161"/>
                </a:cubicBezTo>
                <a:cubicBezTo>
                  <a:pt x="1150" y="159"/>
                  <a:pt x="1150" y="161"/>
                  <a:pt x="1149" y="160"/>
                </a:cubicBezTo>
                <a:cubicBezTo>
                  <a:pt x="1149" y="160"/>
                  <a:pt x="1150" y="160"/>
                  <a:pt x="1149" y="159"/>
                </a:cubicBezTo>
                <a:cubicBezTo>
                  <a:pt x="1148" y="159"/>
                  <a:pt x="1148" y="158"/>
                  <a:pt x="1148" y="157"/>
                </a:cubicBezTo>
                <a:cubicBezTo>
                  <a:pt x="1149" y="157"/>
                  <a:pt x="1151" y="157"/>
                  <a:pt x="1152" y="157"/>
                </a:cubicBezTo>
                <a:cubicBezTo>
                  <a:pt x="1153" y="157"/>
                  <a:pt x="1156" y="158"/>
                  <a:pt x="1156" y="157"/>
                </a:cubicBezTo>
                <a:cubicBezTo>
                  <a:pt x="1156" y="157"/>
                  <a:pt x="1157" y="157"/>
                  <a:pt x="1157" y="157"/>
                </a:cubicBezTo>
                <a:cubicBezTo>
                  <a:pt x="1158" y="157"/>
                  <a:pt x="1158" y="156"/>
                  <a:pt x="1158" y="155"/>
                </a:cubicBezTo>
                <a:cubicBezTo>
                  <a:pt x="1159" y="154"/>
                  <a:pt x="1160" y="155"/>
                  <a:pt x="1161" y="156"/>
                </a:cubicBezTo>
                <a:cubicBezTo>
                  <a:pt x="1161" y="156"/>
                  <a:pt x="1162" y="156"/>
                  <a:pt x="1162" y="156"/>
                </a:cubicBezTo>
                <a:cubicBezTo>
                  <a:pt x="1162" y="155"/>
                  <a:pt x="1162" y="155"/>
                  <a:pt x="1163" y="155"/>
                </a:cubicBezTo>
                <a:cubicBezTo>
                  <a:pt x="1163" y="155"/>
                  <a:pt x="1163" y="154"/>
                  <a:pt x="1163" y="154"/>
                </a:cubicBezTo>
                <a:cubicBezTo>
                  <a:pt x="1163" y="153"/>
                  <a:pt x="1162" y="154"/>
                  <a:pt x="1163" y="153"/>
                </a:cubicBezTo>
                <a:cubicBezTo>
                  <a:pt x="1164" y="153"/>
                  <a:pt x="1164" y="152"/>
                  <a:pt x="1164" y="151"/>
                </a:cubicBezTo>
                <a:cubicBezTo>
                  <a:pt x="1164" y="151"/>
                  <a:pt x="1166" y="150"/>
                  <a:pt x="1166" y="150"/>
                </a:cubicBezTo>
                <a:cubicBezTo>
                  <a:pt x="1166" y="149"/>
                  <a:pt x="1166" y="149"/>
                  <a:pt x="1166" y="148"/>
                </a:cubicBezTo>
                <a:cubicBezTo>
                  <a:pt x="1166" y="148"/>
                  <a:pt x="1165" y="148"/>
                  <a:pt x="1165" y="148"/>
                </a:cubicBezTo>
                <a:cubicBezTo>
                  <a:pt x="1164" y="148"/>
                  <a:pt x="1165" y="147"/>
                  <a:pt x="1165" y="147"/>
                </a:cubicBezTo>
                <a:cubicBezTo>
                  <a:pt x="1165" y="146"/>
                  <a:pt x="1165" y="145"/>
                  <a:pt x="1166" y="145"/>
                </a:cubicBezTo>
                <a:cubicBezTo>
                  <a:pt x="1166" y="144"/>
                  <a:pt x="1166" y="144"/>
                  <a:pt x="1166" y="143"/>
                </a:cubicBezTo>
                <a:cubicBezTo>
                  <a:pt x="1166" y="143"/>
                  <a:pt x="1167" y="144"/>
                  <a:pt x="1167" y="143"/>
                </a:cubicBezTo>
                <a:cubicBezTo>
                  <a:pt x="1167" y="141"/>
                  <a:pt x="1165" y="141"/>
                  <a:pt x="1164" y="140"/>
                </a:cubicBezTo>
                <a:cubicBezTo>
                  <a:pt x="1164" y="140"/>
                  <a:pt x="1164" y="140"/>
                  <a:pt x="1164" y="139"/>
                </a:cubicBezTo>
                <a:cubicBezTo>
                  <a:pt x="1164" y="139"/>
                  <a:pt x="1163" y="139"/>
                  <a:pt x="1163" y="138"/>
                </a:cubicBezTo>
                <a:cubicBezTo>
                  <a:pt x="1163" y="138"/>
                  <a:pt x="1162" y="136"/>
                  <a:pt x="1162" y="136"/>
                </a:cubicBezTo>
                <a:cubicBezTo>
                  <a:pt x="1162" y="136"/>
                  <a:pt x="1162" y="135"/>
                  <a:pt x="1162" y="135"/>
                </a:cubicBezTo>
                <a:cubicBezTo>
                  <a:pt x="1162" y="134"/>
                  <a:pt x="1162" y="135"/>
                  <a:pt x="1162" y="134"/>
                </a:cubicBezTo>
                <a:cubicBezTo>
                  <a:pt x="1162" y="134"/>
                  <a:pt x="1161" y="132"/>
                  <a:pt x="1162" y="132"/>
                </a:cubicBezTo>
                <a:cubicBezTo>
                  <a:pt x="1162" y="132"/>
                  <a:pt x="1162" y="130"/>
                  <a:pt x="1163" y="130"/>
                </a:cubicBezTo>
                <a:cubicBezTo>
                  <a:pt x="1163" y="130"/>
                  <a:pt x="1163" y="129"/>
                  <a:pt x="1163" y="129"/>
                </a:cubicBezTo>
                <a:cubicBezTo>
                  <a:pt x="1164" y="129"/>
                  <a:pt x="1163" y="128"/>
                  <a:pt x="1163" y="127"/>
                </a:cubicBezTo>
                <a:cubicBezTo>
                  <a:pt x="1163" y="127"/>
                  <a:pt x="1163" y="127"/>
                  <a:pt x="1162" y="126"/>
                </a:cubicBezTo>
                <a:cubicBezTo>
                  <a:pt x="1162" y="126"/>
                  <a:pt x="1162" y="125"/>
                  <a:pt x="1162" y="125"/>
                </a:cubicBezTo>
                <a:cubicBezTo>
                  <a:pt x="1163" y="125"/>
                  <a:pt x="1163" y="124"/>
                  <a:pt x="1163" y="124"/>
                </a:cubicBezTo>
                <a:cubicBezTo>
                  <a:pt x="1162" y="124"/>
                  <a:pt x="1161" y="124"/>
                  <a:pt x="1161" y="123"/>
                </a:cubicBezTo>
                <a:cubicBezTo>
                  <a:pt x="1160" y="123"/>
                  <a:pt x="1160" y="123"/>
                  <a:pt x="1160" y="122"/>
                </a:cubicBezTo>
                <a:cubicBezTo>
                  <a:pt x="1160" y="122"/>
                  <a:pt x="1160" y="121"/>
                  <a:pt x="1159" y="121"/>
                </a:cubicBezTo>
                <a:cubicBezTo>
                  <a:pt x="1159" y="120"/>
                  <a:pt x="1159" y="119"/>
                  <a:pt x="1160" y="119"/>
                </a:cubicBezTo>
                <a:cubicBezTo>
                  <a:pt x="1160" y="118"/>
                  <a:pt x="1160" y="119"/>
                  <a:pt x="1160" y="118"/>
                </a:cubicBezTo>
                <a:cubicBezTo>
                  <a:pt x="1161" y="118"/>
                  <a:pt x="1161" y="117"/>
                  <a:pt x="1161" y="117"/>
                </a:cubicBezTo>
                <a:cubicBezTo>
                  <a:pt x="1162" y="117"/>
                  <a:pt x="1162" y="114"/>
                  <a:pt x="1163" y="114"/>
                </a:cubicBezTo>
                <a:cubicBezTo>
                  <a:pt x="1162" y="113"/>
                  <a:pt x="1162" y="112"/>
                  <a:pt x="1162" y="111"/>
                </a:cubicBezTo>
                <a:cubicBezTo>
                  <a:pt x="1163" y="111"/>
                  <a:pt x="1162" y="110"/>
                  <a:pt x="1163" y="110"/>
                </a:cubicBezTo>
                <a:cubicBezTo>
                  <a:pt x="1164" y="109"/>
                  <a:pt x="1163" y="109"/>
                  <a:pt x="1163" y="109"/>
                </a:cubicBezTo>
                <a:cubicBezTo>
                  <a:pt x="1163" y="108"/>
                  <a:pt x="1163" y="108"/>
                  <a:pt x="1163" y="107"/>
                </a:cubicBezTo>
                <a:cubicBezTo>
                  <a:pt x="1163" y="107"/>
                  <a:pt x="1163" y="107"/>
                  <a:pt x="1163" y="107"/>
                </a:cubicBezTo>
                <a:cubicBezTo>
                  <a:pt x="1163" y="106"/>
                  <a:pt x="1163" y="107"/>
                  <a:pt x="1163" y="106"/>
                </a:cubicBezTo>
                <a:cubicBezTo>
                  <a:pt x="1162" y="106"/>
                  <a:pt x="1162" y="105"/>
                  <a:pt x="1162" y="104"/>
                </a:cubicBezTo>
                <a:cubicBezTo>
                  <a:pt x="1161" y="104"/>
                  <a:pt x="1160" y="104"/>
                  <a:pt x="1160" y="103"/>
                </a:cubicBezTo>
                <a:cubicBezTo>
                  <a:pt x="1159" y="103"/>
                  <a:pt x="1159" y="103"/>
                  <a:pt x="1159" y="103"/>
                </a:cubicBezTo>
                <a:cubicBezTo>
                  <a:pt x="1158" y="103"/>
                  <a:pt x="1158" y="103"/>
                  <a:pt x="1157" y="103"/>
                </a:cubicBezTo>
                <a:cubicBezTo>
                  <a:pt x="1156" y="103"/>
                  <a:pt x="1155" y="103"/>
                  <a:pt x="1154" y="103"/>
                </a:cubicBezTo>
                <a:cubicBezTo>
                  <a:pt x="1153" y="103"/>
                  <a:pt x="1152" y="103"/>
                  <a:pt x="1151" y="103"/>
                </a:cubicBezTo>
                <a:cubicBezTo>
                  <a:pt x="1150" y="103"/>
                  <a:pt x="1150" y="103"/>
                  <a:pt x="1150" y="103"/>
                </a:cubicBezTo>
                <a:cubicBezTo>
                  <a:pt x="1151" y="104"/>
                  <a:pt x="1147" y="104"/>
                  <a:pt x="1147" y="105"/>
                </a:cubicBezTo>
                <a:cubicBezTo>
                  <a:pt x="1147" y="106"/>
                  <a:pt x="1147" y="105"/>
                  <a:pt x="1147" y="106"/>
                </a:cubicBezTo>
                <a:cubicBezTo>
                  <a:pt x="1147" y="106"/>
                  <a:pt x="1147" y="106"/>
                  <a:pt x="1147" y="106"/>
                </a:cubicBezTo>
                <a:cubicBezTo>
                  <a:pt x="1147" y="107"/>
                  <a:pt x="1147" y="106"/>
                  <a:pt x="1147" y="106"/>
                </a:cubicBezTo>
                <a:cubicBezTo>
                  <a:pt x="1146" y="107"/>
                  <a:pt x="1146" y="107"/>
                  <a:pt x="1146" y="108"/>
                </a:cubicBezTo>
                <a:cubicBezTo>
                  <a:pt x="1146" y="108"/>
                  <a:pt x="1146" y="108"/>
                  <a:pt x="1146" y="108"/>
                </a:cubicBezTo>
                <a:cubicBezTo>
                  <a:pt x="1146" y="108"/>
                  <a:pt x="1146" y="109"/>
                  <a:pt x="1146" y="109"/>
                </a:cubicBezTo>
                <a:cubicBezTo>
                  <a:pt x="1146" y="109"/>
                  <a:pt x="1146" y="109"/>
                  <a:pt x="1145" y="109"/>
                </a:cubicBezTo>
                <a:cubicBezTo>
                  <a:pt x="1145" y="109"/>
                  <a:pt x="1146" y="109"/>
                  <a:pt x="1145" y="109"/>
                </a:cubicBezTo>
                <a:cubicBezTo>
                  <a:pt x="1145" y="110"/>
                  <a:pt x="1145" y="109"/>
                  <a:pt x="1145" y="110"/>
                </a:cubicBezTo>
                <a:cubicBezTo>
                  <a:pt x="1145" y="111"/>
                  <a:pt x="1144" y="110"/>
                  <a:pt x="1144" y="111"/>
                </a:cubicBezTo>
                <a:cubicBezTo>
                  <a:pt x="1144" y="112"/>
                  <a:pt x="1142" y="113"/>
                  <a:pt x="1142" y="113"/>
                </a:cubicBezTo>
                <a:cubicBezTo>
                  <a:pt x="1141" y="114"/>
                  <a:pt x="1140" y="116"/>
                  <a:pt x="1140" y="116"/>
                </a:cubicBezTo>
                <a:cubicBezTo>
                  <a:pt x="1140" y="116"/>
                  <a:pt x="1140" y="117"/>
                  <a:pt x="1139" y="117"/>
                </a:cubicBezTo>
                <a:cubicBezTo>
                  <a:pt x="1139" y="117"/>
                  <a:pt x="1139" y="117"/>
                  <a:pt x="1138" y="117"/>
                </a:cubicBezTo>
                <a:cubicBezTo>
                  <a:pt x="1136" y="117"/>
                  <a:pt x="1136" y="119"/>
                  <a:pt x="1137" y="121"/>
                </a:cubicBezTo>
                <a:cubicBezTo>
                  <a:pt x="1136" y="120"/>
                  <a:pt x="1136" y="121"/>
                  <a:pt x="1136" y="121"/>
                </a:cubicBezTo>
                <a:cubicBezTo>
                  <a:pt x="1136" y="122"/>
                  <a:pt x="1137" y="122"/>
                  <a:pt x="1137" y="122"/>
                </a:cubicBezTo>
                <a:cubicBezTo>
                  <a:pt x="1137" y="123"/>
                  <a:pt x="1137" y="123"/>
                  <a:pt x="1137" y="123"/>
                </a:cubicBezTo>
                <a:cubicBezTo>
                  <a:pt x="1137" y="123"/>
                  <a:pt x="1137" y="123"/>
                  <a:pt x="1137" y="123"/>
                </a:cubicBezTo>
                <a:cubicBezTo>
                  <a:pt x="1137" y="124"/>
                  <a:pt x="1138" y="124"/>
                  <a:pt x="1138" y="125"/>
                </a:cubicBezTo>
                <a:cubicBezTo>
                  <a:pt x="1138" y="125"/>
                  <a:pt x="1137" y="126"/>
                  <a:pt x="1137" y="127"/>
                </a:cubicBezTo>
                <a:cubicBezTo>
                  <a:pt x="1138" y="127"/>
                  <a:pt x="1138" y="127"/>
                  <a:pt x="1138" y="128"/>
                </a:cubicBezTo>
                <a:cubicBezTo>
                  <a:pt x="1138" y="128"/>
                  <a:pt x="1138" y="129"/>
                  <a:pt x="1137" y="129"/>
                </a:cubicBezTo>
                <a:cubicBezTo>
                  <a:pt x="1137" y="129"/>
                  <a:pt x="1136" y="129"/>
                  <a:pt x="1136" y="129"/>
                </a:cubicBezTo>
                <a:cubicBezTo>
                  <a:pt x="1136" y="130"/>
                  <a:pt x="1136" y="132"/>
                  <a:pt x="1136" y="133"/>
                </a:cubicBezTo>
                <a:cubicBezTo>
                  <a:pt x="1137" y="133"/>
                  <a:pt x="1137" y="133"/>
                  <a:pt x="1138" y="133"/>
                </a:cubicBezTo>
                <a:cubicBezTo>
                  <a:pt x="1139" y="134"/>
                  <a:pt x="1140" y="134"/>
                  <a:pt x="1140" y="134"/>
                </a:cubicBezTo>
                <a:cubicBezTo>
                  <a:pt x="1140" y="134"/>
                  <a:pt x="1140" y="134"/>
                  <a:pt x="1140" y="134"/>
                </a:cubicBezTo>
                <a:cubicBezTo>
                  <a:pt x="1141" y="134"/>
                  <a:pt x="1141" y="134"/>
                  <a:pt x="1141" y="134"/>
                </a:cubicBezTo>
                <a:cubicBezTo>
                  <a:pt x="1141" y="135"/>
                  <a:pt x="1140" y="136"/>
                  <a:pt x="1140" y="137"/>
                </a:cubicBezTo>
                <a:cubicBezTo>
                  <a:pt x="1140" y="137"/>
                  <a:pt x="1140" y="138"/>
                  <a:pt x="1140" y="138"/>
                </a:cubicBezTo>
                <a:cubicBezTo>
                  <a:pt x="1141" y="139"/>
                  <a:pt x="1141" y="139"/>
                  <a:pt x="1141" y="139"/>
                </a:cubicBezTo>
                <a:cubicBezTo>
                  <a:pt x="1141" y="141"/>
                  <a:pt x="1142" y="140"/>
                  <a:pt x="1143" y="140"/>
                </a:cubicBezTo>
                <a:cubicBezTo>
                  <a:pt x="1143" y="141"/>
                  <a:pt x="1142" y="142"/>
                  <a:pt x="1142" y="144"/>
                </a:cubicBezTo>
                <a:cubicBezTo>
                  <a:pt x="1142" y="144"/>
                  <a:pt x="1141" y="144"/>
                  <a:pt x="1141" y="145"/>
                </a:cubicBezTo>
                <a:cubicBezTo>
                  <a:pt x="1141" y="145"/>
                  <a:pt x="1141" y="145"/>
                  <a:pt x="1141" y="145"/>
                </a:cubicBezTo>
                <a:cubicBezTo>
                  <a:pt x="1141" y="146"/>
                  <a:pt x="1141" y="146"/>
                  <a:pt x="1140" y="146"/>
                </a:cubicBezTo>
                <a:cubicBezTo>
                  <a:pt x="1139" y="146"/>
                  <a:pt x="1139" y="146"/>
                  <a:pt x="1139" y="145"/>
                </a:cubicBezTo>
                <a:cubicBezTo>
                  <a:pt x="1139" y="144"/>
                  <a:pt x="1139" y="144"/>
                  <a:pt x="1138" y="144"/>
                </a:cubicBezTo>
                <a:cubicBezTo>
                  <a:pt x="1137" y="144"/>
                  <a:pt x="1137" y="144"/>
                  <a:pt x="1137" y="143"/>
                </a:cubicBezTo>
                <a:cubicBezTo>
                  <a:pt x="1137" y="143"/>
                  <a:pt x="1136" y="142"/>
                  <a:pt x="1136" y="142"/>
                </a:cubicBezTo>
                <a:cubicBezTo>
                  <a:pt x="1135" y="141"/>
                  <a:pt x="1136" y="142"/>
                  <a:pt x="1135" y="141"/>
                </a:cubicBezTo>
                <a:cubicBezTo>
                  <a:pt x="1135" y="140"/>
                  <a:pt x="1134" y="140"/>
                  <a:pt x="1134" y="140"/>
                </a:cubicBezTo>
                <a:cubicBezTo>
                  <a:pt x="1134" y="139"/>
                  <a:pt x="1133" y="140"/>
                  <a:pt x="1133" y="139"/>
                </a:cubicBezTo>
                <a:cubicBezTo>
                  <a:pt x="1133" y="139"/>
                  <a:pt x="1132" y="139"/>
                  <a:pt x="1132" y="139"/>
                </a:cubicBezTo>
                <a:cubicBezTo>
                  <a:pt x="1131" y="139"/>
                  <a:pt x="1130" y="139"/>
                  <a:pt x="1130" y="138"/>
                </a:cubicBezTo>
                <a:cubicBezTo>
                  <a:pt x="1130" y="138"/>
                  <a:pt x="1130" y="138"/>
                  <a:pt x="1131" y="137"/>
                </a:cubicBezTo>
                <a:cubicBezTo>
                  <a:pt x="1129" y="137"/>
                  <a:pt x="1128" y="136"/>
                  <a:pt x="1127" y="136"/>
                </a:cubicBezTo>
                <a:cubicBezTo>
                  <a:pt x="1126" y="137"/>
                  <a:pt x="1125" y="140"/>
                  <a:pt x="1125" y="137"/>
                </a:cubicBezTo>
                <a:cubicBezTo>
                  <a:pt x="1125" y="137"/>
                  <a:pt x="1125" y="137"/>
                  <a:pt x="1125" y="136"/>
                </a:cubicBezTo>
                <a:cubicBezTo>
                  <a:pt x="1125" y="136"/>
                  <a:pt x="1126" y="134"/>
                  <a:pt x="1125" y="134"/>
                </a:cubicBezTo>
                <a:cubicBezTo>
                  <a:pt x="1124" y="134"/>
                  <a:pt x="1124" y="134"/>
                  <a:pt x="1123" y="134"/>
                </a:cubicBezTo>
                <a:cubicBezTo>
                  <a:pt x="1122" y="134"/>
                  <a:pt x="1121" y="134"/>
                  <a:pt x="1120" y="134"/>
                </a:cubicBezTo>
                <a:cubicBezTo>
                  <a:pt x="1119" y="134"/>
                  <a:pt x="1119" y="133"/>
                  <a:pt x="1119" y="132"/>
                </a:cubicBezTo>
                <a:cubicBezTo>
                  <a:pt x="1119" y="132"/>
                  <a:pt x="1119" y="133"/>
                  <a:pt x="1118" y="133"/>
                </a:cubicBezTo>
                <a:cubicBezTo>
                  <a:pt x="1118" y="132"/>
                  <a:pt x="1118" y="132"/>
                  <a:pt x="1118" y="132"/>
                </a:cubicBezTo>
                <a:cubicBezTo>
                  <a:pt x="1118" y="131"/>
                  <a:pt x="1117" y="132"/>
                  <a:pt x="1117" y="131"/>
                </a:cubicBezTo>
                <a:cubicBezTo>
                  <a:pt x="1117" y="131"/>
                  <a:pt x="1115" y="131"/>
                  <a:pt x="1115" y="132"/>
                </a:cubicBezTo>
                <a:cubicBezTo>
                  <a:pt x="1115" y="132"/>
                  <a:pt x="1114" y="132"/>
                  <a:pt x="1114" y="133"/>
                </a:cubicBezTo>
                <a:cubicBezTo>
                  <a:pt x="1113" y="133"/>
                  <a:pt x="1113" y="133"/>
                  <a:pt x="1112" y="132"/>
                </a:cubicBezTo>
                <a:cubicBezTo>
                  <a:pt x="1110" y="132"/>
                  <a:pt x="1109" y="132"/>
                  <a:pt x="1108" y="132"/>
                </a:cubicBezTo>
                <a:cubicBezTo>
                  <a:pt x="1107" y="132"/>
                  <a:pt x="1107" y="133"/>
                  <a:pt x="1107" y="133"/>
                </a:cubicBezTo>
                <a:cubicBezTo>
                  <a:pt x="1107" y="134"/>
                  <a:pt x="1106" y="133"/>
                  <a:pt x="1105" y="133"/>
                </a:cubicBezTo>
                <a:cubicBezTo>
                  <a:pt x="1105" y="133"/>
                  <a:pt x="1105" y="134"/>
                  <a:pt x="1104" y="134"/>
                </a:cubicBezTo>
                <a:cubicBezTo>
                  <a:pt x="1105" y="135"/>
                  <a:pt x="1106" y="136"/>
                  <a:pt x="1106" y="137"/>
                </a:cubicBezTo>
                <a:cubicBezTo>
                  <a:pt x="1106" y="138"/>
                  <a:pt x="1107" y="139"/>
                  <a:pt x="1107" y="140"/>
                </a:cubicBezTo>
                <a:cubicBezTo>
                  <a:pt x="1107" y="141"/>
                  <a:pt x="1107" y="141"/>
                  <a:pt x="1106" y="141"/>
                </a:cubicBezTo>
                <a:cubicBezTo>
                  <a:pt x="1106" y="141"/>
                  <a:pt x="1106" y="142"/>
                  <a:pt x="1106" y="142"/>
                </a:cubicBezTo>
                <a:cubicBezTo>
                  <a:pt x="1106" y="143"/>
                  <a:pt x="1105" y="143"/>
                  <a:pt x="1104" y="143"/>
                </a:cubicBezTo>
                <a:cubicBezTo>
                  <a:pt x="1104" y="143"/>
                  <a:pt x="1103" y="143"/>
                  <a:pt x="1103" y="142"/>
                </a:cubicBezTo>
                <a:cubicBezTo>
                  <a:pt x="1103" y="142"/>
                  <a:pt x="1102" y="142"/>
                  <a:pt x="1102" y="142"/>
                </a:cubicBezTo>
                <a:cubicBezTo>
                  <a:pt x="1102" y="143"/>
                  <a:pt x="1100" y="142"/>
                  <a:pt x="1101" y="144"/>
                </a:cubicBezTo>
                <a:cubicBezTo>
                  <a:pt x="1101" y="145"/>
                  <a:pt x="1101" y="145"/>
                  <a:pt x="1100" y="146"/>
                </a:cubicBezTo>
                <a:cubicBezTo>
                  <a:pt x="1100" y="145"/>
                  <a:pt x="1099" y="145"/>
                  <a:pt x="1099" y="145"/>
                </a:cubicBezTo>
                <a:cubicBezTo>
                  <a:pt x="1099" y="144"/>
                  <a:pt x="1098" y="144"/>
                  <a:pt x="1098" y="143"/>
                </a:cubicBezTo>
                <a:cubicBezTo>
                  <a:pt x="1098" y="143"/>
                  <a:pt x="1098" y="142"/>
                  <a:pt x="1098" y="142"/>
                </a:cubicBezTo>
                <a:cubicBezTo>
                  <a:pt x="1097" y="141"/>
                  <a:pt x="1098" y="141"/>
                  <a:pt x="1098" y="140"/>
                </a:cubicBezTo>
                <a:cubicBezTo>
                  <a:pt x="1096" y="140"/>
                  <a:pt x="1095" y="140"/>
                  <a:pt x="1093" y="141"/>
                </a:cubicBezTo>
                <a:cubicBezTo>
                  <a:pt x="1092" y="141"/>
                  <a:pt x="1092" y="141"/>
                  <a:pt x="1091" y="142"/>
                </a:cubicBezTo>
                <a:cubicBezTo>
                  <a:pt x="1091" y="143"/>
                  <a:pt x="1090" y="143"/>
                  <a:pt x="1089" y="143"/>
                </a:cubicBezTo>
                <a:cubicBezTo>
                  <a:pt x="1088" y="142"/>
                  <a:pt x="1088" y="141"/>
                  <a:pt x="1087" y="141"/>
                </a:cubicBezTo>
                <a:cubicBezTo>
                  <a:pt x="1086" y="141"/>
                  <a:pt x="1085" y="141"/>
                  <a:pt x="1083" y="141"/>
                </a:cubicBezTo>
                <a:cubicBezTo>
                  <a:pt x="1082" y="142"/>
                  <a:pt x="1080" y="143"/>
                  <a:pt x="1078" y="143"/>
                </a:cubicBezTo>
                <a:cubicBezTo>
                  <a:pt x="1078" y="144"/>
                  <a:pt x="1079" y="144"/>
                  <a:pt x="1079" y="145"/>
                </a:cubicBezTo>
                <a:cubicBezTo>
                  <a:pt x="1079" y="145"/>
                  <a:pt x="1079" y="145"/>
                  <a:pt x="1078" y="145"/>
                </a:cubicBezTo>
                <a:cubicBezTo>
                  <a:pt x="1078" y="145"/>
                  <a:pt x="1077" y="145"/>
                  <a:pt x="1077" y="144"/>
                </a:cubicBezTo>
                <a:cubicBezTo>
                  <a:pt x="1076" y="144"/>
                  <a:pt x="1075" y="145"/>
                  <a:pt x="1074" y="145"/>
                </a:cubicBezTo>
                <a:cubicBezTo>
                  <a:pt x="1074" y="146"/>
                  <a:pt x="1073" y="145"/>
                  <a:pt x="1073" y="145"/>
                </a:cubicBezTo>
                <a:cubicBezTo>
                  <a:pt x="1072" y="145"/>
                  <a:pt x="1071" y="145"/>
                  <a:pt x="1070" y="145"/>
                </a:cubicBezTo>
                <a:cubicBezTo>
                  <a:pt x="1070" y="143"/>
                  <a:pt x="1071" y="144"/>
                  <a:pt x="1073" y="144"/>
                </a:cubicBezTo>
                <a:cubicBezTo>
                  <a:pt x="1073" y="144"/>
                  <a:pt x="1073" y="144"/>
                  <a:pt x="1073" y="144"/>
                </a:cubicBezTo>
                <a:cubicBezTo>
                  <a:pt x="1073" y="142"/>
                  <a:pt x="1072" y="142"/>
                  <a:pt x="1072" y="141"/>
                </a:cubicBezTo>
                <a:cubicBezTo>
                  <a:pt x="1072" y="140"/>
                  <a:pt x="1071" y="141"/>
                  <a:pt x="1070" y="141"/>
                </a:cubicBezTo>
                <a:cubicBezTo>
                  <a:pt x="1070" y="140"/>
                  <a:pt x="1071" y="139"/>
                  <a:pt x="1071" y="139"/>
                </a:cubicBezTo>
                <a:cubicBezTo>
                  <a:pt x="1070" y="139"/>
                  <a:pt x="1069" y="139"/>
                  <a:pt x="1069" y="139"/>
                </a:cubicBezTo>
                <a:cubicBezTo>
                  <a:pt x="1068" y="140"/>
                  <a:pt x="1070" y="140"/>
                  <a:pt x="1068" y="140"/>
                </a:cubicBezTo>
                <a:cubicBezTo>
                  <a:pt x="1068" y="140"/>
                  <a:pt x="1068" y="140"/>
                  <a:pt x="1068" y="141"/>
                </a:cubicBezTo>
                <a:cubicBezTo>
                  <a:pt x="1067" y="141"/>
                  <a:pt x="1067" y="141"/>
                  <a:pt x="1066" y="141"/>
                </a:cubicBezTo>
                <a:cubicBezTo>
                  <a:pt x="1065" y="141"/>
                  <a:pt x="1066" y="142"/>
                  <a:pt x="1066" y="143"/>
                </a:cubicBezTo>
                <a:cubicBezTo>
                  <a:pt x="1066" y="143"/>
                  <a:pt x="1066" y="144"/>
                  <a:pt x="1065" y="144"/>
                </a:cubicBezTo>
                <a:cubicBezTo>
                  <a:pt x="1065" y="144"/>
                  <a:pt x="1065" y="143"/>
                  <a:pt x="1065" y="142"/>
                </a:cubicBezTo>
                <a:cubicBezTo>
                  <a:pt x="1064" y="142"/>
                  <a:pt x="1063" y="142"/>
                  <a:pt x="1062" y="143"/>
                </a:cubicBezTo>
                <a:cubicBezTo>
                  <a:pt x="1061" y="143"/>
                  <a:pt x="1061" y="144"/>
                  <a:pt x="1060" y="144"/>
                </a:cubicBezTo>
                <a:cubicBezTo>
                  <a:pt x="1059" y="144"/>
                  <a:pt x="1059" y="144"/>
                  <a:pt x="1058" y="144"/>
                </a:cubicBezTo>
                <a:cubicBezTo>
                  <a:pt x="1059" y="144"/>
                  <a:pt x="1057" y="144"/>
                  <a:pt x="1058" y="144"/>
                </a:cubicBezTo>
                <a:cubicBezTo>
                  <a:pt x="1057" y="145"/>
                  <a:pt x="1056" y="145"/>
                  <a:pt x="1055" y="145"/>
                </a:cubicBezTo>
                <a:cubicBezTo>
                  <a:pt x="1055" y="145"/>
                  <a:pt x="1055" y="146"/>
                  <a:pt x="1055" y="146"/>
                </a:cubicBezTo>
                <a:cubicBezTo>
                  <a:pt x="1054" y="146"/>
                  <a:pt x="1054" y="146"/>
                  <a:pt x="1054" y="146"/>
                </a:cubicBezTo>
                <a:cubicBezTo>
                  <a:pt x="1053" y="147"/>
                  <a:pt x="1052" y="147"/>
                  <a:pt x="1051" y="147"/>
                </a:cubicBezTo>
                <a:cubicBezTo>
                  <a:pt x="1050" y="148"/>
                  <a:pt x="1049" y="148"/>
                  <a:pt x="1048" y="148"/>
                </a:cubicBezTo>
                <a:cubicBezTo>
                  <a:pt x="1048" y="148"/>
                  <a:pt x="1048" y="148"/>
                  <a:pt x="1048" y="149"/>
                </a:cubicBezTo>
                <a:cubicBezTo>
                  <a:pt x="1048" y="149"/>
                  <a:pt x="1047" y="149"/>
                  <a:pt x="1047" y="150"/>
                </a:cubicBezTo>
                <a:cubicBezTo>
                  <a:pt x="1047" y="149"/>
                  <a:pt x="1047" y="149"/>
                  <a:pt x="1046" y="149"/>
                </a:cubicBezTo>
                <a:cubicBezTo>
                  <a:pt x="1046" y="150"/>
                  <a:pt x="1045" y="150"/>
                  <a:pt x="1044" y="150"/>
                </a:cubicBezTo>
                <a:cubicBezTo>
                  <a:pt x="1044" y="152"/>
                  <a:pt x="1043" y="153"/>
                  <a:pt x="1043" y="155"/>
                </a:cubicBezTo>
                <a:cubicBezTo>
                  <a:pt x="1043" y="155"/>
                  <a:pt x="1043" y="156"/>
                  <a:pt x="1043" y="157"/>
                </a:cubicBezTo>
                <a:cubicBezTo>
                  <a:pt x="1043" y="157"/>
                  <a:pt x="1042" y="157"/>
                  <a:pt x="1041" y="156"/>
                </a:cubicBezTo>
                <a:cubicBezTo>
                  <a:pt x="1041" y="157"/>
                  <a:pt x="1041" y="158"/>
                  <a:pt x="1040" y="158"/>
                </a:cubicBezTo>
                <a:cubicBezTo>
                  <a:pt x="1040" y="158"/>
                  <a:pt x="1039" y="158"/>
                  <a:pt x="1039" y="158"/>
                </a:cubicBezTo>
                <a:cubicBezTo>
                  <a:pt x="1039" y="158"/>
                  <a:pt x="1039" y="158"/>
                  <a:pt x="1039" y="158"/>
                </a:cubicBezTo>
                <a:cubicBezTo>
                  <a:pt x="1038" y="158"/>
                  <a:pt x="1038" y="158"/>
                  <a:pt x="1037" y="158"/>
                </a:cubicBezTo>
                <a:cubicBezTo>
                  <a:pt x="1036" y="158"/>
                  <a:pt x="1036" y="159"/>
                  <a:pt x="1036" y="159"/>
                </a:cubicBezTo>
                <a:cubicBezTo>
                  <a:pt x="1035" y="159"/>
                  <a:pt x="1035" y="159"/>
                  <a:pt x="1034" y="158"/>
                </a:cubicBezTo>
                <a:cubicBezTo>
                  <a:pt x="1034" y="157"/>
                  <a:pt x="1034" y="156"/>
                  <a:pt x="1034" y="155"/>
                </a:cubicBezTo>
                <a:cubicBezTo>
                  <a:pt x="1033" y="155"/>
                  <a:pt x="1033" y="155"/>
                  <a:pt x="1033" y="154"/>
                </a:cubicBezTo>
                <a:cubicBezTo>
                  <a:pt x="1033" y="153"/>
                  <a:pt x="1033" y="153"/>
                  <a:pt x="1033" y="153"/>
                </a:cubicBezTo>
                <a:cubicBezTo>
                  <a:pt x="1034" y="152"/>
                  <a:pt x="1034" y="152"/>
                  <a:pt x="1034" y="151"/>
                </a:cubicBezTo>
                <a:cubicBezTo>
                  <a:pt x="1034" y="150"/>
                  <a:pt x="1036" y="151"/>
                  <a:pt x="1036" y="151"/>
                </a:cubicBezTo>
                <a:cubicBezTo>
                  <a:pt x="1036" y="150"/>
                  <a:pt x="1039" y="150"/>
                  <a:pt x="1040" y="150"/>
                </a:cubicBezTo>
                <a:cubicBezTo>
                  <a:pt x="1040" y="149"/>
                  <a:pt x="1039" y="149"/>
                  <a:pt x="1039" y="148"/>
                </a:cubicBezTo>
                <a:cubicBezTo>
                  <a:pt x="1039" y="148"/>
                  <a:pt x="1039" y="148"/>
                  <a:pt x="1039" y="148"/>
                </a:cubicBezTo>
                <a:cubicBezTo>
                  <a:pt x="1039" y="148"/>
                  <a:pt x="1039" y="147"/>
                  <a:pt x="1039" y="147"/>
                </a:cubicBezTo>
                <a:cubicBezTo>
                  <a:pt x="1038" y="146"/>
                  <a:pt x="1037" y="146"/>
                  <a:pt x="1037" y="145"/>
                </a:cubicBezTo>
                <a:cubicBezTo>
                  <a:pt x="1037" y="143"/>
                  <a:pt x="1035" y="142"/>
                  <a:pt x="1035" y="142"/>
                </a:cubicBezTo>
                <a:cubicBezTo>
                  <a:pt x="1033" y="142"/>
                  <a:pt x="1032" y="141"/>
                  <a:pt x="1030" y="141"/>
                </a:cubicBezTo>
                <a:cubicBezTo>
                  <a:pt x="1030" y="141"/>
                  <a:pt x="1029" y="141"/>
                  <a:pt x="1029" y="141"/>
                </a:cubicBezTo>
                <a:cubicBezTo>
                  <a:pt x="1029" y="140"/>
                  <a:pt x="1028" y="141"/>
                  <a:pt x="1027" y="140"/>
                </a:cubicBezTo>
                <a:cubicBezTo>
                  <a:pt x="1027" y="140"/>
                  <a:pt x="1026" y="139"/>
                  <a:pt x="1025" y="139"/>
                </a:cubicBezTo>
                <a:cubicBezTo>
                  <a:pt x="1025" y="140"/>
                  <a:pt x="1026" y="142"/>
                  <a:pt x="1027" y="142"/>
                </a:cubicBezTo>
                <a:cubicBezTo>
                  <a:pt x="1028" y="143"/>
                  <a:pt x="1027" y="143"/>
                  <a:pt x="1028" y="143"/>
                </a:cubicBezTo>
                <a:cubicBezTo>
                  <a:pt x="1028" y="143"/>
                  <a:pt x="1028" y="143"/>
                  <a:pt x="1028" y="143"/>
                </a:cubicBezTo>
                <a:cubicBezTo>
                  <a:pt x="1028" y="144"/>
                  <a:pt x="1028" y="144"/>
                  <a:pt x="1028" y="145"/>
                </a:cubicBezTo>
                <a:cubicBezTo>
                  <a:pt x="1028" y="145"/>
                  <a:pt x="1028" y="145"/>
                  <a:pt x="1028" y="145"/>
                </a:cubicBezTo>
                <a:cubicBezTo>
                  <a:pt x="1028" y="145"/>
                  <a:pt x="1028" y="146"/>
                  <a:pt x="1027" y="146"/>
                </a:cubicBezTo>
                <a:cubicBezTo>
                  <a:pt x="1027" y="146"/>
                  <a:pt x="1027" y="147"/>
                  <a:pt x="1027" y="147"/>
                </a:cubicBezTo>
                <a:cubicBezTo>
                  <a:pt x="1027" y="148"/>
                  <a:pt x="1027" y="148"/>
                  <a:pt x="1026" y="148"/>
                </a:cubicBezTo>
                <a:cubicBezTo>
                  <a:pt x="1026" y="148"/>
                  <a:pt x="1026" y="148"/>
                  <a:pt x="1026" y="149"/>
                </a:cubicBezTo>
                <a:cubicBezTo>
                  <a:pt x="1025" y="149"/>
                  <a:pt x="1026" y="149"/>
                  <a:pt x="1026" y="150"/>
                </a:cubicBezTo>
                <a:cubicBezTo>
                  <a:pt x="1025" y="150"/>
                  <a:pt x="1025" y="150"/>
                  <a:pt x="1025" y="151"/>
                </a:cubicBezTo>
                <a:cubicBezTo>
                  <a:pt x="1025" y="151"/>
                  <a:pt x="1024" y="152"/>
                  <a:pt x="1025" y="152"/>
                </a:cubicBezTo>
                <a:cubicBezTo>
                  <a:pt x="1026" y="152"/>
                  <a:pt x="1026" y="153"/>
                  <a:pt x="1027" y="153"/>
                </a:cubicBezTo>
                <a:cubicBezTo>
                  <a:pt x="1027" y="154"/>
                  <a:pt x="1027" y="154"/>
                  <a:pt x="1027" y="154"/>
                </a:cubicBezTo>
                <a:cubicBezTo>
                  <a:pt x="1027" y="154"/>
                  <a:pt x="1027" y="154"/>
                  <a:pt x="1027" y="154"/>
                </a:cubicBezTo>
                <a:cubicBezTo>
                  <a:pt x="1027" y="156"/>
                  <a:pt x="1026" y="156"/>
                  <a:pt x="1025" y="156"/>
                </a:cubicBezTo>
                <a:cubicBezTo>
                  <a:pt x="1025" y="157"/>
                  <a:pt x="1025" y="158"/>
                  <a:pt x="1025" y="158"/>
                </a:cubicBezTo>
                <a:cubicBezTo>
                  <a:pt x="1025" y="158"/>
                  <a:pt x="1024" y="158"/>
                  <a:pt x="1024" y="158"/>
                </a:cubicBezTo>
                <a:cubicBezTo>
                  <a:pt x="1024" y="159"/>
                  <a:pt x="1024" y="159"/>
                  <a:pt x="1024" y="159"/>
                </a:cubicBezTo>
                <a:cubicBezTo>
                  <a:pt x="1024" y="160"/>
                  <a:pt x="1023" y="162"/>
                  <a:pt x="1024" y="162"/>
                </a:cubicBezTo>
                <a:cubicBezTo>
                  <a:pt x="1023" y="162"/>
                  <a:pt x="1022" y="162"/>
                  <a:pt x="1021" y="162"/>
                </a:cubicBezTo>
                <a:cubicBezTo>
                  <a:pt x="1022" y="162"/>
                  <a:pt x="1022" y="161"/>
                  <a:pt x="1022" y="161"/>
                </a:cubicBezTo>
                <a:cubicBezTo>
                  <a:pt x="1022" y="161"/>
                  <a:pt x="1022" y="161"/>
                  <a:pt x="1021" y="160"/>
                </a:cubicBezTo>
                <a:cubicBezTo>
                  <a:pt x="1021" y="160"/>
                  <a:pt x="1021" y="160"/>
                  <a:pt x="1021" y="160"/>
                </a:cubicBezTo>
                <a:cubicBezTo>
                  <a:pt x="1020" y="160"/>
                  <a:pt x="1020" y="159"/>
                  <a:pt x="1019" y="159"/>
                </a:cubicBezTo>
                <a:cubicBezTo>
                  <a:pt x="1018" y="159"/>
                  <a:pt x="1018" y="159"/>
                  <a:pt x="1018" y="158"/>
                </a:cubicBezTo>
                <a:cubicBezTo>
                  <a:pt x="1017" y="158"/>
                  <a:pt x="1017" y="158"/>
                  <a:pt x="1016" y="158"/>
                </a:cubicBezTo>
                <a:cubicBezTo>
                  <a:pt x="1016" y="158"/>
                  <a:pt x="1016" y="159"/>
                  <a:pt x="1015" y="159"/>
                </a:cubicBezTo>
                <a:cubicBezTo>
                  <a:pt x="1014" y="159"/>
                  <a:pt x="1014" y="160"/>
                  <a:pt x="1013" y="160"/>
                </a:cubicBezTo>
                <a:cubicBezTo>
                  <a:pt x="1012" y="160"/>
                  <a:pt x="1011" y="160"/>
                  <a:pt x="1011" y="162"/>
                </a:cubicBezTo>
                <a:cubicBezTo>
                  <a:pt x="1011" y="162"/>
                  <a:pt x="1009" y="164"/>
                  <a:pt x="1008" y="164"/>
                </a:cubicBezTo>
                <a:cubicBezTo>
                  <a:pt x="1008" y="164"/>
                  <a:pt x="1008" y="164"/>
                  <a:pt x="1007" y="164"/>
                </a:cubicBezTo>
                <a:cubicBezTo>
                  <a:pt x="1007" y="165"/>
                  <a:pt x="1007" y="166"/>
                  <a:pt x="1007" y="167"/>
                </a:cubicBezTo>
                <a:cubicBezTo>
                  <a:pt x="1008" y="167"/>
                  <a:pt x="1008" y="168"/>
                  <a:pt x="1009" y="168"/>
                </a:cubicBezTo>
                <a:cubicBezTo>
                  <a:pt x="1009" y="168"/>
                  <a:pt x="1009" y="169"/>
                  <a:pt x="1009" y="169"/>
                </a:cubicBezTo>
                <a:cubicBezTo>
                  <a:pt x="1009" y="169"/>
                  <a:pt x="1010" y="169"/>
                  <a:pt x="1010" y="169"/>
                </a:cubicBezTo>
                <a:cubicBezTo>
                  <a:pt x="1011" y="171"/>
                  <a:pt x="1011" y="171"/>
                  <a:pt x="1011" y="172"/>
                </a:cubicBezTo>
                <a:cubicBezTo>
                  <a:pt x="1010" y="172"/>
                  <a:pt x="1010" y="172"/>
                  <a:pt x="1009" y="172"/>
                </a:cubicBezTo>
                <a:cubicBezTo>
                  <a:pt x="1009" y="172"/>
                  <a:pt x="1009" y="172"/>
                  <a:pt x="1009" y="172"/>
                </a:cubicBezTo>
                <a:cubicBezTo>
                  <a:pt x="1008" y="172"/>
                  <a:pt x="1007" y="172"/>
                  <a:pt x="1006" y="172"/>
                </a:cubicBezTo>
                <a:cubicBezTo>
                  <a:pt x="1006" y="172"/>
                  <a:pt x="1007" y="171"/>
                  <a:pt x="1006" y="171"/>
                </a:cubicBezTo>
                <a:cubicBezTo>
                  <a:pt x="1006" y="171"/>
                  <a:pt x="1005" y="171"/>
                  <a:pt x="1005" y="171"/>
                </a:cubicBezTo>
                <a:cubicBezTo>
                  <a:pt x="1005" y="171"/>
                  <a:pt x="1005" y="171"/>
                  <a:pt x="1005" y="171"/>
                </a:cubicBezTo>
                <a:cubicBezTo>
                  <a:pt x="1004" y="171"/>
                  <a:pt x="1003" y="171"/>
                  <a:pt x="1003" y="170"/>
                </a:cubicBezTo>
                <a:cubicBezTo>
                  <a:pt x="1003" y="170"/>
                  <a:pt x="1002" y="170"/>
                  <a:pt x="1002" y="171"/>
                </a:cubicBezTo>
                <a:cubicBezTo>
                  <a:pt x="1002" y="171"/>
                  <a:pt x="1002" y="172"/>
                  <a:pt x="1001" y="171"/>
                </a:cubicBezTo>
                <a:cubicBezTo>
                  <a:pt x="1001" y="171"/>
                  <a:pt x="1003" y="170"/>
                  <a:pt x="1003" y="169"/>
                </a:cubicBezTo>
                <a:cubicBezTo>
                  <a:pt x="1002" y="169"/>
                  <a:pt x="1002" y="169"/>
                  <a:pt x="1000" y="168"/>
                </a:cubicBezTo>
                <a:cubicBezTo>
                  <a:pt x="1000" y="168"/>
                  <a:pt x="1000" y="168"/>
                  <a:pt x="999" y="167"/>
                </a:cubicBezTo>
                <a:cubicBezTo>
                  <a:pt x="998" y="167"/>
                  <a:pt x="997" y="166"/>
                  <a:pt x="997" y="166"/>
                </a:cubicBezTo>
                <a:cubicBezTo>
                  <a:pt x="996" y="167"/>
                  <a:pt x="996" y="168"/>
                  <a:pt x="997" y="169"/>
                </a:cubicBezTo>
                <a:cubicBezTo>
                  <a:pt x="996" y="169"/>
                  <a:pt x="996" y="169"/>
                  <a:pt x="995" y="170"/>
                </a:cubicBezTo>
                <a:cubicBezTo>
                  <a:pt x="995" y="170"/>
                  <a:pt x="995" y="171"/>
                  <a:pt x="996" y="171"/>
                </a:cubicBezTo>
                <a:cubicBezTo>
                  <a:pt x="996" y="171"/>
                  <a:pt x="996" y="172"/>
                  <a:pt x="996" y="172"/>
                </a:cubicBezTo>
                <a:cubicBezTo>
                  <a:pt x="997" y="173"/>
                  <a:pt x="998" y="174"/>
                  <a:pt x="999" y="174"/>
                </a:cubicBezTo>
                <a:cubicBezTo>
                  <a:pt x="1000" y="174"/>
                  <a:pt x="1000" y="175"/>
                  <a:pt x="1000" y="176"/>
                </a:cubicBezTo>
                <a:cubicBezTo>
                  <a:pt x="1000" y="177"/>
                  <a:pt x="1000" y="177"/>
                  <a:pt x="1000" y="177"/>
                </a:cubicBezTo>
                <a:cubicBezTo>
                  <a:pt x="1000" y="178"/>
                  <a:pt x="999" y="178"/>
                  <a:pt x="999" y="178"/>
                </a:cubicBezTo>
                <a:cubicBezTo>
                  <a:pt x="1000" y="178"/>
                  <a:pt x="1000" y="179"/>
                  <a:pt x="1000" y="179"/>
                </a:cubicBezTo>
                <a:cubicBezTo>
                  <a:pt x="1000" y="179"/>
                  <a:pt x="998" y="179"/>
                  <a:pt x="998" y="179"/>
                </a:cubicBezTo>
                <a:cubicBezTo>
                  <a:pt x="997" y="180"/>
                  <a:pt x="999" y="180"/>
                  <a:pt x="997" y="180"/>
                </a:cubicBezTo>
                <a:cubicBezTo>
                  <a:pt x="997" y="180"/>
                  <a:pt x="997" y="180"/>
                  <a:pt x="997" y="180"/>
                </a:cubicBezTo>
                <a:cubicBezTo>
                  <a:pt x="997" y="179"/>
                  <a:pt x="995" y="179"/>
                  <a:pt x="995" y="179"/>
                </a:cubicBezTo>
                <a:cubicBezTo>
                  <a:pt x="994" y="178"/>
                  <a:pt x="992" y="178"/>
                  <a:pt x="991" y="179"/>
                </a:cubicBezTo>
                <a:cubicBezTo>
                  <a:pt x="990" y="178"/>
                  <a:pt x="990" y="177"/>
                  <a:pt x="990" y="177"/>
                </a:cubicBezTo>
                <a:cubicBezTo>
                  <a:pt x="990" y="176"/>
                  <a:pt x="990" y="176"/>
                  <a:pt x="989" y="175"/>
                </a:cubicBezTo>
                <a:cubicBezTo>
                  <a:pt x="989" y="175"/>
                  <a:pt x="988" y="175"/>
                  <a:pt x="988" y="176"/>
                </a:cubicBezTo>
                <a:cubicBezTo>
                  <a:pt x="987" y="176"/>
                  <a:pt x="986" y="176"/>
                  <a:pt x="986" y="174"/>
                </a:cubicBezTo>
                <a:cubicBezTo>
                  <a:pt x="986" y="174"/>
                  <a:pt x="986" y="173"/>
                  <a:pt x="986" y="172"/>
                </a:cubicBezTo>
                <a:cubicBezTo>
                  <a:pt x="986" y="172"/>
                  <a:pt x="986" y="172"/>
                  <a:pt x="986" y="172"/>
                </a:cubicBezTo>
                <a:cubicBezTo>
                  <a:pt x="985" y="172"/>
                  <a:pt x="986" y="171"/>
                  <a:pt x="986" y="171"/>
                </a:cubicBezTo>
                <a:cubicBezTo>
                  <a:pt x="986" y="170"/>
                  <a:pt x="986" y="169"/>
                  <a:pt x="986" y="169"/>
                </a:cubicBezTo>
                <a:cubicBezTo>
                  <a:pt x="985" y="169"/>
                  <a:pt x="985" y="169"/>
                  <a:pt x="985" y="168"/>
                </a:cubicBezTo>
                <a:cubicBezTo>
                  <a:pt x="985" y="168"/>
                  <a:pt x="985" y="167"/>
                  <a:pt x="984" y="167"/>
                </a:cubicBezTo>
                <a:cubicBezTo>
                  <a:pt x="985" y="167"/>
                  <a:pt x="984" y="165"/>
                  <a:pt x="985" y="165"/>
                </a:cubicBezTo>
                <a:cubicBezTo>
                  <a:pt x="986" y="165"/>
                  <a:pt x="985" y="163"/>
                  <a:pt x="985" y="163"/>
                </a:cubicBezTo>
                <a:cubicBezTo>
                  <a:pt x="984" y="163"/>
                  <a:pt x="984" y="163"/>
                  <a:pt x="984" y="163"/>
                </a:cubicBezTo>
                <a:cubicBezTo>
                  <a:pt x="983" y="162"/>
                  <a:pt x="983" y="162"/>
                  <a:pt x="983" y="162"/>
                </a:cubicBezTo>
                <a:cubicBezTo>
                  <a:pt x="983" y="161"/>
                  <a:pt x="981" y="162"/>
                  <a:pt x="981" y="162"/>
                </a:cubicBezTo>
                <a:cubicBezTo>
                  <a:pt x="980" y="162"/>
                  <a:pt x="981" y="161"/>
                  <a:pt x="980" y="161"/>
                </a:cubicBezTo>
                <a:cubicBezTo>
                  <a:pt x="980" y="161"/>
                  <a:pt x="980" y="161"/>
                  <a:pt x="980" y="161"/>
                </a:cubicBezTo>
                <a:cubicBezTo>
                  <a:pt x="979" y="161"/>
                  <a:pt x="980" y="161"/>
                  <a:pt x="980" y="161"/>
                </a:cubicBezTo>
                <a:cubicBezTo>
                  <a:pt x="979" y="161"/>
                  <a:pt x="978" y="161"/>
                  <a:pt x="977" y="160"/>
                </a:cubicBezTo>
                <a:cubicBezTo>
                  <a:pt x="977" y="160"/>
                  <a:pt x="976" y="160"/>
                  <a:pt x="975" y="160"/>
                </a:cubicBezTo>
                <a:cubicBezTo>
                  <a:pt x="975" y="160"/>
                  <a:pt x="975" y="160"/>
                  <a:pt x="975" y="160"/>
                </a:cubicBezTo>
                <a:cubicBezTo>
                  <a:pt x="976" y="160"/>
                  <a:pt x="976" y="160"/>
                  <a:pt x="977" y="160"/>
                </a:cubicBezTo>
                <a:cubicBezTo>
                  <a:pt x="977" y="160"/>
                  <a:pt x="977" y="159"/>
                  <a:pt x="977" y="159"/>
                </a:cubicBezTo>
                <a:cubicBezTo>
                  <a:pt x="977" y="159"/>
                  <a:pt x="977" y="158"/>
                  <a:pt x="977" y="159"/>
                </a:cubicBezTo>
                <a:cubicBezTo>
                  <a:pt x="976" y="159"/>
                  <a:pt x="975" y="158"/>
                  <a:pt x="975" y="158"/>
                </a:cubicBezTo>
                <a:cubicBezTo>
                  <a:pt x="974" y="158"/>
                  <a:pt x="974" y="157"/>
                  <a:pt x="974" y="157"/>
                </a:cubicBezTo>
                <a:cubicBezTo>
                  <a:pt x="975" y="157"/>
                  <a:pt x="975" y="157"/>
                  <a:pt x="976" y="156"/>
                </a:cubicBezTo>
                <a:cubicBezTo>
                  <a:pt x="974" y="155"/>
                  <a:pt x="974" y="155"/>
                  <a:pt x="973" y="156"/>
                </a:cubicBezTo>
                <a:cubicBezTo>
                  <a:pt x="973" y="156"/>
                  <a:pt x="973" y="156"/>
                  <a:pt x="973" y="155"/>
                </a:cubicBezTo>
                <a:cubicBezTo>
                  <a:pt x="973" y="155"/>
                  <a:pt x="972" y="155"/>
                  <a:pt x="972" y="155"/>
                </a:cubicBezTo>
                <a:cubicBezTo>
                  <a:pt x="972" y="155"/>
                  <a:pt x="973" y="155"/>
                  <a:pt x="973" y="154"/>
                </a:cubicBezTo>
                <a:cubicBezTo>
                  <a:pt x="973" y="154"/>
                  <a:pt x="973" y="154"/>
                  <a:pt x="972" y="154"/>
                </a:cubicBezTo>
                <a:cubicBezTo>
                  <a:pt x="972" y="154"/>
                  <a:pt x="972" y="153"/>
                  <a:pt x="972" y="153"/>
                </a:cubicBezTo>
                <a:cubicBezTo>
                  <a:pt x="972" y="153"/>
                  <a:pt x="972" y="152"/>
                  <a:pt x="971" y="152"/>
                </a:cubicBezTo>
                <a:cubicBezTo>
                  <a:pt x="971" y="152"/>
                  <a:pt x="970" y="152"/>
                  <a:pt x="971" y="151"/>
                </a:cubicBezTo>
                <a:cubicBezTo>
                  <a:pt x="971" y="151"/>
                  <a:pt x="971" y="151"/>
                  <a:pt x="972" y="151"/>
                </a:cubicBezTo>
                <a:cubicBezTo>
                  <a:pt x="972" y="152"/>
                  <a:pt x="972" y="151"/>
                  <a:pt x="973" y="152"/>
                </a:cubicBezTo>
                <a:cubicBezTo>
                  <a:pt x="974" y="152"/>
                  <a:pt x="973" y="153"/>
                  <a:pt x="974" y="153"/>
                </a:cubicBezTo>
                <a:cubicBezTo>
                  <a:pt x="974" y="153"/>
                  <a:pt x="974" y="153"/>
                  <a:pt x="975" y="153"/>
                </a:cubicBezTo>
                <a:cubicBezTo>
                  <a:pt x="975" y="153"/>
                  <a:pt x="975" y="154"/>
                  <a:pt x="975" y="154"/>
                </a:cubicBezTo>
                <a:cubicBezTo>
                  <a:pt x="976" y="154"/>
                  <a:pt x="976" y="154"/>
                  <a:pt x="976" y="154"/>
                </a:cubicBezTo>
                <a:cubicBezTo>
                  <a:pt x="977" y="154"/>
                  <a:pt x="978" y="154"/>
                  <a:pt x="978" y="154"/>
                </a:cubicBezTo>
                <a:cubicBezTo>
                  <a:pt x="978" y="155"/>
                  <a:pt x="981" y="155"/>
                  <a:pt x="981" y="156"/>
                </a:cubicBezTo>
                <a:cubicBezTo>
                  <a:pt x="981" y="157"/>
                  <a:pt x="981" y="157"/>
                  <a:pt x="982" y="157"/>
                </a:cubicBezTo>
                <a:cubicBezTo>
                  <a:pt x="982" y="157"/>
                  <a:pt x="982" y="156"/>
                  <a:pt x="982" y="155"/>
                </a:cubicBezTo>
                <a:cubicBezTo>
                  <a:pt x="982" y="155"/>
                  <a:pt x="982" y="155"/>
                  <a:pt x="982" y="155"/>
                </a:cubicBezTo>
                <a:cubicBezTo>
                  <a:pt x="983" y="155"/>
                  <a:pt x="983" y="156"/>
                  <a:pt x="983" y="157"/>
                </a:cubicBezTo>
                <a:cubicBezTo>
                  <a:pt x="983" y="158"/>
                  <a:pt x="985" y="158"/>
                  <a:pt x="986" y="158"/>
                </a:cubicBezTo>
                <a:cubicBezTo>
                  <a:pt x="987" y="158"/>
                  <a:pt x="987" y="159"/>
                  <a:pt x="988" y="159"/>
                </a:cubicBezTo>
                <a:cubicBezTo>
                  <a:pt x="989" y="159"/>
                  <a:pt x="989" y="159"/>
                  <a:pt x="990" y="159"/>
                </a:cubicBezTo>
                <a:cubicBezTo>
                  <a:pt x="990" y="159"/>
                  <a:pt x="990" y="159"/>
                  <a:pt x="990" y="159"/>
                </a:cubicBezTo>
                <a:cubicBezTo>
                  <a:pt x="991" y="159"/>
                  <a:pt x="991" y="159"/>
                  <a:pt x="992" y="160"/>
                </a:cubicBezTo>
                <a:cubicBezTo>
                  <a:pt x="993" y="160"/>
                  <a:pt x="992" y="160"/>
                  <a:pt x="993" y="160"/>
                </a:cubicBezTo>
                <a:cubicBezTo>
                  <a:pt x="993" y="160"/>
                  <a:pt x="994" y="160"/>
                  <a:pt x="995" y="160"/>
                </a:cubicBezTo>
                <a:cubicBezTo>
                  <a:pt x="996" y="160"/>
                  <a:pt x="996" y="160"/>
                  <a:pt x="997" y="160"/>
                </a:cubicBezTo>
                <a:cubicBezTo>
                  <a:pt x="997" y="160"/>
                  <a:pt x="997" y="160"/>
                  <a:pt x="997" y="160"/>
                </a:cubicBezTo>
                <a:cubicBezTo>
                  <a:pt x="997" y="161"/>
                  <a:pt x="998" y="161"/>
                  <a:pt x="998" y="161"/>
                </a:cubicBezTo>
                <a:cubicBezTo>
                  <a:pt x="1000" y="161"/>
                  <a:pt x="1002" y="161"/>
                  <a:pt x="1003" y="161"/>
                </a:cubicBezTo>
                <a:cubicBezTo>
                  <a:pt x="1003" y="161"/>
                  <a:pt x="1003" y="161"/>
                  <a:pt x="1004" y="161"/>
                </a:cubicBezTo>
                <a:cubicBezTo>
                  <a:pt x="1004" y="161"/>
                  <a:pt x="1004" y="160"/>
                  <a:pt x="1004" y="160"/>
                </a:cubicBezTo>
                <a:cubicBezTo>
                  <a:pt x="1004" y="160"/>
                  <a:pt x="1005" y="160"/>
                  <a:pt x="1005" y="160"/>
                </a:cubicBezTo>
                <a:cubicBezTo>
                  <a:pt x="1005" y="160"/>
                  <a:pt x="1005" y="160"/>
                  <a:pt x="1005" y="160"/>
                </a:cubicBezTo>
                <a:cubicBezTo>
                  <a:pt x="1005" y="160"/>
                  <a:pt x="1005" y="160"/>
                  <a:pt x="1006" y="160"/>
                </a:cubicBezTo>
                <a:cubicBezTo>
                  <a:pt x="1006" y="159"/>
                  <a:pt x="1006" y="159"/>
                  <a:pt x="1006" y="159"/>
                </a:cubicBezTo>
                <a:cubicBezTo>
                  <a:pt x="1007" y="159"/>
                  <a:pt x="1008" y="158"/>
                  <a:pt x="1008" y="158"/>
                </a:cubicBezTo>
                <a:cubicBezTo>
                  <a:pt x="1009" y="157"/>
                  <a:pt x="1009" y="157"/>
                  <a:pt x="1009" y="157"/>
                </a:cubicBezTo>
                <a:cubicBezTo>
                  <a:pt x="1009" y="157"/>
                  <a:pt x="1009" y="157"/>
                  <a:pt x="1009" y="156"/>
                </a:cubicBezTo>
                <a:cubicBezTo>
                  <a:pt x="1010" y="156"/>
                  <a:pt x="1010" y="156"/>
                  <a:pt x="1011" y="155"/>
                </a:cubicBezTo>
                <a:cubicBezTo>
                  <a:pt x="1012" y="155"/>
                  <a:pt x="1012" y="154"/>
                  <a:pt x="1012" y="154"/>
                </a:cubicBezTo>
                <a:cubicBezTo>
                  <a:pt x="1012" y="153"/>
                  <a:pt x="1012" y="152"/>
                  <a:pt x="1012" y="151"/>
                </a:cubicBezTo>
                <a:cubicBezTo>
                  <a:pt x="1012" y="151"/>
                  <a:pt x="1012" y="150"/>
                  <a:pt x="1012" y="150"/>
                </a:cubicBezTo>
                <a:cubicBezTo>
                  <a:pt x="1012" y="150"/>
                  <a:pt x="1011" y="149"/>
                  <a:pt x="1011" y="149"/>
                </a:cubicBezTo>
                <a:cubicBezTo>
                  <a:pt x="1011" y="149"/>
                  <a:pt x="1011" y="149"/>
                  <a:pt x="1011" y="149"/>
                </a:cubicBezTo>
                <a:cubicBezTo>
                  <a:pt x="1010" y="149"/>
                  <a:pt x="1010" y="148"/>
                  <a:pt x="1010" y="148"/>
                </a:cubicBezTo>
                <a:cubicBezTo>
                  <a:pt x="1009" y="148"/>
                  <a:pt x="1009" y="147"/>
                  <a:pt x="1009" y="147"/>
                </a:cubicBezTo>
                <a:cubicBezTo>
                  <a:pt x="1009" y="146"/>
                  <a:pt x="1005" y="147"/>
                  <a:pt x="1005" y="145"/>
                </a:cubicBezTo>
                <a:cubicBezTo>
                  <a:pt x="1005" y="145"/>
                  <a:pt x="1005" y="145"/>
                  <a:pt x="1005" y="144"/>
                </a:cubicBezTo>
                <a:cubicBezTo>
                  <a:pt x="1005" y="144"/>
                  <a:pt x="1005" y="144"/>
                  <a:pt x="1004" y="144"/>
                </a:cubicBezTo>
                <a:cubicBezTo>
                  <a:pt x="1004" y="144"/>
                  <a:pt x="1004" y="144"/>
                  <a:pt x="1003" y="144"/>
                </a:cubicBezTo>
                <a:cubicBezTo>
                  <a:pt x="1003" y="144"/>
                  <a:pt x="1003" y="143"/>
                  <a:pt x="1002" y="143"/>
                </a:cubicBezTo>
                <a:cubicBezTo>
                  <a:pt x="1001" y="142"/>
                  <a:pt x="1000" y="142"/>
                  <a:pt x="1000" y="142"/>
                </a:cubicBezTo>
                <a:cubicBezTo>
                  <a:pt x="999" y="141"/>
                  <a:pt x="999" y="141"/>
                  <a:pt x="999" y="141"/>
                </a:cubicBezTo>
                <a:cubicBezTo>
                  <a:pt x="999" y="140"/>
                  <a:pt x="998" y="141"/>
                  <a:pt x="998" y="141"/>
                </a:cubicBezTo>
                <a:cubicBezTo>
                  <a:pt x="998" y="140"/>
                  <a:pt x="998" y="140"/>
                  <a:pt x="998" y="140"/>
                </a:cubicBezTo>
                <a:cubicBezTo>
                  <a:pt x="997" y="140"/>
                  <a:pt x="997" y="140"/>
                  <a:pt x="996" y="140"/>
                </a:cubicBezTo>
                <a:cubicBezTo>
                  <a:pt x="995" y="139"/>
                  <a:pt x="995" y="139"/>
                  <a:pt x="993" y="138"/>
                </a:cubicBezTo>
                <a:cubicBezTo>
                  <a:pt x="992" y="138"/>
                  <a:pt x="990" y="137"/>
                  <a:pt x="988" y="136"/>
                </a:cubicBezTo>
                <a:cubicBezTo>
                  <a:pt x="988" y="137"/>
                  <a:pt x="988" y="136"/>
                  <a:pt x="987" y="136"/>
                </a:cubicBezTo>
                <a:cubicBezTo>
                  <a:pt x="987" y="136"/>
                  <a:pt x="986" y="135"/>
                  <a:pt x="986" y="135"/>
                </a:cubicBezTo>
                <a:cubicBezTo>
                  <a:pt x="985" y="135"/>
                  <a:pt x="985" y="135"/>
                  <a:pt x="984" y="135"/>
                </a:cubicBezTo>
                <a:cubicBezTo>
                  <a:pt x="984" y="135"/>
                  <a:pt x="984" y="135"/>
                  <a:pt x="983" y="135"/>
                </a:cubicBezTo>
                <a:cubicBezTo>
                  <a:pt x="983" y="134"/>
                  <a:pt x="982" y="134"/>
                  <a:pt x="982" y="134"/>
                </a:cubicBezTo>
                <a:cubicBezTo>
                  <a:pt x="981" y="134"/>
                  <a:pt x="981" y="134"/>
                  <a:pt x="980" y="133"/>
                </a:cubicBezTo>
                <a:cubicBezTo>
                  <a:pt x="979" y="133"/>
                  <a:pt x="978" y="133"/>
                  <a:pt x="977" y="133"/>
                </a:cubicBezTo>
                <a:cubicBezTo>
                  <a:pt x="977" y="133"/>
                  <a:pt x="978" y="132"/>
                  <a:pt x="977" y="132"/>
                </a:cubicBezTo>
                <a:cubicBezTo>
                  <a:pt x="977" y="132"/>
                  <a:pt x="977" y="132"/>
                  <a:pt x="977" y="133"/>
                </a:cubicBezTo>
                <a:cubicBezTo>
                  <a:pt x="976" y="133"/>
                  <a:pt x="976" y="132"/>
                  <a:pt x="975" y="132"/>
                </a:cubicBezTo>
                <a:cubicBezTo>
                  <a:pt x="975" y="132"/>
                  <a:pt x="974" y="132"/>
                  <a:pt x="973" y="133"/>
                </a:cubicBezTo>
                <a:cubicBezTo>
                  <a:pt x="974" y="131"/>
                  <a:pt x="971" y="133"/>
                  <a:pt x="971" y="131"/>
                </a:cubicBezTo>
                <a:cubicBezTo>
                  <a:pt x="971" y="131"/>
                  <a:pt x="972" y="131"/>
                  <a:pt x="972" y="131"/>
                </a:cubicBezTo>
                <a:cubicBezTo>
                  <a:pt x="973" y="131"/>
                  <a:pt x="973" y="130"/>
                  <a:pt x="974" y="130"/>
                </a:cubicBezTo>
                <a:cubicBezTo>
                  <a:pt x="974" y="129"/>
                  <a:pt x="973" y="129"/>
                  <a:pt x="973" y="129"/>
                </a:cubicBezTo>
                <a:cubicBezTo>
                  <a:pt x="971" y="129"/>
                  <a:pt x="971" y="128"/>
                  <a:pt x="970" y="128"/>
                </a:cubicBezTo>
                <a:cubicBezTo>
                  <a:pt x="970" y="128"/>
                  <a:pt x="969" y="128"/>
                  <a:pt x="970" y="129"/>
                </a:cubicBezTo>
                <a:cubicBezTo>
                  <a:pt x="969" y="129"/>
                  <a:pt x="968" y="128"/>
                  <a:pt x="968" y="129"/>
                </a:cubicBezTo>
                <a:cubicBezTo>
                  <a:pt x="968" y="129"/>
                  <a:pt x="968" y="129"/>
                  <a:pt x="967" y="129"/>
                </a:cubicBezTo>
                <a:cubicBezTo>
                  <a:pt x="967" y="129"/>
                  <a:pt x="967" y="129"/>
                  <a:pt x="967" y="129"/>
                </a:cubicBezTo>
                <a:cubicBezTo>
                  <a:pt x="966" y="129"/>
                  <a:pt x="966" y="129"/>
                  <a:pt x="965" y="129"/>
                </a:cubicBezTo>
                <a:cubicBezTo>
                  <a:pt x="964" y="129"/>
                  <a:pt x="963" y="127"/>
                  <a:pt x="962" y="129"/>
                </a:cubicBezTo>
                <a:cubicBezTo>
                  <a:pt x="962" y="129"/>
                  <a:pt x="962" y="129"/>
                  <a:pt x="961" y="128"/>
                </a:cubicBezTo>
                <a:cubicBezTo>
                  <a:pt x="961" y="129"/>
                  <a:pt x="961" y="129"/>
                  <a:pt x="961" y="129"/>
                </a:cubicBezTo>
                <a:cubicBezTo>
                  <a:pt x="961" y="130"/>
                  <a:pt x="960" y="130"/>
                  <a:pt x="959" y="130"/>
                </a:cubicBezTo>
                <a:cubicBezTo>
                  <a:pt x="959" y="129"/>
                  <a:pt x="958" y="128"/>
                  <a:pt x="958" y="127"/>
                </a:cubicBezTo>
                <a:cubicBezTo>
                  <a:pt x="958" y="127"/>
                  <a:pt x="959" y="127"/>
                  <a:pt x="959" y="128"/>
                </a:cubicBezTo>
                <a:cubicBezTo>
                  <a:pt x="959" y="128"/>
                  <a:pt x="960" y="128"/>
                  <a:pt x="960" y="128"/>
                </a:cubicBezTo>
                <a:cubicBezTo>
                  <a:pt x="960" y="127"/>
                  <a:pt x="961" y="127"/>
                  <a:pt x="962" y="127"/>
                </a:cubicBezTo>
                <a:cubicBezTo>
                  <a:pt x="962" y="125"/>
                  <a:pt x="964" y="126"/>
                  <a:pt x="965" y="126"/>
                </a:cubicBezTo>
                <a:cubicBezTo>
                  <a:pt x="965" y="125"/>
                  <a:pt x="965" y="125"/>
                  <a:pt x="965" y="124"/>
                </a:cubicBezTo>
                <a:cubicBezTo>
                  <a:pt x="965" y="124"/>
                  <a:pt x="964" y="124"/>
                  <a:pt x="964" y="124"/>
                </a:cubicBezTo>
                <a:cubicBezTo>
                  <a:pt x="964" y="123"/>
                  <a:pt x="964" y="123"/>
                  <a:pt x="963" y="123"/>
                </a:cubicBezTo>
                <a:cubicBezTo>
                  <a:pt x="963" y="123"/>
                  <a:pt x="962" y="123"/>
                  <a:pt x="961" y="123"/>
                </a:cubicBezTo>
                <a:cubicBezTo>
                  <a:pt x="962" y="123"/>
                  <a:pt x="962" y="122"/>
                  <a:pt x="962" y="122"/>
                </a:cubicBezTo>
                <a:cubicBezTo>
                  <a:pt x="962" y="121"/>
                  <a:pt x="962" y="121"/>
                  <a:pt x="961" y="121"/>
                </a:cubicBezTo>
                <a:cubicBezTo>
                  <a:pt x="961" y="121"/>
                  <a:pt x="961" y="122"/>
                  <a:pt x="960" y="122"/>
                </a:cubicBezTo>
                <a:cubicBezTo>
                  <a:pt x="960" y="122"/>
                  <a:pt x="960" y="121"/>
                  <a:pt x="960" y="121"/>
                </a:cubicBezTo>
                <a:cubicBezTo>
                  <a:pt x="959" y="121"/>
                  <a:pt x="959" y="121"/>
                  <a:pt x="958" y="120"/>
                </a:cubicBezTo>
                <a:cubicBezTo>
                  <a:pt x="958" y="119"/>
                  <a:pt x="957" y="119"/>
                  <a:pt x="957" y="119"/>
                </a:cubicBezTo>
                <a:cubicBezTo>
                  <a:pt x="956" y="119"/>
                  <a:pt x="956" y="120"/>
                  <a:pt x="956" y="120"/>
                </a:cubicBezTo>
                <a:cubicBezTo>
                  <a:pt x="955" y="121"/>
                  <a:pt x="956" y="121"/>
                  <a:pt x="956" y="122"/>
                </a:cubicBezTo>
                <a:cubicBezTo>
                  <a:pt x="956" y="123"/>
                  <a:pt x="955" y="123"/>
                  <a:pt x="955" y="124"/>
                </a:cubicBezTo>
                <a:cubicBezTo>
                  <a:pt x="954" y="124"/>
                  <a:pt x="954" y="123"/>
                  <a:pt x="954" y="122"/>
                </a:cubicBezTo>
                <a:cubicBezTo>
                  <a:pt x="955" y="122"/>
                  <a:pt x="955" y="121"/>
                  <a:pt x="955" y="121"/>
                </a:cubicBezTo>
                <a:cubicBezTo>
                  <a:pt x="954" y="121"/>
                  <a:pt x="954" y="121"/>
                  <a:pt x="953" y="122"/>
                </a:cubicBezTo>
                <a:cubicBezTo>
                  <a:pt x="953" y="121"/>
                  <a:pt x="952" y="120"/>
                  <a:pt x="953" y="120"/>
                </a:cubicBezTo>
                <a:cubicBezTo>
                  <a:pt x="954" y="119"/>
                  <a:pt x="955" y="119"/>
                  <a:pt x="955" y="118"/>
                </a:cubicBezTo>
                <a:cubicBezTo>
                  <a:pt x="955" y="118"/>
                  <a:pt x="954" y="119"/>
                  <a:pt x="954" y="118"/>
                </a:cubicBezTo>
                <a:cubicBezTo>
                  <a:pt x="954" y="118"/>
                  <a:pt x="954" y="117"/>
                  <a:pt x="954" y="117"/>
                </a:cubicBezTo>
                <a:cubicBezTo>
                  <a:pt x="954" y="117"/>
                  <a:pt x="953" y="118"/>
                  <a:pt x="952" y="117"/>
                </a:cubicBezTo>
                <a:cubicBezTo>
                  <a:pt x="952" y="117"/>
                  <a:pt x="952" y="116"/>
                  <a:pt x="952" y="116"/>
                </a:cubicBezTo>
                <a:cubicBezTo>
                  <a:pt x="951" y="116"/>
                  <a:pt x="951" y="116"/>
                  <a:pt x="950" y="116"/>
                </a:cubicBezTo>
                <a:cubicBezTo>
                  <a:pt x="950" y="117"/>
                  <a:pt x="951" y="118"/>
                  <a:pt x="950" y="118"/>
                </a:cubicBezTo>
                <a:cubicBezTo>
                  <a:pt x="950" y="118"/>
                  <a:pt x="950" y="118"/>
                  <a:pt x="950" y="118"/>
                </a:cubicBezTo>
                <a:cubicBezTo>
                  <a:pt x="950" y="118"/>
                  <a:pt x="949" y="118"/>
                  <a:pt x="949" y="118"/>
                </a:cubicBezTo>
                <a:cubicBezTo>
                  <a:pt x="949" y="119"/>
                  <a:pt x="949" y="120"/>
                  <a:pt x="950" y="121"/>
                </a:cubicBezTo>
                <a:cubicBezTo>
                  <a:pt x="948" y="121"/>
                  <a:pt x="948" y="121"/>
                  <a:pt x="948" y="123"/>
                </a:cubicBezTo>
                <a:cubicBezTo>
                  <a:pt x="948" y="124"/>
                  <a:pt x="946" y="124"/>
                  <a:pt x="946" y="124"/>
                </a:cubicBezTo>
                <a:cubicBezTo>
                  <a:pt x="945" y="125"/>
                  <a:pt x="946" y="126"/>
                  <a:pt x="945" y="126"/>
                </a:cubicBezTo>
                <a:cubicBezTo>
                  <a:pt x="945" y="125"/>
                  <a:pt x="945" y="124"/>
                  <a:pt x="945" y="123"/>
                </a:cubicBezTo>
                <a:cubicBezTo>
                  <a:pt x="945" y="123"/>
                  <a:pt x="945" y="123"/>
                  <a:pt x="945" y="122"/>
                </a:cubicBezTo>
                <a:cubicBezTo>
                  <a:pt x="945" y="122"/>
                  <a:pt x="945" y="122"/>
                  <a:pt x="946" y="121"/>
                </a:cubicBezTo>
                <a:cubicBezTo>
                  <a:pt x="946" y="121"/>
                  <a:pt x="946" y="120"/>
                  <a:pt x="946" y="121"/>
                </a:cubicBezTo>
                <a:cubicBezTo>
                  <a:pt x="946" y="120"/>
                  <a:pt x="946" y="119"/>
                  <a:pt x="946" y="119"/>
                </a:cubicBezTo>
                <a:cubicBezTo>
                  <a:pt x="946" y="119"/>
                  <a:pt x="945" y="119"/>
                  <a:pt x="945" y="119"/>
                </a:cubicBezTo>
                <a:cubicBezTo>
                  <a:pt x="945" y="121"/>
                  <a:pt x="945" y="120"/>
                  <a:pt x="945" y="120"/>
                </a:cubicBezTo>
                <a:cubicBezTo>
                  <a:pt x="944" y="121"/>
                  <a:pt x="944" y="122"/>
                  <a:pt x="943" y="122"/>
                </a:cubicBezTo>
                <a:cubicBezTo>
                  <a:pt x="943" y="122"/>
                  <a:pt x="942" y="124"/>
                  <a:pt x="942" y="124"/>
                </a:cubicBezTo>
                <a:cubicBezTo>
                  <a:pt x="942" y="125"/>
                  <a:pt x="942" y="125"/>
                  <a:pt x="941" y="125"/>
                </a:cubicBezTo>
                <a:cubicBezTo>
                  <a:pt x="940" y="125"/>
                  <a:pt x="940" y="127"/>
                  <a:pt x="940" y="127"/>
                </a:cubicBezTo>
                <a:cubicBezTo>
                  <a:pt x="940" y="128"/>
                  <a:pt x="939" y="128"/>
                  <a:pt x="939" y="129"/>
                </a:cubicBezTo>
                <a:cubicBezTo>
                  <a:pt x="939" y="129"/>
                  <a:pt x="938" y="129"/>
                  <a:pt x="938" y="129"/>
                </a:cubicBezTo>
                <a:cubicBezTo>
                  <a:pt x="938" y="128"/>
                  <a:pt x="938" y="128"/>
                  <a:pt x="938" y="127"/>
                </a:cubicBezTo>
                <a:cubicBezTo>
                  <a:pt x="939" y="126"/>
                  <a:pt x="938" y="125"/>
                  <a:pt x="939" y="124"/>
                </a:cubicBezTo>
                <a:cubicBezTo>
                  <a:pt x="940" y="124"/>
                  <a:pt x="940" y="124"/>
                  <a:pt x="941" y="124"/>
                </a:cubicBezTo>
                <a:cubicBezTo>
                  <a:pt x="941" y="123"/>
                  <a:pt x="941" y="122"/>
                  <a:pt x="941" y="122"/>
                </a:cubicBezTo>
                <a:cubicBezTo>
                  <a:pt x="941" y="121"/>
                  <a:pt x="941" y="122"/>
                  <a:pt x="941" y="121"/>
                </a:cubicBezTo>
                <a:cubicBezTo>
                  <a:pt x="940" y="121"/>
                  <a:pt x="940" y="122"/>
                  <a:pt x="939" y="122"/>
                </a:cubicBezTo>
                <a:cubicBezTo>
                  <a:pt x="939" y="121"/>
                  <a:pt x="940" y="121"/>
                  <a:pt x="939" y="121"/>
                </a:cubicBezTo>
                <a:cubicBezTo>
                  <a:pt x="938" y="121"/>
                  <a:pt x="939" y="121"/>
                  <a:pt x="939" y="121"/>
                </a:cubicBezTo>
                <a:cubicBezTo>
                  <a:pt x="938" y="121"/>
                  <a:pt x="938" y="121"/>
                  <a:pt x="937" y="121"/>
                </a:cubicBezTo>
                <a:cubicBezTo>
                  <a:pt x="937" y="120"/>
                  <a:pt x="936" y="120"/>
                  <a:pt x="935" y="119"/>
                </a:cubicBezTo>
                <a:cubicBezTo>
                  <a:pt x="935" y="120"/>
                  <a:pt x="935" y="122"/>
                  <a:pt x="935" y="122"/>
                </a:cubicBezTo>
                <a:cubicBezTo>
                  <a:pt x="935" y="123"/>
                  <a:pt x="936" y="124"/>
                  <a:pt x="935" y="124"/>
                </a:cubicBezTo>
                <a:cubicBezTo>
                  <a:pt x="934" y="124"/>
                  <a:pt x="934" y="123"/>
                  <a:pt x="934" y="122"/>
                </a:cubicBezTo>
                <a:cubicBezTo>
                  <a:pt x="934" y="121"/>
                  <a:pt x="933" y="122"/>
                  <a:pt x="932" y="122"/>
                </a:cubicBezTo>
                <a:cubicBezTo>
                  <a:pt x="932" y="122"/>
                  <a:pt x="932" y="122"/>
                  <a:pt x="932" y="123"/>
                </a:cubicBezTo>
                <a:cubicBezTo>
                  <a:pt x="932" y="123"/>
                  <a:pt x="932" y="123"/>
                  <a:pt x="932" y="124"/>
                </a:cubicBezTo>
                <a:cubicBezTo>
                  <a:pt x="931" y="124"/>
                  <a:pt x="931" y="124"/>
                  <a:pt x="930" y="124"/>
                </a:cubicBezTo>
                <a:cubicBezTo>
                  <a:pt x="930" y="125"/>
                  <a:pt x="930" y="125"/>
                  <a:pt x="930" y="125"/>
                </a:cubicBezTo>
                <a:cubicBezTo>
                  <a:pt x="929" y="126"/>
                  <a:pt x="928" y="125"/>
                  <a:pt x="928" y="126"/>
                </a:cubicBezTo>
                <a:cubicBezTo>
                  <a:pt x="928" y="126"/>
                  <a:pt x="928" y="127"/>
                  <a:pt x="928" y="127"/>
                </a:cubicBezTo>
                <a:cubicBezTo>
                  <a:pt x="927" y="127"/>
                  <a:pt x="928" y="127"/>
                  <a:pt x="928" y="127"/>
                </a:cubicBezTo>
                <a:cubicBezTo>
                  <a:pt x="927" y="127"/>
                  <a:pt x="927" y="127"/>
                  <a:pt x="927" y="127"/>
                </a:cubicBezTo>
                <a:cubicBezTo>
                  <a:pt x="927" y="127"/>
                  <a:pt x="927" y="127"/>
                  <a:pt x="926" y="127"/>
                </a:cubicBezTo>
                <a:cubicBezTo>
                  <a:pt x="925" y="126"/>
                  <a:pt x="924" y="125"/>
                  <a:pt x="924" y="124"/>
                </a:cubicBezTo>
                <a:cubicBezTo>
                  <a:pt x="924" y="124"/>
                  <a:pt x="923" y="124"/>
                  <a:pt x="923" y="125"/>
                </a:cubicBezTo>
                <a:cubicBezTo>
                  <a:pt x="922" y="124"/>
                  <a:pt x="922" y="124"/>
                  <a:pt x="921" y="123"/>
                </a:cubicBezTo>
                <a:cubicBezTo>
                  <a:pt x="920" y="125"/>
                  <a:pt x="920" y="124"/>
                  <a:pt x="919" y="124"/>
                </a:cubicBezTo>
                <a:cubicBezTo>
                  <a:pt x="919" y="125"/>
                  <a:pt x="919" y="126"/>
                  <a:pt x="919" y="126"/>
                </a:cubicBezTo>
                <a:cubicBezTo>
                  <a:pt x="920" y="126"/>
                  <a:pt x="920" y="125"/>
                  <a:pt x="921" y="126"/>
                </a:cubicBezTo>
                <a:cubicBezTo>
                  <a:pt x="922" y="127"/>
                  <a:pt x="922" y="128"/>
                  <a:pt x="922" y="129"/>
                </a:cubicBezTo>
                <a:cubicBezTo>
                  <a:pt x="921" y="128"/>
                  <a:pt x="920" y="127"/>
                  <a:pt x="918" y="127"/>
                </a:cubicBezTo>
                <a:cubicBezTo>
                  <a:pt x="918" y="127"/>
                  <a:pt x="918" y="127"/>
                  <a:pt x="918" y="127"/>
                </a:cubicBezTo>
                <a:cubicBezTo>
                  <a:pt x="918" y="128"/>
                  <a:pt x="919" y="128"/>
                  <a:pt x="919" y="128"/>
                </a:cubicBezTo>
                <a:cubicBezTo>
                  <a:pt x="918" y="130"/>
                  <a:pt x="918" y="130"/>
                  <a:pt x="917" y="129"/>
                </a:cubicBezTo>
                <a:cubicBezTo>
                  <a:pt x="917" y="129"/>
                  <a:pt x="917" y="128"/>
                  <a:pt x="917" y="127"/>
                </a:cubicBezTo>
                <a:cubicBezTo>
                  <a:pt x="917" y="127"/>
                  <a:pt x="916" y="128"/>
                  <a:pt x="916" y="128"/>
                </a:cubicBezTo>
                <a:cubicBezTo>
                  <a:pt x="917" y="130"/>
                  <a:pt x="915" y="129"/>
                  <a:pt x="915" y="131"/>
                </a:cubicBezTo>
                <a:cubicBezTo>
                  <a:pt x="914" y="130"/>
                  <a:pt x="915" y="129"/>
                  <a:pt x="915" y="129"/>
                </a:cubicBezTo>
                <a:cubicBezTo>
                  <a:pt x="915" y="128"/>
                  <a:pt x="915" y="128"/>
                  <a:pt x="914" y="127"/>
                </a:cubicBezTo>
                <a:cubicBezTo>
                  <a:pt x="914" y="129"/>
                  <a:pt x="913" y="128"/>
                  <a:pt x="913" y="129"/>
                </a:cubicBezTo>
                <a:cubicBezTo>
                  <a:pt x="913" y="129"/>
                  <a:pt x="913" y="129"/>
                  <a:pt x="913" y="130"/>
                </a:cubicBezTo>
                <a:cubicBezTo>
                  <a:pt x="912" y="130"/>
                  <a:pt x="911" y="131"/>
                  <a:pt x="911" y="131"/>
                </a:cubicBezTo>
                <a:cubicBezTo>
                  <a:pt x="910" y="130"/>
                  <a:pt x="910" y="130"/>
                  <a:pt x="910" y="129"/>
                </a:cubicBezTo>
                <a:cubicBezTo>
                  <a:pt x="910" y="129"/>
                  <a:pt x="910" y="129"/>
                  <a:pt x="910" y="129"/>
                </a:cubicBezTo>
                <a:cubicBezTo>
                  <a:pt x="910" y="129"/>
                  <a:pt x="909" y="129"/>
                  <a:pt x="909" y="129"/>
                </a:cubicBezTo>
                <a:cubicBezTo>
                  <a:pt x="909" y="130"/>
                  <a:pt x="909" y="130"/>
                  <a:pt x="908" y="130"/>
                </a:cubicBezTo>
                <a:cubicBezTo>
                  <a:pt x="908" y="131"/>
                  <a:pt x="908" y="131"/>
                  <a:pt x="908" y="132"/>
                </a:cubicBezTo>
                <a:cubicBezTo>
                  <a:pt x="908" y="132"/>
                  <a:pt x="909" y="132"/>
                  <a:pt x="909" y="132"/>
                </a:cubicBezTo>
                <a:cubicBezTo>
                  <a:pt x="909" y="133"/>
                  <a:pt x="909" y="134"/>
                  <a:pt x="909" y="135"/>
                </a:cubicBezTo>
                <a:cubicBezTo>
                  <a:pt x="909" y="135"/>
                  <a:pt x="909" y="134"/>
                  <a:pt x="909" y="134"/>
                </a:cubicBezTo>
                <a:cubicBezTo>
                  <a:pt x="909" y="133"/>
                  <a:pt x="909" y="134"/>
                  <a:pt x="908" y="133"/>
                </a:cubicBezTo>
                <a:cubicBezTo>
                  <a:pt x="908" y="133"/>
                  <a:pt x="907" y="132"/>
                  <a:pt x="906" y="132"/>
                </a:cubicBezTo>
                <a:cubicBezTo>
                  <a:pt x="907" y="133"/>
                  <a:pt x="907" y="133"/>
                  <a:pt x="908" y="134"/>
                </a:cubicBezTo>
                <a:cubicBezTo>
                  <a:pt x="907" y="134"/>
                  <a:pt x="907" y="134"/>
                  <a:pt x="907" y="135"/>
                </a:cubicBezTo>
                <a:cubicBezTo>
                  <a:pt x="906" y="134"/>
                  <a:pt x="905" y="135"/>
                  <a:pt x="905" y="134"/>
                </a:cubicBezTo>
                <a:cubicBezTo>
                  <a:pt x="905" y="134"/>
                  <a:pt x="905" y="133"/>
                  <a:pt x="905" y="133"/>
                </a:cubicBezTo>
                <a:cubicBezTo>
                  <a:pt x="904" y="133"/>
                  <a:pt x="904" y="134"/>
                  <a:pt x="904" y="135"/>
                </a:cubicBezTo>
                <a:cubicBezTo>
                  <a:pt x="904" y="136"/>
                  <a:pt x="905" y="136"/>
                  <a:pt x="903" y="136"/>
                </a:cubicBezTo>
                <a:cubicBezTo>
                  <a:pt x="903" y="136"/>
                  <a:pt x="902" y="138"/>
                  <a:pt x="902" y="138"/>
                </a:cubicBezTo>
                <a:cubicBezTo>
                  <a:pt x="902" y="139"/>
                  <a:pt x="902" y="139"/>
                  <a:pt x="902" y="140"/>
                </a:cubicBezTo>
                <a:cubicBezTo>
                  <a:pt x="902" y="140"/>
                  <a:pt x="902" y="140"/>
                  <a:pt x="902" y="140"/>
                </a:cubicBezTo>
                <a:cubicBezTo>
                  <a:pt x="902" y="140"/>
                  <a:pt x="902" y="141"/>
                  <a:pt x="902" y="142"/>
                </a:cubicBezTo>
                <a:cubicBezTo>
                  <a:pt x="901" y="142"/>
                  <a:pt x="900" y="142"/>
                  <a:pt x="900" y="142"/>
                </a:cubicBezTo>
                <a:cubicBezTo>
                  <a:pt x="900" y="143"/>
                  <a:pt x="899" y="143"/>
                  <a:pt x="898" y="143"/>
                </a:cubicBezTo>
                <a:cubicBezTo>
                  <a:pt x="898" y="143"/>
                  <a:pt x="898" y="143"/>
                  <a:pt x="897" y="144"/>
                </a:cubicBezTo>
                <a:cubicBezTo>
                  <a:pt x="897" y="144"/>
                  <a:pt x="897" y="143"/>
                  <a:pt x="897" y="144"/>
                </a:cubicBezTo>
                <a:cubicBezTo>
                  <a:pt x="897" y="145"/>
                  <a:pt x="898" y="145"/>
                  <a:pt x="898" y="145"/>
                </a:cubicBezTo>
                <a:cubicBezTo>
                  <a:pt x="899" y="145"/>
                  <a:pt x="900" y="145"/>
                  <a:pt x="900" y="144"/>
                </a:cubicBezTo>
                <a:cubicBezTo>
                  <a:pt x="901" y="143"/>
                  <a:pt x="901" y="144"/>
                  <a:pt x="902" y="144"/>
                </a:cubicBezTo>
                <a:cubicBezTo>
                  <a:pt x="901" y="146"/>
                  <a:pt x="900" y="145"/>
                  <a:pt x="899" y="145"/>
                </a:cubicBezTo>
                <a:cubicBezTo>
                  <a:pt x="898" y="146"/>
                  <a:pt x="898" y="148"/>
                  <a:pt x="898" y="149"/>
                </a:cubicBezTo>
                <a:cubicBezTo>
                  <a:pt x="898" y="149"/>
                  <a:pt x="897" y="146"/>
                  <a:pt x="896" y="146"/>
                </a:cubicBezTo>
                <a:cubicBezTo>
                  <a:pt x="895" y="146"/>
                  <a:pt x="894" y="146"/>
                  <a:pt x="894" y="147"/>
                </a:cubicBezTo>
                <a:cubicBezTo>
                  <a:pt x="894" y="147"/>
                  <a:pt x="894" y="147"/>
                  <a:pt x="895" y="147"/>
                </a:cubicBezTo>
                <a:cubicBezTo>
                  <a:pt x="895" y="147"/>
                  <a:pt x="896" y="147"/>
                  <a:pt x="896" y="148"/>
                </a:cubicBezTo>
                <a:cubicBezTo>
                  <a:pt x="895" y="149"/>
                  <a:pt x="894" y="147"/>
                  <a:pt x="894" y="149"/>
                </a:cubicBezTo>
                <a:cubicBezTo>
                  <a:pt x="895" y="149"/>
                  <a:pt x="896" y="149"/>
                  <a:pt x="896" y="149"/>
                </a:cubicBezTo>
                <a:cubicBezTo>
                  <a:pt x="896" y="149"/>
                  <a:pt x="896" y="150"/>
                  <a:pt x="896" y="151"/>
                </a:cubicBezTo>
                <a:cubicBezTo>
                  <a:pt x="896" y="151"/>
                  <a:pt x="897" y="150"/>
                  <a:pt x="897" y="151"/>
                </a:cubicBezTo>
                <a:cubicBezTo>
                  <a:pt x="897" y="152"/>
                  <a:pt x="896" y="152"/>
                  <a:pt x="896" y="152"/>
                </a:cubicBezTo>
                <a:cubicBezTo>
                  <a:pt x="895" y="152"/>
                  <a:pt x="894" y="152"/>
                  <a:pt x="894" y="152"/>
                </a:cubicBezTo>
                <a:cubicBezTo>
                  <a:pt x="893" y="152"/>
                  <a:pt x="893" y="153"/>
                  <a:pt x="893" y="153"/>
                </a:cubicBezTo>
                <a:cubicBezTo>
                  <a:pt x="893" y="154"/>
                  <a:pt x="893" y="154"/>
                  <a:pt x="894" y="154"/>
                </a:cubicBezTo>
                <a:cubicBezTo>
                  <a:pt x="893" y="155"/>
                  <a:pt x="893" y="154"/>
                  <a:pt x="892" y="155"/>
                </a:cubicBezTo>
                <a:cubicBezTo>
                  <a:pt x="891" y="155"/>
                  <a:pt x="891" y="156"/>
                  <a:pt x="891" y="156"/>
                </a:cubicBezTo>
                <a:cubicBezTo>
                  <a:pt x="890" y="156"/>
                  <a:pt x="890" y="156"/>
                  <a:pt x="890" y="156"/>
                </a:cubicBezTo>
                <a:cubicBezTo>
                  <a:pt x="890" y="157"/>
                  <a:pt x="889" y="156"/>
                  <a:pt x="888" y="156"/>
                </a:cubicBezTo>
                <a:cubicBezTo>
                  <a:pt x="888" y="156"/>
                  <a:pt x="888" y="158"/>
                  <a:pt x="888" y="158"/>
                </a:cubicBezTo>
                <a:cubicBezTo>
                  <a:pt x="889" y="158"/>
                  <a:pt x="888" y="158"/>
                  <a:pt x="887" y="158"/>
                </a:cubicBezTo>
                <a:cubicBezTo>
                  <a:pt x="887" y="158"/>
                  <a:pt x="887" y="159"/>
                  <a:pt x="887" y="159"/>
                </a:cubicBezTo>
                <a:cubicBezTo>
                  <a:pt x="886" y="159"/>
                  <a:pt x="886" y="159"/>
                  <a:pt x="885" y="159"/>
                </a:cubicBezTo>
                <a:cubicBezTo>
                  <a:pt x="885" y="159"/>
                  <a:pt x="885" y="160"/>
                  <a:pt x="885" y="160"/>
                </a:cubicBezTo>
                <a:cubicBezTo>
                  <a:pt x="885" y="161"/>
                  <a:pt x="886" y="160"/>
                  <a:pt x="886" y="160"/>
                </a:cubicBezTo>
                <a:cubicBezTo>
                  <a:pt x="886" y="162"/>
                  <a:pt x="885" y="160"/>
                  <a:pt x="885" y="161"/>
                </a:cubicBezTo>
                <a:cubicBezTo>
                  <a:pt x="884" y="162"/>
                  <a:pt x="885" y="162"/>
                  <a:pt x="885" y="162"/>
                </a:cubicBezTo>
                <a:cubicBezTo>
                  <a:pt x="885" y="163"/>
                  <a:pt x="885" y="163"/>
                  <a:pt x="885" y="164"/>
                </a:cubicBezTo>
                <a:cubicBezTo>
                  <a:pt x="884" y="164"/>
                  <a:pt x="884" y="165"/>
                  <a:pt x="883" y="165"/>
                </a:cubicBezTo>
                <a:cubicBezTo>
                  <a:pt x="883" y="165"/>
                  <a:pt x="883" y="165"/>
                  <a:pt x="882" y="165"/>
                </a:cubicBezTo>
                <a:cubicBezTo>
                  <a:pt x="881" y="165"/>
                  <a:pt x="881" y="165"/>
                  <a:pt x="881" y="166"/>
                </a:cubicBezTo>
                <a:cubicBezTo>
                  <a:pt x="881" y="167"/>
                  <a:pt x="879" y="167"/>
                  <a:pt x="879" y="167"/>
                </a:cubicBezTo>
                <a:cubicBezTo>
                  <a:pt x="878" y="168"/>
                  <a:pt x="878" y="168"/>
                  <a:pt x="878" y="169"/>
                </a:cubicBezTo>
                <a:cubicBezTo>
                  <a:pt x="879" y="170"/>
                  <a:pt x="878" y="170"/>
                  <a:pt x="878" y="171"/>
                </a:cubicBezTo>
                <a:cubicBezTo>
                  <a:pt x="877" y="171"/>
                  <a:pt x="876" y="170"/>
                  <a:pt x="876" y="170"/>
                </a:cubicBezTo>
                <a:cubicBezTo>
                  <a:pt x="875" y="170"/>
                  <a:pt x="875" y="170"/>
                  <a:pt x="874" y="171"/>
                </a:cubicBezTo>
                <a:cubicBezTo>
                  <a:pt x="874" y="171"/>
                  <a:pt x="875" y="172"/>
                  <a:pt x="874" y="172"/>
                </a:cubicBezTo>
                <a:cubicBezTo>
                  <a:pt x="873" y="172"/>
                  <a:pt x="873" y="172"/>
                  <a:pt x="873" y="173"/>
                </a:cubicBezTo>
                <a:cubicBezTo>
                  <a:pt x="872" y="173"/>
                  <a:pt x="872" y="173"/>
                  <a:pt x="871" y="173"/>
                </a:cubicBezTo>
                <a:cubicBezTo>
                  <a:pt x="871" y="173"/>
                  <a:pt x="871" y="173"/>
                  <a:pt x="871" y="174"/>
                </a:cubicBezTo>
                <a:cubicBezTo>
                  <a:pt x="871" y="175"/>
                  <a:pt x="870" y="175"/>
                  <a:pt x="869" y="176"/>
                </a:cubicBezTo>
                <a:cubicBezTo>
                  <a:pt x="869" y="176"/>
                  <a:pt x="868" y="178"/>
                  <a:pt x="867" y="178"/>
                </a:cubicBezTo>
                <a:cubicBezTo>
                  <a:pt x="867" y="178"/>
                  <a:pt x="866" y="178"/>
                  <a:pt x="866" y="179"/>
                </a:cubicBezTo>
                <a:cubicBezTo>
                  <a:pt x="866" y="179"/>
                  <a:pt x="867" y="179"/>
                  <a:pt x="867" y="179"/>
                </a:cubicBezTo>
                <a:cubicBezTo>
                  <a:pt x="867" y="180"/>
                  <a:pt x="866" y="179"/>
                  <a:pt x="866" y="180"/>
                </a:cubicBezTo>
                <a:cubicBezTo>
                  <a:pt x="867" y="181"/>
                  <a:pt x="868" y="180"/>
                  <a:pt x="868" y="180"/>
                </a:cubicBezTo>
                <a:cubicBezTo>
                  <a:pt x="869" y="180"/>
                  <a:pt x="869" y="179"/>
                  <a:pt x="869" y="179"/>
                </a:cubicBezTo>
                <a:cubicBezTo>
                  <a:pt x="870" y="179"/>
                  <a:pt x="869" y="180"/>
                  <a:pt x="870" y="179"/>
                </a:cubicBezTo>
                <a:cubicBezTo>
                  <a:pt x="870" y="179"/>
                  <a:pt x="871" y="178"/>
                  <a:pt x="871" y="178"/>
                </a:cubicBezTo>
                <a:cubicBezTo>
                  <a:pt x="871" y="178"/>
                  <a:pt x="871" y="178"/>
                  <a:pt x="871" y="178"/>
                </a:cubicBezTo>
                <a:cubicBezTo>
                  <a:pt x="872" y="178"/>
                  <a:pt x="872" y="177"/>
                  <a:pt x="873" y="177"/>
                </a:cubicBezTo>
                <a:cubicBezTo>
                  <a:pt x="873" y="178"/>
                  <a:pt x="872" y="178"/>
                  <a:pt x="872" y="179"/>
                </a:cubicBezTo>
                <a:cubicBezTo>
                  <a:pt x="872" y="179"/>
                  <a:pt x="870" y="180"/>
                  <a:pt x="870" y="180"/>
                </a:cubicBezTo>
                <a:cubicBezTo>
                  <a:pt x="869" y="180"/>
                  <a:pt x="869" y="181"/>
                  <a:pt x="869" y="182"/>
                </a:cubicBezTo>
                <a:cubicBezTo>
                  <a:pt x="869" y="183"/>
                  <a:pt x="868" y="182"/>
                  <a:pt x="867" y="182"/>
                </a:cubicBezTo>
                <a:cubicBezTo>
                  <a:pt x="865" y="182"/>
                  <a:pt x="865" y="182"/>
                  <a:pt x="865" y="181"/>
                </a:cubicBezTo>
                <a:cubicBezTo>
                  <a:pt x="865" y="180"/>
                  <a:pt x="865" y="180"/>
                  <a:pt x="864" y="180"/>
                </a:cubicBezTo>
                <a:cubicBezTo>
                  <a:pt x="864" y="180"/>
                  <a:pt x="865" y="179"/>
                  <a:pt x="864" y="179"/>
                </a:cubicBezTo>
                <a:cubicBezTo>
                  <a:pt x="864" y="180"/>
                  <a:pt x="863" y="180"/>
                  <a:pt x="863" y="181"/>
                </a:cubicBezTo>
                <a:cubicBezTo>
                  <a:pt x="863" y="181"/>
                  <a:pt x="860" y="180"/>
                  <a:pt x="860" y="180"/>
                </a:cubicBezTo>
                <a:cubicBezTo>
                  <a:pt x="860" y="181"/>
                  <a:pt x="860" y="182"/>
                  <a:pt x="861" y="182"/>
                </a:cubicBezTo>
                <a:cubicBezTo>
                  <a:pt x="860" y="183"/>
                  <a:pt x="859" y="183"/>
                  <a:pt x="858" y="184"/>
                </a:cubicBezTo>
                <a:cubicBezTo>
                  <a:pt x="858" y="184"/>
                  <a:pt x="858" y="185"/>
                  <a:pt x="859" y="185"/>
                </a:cubicBezTo>
                <a:cubicBezTo>
                  <a:pt x="860" y="185"/>
                  <a:pt x="860" y="185"/>
                  <a:pt x="860" y="186"/>
                </a:cubicBezTo>
                <a:cubicBezTo>
                  <a:pt x="859" y="185"/>
                  <a:pt x="858" y="184"/>
                  <a:pt x="857" y="184"/>
                </a:cubicBezTo>
                <a:cubicBezTo>
                  <a:pt x="857" y="185"/>
                  <a:pt x="857" y="185"/>
                  <a:pt x="857" y="186"/>
                </a:cubicBezTo>
                <a:cubicBezTo>
                  <a:pt x="856" y="185"/>
                  <a:pt x="856" y="185"/>
                  <a:pt x="855" y="185"/>
                </a:cubicBezTo>
                <a:cubicBezTo>
                  <a:pt x="854" y="186"/>
                  <a:pt x="853" y="185"/>
                  <a:pt x="852" y="185"/>
                </a:cubicBezTo>
                <a:cubicBezTo>
                  <a:pt x="852" y="186"/>
                  <a:pt x="852" y="187"/>
                  <a:pt x="853" y="187"/>
                </a:cubicBezTo>
                <a:cubicBezTo>
                  <a:pt x="853" y="187"/>
                  <a:pt x="854" y="187"/>
                  <a:pt x="854" y="187"/>
                </a:cubicBezTo>
                <a:cubicBezTo>
                  <a:pt x="854" y="188"/>
                  <a:pt x="854" y="188"/>
                  <a:pt x="853" y="188"/>
                </a:cubicBezTo>
                <a:cubicBezTo>
                  <a:pt x="853" y="189"/>
                  <a:pt x="853" y="189"/>
                  <a:pt x="852" y="189"/>
                </a:cubicBezTo>
                <a:cubicBezTo>
                  <a:pt x="852" y="189"/>
                  <a:pt x="852" y="189"/>
                  <a:pt x="852" y="190"/>
                </a:cubicBezTo>
                <a:cubicBezTo>
                  <a:pt x="852" y="189"/>
                  <a:pt x="851" y="189"/>
                  <a:pt x="850" y="189"/>
                </a:cubicBezTo>
                <a:cubicBezTo>
                  <a:pt x="849" y="189"/>
                  <a:pt x="849" y="189"/>
                  <a:pt x="849" y="190"/>
                </a:cubicBezTo>
                <a:cubicBezTo>
                  <a:pt x="849" y="190"/>
                  <a:pt x="848" y="191"/>
                  <a:pt x="849" y="191"/>
                </a:cubicBezTo>
                <a:cubicBezTo>
                  <a:pt x="849" y="191"/>
                  <a:pt x="850" y="191"/>
                  <a:pt x="851" y="191"/>
                </a:cubicBezTo>
                <a:cubicBezTo>
                  <a:pt x="851" y="191"/>
                  <a:pt x="851" y="192"/>
                  <a:pt x="852" y="192"/>
                </a:cubicBezTo>
                <a:cubicBezTo>
                  <a:pt x="853" y="193"/>
                  <a:pt x="852" y="192"/>
                  <a:pt x="852" y="193"/>
                </a:cubicBezTo>
                <a:cubicBezTo>
                  <a:pt x="852" y="193"/>
                  <a:pt x="852" y="194"/>
                  <a:pt x="851" y="194"/>
                </a:cubicBezTo>
                <a:cubicBezTo>
                  <a:pt x="851" y="193"/>
                  <a:pt x="851" y="192"/>
                  <a:pt x="851" y="192"/>
                </a:cubicBezTo>
                <a:cubicBezTo>
                  <a:pt x="850" y="192"/>
                  <a:pt x="850" y="192"/>
                  <a:pt x="849" y="193"/>
                </a:cubicBezTo>
                <a:cubicBezTo>
                  <a:pt x="848" y="191"/>
                  <a:pt x="848" y="192"/>
                  <a:pt x="848" y="193"/>
                </a:cubicBezTo>
                <a:cubicBezTo>
                  <a:pt x="848" y="193"/>
                  <a:pt x="846" y="194"/>
                  <a:pt x="846" y="192"/>
                </a:cubicBezTo>
                <a:cubicBezTo>
                  <a:pt x="846" y="193"/>
                  <a:pt x="844" y="193"/>
                  <a:pt x="844" y="193"/>
                </a:cubicBezTo>
                <a:cubicBezTo>
                  <a:pt x="844" y="194"/>
                  <a:pt x="844" y="194"/>
                  <a:pt x="843" y="193"/>
                </a:cubicBezTo>
                <a:cubicBezTo>
                  <a:pt x="843" y="193"/>
                  <a:pt x="843" y="194"/>
                  <a:pt x="843" y="195"/>
                </a:cubicBezTo>
                <a:cubicBezTo>
                  <a:pt x="844" y="195"/>
                  <a:pt x="847" y="195"/>
                  <a:pt x="848" y="196"/>
                </a:cubicBezTo>
                <a:cubicBezTo>
                  <a:pt x="847" y="196"/>
                  <a:pt x="841" y="196"/>
                  <a:pt x="841" y="196"/>
                </a:cubicBezTo>
                <a:cubicBezTo>
                  <a:pt x="841" y="197"/>
                  <a:pt x="841" y="197"/>
                  <a:pt x="841" y="198"/>
                </a:cubicBezTo>
                <a:cubicBezTo>
                  <a:pt x="842" y="198"/>
                  <a:pt x="842" y="198"/>
                  <a:pt x="841" y="198"/>
                </a:cubicBezTo>
                <a:cubicBezTo>
                  <a:pt x="841" y="198"/>
                  <a:pt x="841" y="199"/>
                  <a:pt x="841" y="200"/>
                </a:cubicBezTo>
                <a:cubicBezTo>
                  <a:pt x="842" y="200"/>
                  <a:pt x="843" y="199"/>
                  <a:pt x="844" y="199"/>
                </a:cubicBezTo>
                <a:cubicBezTo>
                  <a:pt x="844" y="199"/>
                  <a:pt x="844" y="200"/>
                  <a:pt x="845" y="200"/>
                </a:cubicBezTo>
                <a:cubicBezTo>
                  <a:pt x="845" y="200"/>
                  <a:pt x="845" y="200"/>
                  <a:pt x="845" y="200"/>
                </a:cubicBezTo>
                <a:cubicBezTo>
                  <a:pt x="846" y="200"/>
                  <a:pt x="846" y="200"/>
                  <a:pt x="847" y="200"/>
                </a:cubicBezTo>
                <a:cubicBezTo>
                  <a:pt x="847" y="200"/>
                  <a:pt x="847" y="199"/>
                  <a:pt x="847" y="199"/>
                </a:cubicBezTo>
                <a:cubicBezTo>
                  <a:pt x="847" y="198"/>
                  <a:pt x="848" y="199"/>
                  <a:pt x="848" y="199"/>
                </a:cubicBezTo>
                <a:cubicBezTo>
                  <a:pt x="849" y="199"/>
                  <a:pt x="849" y="199"/>
                  <a:pt x="849" y="199"/>
                </a:cubicBezTo>
                <a:cubicBezTo>
                  <a:pt x="850" y="199"/>
                  <a:pt x="850" y="199"/>
                  <a:pt x="850" y="200"/>
                </a:cubicBezTo>
                <a:cubicBezTo>
                  <a:pt x="850" y="200"/>
                  <a:pt x="850" y="200"/>
                  <a:pt x="850" y="200"/>
                </a:cubicBezTo>
                <a:cubicBezTo>
                  <a:pt x="851" y="200"/>
                  <a:pt x="850" y="199"/>
                  <a:pt x="851" y="199"/>
                </a:cubicBezTo>
                <a:cubicBezTo>
                  <a:pt x="852" y="199"/>
                  <a:pt x="852" y="199"/>
                  <a:pt x="852" y="200"/>
                </a:cubicBezTo>
                <a:cubicBezTo>
                  <a:pt x="852" y="200"/>
                  <a:pt x="851" y="200"/>
                  <a:pt x="850" y="200"/>
                </a:cubicBezTo>
                <a:cubicBezTo>
                  <a:pt x="850" y="200"/>
                  <a:pt x="849" y="202"/>
                  <a:pt x="849" y="201"/>
                </a:cubicBezTo>
                <a:cubicBezTo>
                  <a:pt x="848" y="201"/>
                  <a:pt x="848" y="200"/>
                  <a:pt x="848" y="200"/>
                </a:cubicBezTo>
                <a:cubicBezTo>
                  <a:pt x="848" y="201"/>
                  <a:pt x="846" y="200"/>
                  <a:pt x="845" y="200"/>
                </a:cubicBezTo>
                <a:cubicBezTo>
                  <a:pt x="844" y="200"/>
                  <a:pt x="842" y="200"/>
                  <a:pt x="842" y="201"/>
                </a:cubicBezTo>
                <a:cubicBezTo>
                  <a:pt x="842" y="201"/>
                  <a:pt x="841" y="201"/>
                  <a:pt x="841" y="201"/>
                </a:cubicBezTo>
                <a:cubicBezTo>
                  <a:pt x="841" y="202"/>
                  <a:pt x="843" y="202"/>
                  <a:pt x="844" y="202"/>
                </a:cubicBezTo>
                <a:cubicBezTo>
                  <a:pt x="843" y="202"/>
                  <a:pt x="843" y="204"/>
                  <a:pt x="843" y="204"/>
                </a:cubicBezTo>
                <a:cubicBezTo>
                  <a:pt x="843" y="204"/>
                  <a:pt x="842" y="204"/>
                  <a:pt x="842" y="204"/>
                </a:cubicBezTo>
                <a:cubicBezTo>
                  <a:pt x="842" y="205"/>
                  <a:pt x="842" y="205"/>
                  <a:pt x="841" y="205"/>
                </a:cubicBezTo>
                <a:cubicBezTo>
                  <a:pt x="841" y="205"/>
                  <a:pt x="842" y="206"/>
                  <a:pt x="843" y="205"/>
                </a:cubicBezTo>
                <a:cubicBezTo>
                  <a:pt x="844" y="205"/>
                  <a:pt x="844" y="205"/>
                  <a:pt x="845" y="206"/>
                </a:cubicBezTo>
                <a:cubicBezTo>
                  <a:pt x="844" y="206"/>
                  <a:pt x="844" y="206"/>
                  <a:pt x="843" y="207"/>
                </a:cubicBezTo>
                <a:cubicBezTo>
                  <a:pt x="844" y="207"/>
                  <a:pt x="845" y="207"/>
                  <a:pt x="845" y="207"/>
                </a:cubicBezTo>
                <a:cubicBezTo>
                  <a:pt x="845" y="208"/>
                  <a:pt x="845" y="208"/>
                  <a:pt x="847" y="208"/>
                </a:cubicBezTo>
                <a:cubicBezTo>
                  <a:pt x="847" y="207"/>
                  <a:pt x="847" y="206"/>
                  <a:pt x="849" y="206"/>
                </a:cubicBezTo>
                <a:cubicBezTo>
                  <a:pt x="849" y="206"/>
                  <a:pt x="849" y="205"/>
                  <a:pt x="850" y="205"/>
                </a:cubicBezTo>
                <a:cubicBezTo>
                  <a:pt x="850" y="205"/>
                  <a:pt x="850" y="205"/>
                  <a:pt x="851" y="205"/>
                </a:cubicBezTo>
                <a:cubicBezTo>
                  <a:pt x="851" y="205"/>
                  <a:pt x="851" y="205"/>
                  <a:pt x="851" y="205"/>
                </a:cubicBezTo>
                <a:cubicBezTo>
                  <a:pt x="851" y="206"/>
                  <a:pt x="850" y="206"/>
                  <a:pt x="849" y="206"/>
                </a:cubicBezTo>
                <a:cubicBezTo>
                  <a:pt x="848" y="206"/>
                  <a:pt x="848" y="207"/>
                  <a:pt x="848" y="208"/>
                </a:cubicBezTo>
                <a:cubicBezTo>
                  <a:pt x="848" y="209"/>
                  <a:pt x="847" y="209"/>
                  <a:pt x="847" y="209"/>
                </a:cubicBezTo>
                <a:cubicBezTo>
                  <a:pt x="847" y="210"/>
                  <a:pt x="847" y="210"/>
                  <a:pt x="847" y="211"/>
                </a:cubicBezTo>
                <a:cubicBezTo>
                  <a:pt x="847" y="211"/>
                  <a:pt x="846" y="211"/>
                  <a:pt x="846" y="211"/>
                </a:cubicBezTo>
                <a:cubicBezTo>
                  <a:pt x="846" y="211"/>
                  <a:pt x="846" y="211"/>
                  <a:pt x="846" y="212"/>
                </a:cubicBezTo>
                <a:cubicBezTo>
                  <a:pt x="845" y="212"/>
                  <a:pt x="844" y="212"/>
                  <a:pt x="843" y="212"/>
                </a:cubicBezTo>
                <a:cubicBezTo>
                  <a:pt x="843" y="212"/>
                  <a:pt x="843" y="212"/>
                  <a:pt x="842" y="213"/>
                </a:cubicBezTo>
                <a:cubicBezTo>
                  <a:pt x="842" y="214"/>
                  <a:pt x="844" y="213"/>
                  <a:pt x="844" y="214"/>
                </a:cubicBezTo>
                <a:cubicBezTo>
                  <a:pt x="844" y="216"/>
                  <a:pt x="844" y="215"/>
                  <a:pt x="845" y="215"/>
                </a:cubicBezTo>
                <a:cubicBezTo>
                  <a:pt x="845" y="215"/>
                  <a:pt x="845" y="213"/>
                  <a:pt x="845" y="213"/>
                </a:cubicBezTo>
                <a:cubicBezTo>
                  <a:pt x="846" y="213"/>
                  <a:pt x="847" y="215"/>
                  <a:pt x="847" y="213"/>
                </a:cubicBezTo>
                <a:cubicBezTo>
                  <a:pt x="847" y="213"/>
                  <a:pt x="848" y="213"/>
                  <a:pt x="848" y="213"/>
                </a:cubicBezTo>
                <a:cubicBezTo>
                  <a:pt x="848" y="213"/>
                  <a:pt x="848" y="214"/>
                  <a:pt x="847" y="214"/>
                </a:cubicBezTo>
                <a:cubicBezTo>
                  <a:pt x="847" y="215"/>
                  <a:pt x="847" y="215"/>
                  <a:pt x="848" y="216"/>
                </a:cubicBezTo>
                <a:cubicBezTo>
                  <a:pt x="847" y="216"/>
                  <a:pt x="847" y="217"/>
                  <a:pt x="847" y="218"/>
                </a:cubicBezTo>
                <a:cubicBezTo>
                  <a:pt x="846" y="218"/>
                  <a:pt x="846" y="218"/>
                  <a:pt x="845" y="218"/>
                </a:cubicBezTo>
                <a:cubicBezTo>
                  <a:pt x="845" y="220"/>
                  <a:pt x="845" y="220"/>
                  <a:pt x="846" y="221"/>
                </a:cubicBezTo>
                <a:cubicBezTo>
                  <a:pt x="847" y="222"/>
                  <a:pt x="847" y="222"/>
                  <a:pt x="847" y="223"/>
                </a:cubicBezTo>
                <a:cubicBezTo>
                  <a:pt x="848" y="223"/>
                  <a:pt x="849" y="223"/>
                  <a:pt x="850" y="223"/>
                </a:cubicBezTo>
                <a:cubicBezTo>
                  <a:pt x="850" y="222"/>
                  <a:pt x="850" y="222"/>
                  <a:pt x="851" y="222"/>
                </a:cubicBezTo>
                <a:cubicBezTo>
                  <a:pt x="851" y="223"/>
                  <a:pt x="851" y="223"/>
                  <a:pt x="851" y="224"/>
                </a:cubicBezTo>
                <a:cubicBezTo>
                  <a:pt x="852" y="224"/>
                  <a:pt x="852" y="224"/>
                  <a:pt x="853" y="224"/>
                </a:cubicBezTo>
                <a:cubicBezTo>
                  <a:pt x="854" y="224"/>
                  <a:pt x="854" y="224"/>
                  <a:pt x="855" y="223"/>
                </a:cubicBezTo>
                <a:cubicBezTo>
                  <a:pt x="855" y="223"/>
                  <a:pt x="856" y="223"/>
                  <a:pt x="856" y="223"/>
                </a:cubicBezTo>
                <a:cubicBezTo>
                  <a:pt x="856" y="222"/>
                  <a:pt x="856" y="223"/>
                  <a:pt x="857" y="223"/>
                </a:cubicBezTo>
                <a:cubicBezTo>
                  <a:pt x="857" y="223"/>
                  <a:pt x="857" y="223"/>
                  <a:pt x="857" y="223"/>
                </a:cubicBezTo>
                <a:cubicBezTo>
                  <a:pt x="858" y="222"/>
                  <a:pt x="858" y="222"/>
                  <a:pt x="859" y="222"/>
                </a:cubicBezTo>
                <a:cubicBezTo>
                  <a:pt x="859" y="221"/>
                  <a:pt x="859" y="221"/>
                  <a:pt x="859" y="221"/>
                </a:cubicBezTo>
                <a:cubicBezTo>
                  <a:pt x="859" y="221"/>
                  <a:pt x="859" y="221"/>
                  <a:pt x="860" y="221"/>
                </a:cubicBezTo>
                <a:cubicBezTo>
                  <a:pt x="860" y="221"/>
                  <a:pt x="860" y="221"/>
                  <a:pt x="860" y="221"/>
                </a:cubicBezTo>
                <a:cubicBezTo>
                  <a:pt x="860" y="220"/>
                  <a:pt x="861" y="221"/>
                  <a:pt x="861" y="221"/>
                </a:cubicBezTo>
                <a:cubicBezTo>
                  <a:pt x="862" y="221"/>
                  <a:pt x="862" y="219"/>
                  <a:pt x="862" y="219"/>
                </a:cubicBezTo>
                <a:cubicBezTo>
                  <a:pt x="863" y="219"/>
                  <a:pt x="863" y="219"/>
                  <a:pt x="863" y="218"/>
                </a:cubicBezTo>
                <a:cubicBezTo>
                  <a:pt x="864" y="218"/>
                  <a:pt x="864" y="218"/>
                  <a:pt x="865" y="218"/>
                </a:cubicBezTo>
                <a:cubicBezTo>
                  <a:pt x="866" y="218"/>
                  <a:pt x="865" y="218"/>
                  <a:pt x="866" y="218"/>
                </a:cubicBezTo>
                <a:cubicBezTo>
                  <a:pt x="866" y="218"/>
                  <a:pt x="867" y="217"/>
                  <a:pt x="867" y="217"/>
                </a:cubicBezTo>
                <a:cubicBezTo>
                  <a:pt x="868" y="217"/>
                  <a:pt x="868" y="217"/>
                  <a:pt x="869" y="217"/>
                </a:cubicBezTo>
                <a:cubicBezTo>
                  <a:pt x="869" y="217"/>
                  <a:pt x="869" y="217"/>
                  <a:pt x="869" y="216"/>
                </a:cubicBezTo>
                <a:cubicBezTo>
                  <a:pt x="869" y="216"/>
                  <a:pt x="870" y="216"/>
                  <a:pt x="870" y="216"/>
                </a:cubicBezTo>
                <a:cubicBezTo>
                  <a:pt x="870" y="216"/>
                  <a:pt x="870" y="216"/>
                  <a:pt x="870" y="216"/>
                </a:cubicBezTo>
                <a:cubicBezTo>
                  <a:pt x="871" y="215"/>
                  <a:pt x="871" y="215"/>
                  <a:pt x="871" y="215"/>
                </a:cubicBezTo>
                <a:cubicBezTo>
                  <a:pt x="871" y="217"/>
                  <a:pt x="871" y="218"/>
                  <a:pt x="871" y="219"/>
                </a:cubicBezTo>
                <a:cubicBezTo>
                  <a:pt x="871" y="220"/>
                  <a:pt x="871" y="220"/>
                  <a:pt x="872" y="220"/>
                </a:cubicBezTo>
                <a:cubicBezTo>
                  <a:pt x="872" y="220"/>
                  <a:pt x="872" y="220"/>
                  <a:pt x="873" y="221"/>
                </a:cubicBezTo>
                <a:cubicBezTo>
                  <a:pt x="873" y="221"/>
                  <a:pt x="873" y="222"/>
                  <a:pt x="874" y="222"/>
                </a:cubicBezTo>
                <a:cubicBezTo>
                  <a:pt x="874" y="223"/>
                  <a:pt x="873" y="223"/>
                  <a:pt x="873" y="223"/>
                </a:cubicBezTo>
                <a:cubicBezTo>
                  <a:pt x="873" y="224"/>
                  <a:pt x="873" y="224"/>
                  <a:pt x="873" y="224"/>
                </a:cubicBezTo>
                <a:cubicBezTo>
                  <a:pt x="872" y="225"/>
                  <a:pt x="873" y="225"/>
                  <a:pt x="873" y="226"/>
                </a:cubicBezTo>
                <a:cubicBezTo>
                  <a:pt x="874" y="226"/>
                  <a:pt x="873" y="227"/>
                  <a:pt x="874" y="227"/>
                </a:cubicBezTo>
                <a:cubicBezTo>
                  <a:pt x="875" y="227"/>
                  <a:pt x="875" y="227"/>
                  <a:pt x="875" y="228"/>
                </a:cubicBezTo>
                <a:cubicBezTo>
                  <a:pt x="875" y="228"/>
                  <a:pt x="876" y="229"/>
                  <a:pt x="876" y="230"/>
                </a:cubicBezTo>
                <a:cubicBezTo>
                  <a:pt x="877" y="230"/>
                  <a:pt x="877" y="231"/>
                  <a:pt x="878" y="231"/>
                </a:cubicBezTo>
                <a:cubicBezTo>
                  <a:pt x="878" y="232"/>
                  <a:pt x="878" y="232"/>
                  <a:pt x="878" y="232"/>
                </a:cubicBezTo>
                <a:cubicBezTo>
                  <a:pt x="878" y="233"/>
                  <a:pt x="879" y="233"/>
                  <a:pt x="880" y="233"/>
                </a:cubicBezTo>
                <a:cubicBezTo>
                  <a:pt x="880" y="234"/>
                  <a:pt x="879" y="234"/>
                  <a:pt x="879" y="234"/>
                </a:cubicBezTo>
                <a:cubicBezTo>
                  <a:pt x="878" y="234"/>
                  <a:pt x="878" y="235"/>
                  <a:pt x="879" y="236"/>
                </a:cubicBezTo>
                <a:cubicBezTo>
                  <a:pt x="877" y="237"/>
                  <a:pt x="878" y="237"/>
                  <a:pt x="878" y="238"/>
                </a:cubicBezTo>
                <a:cubicBezTo>
                  <a:pt x="878" y="239"/>
                  <a:pt x="877" y="239"/>
                  <a:pt x="878" y="239"/>
                </a:cubicBezTo>
                <a:cubicBezTo>
                  <a:pt x="879" y="239"/>
                  <a:pt x="878" y="241"/>
                  <a:pt x="878" y="242"/>
                </a:cubicBezTo>
                <a:cubicBezTo>
                  <a:pt x="878" y="242"/>
                  <a:pt x="880" y="242"/>
                  <a:pt x="880" y="242"/>
                </a:cubicBezTo>
                <a:cubicBezTo>
                  <a:pt x="880" y="242"/>
                  <a:pt x="882" y="242"/>
                  <a:pt x="883" y="242"/>
                </a:cubicBezTo>
                <a:cubicBezTo>
                  <a:pt x="883" y="242"/>
                  <a:pt x="885" y="241"/>
                  <a:pt x="885" y="241"/>
                </a:cubicBezTo>
                <a:cubicBezTo>
                  <a:pt x="886" y="240"/>
                  <a:pt x="885" y="240"/>
                  <a:pt x="885" y="239"/>
                </a:cubicBezTo>
                <a:cubicBezTo>
                  <a:pt x="885" y="239"/>
                  <a:pt x="886" y="237"/>
                  <a:pt x="886" y="237"/>
                </a:cubicBezTo>
                <a:cubicBezTo>
                  <a:pt x="886" y="237"/>
                  <a:pt x="887" y="237"/>
                  <a:pt x="887" y="237"/>
                </a:cubicBezTo>
                <a:cubicBezTo>
                  <a:pt x="887" y="235"/>
                  <a:pt x="888" y="236"/>
                  <a:pt x="889" y="235"/>
                </a:cubicBezTo>
                <a:cubicBezTo>
                  <a:pt x="889" y="236"/>
                  <a:pt x="892" y="236"/>
                  <a:pt x="892" y="236"/>
                </a:cubicBezTo>
                <a:cubicBezTo>
                  <a:pt x="893" y="236"/>
                  <a:pt x="893" y="236"/>
                  <a:pt x="894" y="235"/>
                </a:cubicBezTo>
                <a:cubicBezTo>
                  <a:pt x="894" y="235"/>
                  <a:pt x="895" y="234"/>
                  <a:pt x="894" y="234"/>
                </a:cubicBezTo>
                <a:cubicBezTo>
                  <a:pt x="895" y="234"/>
                  <a:pt x="895" y="234"/>
                  <a:pt x="895" y="235"/>
                </a:cubicBezTo>
                <a:cubicBezTo>
                  <a:pt x="895" y="235"/>
                  <a:pt x="895" y="235"/>
                  <a:pt x="895" y="235"/>
                </a:cubicBezTo>
                <a:cubicBezTo>
                  <a:pt x="896" y="236"/>
                  <a:pt x="896" y="235"/>
                  <a:pt x="896" y="235"/>
                </a:cubicBezTo>
                <a:cubicBezTo>
                  <a:pt x="897" y="234"/>
                  <a:pt x="897" y="233"/>
                  <a:pt x="897" y="231"/>
                </a:cubicBezTo>
                <a:cubicBezTo>
                  <a:pt x="896" y="232"/>
                  <a:pt x="896" y="233"/>
                  <a:pt x="895" y="233"/>
                </a:cubicBezTo>
                <a:cubicBezTo>
                  <a:pt x="895" y="233"/>
                  <a:pt x="895" y="231"/>
                  <a:pt x="896" y="231"/>
                </a:cubicBezTo>
                <a:cubicBezTo>
                  <a:pt x="896" y="231"/>
                  <a:pt x="896" y="230"/>
                  <a:pt x="896" y="230"/>
                </a:cubicBezTo>
                <a:cubicBezTo>
                  <a:pt x="896" y="229"/>
                  <a:pt x="896" y="227"/>
                  <a:pt x="897" y="227"/>
                </a:cubicBezTo>
                <a:cubicBezTo>
                  <a:pt x="897" y="226"/>
                  <a:pt x="896" y="226"/>
                  <a:pt x="897" y="225"/>
                </a:cubicBezTo>
                <a:cubicBezTo>
                  <a:pt x="897" y="225"/>
                  <a:pt x="897" y="224"/>
                  <a:pt x="897" y="224"/>
                </a:cubicBezTo>
                <a:cubicBezTo>
                  <a:pt x="897" y="222"/>
                  <a:pt x="898" y="221"/>
                  <a:pt x="897" y="219"/>
                </a:cubicBezTo>
                <a:cubicBezTo>
                  <a:pt x="897" y="219"/>
                  <a:pt x="898" y="219"/>
                  <a:pt x="898" y="219"/>
                </a:cubicBezTo>
                <a:cubicBezTo>
                  <a:pt x="898" y="219"/>
                  <a:pt x="898" y="218"/>
                  <a:pt x="897" y="218"/>
                </a:cubicBezTo>
                <a:cubicBezTo>
                  <a:pt x="897" y="218"/>
                  <a:pt x="896" y="218"/>
                  <a:pt x="896" y="217"/>
                </a:cubicBezTo>
                <a:cubicBezTo>
                  <a:pt x="897" y="217"/>
                  <a:pt x="898" y="218"/>
                  <a:pt x="899" y="218"/>
                </a:cubicBezTo>
                <a:cubicBezTo>
                  <a:pt x="899" y="218"/>
                  <a:pt x="899" y="217"/>
                  <a:pt x="900" y="217"/>
                </a:cubicBezTo>
                <a:cubicBezTo>
                  <a:pt x="900" y="217"/>
                  <a:pt x="900" y="217"/>
                  <a:pt x="901" y="217"/>
                </a:cubicBezTo>
                <a:cubicBezTo>
                  <a:pt x="901" y="217"/>
                  <a:pt x="902" y="216"/>
                  <a:pt x="902" y="216"/>
                </a:cubicBezTo>
                <a:cubicBezTo>
                  <a:pt x="902" y="217"/>
                  <a:pt x="902" y="218"/>
                  <a:pt x="903" y="217"/>
                </a:cubicBezTo>
                <a:cubicBezTo>
                  <a:pt x="903" y="216"/>
                  <a:pt x="904" y="216"/>
                  <a:pt x="905" y="216"/>
                </a:cubicBezTo>
                <a:cubicBezTo>
                  <a:pt x="905" y="216"/>
                  <a:pt x="906" y="215"/>
                  <a:pt x="906" y="215"/>
                </a:cubicBezTo>
                <a:cubicBezTo>
                  <a:pt x="906" y="214"/>
                  <a:pt x="906" y="214"/>
                  <a:pt x="908" y="214"/>
                </a:cubicBezTo>
                <a:cubicBezTo>
                  <a:pt x="907" y="213"/>
                  <a:pt x="907" y="213"/>
                  <a:pt x="906" y="213"/>
                </a:cubicBezTo>
                <a:cubicBezTo>
                  <a:pt x="904" y="213"/>
                  <a:pt x="907" y="212"/>
                  <a:pt x="908" y="211"/>
                </a:cubicBezTo>
                <a:cubicBezTo>
                  <a:pt x="908" y="211"/>
                  <a:pt x="909" y="210"/>
                  <a:pt x="908" y="209"/>
                </a:cubicBezTo>
                <a:cubicBezTo>
                  <a:pt x="908" y="209"/>
                  <a:pt x="908" y="209"/>
                  <a:pt x="908" y="208"/>
                </a:cubicBezTo>
                <a:cubicBezTo>
                  <a:pt x="908" y="207"/>
                  <a:pt x="908" y="207"/>
                  <a:pt x="907" y="207"/>
                </a:cubicBezTo>
                <a:cubicBezTo>
                  <a:pt x="906" y="207"/>
                  <a:pt x="905" y="206"/>
                  <a:pt x="906" y="205"/>
                </a:cubicBezTo>
                <a:cubicBezTo>
                  <a:pt x="906" y="205"/>
                  <a:pt x="905" y="205"/>
                  <a:pt x="905" y="205"/>
                </a:cubicBezTo>
                <a:cubicBezTo>
                  <a:pt x="905" y="205"/>
                  <a:pt x="904" y="203"/>
                  <a:pt x="903" y="203"/>
                </a:cubicBezTo>
                <a:cubicBezTo>
                  <a:pt x="903" y="204"/>
                  <a:pt x="903" y="204"/>
                  <a:pt x="902" y="204"/>
                </a:cubicBezTo>
                <a:cubicBezTo>
                  <a:pt x="900" y="204"/>
                  <a:pt x="900" y="204"/>
                  <a:pt x="900" y="202"/>
                </a:cubicBezTo>
                <a:cubicBezTo>
                  <a:pt x="901" y="202"/>
                  <a:pt x="900" y="201"/>
                  <a:pt x="901" y="201"/>
                </a:cubicBezTo>
                <a:cubicBezTo>
                  <a:pt x="900" y="200"/>
                  <a:pt x="900" y="200"/>
                  <a:pt x="900" y="199"/>
                </a:cubicBezTo>
                <a:cubicBezTo>
                  <a:pt x="900" y="198"/>
                  <a:pt x="899" y="199"/>
                  <a:pt x="900" y="198"/>
                </a:cubicBezTo>
                <a:cubicBezTo>
                  <a:pt x="900" y="197"/>
                  <a:pt x="900" y="197"/>
                  <a:pt x="900" y="197"/>
                </a:cubicBezTo>
                <a:cubicBezTo>
                  <a:pt x="900" y="197"/>
                  <a:pt x="900" y="197"/>
                  <a:pt x="900" y="196"/>
                </a:cubicBezTo>
                <a:cubicBezTo>
                  <a:pt x="900" y="196"/>
                  <a:pt x="899" y="195"/>
                  <a:pt x="900" y="195"/>
                </a:cubicBezTo>
                <a:cubicBezTo>
                  <a:pt x="901" y="195"/>
                  <a:pt x="900" y="194"/>
                  <a:pt x="900" y="193"/>
                </a:cubicBezTo>
                <a:cubicBezTo>
                  <a:pt x="900" y="193"/>
                  <a:pt x="901" y="192"/>
                  <a:pt x="901" y="192"/>
                </a:cubicBezTo>
                <a:cubicBezTo>
                  <a:pt x="902" y="192"/>
                  <a:pt x="900" y="189"/>
                  <a:pt x="900" y="188"/>
                </a:cubicBezTo>
                <a:cubicBezTo>
                  <a:pt x="900" y="187"/>
                  <a:pt x="902" y="189"/>
                  <a:pt x="902" y="188"/>
                </a:cubicBezTo>
                <a:cubicBezTo>
                  <a:pt x="902" y="187"/>
                  <a:pt x="903" y="187"/>
                  <a:pt x="903" y="187"/>
                </a:cubicBezTo>
                <a:cubicBezTo>
                  <a:pt x="904" y="187"/>
                  <a:pt x="904" y="186"/>
                  <a:pt x="904" y="185"/>
                </a:cubicBezTo>
                <a:cubicBezTo>
                  <a:pt x="904" y="185"/>
                  <a:pt x="904" y="185"/>
                  <a:pt x="904" y="185"/>
                </a:cubicBezTo>
                <a:cubicBezTo>
                  <a:pt x="904" y="185"/>
                  <a:pt x="906" y="184"/>
                  <a:pt x="906" y="184"/>
                </a:cubicBezTo>
                <a:cubicBezTo>
                  <a:pt x="907" y="184"/>
                  <a:pt x="906" y="183"/>
                  <a:pt x="907" y="183"/>
                </a:cubicBezTo>
                <a:cubicBezTo>
                  <a:pt x="907" y="183"/>
                  <a:pt x="906" y="182"/>
                  <a:pt x="906" y="182"/>
                </a:cubicBezTo>
                <a:cubicBezTo>
                  <a:pt x="907" y="182"/>
                  <a:pt x="907" y="181"/>
                  <a:pt x="907" y="181"/>
                </a:cubicBezTo>
                <a:cubicBezTo>
                  <a:pt x="908" y="180"/>
                  <a:pt x="908" y="181"/>
                  <a:pt x="909" y="181"/>
                </a:cubicBezTo>
                <a:cubicBezTo>
                  <a:pt x="909" y="180"/>
                  <a:pt x="911" y="181"/>
                  <a:pt x="911" y="180"/>
                </a:cubicBezTo>
                <a:cubicBezTo>
                  <a:pt x="911" y="180"/>
                  <a:pt x="911" y="180"/>
                  <a:pt x="912" y="179"/>
                </a:cubicBezTo>
                <a:cubicBezTo>
                  <a:pt x="913" y="178"/>
                  <a:pt x="913" y="178"/>
                  <a:pt x="914" y="178"/>
                </a:cubicBezTo>
                <a:cubicBezTo>
                  <a:pt x="914" y="179"/>
                  <a:pt x="915" y="179"/>
                  <a:pt x="915" y="178"/>
                </a:cubicBezTo>
                <a:cubicBezTo>
                  <a:pt x="916" y="178"/>
                  <a:pt x="916" y="178"/>
                  <a:pt x="916" y="177"/>
                </a:cubicBezTo>
                <a:cubicBezTo>
                  <a:pt x="917" y="177"/>
                  <a:pt x="917" y="176"/>
                  <a:pt x="917" y="175"/>
                </a:cubicBezTo>
                <a:cubicBezTo>
                  <a:pt x="918" y="175"/>
                  <a:pt x="918" y="175"/>
                  <a:pt x="918" y="175"/>
                </a:cubicBezTo>
                <a:cubicBezTo>
                  <a:pt x="919" y="174"/>
                  <a:pt x="919" y="174"/>
                  <a:pt x="919" y="173"/>
                </a:cubicBezTo>
                <a:cubicBezTo>
                  <a:pt x="919" y="173"/>
                  <a:pt x="919" y="173"/>
                  <a:pt x="918" y="173"/>
                </a:cubicBezTo>
                <a:cubicBezTo>
                  <a:pt x="918" y="172"/>
                  <a:pt x="919" y="172"/>
                  <a:pt x="918" y="171"/>
                </a:cubicBezTo>
                <a:cubicBezTo>
                  <a:pt x="919" y="170"/>
                  <a:pt x="917" y="169"/>
                  <a:pt x="918" y="168"/>
                </a:cubicBezTo>
                <a:cubicBezTo>
                  <a:pt x="919" y="168"/>
                  <a:pt x="919" y="167"/>
                  <a:pt x="920" y="167"/>
                </a:cubicBezTo>
                <a:cubicBezTo>
                  <a:pt x="920" y="167"/>
                  <a:pt x="919" y="166"/>
                  <a:pt x="919" y="166"/>
                </a:cubicBezTo>
                <a:cubicBezTo>
                  <a:pt x="920" y="166"/>
                  <a:pt x="920" y="166"/>
                  <a:pt x="920" y="165"/>
                </a:cubicBezTo>
                <a:cubicBezTo>
                  <a:pt x="920" y="165"/>
                  <a:pt x="920" y="165"/>
                  <a:pt x="920" y="164"/>
                </a:cubicBezTo>
                <a:cubicBezTo>
                  <a:pt x="920" y="164"/>
                  <a:pt x="921" y="164"/>
                  <a:pt x="921" y="164"/>
                </a:cubicBezTo>
                <a:cubicBezTo>
                  <a:pt x="921" y="164"/>
                  <a:pt x="921" y="165"/>
                  <a:pt x="922" y="164"/>
                </a:cubicBezTo>
                <a:cubicBezTo>
                  <a:pt x="922" y="164"/>
                  <a:pt x="923" y="163"/>
                  <a:pt x="924" y="163"/>
                </a:cubicBezTo>
                <a:cubicBezTo>
                  <a:pt x="924" y="163"/>
                  <a:pt x="923" y="162"/>
                  <a:pt x="923" y="162"/>
                </a:cubicBezTo>
                <a:cubicBezTo>
                  <a:pt x="924" y="162"/>
                  <a:pt x="924" y="161"/>
                  <a:pt x="924" y="160"/>
                </a:cubicBezTo>
                <a:cubicBezTo>
                  <a:pt x="924" y="161"/>
                  <a:pt x="925" y="161"/>
                  <a:pt x="925" y="161"/>
                </a:cubicBezTo>
                <a:cubicBezTo>
                  <a:pt x="926" y="162"/>
                  <a:pt x="925" y="161"/>
                  <a:pt x="926" y="161"/>
                </a:cubicBezTo>
                <a:cubicBezTo>
                  <a:pt x="926" y="161"/>
                  <a:pt x="927" y="161"/>
                  <a:pt x="927" y="162"/>
                </a:cubicBezTo>
                <a:cubicBezTo>
                  <a:pt x="927" y="162"/>
                  <a:pt x="927" y="162"/>
                  <a:pt x="927" y="162"/>
                </a:cubicBezTo>
                <a:cubicBezTo>
                  <a:pt x="928" y="161"/>
                  <a:pt x="928" y="161"/>
                  <a:pt x="929" y="161"/>
                </a:cubicBezTo>
                <a:cubicBezTo>
                  <a:pt x="930" y="161"/>
                  <a:pt x="932" y="162"/>
                  <a:pt x="933" y="161"/>
                </a:cubicBezTo>
                <a:cubicBezTo>
                  <a:pt x="934" y="161"/>
                  <a:pt x="935" y="162"/>
                  <a:pt x="935" y="163"/>
                </a:cubicBezTo>
                <a:cubicBezTo>
                  <a:pt x="935" y="163"/>
                  <a:pt x="936" y="162"/>
                  <a:pt x="936" y="163"/>
                </a:cubicBezTo>
                <a:cubicBezTo>
                  <a:pt x="937" y="164"/>
                  <a:pt x="936" y="163"/>
                  <a:pt x="937" y="163"/>
                </a:cubicBezTo>
                <a:cubicBezTo>
                  <a:pt x="937" y="164"/>
                  <a:pt x="936" y="164"/>
                  <a:pt x="936" y="165"/>
                </a:cubicBezTo>
                <a:cubicBezTo>
                  <a:pt x="936" y="165"/>
                  <a:pt x="936" y="165"/>
                  <a:pt x="937" y="165"/>
                </a:cubicBezTo>
                <a:cubicBezTo>
                  <a:pt x="937" y="166"/>
                  <a:pt x="936" y="166"/>
                  <a:pt x="937" y="167"/>
                </a:cubicBezTo>
                <a:cubicBezTo>
                  <a:pt x="937" y="167"/>
                  <a:pt x="937" y="168"/>
                  <a:pt x="937" y="168"/>
                </a:cubicBezTo>
                <a:cubicBezTo>
                  <a:pt x="937" y="169"/>
                  <a:pt x="936" y="168"/>
                  <a:pt x="937" y="169"/>
                </a:cubicBezTo>
                <a:cubicBezTo>
                  <a:pt x="936" y="169"/>
                  <a:pt x="936" y="170"/>
                  <a:pt x="936" y="169"/>
                </a:cubicBezTo>
                <a:cubicBezTo>
                  <a:pt x="934" y="169"/>
                  <a:pt x="934" y="170"/>
                  <a:pt x="933" y="172"/>
                </a:cubicBezTo>
                <a:cubicBezTo>
                  <a:pt x="933" y="173"/>
                  <a:pt x="933" y="173"/>
                  <a:pt x="933" y="174"/>
                </a:cubicBezTo>
                <a:cubicBezTo>
                  <a:pt x="932" y="174"/>
                  <a:pt x="932" y="174"/>
                  <a:pt x="932" y="175"/>
                </a:cubicBezTo>
                <a:cubicBezTo>
                  <a:pt x="932" y="175"/>
                  <a:pt x="931" y="175"/>
                  <a:pt x="931" y="176"/>
                </a:cubicBezTo>
                <a:cubicBezTo>
                  <a:pt x="931" y="176"/>
                  <a:pt x="930" y="176"/>
                  <a:pt x="930" y="176"/>
                </a:cubicBezTo>
                <a:cubicBezTo>
                  <a:pt x="930" y="177"/>
                  <a:pt x="930" y="177"/>
                  <a:pt x="930" y="177"/>
                </a:cubicBezTo>
                <a:cubicBezTo>
                  <a:pt x="930" y="177"/>
                  <a:pt x="930" y="177"/>
                  <a:pt x="930" y="178"/>
                </a:cubicBezTo>
                <a:cubicBezTo>
                  <a:pt x="930" y="178"/>
                  <a:pt x="929" y="178"/>
                  <a:pt x="929" y="178"/>
                </a:cubicBezTo>
                <a:cubicBezTo>
                  <a:pt x="928" y="179"/>
                  <a:pt x="929" y="179"/>
                  <a:pt x="928" y="179"/>
                </a:cubicBezTo>
                <a:cubicBezTo>
                  <a:pt x="927" y="179"/>
                  <a:pt x="927" y="179"/>
                  <a:pt x="926" y="180"/>
                </a:cubicBezTo>
                <a:cubicBezTo>
                  <a:pt x="926" y="180"/>
                  <a:pt x="925" y="181"/>
                  <a:pt x="925" y="181"/>
                </a:cubicBezTo>
                <a:cubicBezTo>
                  <a:pt x="925" y="182"/>
                  <a:pt x="925" y="182"/>
                  <a:pt x="924" y="182"/>
                </a:cubicBezTo>
                <a:cubicBezTo>
                  <a:pt x="923" y="182"/>
                  <a:pt x="922" y="183"/>
                  <a:pt x="922" y="184"/>
                </a:cubicBezTo>
                <a:cubicBezTo>
                  <a:pt x="922" y="184"/>
                  <a:pt x="922" y="185"/>
                  <a:pt x="921" y="185"/>
                </a:cubicBezTo>
                <a:cubicBezTo>
                  <a:pt x="920" y="186"/>
                  <a:pt x="920" y="186"/>
                  <a:pt x="920" y="187"/>
                </a:cubicBezTo>
                <a:cubicBezTo>
                  <a:pt x="920" y="187"/>
                  <a:pt x="920" y="188"/>
                  <a:pt x="921" y="188"/>
                </a:cubicBezTo>
                <a:cubicBezTo>
                  <a:pt x="922" y="188"/>
                  <a:pt x="921" y="189"/>
                  <a:pt x="921" y="190"/>
                </a:cubicBezTo>
                <a:cubicBezTo>
                  <a:pt x="922" y="190"/>
                  <a:pt x="922" y="190"/>
                  <a:pt x="922" y="191"/>
                </a:cubicBezTo>
                <a:cubicBezTo>
                  <a:pt x="922" y="191"/>
                  <a:pt x="922" y="192"/>
                  <a:pt x="922" y="192"/>
                </a:cubicBezTo>
                <a:cubicBezTo>
                  <a:pt x="922" y="192"/>
                  <a:pt x="922" y="192"/>
                  <a:pt x="923" y="192"/>
                </a:cubicBezTo>
                <a:cubicBezTo>
                  <a:pt x="923" y="193"/>
                  <a:pt x="922" y="194"/>
                  <a:pt x="921" y="194"/>
                </a:cubicBezTo>
                <a:cubicBezTo>
                  <a:pt x="922" y="195"/>
                  <a:pt x="922" y="195"/>
                  <a:pt x="922" y="196"/>
                </a:cubicBezTo>
                <a:cubicBezTo>
                  <a:pt x="921" y="196"/>
                  <a:pt x="922" y="197"/>
                  <a:pt x="921" y="198"/>
                </a:cubicBezTo>
                <a:cubicBezTo>
                  <a:pt x="921" y="197"/>
                  <a:pt x="921" y="198"/>
                  <a:pt x="921" y="198"/>
                </a:cubicBezTo>
                <a:cubicBezTo>
                  <a:pt x="922" y="198"/>
                  <a:pt x="922" y="198"/>
                  <a:pt x="922" y="199"/>
                </a:cubicBezTo>
                <a:cubicBezTo>
                  <a:pt x="922" y="200"/>
                  <a:pt x="922" y="199"/>
                  <a:pt x="923" y="199"/>
                </a:cubicBezTo>
                <a:cubicBezTo>
                  <a:pt x="923" y="200"/>
                  <a:pt x="923" y="201"/>
                  <a:pt x="924" y="202"/>
                </a:cubicBezTo>
                <a:cubicBezTo>
                  <a:pt x="924" y="202"/>
                  <a:pt x="924" y="202"/>
                  <a:pt x="925" y="202"/>
                </a:cubicBezTo>
                <a:cubicBezTo>
                  <a:pt x="925" y="201"/>
                  <a:pt x="924" y="201"/>
                  <a:pt x="924" y="200"/>
                </a:cubicBezTo>
                <a:cubicBezTo>
                  <a:pt x="925" y="201"/>
                  <a:pt x="926" y="201"/>
                  <a:pt x="927" y="201"/>
                </a:cubicBezTo>
                <a:cubicBezTo>
                  <a:pt x="928" y="202"/>
                  <a:pt x="927" y="203"/>
                  <a:pt x="927" y="203"/>
                </a:cubicBezTo>
                <a:cubicBezTo>
                  <a:pt x="928" y="203"/>
                  <a:pt x="929" y="203"/>
                  <a:pt x="929" y="203"/>
                </a:cubicBezTo>
                <a:cubicBezTo>
                  <a:pt x="929" y="203"/>
                  <a:pt x="930" y="204"/>
                  <a:pt x="929" y="204"/>
                </a:cubicBezTo>
                <a:cubicBezTo>
                  <a:pt x="927" y="204"/>
                  <a:pt x="926" y="204"/>
                  <a:pt x="926" y="205"/>
                </a:cubicBezTo>
                <a:cubicBezTo>
                  <a:pt x="926" y="205"/>
                  <a:pt x="926" y="205"/>
                  <a:pt x="926" y="206"/>
                </a:cubicBezTo>
                <a:cubicBezTo>
                  <a:pt x="925" y="206"/>
                  <a:pt x="926" y="207"/>
                  <a:pt x="926" y="207"/>
                </a:cubicBezTo>
                <a:cubicBezTo>
                  <a:pt x="927" y="207"/>
                  <a:pt x="927" y="207"/>
                  <a:pt x="928" y="207"/>
                </a:cubicBezTo>
                <a:cubicBezTo>
                  <a:pt x="928" y="207"/>
                  <a:pt x="927" y="206"/>
                  <a:pt x="928" y="206"/>
                </a:cubicBezTo>
                <a:cubicBezTo>
                  <a:pt x="928" y="206"/>
                  <a:pt x="928" y="205"/>
                  <a:pt x="928" y="205"/>
                </a:cubicBezTo>
                <a:cubicBezTo>
                  <a:pt x="928" y="205"/>
                  <a:pt x="929" y="205"/>
                  <a:pt x="929" y="205"/>
                </a:cubicBezTo>
                <a:cubicBezTo>
                  <a:pt x="929" y="205"/>
                  <a:pt x="929" y="205"/>
                  <a:pt x="929" y="205"/>
                </a:cubicBezTo>
                <a:cubicBezTo>
                  <a:pt x="930" y="206"/>
                  <a:pt x="930" y="206"/>
                  <a:pt x="930" y="207"/>
                </a:cubicBezTo>
                <a:cubicBezTo>
                  <a:pt x="931" y="207"/>
                  <a:pt x="931" y="207"/>
                  <a:pt x="931" y="208"/>
                </a:cubicBezTo>
                <a:cubicBezTo>
                  <a:pt x="931" y="208"/>
                  <a:pt x="932" y="208"/>
                  <a:pt x="933" y="208"/>
                </a:cubicBezTo>
                <a:cubicBezTo>
                  <a:pt x="933" y="208"/>
                  <a:pt x="933" y="207"/>
                  <a:pt x="933" y="207"/>
                </a:cubicBezTo>
                <a:cubicBezTo>
                  <a:pt x="935" y="207"/>
                  <a:pt x="935" y="208"/>
                  <a:pt x="935" y="206"/>
                </a:cubicBezTo>
                <a:cubicBezTo>
                  <a:pt x="936" y="206"/>
                  <a:pt x="936" y="206"/>
                  <a:pt x="937" y="205"/>
                </a:cubicBezTo>
                <a:cubicBezTo>
                  <a:pt x="937" y="204"/>
                  <a:pt x="938" y="204"/>
                  <a:pt x="939" y="204"/>
                </a:cubicBezTo>
                <a:cubicBezTo>
                  <a:pt x="941" y="204"/>
                  <a:pt x="941" y="204"/>
                  <a:pt x="941" y="203"/>
                </a:cubicBezTo>
                <a:cubicBezTo>
                  <a:pt x="942" y="203"/>
                  <a:pt x="942" y="203"/>
                  <a:pt x="943" y="202"/>
                </a:cubicBezTo>
                <a:cubicBezTo>
                  <a:pt x="943" y="202"/>
                  <a:pt x="943" y="202"/>
                  <a:pt x="943" y="202"/>
                </a:cubicBezTo>
                <a:cubicBezTo>
                  <a:pt x="943" y="203"/>
                  <a:pt x="945" y="203"/>
                  <a:pt x="945" y="203"/>
                </a:cubicBezTo>
                <a:cubicBezTo>
                  <a:pt x="945" y="202"/>
                  <a:pt x="946" y="202"/>
                  <a:pt x="947" y="201"/>
                </a:cubicBezTo>
                <a:cubicBezTo>
                  <a:pt x="947" y="201"/>
                  <a:pt x="947" y="202"/>
                  <a:pt x="947" y="202"/>
                </a:cubicBezTo>
                <a:cubicBezTo>
                  <a:pt x="949" y="202"/>
                  <a:pt x="950" y="201"/>
                  <a:pt x="952" y="200"/>
                </a:cubicBezTo>
                <a:cubicBezTo>
                  <a:pt x="952" y="201"/>
                  <a:pt x="952" y="201"/>
                  <a:pt x="951" y="201"/>
                </a:cubicBezTo>
                <a:cubicBezTo>
                  <a:pt x="952" y="203"/>
                  <a:pt x="954" y="203"/>
                  <a:pt x="955" y="204"/>
                </a:cubicBezTo>
                <a:cubicBezTo>
                  <a:pt x="956" y="205"/>
                  <a:pt x="956" y="205"/>
                  <a:pt x="957" y="205"/>
                </a:cubicBezTo>
                <a:cubicBezTo>
                  <a:pt x="958" y="205"/>
                  <a:pt x="958" y="205"/>
                  <a:pt x="959" y="205"/>
                </a:cubicBezTo>
                <a:cubicBezTo>
                  <a:pt x="959" y="205"/>
                  <a:pt x="959" y="205"/>
                  <a:pt x="959" y="205"/>
                </a:cubicBezTo>
                <a:cubicBezTo>
                  <a:pt x="960" y="205"/>
                  <a:pt x="961" y="206"/>
                  <a:pt x="961" y="207"/>
                </a:cubicBezTo>
                <a:cubicBezTo>
                  <a:pt x="962" y="207"/>
                  <a:pt x="962" y="207"/>
                  <a:pt x="963" y="207"/>
                </a:cubicBezTo>
                <a:cubicBezTo>
                  <a:pt x="962" y="208"/>
                  <a:pt x="962" y="208"/>
                  <a:pt x="961" y="208"/>
                </a:cubicBezTo>
                <a:cubicBezTo>
                  <a:pt x="960" y="208"/>
                  <a:pt x="959" y="208"/>
                  <a:pt x="958" y="207"/>
                </a:cubicBezTo>
                <a:cubicBezTo>
                  <a:pt x="958" y="208"/>
                  <a:pt x="957" y="208"/>
                  <a:pt x="957" y="208"/>
                </a:cubicBezTo>
                <a:cubicBezTo>
                  <a:pt x="957" y="209"/>
                  <a:pt x="956" y="209"/>
                  <a:pt x="956" y="209"/>
                </a:cubicBezTo>
                <a:cubicBezTo>
                  <a:pt x="955" y="209"/>
                  <a:pt x="954" y="209"/>
                  <a:pt x="953" y="209"/>
                </a:cubicBezTo>
                <a:cubicBezTo>
                  <a:pt x="953" y="209"/>
                  <a:pt x="953" y="209"/>
                  <a:pt x="953" y="209"/>
                </a:cubicBezTo>
                <a:cubicBezTo>
                  <a:pt x="952" y="209"/>
                  <a:pt x="952" y="209"/>
                  <a:pt x="952" y="208"/>
                </a:cubicBezTo>
                <a:cubicBezTo>
                  <a:pt x="952" y="209"/>
                  <a:pt x="951" y="210"/>
                  <a:pt x="951" y="212"/>
                </a:cubicBezTo>
                <a:cubicBezTo>
                  <a:pt x="950" y="212"/>
                  <a:pt x="949" y="211"/>
                  <a:pt x="948" y="211"/>
                </a:cubicBezTo>
                <a:cubicBezTo>
                  <a:pt x="947" y="211"/>
                  <a:pt x="948" y="211"/>
                  <a:pt x="948" y="210"/>
                </a:cubicBezTo>
                <a:cubicBezTo>
                  <a:pt x="947" y="210"/>
                  <a:pt x="947" y="210"/>
                  <a:pt x="947" y="210"/>
                </a:cubicBezTo>
                <a:cubicBezTo>
                  <a:pt x="947" y="210"/>
                  <a:pt x="946" y="210"/>
                  <a:pt x="946" y="210"/>
                </a:cubicBezTo>
                <a:cubicBezTo>
                  <a:pt x="946" y="211"/>
                  <a:pt x="945" y="210"/>
                  <a:pt x="945" y="210"/>
                </a:cubicBezTo>
                <a:cubicBezTo>
                  <a:pt x="945" y="211"/>
                  <a:pt x="945" y="211"/>
                  <a:pt x="945" y="211"/>
                </a:cubicBezTo>
                <a:cubicBezTo>
                  <a:pt x="945" y="212"/>
                  <a:pt x="944" y="212"/>
                  <a:pt x="944" y="212"/>
                </a:cubicBezTo>
                <a:cubicBezTo>
                  <a:pt x="944" y="212"/>
                  <a:pt x="943" y="212"/>
                  <a:pt x="942" y="212"/>
                </a:cubicBezTo>
                <a:cubicBezTo>
                  <a:pt x="942" y="212"/>
                  <a:pt x="941" y="212"/>
                  <a:pt x="941" y="212"/>
                </a:cubicBezTo>
                <a:cubicBezTo>
                  <a:pt x="941" y="211"/>
                  <a:pt x="940" y="212"/>
                  <a:pt x="940" y="211"/>
                </a:cubicBezTo>
                <a:cubicBezTo>
                  <a:pt x="939" y="211"/>
                  <a:pt x="939" y="211"/>
                  <a:pt x="939" y="212"/>
                </a:cubicBezTo>
                <a:cubicBezTo>
                  <a:pt x="939" y="212"/>
                  <a:pt x="939" y="212"/>
                  <a:pt x="938" y="212"/>
                </a:cubicBezTo>
                <a:cubicBezTo>
                  <a:pt x="938" y="212"/>
                  <a:pt x="937" y="212"/>
                  <a:pt x="937" y="212"/>
                </a:cubicBezTo>
                <a:cubicBezTo>
                  <a:pt x="937" y="212"/>
                  <a:pt x="936" y="212"/>
                  <a:pt x="936" y="212"/>
                </a:cubicBezTo>
                <a:cubicBezTo>
                  <a:pt x="936" y="212"/>
                  <a:pt x="936" y="213"/>
                  <a:pt x="935" y="213"/>
                </a:cubicBezTo>
                <a:cubicBezTo>
                  <a:pt x="935" y="213"/>
                  <a:pt x="935" y="213"/>
                  <a:pt x="935" y="213"/>
                </a:cubicBezTo>
                <a:cubicBezTo>
                  <a:pt x="934" y="213"/>
                  <a:pt x="934" y="213"/>
                  <a:pt x="933" y="213"/>
                </a:cubicBezTo>
                <a:cubicBezTo>
                  <a:pt x="933" y="213"/>
                  <a:pt x="933" y="213"/>
                  <a:pt x="933" y="213"/>
                </a:cubicBezTo>
                <a:cubicBezTo>
                  <a:pt x="932" y="214"/>
                  <a:pt x="932" y="214"/>
                  <a:pt x="931" y="213"/>
                </a:cubicBezTo>
                <a:cubicBezTo>
                  <a:pt x="931" y="214"/>
                  <a:pt x="931" y="214"/>
                  <a:pt x="930" y="214"/>
                </a:cubicBezTo>
                <a:cubicBezTo>
                  <a:pt x="930" y="215"/>
                  <a:pt x="931" y="216"/>
                  <a:pt x="931" y="216"/>
                </a:cubicBezTo>
                <a:cubicBezTo>
                  <a:pt x="930" y="216"/>
                  <a:pt x="931" y="217"/>
                  <a:pt x="930" y="217"/>
                </a:cubicBezTo>
                <a:cubicBezTo>
                  <a:pt x="930" y="218"/>
                  <a:pt x="930" y="219"/>
                  <a:pt x="930" y="219"/>
                </a:cubicBezTo>
                <a:cubicBezTo>
                  <a:pt x="930" y="220"/>
                  <a:pt x="930" y="220"/>
                  <a:pt x="931" y="221"/>
                </a:cubicBezTo>
                <a:cubicBezTo>
                  <a:pt x="931" y="220"/>
                  <a:pt x="932" y="220"/>
                  <a:pt x="932" y="220"/>
                </a:cubicBezTo>
                <a:cubicBezTo>
                  <a:pt x="932" y="221"/>
                  <a:pt x="932" y="222"/>
                  <a:pt x="932" y="224"/>
                </a:cubicBezTo>
                <a:cubicBezTo>
                  <a:pt x="932" y="224"/>
                  <a:pt x="931" y="223"/>
                  <a:pt x="931" y="224"/>
                </a:cubicBezTo>
                <a:cubicBezTo>
                  <a:pt x="931" y="225"/>
                  <a:pt x="931" y="225"/>
                  <a:pt x="931" y="226"/>
                </a:cubicBezTo>
                <a:cubicBezTo>
                  <a:pt x="931" y="227"/>
                  <a:pt x="932" y="227"/>
                  <a:pt x="932" y="229"/>
                </a:cubicBezTo>
                <a:cubicBezTo>
                  <a:pt x="932" y="230"/>
                  <a:pt x="931" y="230"/>
                  <a:pt x="930" y="230"/>
                </a:cubicBezTo>
                <a:cubicBezTo>
                  <a:pt x="929" y="230"/>
                  <a:pt x="926" y="231"/>
                  <a:pt x="926" y="230"/>
                </a:cubicBezTo>
                <a:cubicBezTo>
                  <a:pt x="926" y="229"/>
                  <a:pt x="925" y="227"/>
                  <a:pt x="924" y="227"/>
                </a:cubicBezTo>
                <a:cubicBezTo>
                  <a:pt x="924" y="226"/>
                  <a:pt x="924" y="226"/>
                  <a:pt x="924" y="225"/>
                </a:cubicBezTo>
                <a:cubicBezTo>
                  <a:pt x="923" y="225"/>
                  <a:pt x="923" y="225"/>
                  <a:pt x="922" y="226"/>
                </a:cubicBezTo>
                <a:cubicBezTo>
                  <a:pt x="921" y="226"/>
                  <a:pt x="921" y="226"/>
                  <a:pt x="920" y="227"/>
                </a:cubicBezTo>
                <a:cubicBezTo>
                  <a:pt x="920" y="227"/>
                  <a:pt x="920" y="227"/>
                  <a:pt x="920" y="227"/>
                </a:cubicBezTo>
                <a:cubicBezTo>
                  <a:pt x="920" y="228"/>
                  <a:pt x="920" y="227"/>
                  <a:pt x="920" y="228"/>
                </a:cubicBezTo>
                <a:cubicBezTo>
                  <a:pt x="920" y="228"/>
                  <a:pt x="920" y="228"/>
                  <a:pt x="920" y="228"/>
                </a:cubicBezTo>
                <a:cubicBezTo>
                  <a:pt x="919" y="229"/>
                  <a:pt x="919" y="229"/>
                  <a:pt x="919" y="229"/>
                </a:cubicBezTo>
                <a:cubicBezTo>
                  <a:pt x="919" y="229"/>
                  <a:pt x="918" y="230"/>
                  <a:pt x="918" y="230"/>
                </a:cubicBezTo>
                <a:cubicBezTo>
                  <a:pt x="918" y="231"/>
                  <a:pt x="918" y="231"/>
                  <a:pt x="918" y="232"/>
                </a:cubicBezTo>
                <a:cubicBezTo>
                  <a:pt x="918" y="232"/>
                  <a:pt x="918" y="232"/>
                  <a:pt x="917" y="232"/>
                </a:cubicBezTo>
                <a:cubicBezTo>
                  <a:pt x="917" y="232"/>
                  <a:pt x="917" y="233"/>
                  <a:pt x="917" y="234"/>
                </a:cubicBezTo>
                <a:cubicBezTo>
                  <a:pt x="917" y="234"/>
                  <a:pt x="917" y="233"/>
                  <a:pt x="917" y="234"/>
                </a:cubicBezTo>
                <a:cubicBezTo>
                  <a:pt x="917" y="235"/>
                  <a:pt x="917" y="236"/>
                  <a:pt x="917" y="236"/>
                </a:cubicBezTo>
                <a:cubicBezTo>
                  <a:pt x="916" y="237"/>
                  <a:pt x="916" y="239"/>
                  <a:pt x="916" y="240"/>
                </a:cubicBezTo>
                <a:cubicBezTo>
                  <a:pt x="916" y="240"/>
                  <a:pt x="917" y="240"/>
                  <a:pt x="917" y="240"/>
                </a:cubicBezTo>
                <a:cubicBezTo>
                  <a:pt x="917" y="241"/>
                  <a:pt x="917" y="241"/>
                  <a:pt x="917" y="241"/>
                </a:cubicBezTo>
                <a:cubicBezTo>
                  <a:pt x="916" y="241"/>
                  <a:pt x="917" y="241"/>
                  <a:pt x="917" y="242"/>
                </a:cubicBezTo>
                <a:cubicBezTo>
                  <a:pt x="917" y="242"/>
                  <a:pt x="917" y="243"/>
                  <a:pt x="916" y="243"/>
                </a:cubicBezTo>
                <a:cubicBezTo>
                  <a:pt x="917" y="244"/>
                  <a:pt x="915" y="245"/>
                  <a:pt x="914" y="245"/>
                </a:cubicBezTo>
                <a:cubicBezTo>
                  <a:pt x="915" y="244"/>
                  <a:pt x="915" y="244"/>
                  <a:pt x="915" y="242"/>
                </a:cubicBezTo>
                <a:cubicBezTo>
                  <a:pt x="914" y="243"/>
                  <a:pt x="913" y="243"/>
                  <a:pt x="913" y="244"/>
                </a:cubicBezTo>
                <a:cubicBezTo>
                  <a:pt x="912" y="244"/>
                  <a:pt x="912" y="244"/>
                  <a:pt x="912" y="244"/>
                </a:cubicBezTo>
                <a:cubicBezTo>
                  <a:pt x="912" y="245"/>
                  <a:pt x="911" y="246"/>
                  <a:pt x="911" y="246"/>
                </a:cubicBezTo>
                <a:cubicBezTo>
                  <a:pt x="912" y="246"/>
                  <a:pt x="912" y="246"/>
                  <a:pt x="912" y="247"/>
                </a:cubicBezTo>
                <a:cubicBezTo>
                  <a:pt x="912" y="247"/>
                  <a:pt x="912" y="247"/>
                  <a:pt x="911" y="247"/>
                </a:cubicBezTo>
                <a:cubicBezTo>
                  <a:pt x="911" y="248"/>
                  <a:pt x="911" y="248"/>
                  <a:pt x="911" y="249"/>
                </a:cubicBezTo>
                <a:cubicBezTo>
                  <a:pt x="910" y="249"/>
                  <a:pt x="910" y="250"/>
                  <a:pt x="910" y="251"/>
                </a:cubicBezTo>
                <a:cubicBezTo>
                  <a:pt x="909" y="251"/>
                  <a:pt x="909" y="250"/>
                  <a:pt x="909" y="250"/>
                </a:cubicBezTo>
                <a:cubicBezTo>
                  <a:pt x="909" y="250"/>
                  <a:pt x="909" y="250"/>
                  <a:pt x="909" y="249"/>
                </a:cubicBezTo>
                <a:cubicBezTo>
                  <a:pt x="908" y="249"/>
                  <a:pt x="908" y="250"/>
                  <a:pt x="907" y="250"/>
                </a:cubicBezTo>
                <a:cubicBezTo>
                  <a:pt x="906" y="250"/>
                  <a:pt x="906" y="251"/>
                  <a:pt x="905" y="251"/>
                </a:cubicBezTo>
                <a:cubicBezTo>
                  <a:pt x="904" y="251"/>
                  <a:pt x="905" y="250"/>
                  <a:pt x="904" y="249"/>
                </a:cubicBezTo>
                <a:cubicBezTo>
                  <a:pt x="905" y="249"/>
                  <a:pt x="905" y="250"/>
                  <a:pt x="906" y="249"/>
                </a:cubicBezTo>
                <a:cubicBezTo>
                  <a:pt x="906" y="249"/>
                  <a:pt x="907" y="249"/>
                  <a:pt x="905" y="248"/>
                </a:cubicBezTo>
                <a:cubicBezTo>
                  <a:pt x="905" y="248"/>
                  <a:pt x="904" y="248"/>
                  <a:pt x="904" y="248"/>
                </a:cubicBezTo>
                <a:cubicBezTo>
                  <a:pt x="904" y="247"/>
                  <a:pt x="903" y="248"/>
                  <a:pt x="904" y="248"/>
                </a:cubicBezTo>
                <a:cubicBezTo>
                  <a:pt x="903" y="248"/>
                  <a:pt x="902" y="248"/>
                  <a:pt x="901" y="248"/>
                </a:cubicBezTo>
                <a:cubicBezTo>
                  <a:pt x="901" y="248"/>
                  <a:pt x="901" y="249"/>
                  <a:pt x="901" y="249"/>
                </a:cubicBezTo>
                <a:cubicBezTo>
                  <a:pt x="900" y="249"/>
                  <a:pt x="900" y="249"/>
                  <a:pt x="900" y="249"/>
                </a:cubicBezTo>
                <a:cubicBezTo>
                  <a:pt x="899" y="249"/>
                  <a:pt x="899" y="249"/>
                  <a:pt x="899" y="249"/>
                </a:cubicBezTo>
                <a:cubicBezTo>
                  <a:pt x="898" y="249"/>
                  <a:pt x="899" y="250"/>
                  <a:pt x="898" y="250"/>
                </a:cubicBezTo>
                <a:cubicBezTo>
                  <a:pt x="898" y="250"/>
                  <a:pt x="898" y="250"/>
                  <a:pt x="898" y="250"/>
                </a:cubicBezTo>
                <a:cubicBezTo>
                  <a:pt x="897" y="250"/>
                  <a:pt x="896" y="250"/>
                  <a:pt x="896" y="250"/>
                </a:cubicBezTo>
                <a:cubicBezTo>
                  <a:pt x="896" y="250"/>
                  <a:pt x="895" y="251"/>
                  <a:pt x="895" y="251"/>
                </a:cubicBezTo>
                <a:cubicBezTo>
                  <a:pt x="894" y="251"/>
                  <a:pt x="894" y="251"/>
                  <a:pt x="894" y="252"/>
                </a:cubicBezTo>
                <a:cubicBezTo>
                  <a:pt x="893" y="252"/>
                  <a:pt x="893" y="251"/>
                  <a:pt x="892" y="251"/>
                </a:cubicBezTo>
                <a:cubicBezTo>
                  <a:pt x="892" y="252"/>
                  <a:pt x="891" y="252"/>
                  <a:pt x="891" y="252"/>
                </a:cubicBezTo>
                <a:cubicBezTo>
                  <a:pt x="889" y="252"/>
                  <a:pt x="887" y="253"/>
                  <a:pt x="885" y="253"/>
                </a:cubicBezTo>
                <a:cubicBezTo>
                  <a:pt x="885" y="253"/>
                  <a:pt x="884" y="252"/>
                  <a:pt x="884" y="252"/>
                </a:cubicBezTo>
                <a:cubicBezTo>
                  <a:pt x="883" y="252"/>
                  <a:pt x="883" y="252"/>
                  <a:pt x="883" y="252"/>
                </a:cubicBezTo>
                <a:cubicBezTo>
                  <a:pt x="882" y="252"/>
                  <a:pt x="882" y="252"/>
                  <a:pt x="882" y="251"/>
                </a:cubicBezTo>
                <a:cubicBezTo>
                  <a:pt x="881" y="251"/>
                  <a:pt x="881" y="252"/>
                  <a:pt x="881" y="252"/>
                </a:cubicBezTo>
                <a:cubicBezTo>
                  <a:pt x="881" y="251"/>
                  <a:pt x="877" y="251"/>
                  <a:pt x="878" y="250"/>
                </a:cubicBezTo>
                <a:cubicBezTo>
                  <a:pt x="876" y="250"/>
                  <a:pt x="874" y="251"/>
                  <a:pt x="874" y="253"/>
                </a:cubicBezTo>
                <a:cubicBezTo>
                  <a:pt x="874" y="253"/>
                  <a:pt x="874" y="252"/>
                  <a:pt x="874" y="252"/>
                </a:cubicBezTo>
                <a:cubicBezTo>
                  <a:pt x="874" y="253"/>
                  <a:pt x="872" y="253"/>
                  <a:pt x="872" y="253"/>
                </a:cubicBezTo>
                <a:cubicBezTo>
                  <a:pt x="872" y="254"/>
                  <a:pt x="872" y="254"/>
                  <a:pt x="872" y="254"/>
                </a:cubicBezTo>
                <a:cubicBezTo>
                  <a:pt x="872" y="254"/>
                  <a:pt x="870" y="253"/>
                  <a:pt x="870" y="253"/>
                </a:cubicBezTo>
                <a:cubicBezTo>
                  <a:pt x="870" y="252"/>
                  <a:pt x="870" y="252"/>
                  <a:pt x="869" y="252"/>
                </a:cubicBezTo>
                <a:cubicBezTo>
                  <a:pt x="868" y="252"/>
                  <a:pt x="867" y="252"/>
                  <a:pt x="867" y="252"/>
                </a:cubicBezTo>
                <a:cubicBezTo>
                  <a:pt x="867" y="252"/>
                  <a:pt x="866" y="252"/>
                  <a:pt x="866" y="252"/>
                </a:cubicBezTo>
                <a:cubicBezTo>
                  <a:pt x="866" y="251"/>
                  <a:pt x="866" y="251"/>
                  <a:pt x="866" y="250"/>
                </a:cubicBezTo>
                <a:cubicBezTo>
                  <a:pt x="866" y="250"/>
                  <a:pt x="866" y="250"/>
                  <a:pt x="866" y="250"/>
                </a:cubicBezTo>
                <a:cubicBezTo>
                  <a:pt x="866" y="249"/>
                  <a:pt x="865" y="250"/>
                  <a:pt x="865" y="249"/>
                </a:cubicBezTo>
                <a:cubicBezTo>
                  <a:pt x="865" y="248"/>
                  <a:pt x="865" y="248"/>
                  <a:pt x="864" y="248"/>
                </a:cubicBezTo>
                <a:cubicBezTo>
                  <a:pt x="863" y="248"/>
                  <a:pt x="864" y="247"/>
                  <a:pt x="864" y="247"/>
                </a:cubicBezTo>
                <a:cubicBezTo>
                  <a:pt x="865" y="247"/>
                  <a:pt x="865" y="246"/>
                  <a:pt x="866" y="245"/>
                </a:cubicBezTo>
                <a:cubicBezTo>
                  <a:pt x="866" y="245"/>
                  <a:pt x="865" y="245"/>
                  <a:pt x="865" y="245"/>
                </a:cubicBezTo>
                <a:cubicBezTo>
                  <a:pt x="865" y="246"/>
                  <a:pt x="864" y="246"/>
                  <a:pt x="863" y="246"/>
                </a:cubicBezTo>
                <a:cubicBezTo>
                  <a:pt x="863" y="246"/>
                  <a:pt x="863" y="244"/>
                  <a:pt x="864" y="244"/>
                </a:cubicBezTo>
                <a:cubicBezTo>
                  <a:pt x="864" y="244"/>
                  <a:pt x="864" y="243"/>
                  <a:pt x="864" y="243"/>
                </a:cubicBezTo>
                <a:cubicBezTo>
                  <a:pt x="864" y="243"/>
                  <a:pt x="864" y="243"/>
                  <a:pt x="864" y="242"/>
                </a:cubicBezTo>
                <a:cubicBezTo>
                  <a:pt x="864" y="241"/>
                  <a:pt x="865" y="242"/>
                  <a:pt x="865" y="241"/>
                </a:cubicBezTo>
                <a:cubicBezTo>
                  <a:pt x="865" y="241"/>
                  <a:pt x="865" y="240"/>
                  <a:pt x="865" y="240"/>
                </a:cubicBezTo>
                <a:cubicBezTo>
                  <a:pt x="866" y="240"/>
                  <a:pt x="866" y="240"/>
                  <a:pt x="866" y="239"/>
                </a:cubicBezTo>
                <a:cubicBezTo>
                  <a:pt x="866" y="238"/>
                  <a:pt x="867" y="237"/>
                  <a:pt x="867" y="236"/>
                </a:cubicBezTo>
                <a:cubicBezTo>
                  <a:pt x="867" y="236"/>
                  <a:pt x="868" y="237"/>
                  <a:pt x="868" y="237"/>
                </a:cubicBezTo>
                <a:cubicBezTo>
                  <a:pt x="869" y="237"/>
                  <a:pt x="869" y="236"/>
                  <a:pt x="870" y="235"/>
                </a:cubicBezTo>
                <a:cubicBezTo>
                  <a:pt x="869" y="235"/>
                  <a:pt x="868" y="235"/>
                  <a:pt x="868" y="235"/>
                </a:cubicBezTo>
                <a:cubicBezTo>
                  <a:pt x="867" y="234"/>
                  <a:pt x="867" y="234"/>
                  <a:pt x="867" y="233"/>
                </a:cubicBezTo>
                <a:cubicBezTo>
                  <a:pt x="867" y="232"/>
                  <a:pt x="867" y="231"/>
                  <a:pt x="867" y="230"/>
                </a:cubicBezTo>
                <a:cubicBezTo>
                  <a:pt x="866" y="230"/>
                  <a:pt x="866" y="230"/>
                  <a:pt x="865" y="230"/>
                </a:cubicBezTo>
                <a:cubicBezTo>
                  <a:pt x="865" y="230"/>
                  <a:pt x="864" y="230"/>
                  <a:pt x="864" y="230"/>
                </a:cubicBezTo>
                <a:cubicBezTo>
                  <a:pt x="865" y="229"/>
                  <a:pt x="866" y="229"/>
                  <a:pt x="867" y="229"/>
                </a:cubicBezTo>
                <a:cubicBezTo>
                  <a:pt x="866" y="229"/>
                  <a:pt x="867" y="228"/>
                  <a:pt x="867" y="228"/>
                </a:cubicBezTo>
                <a:cubicBezTo>
                  <a:pt x="868" y="228"/>
                  <a:pt x="868" y="228"/>
                  <a:pt x="868" y="227"/>
                </a:cubicBezTo>
                <a:cubicBezTo>
                  <a:pt x="868" y="225"/>
                  <a:pt x="868" y="225"/>
                  <a:pt x="868" y="224"/>
                </a:cubicBezTo>
                <a:cubicBezTo>
                  <a:pt x="868" y="224"/>
                  <a:pt x="867" y="225"/>
                  <a:pt x="867" y="225"/>
                </a:cubicBezTo>
                <a:cubicBezTo>
                  <a:pt x="867" y="225"/>
                  <a:pt x="864" y="225"/>
                  <a:pt x="864" y="226"/>
                </a:cubicBezTo>
                <a:cubicBezTo>
                  <a:pt x="864" y="226"/>
                  <a:pt x="864" y="227"/>
                  <a:pt x="863" y="228"/>
                </a:cubicBezTo>
                <a:cubicBezTo>
                  <a:pt x="863" y="229"/>
                  <a:pt x="861" y="228"/>
                  <a:pt x="860" y="228"/>
                </a:cubicBezTo>
                <a:cubicBezTo>
                  <a:pt x="860" y="228"/>
                  <a:pt x="860" y="228"/>
                  <a:pt x="859" y="228"/>
                </a:cubicBezTo>
                <a:cubicBezTo>
                  <a:pt x="859" y="228"/>
                  <a:pt x="858" y="229"/>
                  <a:pt x="858" y="229"/>
                </a:cubicBezTo>
                <a:cubicBezTo>
                  <a:pt x="858" y="229"/>
                  <a:pt x="857" y="230"/>
                  <a:pt x="857" y="230"/>
                </a:cubicBezTo>
                <a:cubicBezTo>
                  <a:pt x="856" y="231"/>
                  <a:pt x="856" y="231"/>
                  <a:pt x="856" y="232"/>
                </a:cubicBezTo>
                <a:cubicBezTo>
                  <a:pt x="856" y="232"/>
                  <a:pt x="857" y="232"/>
                  <a:pt x="857" y="232"/>
                </a:cubicBezTo>
                <a:cubicBezTo>
                  <a:pt x="858" y="232"/>
                  <a:pt x="858" y="232"/>
                  <a:pt x="858" y="231"/>
                </a:cubicBezTo>
                <a:cubicBezTo>
                  <a:pt x="859" y="230"/>
                  <a:pt x="860" y="230"/>
                  <a:pt x="860" y="230"/>
                </a:cubicBezTo>
                <a:cubicBezTo>
                  <a:pt x="861" y="230"/>
                  <a:pt x="862" y="230"/>
                  <a:pt x="863" y="230"/>
                </a:cubicBezTo>
                <a:cubicBezTo>
                  <a:pt x="863" y="230"/>
                  <a:pt x="862" y="231"/>
                  <a:pt x="862" y="231"/>
                </a:cubicBezTo>
                <a:cubicBezTo>
                  <a:pt x="863" y="232"/>
                  <a:pt x="863" y="232"/>
                  <a:pt x="863" y="232"/>
                </a:cubicBezTo>
                <a:cubicBezTo>
                  <a:pt x="863" y="233"/>
                  <a:pt x="863" y="234"/>
                  <a:pt x="863" y="233"/>
                </a:cubicBezTo>
                <a:cubicBezTo>
                  <a:pt x="863" y="233"/>
                  <a:pt x="862" y="232"/>
                  <a:pt x="862" y="232"/>
                </a:cubicBezTo>
                <a:cubicBezTo>
                  <a:pt x="861" y="232"/>
                  <a:pt x="861" y="232"/>
                  <a:pt x="860" y="233"/>
                </a:cubicBezTo>
                <a:cubicBezTo>
                  <a:pt x="860" y="233"/>
                  <a:pt x="860" y="233"/>
                  <a:pt x="860" y="234"/>
                </a:cubicBezTo>
                <a:cubicBezTo>
                  <a:pt x="859" y="235"/>
                  <a:pt x="859" y="234"/>
                  <a:pt x="858" y="234"/>
                </a:cubicBezTo>
                <a:cubicBezTo>
                  <a:pt x="857" y="234"/>
                  <a:pt x="857" y="234"/>
                  <a:pt x="856" y="234"/>
                </a:cubicBezTo>
                <a:cubicBezTo>
                  <a:pt x="856" y="234"/>
                  <a:pt x="856" y="235"/>
                  <a:pt x="856" y="235"/>
                </a:cubicBezTo>
                <a:cubicBezTo>
                  <a:pt x="856" y="236"/>
                  <a:pt x="855" y="238"/>
                  <a:pt x="856" y="238"/>
                </a:cubicBezTo>
                <a:cubicBezTo>
                  <a:pt x="857" y="238"/>
                  <a:pt x="857" y="239"/>
                  <a:pt x="857" y="239"/>
                </a:cubicBezTo>
                <a:cubicBezTo>
                  <a:pt x="857" y="240"/>
                  <a:pt x="856" y="240"/>
                  <a:pt x="856" y="241"/>
                </a:cubicBezTo>
                <a:cubicBezTo>
                  <a:pt x="856" y="242"/>
                  <a:pt x="857" y="242"/>
                  <a:pt x="857" y="243"/>
                </a:cubicBezTo>
                <a:cubicBezTo>
                  <a:pt x="858" y="244"/>
                  <a:pt x="858" y="244"/>
                  <a:pt x="858" y="244"/>
                </a:cubicBezTo>
                <a:cubicBezTo>
                  <a:pt x="859" y="244"/>
                  <a:pt x="859" y="245"/>
                  <a:pt x="859" y="245"/>
                </a:cubicBezTo>
                <a:cubicBezTo>
                  <a:pt x="859" y="246"/>
                  <a:pt x="858" y="246"/>
                  <a:pt x="858" y="248"/>
                </a:cubicBezTo>
                <a:cubicBezTo>
                  <a:pt x="860" y="247"/>
                  <a:pt x="860" y="250"/>
                  <a:pt x="860" y="251"/>
                </a:cubicBezTo>
                <a:cubicBezTo>
                  <a:pt x="860" y="251"/>
                  <a:pt x="860" y="251"/>
                  <a:pt x="860" y="251"/>
                </a:cubicBezTo>
                <a:cubicBezTo>
                  <a:pt x="859" y="251"/>
                  <a:pt x="859" y="253"/>
                  <a:pt x="859" y="253"/>
                </a:cubicBezTo>
                <a:cubicBezTo>
                  <a:pt x="860" y="254"/>
                  <a:pt x="861" y="254"/>
                  <a:pt x="861" y="255"/>
                </a:cubicBezTo>
                <a:cubicBezTo>
                  <a:pt x="860" y="255"/>
                  <a:pt x="859" y="255"/>
                  <a:pt x="859" y="255"/>
                </a:cubicBezTo>
                <a:cubicBezTo>
                  <a:pt x="859" y="256"/>
                  <a:pt x="859" y="257"/>
                  <a:pt x="858" y="257"/>
                </a:cubicBezTo>
                <a:cubicBezTo>
                  <a:pt x="858" y="257"/>
                  <a:pt x="857" y="258"/>
                  <a:pt x="857" y="258"/>
                </a:cubicBezTo>
                <a:cubicBezTo>
                  <a:pt x="857" y="258"/>
                  <a:pt x="857" y="258"/>
                  <a:pt x="857" y="257"/>
                </a:cubicBezTo>
                <a:cubicBezTo>
                  <a:pt x="856" y="256"/>
                  <a:pt x="854" y="257"/>
                  <a:pt x="853" y="258"/>
                </a:cubicBezTo>
                <a:cubicBezTo>
                  <a:pt x="851" y="259"/>
                  <a:pt x="854" y="260"/>
                  <a:pt x="854" y="261"/>
                </a:cubicBezTo>
                <a:cubicBezTo>
                  <a:pt x="853" y="261"/>
                  <a:pt x="852" y="260"/>
                  <a:pt x="852" y="259"/>
                </a:cubicBezTo>
                <a:cubicBezTo>
                  <a:pt x="852" y="258"/>
                  <a:pt x="851" y="258"/>
                  <a:pt x="850" y="258"/>
                </a:cubicBezTo>
                <a:cubicBezTo>
                  <a:pt x="850" y="258"/>
                  <a:pt x="847" y="259"/>
                  <a:pt x="847" y="258"/>
                </a:cubicBezTo>
                <a:cubicBezTo>
                  <a:pt x="847" y="258"/>
                  <a:pt x="846" y="258"/>
                  <a:pt x="845" y="258"/>
                </a:cubicBezTo>
                <a:cubicBezTo>
                  <a:pt x="845" y="258"/>
                  <a:pt x="844" y="258"/>
                  <a:pt x="844" y="259"/>
                </a:cubicBezTo>
                <a:cubicBezTo>
                  <a:pt x="844" y="260"/>
                  <a:pt x="844" y="259"/>
                  <a:pt x="844" y="259"/>
                </a:cubicBezTo>
                <a:cubicBezTo>
                  <a:pt x="844" y="260"/>
                  <a:pt x="843" y="260"/>
                  <a:pt x="843" y="260"/>
                </a:cubicBezTo>
                <a:cubicBezTo>
                  <a:pt x="842" y="261"/>
                  <a:pt x="841" y="260"/>
                  <a:pt x="840" y="261"/>
                </a:cubicBezTo>
                <a:cubicBezTo>
                  <a:pt x="840" y="262"/>
                  <a:pt x="840" y="261"/>
                  <a:pt x="840" y="262"/>
                </a:cubicBezTo>
                <a:cubicBezTo>
                  <a:pt x="840" y="262"/>
                  <a:pt x="839" y="263"/>
                  <a:pt x="839" y="263"/>
                </a:cubicBezTo>
                <a:cubicBezTo>
                  <a:pt x="839" y="265"/>
                  <a:pt x="838" y="266"/>
                  <a:pt x="839" y="267"/>
                </a:cubicBezTo>
                <a:cubicBezTo>
                  <a:pt x="839" y="267"/>
                  <a:pt x="837" y="268"/>
                  <a:pt x="837" y="268"/>
                </a:cubicBezTo>
                <a:cubicBezTo>
                  <a:pt x="837" y="269"/>
                  <a:pt x="838" y="269"/>
                  <a:pt x="838" y="269"/>
                </a:cubicBezTo>
                <a:cubicBezTo>
                  <a:pt x="838" y="270"/>
                  <a:pt x="837" y="270"/>
                  <a:pt x="837" y="270"/>
                </a:cubicBezTo>
                <a:cubicBezTo>
                  <a:pt x="837" y="270"/>
                  <a:pt x="836" y="270"/>
                  <a:pt x="836" y="270"/>
                </a:cubicBezTo>
                <a:cubicBezTo>
                  <a:pt x="835" y="270"/>
                  <a:pt x="835" y="271"/>
                  <a:pt x="834" y="270"/>
                </a:cubicBezTo>
                <a:cubicBezTo>
                  <a:pt x="834" y="270"/>
                  <a:pt x="834" y="269"/>
                  <a:pt x="833" y="270"/>
                </a:cubicBezTo>
                <a:cubicBezTo>
                  <a:pt x="832" y="270"/>
                  <a:pt x="833" y="270"/>
                  <a:pt x="832" y="270"/>
                </a:cubicBezTo>
                <a:cubicBezTo>
                  <a:pt x="831" y="270"/>
                  <a:pt x="831" y="270"/>
                  <a:pt x="830" y="270"/>
                </a:cubicBezTo>
                <a:cubicBezTo>
                  <a:pt x="830" y="270"/>
                  <a:pt x="830" y="271"/>
                  <a:pt x="830" y="271"/>
                </a:cubicBezTo>
                <a:cubicBezTo>
                  <a:pt x="830" y="271"/>
                  <a:pt x="830" y="271"/>
                  <a:pt x="829" y="271"/>
                </a:cubicBezTo>
                <a:cubicBezTo>
                  <a:pt x="829" y="271"/>
                  <a:pt x="829" y="271"/>
                  <a:pt x="829" y="271"/>
                </a:cubicBezTo>
                <a:cubicBezTo>
                  <a:pt x="828" y="271"/>
                  <a:pt x="828" y="271"/>
                  <a:pt x="827" y="272"/>
                </a:cubicBezTo>
                <a:cubicBezTo>
                  <a:pt x="826" y="272"/>
                  <a:pt x="825" y="272"/>
                  <a:pt x="825" y="272"/>
                </a:cubicBezTo>
                <a:cubicBezTo>
                  <a:pt x="825" y="272"/>
                  <a:pt x="825" y="272"/>
                  <a:pt x="825" y="272"/>
                </a:cubicBezTo>
                <a:cubicBezTo>
                  <a:pt x="824" y="273"/>
                  <a:pt x="824" y="273"/>
                  <a:pt x="823" y="273"/>
                </a:cubicBezTo>
                <a:cubicBezTo>
                  <a:pt x="824" y="274"/>
                  <a:pt x="824" y="276"/>
                  <a:pt x="823" y="277"/>
                </a:cubicBezTo>
                <a:cubicBezTo>
                  <a:pt x="823" y="278"/>
                  <a:pt x="824" y="278"/>
                  <a:pt x="824" y="278"/>
                </a:cubicBezTo>
                <a:cubicBezTo>
                  <a:pt x="824" y="278"/>
                  <a:pt x="824" y="278"/>
                  <a:pt x="824" y="279"/>
                </a:cubicBezTo>
                <a:cubicBezTo>
                  <a:pt x="823" y="278"/>
                  <a:pt x="821" y="279"/>
                  <a:pt x="821" y="279"/>
                </a:cubicBezTo>
                <a:cubicBezTo>
                  <a:pt x="819" y="280"/>
                  <a:pt x="818" y="280"/>
                  <a:pt x="818" y="282"/>
                </a:cubicBezTo>
                <a:cubicBezTo>
                  <a:pt x="818" y="282"/>
                  <a:pt x="818" y="282"/>
                  <a:pt x="817" y="282"/>
                </a:cubicBezTo>
                <a:cubicBezTo>
                  <a:pt x="816" y="282"/>
                  <a:pt x="816" y="283"/>
                  <a:pt x="815" y="283"/>
                </a:cubicBezTo>
                <a:cubicBezTo>
                  <a:pt x="815" y="283"/>
                  <a:pt x="814" y="283"/>
                  <a:pt x="813" y="283"/>
                </a:cubicBezTo>
                <a:cubicBezTo>
                  <a:pt x="812" y="283"/>
                  <a:pt x="812" y="283"/>
                  <a:pt x="811" y="284"/>
                </a:cubicBezTo>
                <a:cubicBezTo>
                  <a:pt x="811" y="283"/>
                  <a:pt x="811" y="282"/>
                  <a:pt x="811" y="281"/>
                </a:cubicBezTo>
                <a:cubicBezTo>
                  <a:pt x="810" y="281"/>
                  <a:pt x="809" y="281"/>
                  <a:pt x="808" y="281"/>
                </a:cubicBezTo>
                <a:cubicBezTo>
                  <a:pt x="808" y="282"/>
                  <a:pt x="808" y="282"/>
                  <a:pt x="808" y="283"/>
                </a:cubicBezTo>
                <a:cubicBezTo>
                  <a:pt x="808" y="284"/>
                  <a:pt x="809" y="283"/>
                  <a:pt x="809" y="284"/>
                </a:cubicBezTo>
                <a:cubicBezTo>
                  <a:pt x="809" y="284"/>
                  <a:pt x="809" y="284"/>
                  <a:pt x="809" y="284"/>
                </a:cubicBezTo>
                <a:cubicBezTo>
                  <a:pt x="809" y="284"/>
                  <a:pt x="809" y="284"/>
                  <a:pt x="809" y="284"/>
                </a:cubicBezTo>
                <a:cubicBezTo>
                  <a:pt x="810" y="285"/>
                  <a:pt x="809" y="287"/>
                  <a:pt x="810" y="287"/>
                </a:cubicBezTo>
                <a:cubicBezTo>
                  <a:pt x="810" y="288"/>
                  <a:pt x="811" y="289"/>
                  <a:pt x="810" y="289"/>
                </a:cubicBezTo>
                <a:cubicBezTo>
                  <a:pt x="809" y="289"/>
                  <a:pt x="809" y="289"/>
                  <a:pt x="808" y="289"/>
                </a:cubicBezTo>
                <a:cubicBezTo>
                  <a:pt x="808" y="289"/>
                  <a:pt x="808" y="289"/>
                  <a:pt x="807" y="289"/>
                </a:cubicBezTo>
                <a:cubicBezTo>
                  <a:pt x="808" y="289"/>
                  <a:pt x="807" y="287"/>
                  <a:pt x="807" y="288"/>
                </a:cubicBezTo>
                <a:cubicBezTo>
                  <a:pt x="807" y="289"/>
                  <a:pt x="806" y="288"/>
                  <a:pt x="806" y="288"/>
                </a:cubicBezTo>
                <a:cubicBezTo>
                  <a:pt x="806" y="288"/>
                  <a:pt x="806" y="289"/>
                  <a:pt x="806" y="289"/>
                </a:cubicBezTo>
                <a:cubicBezTo>
                  <a:pt x="805" y="289"/>
                  <a:pt x="804" y="289"/>
                  <a:pt x="804" y="289"/>
                </a:cubicBezTo>
                <a:cubicBezTo>
                  <a:pt x="804" y="289"/>
                  <a:pt x="803" y="290"/>
                  <a:pt x="803" y="290"/>
                </a:cubicBezTo>
                <a:cubicBezTo>
                  <a:pt x="802" y="290"/>
                  <a:pt x="802" y="289"/>
                  <a:pt x="801" y="289"/>
                </a:cubicBezTo>
                <a:cubicBezTo>
                  <a:pt x="801" y="288"/>
                  <a:pt x="800" y="288"/>
                  <a:pt x="799" y="288"/>
                </a:cubicBezTo>
                <a:cubicBezTo>
                  <a:pt x="799" y="288"/>
                  <a:pt x="798" y="288"/>
                  <a:pt x="798" y="289"/>
                </a:cubicBezTo>
                <a:cubicBezTo>
                  <a:pt x="797" y="289"/>
                  <a:pt x="794" y="289"/>
                  <a:pt x="794" y="290"/>
                </a:cubicBezTo>
                <a:cubicBezTo>
                  <a:pt x="795" y="291"/>
                  <a:pt x="795" y="291"/>
                  <a:pt x="796" y="291"/>
                </a:cubicBezTo>
                <a:cubicBezTo>
                  <a:pt x="796" y="292"/>
                  <a:pt x="796" y="292"/>
                  <a:pt x="796" y="292"/>
                </a:cubicBezTo>
                <a:cubicBezTo>
                  <a:pt x="795" y="292"/>
                  <a:pt x="795" y="292"/>
                  <a:pt x="794" y="292"/>
                </a:cubicBezTo>
                <a:cubicBezTo>
                  <a:pt x="794" y="293"/>
                  <a:pt x="795" y="293"/>
                  <a:pt x="793" y="294"/>
                </a:cubicBezTo>
                <a:cubicBezTo>
                  <a:pt x="794" y="295"/>
                  <a:pt x="795" y="294"/>
                  <a:pt x="796" y="294"/>
                </a:cubicBezTo>
                <a:cubicBezTo>
                  <a:pt x="797" y="294"/>
                  <a:pt x="797" y="293"/>
                  <a:pt x="798" y="294"/>
                </a:cubicBezTo>
                <a:cubicBezTo>
                  <a:pt x="798" y="295"/>
                  <a:pt x="798" y="295"/>
                  <a:pt x="799" y="295"/>
                </a:cubicBezTo>
                <a:cubicBezTo>
                  <a:pt x="799" y="295"/>
                  <a:pt x="799" y="295"/>
                  <a:pt x="799" y="296"/>
                </a:cubicBezTo>
                <a:cubicBezTo>
                  <a:pt x="800" y="296"/>
                  <a:pt x="800" y="296"/>
                  <a:pt x="800" y="296"/>
                </a:cubicBezTo>
                <a:cubicBezTo>
                  <a:pt x="801" y="297"/>
                  <a:pt x="801" y="299"/>
                  <a:pt x="801" y="297"/>
                </a:cubicBezTo>
                <a:cubicBezTo>
                  <a:pt x="802" y="296"/>
                  <a:pt x="801" y="296"/>
                  <a:pt x="802" y="296"/>
                </a:cubicBezTo>
                <a:cubicBezTo>
                  <a:pt x="803" y="296"/>
                  <a:pt x="802" y="296"/>
                  <a:pt x="803" y="296"/>
                </a:cubicBezTo>
                <a:cubicBezTo>
                  <a:pt x="803" y="296"/>
                  <a:pt x="803" y="296"/>
                  <a:pt x="804" y="296"/>
                </a:cubicBezTo>
                <a:cubicBezTo>
                  <a:pt x="803" y="297"/>
                  <a:pt x="802" y="297"/>
                  <a:pt x="802" y="298"/>
                </a:cubicBezTo>
                <a:cubicBezTo>
                  <a:pt x="802" y="298"/>
                  <a:pt x="804" y="298"/>
                  <a:pt x="804" y="298"/>
                </a:cubicBezTo>
                <a:cubicBezTo>
                  <a:pt x="804" y="298"/>
                  <a:pt x="804" y="299"/>
                  <a:pt x="804" y="299"/>
                </a:cubicBezTo>
                <a:cubicBezTo>
                  <a:pt x="804" y="299"/>
                  <a:pt x="804" y="299"/>
                  <a:pt x="804" y="299"/>
                </a:cubicBezTo>
                <a:cubicBezTo>
                  <a:pt x="805" y="299"/>
                  <a:pt x="805" y="299"/>
                  <a:pt x="806" y="299"/>
                </a:cubicBezTo>
                <a:cubicBezTo>
                  <a:pt x="806" y="300"/>
                  <a:pt x="806" y="300"/>
                  <a:pt x="805" y="300"/>
                </a:cubicBezTo>
                <a:cubicBezTo>
                  <a:pt x="806" y="301"/>
                  <a:pt x="806" y="301"/>
                  <a:pt x="806" y="301"/>
                </a:cubicBezTo>
                <a:cubicBezTo>
                  <a:pt x="806" y="303"/>
                  <a:pt x="806" y="303"/>
                  <a:pt x="807" y="303"/>
                </a:cubicBezTo>
                <a:cubicBezTo>
                  <a:pt x="807" y="303"/>
                  <a:pt x="807" y="304"/>
                  <a:pt x="807" y="304"/>
                </a:cubicBezTo>
                <a:cubicBezTo>
                  <a:pt x="808" y="304"/>
                  <a:pt x="808" y="304"/>
                  <a:pt x="808" y="305"/>
                </a:cubicBezTo>
                <a:cubicBezTo>
                  <a:pt x="809" y="306"/>
                  <a:pt x="810" y="306"/>
                  <a:pt x="811" y="306"/>
                </a:cubicBezTo>
                <a:cubicBezTo>
                  <a:pt x="811" y="307"/>
                  <a:pt x="811" y="307"/>
                  <a:pt x="812" y="307"/>
                </a:cubicBezTo>
                <a:cubicBezTo>
                  <a:pt x="812" y="308"/>
                  <a:pt x="812" y="309"/>
                  <a:pt x="812" y="309"/>
                </a:cubicBezTo>
                <a:cubicBezTo>
                  <a:pt x="812" y="310"/>
                  <a:pt x="812" y="310"/>
                  <a:pt x="812" y="311"/>
                </a:cubicBezTo>
                <a:cubicBezTo>
                  <a:pt x="813" y="311"/>
                  <a:pt x="813" y="312"/>
                  <a:pt x="812" y="312"/>
                </a:cubicBezTo>
                <a:cubicBezTo>
                  <a:pt x="812" y="312"/>
                  <a:pt x="812" y="313"/>
                  <a:pt x="812" y="313"/>
                </a:cubicBezTo>
                <a:cubicBezTo>
                  <a:pt x="812" y="314"/>
                  <a:pt x="812" y="314"/>
                  <a:pt x="812" y="315"/>
                </a:cubicBezTo>
                <a:cubicBezTo>
                  <a:pt x="812" y="316"/>
                  <a:pt x="813" y="315"/>
                  <a:pt x="813" y="316"/>
                </a:cubicBezTo>
                <a:cubicBezTo>
                  <a:pt x="813" y="316"/>
                  <a:pt x="812" y="319"/>
                  <a:pt x="812" y="319"/>
                </a:cubicBezTo>
                <a:cubicBezTo>
                  <a:pt x="812" y="319"/>
                  <a:pt x="812" y="320"/>
                  <a:pt x="812" y="321"/>
                </a:cubicBezTo>
                <a:cubicBezTo>
                  <a:pt x="812" y="322"/>
                  <a:pt x="810" y="324"/>
                  <a:pt x="809" y="324"/>
                </a:cubicBezTo>
                <a:cubicBezTo>
                  <a:pt x="808" y="324"/>
                  <a:pt x="806" y="324"/>
                  <a:pt x="805" y="324"/>
                </a:cubicBezTo>
                <a:cubicBezTo>
                  <a:pt x="805" y="324"/>
                  <a:pt x="804" y="323"/>
                  <a:pt x="804" y="323"/>
                </a:cubicBezTo>
                <a:cubicBezTo>
                  <a:pt x="804" y="323"/>
                  <a:pt x="801" y="323"/>
                  <a:pt x="801" y="322"/>
                </a:cubicBezTo>
                <a:cubicBezTo>
                  <a:pt x="800" y="322"/>
                  <a:pt x="800" y="323"/>
                  <a:pt x="799" y="323"/>
                </a:cubicBezTo>
                <a:cubicBezTo>
                  <a:pt x="799" y="323"/>
                  <a:pt x="799" y="322"/>
                  <a:pt x="798" y="322"/>
                </a:cubicBezTo>
                <a:cubicBezTo>
                  <a:pt x="798" y="322"/>
                  <a:pt x="797" y="322"/>
                  <a:pt x="797" y="322"/>
                </a:cubicBezTo>
                <a:cubicBezTo>
                  <a:pt x="796" y="322"/>
                  <a:pt x="796" y="323"/>
                  <a:pt x="796" y="323"/>
                </a:cubicBezTo>
                <a:cubicBezTo>
                  <a:pt x="795" y="323"/>
                  <a:pt x="795" y="322"/>
                  <a:pt x="794" y="322"/>
                </a:cubicBezTo>
                <a:cubicBezTo>
                  <a:pt x="794" y="322"/>
                  <a:pt x="794" y="322"/>
                  <a:pt x="793" y="322"/>
                </a:cubicBezTo>
                <a:cubicBezTo>
                  <a:pt x="793" y="322"/>
                  <a:pt x="792" y="322"/>
                  <a:pt x="792" y="322"/>
                </a:cubicBezTo>
                <a:cubicBezTo>
                  <a:pt x="791" y="322"/>
                  <a:pt x="790" y="322"/>
                  <a:pt x="788" y="322"/>
                </a:cubicBezTo>
                <a:cubicBezTo>
                  <a:pt x="788" y="322"/>
                  <a:pt x="785" y="322"/>
                  <a:pt x="785" y="322"/>
                </a:cubicBezTo>
                <a:cubicBezTo>
                  <a:pt x="784" y="322"/>
                  <a:pt x="784" y="321"/>
                  <a:pt x="784" y="321"/>
                </a:cubicBezTo>
                <a:cubicBezTo>
                  <a:pt x="783" y="321"/>
                  <a:pt x="782" y="321"/>
                  <a:pt x="782" y="321"/>
                </a:cubicBezTo>
                <a:cubicBezTo>
                  <a:pt x="780" y="321"/>
                  <a:pt x="780" y="322"/>
                  <a:pt x="779" y="322"/>
                </a:cubicBezTo>
                <a:cubicBezTo>
                  <a:pt x="778" y="322"/>
                  <a:pt x="778" y="323"/>
                  <a:pt x="778" y="323"/>
                </a:cubicBezTo>
                <a:cubicBezTo>
                  <a:pt x="778" y="323"/>
                  <a:pt x="777" y="323"/>
                  <a:pt x="776" y="323"/>
                </a:cubicBezTo>
                <a:cubicBezTo>
                  <a:pt x="776" y="323"/>
                  <a:pt x="776" y="323"/>
                  <a:pt x="776" y="323"/>
                </a:cubicBezTo>
                <a:cubicBezTo>
                  <a:pt x="776" y="322"/>
                  <a:pt x="773" y="324"/>
                  <a:pt x="773" y="325"/>
                </a:cubicBezTo>
                <a:cubicBezTo>
                  <a:pt x="772" y="325"/>
                  <a:pt x="772" y="324"/>
                  <a:pt x="772" y="325"/>
                </a:cubicBezTo>
                <a:cubicBezTo>
                  <a:pt x="772" y="326"/>
                  <a:pt x="773" y="326"/>
                  <a:pt x="773" y="326"/>
                </a:cubicBezTo>
                <a:cubicBezTo>
                  <a:pt x="773" y="326"/>
                  <a:pt x="773" y="327"/>
                  <a:pt x="774" y="327"/>
                </a:cubicBezTo>
                <a:cubicBezTo>
                  <a:pt x="774" y="327"/>
                  <a:pt x="773" y="327"/>
                  <a:pt x="773" y="328"/>
                </a:cubicBezTo>
                <a:cubicBezTo>
                  <a:pt x="775" y="328"/>
                  <a:pt x="774" y="328"/>
                  <a:pt x="775" y="329"/>
                </a:cubicBezTo>
                <a:cubicBezTo>
                  <a:pt x="775" y="330"/>
                  <a:pt x="775" y="330"/>
                  <a:pt x="776" y="330"/>
                </a:cubicBezTo>
                <a:cubicBezTo>
                  <a:pt x="775" y="331"/>
                  <a:pt x="774" y="331"/>
                  <a:pt x="774" y="332"/>
                </a:cubicBezTo>
                <a:cubicBezTo>
                  <a:pt x="775" y="332"/>
                  <a:pt x="775" y="333"/>
                  <a:pt x="775" y="334"/>
                </a:cubicBezTo>
                <a:cubicBezTo>
                  <a:pt x="775" y="335"/>
                  <a:pt x="775" y="335"/>
                  <a:pt x="775" y="336"/>
                </a:cubicBezTo>
                <a:cubicBezTo>
                  <a:pt x="776" y="337"/>
                  <a:pt x="776" y="336"/>
                  <a:pt x="776" y="337"/>
                </a:cubicBezTo>
                <a:cubicBezTo>
                  <a:pt x="776" y="337"/>
                  <a:pt x="776" y="337"/>
                  <a:pt x="776" y="338"/>
                </a:cubicBezTo>
                <a:cubicBezTo>
                  <a:pt x="776" y="338"/>
                  <a:pt x="776" y="338"/>
                  <a:pt x="776" y="339"/>
                </a:cubicBezTo>
                <a:cubicBezTo>
                  <a:pt x="776" y="339"/>
                  <a:pt x="776" y="339"/>
                  <a:pt x="776" y="339"/>
                </a:cubicBezTo>
                <a:cubicBezTo>
                  <a:pt x="775" y="339"/>
                  <a:pt x="776" y="340"/>
                  <a:pt x="776" y="340"/>
                </a:cubicBezTo>
                <a:cubicBezTo>
                  <a:pt x="776" y="341"/>
                  <a:pt x="776" y="341"/>
                  <a:pt x="776" y="341"/>
                </a:cubicBezTo>
                <a:cubicBezTo>
                  <a:pt x="776" y="341"/>
                  <a:pt x="775" y="341"/>
                  <a:pt x="775" y="341"/>
                </a:cubicBezTo>
                <a:cubicBezTo>
                  <a:pt x="775" y="341"/>
                  <a:pt x="775" y="342"/>
                  <a:pt x="775" y="342"/>
                </a:cubicBezTo>
                <a:cubicBezTo>
                  <a:pt x="775" y="342"/>
                  <a:pt x="774" y="343"/>
                  <a:pt x="774" y="343"/>
                </a:cubicBezTo>
                <a:cubicBezTo>
                  <a:pt x="774" y="343"/>
                  <a:pt x="774" y="343"/>
                  <a:pt x="775" y="344"/>
                </a:cubicBezTo>
                <a:cubicBezTo>
                  <a:pt x="775" y="346"/>
                  <a:pt x="774" y="344"/>
                  <a:pt x="774" y="344"/>
                </a:cubicBezTo>
                <a:cubicBezTo>
                  <a:pt x="774" y="345"/>
                  <a:pt x="773" y="346"/>
                  <a:pt x="773" y="347"/>
                </a:cubicBezTo>
                <a:cubicBezTo>
                  <a:pt x="773" y="347"/>
                  <a:pt x="773" y="347"/>
                  <a:pt x="772" y="348"/>
                </a:cubicBezTo>
                <a:cubicBezTo>
                  <a:pt x="772" y="348"/>
                  <a:pt x="773" y="349"/>
                  <a:pt x="772" y="349"/>
                </a:cubicBezTo>
                <a:cubicBezTo>
                  <a:pt x="772" y="350"/>
                  <a:pt x="772" y="350"/>
                  <a:pt x="772" y="351"/>
                </a:cubicBezTo>
                <a:cubicBezTo>
                  <a:pt x="772" y="352"/>
                  <a:pt x="772" y="351"/>
                  <a:pt x="772" y="352"/>
                </a:cubicBezTo>
                <a:cubicBezTo>
                  <a:pt x="772" y="352"/>
                  <a:pt x="772" y="353"/>
                  <a:pt x="773" y="352"/>
                </a:cubicBezTo>
                <a:cubicBezTo>
                  <a:pt x="773" y="351"/>
                  <a:pt x="774" y="351"/>
                  <a:pt x="774" y="351"/>
                </a:cubicBezTo>
                <a:cubicBezTo>
                  <a:pt x="774" y="352"/>
                  <a:pt x="774" y="352"/>
                  <a:pt x="773" y="352"/>
                </a:cubicBezTo>
                <a:cubicBezTo>
                  <a:pt x="773" y="353"/>
                  <a:pt x="773" y="353"/>
                  <a:pt x="773" y="353"/>
                </a:cubicBezTo>
                <a:cubicBezTo>
                  <a:pt x="773" y="354"/>
                  <a:pt x="773" y="354"/>
                  <a:pt x="774" y="354"/>
                </a:cubicBezTo>
                <a:cubicBezTo>
                  <a:pt x="774" y="354"/>
                  <a:pt x="774" y="357"/>
                  <a:pt x="774" y="358"/>
                </a:cubicBezTo>
                <a:cubicBezTo>
                  <a:pt x="774" y="357"/>
                  <a:pt x="773" y="361"/>
                  <a:pt x="773" y="362"/>
                </a:cubicBezTo>
                <a:cubicBezTo>
                  <a:pt x="774" y="362"/>
                  <a:pt x="775" y="361"/>
                  <a:pt x="776" y="362"/>
                </a:cubicBezTo>
                <a:cubicBezTo>
                  <a:pt x="776" y="362"/>
                  <a:pt x="776" y="362"/>
                  <a:pt x="777" y="362"/>
                </a:cubicBezTo>
                <a:cubicBezTo>
                  <a:pt x="777" y="362"/>
                  <a:pt x="778" y="362"/>
                  <a:pt x="778" y="363"/>
                </a:cubicBezTo>
                <a:cubicBezTo>
                  <a:pt x="779" y="363"/>
                  <a:pt x="779" y="363"/>
                  <a:pt x="780" y="363"/>
                </a:cubicBezTo>
                <a:cubicBezTo>
                  <a:pt x="781" y="362"/>
                  <a:pt x="781" y="362"/>
                  <a:pt x="782" y="362"/>
                </a:cubicBezTo>
                <a:cubicBezTo>
                  <a:pt x="783" y="362"/>
                  <a:pt x="783" y="362"/>
                  <a:pt x="783" y="362"/>
                </a:cubicBezTo>
                <a:cubicBezTo>
                  <a:pt x="784" y="362"/>
                  <a:pt x="784" y="362"/>
                  <a:pt x="785" y="362"/>
                </a:cubicBezTo>
                <a:cubicBezTo>
                  <a:pt x="785" y="363"/>
                  <a:pt x="785" y="363"/>
                  <a:pt x="786" y="363"/>
                </a:cubicBezTo>
                <a:cubicBezTo>
                  <a:pt x="785" y="363"/>
                  <a:pt x="787" y="364"/>
                  <a:pt x="786" y="364"/>
                </a:cubicBezTo>
                <a:cubicBezTo>
                  <a:pt x="787" y="364"/>
                  <a:pt x="787" y="365"/>
                  <a:pt x="787" y="365"/>
                </a:cubicBezTo>
                <a:cubicBezTo>
                  <a:pt x="787" y="367"/>
                  <a:pt x="787" y="365"/>
                  <a:pt x="787" y="366"/>
                </a:cubicBezTo>
                <a:cubicBezTo>
                  <a:pt x="788" y="366"/>
                  <a:pt x="788" y="367"/>
                  <a:pt x="789" y="367"/>
                </a:cubicBezTo>
                <a:cubicBezTo>
                  <a:pt x="789" y="368"/>
                  <a:pt x="789" y="368"/>
                  <a:pt x="790" y="368"/>
                </a:cubicBezTo>
                <a:cubicBezTo>
                  <a:pt x="791" y="368"/>
                  <a:pt x="791" y="368"/>
                  <a:pt x="791" y="367"/>
                </a:cubicBezTo>
                <a:cubicBezTo>
                  <a:pt x="792" y="367"/>
                  <a:pt x="793" y="367"/>
                  <a:pt x="793" y="366"/>
                </a:cubicBezTo>
                <a:cubicBezTo>
                  <a:pt x="793" y="366"/>
                  <a:pt x="793" y="366"/>
                  <a:pt x="794" y="366"/>
                </a:cubicBezTo>
                <a:cubicBezTo>
                  <a:pt x="795" y="366"/>
                  <a:pt x="795" y="366"/>
                  <a:pt x="796" y="365"/>
                </a:cubicBezTo>
                <a:cubicBezTo>
                  <a:pt x="796" y="364"/>
                  <a:pt x="797" y="364"/>
                  <a:pt x="798" y="365"/>
                </a:cubicBezTo>
                <a:cubicBezTo>
                  <a:pt x="798" y="365"/>
                  <a:pt x="797" y="366"/>
                  <a:pt x="798" y="365"/>
                </a:cubicBezTo>
                <a:cubicBezTo>
                  <a:pt x="799" y="365"/>
                  <a:pt x="799" y="365"/>
                  <a:pt x="799" y="365"/>
                </a:cubicBezTo>
                <a:cubicBezTo>
                  <a:pt x="799" y="366"/>
                  <a:pt x="801" y="365"/>
                  <a:pt x="801" y="366"/>
                </a:cubicBezTo>
                <a:cubicBezTo>
                  <a:pt x="801" y="365"/>
                  <a:pt x="802" y="365"/>
                  <a:pt x="802" y="365"/>
                </a:cubicBezTo>
                <a:cubicBezTo>
                  <a:pt x="802" y="365"/>
                  <a:pt x="802" y="365"/>
                  <a:pt x="803" y="365"/>
                </a:cubicBezTo>
                <a:cubicBezTo>
                  <a:pt x="803" y="365"/>
                  <a:pt x="804" y="365"/>
                  <a:pt x="804" y="365"/>
                </a:cubicBezTo>
                <a:cubicBezTo>
                  <a:pt x="805" y="365"/>
                  <a:pt x="805" y="364"/>
                  <a:pt x="805" y="364"/>
                </a:cubicBezTo>
                <a:cubicBezTo>
                  <a:pt x="806" y="364"/>
                  <a:pt x="806" y="364"/>
                  <a:pt x="806" y="363"/>
                </a:cubicBezTo>
                <a:cubicBezTo>
                  <a:pt x="806" y="362"/>
                  <a:pt x="807" y="362"/>
                  <a:pt x="807" y="361"/>
                </a:cubicBezTo>
                <a:cubicBezTo>
                  <a:pt x="808" y="361"/>
                  <a:pt x="808" y="361"/>
                  <a:pt x="808" y="361"/>
                </a:cubicBezTo>
                <a:cubicBezTo>
                  <a:pt x="809" y="360"/>
                  <a:pt x="809" y="360"/>
                  <a:pt x="810" y="360"/>
                </a:cubicBezTo>
                <a:cubicBezTo>
                  <a:pt x="810" y="359"/>
                  <a:pt x="811" y="359"/>
                  <a:pt x="811" y="359"/>
                </a:cubicBezTo>
                <a:cubicBezTo>
                  <a:pt x="812" y="359"/>
                  <a:pt x="813" y="358"/>
                  <a:pt x="813" y="358"/>
                </a:cubicBezTo>
                <a:cubicBezTo>
                  <a:pt x="813" y="357"/>
                  <a:pt x="813" y="357"/>
                  <a:pt x="813" y="356"/>
                </a:cubicBezTo>
                <a:cubicBezTo>
                  <a:pt x="813" y="355"/>
                  <a:pt x="814" y="355"/>
                  <a:pt x="815" y="354"/>
                </a:cubicBezTo>
                <a:cubicBezTo>
                  <a:pt x="815" y="354"/>
                  <a:pt x="815" y="354"/>
                  <a:pt x="815" y="354"/>
                </a:cubicBezTo>
                <a:cubicBezTo>
                  <a:pt x="815" y="354"/>
                  <a:pt x="815" y="353"/>
                  <a:pt x="816" y="353"/>
                </a:cubicBezTo>
                <a:cubicBezTo>
                  <a:pt x="816" y="353"/>
                  <a:pt x="816" y="352"/>
                  <a:pt x="817" y="352"/>
                </a:cubicBezTo>
                <a:cubicBezTo>
                  <a:pt x="818" y="351"/>
                  <a:pt x="818" y="351"/>
                  <a:pt x="818" y="350"/>
                </a:cubicBezTo>
                <a:cubicBezTo>
                  <a:pt x="818" y="350"/>
                  <a:pt x="817" y="350"/>
                  <a:pt x="817" y="349"/>
                </a:cubicBezTo>
                <a:cubicBezTo>
                  <a:pt x="816" y="348"/>
                  <a:pt x="816" y="347"/>
                  <a:pt x="816" y="347"/>
                </a:cubicBezTo>
                <a:cubicBezTo>
                  <a:pt x="816" y="346"/>
                  <a:pt x="817" y="346"/>
                  <a:pt x="817" y="346"/>
                </a:cubicBezTo>
                <a:cubicBezTo>
                  <a:pt x="817" y="345"/>
                  <a:pt x="818" y="346"/>
                  <a:pt x="818" y="345"/>
                </a:cubicBezTo>
                <a:cubicBezTo>
                  <a:pt x="818" y="344"/>
                  <a:pt x="818" y="344"/>
                  <a:pt x="819" y="344"/>
                </a:cubicBezTo>
                <a:cubicBezTo>
                  <a:pt x="819" y="344"/>
                  <a:pt x="819" y="343"/>
                  <a:pt x="819" y="343"/>
                </a:cubicBezTo>
                <a:cubicBezTo>
                  <a:pt x="819" y="343"/>
                  <a:pt x="819" y="343"/>
                  <a:pt x="819" y="343"/>
                </a:cubicBezTo>
                <a:cubicBezTo>
                  <a:pt x="819" y="343"/>
                  <a:pt x="819" y="343"/>
                  <a:pt x="819" y="343"/>
                </a:cubicBezTo>
                <a:cubicBezTo>
                  <a:pt x="819" y="342"/>
                  <a:pt x="820" y="342"/>
                  <a:pt x="820" y="342"/>
                </a:cubicBezTo>
                <a:cubicBezTo>
                  <a:pt x="821" y="341"/>
                  <a:pt x="820" y="340"/>
                  <a:pt x="822" y="340"/>
                </a:cubicBezTo>
                <a:cubicBezTo>
                  <a:pt x="822" y="339"/>
                  <a:pt x="824" y="337"/>
                  <a:pt x="824" y="337"/>
                </a:cubicBezTo>
                <a:cubicBezTo>
                  <a:pt x="825" y="337"/>
                  <a:pt x="825" y="336"/>
                  <a:pt x="825" y="336"/>
                </a:cubicBezTo>
                <a:cubicBezTo>
                  <a:pt x="826" y="336"/>
                  <a:pt x="826" y="336"/>
                  <a:pt x="826" y="336"/>
                </a:cubicBezTo>
                <a:cubicBezTo>
                  <a:pt x="827" y="336"/>
                  <a:pt x="826" y="336"/>
                  <a:pt x="826" y="336"/>
                </a:cubicBezTo>
                <a:cubicBezTo>
                  <a:pt x="827" y="336"/>
                  <a:pt x="827" y="336"/>
                  <a:pt x="828" y="336"/>
                </a:cubicBezTo>
                <a:cubicBezTo>
                  <a:pt x="828" y="336"/>
                  <a:pt x="828" y="336"/>
                  <a:pt x="828" y="336"/>
                </a:cubicBezTo>
                <a:cubicBezTo>
                  <a:pt x="828" y="335"/>
                  <a:pt x="828" y="335"/>
                  <a:pt x="829" y="335"/>
                </a:cubicBezTo>
                <a:cubicBezTo>
                  <a:pt x="830" y="335"/>
                  <a:pt x="831" y="334"/>
                  <a:pt x="831" y="333"/>
                </a:cubicBezTo>
                <a:cubicBezTo>
                  <a:pt x="832" y="333"/>
                  <a:pt x="832" y="332"/>
                  <a:pt x="833" y="332"/>
                </a:cubicBezTo>
                <a:cubicBezTo>
                  <a:pt x="832" y="332"/>
                  <a:pt x="833" y="329"/>
                  <a:pt x="832" y="329"/>
                </a:cubicBezTo>
                <a:cubicBezTo>
                  <a:pt x="832" y="328"/>
                  <a:pt x="832" y="327"/>
                  <a:pt x="832" y="327"/>
                </a:cubicBezTo>
                <a:cubicBezTo>
                  <a:pt x="832" y="326"/>
                  <a:pt x="832" y="326"/>
                  <a:pt x="832" y="325"/>
                </a:cubicBezTo>
                <a:cubicBezTo>
                  <a:pt x="833" y="325"/>
                  <a:pt x="833" y="325"/>
                  <a:pt x="833" y="325"/>
                </a:cubicBezTo>
                <a:cubicBezTo>
                  <a:pt x="834" y="325"/>
                  <a:pt x="834" y="325"/>
                  <a:pt x="834" y="324"/>
                </a:cubicBezTo>
                <a:cubicBezTo>
                  <a:pt x="834" y="324"/>
                  <a:pt x="835" y="324"/>
                  <a:pt x="835" y="324"/>
                </a:cubicBezTo>
                <a:cubicBezTo>
                  <a:pt x="836" y="324"/>
                  <a:pt x="835" y="323"/>
                  <a:pt x="836" y="323"/>
                </a:cubicBezTo>
                <a:cubicBezTo>
                  <a:pt x="837" y="323"/>
                  <a:pt x="840" y="322"/>
                  <a:pt x="840" y="324"/>
                </a:cubicBezTo>
                <a:cubicBezTo>
                  <a:pt x="841" y="323"/>
                  <a:pt x="841" y="323"/>
                  <a:pt x="841" y="323"/>
                </a:cubicBezTo>
                <a:cubicBezTo>
                  <a:pt x="842" y="323"/>
                  <a:pt x="842" y="324"/>
                  <a:pt x="842" y="324"/>
                </a:cubicBezTo>
                <a:cubicBezTo>
                  <a:pt x="843" y="324"/>
                  <a:pt x="843" y="324"/>
                  <a:pt x="843" y="324"/>
                </a:cubicBezTo>
                <a:cubicBezTo>
                  <a:pt x="843" y="324"/>
                  <a:pt x="843" y="324"/>
                  <a:pt x="843" y="324"/>
                </a:cubicBezTo>
                <a:cubicBezTo>
                  <a:pt x="845" y="325"/>
                  <a:pt x="845" y="326"/>
                  <a:pt x="846" y="325"/>
                </a:cubicBezTo>
                <a:cubicBezTo>
                  <a:pt x="847" y="325"/>
                  <a:pt x="848" y="325"/>
                  <a:pt x="848" y="325"/>
                </a:cubicBezTo>
                <a:cubicBezTo>
                  <a:pt x="848" y="324"/>
                  <a:pt x="849" y="324"/>
                  <a:pt x="849" y="324"/>
                </a:cubicBezTo>
                <a:cubicBezTo>
                  <a:pt x="849" y="323"/>
                  <a:pt x="850" y="323"/>
                  <a:pt x="850" y="323"/>
                </a:cubicBezTo>
                <a:cubicBezTo>
                  <a:pt x="851" y="323"/>
                  <a:pt x="850" y="322"/>
                  <a:pt x="851" y="322"/>
                </a:cubicBezTo>
                <a:cubicBezTo>
                  <a:pt x="851" y="322"/>
                  <a:pt x="852" y="322"/>
                  <a:pt x="852" y="322"/>
                </a:cubicBezTo>
                <a:cubicBezTo>
                  <a:pt x="852" y="322"/>
                  <a:pt x="852" y="322"/>
                  <a:pt x="853" y="322"/>
                </a:cubicBezTo>
                <a:cubicBezTo>
                  <a:pt x="853" y="322"/>
                  <a:pt x="853" y="321"/>
                  <a:pt x="853" y="321"/>
                </a:cubicBezTo>
                <a:cubicBezTo>
                  <a:pt x="853" y="321"/>
                  <a:pt x="854" y="321"/>
                  <a:pt x="855" y="321"/>
                </a:cubicBezTo>
                <a:cubicBezTo>
                  <a:pt x="855" y="320"/>
                  <a:pt x="855" y="320"/>
                  <a:pt x="856" y="319"/>
                </a:cubicBezTo>
                <a:cubicBezTo>
                  <a:pt x="857" y="319"/>
                  <a:pt x="856" y="318"/>
                  <a:pt x="856" y="318"/>
                </a:cubicBezTo>
                <a:cubicBezTo>
                  <a:pt x="856" y="318"/>
                  <a:pt x="856" y="318"/>
                  <a:pt x="857" y="318"/>
                </a:cubicBezTo>
                <a:cubicBezTo>
                  <a:pt x="857" y="318"/>
                  <a:pt x="857" y="318"/>
                  <a:pt x="857" y="317"/>
                </a:cubicBezTo>
                <a:cubicBezTo>
                  <a:pt x="858" y="317"/>
                  <a:pt x="859" y="317"/>
                  <a:pt x="860" y="317"/>
                </a:cubicBezTo>
                <a:cubicBezTo>
                  <a:pt x="860" y="317"/>
                  <a:pt x="860" y="318"/>
                  <a:pt x="860" y="318"/>
                </a:cubicBezTo>
                <a:cubicBezTo>
                  <a:pt x="861" y="318"/>
                  <a:pt x="862" y="318"/>
                  <a:pt x="862" y="318"/>
                </a:cubicBezTo>
                <a:cubicBezTo>
                  <a:pt x="862" y="319"/>
                  <a:pt x="862" y="319"/>
                  <a:pt x="863" y="319"/>
                </a:cubicBezTo>
                <a:cubicBezTo>
                  <a:pt x="863" y="319"/>
                  <a:pt x="863" y="319"/>
                  <a:pt x="863" y="319"/>
                </a:cubicBezTo>
                <a:cubicBezTo>
                  <a:pt x="863" y="320"/>
                  <a:pt x="866" y="320"/>
                  <a:pt x="866" y="322"/>
                </a:cubicBezTo>
                <a:cubicBezTo>
                  <a:pt x="866" y="322"/>
                  <a:pt x="865" y="323"/>
                  <a:pt x="866" y="323"/>
                </a:cubicBezTo>
                <a:cubicBezTo>
                  <a:pt x="866" y="323"/>
                  <a:pt x="866" y="323"/>
                  <a:pt x="867" y="324"/>
                </a:cubicBezTo>
                <a:cubicBezTo>
                  <a:pt x="867" y="324"/>
                  <a:pt x="867" y="324"/>
                  <a:pt x="867" y="324"/>
                </a:cubicBezTo>
                <a:cubicBezTo>
                  <a:pt x="867" y="325"/>
                  <a:pt x="867" y="324"/>
                  <a:pt x="867" y="325"/>
                </a:cubicBezTo>
                <a:cubicBezTo>
                  <a:pt x="867" y="326"/>
                  <a:pt x="867" y="326"/>
                  <a:pt x="868" y="327"/>
                </a:cubicBezTo>
                <a:cubicBezTo>
                  <a:pt x="868" y="327"/>
                  <a:pt x="868" y="328"/>
                  <a:pt x="868" y="328"/>
                </a:cubicBezTo>
                <a:cubicBezTo>
                  <a:pt x="869" y="329"/>
                  <a:pt x="869" y="330"/>
                  <a:pt x="869" y="330"/>
                </a:cubicBezTo>
                <a:cubicBezTo>
                  <a:pt x="870" y="331"/>
                  <a:pt x="870" y="332"/>
                  <a:pt x="871" y="332"/>
                </a:cubicBezTo>
                <a:cubicBezTo>
                  <a:pt x="872" y="332"/>
                  <a:pt x="872" y="333"/>
                  <a:pt x="873" y="333"/>
                </a:cubicBezTo>
                <a:cubicBezTo>
                  <a:pt x="873" y="333"/>
                  <a:pt x="874" y="334"/>
                  <a:pt x="874" y="334"/>
                </a:cubicBezTo>
                <a:cubicBezTo>
                  <a:pt x="874" y="335"/>
                  <a:pt x="874" y="336"/>
                  <a:pt x="875" y="336"/>
                </a:cubicBezTo>
                <a:cubicBezTo>
                  <a:pt x="876" y="337"/>
                  <a:pt x="877" y="337"/>
                  <a:pt x="878" y="337"/>
                </a:cubicBezTo>
                <a:cubicBezTo>
                  <a:pt x="878" y="338"/>
                  <a:pt x="878" y="338"/>
                  <a:pt x="879" y="338"/>
                </a:cubicBezTo>
                <a:cubicBezTo>
                  <a:pt x="879" y="338"/>
                  <a:pt x="879" y="338"/>
                  <a:pt x="879" y="339"/>
                </a:cubicBezTo>
                <a:cubicBezTo>
                  <a:pt x="880" y="338"/>
                  <a:pt x="880" y="338"/>
                  <a:pt x="881" y="338"/>
                </a:cubicBezTo>
                <a:cubicBezTo>
                  <a:pt x="882" y="338"/>
                  <a:pt x="881" y="339"/>
                  <a:pt x="882" y="339"/>
                </a:cubicBezTo>
                <a:cubicBezTo>
                  <a:pt x="882" y="340"/>
                  <a:pt x="884" y="341"/>
                  <a:pt x="884" y="341"/>
                </a:cubicBezTo>
                <a:cubicBezTo>
                  <a:pt x="884" y="342"/>
                  <a:pt x="884" y="342"/>
                  <a:pt x="885" y="342"/>
                </a:cubicBezTo>
                <a:cubicBezTo>
                  <a:pt x="886" y="342"/>
                  <a:pt x="887" y="343"/>
                  <a:pt x="887" y="343"/>
                </a:cubicBezTo>
                <a:cubicBezTo>
                  <a:pt x="887" y="345"/>
                  <a:pt x="888" y="345"/>
                  <a:pt x="889" y="346"/>
                </a:cubicBezTo>
                <a:cubicBezTo>
                  <a:pt x="890" y="346"/>
                  <a:pt x="890" y="346"/>
                  <a:pt x="891" y="347"/>
                </a:cubicBezTo>
                <a:cubicBezTo>
                  <a:pt x="891" y="347"/>
                  <a:pt x="891" y="349"/>
                  <a:pt x="892" y="349"/>
                </a:cubicBezTo>
                <a:cubicBezTo>
                  <a:pt x="892" y="350"/>
                  <a:pt x="891" y="351"/>
                  <a:pt x="892" y="351"/>
                </a:cubicBezTo>
                <a:cubicBezTo>
                  <a:pt x="892" y="351"/>
                  <a:pt x="892" y="351"/>
                  <a:pt x="892" y="351"/>
                </a:cubicBezTo>
                <a:cubicBezTo>
                  <a:pt x="892" y="352"/>
                  <a:pt x="892" y="352"/>
                  <a:pt x="892" y="353"/>
                </a:cubicBezTo>
                <a:cubicBezTo>
                  <a:pt x="892" y="354"/>
                  <a:pt x="891" y="353"/>
                  <a:pt x="891" y="354"/>
                </a:cubicBezTo>
                <a:cubicBezTo>
                  <a:pt x="891" y="355"/>
                  <a:pt x="891" y="355"/>
                  <a:pt x="891" y="356"/>
                </a:cubicBezTo>
                <a:cubicBezTo>
                  <a:pt x="891" y="356"/>
                  <a:pt x="891" y="356"/>
                  <a:pt x="891" y="356"/>
                </a:cubicBezTo>
                <a:cubicBezTo>
                  <a:pt x="890" y="357"/>
                  <a:pt x="890" y="357"/>
                  <a:pt x="890" y="358"/>
                </a:cubicBezTo>
                <a:cubicBezTo>
                  <a:pt x="890" y="359"/>
                  <a:pt x="890" y="359"/>
                  <a:pt x="891" y="359"/>
                </a:cubicBezTo>
                <a:cubicBezTo>
                  <a:pt x="892" y="359"/>
                  <a:pt x="893" y="360"/>
                  <a:pt x="893" y="359"/>
                </a:cubicBezTo>
                <a:cubicBezTo>
                  <a:pt x="893" y="359"/>
                  <a:pt x="892" y="358"/>
                  <a:pt x="893" y="358"/>
                </a:cubicBezTo>
                <a:cubicBezTo>
                  <a:pt x="893" y="358"/>
                  <a:pt x="895" y="356"/>
                  <a:pt x="895" y="356"/>
                </a:cubicBezTo>
                <a:cubicBezTo>
                  <a:pt x="895" y="355"/>
                  <a:pt x="895" y="355"/>
                  <a:pt x="895" y="354"/>
                </a:cubicBezTo>
                <a:cubicBezTo>
                  <a:pt x="896" y="353"/>
                  <a:pt x="896" y="354"/>
                  <a:pt x="896" y="353"/>
                </a:cubicBezTo>
                <a:cubicBezTo>
                  <a:pt x="897" y="353"/>
                  <a:pt x="897" y="352"/>
                  <a:pt x="897" y="351"/>
                </a:cubicBezTo>
                <a:cubicBezTo>
                  <a:pt x="897" y="351"/>
                  <a:pt x="897" y="351"/>
                  <a:pt x="897" y="351"/>
                </a:cubicBezTo>
                <a:cubicBezTo>
                  <a:pt x="897" y="350"/>
                  <a:pt x="895" y="349"/>
                  <a:pt x="895" y="348"/>
                </a:cubicBezTo>
                <a:cubicBezTo>
                  <a:pt x="895" y="347"/>
                  <a:pt x="894" y="347"/>
                  <a:pt x="894" y="347"/>
                </a:cubicBezTo>
                <a:cubicBezTo>
                  <a:pt x="894" y="346"/>
                  <a:pt x="895" y="345"/>
                  <a:pt x="895" y="344"/>
                </a:cubicBezTo>
                <a:cubicBezTo>
                  <a:pt x="896" y="343"/>
                  <a:pt x="896" y="342"/>
                  <a:pt x="897" y="342"/>
                </a:cubicBezTo>
                <a:cubicBezTo>
                  <a:pt x="897" y="342"/>
                  <a:pt x="897" y="342"/>
                  <a:pt x="897" y="343"/>
                </a:cubicBezTo>
                <a:cubicBezTo>
                  <a:pt x="897" y="344"/>
                  <a:pt x="898" y="343"/>
                  <a:pt x="898" y="344"/>
                </a:cubicBezTo>
                <a:cubicBezTo>
                  <a:pt x="899" y="344"/>
                  <a:pt x="900" y="344"/>
                  <a:pt x="901" y="344"/>
                </a:cubicBezTo>
                <a:cubicBezTo>
                  <a:pt x="901" y="345"/>
                  <a:pt x="901" y="346"/>
                  <a:pt x="902" y="346"/>
                </a:cubicBezTo>
                <a:cubicBezTo>
                  <a:pt x="902" y="346"/>
                  <a:pt x="903" y="344"/>
                  <a:pt x="903" y="344"/>
                </a:cubicBezTo>
                <a:cubicBezTo>
                  <a:pt x="902" y="344"/>
                  <a:pt x="902" y="343"/>
                  <a:pt x="902" y="343"/>
                </a:cubicBezTo>
                <a:cubicBezTo>
                  <a:pt x="902" y="342"/>
                  <a:pt x="901" y="342"/>
                  <a:pt x="901" y="342"/>
                </a:cubicBezTo>
                <a:cubicBezTo>
                  <a:pt x="900" y="342"/>
                  <a:pt x="899" y="340"/>
                  <a:pt x="899" y="340"/>
                </a:cubicBezTo>
                <a:cubicBezTo>
                  <a:pt x="898" y="340"/>
                  <a:pt x="898" y="340"/>
                  <a:pt x="898" y="339"/>
                </a:cubicBezTo>
                <a:cubicBezTo>
                  <a:pt x="898" y="339"/>
                  <a:pt x="897" y="339"/>
                  <a:pt x="897" y="339"/>
                </a:cubicBezTo>
                <a:cubicBezTo>
                  <a:pt x="896" y="339"/>
                  <a:pt x="895" y="338"/>
                  <a:pt x="894" y="338"/>
                </a:cubicBezTo>
                <a:cubicBezTo>
                  <a:pt x="894" y="338"/>
                  <a:pt x="893" y="337"/>
                  <a:pt x="892" y="336"/>
                </a:cubicBezTo>
                <a:cubicBezTo>
                  <a:pt x="892" y="336"/>
                  <a:pt x="893" y="335"/>
                  <a:pt x="893" y="334"/>
                </a:cubicBezTo>
                <a:cubicBezTo>
                  <a:pt x="892" y="334"/>
                  <a:pt x="891" y="334"/>
                  <a:pt x="891" y="334"/>
                </a:cubicBezTo>
                <a:cubicBezTo>
                  <a:pt x="890" y="334"/>
                  <a:pt x="890" y="334"/>
                  <a:pt x="890" y="334"/>
                </a:cubicBezTo>
                <a:cubicBezTo>
                  <a:pt x="890" y="333"/>
                  <a:pt x="889" y="334"/>
                  <a:pt x="888" y="334"/>
                </a:cubicBezTo>
                <a:cubicBezTo>
                  <a:pt x="888" y="334"/>
                  <a:pt x="888" y="334"/>
                  <a:pt x="887" y="334"/>
                </a:cubicBezTo>
                <a:cubicBezTo>
                  <a:pt x="887" y="332"/>
                  <a:pt x="887" y="334"/>
                  <a:pt x="886" y="333"/>
                </a:cubicBezTo>
                <a:cubicBezTo>
                  <a:pt x="886" y="333"/>
                  <a:pt x="887" y="333"/>
                  <a:pt x="886" y="332"/>
                </a:cubicBezTo>
                <a:cubicBezTo>
                  <a:pt x="885" y="332"/>
                  <a:pt x="885" y="332"/>
                  <a:pt x="885" y="331"/>
                </a:cubicBezTo>
                <a:cubicBezTo>
                  <a:pt x="885" y="331"/>
                  <a:pt x="883" y="330"/>
                  <a:pt x="883" y="330"/>
                </a:cubicBezTo>
                <a:cubicBezTo>
                  <a:pt x="883" y="329"/>
                  <a:pt x="883" y="329"/>
                  <a:pt x="883" y="329"/>
                </a:cubicBezTo>
                <a:cubicBezTo>
                  <a:pt x="882" y="329"/>
                  <a:pt x="882" y="326"/>
                  <a:pt x="882" y="326"/>
                </a:cubicBezTo>
                <a:cubicBezTo>
                  <a:pt x="882" y="326"/>
                  <a:pt x="881" y="326"/>
                  <a:pt x="881" y="326"/>
                </a:cubicBezTo>
                <a:cubicBezTo>
                  <a:pt x="881" y="325"/>
                  <a:pt x="881" y="325"/>
                  <a:pt x="881" y="324"/>
                </a:cubicBezTo>
                <a:cubicBezTo>
                  <a:pt x="880" y="324"/>
                  <a:pt x="880" y="324"/>
                  <a:pt x="880" y="323"/>
                </a:cubicBezTo>
                <a:cubicBezTo>
                  <a:pt x="880" y="323"/>
                  <a:pt x="879" y="324"/>
                  <a:pt x="879" y="323"/>
                </a:cubicBezTo>
                <a:cubicBezTo>
                  <a:pt x="879" y="323"/>
                  <a:pt x="878" y="322"/>
                  <a:pt x="878" y="322"/>
                </a:cubicBezTo>
                <a:cubicBezTo>
                  <a:pt x="878" y="322"/>
                  <a:pt x="878" y="322"/>
                  <a:pt x="877" y="322"/>
                </a:cubicBezTo>
                <a:cubicBezTo>
                  <a:pt x="877" y="322"/>
                  <a:pt x="877" y="321"/>
                  <a:pt x="877" y="321"/>
                </a:cubicBezTo>
                <a:cubicBezTo>
                  <a:pt x="876" y="321"/>
                  <a:pt x="876" y="321"/>
                  <a:pt x="876" y="321"/>
                </a:cubicBezTo>
                <a:cubicBezTo>
                  <a:pt x="875" y="321"/>
                  <a:pt x="876" y="321"/>
                  <a:pt x="875" y="321"/>
                </a:cubicBezTo>
                <a:cubicBezTo>
                  <a:pt x="875" y="321"/>
                  <a:pt x="875" y="321"/>
                  <a:pt x="874" y="320"/>
                </a:cubicBezTo>
                <a:cubicBezTo>
                  <a:pt x="874" y="319"/>
                  <a:pt x="874" y="319"/>
                  <a:pt x="874" y="319"/>
                </a:cubicBezTo>
                <a:cubicBezTo>
                  <a:pt x="874" y="318"/>
                  <a:pt x="874" y="318"/>
                  <a:pt x="874" y="317"/>
                </a:cubicBezTo>
                <a:cubicBezTo>
                  <a:pt x="874" y="316"/>
                  <a:pt x="874" y="316"/>
                  <a:pt x="875" y="315"/>
                </a:cubicBezTo>
                <a:cubicBezTo>
                  <a:pt x="876" y="314"/>
                  <a:pt x="876" y="313"/>
                  <a:pt x="874" y="312"/>
                </a:cubicBezTo>
                <a:cubicBezTo>
                  <a:pt x="874" y="311"/>
                  <a:pt x="874" y="311"/>
                  <a:pt x="875" y="311"/>
                </a:cubicBezTo>
                <a:cubicBezTo>
                  <a:pt x="875" y="311"/>
                  <a:pt x="875" y="311"/>
                  <a:pt x="876" y="311"/>
                </a:cubicBezTo>
                <a:cubicBezTo>
                  <a:pt x="876" y="311"/>
                  <a:pt x="876" y="311"/>
                  <a:pt x="877" y="311"/>
                </a:cubicBezTo>
                <a:cubicBezTo>
                  <a:pt x="877" y="310"/>
                  <a:pt x="877" y="310"/>
                  <a:pt x="878" y="310"/>
                </a:cubicBezTo>
                <a:cubicBezTo>
                  <a:pt x="879" y="310"/>
                  <a:pt x="879" y="310"/>
                  <a:pt x="879" y="309"/>
                </a:cubicBezTo>
                <a:cubicBezTo>
                  <a:pt x="879" y="309"/>
                  <a:pt x="879" y="309"/>
                  <a:pt x="879" y="309"/>
                </a:cubicBezTo>
                <a:cubicBezTo>
                  <a:pt x="880" y="309"/>
                  <a:pt x="881" y="310"/>
                  <a:pt x="881" y="309"/>
                </a:cubicBezTo>
                <a:cubicBezTo>
                  <a:pt x="881" y="309"/>
                  <a:pt x="881" y="310"/>
                  <a:pt x="881" y="310"/>
                </a:cubicBezTo>
                <a:cubicBezTo>
                  <a:pt x="881" y="310"/>
                  <a:pt x="880" y="311"/>
                  <a:pt x="880" y="312"/>
                </a:cubicBezTo>
                <a:cubicBezTo>
                  <a:pt x="880" y="312"/>
                  <a:pt x="880" y="312"/>
                  <a:pt x="880" y="312"/>
                </a:cubicBezTo>
                <a:cubicBezTo>
                  <a:pt x="880" y="313"/>
                  <a:pt x="880" y="312"/>
                  <a:pt x="881" y="313"/>
                </a:cubicBezTo>
                <a:cubicBezTo>
                  <a:pt x="881" y="314"/>
                  <a:pt x="880" y="316"/>
                  <a:pt x="882" y="316"/>
                </a:cubicBezTo>
                <a:cubicBezTo>
                  <a:pt x="882" y="316"/>
                  <a:pt x="882" y="316"/>
                  <a:pt x="882" y="316"/>
                </a:cubicBezTo>
                <a:cubicBezTo>
                  <a:pt x="882" y="315"/>
                  <a:pt x="882" y="315"/>
                  <a:pt x="883" y="315"/>
                </a:cubicBezTo>
                <a:cubicBezTo>
                  <a:pt x="883" y="315"/>
                  <a:pt x="883" y="315"/>
                  <a:pt x="883" y="315"/>
                </a:cubicBezTo>
                <a:cubicBezTo>
                  <a:pt x="884" y="315"/>
                  <a:pt x="884" y="312"/>
                  <a:pt x="885" y="312"/>
                </a:cubicBezTo>
                <a:cubicBezTo>
                  <a:pt x="887" y="313"/>
                  <a:pt x="886" y="314"/>
                  <a:pt x="886" y="316"/>
                </a:cubicBezTo>
                <a:cubicBezTo>
                  <a:pt x="886" y="317"/>
                  <a:pt x="887" y="317"/>
                  <a:pt x="888" y="318"/>
                </a:cubicBezTo>
                <a:cubicBezTo>
                  <a:pt x="888" y="319"/>
                  <a:pt x="889" y="319"/>
                  <a:pt x="890" y="320"/>
                </a:cubicBezTo>
                <a:cubicBezTo>
                  <a:pt x="889" y="320"/>
                  <a:pt x="888" y="320"/>
                  <a:pt x="888" y="321"/>
                </a:cubicBezTo>
                <a:cubicBezTo>
                  <a:pt x="888" y="321"/>
                  <a:pt x="890" y="322"/>
                  <a:pt x="890" y="322"/>
                </a:cubicBezTo>
                <a:cubicBezTo>
                  <a:pt x="890" y="322"/>
                  <a:pt x="892" y="323"/>
                  <a:pt x="892" y="323"/>
                </a:cubicBezTo>
                <a:cubicBezTo>
                  <a:pt x="892" y="323"/>
                  <a:pt x="892" y="323"/>
                  <a:pt x="892" y="323"/>
                </a:cubicBezTo>
                <a:cubicBezTo>
                  <a:pt x="892" y="324"/>
                  <a:pt x="893" y="324"/>
                  <a:pt x="893" y="324"/>
                </a:cubicBezTo>
                <a:cubicBezTo>
                  <a:pt x="893" y="324"/>
                  <a:pt x="894" y="324"/>
                  <a:pt x="894" y="324"/>
                </a:cubicBezTo>
                <a:cubicBezTo>
                  <a:pt x="894" y="324"/>
                  <a:pt x="895" y="324"/>
                  <a:pt x="895" y="324"/>
                </a:cubicBezTo>
                <a:cubicBezTo>
                  <a:pt x="895" y="324"/>
                  <a:pt x="896" y="325"/>
                  <a:pt x="897" y="326"/>
                </a:cubicBezTo>
                <a:cubicBezTo>
                  <a:pt x="898" y="326"/>
                  <a:pt x="899" y="328"/>
                  <a:pt x="899" y="328"/>
                </a:cubicBezTo>
                <a:cubicBezTo>
                  <a:pt x="900" y="328"/>
                  <a:pt x="900" y="329"/>
                  <a:pt x="901" y="328"/>
                </a:cubicBezTo>
                <a:cubicBezTo>
                  <a:pt x="902" y="328"/>
                  <a:pt x="903" y="329"/>
                  <a:pt x="903" y="330"/>
                </a:cubicBezTo>
                <a:cubicBezTo>
                  <a:pt x="904" y="331"/>
                  <a:pt x="905" y="331"/>
                  <a:pt x="906" y="331"/>
                </a:cubicBezTo>
                <a:cubicBezTo>
                  <a:pt x="906" y="331"/>
                  <a:pt x="906" y="331"/>
                  <a:pt x="906" y="332"/>
                </a:cubicBezTo>
                <a:cubicBezTo>
                  <a:pt x="907" y="332"/>
                  <a:pt x="907" y="332"/>
                  <a:pt x="907" y="332"/>
                </a:cubicBezTo>
                <a:cubicBezTo>
                  <a:pt x="908" y="332"/>
                  <a:pt x="908" y="333"/>
                  <a:pt x="909" y="333"/>
                </a:cubicBezTo>
                <a:cubicBezTo>
                  <a:pt x="910" y="333"/>
                  <a:pt x="910" y="333"/>
                  <a:pt x="910" y="334"/>
                </a:cubicBezTo>
                <a:cubicBezTo>
                  <a:pt x="910" y="334"/>
                  <a:pt x="910" y="335"/>
                  <a:pt x="910" y="335"/>
                </a:cubicBezTo>
                <a:cubicBezTo>
                  <a:pt x="910" y="335"/>
                  <a:pt x="910" y="335"/>
                  <a:pt x="910" y="336"/>
                </a:cubicBezTo>
                <a:cubicBezTo>
                  <a:pt x="910" y="336"/>
                  <a:pt x="909" y="336"/>
                  <a:pt x="909" y="337"/>
                </a:cubicBezTo>
                <a:cubicBezTo>
                  <a:pt x="910" y="337"/>
                  <a:pt x="910" y="337"/>
                  <a:pt x="910" y="337"/>
                </a:cubicBezTo>
                <a:cubicBezTo>
                  <a:pt x="909" y="337"/>
                  <a:pt x="910" y="339"/>
                  <a:pt x="910" y="339"/>
                </a:cubicBezTo>
                <a:cubicBezTo>
                  <a:pt x="910" y="339"/>
                  <a:pt x="909" y="339"/>
                  <a:pt x="909" y="340"/>
                </a:cubicBezTo>
                <a:cubicBezTo>
                  <a:pt x="909" y="340"/>
                  <a:pt x="909" y="341"/>
                  <a:pt x="909" y="342"/>
                </a:cubicBezTo>
                <a:cubicBezTo>
                  <a:pt x="909" y="342"/>
                  <a:pt x="909" y="342"/>
                  <a:pt x="910" y="343"/>
                </a:cubicBezTo>
                <a:cubicBezTo>
                  <a:pt x="910" y="343"/>
                  <a:pt x="910" y="344"/>
                  <a:pt x="910" y="344"/>
                </a:cubicBezTo>
                <a:cubicBezTo>
                  <a:pt x="911" y="345"/>
                  <a:pt x="911" y="344"/>
                  <a:pt x="912" y="345"/>
                </a:cubicBezTo>
                <a:cubicBezTo>
                  <a:pt x="912" y="345"/>
                  <a:pt x="912" y="345"/>
                  <a:pt x="912" y="345"/>
                </a:cubicBezTo>
                <a:cubicBezTo>
                  <a:pt x="912" y="345"/>
                  <a:pt x="912" y="346"/>
                  <a:pt x="913" y="346"/>
                </a:cubicBezTo>
                <a:cubicBezTo>
                  <a:pt x="913" y="346"/>
                  <a:pt x="913" y="347"/>
                  <a:pt x="913" y="347"/>
                </a:cubicBezTo>
                <a:cubicBezTo>
                  <a:pt x="913" y="348"/>
                  <a:pt x="913" y="347"/>
                  <a:pt x="913" y="348"/>
                </a:cubicBezTo>
                <a:cubicBezTo>
                  <a:pt x="913" y="348"/>
                  <a:pt x="914" y="348"/>
                  <a:pt x="914" y="348"/>
                </a:cubicBezTo>
                <a:cubicBezTo>
                  <a:pt x="914" y="349"/>
                  <a:pt x="914" y="349"/>
                  <a:pt x="914" y="349"/>
                </a:cubicBezTo>
                <a:cubicBezTo>
                  <a:pt x="914" y="349"/>
                  <a:pt x="915" y="350"/>
                  <a:pt x="915" y="350"/>
                </a:cubicBezTo>
                <a:cubicBezTo>
                  <a:pt x="915" y="351"/>
                  <a:pt x="915" y="351"/>
                  <a:pt x="916" y="351"/>
                </a:cubicBezTo>
                <a:cubicBezTo>
                  <a:pt x="916" y="352"/>
                  <a:pt x="917" y="352"/>
                  <a:pt x="917" y="352"/>
                </a:cubicBezTo>
                <a:cubicBezTo>
                  <a:pt x="917" y="352"/>
                  <a:pt x="918" y="352"/>
                  <a:pt x="919" y="352"/>
                </a:cubicBezTo>
                <a:cubicBezTo>
                  <a:pt x="919" y="353"/>
                  <a:pt x="919" y="353"/>
                  <a:pt x="918" y="353"/>
                </a:cubicBezTo>
                <a:cubicBezTo>
                  <a:pt x="917" y="353"/>
                  <a:pt x="917" y="355"/>
                  <a:pt x="918" y="355"/>
                </a:cubicBezTo>
                <a:cubicBezTo>
                  <a:pt x="918" y="357"/>
                  <a:pt x="920" y="356"/>
                  <a:pt x="921" y="356"/>
                </a:cubicBezTo>
                <a:cubicBezTo>
                  <a:pt x="922" y="357"/>
                  <a:pt x="923" y="356"/>
                  <a:pt x="924" y="357"/>
                </a:cubicBezTo>
                <a:cubicBezTo>
                  <a:pt x="925" y="358"/>
                  <a:pt x="925" y="358"/>
                  <a:pt x="926" y="358"/>
                </a:cubicBezTo>
                <a:cubicBezTo>
                  <a:pt x="925" y="359"/>
                  <a:pt x="924" y="359"/>
                  <a:pt x="923" y="359"/>
                </a:cubicBezTo>
                <a:cubicBezTo>
                  <a:pt x="923" y="358"/>
                  <a:pt x="923" y="358"/>
                  <a:pt x="923" y="358"/>
                </a:cubicBezTo>
                <a:cubicBezTo>
                  <a:pt x="922" y="357"/>
                  <a:pt x="922" y="358"/>
                  <a:pt x="922" y="358"/>
                </a:cubicBezTo>
                <a:cubicBezTo>
                  <a:pt x="922" y="357"/>
                  <a:pt x="922" y="357"/>
                  <a:pt x="921" y="357"/>
                </a:cubicBezTo>
                <a:cubicBezTo>
                  <a:pt x="921" y="357"/>
                  <a:pt x="920" y="357"/>
                  <a:pt x="920" y="358"/>
                </a:cubicBezTo>
                <a:cubicBezTo>
                  <a:pt x="919" y="357"/>
                  <a:pt x="919" y="358"/>
                  <a:pt x="918" y="359"/>
                </a:cubicBezTo>
                <a:cubicBezTo>
                  <a:pt x="919" y="359"/>
                  <a:pt x="918" y="359"/>
                  <a:pt x="919" y="360"/>
                </a:cubicBezTo>
                <a:cubicBezTo>
                  <a:pt x="919" y="360"/>
                  <a:pt x="919" y="360"/>
                  <a:pt x="920" y="361"/>
                </a:cubicBezTo>
                <a:cubicBezTo>
                  <a:pt x="920" y="362"/>
                  <a:pt x="919" y="362"/>
                  <a:pt x="919" y="363"/>
                </a:cubicBezTo>
                <a:cubicBezTo>
                  <a:pt x="920" y="364"/>
                  <a:pt x="920" y="364"/>
                  <a:pt x="921" y="365"/>
                </a:cubicBezTo>
                <a:cubicBezTo>
                  <a:pt x="921" y="364"/>
                  <a:pt x="921" y="364"/>
                  <a:pt x="921" y="364"/>
                </a:cubicBezTo>
                <a:cubicBezTo>
                  <a:pt x="922" y="364"/>
                  <a:pt x="924" y="364"/>
                  <a:pt x="926" y="365"/>
                </a:cubicBezTo>
                <a:cubicBezTo>
                  <a:pt x="925" y="364"/>
                  <a:pt x="925" y="363"/>
                  <a:pt x="925" y="362"/>
                </a:cubicBezTo>
                <a:cubicBezTo>
                  <a:pt x="926" y="362"/>
                  <a:pt x="927" y="362"/>
                  <a:pt x="928" y="363"/>
                </a:cubicBezTo>
                <a:cubicBezTo>
                  <a:pt x="929" y="363"/>
                  <a:pt x="928" y="362"/>
                  <a:pt x="929" y="362"/>
                </a:cubicBezTo>
                <a:cubicBezTo>
                  <a:pt x="929" y="362"/>
                  <a:pt x="929" y="362"/>
                  <a:pt x="929" y="361"/>
                </a:cubicBezTo>
                <a:cubicBezTo>
                  <a:pt x="928" y="360"/>
                  <a:pt x="928" y="361"/>
                  <a:pt x="928" y="361"/>
                </a:cubicBezTo>
                <a:cubicBezTo>
                  <a:pt x="928" y="360"/>
                  <a:pt x="927" y="360"/>
                  <a:pt x="927" y="360"/>
                </a:cubicBezTo>
                <a:cubicBezTo>
                  <a:pt x="927" y="360"/>
                  <a:pt x="927" y="359"/>
                  <a:pt x="927" y="359"/>
                </a:cubicBezTo>
                <a:cubicBezTo>
                  <a:pt x="928" y="359"/>
                  <a:pt x="928" y="359"/>
                  <a:pt x="929" y="359"/>
                </a:cubicBezTo>
                <a:cubicBezTo>
                  <a:pt x="929" y="359"/>
                  <a:pt x="929" y="359"/>
                  <a:pt x="929" y="359"/>
                </a:cubicBezTo>
                <a:cubicBezTo>
                  <a:pt x="929" y="359"/>
                  <a:pt x="931" y="360"/>
                  <a:pt x="931" y="361"/>
                </a:cubicBezTo>
                <a:cubicBezTo>
                  <a:pt x="931" y="360"/>
                  <a:pt x="932" y="359"/>
                  <a:pt x="932" y="358"/>
                </a:cubicBezTo>
                <a:cubicBezTo>
                  <a:pt x="931" y="358"/>
                  <a:pt x="931" y="357"/>
                  <a:pt x="930" y="357"/>
                </a:cubicBezTo>
                <a:cubicBezTo>
                  <a:pt x="930" y="357"/>
                  <a:pt x="930" y="356"/>
                  <a:pt x="929" y="356"/>
                </a:cubicBezTo>
                <a:cubicBezTo>
                  <a:pt x="928" y="356"/>
                  <a:pt x="928" y="355"/>
                  <a:pt x="928" y="355"/>
                </a:cubicBezTo>
                <a:cubicBezTo>
                  <a:pt x="928" y="354"/>
                  <a:pt x="927" y="355"/>
                  <a:pt x="927" y="354"/>
                </a:cubicBezTo>
                <a:cubicBezTo>
                  <a:pt x="928" y="354"/>
                  <a:pt x="929" y="355"/>
                  <a:pt x="930" y="356"/>
                </a:cubicBezTo>
                <a:cubicBezTo>
                  <a:pt x="930" y="356"/>
                  <a:pt x="931" y="357"/>
                  <a:pt x="931" y="357"/>
                </a:cubicBezTo>
                <a:cubicBezTo>
                  <a:pt x="931" y="357"/>
                  <a:pt x="932" y="357"/>
                  <a:pt x="933" y="357"/>
                </a:cubicBezTo>
                <a:cubicBezTo>
                  <a:pt x="933" y="357"/>
                  <a:pt x="934" y="358"/>
                  <a:pt x="933" y="358"/>
                </a:cubicBezTo>
                <a:cubicBezTo>
                  <a:pt x="934" y="358"/>
                  <a:pt x="934" y="359"/>
                  <a:pt x="935" y="359"/>
                </a:cubicBezTo>
                <a:cubicBezTo>
                  <a:pt x="935" y="359"/>
                  <a:pt x="935" y="359"/>
                  <a:pt x="935" y="359"/>
                </a:cubicBezTo>
                <a:cubicBezTo>
                  <a:pt x="935" y="358"/>
                  <a:pt x="935" y="358"/>
                  <a:pt x="935" y="357"/>
                </a:cubicBezTo>
                <a:cubicBezTo>
                  <a:pt x="935" y="357"/>
                  <a:pt x="934" y="357"/>
                  <a:pt x="934" y="357"/>
                </a:cubicBezTo>
                <a:cubicBezTo>
                  <a:pt x="934" y="356"/>
                  <a:pt x="933" y="356"/>
                  <a:pt x="932" y="355"/>
                </a:cubicBezTo>
                <a:cubicBezTo>
                  <a:pt x="932" y="355"/>
                  <a:pt x="931" y="355"/>
                  <a:pt x="931" y="354"/>
                </a:cubicBezTo>
                <a:cubicBezTo>
                  <a:pt x="930" y="354"/>
                  <a:pt x="930" y="354"/>
                  <a:pt x="930" y="353"/>
                </a:cubicBezTo>
                <a:cubicBezTo>
                  <a:pt x="930" y="353"/>
                  <a:pt x="929" y="353"/>
                  <a:pt x="929" y="352"/>
                </a:cubicBezTo>
                <a:cubicBezTo>
                  <a:pt x="928" y="352"/>
                  <a:pt x="927" y="353"/>
                  <a:pt x="927" y="353"/>
                </a:cubicBezTo>
                <a:cubicBezTo>
                  <a:pt x="927" y="353"/>
                  <a:pt x="927" y="354"/>
                  <a:pt x="927" y="354"/>
                </a:cubicBezTo>
                <a:cubicBezTo>
                  <a:pt x="927" y="354"/>
                  <a:pt x="926" y="353"/>
                  <a:pt x="926" y="353"/>
                </a:cubicBezTo>
                <a:cubicBezTo>
                  <a:pt x="926" y="353"/>
                  <a:pt x="924" y="353"/>
                  <a:pt x="926" y="353"/>
                </a:cubicBezTo>
                <a:cubicBezTo>
                  <a:pt x="926" y="353"/>
                  <a:pt x="926" y="352"/>
                  <a:pt x="927" y="352"/>
                </a:cubicBezTo>
                <a:cubicBezTo>
                  <a:pt x="927" y="352"/>
                  <a:pt x="925" y="350"/>
                  <a:pt x="926" y="350"/>
                </a:cubicBezTo>
                <a:cubicBezTo>
                  <a:pt x="927" y="350"/>
                  <a:pt x="927" y="351"/>
                  <a:pt x="927" y="351"/>
                </a:cubicBezTo>
                <a:cubicBezTo>
                  <a:pt x="928" y="351"/>
                  <a:pt x="928" y="351"/>
                  <a:pt x="928" y="351"/>
                </a:cubicBezTo>
                <a:cubicBezTo>
                  <a:pt x="928" y="349"/>
                  <a:pt x="927" y="349"/>
                  <a:pt x="926" y="348"/>
                </a:cubicBezTo>
                <a:cubicBezTo>
                  <a:pt x="926" y="347"/>
                  <a:pt x="926" y="346"/>
                  <a:pt x="925" y="346"/>
                </a:cubicBezTo>
                <a:cubicBezTo>
                  <a:pt x="925" y="346"/>
                  <a:pt x="925" y="345"/>
                  <a:pt x="924" y="345"/>
                </a:cubicBezTo>
                <a:cubicBezTo>
                  <a:pt x="925" y="344"/>
                  <a:pt x="926" y="344"/>
                  <a:pt x="926" y="343"/>
                </a:cubicBezTo>
                <a:cubicBezTo>
                  <a:pt x="926" y="342"/>
                  <a:pt x="926" y="342"/>
                  <a:pt x="926" y="341"/>
                </a:cubicBezTo>
                <a:cubicBezTo>
                  <a:pt x="927" y="343"/>
                  <a:pt x="928" y="343"/>
                  <a:pt x="928" y="344"/>
                </a:cubicBezTo>
                <a:cubicBezTo>
                  <a:pt x="928" y="344"/>
                  <a:pt x="928" y="345"/>
                  <a:pt x="928" y="345"/>
                </a:cubicBezTo>
                <a:cubicBezTo>
                  <a:pt x="929" y="346"/>
                  <a:pt x="929" y="345"/>
                  <a:pt x="930" y="345"/>
                </a:cubicBezTo>
                <a:cubicBezTo>
                  <a:pt x="929" y="345"/>
                  <a:pt x="929" y="345"/>
                  <a:pt x="929" y="344"/>
                </a:cubicBezTo>
                <a:cubicBezTo>
                  <a:pt x="929" y="344"/>
                  <a:pt x="930" y="344"/>
                  <a:pt x="930" y="344"/>
                </a:cubicBezTo>
                <a:cubicBezTo>
                  <a:pt x="930" y="344"/>
                  <a:pt x="931" y="344"/>
                  <a:pt x="931" y="344"/>
                </a:cubicBezTo>
                <a:cubicBezTo>
                  <a:pt x="931" y="344"/>
                  <a:pt x="931" y="344"/>
                  <a:pt x="931" y="344"/>
                </a:cubicBezTo>
                <a:cubicBezTo>
                  <a:pt x="931" y="344"/>
                  <a:pt x="931" y="343"/>
                  <a:pt x="931" y="343"/>
                </a:cubicBezTo>
                <a:cubicBezTo>
                  <a:pt x="932" y="343"/>
                  <a:pt x="932" y="343"/>
                  <a:pt x="933" y="343"/>
                </a:cubicBezTo>
                <a:cubicBezTo>
                  <a:pt x="932" y="342"/>
                  <a:pt x="930" y="342"/>
                  <a:pt x="930" y="341"/>
                </a:cubicBezTo>
                <a:cubicBezTo>
                  <a:pt x="930" y="340"/>
                  <a:pt x="930" y="340"/>
                  <a:pt x="931" y="340"/>
                </a:cubicBezTo>
                <a:cubicBezTo>
                  <a:pt x="932" y="339"/>
                  <a:pt x="933" y="339"/>
                  <a:pt x="934" y="339"/>
                </a:cubicBezTo>
                <a:cubicBezTo>
                  <a:pt x="934" y="340"/>
                  <a:pt x="937" y="340"/>
                  <a:pt x="937" y="340"/>
                </a:cubicBezTo>
                <a:cubicBezTo>
                  <a:pt x="937" y="340"/>
                  <a:pt x="938" y="340"/>
                  <a:pt x="939" y="340"/>
                </a:cubicBezTo>
                <a:cubicBezTo>
                  <a:pt x="940" y="340"/>
                  <a:pt x="940" y="339"/>
                  <a:pt x="941" y="339"/>
                </a:cubicBezTo>
                <a:cubicBezTo>
                  <a:pt x="941" y="340"/>
                  <a:pt x="941" y="340"/>
                  <a:pt x="942" y="341"/>
                </a:cubicBezTo>
                <a:cubicBezTo>
                  <a:pt x="942" y="341"/>
                  <a:pt x="943" y="341"/>
                  <a:pt x="943" y="341"/>
                </a:cubicBezTo>
                <a:cubicBezTo>
                  <a:pt x="943" y="342"/>
                  <a:pt x="942" y="342"/>
                  <a:pt x="942" y="342"/>
                </a:cubicBezTo>
                <a:cubicBezTo>
                  <a:pt x="942" y="343"/>
                  <a:pt x="942" y="344"/>
                  <a:pt x="942" y="344"/>
                </a:cubicBezTo>
                <a:cubicBezTo>
                  <a:pt x="942" y="344"/>
                  <a:pt x="943" y="344"/>
                  <a:pt x="943" y="344"/>
                </a:cubicBezTo>
                <a:cubicBezTo>
                  <a:pt x="944" y="344"/>
                  <a:pt x="942" y="344"/>
                  <a:pt x="944" y="343"/>
                </a:cubicBezTo>
                <a:cubicBezTo>
                  <a:pt x="944" y="343"/>
                  <a:pt x="944" y="342"/>
                  <a:pt x="945" y="342"/>
                </a:cubicBezTo>
                <a:cubicBezTo>
                  <a:pt x="945" y="342"/>
                  <a:pt x="946" y="342"/>
                  <a:pt x="946" y="342"/>
                </a:cubicBezTo>
                <a:cubicBezTo>
                  <a:pt x="946" y="341"/>
                  <a:pt x="947" y="341"/>
                  <a:pt x="948" y="341"/>
                </a:cubicBezTo>
                <a:cubicBezTo>
                  <a:pt x="948" y="341"/>
                  <a:pt x="949" y="340"/>
                  <a:pt x="949" y="340"/>
                </a:cubicBezTo>
                <a:cubicBezTo>
                  <a:pt x="950" y="340"/>
                  <a:pt x="951" y="340"/>
                  <a:pt x="952" y="340"/>
                </a:cubicBezTo>
                <a:cubicBezTo>
                  <a:pt x="952" y="339"/>
                  <a:pt x="952" y="339"/>
                  <a:pt x="952" y="339"/>
                </a:cubicBezTo>
                <a:cubicBezTo>
                  <a:pt x="952" y="339"/>
                  <a:pt x="953" y="339"/>
                  <a:pt x="953" y="339"/>
                </a:cubicBezTo>
                <a:cubicBezTo>
                  <a:pt x="953" y="339"/>
                  <a:pt x="953" y="339"/>
                  <a:pt x="953" y="339"/>
                </a:cubicBezTo>
                <a:cubicBezTo>
                  <a:pt x="953" y="339"/>
                  <a:pt x="954" y="339"/>
                  <a:pt x="954" y="339"/>
                </a:cubicBezTo>
                <a:cubicBezTo>
                  <a:pt x="955" y="339"/>
                  <a:pt x="956" y="338"/>
                  <a:pt x="955" y="337"/>
                </a:cubicBezTo>
                <a:cubicBezTo>
                  <a:pt x="954" y="337"/>
                  <a:pt x="953" y="336"/>
                  <a:pt x="952" y="336"/>
                </a:cubicBezTo>
                <a:cubicBezTo>
                  <a:pt x="951" y="336"/>
                  <a:pt x="951" y="335"/>
                  <a:pt x="951" y="335"/>
                </a:cubicBezTo>
                <a:cubicBezTo>
                  <a:pt x="951" y="335"/>
                  <a:pt x="951" y="335"/>
                  <a:pt x="950" y="335"/>
                </a:cubicBezTo>
                <a:cubicBezTo>
                  <a:pt x="950" y="335"/>
                  <a:pt x="950" y="334"/>
                  <a:pt x="950" y="334"/>
                </a:cubicBezTo>
                <a:cubicBezTo>
                  <a:pt x="950" y="334"/>
                  <a:pt x="950" y="334"/>
                  <a:pt x="950" y="333"/>
                </a:cubicBezTo>
                <a:cubicBezTo>
                  <a:pt x="950" y="332"/>
                  <a:pt x="949" y="332"/>
                  <a:pt x="948" y="331"/>
                </a:cubicBezTo>
                <a:cubicBezTo>
                  <a:pt x="949" y="330"/>
                  <a:pt x="950" y="330"/>
                  <a:pt x="950" y="329"/>
                </a:cubicBezTo>
                <a:cubicBezTo>
                  <a:pt x="950" y="329"/>
                  <a:pt x="950" y="328"/>
                  <a:pt x="950" y="327"/>
                </a:cubicBezTo>
                <a:cubicBezTo>
                  <a:pt x="951" y="327"/>
                  <a:pt x="951" y="327"/>
                  <a:pt x="951" y="326"/>
                </a:cubicBezTo>
                <a:cubicBezTo>
                  <a:pt x="951" y="326"/>
                  <a:pt x="953" y="325"/>
                  <a:pt x="953" y="325"/>
                </a:cubicBezTo>
                <a:cubicBezTo>
                  <a:pt x="954" y="325"/>
                  <a:pt x="953" y="320"/>
                  <a:pt x="953" y="320"/>
                </a:cubicBezTo>
                <a:cubicBezTo>
                  <a:pt x="955" y="320"/>
                  <a:pt x="954" y="318"/>
                  <a:pt x="955" y="318"/>
                </a:cubicBezTo>
                <a:cubicBezTo>
                  <a:pt x="955" y="318"/>
                  <a:pt x="955" y="317"/>
                  <a:pt x="955" y="317"/>
                </a:cubicBezTo>
                <a:cubicBezTo>
                  <a:pt x="955" y="317"/>
                  <a:pt x="955" y="316"/>
                  <a:pt x="956" y="316"/>
                </a:cubicBezTo>
                <a:cubicBezTo>
                  <a:pt x="956" y="316"/>
                  <a:pt x="956" y="317"/>
                  <a:pt x="957" y="317"/>
                </a:cubicBezTo>
                <a:cubicBezTo>
                  <a:pt x="957" y="316"/>
                  <a:pt x="957" y="316"/>
                  <a:pt x="957" y="316"/>
                </a:cubicBezTo>
                <a:cubicBezTo>
                  <a:pt x="957" y="316"/>
                  <a:pt x="957" y="315"/>
                  <a:pt x="957" y="315"/>
                </a:cubicBezTo>
                <a:cubicBezTo>
                  <a:pt x="958" y="315"/>
                  <a:pt x="957" y="314"/>
                  <a:pt x="958" y="314"/>
                </a:cubicBezTo>
                <a:cubicBezTo>
                  <a:pt x="957" y="313"/>
                  <a:pt x="958" y="313"/>
                  <a:pt x="958" y="312"/>
                </a:cubicBezTo>
                <a:cubicBezTo>
                  <a:pt x="957" y="312"/>
                  <a:pt x="957" y="312"/>
                  <a:pt x="957" y="311"/>
                </a:cubicBezTo>
                <a:cubicBezTo>
                  <a:pt x="957" y="311"/>
                  <a:pt x="958" y="311"/>
                  <a:pt x="958" y="311"/>
                </a:cubicBezTo>
                <a:cubicBezTo>
                  <a:pt x="958" y="311"/>
                  <a:pt x="958" y="312"/>
                  <a:pt x="959" y="312"/>
                </a:cubicBezTo>
                <a:cubicBezTo>
                  <a:pt x="959" y="311"/>
                  <a:pt x="959" y="310"/>
                  <a:pt x="958" y="310"/>
                </a:cubicBezTo>
                <a:cubicBezTo>
                  <a:pt x="959" y="310"/>
                  <a:pt x="960" y="309"/>
                  <a:pt x="960" y="309"/>
                </a:cubicBezTo>
                <a:cubicBezTo>
                  <a:pt x="960" y="309"/>
                  <a:pt x="961" y="308"/>
                  <a:pt x="961" y="308"/>
                </a:cubicBezTo>
                <a:cubicBezTo>
                  <a:pt x="961" y="308"/>
                  <a:pt x="962" y="306"/>
                  <a:pt x="962" y="306"/>
                </a:cubicBezTo>
                <a:cubicBezTo>
                  <a:pt x="963" y="306"/>
                  <a:pt x="963" y="305"/>
                  <a:pt x="964" y="304"/>
                </a:cubicBezTo>
                <a:cubicBezTo>
                  <a:pt x="965" y="304"/>
                  <a:pt x="965" y="304"/>
                  <a:pt x="965" y="304"/>
                </a:cubicBezTo>
                <a:cubicBezTo>
                  <a:pt x="966" y="304"/>
                  <a:pt x="967" y="304"/>
                  <a:pt x="968" y="304"/>
                </a:cubicBezTo>
                <a:cubicBezTo>
                  <a:pt x="968" y="304"/>
                  <a:pt x="969" y="303"/>
                  <a:pt x="969" y="303"/>
                </a:cubicBezTo>
                <a:cubicBezTo>
                  <a:pt x="969" y="303"/>
                  <a:pt x="969" y="304"/>
                  <a:pt x="970" y="304"/>
                </a:cubicBezTo>
                <a:cubicBezTo>
                  <a:pt x="970" y="304"/>
                  <a:pt x="971" y="304"/>
                  <a:pt x="971" y="304"/>
                </a:cubicBezTo>
                <a:cubicBezTo>
                  <a:pt x="971" y="305"/>
                  <a:pt x="971" y="305"/>
                  <a:pt x="970" y="305"/>
                </a:cubicBezTo>
                <a:cubicBezTo>
                  <a:pt x="970" y="305"/>
                  <a:pt x="969" y="305"/>
                  <a:pt x="968" y="305"/>
                </a:cubicBezTo>
                <a:cubicBezTo>
                  <a:pt x="968" y="305"/>
                  <a:pt x="968" y="305"/>
                  <a:pt x="968" y="305"/>
                </a:cubicBezTo>
                <a:cubicBezTo>
                  <a:pt x="967" y="305"/>
                  <a:pt x="968" y="306"/>
                  <a:pt x="968" y="306"/>
                </a:cubicBezTo>
                <a:cubicBezTo>
                  <a:pt x="969" y="306"/>
                  <a:pt x="969" y="306"/>
                  <a:pt x="969" y="307"/>
                </a:cubicBezTo>
                <a:cubicBezTo>
                  <a:pt x="969" y="307"/>
                  <a:pt x="971" y="307"/>
                  <a:pt x="971" y="307"/>
                </a:cubicBezTo>
                <a:cubicBezTo>
                  <a:pt x="972" y="307"/>
                  <a:pt x="972" y="309"/>
                  <a:pt x="973" y="308"/>
                </a:cubicBezTo>
                <a:cubicBezTo>
                  <a:pt x="973" y="307"/>
                  <a:pt x="973" y="307"/>
                  <a:pt x="974" y="307"/>
                </a:cubicBezTo>
                <a:cubicBezTo>
                  <a:pt x="975" y="307"/>
                  <a:pt x="976" y="306"/>
                  <a:pt x="976" y="307"/>
                </a:cubicBezTo>
                <a:cubicBezTo>
                  <a:pt x="977" y="308"/>
                  <a:pt x="978" y="306"/>
                  <a:pt x="978" y="307"/>
                </a:cubicBezTo>
                <a:cubicBezTo>
                  <a:pt x="978" y="308"/>
                  <a:pt x="979" y="309"/>
                  <a:pt x="979" y="309"/>
                </a:cubicBezTo>
                <a:cubicBezTo>
                  <a:pt x="978" y="309"/>
                  <a:pt x="977" y="309"/>
                  <a:pt x="977" y="309"/>
                </a:cubicBezTo>
                <a:cubicBezTo>
                  <a:pt x="976" y="310"/>
                  <a:pt x="975" y="310"/>
                  <a:pt x="974" y="310"/>
                </a:cubicBezTo>
                <a:cubicBezTo>
                  <a:pt x="974" y="311"/>
                  <a:pt x="972" y="311"/>
                  <a:pt x="972" y="313"/>
                </a:cubicBezTo>
                <a:cubicBezTo>
                  <a:pt x="973" y="313"/>
                  <a:pt x="973" y="313"/>
                  <a:pt x="974" y="313"/>
                </a:cubicBezTo>
                <a:cubicBezTo>
                  <a:pt x="974" y="313"/>
                  <a:pt x="974" y="312"/>
                  <a:pt x="974" y="312"/>
                </a:cubicBezTo>
                <a:cubicBezTo>
                  <a:pt x="974" y="312"/>
                  <a:pt x="974" y="313"/>
                  <a:pt x="974" y="313"/>
                </a:cubicBezTo>
                <a:cubicBezTo>
                  <a:pt x="975" y="313"/>
                  <a:pt x="975" y="313"/>
                  <a:pt x="976" y="313"/>
                </a:cubicBezTo>
                <a:cubicBezTo>
                  <a:pt x="977" y="313"/>
                  <a:pt x="977" y="313"/>
                  <a:pt x="977" y="314"/>
                </a:cubicBezTo>
                <a:cubicBezTo>
                  <a:pt x="977" y="315"/>
                  <a:pt x="977" y="316"/>
                  <a:pt x="977" y="317"/>
                </a:cubicBezTo>
                <a:cubicBezTo>
                  <a:pt x="977" y="317"/>
                  <a:pt x="976" y="318"/>
                  <a:pt x="976" y="318"/>
                </a:cubicBezTo>
                <a:cubicBezTo>
                  <a:pt x="977" y="318"/>
                  <a:pt x="977" y="318"/>
                  <a:pt x="977" y="318"/>
                </a:cubicBezTo>
                <a:cubicBezTo>
                  <a:pt x="978" y="318"/>
                  <a:pt x="978" y="318"/>
                  <a:pt x="979" y="318"/>
                </a:cubicBezTo>
                <a:cubicBezTo>
                  <a:pt x="980" y="317"/>
                  <a:pt x="981" y="317"/>
                  <a:pt x="983" y="316"/>
                </a:cubicBezTo>
                <a:cubicBezTo>
                  <a:pt x="983" y="316"/>
                  <a:pt x="982" y="316"/>
                  <a:pt x="983" y="316"/>
                </a:cubicBezTo>
                <a:cubicBezTo>
                  <a:pt x="983" y="316"/>
                  <a:pt x="984" y="316"/>
                  <a:pt x="984" y="316"/>
                </a:cubicBezTo>
                <a:cubicBezTo>
                  <a:pt x="984" y="316"/>
                  <a:pt x="985" y="315"/>
                  <a:pt x="985" y="315"/>
                </a:cubicBezTo>
                <a:cubicBezTo>
                  <a:pt x="986" y="315"/>
                  <a:pt x="987" y="315"/>
                  <a:pt x="987" y="314"/>
                </a:cubicBezTo>
                <a:cubicBezTo>
                  <a:pt x="987" y="314"/>
                  <a:pt x="988" y="315"/>
                  <a:pt x="988" y="315"/>
                </a:cubicBezTo>
                <a:cubicBezTo>
                  <a:pt x="989" y="314"/>
                  <a:pt x="989" y="314"/>
                  <a:pt x="989" y="314"/>
                </a:cubicBezTo>
                <a:cubicBezTo>
                  <a:pt x="991" y="314"/>
                  <a:pt x="991" y="314"/>
                  <a:pt x="991" y="312"/>
                </a:cubicBezTo>
                <a:cubicBezTo>
                  <a:pt x="991" y="312"/>
                  <a:pt x="991" y="312"/>
                  <a:pt x="991" y="312"/>
                </a:cubicBezTo>
                <a:cubicBezTo>
                  <a:pt x="991" y="312"/>
                  <a:pt x="989" y="312"/>
                  <a:pt x="989" y="312"/>
                </a:cubicBezTo>
                <a:cubicBezTo>
                  <a:pt x="988" y="312"/>
                  <a:pt x="988" y="312"/>
                  <a:pt x="987" y="312"/>
                </a:cubicBezTo>
                <a:cubicBezTo>
                  <a:pt x="987" y="312"/>
                  <a:pt x="987" y="312"/>
                  <a:pt x="987" y="312"/>
                </a:cubicBezTo>
                <a:cubicBezTo>
                  <a:pt x="987" y="312"/>
                  <a:pt x="986" y="312"/>
                  <a:pt x="986" y="312"/>
                </a:cubicBezTo>
                <a:cubicBezTo>
                  <a:pt x="985" y="312"/>
                  <a:pt x="984" y="313"/>
                  <a:pt x="984" y="312"/>
                </a:cubicBezTo>
                <a:cubicBezTo>
                  <a:pt x="983" y="311"/>
                  <a:pt x="983" y="311"/>
                  <a:pt x="983" y="311"/>
                </a:cubicBezTo>
                <a:cubicBezTo>
                  <a:pt x="983" y="310"/>
                  <a:pt x="983" y="310"/>
                  <a:pt x="983" y="309"/>
                </a:cubicBezTo>
                <a:cubicBezTo>
                  <a:pt x="983" y="309"/>
                  <a:pt x="982" y="309"/>
                  <a:pt x="982" y="309"/>
                </a:cubicBezTo>
                <a:cubicBezTo>
                  <a:pt x="981" y="309"/>
                  <a:pt x="981" y="308"/>
                  <a:pt x="981" y="308"/>
                </a:cubicBezTo>
                <a:cubicBezTo>
                  <a:pt x="981" y="308"/>
                  <a:pt x="980" y="308"/>
                  <a:pt x="980" y="308"/>
                </a:cubicBezTo>
                <a:cubicBezTo>
                  <a:pt x="980" y="307"/>
                  <a:pt x="979" y="307"/>
                  <a:pt x="979" y="307"/>
                </a:cubicBezTo>
                <a:cubicBezTo>
                  <a:pt x="979" y="307"/>
                  <a:pt x="979" y="306"/>
                  <a:pt x="979" y="306"/>
                </a:cubicBezTo>
                <a:cubicBezTo>
                  <a:pt x="980" y="306"/>
                  <a:pt x="981" y="306"/>
                  <a:pt x="982" y="306"/>
                </a:cubicBezTo>
                <a:cubicBezTo>
                  <a:pt x="981" y="307"/>
                  <a:pt x="982" y="306"/>
                  <a:pt x="983" y="306"/>
                </a:cubicBezTo>
                <a:cubicBezTo>
                  <a:pt x="984" y="306"/>
                  <a:pt x="985" y="307"/>
                  <a:pt x="986" y="306"/>
                </a:cubicBezTo>
                <a:cubicBezTo>
                  <a:pt x="986" y="305"/>
                  <a:pt x="987" y="305"/>
                  <a:pt x="987" y="305"/>
                </a:cubicBezTo>
                <a:cubicBezTo>
                  <a:pt x="987" y="305"/>
                  <a:pt x="990" y="302"/>
                  <a:pt x="989" y="304"/>
                </a:cubicBezTo>
                <a:cubicBezTo>
                  <a:pt x="990" y="304"/>
                  <a:pt x="990" y="304"/>
                  <a:pt x="990" y="304"/>
                </a:cubicBezTo>
                <a:cubicBezTo>
                  <a:pt x="991" y="304"/>
                  <a:pt x="991" y="303"/>
                  <a:pt x="992" y="303"/>
                </a:cubicBezTo>
                <a:cubicBezTo>
                  <a:pt x="993" y="303"/>
                  <a:pt x="994" y="303"/>
                  <a:pt x="995" y="302"/>
                </a:cubicBezTo>
                <a:cubicBezTo>
                  <a:pt x="996" y="302"/>
                  <a:pt x="997" y="301"/>
                  <a:pt x="998" y="301"/>
                </a:cubicBezTo>
                <a:cubicBezTo>
                  <a:pt x="998" y="301"/>
                  <a:pt x="998" y="301"/>
                  <a:pt x="998" y="300"/>
                </a:cubicBezTo>
                <a:cubicBezTo>
                  <a:pt x="999" y="300"/>
                  <a:pt x="1000" y="300"/>
                  <a:pt x="1001" y="300"/>
                </a:cubicBezTo>
                <a:cubicBezTo>
                  <a:pt x="1001" y="300"/>
                  <a:pt x="1001" y="300"/>
                  <a:pt x="1001" y="300"/>
                </a:cubicBezTo>
                <a:cubicBezTo>
                  <a:pt x="1001" y="300"/>
                  <a:pt x="1002" y="300"/>
                  <a:pt x="1003" y="300"/>
                </a:cubicBezTo>
                <a:cubicBezTo>
                  <a:pt x="1004" y="300"/>
                  <a:pt x="1004" y="299"/>
                  <a:pt x="1005" y="299"/>
                </a:cubicBezTo>
                <a:cubicBezTo>
                  <a:pt x="1005" y="300"/>
                  <a:pt x="1006" y="299"/>
                  <a:pt x="1005" y="300"/>
                </a:cubicBezTo>
                <a:cubicBezTo>
                  <a:pt x="1005" y="300"/>
                  <a:pt x="1004" y="300"/>
                  <a:pt x="1004" y="300"/>
                </a:cubicBezTo>
                <a:cubicBezTo>
                  <a:pt x="1004" y="301"/>
                  <a:pt x="1004" y="301"/>
                  <a:pt x="1003" y="301"/>
                </a:cubicBezTo>
                <a:cubicBezTo>
                  <a:pt x="1003" y="301"/>
                  <a:pt x="1002" y="301"/>
                  <a:pt x="1002" y="301"/>
                </a:cubicBezTo>
                <a:cubicBezTo>
                  <a:pt x="1002" y="302"/>
                  <a:pt x="1001" y="303"/>
                  <a:pt x="1001" y="303"/>
                </a:cubicBezTo>
                <a:cubicBezTo>
                  <a:pt x="1000" y="303"/>
                  <a:pt x="1001" y="302"/>
                  <a:pt x="1000" y="302"/>
                </a:cubicBezTo>
                <a:cubicBezTo>
                  <a:pt x="1000" y="302"/>
                  <a:pt x="999" y="303"/>
                  <a:pt x="999" y="304"/>
                </a:cubicBezTo>
                <a:cubicBezTo>
                  <a:pt x="1000" y="304"/>
                  <a:pt x="1000" y="304"/>
                  <a:pt x="1000" y="304"/>
                </a:cubicBezTo>
                <a:cubicBezTo>
                  <a:pt x="998" y="304"/>
                  <a:pt x="997" y="304"/>
                  <a:pt x="996" y="305"/>
                </a:cubicBezTo>
                <a:cubicBezTo>
                  <a:pt x="996" y="305"/>
                  <a:pt x="997" y="306"/>
                  <a:pt x="997" y="306"/>
                </a:cubicBezTo>
                <a:cubicBezTo>
                  <a:pt x="997" y="306"/>
                  <a:pt x="998" y="306"/>
                  <a:pt x="998" y="306"/>
                </a:cubicBezTo>
                <a:cubicBezTo>
                  <a:pt x="999" y="306"/>
                  <a:pt x="999" y="307"/>
                  <a:pt x="999" y="307"/>
                </a:cubicBezTo>
                <a:cubicBezTo>
                  <a:pt x="999" y="308"/>
                  <a:pt x="999" y="307"/>
                  <a:pt x="998" y="307"/>
                </a:cubicBezTo>
                <a:cubicBezTo>
                  <a:pt x="998" y="308"/>
                  <a:pt x="998" y="308"/>
                  <a:pt x="998" y="309"/>
                </a:cubicBezTo>
                <a:cubicBezTo>
                  <a:pt x="998" y="309"/>
                  <a:pt x="997" y="309"/>
                  <a:pt x="997" y="309"/>
                </a:cubicBezTo>
                <a:cubicBezTo>
                  <a:pt x="997" y="309"/>
                  <a:pt x="997" y="310"/>
                  <a:pt x="997" y="311"/>
                </a:cubicBezTo>
                <a:cubicBezTo>
                  <a:pt x="997" y="311"/>
                  <a:pt x="996" y="311"/>
                  <a:pt x="995" y="311"/>
                </a:cubicBezTo>
                <a:cubicBezTo>
                  <a:pt x="995" y="311"/>
                  <a:pt x="994" y="311"/>
                  <a:pt x="994" y="311"/>
                </a:cubicBezTo>
                <a:cubicBezTo>
                  <a:pt x="994" y="312"/>
                  <a:pt x="994" y="312"/>
                  <a:pt x="993" y="312"/>
                </a:cubicBezTo>
                <a:cubicBezTo>
                  <a:pt x="992" y="313"/>
                  <a:pt x="992" y="312"/>
                  <a:pt x="992" y="314"/>
                </a:cubicBezTo>
                <a:cubicBezTo>
                  <a:pt x="993" y="313"/>
                  <a:pt x="994" y="313"/>
                  <a:pt x="995" y="313"/>
                </a:cubicBezTo>
                <a:cubicBezTo>
                  <a:pt x="995" y="313"/>
                  <a:pt x="995" y="314"/>
                  <a:pt x="995" y="314"/>
                </a:cubicBezTo>
                <a:cubicBezTo>
                  <a:pt x="995" y="315"/>
                  <a:pt x="996" y="314"/>
                  <a:pt x="996" y="314"/>
                </a:cubicBezTo>
                <a:cubicBezTo>
                  <a:pt x="996" y="315"/>
                  <a:pt x="996" y="316"/>
                  <a:pt x="997" y="316"/>
                </a:cubicBezTo>
                <a:cubicBezTo>
                  <a:pt x="998" y="316"/>
                  <a:pt x="998" y="316"/>
                  <a:pt x="998" y="317"/>
                </a:cubicBezTo>
                <a:cubicBezTo>
                  <a:pt x="999" y="317"/>
                  <a:pt x="999" y="317"/>
                  <a:pt x="999" y="317"/>
                </a:cubicBezTo>
                <a:cubicBezTo>
                  <a:pt x="999" y="318"/>
                  <a:pt x="999" y="317"/>
                  <a:pt x="999" y="317"/>
                </a:cubicBezTo>
                <a:cubicBezTo>
                  <a:pt x="1000" y="318"/>
                  <a:pt x="1000" y="318"/>
                  <a:pt x="1000" y="318"/>
                </a:cubicBezTo>
                <a:cubicBezTo>
                  <a:pt x="1001" y="318"/>
                  <a:pt x="1001" y="318"/>
                  <a:pt x="1001" y="319"/>
                </a:cubicBezTo>
                <a:cubicBezTo>
                  <a:pt x="1001" y="319"/>
                  <a:pt x="1001" y="319"/>
                  <a:pt x="1001" y="319"/>
                </a:cubicBezTo>
                <a:cubicBezTo>
                  <a:pt x="1002" y="320"/>
                  <a:pt x="1002" y="321"/>
                  <a:pt x="1003" y="321"/>
                </a:cubicBezTo>
                <a:cubicBezTo>
                  <a:pt x="1004" y="321"/>
                  <a:pt x="1004" y="322"/>
                  <a:pt x="1005" y="323"/>
                </a:cubicBezTo>
                <a:cubicBezTo>
                  <a:pt x="1005" y="323"/>
                  <a:pt x="1005" y="323"/>
                  <a:pt x="1006" y="323"/>
                </a:cubicBezTo>
                <a:cubicBezTo>
                  <a:pt x="1006" y="323"/>
                  <a:pt x="1006" y="324"/>
                  <a:pt x="1006" y="324"/>
                </a:cubicBezTo>
                <a:cubicBezTo>
                  <a:pt x="1006" y="324"/>
                  <a:pt x="1006" y="324"/>
                  <a:pt x="1007" y="324"/>
                </a:cubicBezTo>
                <a:cubicBezTo>
                  <a:pt x="1008" y="325"/>
                  <a:pt x="1007" y="324"/>
                  <a:pt x="1008" y="325"/>
                </a:cubicBezTo>
                <a:cubicBezTo>
                  <a:pt x="1008" y="325"/>
                  <a:pt x="1009" y="325"/>
                  <a:pt x="1009" y="325"/>
                </a:cubicBezTo>
                <a:cubicBezTo>
                  <a:pt x="1010" y="325"/>
                  <a:pt x="1010" y="326"/>
                  <a:pt x="1010" y="326"/>
                </a:cubicBezTo>
                <a:cubicBezTo>
                  <a:pt x="1011" y="326"/>
                  <a:pt x="1011" y="326"/>
                  <a:pt x="1011" y="326"/>
                </a:cubicBezTo>
                <a:cubicBezTo>
                  <a:pt x="1011" y="327"/>
                  <a:pt x="1011" y="326"/>
                  <a:pt x="1012" y="326"/>
                </a:cubicBezTo>
                <a:cubicBezTo>
                  <a:pt x="1012" y="326"/>
                  <a:pt x="1012" y="327"/>
                  <a:pt x="1012" y="327"/>
                </a:cubicBezTo>
                <a:cubicBezTo>
                  <a:pt x="1012" y="328"/>
                  <a:pt x="1013" y="328"/>
                  <a:pt x="1013" y="328"/>
                </a:cubicBezTo>
                <a:cubicBezTo>
                  <a:pt x="1014" y="330"/>
                  <a:pt x="1015" y="331"/>
                  <a:pt x="1015" y="333"/>
                </a:cubicBezTo>
                <a:cubicBezTo>
                  <a:pt x="1015" y="333"/>
                  <a:pt x="1015" y="333"/>
                  <a:pt x="1014" y="333"/>
                </a:cubicBezTo>
                <a:cubicBezTo>
                  <a:pt x="1014" y="334"/>
                  <a:pt x="1014" y="335"/>
                  <a:pt x="1013" y="335"/>
                </a:cubicBezTo>
                <a:cubicBezTo>
                  <a:pt x="1013" y="336"/>
                  <a:pt x="1012" y="337"/>
                  <a:pt x="1012" y="337"/>
                </a:cubicBezTo>
                <a:cubicBezTo>
                  <a:pt x="1012" y="337"/>
                  <a:pt x="1012" y="337"/>
                  <a:pt x="1012" y="337"/>
                </a:cubicBezTo>
                <a:cubicBezTo>
                  <a:pt x="1011" y="337"/>
                  <a:pt x="1012" y="337"/>
                  <a:pt x="1012" y="337"/>
                </a:cubicBezTo>
                <a:cubicBezTo>
                  <a:pt x="1011" y="337"/>
                  <a:pt x="1011" y="337"/>
                  <a:pt x="1011" y="337"/>
                </a:cubicBezTo>
                <a:cubicBezTo>
                  <a:pt x="1011" y="337"/>
                  <a:pt x="1011" y="337"/>
                  <a:pt x="1011" y="337"/>
                </a:cubicBezTo>
                <a:cubicBezTo>
                  <a:pt x="1010" y="338"/>
                  <a:pt x="1010" y="337"/>
                  <a:pt x="1010" y="337"/>
                </a:cubicBezTo>
                <a:cubicBezTo>
                  <a:pt x="1010" y="337"/>
                  <a:pt x="1009" y="338"/>
                  <a:pt x="1009" y="338"/>
                </a:cubicBezTo>
                <a:cubicBezTo>
                  <a:pt x="1008" y="339"/>
                  <a:pt x="1007" y="338"/>
                  <a:pt x="1006" y="338"/>
                </a:cubicBezTo>
                <a:cubicBezTo>
                  <a:pt x="1005" y="338"/>
                  <a:pt x="1005" y="337"/>
                  <a:pt x="1004" y="337"/>
                </a:cubicBezTo>
                <a:cubicBezTo>
                  <a:pt x="1004" y="338"/>
                  <a:pt x="1004" y="338"/>
                  <a:pt x="1004" y="338"/>
                </a:cubicBezTo>
                <a:cubicBezTo>
                  <a:pt x="1004" y="338"/>
                  <a:pt x="1004" y="338"/>
                  <a:pt x="1003" y="338"/>
                </a:cubicBezTo>
                <a:cubicBezTo>
                  <a:pt x="1003" y="339"/>
                  <a:pt x="1003" y="339"/>
                  <a:pt x="1002" y="339"/>
                </a:cubicBezTo>
                <a:cubicBezTo>
                  <a:pt x="1002" y="339"/>
                  <a:pt x="1001" y="338"/>
                  <a:pt x="1001" y="339"/>
                </a:cubicBezTo>
                <a:cubicBezTo>
                  <a:pt x="1000" y="339"/>
                  <a:pt x="998" y="339"/>
                  <a:pt x="997" y="338"/>
                </a:cubicBezTo>
                <a:cubicBezTo>
                  <a:pt x="997" y="338"/>
                  <a:pt x="996" y="338"/>
                  <a:pt x="995" y="338"/>
                </a:cubicBezTo>
                <a:cubicBezTo>
                  <a:pt x="995" y="338"/>
                  <a:pt x="995" y="337"/>
                  <a:pt x="994" y="336"/>
                </a:cubicBezTo>
                <a:cubicBezTo>
                  <a:pt x="993" y="336"/>
                  <a:pt x="992" y="336"/>
                  <a:pt x="992" y="336"/>
                </a:cubicBezTo>
                <a:cubicBezTo>
                  <a:pt x="991" y="336"/>
                  <a:pt x="991" y="337"/>
                  <a:pt x="991" y="337"/>
                </a:cubicBezTo>
                <a:cubicBezTo>
                  <a:pt x="990" y="337"/>
                  <a:pt x="990" y="337"/>
                  <a:pt x="989" y="337"/>
                </a:cubicBezTo>
                <a:cubicBezTo>
                  <a:pt x="989" y="336"/>
                  <a:pt x="988" y="334"/>
                  <a:pt x="988" y="334"/>
                </a:cubicBezTo>
                <a:cubicBezTo>
                  <a:pt x="988" y="334"/>
                  <a:pt x="986" y="335"/>
                  <a:pt x="986" y="334"/>
                </a:cubicBezTo>
                <a:cubicBezTo>
                  <a:pt x="986" y="334"/>
                  <a:pt x="985" y="334"/>
                  <a:pt x="984" y="334"/>
                </a:cubicBezTo>
                <a:cubicBezTo>
                  <a:pt x="984" y="333"/>
                  <a:pt x="984" y="333"/>
                  <a:pt x="984" y="332"/>
                </a:cubicBezTo>
                <a:cubicBezTo>
                  <a:pt x="983" y="333"/>
                  <a:pt x="983" y="333"/>
                  <a:pt x="982" y="333"/>
                </a:cubicBezTo>
                <a:cubicBezTo>
                  <a:pt x="981" y="333"/>
                  <a:pt x="981" y="334"/>
                  <a:pt x="980" y="333"/>
                </a:cubicBezTo>
                <a:cubicBezTo>
                  <a:pt x="980" y="333"/>
                  <a:pt x="980" y="333"/>
                  <a:pt x="980" y="333"/>
                </a:cubicBezTo>
                <a:cubicBezTo>
                  <a:pt x="980" y="333"/>
                  <a:pt x="979" y="333"/>
                  <a:pt x="979" y="332"/>
                </a:cubicBezTo>
                <a:cubicBezTo>
                  <a:pt x="979" y="332"/>
                  <a:pt x="977" y="332"/>
                  <a:pt x="976" y="332"/>
                </a:cubicBezTo>
                <a:cubicBezTo>
                  <a:pt x="976" y="332"/>
                  <a:pt x="976" y="332"/>
                  <a:pt x="975" y="332"/>
                </a:cubicBezTo>
                <a:cubicBezTo>
                  <a:pt x="975" y="334"/>
                  <a:pt x="972" y="333"/>
                  <a:pt x="971" y="334"/>
                </a:cubicBezTo>
                <a:cubicBezTo>
                  <a:pt x="971" y="335"/>
                  <a:pt x="971" y="335"/>
                  <a:pt x="970" y="335"/>
                </a:cubicBezTo>
                <a:cubicBezTo>
                  <a:pt x="970" y="335"/>
                  <a:pt x="968" y="336"/>
                  <a:pt x="968" y="336"/>
                </a:cubicBezTo>
                <a:cubicBezTo>
                  <a:pt x="968" y="337"/>
                  <a:pt x="967" y="336"/>
                  <a:pt x="967" y="336"/>
                </a:cubicBezTo>
                <a:cubicBezTo>
                  <a:pt x="966" y="337"/>
                  <a:pt x="966" y="338"/>
                  <a:pt x="965" y="338"/>
                </a:cubicBezTo>
                <a:cubicBezTo>
                  <a:pt x="964" y="338"/>
                  <a:pt x="963" y="338"/>
                  <a:pt x="962" y="338"/>
                </a:cubicBezTo>
                <a:cubicBezTo>
                  <a:pt x="962" y="337"/>
                  <a:pt x="961" y="337"/>
                  <a:pt x="961" y="338"/>
                </a:cubicBezTo>
                <a:cubicBezTo>
                  <a:pt x="960" y="338"/>
                  <a:pt x="959" y="337"/>
                  <a:pt x="958" y="338"/>
                </a:cubicBezTo>
                <a:cubicBezTo>
                  <a:pt x="957" y="338"/>
                  <a:pt x="956" y="337"/>
                  <a:pt x="956" y="339"/>
                </a:cubicBezTo>
                <a:cubicBezTo>
                  <a:pt x="956" y="339"/>
                  <a:pt x="959" y="340"/>
                  <a:pt x="959" y="340"/>
                </a:cubicBezTo>
                <a:cubicBezTo>
                  <a:pt x="959" y="340"/>
                  <a:pt x="958" y="340"/>
                  <a:pt x="958" y="340"/>
                </a:cubicBezTo>
                <a:cubicBezTo>
                  <a:pt x="957" y="340"/>
                  <a:pt x="956" y="340"/>
                  <a:pt x="956" y="341"/>
                </a:cubicBezTo>
                <a:cubicBezTo>
                  <a:pt x="956" y="341"/>
                  <a:pt x="956" y="341"/>
                  <a:pt x="956" y="341"/>
                </a:cubicBezTo>
                <a:cubicBezTo>
                  <a:pt x="955" y="342"/>
                  <a:pt x="953" y="342"/>
                  <a:pt x="952" y="342"/>
                </a:cubicBezTo>
                <a:cubicBezTo>
                  <a:pt x="952" y="341"/>
                  <a:pt x="951" y="341"/>
                  <a:pt x="950" y="341"/>
                </a:cubicBezTo>
                <a:cubicBezTo>
                  <a:pt x="949" y="341"/>
                  <a:pt x="950" y="342"/>
                  <a:pt x="950" y="343"/>
                </a:cubicBezTo>
                <a:cubicBezTo>
                  <a:pt x="948" y="343"/>
                  <a:pt x="945" y="342"/>
                  <a:pt x="944" y="344"/>
                </a:cubicBezTo>
                <a:cubicBezTo>
                  <a:pt x="944" y="345"/>
                  <a:pt x="943" y="345"/>
                  <a:pt x="943" y="345"/>
                </a:cubicBezTo>
                <a:cubicBezTo>
                  <a:pt x="942" y="346"/>
                  <a:pt x="942" y="346"/>
                  <a:pt x="943" y="347"/>
                </a:cubicBezTo>
                <a:cubicBezTo>
                  <a:pt x="943" y="348"/>
                  <a:pt x="942" y="348"/>
                  <a:pt x="942" y="349"/>
                </a:cubicBezTo>
                <a:cubicBezTo>
                  <a:pt x="943" y="349"/>
                  <a:pt x="944" y="349"/>
                  <a:pt x="945" y="349"/>
                </a:cubicBezTo>
                <a:cubicBezTo>
                  <a:pt x="945" y="350"/>
                  <a:pt x="946" y="350"/>
                  <a:pt x="946" y="351"/>
                </a:cubicBezTo>
                <a:cubicBezTo>
                  <a:pt x="946" y="352"/>
                  <a:pt x="946" y="353"/>
                  <a:pt x="945" y="353"/>
                </a:cubicBezTo>
                <a:cubicBezTo>
                  <a:pt x="945" y="354"/>
                  <a:pt x="946" y="354"/>
                  <a:pt x="946" y="354"/>
                </a:cubicBezTo>
                <a:cubicBezTo>
                  <a:pt x="946" y="355"/>
                  <a:pt x="945" y="355"/>
                  <a:pt x="945" y="356"/>
                </a:cubicBezTo>
                <a:cubicBezTo>
                  <a:pt x="944" y="356"/>
                  <a:pt x="944" y="355"/>
                  <a:pt x="943" y="355"/>
                </a:cubicBezTo>
                <a:cubicBezTo>
                  <a:pt x="943" y="356"/>
                  <a:pt x="944" y="356"/>
                  <a:pt x="943" y="358"/>
                </a:cubicBezTo>
                <a:cubicBezTo>
                  <a:pt x="944" y="357"/>
                  <a:pt x="945" y="357"/>
                  <a:pt x="945" y="357"/>
                </a:cubicBezTo>
                <a:cubicBezTo>
                  <a:pt x="946" y="358"/>
                  <a:pt x="946" y="358"/>
                  <a:pt x="947" y="359"/>
                </a:cubicBezTo>
                <a:cubicBezTo>
                  <a:pt x="947" y="359"/>
                  <a:pt x="947" y="361"/>
                  <a:pt x="947" y="361"/>
                </a:cubicBezTo>
                <a:cubicBezTo>
                  <a:pt x="947" y="361"/>
                  <a:pt x="948" y="361"/>
                  <a:pt x="948" y="361"/>
                </a:cubicBezTo>
                <a:cubicBezTo>
                  <a:pt x="948" y="362"/>
                  <a:pt x="948" y="362"/>
                  <a:pt x="948" y="362"/>
                </a:cubicBezTo>
                <a:cubicBezTo>
                  <a:pt x="947" y="363"/>
                  <a:pt x="947" y="362"/>
                  <a:pt x="947" y="363"/>
                </a:cubicBezTo>
                <a:cubicBezTo>
                  <a:pt x="947" y="363"/>
                  <a:pt x="947" y="363"/>
                  <a:pt x="948" y="364"/>
                </a:cubicBezTo>
                <a:cubicBezTo>
                  <a:pt x="949" y="364"/>
                  <a:pt x="950" y="364"/>
                  <a:pt x="951" y="364"/>
                </a:cubicBezTo>
                <a:cubicBezTo>
                  <a:pt x="951" y="364"/>
                  <a:pt x="951" y="364"/>
                  <a:pt x="950" y="365"/>
                </a:cubicBezTo>
                <a:cubicBezTo>
                  <a:pt x="950" y="365"/>
                  <a:pt x="951" y="365"/>
                  <a:pt x="951" y="365"/>
                </a:cubicBezTo>
                <a:cubicBezTo>
                  <a:pt x="951" y="366"/>
                  <a:pt x="952" y="366"/>
                  <a:pt x="952" y="366"/>
                </a:cubicBezTo>
                <a:cubicBezTo>
                  <a:pt x="952" y="365"/>
                  <a:pt x="951" y="365"/>
                  <a:pt x="952" y="365"/>
                </a:cubicBezTo>
                <a:cubicBezTo>
                  <a:pt x="953" y="365"/>
                  <a:pt x="953" y="367"/>
                  <a:pt x="954" y="367"/>
                </a:cubicBezTo>
                <a:cubicBezTo>
                  <a:pt x="954" y="367"/>
                  <a:pt x="955" y="366"/>
                  <a:pt x="955" y="366"/>
                </a:cubicBezTo>
                <a:cubicBezTo>
                  <a:pt x="956" y="367"/>
                  <a:pt x="955" y="367"/>
                  <a:pt x="956" y="367"/>
                </a:cubicBezTo>
                <a:cubicBezTo>
                  <a:pt x="956" y="367"/>
                  <a:pt x="956" y="368"/>
                  <a:pt x="956" y="368"/>
                </a:cubicBezTo>
                <a:cubicBezTo>
                  <a:pt x="956" y="368"/>
                  <a:pt x="956" y="369"/>
                  <a:pt x="957" y="369"/>
                </a:cubicBezTo>
                <a:cubicBezTo>
                  <a:pt x="958" y="369"/>
                  <a:pt x="958" y="371"/>
                  <a:pt x="959" y="371"/>
                </a:cubicBezTo>
                <a:cubicBezTo>
                  <a:pt x="960" y="370"/>
                  <a:pt x="960" y="370"/>
                  <a:pt x="961" y="370"/>
                </a:cubicBezTo>
                <a:cubicBezTo>
                  <a:pt x="962" y="369"/>
                  <a:pt x="962" y="369"/>
                  <a:pt x="963" y="368"/>
                </a:cubicBezTo>
                <a:cubicBezTo>
                  <a:pt x="963" y="367"/>
                  <a:pt x="963" y="366"/>
                  <a:pt x="964" y="366"/>
                </a:cubicBezTo>
                <a:cubicBezTo>
                  <a:pt x="964" y="366"/>
                  <a:pt x="964" y="366"/>
                  <a:pt x="965" y="366"/>
                </a:cubicBezTo>
                <a:cubicBezTo>
                  <a:pt x="965" y="366"/>
                  <a:pt x="965" y="366"/>
                  <a:pt x="965" y="366"/>
                </a:cubicBezTo>
                <a:cubicBezTo>
                  <a:pt x="967" y="366"/>
                  <a:pt x="965" y="366"/>
                  <a:pt x="966" y="366"/>
                </a:cubicBezTo>
                <a:cubicBezTo>
                  <a:pt x="966" y="366"/>
                  <a:pt x="966" y="366"/>
                  <a:pt x="967" y="366"/>
                </a:cubicBezTo>
                <a:cubicBezTo>
                  <a:pt x="967" y="366"/>
                  <a:pt x="966" y="367"/>
                  <a:pt x="967" y="367"/>
                </a:cubicBezTo>
                <a:cubicBezTo>
                  <a:pt x="967" y="367"/>
                  <a:pt x="967" y="367"/>
                  <a:pt x="968" y="367"/>
                </a:cubicBezTo>
                <a:cubicBezTo>
                  <a:pt x="968" y="367"/>
                  <a:pt x="968" y="367"/>
                  <a:pt x="969" y="367"/>
                </a:cubicBezTo>
                <a:cubicBezTo>
                  <a:pt x="969" y="367"/>
                  <a:pt x="970" y="368"/>
                  <a:pt x="970" y="368"/>
                </a:cubicBezTo>
                <a:cubicBezTo>
                  <a:pt x="970" y="368"/>
                  <a:pt x="970" y="369"/>
                  <a:pt x="971" y="369"/>
                </a:cubicBezTo>
                <a:cubicBezTo>
                  <a:pt x="971" y="369"/>
                  <a:pt x="972" y="369"/>
                  <a:pt x="972" y="370"/>
                </a:cubicBezTo>
                <a:cubicBezTo>
                  <a:pt x="973" y="370"/>
                  <a:pt x="975" y="370"/>
                  <a:pt x="976" y="370"/>
                </a:cubicBezTo>
                <a:cubicBezTo>
                  <a:pt x="978" y="370"/>
                  <a:pt x="980" y="369"/>
                  <a:pt x="981" y="368"/>
                </a:cubicBezTo>
                <a:cubicBezTo>
                  <a:pt x="982" y="367"/>
                  <a:pt x="982" y="367"/>
                  <a:pt x="983" y="367"/>
                </a:cubicBezTo>
                <a:cubicBezTo>
                  <a:pt x="983" y="367"/>
                  <a:pt x="984" y="366"/>
                  <a:pt x="984" y="367"/>
                </a:cubicBezTo>
                <a:cubicBezTo>
                  <a:pt x="985" y="367"/>
                  <a:pt x="986" y="366"/>
                  <a:pt x="986" y="365"/>
                </a:cubicBezTo>
                <a:cubicBezTo>
                  <a:pt x="986" y="365"/>
                  <a:pt x="987" y="364"/>
                  <a:pt x="988" y="365"/>
                </a:cubicBezTo>
                <a:cubicBezTo>
                  <a:pt x="988" y="366"/>
                  <a:pt x="988" y="367"/>
                  <a:pt x="988" y="368"/>
                </a:cubicBezTo>
                <a:cubicBezTo>
                  <a:pt x="987" y="368"/>
                  <a:pt x="987" y="368"/>
                  <a:pt x="987" y="369"/>
                </a:cubicBezTo>
                <a:cubicBezTo>
                  <a:pt x="987" y="370"/>
                  <a:pt x="987" y="371"/>
                  <a:pt x="987" y="371"/>
                </a:cubicBezTo>
                <a:cubicBezTo>
                  <a:pt x="987" y="371"/>
                  <a:pt x="986" y="373"/>
                  <a:pt x="987" y="372"/>
                </a:cubicBezTo>
                <a:cubicBezTo>
                  <a:pt x="987" y="373"/>
                  <a:pt x="987" y="374"/>
                  <a:pt x="988" y="374"/>
                </a:cubicBezTo>
                <a:cubicBezTo>
                  <a:pt x="988" y="375"/>
                  <a:pt x="988" y="376"/>
                  <a:pt x="988" y="377"/>
                </a:cubicBezTo>
                <a:cubicBezTo>
                  <a:pt x="988" y="377"/>
                  <a:pt x="987" y="377"/>
                  <a:pt x="988" y="378"/>
                </a:cubicBezTo>
                <a:cubicBezTo>
                  <a:pt x="988" y="379"/>
                  <a:pt x="988" y="379"/>
                  <a:pt x="989" y="379"/>
                </a:cubicBezTo>
                <a:cubicBezTo>
                  <a:pt x="989" y="380"/>
                  <a:pt x="988" y="380"/>
                  <a:pt x="988" y="380"/>
                </a:cubicBezTo>
                <a:cubicBezTo>
                  <a:pt x="988" y="381"/>
                  <a:pt x="988" y="382"/>
                  <a:pt x="987" y="382"/>
                </a:cubicBezTo>
                <a:cubicBezTo>
                  <a:pt x="986" y="383"/>
                  <a:pt x="986" y="384"/>
                  <a:pt x="986" y="385"/>
                </a:cubicBezTo>
                <a:cubicBezTo>
                  <a:pt x="986" y="385"/>
                  <a:pt x="986" y="385"/>
                  <a:pt x="986" y="385"/>
                </a:cubicBezTo>
                <a:cubicBezTo>
                  <a:pt x="986" y="385"/>
                  <a:pt x="986" y="386"/>
                  <a:pt x="986" y="386"/>
                </a:cubicBezTo>
                <a:cubicBezTo>
                  <a:pt x="986" y="388"/>
                  <a:pt x="986" y="387"/>
                  <a:pt x="985" y="388"/>
                </a:cubicBezTo>
                <a:cubicBezTo>
                  <a:pt x="985" y="389"/>
                  <a:pt x="985" y="388"/>
                  <a:pt x="984" y="389"/>
                </a:cubicBezTo>
                <a:cubicBezTo>
                  <a:pt x="984" y="390"/>
                  <a:pt x="984" y="391"/>
                  <a:pt x="984" y="392"/>
                </a:cubicBezTo>
                <a:cubicBezTo>
                  <a:pt x="984" y="393"/>
                  <a:pt x="983" y="393"/>
                  <a:pt x="983" y="393"/>
                </a:cubicBezTo>
                <a:cubicBezTo>
                  <a:pt x="983" y="394"/>
                  <a:pt x="983" y="394"/>
                  <a:pt x="982" y="395"/>
                </a:cubicBezTo>
                <a:cubicBezTo>
                  <a:pt x="982" y="396"/>
                  <a:pt x="983" y="396"/>
                  <a:pt x="982" y="397"/>
                </a:cubicBezTo>
                <a:cubicBezTo>
                  <a:pt x="982" y="397"/>
                  <a:pt x="982" y="397"/>
                  <a:pt x="982" y="397"/>
                </a:cubicBezTo>
                <a:cubicBezTo>
                  <a:pt x="981" y="398"/>
                  <a:pt x="981" y="398"/>
                  <a:pt x="980" y="399"/>
                </a:cubicBezTo>
                <a:cubicBezTo>
                  <a:pt x="978" y="399"/>
                  <a:pt x="976" y="399"/>
                  <a:pt x="974" y="400"/>
                </a:cubicBezTo>
                <a:cubicBezTo>
                  <a:pt x="974" y="399"/>
                  <a:pt x="974" y="399"/>
                  <a:pt x="974" y="399"/>
                </a:cubicBezTo>
                <a:cubicBezTo>
                  <a:pt x="973" y="399"/>
                  <a:pt x="972" y="399"/>
                  <a:pt x="972" y="399"/>
                </a:cubicBezTo>
                <a:cubicBezTo>
                  <a:pt x="971" y="399"/>
                  <a:pt x="970" y="401"/>
                  <a:pt x="970" y="400"/>
                </a:cubicBezTo>
                <a:cubicBezTo>
                  <a:pt x="970" y="399"/>
                  <a:pt x="969" y="399"/>
                  <a:pt x="968" y="399"/>
                </a:cubicBezTo>
                <a:cubicBezTo>
                  <a:pt x="968" y="399"/>
                  <a:pt x="968" y="399"/>
                  <a:pt x="968" y="398"/>
                </a:cubicBezTo>
                <a:cubicBezTo>
                  <a:pt x="967" y="398"/>
                  <a:pt x="967" y="398"/>
                  <a:pt x="966" y="398"/>
                </a:cubicBezTo>
                <a:cubicBezTo>
                  <a:pt x="966" y="399"/>
                  <a:pt x="967" y="399"/>
                  <a:pt x="966" y="400"/>
                </a:cubicBezTo>
                <a:cubicBezTo>
                  <a:pt x="965" y="401"/>
                  <a:pt x="965" y="399"/>
                  <a:pt x="965" y="399"/>
                </a:cubicBezTo>
                <a:cubicBezTo>
                  <a:pt x="965" y="399"/>
                  <a:pt x="964" y="399"/>
                  <a:pt x="964" y="399"/>
                </a:cubicBezTo>
                <a:cubicBezTo>
                  <a:pt x="963" y="399"/>
                  <a:pt x="963" y="399"/>
                  <a:pt x="962" y="399"/>
                </a:cubicBezTo>
                <a:cubicBezTo>
                  <a:pt x="961" y="399"/>
                  <a:pt x="961" y="400"/>
                  <a:pt x="961" y="401"/>
                </a:cubicBezTo>
                <a:cubicBezTo>
                  <a:pt x="960" y="401"/>
                  <a:pt x="958" y="399"/>
                  <a:pt x="958" y="400"/>
                </a:cubicBezTo>
                <a:cubicBezTo>
                  <a:pt x="958" y="401"/>
                  <a:pt x="956" y="401"/>
                  <a:pt x="956" y="401"/>
                </a:cubicBezTo>
                <a:cubicBezTo>
                  <a:pt x="955" y="401"/>
                  <a:pt x="955" y="400"/>
                  <a:pt x="954" y="400"/>
                </a:cubicBezTo>
                <a:cubicBezTo>
                  <a:pt x="954" y="400"/>
                  <a:pt x="954" y="399"/>
                  <a:pt x="953" y="399"/>
                </a:cubicBezTo>
                <a:cubicBezTo>
                  <a:pt x="953" y="399"/>
                  <a:pt x="953" y="400"/>
                  <a:pt x="953" y="400"/>
                </a:cubicBezTo>
                <a:cubicBezTo>
                  <a:pt x="952" y="400"/>
                  <a:pt x="951" y="400"/>
                  <a:pt x="950" y="399"/>
                </a:cubicBezTo>
                <a:cubicBezTo>
                  <a:pt x="950" y="400"/>
                  <a:pt x="948" y="400"/>
                  <a:pt x="948" y="400"/>
                </a:cubicBezTo>
                <a:cubicBezTo>
                  <a:pt x="947" y="399"/>
                  <a:pt x="947" y="399"/>
                  <a:pt x="946" y="399"/>
                </a:cubicBezTo>
                <a:cubicBezTo>
                  <a:pt x="946" y="399"/>
                  <a:pt x="946" y="399"/>
                  <a:pt x="946" y="399"/>
                </a:cubicBezTo>
                <a:cubicBezTo>
                  <a:pt x="945" y="399"/>
                  <a:pt x="946" y="398"/>
                  <a:pt x="945" y="398"/>
                </a:cubicBezTo>
                <a:cubicBezTo>
                  <a:pt x="944" y="398"/>
                  <a:pt x="944" y="398"/>
                  <a:pt x="944" y="397"/>
                </a:cubicBezTo>
                <a:cubicBezTo>
                  <a:pt x="943" y="397"/>
                  <a:pt x="941" y="397"/>
                  <a:pt x="940" y="397"/>
                </a:cubicBezTo>
                <a:cubicBezTo>
                  <a:pt x="940" y="397"/>
                  <a:pt x="940" y="397"/>
                  <a:pt x="940" y="397"/>
                </a:cubicBezTo>
                <a:cubicBezTo>
                  <a:pt x="939" y="397"/>
                  <a:pt x="939" y="397"/>
                  <a:pt x="938" y="397"/>
                </a:cubicBezTo>
                <a:cubicBezTo>
                  <a:pt x="937" y="397"/>
                  <a:pt x="938" y="397"/>
                  <a:pt x="937" y="397"/>
                </a:cubicBezTo>
                <a:cubicBezTo>
                  <a:pt x="936" y="396"/>
                  <a:pt x="937" y="395"/>
                  <a:pt x="936" y="395"/>
                </a:cubicBezTo>
                <a:cubicBezTo>
                  <a:pt x="935" y="395"/>
                  <a:pt x="933" y="395"/>
                  <a:pt x="932" y="395"/>
                </a:cubicBezTo>
                <a:cubicBezTo>
                  <a:pt x="932" y="394"/>
                  <a:pt x="933" y="394"/>
                  <a:pt x="932" y="394"/>
                </a:cubicBezTo>
                <a:cubicBezTo>
                  <a:pt x="931" y="393"/>
                  <a:pt x="930" y="393"/>
                  <a:pt x="929" y="393"/>
                </a:cubicBezTo>
                <a:cubicBezTo>
                  <a:pt x="928" y="393"/>
                  <a:pt x="927" y="394"/>
                  <a:pt x="927" y="393"/>
                </a:cubicBezTo>
                <a:cubicBezTo>
                  <a:pt x="927" y="393"/>
                  <a:pt x="927" y="393"/>
                  <a:pt x="927" y="392"/>
                </a:cubicBezTo>
                <a:cubicBezTo>
                  <a:pt x="926" y="392"/>
                  <a:pt x="926" y="392"/>
                  <a:pt x="926" y="391"/>
                </a:cubicBezTo>
                <a:cubicBezTo>
                  <a:pt x="926" y="391"/>
                  <a:pt x="924" y="391"/>
                  <a:pt x="924" y="391"/>
                </a:cubicBezTo>
                <a:cubicBezTo>
                  <a:pt x="923" y="391"/>
                  <a:pt x="922" y="390"/>
                  <a:pt x="921" y="390"/>
                </a:cubicBezTo>
                <a:cubicBezTo>
                  <a:pt x="920" y="389"/>
                  <a:pt x="919" y="389"/>
                  <a:pt x="919" y="389"/>
                </a:cubicBezTo>
                <a:cubicBezTo>
                  <a:pt x="918" y="389"/>
                  <a:pt x="918" y="389"/>
                  <a:pt x="918" y="389"/>
                </a:cubicBezTo>
                <a:cubicBezTo>
                  <a:pt x="918" y="389"/>
                  <a:pt x="917" y="389"/>
                  <a:pt x="917" y="390"/>
                </a:cubicBezTo>
                <a:cubicBezTo>
                  <a:pt x="917" y="390"/>
                  <a:pt x="917" y="390"/>
                  <a:pt x="916" y="390"/>
                </a:cubicBezTo>
                <a:cubicBezTo>
                  <a:pt x="916" y="390"/>
                  <a:pt x="916" y="391"/>
                  <a:pt x="915" y="391"/>
                </a:cubicBezTo>
                <a:cubicBezTo>
                  <a:pt x="915" y="391"/>
                  <a:pt x="915" y="391"/>
                  <a:pt x="915" y="391"/>
                </a:cubicBezTo>
                <a:cubicBezTo>
                  <a:pt x="914" y="391"/>
                  <a:pt x="914" y="391"/>
                  <a:pt x="913" y="392"/>
                </a:cubicBezTo>
                <a:cubicBezTo>
                  <a:pt x="913" y="393"/>
                  <a:pt x="912" y="395"/>
                  <a:pt x="911" y="395"/>
                </a:cubicBezTo>
                <a:cubicBezTo>
                  <a:pt x="911" y="396"/>
                  <a:pt x="911" y="397"/>
                  <a:pt x="912" y="397"/>
                </a:cubicBezTo>
                <a:cubicBezTo>
                  <a:pt x="913" y="398"/>
                  <a:pt x="912" y="398"/>
                  <a:pt x="913" y="398"/>
                </a:cubicBezTo>
                <a:cubicBezTo>
                  <a:pt x="913" y="400"/>
                  <a:pt x="911" y="401"/>
                  <a:pt x="910" y="402"/>
                </a:cubicBezTo>
                <a:cubicBezTo>
                  <a:pt x="910" y="403"/>
                  <a:pt x="910" y="403"/>
                  <a:pt x="909" y="403"/>
                </a:cubicBezTo>
                <a:cubicBezTo>
                  <a:pt x="909" y="404"/>
                  <a:pt x="908" y="403"/>
                  <a:pt x="907" y="403"/>
                </a:cubicBezTo>
                <a:cubicBezTo>
                  <a:pt x="906" y="403"/>
                  <a:pt x="904" y="403"/>
                  <a:pt x="903" y="402"/>
                </a:cubicBezTo>
                <a:cubicBezTo>
                  <a:pt x="902" y="402"/>
                  <a:pt x="900" y="402"/>
                  <a:pt x="900" y="401"/>
                </a:cubicBezTo>
                <a:cubicBezTo>
                  <a:pt x="900" y="401"/>
                  <a:pt x="899" y="401"/>
                  <a:pt x="899" y="401"/>
                </a:cubicBezTo>
                <a:cubicBezTo>
                  <a:pt x="898" y="401"/>
                  <a:pt x="898" y="401"/>
                  <a:pt x="897" y="401"/>
                </a:cubicBezTo>
                <a:cubicBezTo>
                  <a:pt x="897" y="400"/>
                  <a:pt x="896" y="400"/>
                  <a:pt x="896" y="400"/>
                </a:cubicBezTo>
                <a:cubicBezTo>
                  <a:pt x="895" y="400"/>
                  <a:pt x="894" y="400"/>
                  <a:pt x="894" y="400"/>
                </a:cubicBezTo>
                <a:cubicBezTo>
                  <a:pt x="893" y="399"/>
                  <a:pt x="893" y="399"/>
                  <a:pt x="892" y="399"/>
                </a:cubicBezTo>
                <a:cubicBezTo>
                  <a:pt x="891" y="398"/>
                  <a:pt x="891" y="397"/>
                  <a:pt x="890" y="396"/>
                </a:cubicBezTo>
                <a:cubicBezTo>
                  <a:pt x="889" y="395"/>
                  <a:pt x="888" y="395"/>
                  <a:pt x="888" y="394"/>
                </a:cubicBezTo>
                <a:cubicBezTo>
                  <a:pt x="888" y="393"/>
                  <a:pt x="887" y="393"/>
                  <a:pt x="886" y="393"/>
                </a:cubicBezTo>
                <a:cubicBezTo>
                  <a:pt x="886" y="393"/>
                  <a:pt x="885" y="393"/>
                  <a:pt x="885" y="393"/>
                </a:cubicBezTo>
                <a:cubicBezTo>
                  <a:pt x="885" y="392"/>
                  <a:pt x="885" y="392"/>
                  <a:pt x="884" y="392"/>
                </a:cubicBezTo>
                <a:cubicBezTo>
                  <a:pt x="883" y="392"/>
                  <a:pt x="883" y="392"/>
                  <a:pt x="883" y="391"/>
                </a:cubicBezTo>
                <a:cubicBezTo>
                  <a:pt x="882" y="391"/>
                  <a:pt x="882" y="391"/>
                  <a:pt x="882" y="391"/>
                </a:cubicBezTo>
                <a:cubicBezTo>
                  <a:pt x="881" y="391"/>
                  <a:pt x="881" y="390"/>
                  <a:pt x="880" y="390"/>
                </a:cubicBezTo>
                <a:cubicBezTo>
                  <a:pt x="880" y="390"/>
                  <a:pt x="879" y="390"/>
                  <a:pt x="879" y="390"/>
                </a:cubicBezTo>
                <a:cubicBezTo>
                  <a:pt x="879" y="389"/>
                  <a:pt x="877" y="390"/>
                  <a:pt x="877" y="390"/>
                </a:cubicBezTo>
                <a:cubicBezTo>
                  <a:pt x="876" y="390"/>
                  <a:pt x="876" y="390"/>
                  <a:pt x="875" y="390"/>
                </a:cubicBezTo>
                <a:cubicBezTo>
                  <a:pt x="874" y="390"/>
                  <a:pt x="874" y="390"/>
                  <a:pt x="874" y="390"/>
                </a:cubicBezTo>
                <a:cubicBezTo>
                  <a:pt x="874" y="390"/>
                  <a:pt x="874" y="389"/>
                  <a:pt x="874" y="389"/>
                </a:cubicBezTo>
                <a:cubicBezTo>
                  <a:pt x="873" y="389"/>
                  <a:pt x="873" y="389"/>
                  <a:pt x="873" y="388"/>
                </a:cubicBezTo>
                <a:cubicBezTo>
                  <a:pt x="873" y="388"/>
                  <a:pt x="872" y="388"/>
                  <a:pt x="871" y="388"/>
                </a:cubicBezTo>
                <a:cubicBezTo>
                  <a:pt x="871" y="388"/>
                  <a:pt x="871" y="388"/>
                  <a:pt x="871" y="388"/>
                </a:cubicBezTo>
                <a:cubicBezTo>
                  <a:pt x="871" y="387"/>
                  <a:pt x="870" y="387"/>
                  <a:pt x="870" y="387"/>
                </a:cubicBezTo>
                <a:cubicBezTo>
                  <a:pt x="870" y="387"/>
                  <a:pt x="870" y="387"/>
                  <a:pt x="870" y="387"/>
                </a:cubicBezTo>
                <a:cubicBezTo>
                  <a:pt x="870" y="386"/>
                  <a:pt x="869" y="385"/>
                  <a:pt x="868" y="385"/>
                </a:cubicBezTo>
                <a:cubicBezTo>
                  <a:pt x="868" y="386"/>
                  <a:pt x="867" y="384"/>
                  <a:pt x="867" y="384"/>
                </a:cubicBezTo>
                <a:cubicBezTo>
                  <a:pt x="867" y="384"/>
                  <a:pt x="866" y="384"/>
                  <a:pt x="866" y="383"/>
                </a:cubicBezTo>
                <a:cubicBezTo>
                  <a:pt x="865" y="383"/>
                  <a:pt x="866" y="382"/>
                  <a:pt x="866" y="382"/>
                </a:cubicBezTo>
                <a:cubicBezTo>
                  <a:pt x="866" y="382"/>
                  <a:pt x="866" y="381"/>
                  <a:pt x="866" y="381"/>
                </a:cubicBezTo>
                <a:cubicBezTo>
                  <a:pt x="866" y="381"/>
                  <a:pt x="867" y="380"/>
                  <a:pt x="867" y="380"/>
                </a:cubicBezTo>
                <a:cubicBezTo>
                  <a:pt x="867" y="379"/>
                  <a:pt x="868" y="379"/>
                  <a:pt x="868" y="378"/>
                </a:cubicBezTo>
                <a:cubicBezTo>
                  <a:pt x="868" y="377"/>
                  <a:pt x="868" y="377"/>
                  <a:pt x="869" y="377"/>
                </a:cubicBezTo>
                <a:cubicBezTo>
                  <a:pt x="869" y="376"/>
                  <a:pt x="869" y="375"/>
                  <a:pt x="868" y="374"/>
                </a:cubicBezTo>
                <a:cubicBezTo>
                  <a:pt x="869" y="374"/>
                  <a:pt x="869" y="373"/>
                  <a:pt x="869" y="372"/>
                </a:cubicBezTo>
                <a:cubicBezTo>
                  <a:pt x="869" y="372"/>
                  <a:pt x="868" y="373"/>
                  <a:pt x="867" y="372"/>
                </a:cubicBezTo>
                <a:cubicBezTo>
                  <a:pt x="867" y="372"/>
                  <a:pt x="867" y="371"/>
                  <a:pt x="867" y="370"/>
                </a:cubicBezTo>
                <a:cubicBezTo>
                  <a:pt x="867" y="369"/>
                  <a:pt x="868" y="369"/>
                  <a:pt x="869" y="368"/>
                </a:cubicBezTo>
                <a:cubicBezTo>
                  <a:pt x="869" y="367"/>
                  <a:pt x="870" y="367"/>
                  <a:pt x="870" y="367"/>
                </a:cubicBezTo>
                <a:cubicBezTo>
                  <a:pt x="870" y="366"/>
                  <a:pt x="871" y="365"/>
                  <a:pt x="871" y="364"/>
                </a:cubicBezTo>
                <a:cubicBezTo>
                  <a:pt x="870" y="364"/>
                  <a:pt x="868" y="364"/>
                  <a:pt x="868" y="365"/>
                </a:cubicBezTo>
                <a:cubicBezTo>
                  <a:pt x="867" y="365"/>
                  <a:pt x="866" y="364"/>
                  <a:pt x="866" y="362"/>
                </a:cubicBezTo>
                <a:cubicBezTo>
                  <a:pt x="864" y="363"/>
                  <a:pt x="865" y="362"/>
                  <a:pt x="864" y="362"/>
                </a:cubicBezTo>
                <a:cubicBezTo>
                  <a:pt x="863" y="362"/>
                  <a:pt x="864" y="362"/>
                  <a:pt x="863" y="362"/>
                </a:cubicBezTo>
                <a:cubicBezTo>
                  <a:pt x="863" y="362"/>
                  <a:pt x="862" y="362"/>
                  <a:pt x="862" y="362"/>
                </a:cubicBezTo>
                <a:cubicBezTo>
                  <a:pt x="862" y="363"/>
                  <a:pt x="862" y="363"/>
                  <a:pt x="861" y="363"/>
                </a:cubicBezTo>
                <a:cubicBezTo>
                  <a:pt x="861" y="363"/>
                  <a:pt x="861" y="363"/>
                  <a:pt x="861" y="363"/>
                </a:cubicBezTo>
                <a:cubicBezTo>
                  <a:pt x="860" y="363"/>
                  <a:pt x="860" y="364"/>
                  <a:pt x="859" y="364"/>
                </a:cubicBezTo>
                <a:cubicBezTo>
                  <a:pt x="858" y="364"/>
                  <a:pt x="857" y="364"/>
                  <a:pt x="856" y="364"/>
                </a:cubicBezTo>
                <a:cubicBezTo>
                  <a:pt x="856" y="364"/>
                  <a:pt x="856" y="364"/>
                  <a:pt x="856" y="363"/>
                </a:cubicBezTo>
                <a:cubicBezTo>
                  <a:pt x="856" y="364"/>
                  <a:pt x="855" y="364"/>
                  <a:pt x="854" y="364"/>
                </a:cubicBezTo>
                <a:cubicBezTo>
                  <a:pt x="854" y="363"/>
                  <a:pt x="854" y="364"/>
                  <a:pt x="853" y="363"/>
                </a:cubicBezTo>
                <a:cubicBezTo>
                  <a:pt x="852" y="363"/>
                  <a:pt x="852" y="363"/>
                  <a:pt x="852" y="364"/>
                </a:cubicBezTo>
                <a:cubicBezTo>
                  <a:pt x="852" y="365"/>
                  <a:pt x="851" y="365"/>
                  <a:pt x="851" y="365"/>
                </a:cubicBezTo>
                <a:cubicBezTo>
                  <a:pt x="850" y="364"/>
                  <a:pt x="849" y="363"/>
                  <a:pt x="848" y="363"/>
                </a:cubicBezTo>
                <a:cubicBezTo>
                  <a:pt x="847" y="363"/>
                  <a:pt x="846" y="363"/>
                  <a:pt x="846" y="364"/>
                </a:cubicBezTo>
                <a:cubicBezTo>
                  <a:pt x="845" y="364"/>
                  <a:pt x="844" y="364"/>
                  <a:pt x="844" y="364"/>
                </a:cubicBezTo>
                <a:cubicBezTo>
                  <a:pt x="844" y="364"/>
                  <a:pt x="843" y="364"/>
                  <a:pt x="843" y="364"/>
                </a:cubicBezTo>
                <a:cubicBezTo>
                  <a:pt x="842" y="364"/>
                  <a:pt x="842" y="365"/>
                  <a:pt x="841" y="364"/>
                </a:cubicBezTo>
                <a:cubicBezTo>
                  <a:pt x="840" y="363"/>
                  <a:pt x="839" y="365"/>
                  <a:pt x="838" y="364"/>
                </a:cubicBezTo>
                <a:cubicBezTo>
                  <a:pt x="837" y="363"/>
                  <a:pt x="834" y="364"/>
                  <a:pt x="833" y="364"/>
                </a:cubicBezTo>
                <a:cubicBezTo>
                  <a:pt x="833" y="365"/>
                  <a:pt x="833" y="365"/>
                  <a:pt x="832" y="365"/>
                </a:cubicBezTo>
                <a:cubicBezTo>
                  <a:pt x="832" y="365"/>
                  <a:pt x="832" y="365"/>
                  <a:pt x="832" y="365"/>
                </a:cubicBezTo>
                <a:cubicBezTo>
                  <a:pt x="830" y="365"/>
                  <a:pt x="826" y="364"/>
                  <a:pt x="825" y="365"/>
                </a:cubicBezTo>
                <a:cubicBezTo>
                  <a:pt x="824" y="366"/>
                  <a:pt x="823" y="365"/>
                  <a:pt x="822" y="367"/>
                </a:cubicBezTo>
                <a:cubicBezTo>
                  <a:pt x="822" y="367"/>
                  <a:pt x="822" y="367"/>
                  <a:pt x="822" y="367"/>
                </a:cubicBezTo>
                <a:cubicBezTo>
                  <a:pt x="821" y="368"/>
                  <a:pt x="822" y="368"/>
                  <a:pt x="821" y="368"/>
                </a:cubicBezTo>
                <a:cubicBezTo>
                  <a:pt x="820" y="368"/>
                  <a:pt x="820" y="368"/>
                  <a:pt x="819" y="368"/>
                </a:cubicBezTo>
                <a:cubicBezTo>
                  <a:pt x="818" y="368"/>
                  <a:pt x="818" y="369"/>
                  <a:pt x="817" y="369"/>
                </a:cubicBezTo>
                <a:cubicBezTo>
                  <a:pt x="817" y="369"/>
                  <a:pt x="817" y="369"/>
                  <a:pt x="817" y="370"/>
                </a:cubicBezTo>
                <a:cubicBezTo>
                  <a:pt x="816" y="370"/>
                  <a:pt x="815" y="369"/>
                  <a:pt x="815" y="369"/>
                </a:cubicBezTo>
                <a:cubicBezTo>
                  <a:pt x="814" y="371"/>
                  <a:pt x="813" y="370"/>
                  <a:pt x="812" y="370"/>
                </a:cubicBezTo>
                <a:cubicBezTo>
                  <a:pt x="812" y="370"/>
                  <a:pt x="812" y="371"/>
                  <a:pt x="811" y="371"/>
                </a:cubicBezTo>
                <a:cubicBezTo>
                  <a:pt x="811" y="371"/>
                  <a:pt x="811" y="371"/>
                  <a:pt x="811" y="372"/>
                </a:cubicBezTo>
                <a:cubicBezTo>
                  <a:pt x="811" y="372"/>
                  <a:pt x="811" y="372"/>
                  <a:pt x="811" y="372"/>
                </a:cubicBezTo>
                <a:cubicBezTo>
                  <a:pt x="810" y="373"/>
                  <a:pt x="810" y="374"/>
                  <a:pt x="808" y="374"/>
                </a:cubicBezTo>
                <a:cubicBezTo>
                  <a:pt x="808" y="374"/>
                  <a:pt x="807" y="373"/>
                  <a:pt x="807" y="374"/>
                </a:cubicBezTo>
                <a:cubicBezTo>
                  <a:pt x="807" y="374"/>
                  <a:pt x="807" y="374"/>
                  <a:pt x="807" y="374"/>
                </a:cubicBezTo>
                <a:cubicBezTo>
                  <a:pt x="806" y="374"/>
                  <a:pt x="807" y="374"/>
                  <a:pt x="807" y="374"/>
                </a:cubicBezTo>
                <a:cubicBezTo>
                  <a:pt x="806" y="374"/>
                  <a:pt x="805" y="374"/>
                  <a:pt x="804" y="374"/>
                </a:cubicBezTo>
                <a:cubicBezTo>
                  <a:pt x="804" y="373"/>
                  <a:pt x="804" y="374"/>
                  <a:pt x="804" y="373"/>
                </a:cubicBezTo>
                <a:cubicBezTo>
                  <a:pt x="804" y="373"/>
                  <a:pt x="804" y="373"/>
                  <a:pt x="804" y="372"/>
                </a:cubicBezTo>
                <a:cubicBezTo>
                  <a:pt x="803" y="373"/>
                  <a:pt x="802" y="373"/>
                  <a:pt x="802" y="373"/>
                </a:cubicBezTo>
                <a:cubicBezTo>
                  <a:pt x="802" y="374"/>
                  <a:pt x="801" y="373"/>
                  <a:pt x="801" y="374"/>
                </a:cubicBezTo>
                <a:cubicBezTo>
                  <a:pt x="800" y="374"/>
                  <a:pt x="799" y="374"/>
                  <a:pt x="797" y="374"/>
                </a:cubicBezTo>
                <a:cubicBezTo>
                  <a:pt x="797" y="375"/>
                  <a:pt x="793" y="374"/>
                  <a:pt x="793" y="373"/>
                </a:cubicBezTo>
                <a:cubicBezTo>
                  <a:pt x="792" y="372"/>
                  <a:pt x="791" y="371"/>
                  <a:pt x="791" y="370"/>
                </a:cubicBezTo>
                <a:cubicBezTo>
                  <a:pt x="791" y="370"/>
                  <a:pt x="790" y="370"/>
                  <a:pt x="790" y="370"/>
                </a:cubicBezTo>
                <a:cubicBezTo>
                  <a:pt x="790" y="371"/>
                  <a:pt x="789" y="371"/>
                  <a:pt x="789" y="371"/>
                </a:cubicBezTo>
                <a:cubicBezTo>
                  <a:pt x="788" y="372"/>
                  <a:pt x="788" y="372"/>
                  <a:pt x="788" y="373"/>
                </a:cubicBezTo>
                <a:cubicBezTo>
                  <a:pt x="787" y="375"/>
                  <a:pt x="788" y="373"/>
                  <a:pt x="787" y="374"/>
                </a:cubicBezTo>
                <a:cubicBezTo>
                  <a:pt x="787" y="374"/>
                  <a:pt x="787" y="374"/>
                  <a:pt x="787" y="375"/>
                </a:cubicBezTo>
                <a:cubicBezTo>
                  <a:pt x="786" y="375"/>
                  <a:pt x="786" y="375"/>
                  <a:pt x="786" y="376"/>
                </a:cubicBezTo>
                <a:cubicBezTo>
                  <a:pt x="786" y="376"/>
                  <a:pt x="786" y="377"/>
                  <a:pt x="786" y="377"/>
                </a:cubicBezTo>
                <a:cubicBezTo>
                  <a:pt x="786" y="378"/>
                  <a:pt x="786" y="377"/>
                  <a:pt x="786" y="377"/>
                </a:cubicBezTo>
                <a:cubicBezTo>
                  <a:pt x="786" y="378"/>
                  <a:pt x="785" y="379"/>
                  <a:pt x="785" y="379"/>
                </a:cubicBezTo>
                <a:cubicBezTo>
                  <a:pt x="785" y="380"/>
                  <a:pt x="785" y="380"/>
                  <a:pt x="784" y="380"/>
                </a:cubicBezTo>
                <a:cubicBezTo>
                  <a:pt x="784" y="381"/>
                  <a:pt x="784" y="381"/>
                  <a:pt x="784" y="382"/>
                </a:cubicBezTo>
                <a:cubicBezTo>
                  <a:pt x="784" y="382"/>
                  <a:pt x="782" y="383"/>
                  <a:pt x="782" y="383"/>
                </a:cubicBezTo>
                <a:cubicBezTo>
                  <a:pt x="782" y="383"/>
                  <a:pt x="782" y="383"/>
                  <a:pt x="781" y="384"/>
                </a:cubicBezTo>
                <a:cubicBezTo>
                  <a:pt x="781" y="384"/>
                  <a:pt x="781" y="384"/>
                  <a:pt x="781" y="384"/>
                </a:cubicBezTo>
                <a:cubicBezTo>
                  <a:pt x="781" y="384"/>
                  <a:pt x="780" y="384"/>
                  <a:pt x="780" y="384"/>
                </a:cubicBezTo>
                <a:cubicBezTo>
                  <a:pt x="780" y="384"/>
                  <a:pt x="780" y="385"/>
                  <a:pt x="780" y="385"/>
                </a:cubicBezTo>
                <a:cubicBezTo>
                  <a:pt x="779" y="385"/>
                  <a:pt x="778" y="385"/>
                  <a:pt x="778" y="385"/>
                </a:cubicBezTo>
                <a:cubicBezTo>
                  <a:pt x="778" y="386"/>
                  <a:pt x="778" y="386"/>
                  <a:pt x="778" y="386"/>
                </a:cubicBezTo>
                <a:cubicBezTo>
                  <a:pt x="777" y="386"/>
                  <a:pt x="776" y="385"/>
                  <a:pt x="776" y="386"/>
                </a:cubicBezTo>
                <a:cubicBezTo>
                  <a:pt x="775" y="387"/>
                  <a:pt x="775" y="386"/>
                  <a:pt x="774" y="387"/>
                </a:cubicBezTo>
                <a:cubicBezTo>
                  <a:pt x="774" y="389"/>
                  <a:pt x="772" y="389"/>
                  <a:pt x="772" y="390"/>
                </a:cubicBezTo>
                <a:cubicBezTo>
                  <a:pt x="772" y="391"/>
                  <a:pt x="772" y="391"/>
                  <a:pt x="772" y="392"/>
                </a:cubicBezTo>
                <a:cubicBezTo>
                  <a:pt x="772" y="392"/>
                  <a:pt x="772" y="393"/>
                  <a:pt x="772" y="393"/>
                </a:cubicBezTo>
                <a:cubicBezTo>
                  <a:pt x="771" y="393"/>
                  <a:pt x="771" y="393"/>
                  <a:pt x="771" y="393"/>
                </a:cubicBezTo>
                <a:cubicBezTo>
                  <a:pt x="771" y="394"/>
                  <a:pt x="771" y="394"/>
                  <a:pt x="770" y="395"/>
                </a:cubicBezTo>
                <a:cubicBezTo>
                  <a:pt x="770" y="395"/>
                  <a:pt x="770" y="395"/>
                  <a:pt x="770" y="395"/>
                </a:cubicBezTo>
                <a:cubicBezTo>
                  <a:pt x="770" y="396"/>
                  <a:pt x="770" y="397"/>
                  <a:pt x="770" y="397"/>
                </a:cubicBezTo>
                <a:cubicBezTo>
                  <a:pt x="770" y="398"/>
                  <a:pt x="769" y="398"/>
                  <a:pt x="769" y="398"/>
                </a:cubicBezTo>
                <a:cubicBezTo>
                  <a:pt x="769" y="399"/>
                  <a:pt x="769" y="399"/>
                  <a:pt x="769" y="399"/>
                </a:cubicBezTo>
                <a:cubicBezTo>
                  <a:pt x="769" y="400"/>
                  <a:pt x="769" y="401"/>
                  <a:pt x="769" y="401"/>
                </a:cubicBezTo>
                <a:cubicBezTo>
                  <a:pt x="770" y="402"/>
                  <a:pt x="770" y="402"/>
                  <a:pt x="770" y="403"/>
                </a:cubicBezTo>
                <a:cubicBezTo>
                  <a:pt x="770" y="404"/>
                  <a:pt x="771" y="405"/>
                  <a:pt x="770" y="406"/>
                </a:cubicBezTo>
                <a:cubicBezTo>
                  <a:pt x="770" y="406"/>
                  <a:pt x="770" y="407"/>
                  <a:pt x="770" y="407"/>
                </a:cubicBezTo>
                <a:cubicBezTo>
                  <a:pt x="769" y="407"/>
                  <a:pt x="769" y="408"/>
                  <a:pt x="769" y="408"/>
                </a:cubicBezTo>
                <a:cubicBezTo>
                  <a:pt x="769" y="409"/>
                  <a:pt x="768" y="409"/>
                  <a:pt x="768" y="410"/>
                </a:cubicBezTo>
                <a:cubicBezTo>
                  <a:pt x="768" y="411"/>
                  <a:pt x="767" y="411"/>
                  <a:pt x="767" y="412"/>
                </a:cubicBezTo>
                <a:cubicBezTo>
                  <a:pt x="767" y="412"/>
                  <a:pt x="767" y="412"/>
                  <a:pt x="767" y="412"/>
                </a:cubicBezTo>
                <a:cubicBezTo>
                  <a:pt x="766" y="414"/>
                  <a:pt x="765" y="415"/>
                  <a:pt x="763" y="415"/>
                </a:cubicBezTo>
                <a:cubicBezTo>
                  <a:pt x="762" y="416"/>
                  <a:pt x="762" y="417"/>
                  <a:pt x="761" y="418"/>
                </a:cubicBezTo>
                <a:cubicBezTo>
                  <a:pt x="760" y="418"/>
                  <a:pt x="759" y="418"/>
                  <a:pt x="759" y="419"/>
                </a:cubicBezTo>
                <a:cubicBezTo>
                  <a:pt x="759" y="420"/>
                  <a:pt x="758" y="419"/>
                  <a:pt x="757" y="420"/>
                </a:cubicBezTo>
                <a:cubicBezTo>
                  <a:pt x="757" y="421"/>
                  <a:pt x="757" y="421"/>
                  <a:pt x="757" y="422"/>
                </a:cubicBezTo>
                <a:cubicBezTo>
                  <a:pt x="756" y="422"/>
                  <a:pt x="755" y="421"/>
                  <a:pt x="755" y="421"/>
                </a:cubicBezTo>
                <a:cubicBezTo>
                  <a:pt x="754" y="421"/>
                  <a:pt x="754" y="422"/>
                  <a:pt x="753" y="423"/>
                </a:cubicBezTo>
                <a:cubicBezTo>
                  <a:pt x="753" y="423"/>
                  <a:pt x="752" y="424"/>
                  <a:pt x="752" y="424"/>
                </a:cubicBezTo>
                <a:cubicBezTo>
                  <a:pt x="752" y="424"/>
                  <a:pt x="752" y="425"/>
                  <a:pt x="752" y="425"/>
                </a:cubicBezTo>
                <a:cubicBezTo>
                  <a:pt x="752" y="425"/>
                  <a:pt x="752" y="425"/>
                  <a:pt x="752" y="426"/>
                </a:cubicBezTo>
                <a:cubicBezTo>
                  <a:pt x="752" y="427"/>
                  <a:pt x="751" y="426"/>
                  <a:pt x="751" y="427"/>
                </a:cubicBezTo>
                <a:cubicBezTo>
                  <a:pt x="750" y="428"/>
                  <a:pt x="750" y="428"/>
                  <a:pt x="749" y="429"/>
                </a:cubicBezTo>
                <a:cubicBezTo>
                  <a:pt x="749" y="429"/>
                  <a:pt x="748" y="429"/>
                  <a:pt x="748" y="430"/>
                </a:cubicBezTo>
                <a:cubicBezTo>
                  <a:pt x="748" y="430"/>
                  <a:pt x="748" y="430"/>
                  <a:pt x="748" y="430"/>
                </a:cubicBezTo>
                <a:cubicBezTo>
                  <a:pt x="747" y="431"/>
                  <a:pt x="747" y="432"/>
                  <a:pt x="747" y="432"/>
                </a:cubicBezTo>
                <a:cubicBezTo>
                  <a:pt x="747" y="433"/>
                  <a:pt x="747" y="433"/>
                  <a:pt x="747" y="433"/>
                </a:cubicBezTo>
                <a:cubicBezTo>
                  <a:pt x="746" y="433"/>
                  <a:pt x="747" y="434"/>
                  <a:pt x="747" y="434"/>
                </a:cubicBezTo>
                <a:cubicBezTo>
                  <a:pt x="747" y="434"/>
                  <a:pt x="746" y="435"/>
                  <a:pt x="746" y="435"/>
                </a:cubicBezTo>
                <a:cubicBezTo>
                  <a:pt x="746" y="435"/>
                  <a:pt x="746" y="435"/>
                  <a:pt x="746" y="435"/>
                </a:cubicBezTo>
                <a:cubicBezTo>
                  <a:pt x="746" y="435"/>
                  <a:pt x="745" y="437"/>
                  <a:pt x="745" y="437"/>
                </a:cubicBezTo>
                <a:cubicBezTo>
                  <a:pt x="745" y="438"/>
                  <a:pt x="745" y="438"/>
                  <a:pt x="745" y="438"/>
                </a:cubicBezTo>
                <a:cubicBezTo>
                  <a:pt x="745" y="438"/>
                  <a:pt x="744" y="438"/>
                  <a:pt x="744" y="438"/>
                </a:cubicBezTo>
                <a:cubicBezTo>
                  <a:pt x="744" y="440"/>
                  <a:pt x="744" y="439"/>
                  <a:pt x="743" y="441"/>
                </a:cubicBezTo>
                <a:cubicBezTo>
                  <a:pt x="743" y="442"/>
                  <a:pt x="742" y="441"/>
                  <a:pt x="742" y="442"/>
                </a:cubicBezTo>
                <a:cubicBezTo>
                  <a:pt x="742" y="442"/>
                  <a:pt x="742" y="442"/>
                  <a:pt x="742" y="442"/>
                </a:cubicBezTo>
                <a:cubicBezTo>
                  <a:pt x="742" y="443"/>
                  <a:pt x="742" y="443"/>
                  <a:pt x="741" y="443"/>
                </a:cubicBezTo>
                <a:cubicBezTo>
                  <a:pt x="741" y="444"/>
                  <a:pt x="742" y="444"/>
                  <a:pt x="741" y="444"/>
                </a:cubicBezTo>
                <a:cubicBezTo>
                  <a:pt x="741" y="444"/>
                  <a:pt x="741" y="445"/>
                  <a:pt x="741" y="445"/>
                </a:cubicBezTo>
                <a:cubicBezTo>
                  <a:pt x="740" y="445"/>
                  <a:pt x="740" y="446"/>
                  <a:pt x="740" y="447"/>
                </a:cubicBezTo>
                <a:cubicBezTo>
                  <a:pt x="739" y="447"/>
                  <a:pt x="739" y="447"/>
                  <a:pt x="739" y="448"/>
                </a:cubicBezTo>
                <a:cubicBezTo>
                  <a:pt x="739" y="448"/>
                  <a:pt x="739" y="449"/>
                  <a:pt x="739" y="449"/>
                </a:cubicBezTo>
                <a:cubicBezTo>
                  <a:pt x="738" y="449"/>
                  <a:pt x="738" y="450"/>
                  <a:pt x="738" y="451"/>
                </a:cubicBezTo>
                <a:cubicBezTo>
                  <a:pt x="738" y="452"/>
                  <a:pt x="738" y="452"/>
                  <a:pt x="737" y="452"/>
                </a:cubicBezTo>
                <a:cubicBezTo>
                  <a:pt x="736" y="452"/>
                  <a:pt x="736" y="453"/>
                  <a:pt x="736" y="453"/>
                </a:cubicBezTo>
                <a:cubicBezTo>
                  <a:pt x="736" y="453"/>
                  <a:pt x="736" y="454"/>
                  <a:pt x="736" y="455"/>
                </a:cubicBezTo>
                <a:cubicBezTo>
                  <a:pt x="735" y="455"/>
                  <a:pt x="736" y="456"/>
                  <a:pt x="735" y="456"/>
                </a:cubicBezTo>
                <a:cubicBezTo>
                  <a:pt x="735" y="456"/>
                  <a:pt x="735" y="458"/>
                  <a:pt x="735" y="458"/>
                </a:cubicBezTo>
                <a:cubicBezTo>
                  <a:pt x="736" y="458"/>
                  <a:pt x="736" y="459"/>
                  <a:pt x="737" y="459"/>
                </a:cubicBezTo>
                <a:cubicBezTo>
                  <a:pt x="737" y="460"/>
                  <a:pt x="737" y="460"/>
                  <a:pt x="737" y="461"/>
                </a:cubicBezTo>
                <a:cubicBezTo>
                  <a:pt x="738" y="461"/>
                  <a:pt x="738" y="461"/>
                  <a:pt x="738" y="461"/>
                </a:cubicBezTo>
                <a:cubicBezTo>
                  <a:pt x="738" y="462"/>
                  <a:pt x="738" y="461"/>
                  <a:pt x="738" y="462"/>
                </a:cubicBezTo>
                <a:cubicBezTo>
                  <a:pt x="738" y="462"/>
                  <a:pt x="738" y="463"/>
                  <a:pt x="738" y="463"/>
                </a:cubicBezTo>
                <a:cubicBezTo>
                  <a:pt x="737" y="464"/>
                  <a:pt x="738" y="464"/>
                  <a:pt x="738" y="464"/>
                </a:cubicBezTo>
                <a:cubicBezTo>
                  <a:pt x="738" y="466"/>
                  <a:pt x="738" y="466"/>
                  <a:pt x="737" y="467"/>
                </a:cubicBezTo>
                <a:cubicBezTo>
                  <a:pt x="737" y="467"/>
                  <a:pt x="737" y="468"/>
                  <a:pt x="737" y="469"/>
                </a:cubicBezTo>
                <a:cubicBezTo>
                  <a:pt x="737" y="469"/>
                  <a:pt x="738" y="470"/>
                  <a:pt x="738" y="470"/>
                </a:cubicBezTo>
                <a:cubicBezTo>
                  <a:pt x="739" y="470"/>
                  <a:pt x="738" y="471"/>
                  <a:pt x="739" y="471"/>
                </a:cubicBezTo>
                <a:cubicBezTo>
                  <a:pt x="739" y="472"/>
                  <a:pt x="739" y="473"/>
                  <a:pt x="739" y="474"/>
                </a:cubicBezTo>
                <a:cubicBezTo>
                  <a:pt x="739" y="475"/>
                  <a:pt x="738" y="475"/>
                  <a:pt x="739" y="476"/>
                </a:cubicBezTo>
                <a:cubicBezTo>
                  <a:pt x="740" y="477"/>
                  <a:pt x="739" y="476"/>
                  <a:pt x="739" y="477"/>
                </a:cubicBezTo>
                <a:cubicBezTo>
                  <a:pt x="739" y="478"/>
                  <a:pt x="739" y="479"/>
                  <a:pt x="739" y="481"/>
                </a:cubicBezTo>
                <a:cubicBezTo>
                  <a:pt x="738" y="481"/>
                  <a:pt x="739" y="481"/>
                  <a:pt x="739" y="482"/>
                </a:cubicBezTo>
                <a:cubicBezTo>
                  <a:pt x="739" y="482"/>
                  <a:pt x="738" y="482"/>
                  <a:pt x="738" y="482"/>
                </a:cubicBezTo>
                <a:cubicBezTo>
                  <a:pt x="738" y="482"/>
                  <a:pt x="738" y="483"/>
                  <a:pt x="738" y="483"/>
                </a:cubicBezTo>
                <a:cubicBezTo>
                  <a:pt x="738" y="483"/>
                  <a:pt x="738" y="484"/>
                  <a:pt x="738" y="484"/>
                </a:cubicBezTo>
                <a:cubicBezTo>
                  <a:pt x="737" y="485"/>
                  <a:pt x="738" y="482"/>
                  <a:pt x="737" y="485"/>
                </a:cubicBezTo>
                <a:cubicBezTo>
                  <a:pt x="737" y="486"/>
                  <a:pt x="737" y="486"/>
                  <a:pt x="737" y="487"/>
                </a:cubicBezTo>
                <a:cubicBezTo>
                  <a:pt x="738" y="487"/>
                  <a:pt x="737" y="489"/>
                  <a:pt x="737" y="489"/>
                </a:cubicBezTo>
                <a:cubicBezTo>
                  <a:pt x="737" y="490"/>
                  <a:pt x="736" y="491"/>
                  <a:pt x="736" y="491"/>
                </a:cubicBezTo>
                <a:cubicBezTo>
                  <a:pt x="736" y="492"/>
                  <a:pt x="735" y="492"/>
                  <a:pt x="735" y="493"/>
                </a:cubicBezTo>
                <a:cubicBezTo>
                  <a:pt x="735" y="494"/>
                  <a:pt x="734" y="494"/>
                  <a:pt x="733" y="494"/>
                </a:cubicBezTo>
                <a:cubicBezTo>
                  <a:pt x="734" y="495"/>
                  <a:pt x="734" y="495"/>
                  <a:pt x="734" y="495"/>
                </a:cubicBezTo>
                <a:cubicBezTo>
                  <a:pt x="735" y="495"/>
                  <a:pt x="735" y="497"/>
                  <a:pt x="735" y="497"/>
                </a:cubicBezTo>
                <a:cubicBezTo>
                  <a:pt x="735" y="498"/>
                  <a:pt x="735" y="499"/>
                  <a:pt x="736" y="500"/>
                </a:cubicBezTo>
                <a:cubicBezTo>
                  <a:pt x="737" y="500"/>
                  <a:pt x="737" y="501"/>
                  <a:pt x="737" y="502"/>
                </a:cubicBezTo>
                <a:cubicBezTo>
                  <a:pt x="737" y="502"/>
                  <a:pt x="737" y="502"/>
                  <a:pt x="736" y="502"/>
                </a:cubicBezTo>
                <a:cubicBezTo>
                  <a:pt x="736" y="503"/>
                  <a:pt x="736" y="504"/>
                  <a:pt x="737" y="504"/>
                </a:cubicBezTo>
                <a:cubicBezTo>
                  <a:pt x="738" y="505"/>
                  <a:pt x="737" y="505"/>
                  <a:pt x="737" y="505"/>
                </a:cubicBezTo>
                <a:cubicBezTo>
                  <a:pt x="737" y="506"/>
                  <a:pt x="737" y="507"/>
                  <a:pt x="738" y="507"/>
                </a:cubicBezTo>
                <a:cubicBezTo>
                  <a:pt x="738" y="508"/>
                  <a:pt x="738" y="508"/>
                  <a:pt x="739" y="509"/>
                </a:cubicBezTo>
                <a:cubicBezTo>
                  <a:pt x="739" y="509"/>
                  <a:pt x="740" y="509"/>
                  <a:pt x="740" y="509"/>
                </a:cubicBezTo>
                <a:cubicBezTo>
                  <a:pt x="741" y="509"/>
                  <a:pt x="740" y="510"/>
                  <a:pt x="741" y="510"/>
                </a:cubicBezTo>
                <a:cubicBezTo>
                  <a:pt x="741" y="510"/>
                  <a:pt x="742" y="510"/>
                  <a:pt x="742" y="510"/>
                </a:cubicBezTo>
                <a:cubicBezTo>
                  <a:pt x="742" y="510"/>
                  <a:pt x="742" y="511"/>
                  <a:pt x="742" y="511"/>
                </a:cubicBezTo>
                <a:cubicBezTo>
                  <a:pt x="743" y="511"/>
                  <a:pt x="742" y="512"/>
                  <a:pt x="742" y="512"/>
                </a:cubicBezTo>
                <a:cubicBezTo>
                  <a:pt x="742" y="513"/>
                  <a:pt x="744" y="513"/>
                  <a:pt x="744" y="514"/>
                </a:cubicBezTo>
                <a:cubicBezTo>
                  <a:pt x="745" y="514"/>
                  <a:pt x="744" y="514"/>
                  <a:pt x="745" y="514"/>
                </a:cubicBezTo>
                <a:cubicBezTo>
                  <a:pt x="745" y="514"/>
                  <a:pt x="745" y="514"/>
                  <a:pt x="746" y="515"/>
                </a:cubicBezTo>
                <a:cubicBezTo>
                  <a:pt x="746" y="515"/>
                  <a:pt x="746" y="516"/>
                  <a:pt x="747" y="516"/>
                </a:cubicBezTo>
                <a:cubicBezTo>
                  <a:pt x="748" y="516"/>
                  <a:pt x="747" y="517"/>
                  <a:pt x="747" y="517"/>
                </a:cubicBezTo>
                <a:cubicBezTo>
                  <a:pt x="747" y="517"/>
                  <a:pt x="747" y="518"/>
                  <a:pt x="747" y="518"/>
                </a:cubicBezTo>
                <a:cubicBezTo>
                  <a:pt x="748" y="518"/>
                  <a:pt x="748" y="519"/>
                  <a:pt x="748" y="519"/>
                </a:cubicBezTo>
                <a:cubicBezTo>
                  <a:pt x="748" y="519"/>
                  <a:pt x="749" y="519"/>
                  <a:pt x="750" y="520"/>
                </a:cubicBezTo>
                <a:cubicBezTo>
                  <a:pt x="749" y="521"/>
                  <a:pt x="749" y="522"/>
                  <a:pt x="749" y="523"/>
                </a:cubicBezTo>
                <a:cubicBezTo>
                  <a:pt x="750" y="522"/>
                  <a:pt x="750" y="523"/>
                  <a:pt x="750" y="523"/>
                </a:cubicBezTo>
                <a:cubicBezTo>
                  <a:pt x="750" y="525"/>
                  <a:pt x="750" y="524"/>
                  <a:pt x="751" y="525"/>
                </a:cubicBezTo>
                <a:cubicBezTo>
                  <a:pt x="752" y="525"/>
                  <a:pt x="752" y="525"/>
                  <a:pt x="752" y="526"/>
                </a:cubicBezTo>
                <a:cubicBezTo>
                  <a:pt x="752" y="527"/>
                  <a:pt x="752" y="527"/>
                  <a:pt x="752" y="528"/>
                </a:cubicBezTo>
                <a:cubicBezTo>
                  <a:pt x="752" y="528"/>
                  <a:pt x="752" y="529"/>
                  <a:pt x="752" y="529"/>
                </a:cubicBezTo>
                <a:cubicBezTo>
                  <a:pt x="753" y="529"/>
                  <a:pt x="753" y="529"/>
                  <a:pt x="753" y="529"/>
                </a:cubicBezTo>
                <a:cubicBezTo>
                  <a:pt x="753" y="530"/>
                  <a:pt x="754" y="529"/>
                  <a:pt x="754" y="530"/>
                </a:cubicBezTo>
                <a:cubicBezTo>
                  <a:pt x="754" y="530"/>
                  <a:pt x="753" y="530"/>
                  <a:pt x="753" y="531"/>
                </a:cubicBezTo>
                <a:cubicBezTo>
                  <a:pt x="753" y="531"/>
                  <a:pt x="752" y="530"/>
                  <a:pt x="752" y="531"/>
                </a:cubicBezTo>
                <a:cubicBezTo>
                  <a:pt x="752" y="531"/>
                  <a:pt x="754" y="532"/>
                  <a:pt x="755" y="532"/>
                </a:cubicBezTo>
                <a:cubicBezTo>
                  <a:pt x="755" y="532"/>
                  <a:pt x="755" y="533"/>
                  <a:pt x="755" y="533"/>
                </a:cubicBezTo>
                <a:cubicBezTo>
                  <a:pt x="755" y="534"/>
                  <a:pt x="756" y="534"/>
                  <a:pt x="756" y="535"/>
                </a:cubicBezTo>
                <a:cubicBezTo>
                  <a:pt x="757" y="535"/>
                  <a:pt x="757" y="537"/>
                  <a:pt x="757" y="537"/>
                </a:cubicBezTo>
                <a:cubicBezTo>
                  <a:pt x="758" y="537"/>
                  <a:pt x="758" y="537"/>
                  <a:pt x="758" y="538"/>
                </a:cubicBezTo>
                <a:cubicBezTo>
                  <a:pt x="759" y="538"/>
                  <a:pt x="759" y="538"/>
                  <a:pt x="759" y="538"/>
                </a:cubicBezTo>
                <a:cubicBezTo>
                  <a:pt x="761" y="538"/>
                  <a:pt x="761" y="538"/>
                  <a:pt x="761" y="539"/>
                </a:cubicBezTo>
                <a:cubicBezTo>
                  <a:pt x="762" y="540"/>
                  <a:pt x="762" y="541"/>
                  <a:pt x="763" y="541"/>
                </a:cubicBezTo>
                <a:cubicBezTo>
                  <a:pt x="764" y="541"/>
                  <a:pt x="763" y="541"/>
                  <a:pt x="763" y="542"/>
                </a:cubicBezTo>
                <a:cubicBezTo>
                  <a:pt x="763" y="542"/>
                  <a:pt x="764" y="542"/>
                  <a:pt x="764" y="542"/>
                </a:cubicBezTo>
                <a:cubicBezTo>
                  <a:pt x="764" y="543"/>
                  <a:pt x="764" y="543"/>
                  <a:pt x="765" y="543"/>
                </a:cubicBezTo>
                <a:cubicBezTo>
                  <a:pt x="766" y="543"/>
                  <a:pt x="766" y="543"/>
                  <a:pt x="766" y="544"/>
                </a:cubicBezTo>
                <a:cubicBezTo>
                  <a:pt x="767" y="544"/>
                  <a:pt x="768" y="544"/>
                  <a:pt x="768" y="545"/>
                </a:cubicBezTo>
                <a:cubicBezTo>
                  <a:pt x="769" y="546"/>
                  <a:pt x="769" y="546"/>
                  <a:pt x="770" y="546"/>
                </a:cubicBezTo>
                <a:cubicBezTo>
                  <a:pt x="770" y="546"/>
                  <a:pt x="770" y="547"/>
                  <a:pt x="770" y="547"/>
                </a:cubicBezTo>
                <a:cubicBezTo>
                  <a:pt x="771" y="548"/>
                  <a:pt x="772" y="549"/>
                  <a:pt x="772" y="549"/>
                </a:cubicBezTo>
                <a:cubicBezTo>
                  <a:pt x="773" y="549"/>
                  <a:pt x="773" y="550"/>
                  <a:pt x="774" y="550"/>
                </a:cubicBezTo>
                <a:cubicBezTo>
                  <a:pt x="774" y="550"/>
                  <a:pt x="774" y="551"/>
                  <a:pt x="775" y="551"/>
                </a:cubicBezTo>
                <a:cubicBezTo>
                  <a:pt x="775" y="551"/>
                  <a:pt x="776" y="551"/>
                  <a:pt x="776" y="551"/>
                </a:cubicBezTo>
                <a:cubicBezTo>
                  <a:pt x="776" y="552"/>
                  <a:pt x="778" y="553"/>
                  <a:pt x="779" y="553"/>
                </a:cubicBezTo>
                <a:cubicBezTo>
                  <a:pt x="781" y="553"/>
                  <a:pt x="784" y="551"/>
                  <a:pt x="786" y="550"/>
                </a:cubicBezTo>
                <a:cubicBezTo>
                  <a:pt x="787" y="549"/>
                  <a:pt x="787" y="548"/>
                  <a:pt x="788" y="548"/>
                </a:cubicBezTo>
                <a:cubicBezTo>
                  <a:pt x="790" y="548"/>
                  <a:pt x="792" y="548"/>
                  <a:pt x="793" y="548"/>
                </a:cubicBezTo>
                <a:cubicBezTo>
                  <a:pt x="794" y="548"/>
                  <a:pt x="794" y="548"/>
                  <a:pt x="795" y="548"/>
                </a:cubicBezTo>
                <a:cubicBezTo>
                  <a:pt x="795" y="548"/>
                  <a:pt x="795" y="548"/>
                  <a:pt x="795" y="548"/>
                </a:cubicBezTo>
                <a:cubicBezTo>
                  <a:pt x="796" y="549"/>
                  <a:pt x="797" y="549"/>
                  <a:pt x="797" y="549"/>
                </a:cubicBezTo>
                <a:cubicBezTo>
                  <a:pt x="798" y="549"/>
                  <a:pt x="798" y="550"/>
                  <a:pt x="798" y="550"/>
                </a:cubicBezTo>
                <a:cubicBezTo>
                  <a:pt x="798" y="550"/>
                  <a:pt x="799" y="550"/>
                  <a:pt x="799" y="550"/>
                </a:cubicBezTo>
                <a:cubicBezTo>
                  <a:pt x="799" y="550"/>
                  <a:pt x="802" y="550"/>
                  <a:pt x="802" y="549"/>
                </a:cubicBezTo>
                <a:cubicBezTo>
                  <a:pt x="802" y="549"/>
                  <a:pt x="805" y="548"/>
                  <a:pt x="806" y="548"/>
                </a:cubicBezTo>
                <a:cubicBezTo>
                  <a:pt x="806" y="548"/>
                  <a:pt x="806" y="548"/>
                  <a:pt x="807" y="548"/>
                </a:cubicBezTo>
                <a:cubicBezTo>
                  <a:pt x="808" y="548"/>
                  <a:pt x="808" y="548"/>
                  <a:pt x="809" y="547"/>
                </a:cubicBezTo>
                <a:cubicBezTo>
                  <a:pt x="809" y="546"/>
                  <a:pt x="810" y="547"/>
                  <a:pt x="810" y="547"/>
                </a:cubicBezTo>
                <a:cubicBezTo>
                  <a:pt x="811" y="547"/>
                  <a:pt x="810" y="546"/>
                  <a:pt x="810" y="546"/>
                </a:cubicBezTo>
                <a:cubicBezTo>
                  <a:pt x="811" y="546"/>
                  <a:pt x="811" y="546"/>
                  <a:pt x="811" y="546"/>
                </a:cubicBezTo>
                <a:cubicBezTo>
                  <a:pt x="812" y="546"/>
                  <a:pt x="813" y="546"/>
                  <a:pt x="814" y="546"/>
                </a:cubicBezTo>
                <a:cubicBezTo>
                  <a:pt x="814" y="546"/>
                  <a:pt x="815" y="546"/>
                  <a:pt x="815" y="546"/>
                </a:cubicBezTo>
                <a:cubicBezTo>
                  <a:pt x="815" y="546"/>
                  <a:pt x="815" y="546"/>
                  <a:pt x="815" y="546"/>
                </a:cubicBezTo>
                <a:cubicBezTo>
                  <a:pt x="816" y="545"/>
                  <a:pt x="816" y="546"/>
                  <a:pt x="817" y="545"/>
                </a:cubicBezTo>
                <a:cubicBezTo>
                  <a:pt x="817" y="545"/>
                  <a:pt x="818" y="545"/>
                  <a:pt x="819" y="545"/>
                </a:cubicBezTo>
                <a:cubicBezTo>
                  <a:pt x="819" y="544"/>
                  <a:pt x="819" y="543"/>
                  <a:pt x="819" y="543"/>
                </a:cubicBezTo>
                <a:cubicBezTo>
                  <a:pt x="818" y="542"/>
                  <a:pt x="818" y="542"/>
                  <a:pt x="818" y="542"/>
                </a:cubicBezTo>
                <a:cubicBezTo>
                  <a:pt x="818" y="542"/>
                  <a:pt x="818" y="542"/>
                  <a:pt x="819" y="542"/>
                </a:cubicBezTo>
                <a:cubicBezTo>
                  <a:pt x="820" y="542"/>
                  <a:pt x="819" y="543"/>
                  <a:pt x="820" y="543"/>
                </a:cubicBezTo>
                <a:cubicBezTo>
                  <a:pt x="820" y="544"/>
                  <a:pt x="820" y="544"/>
                  <a:pt x="821" y="544"/>
                </a:cubicBezTo>
                <a:cubicBezTo>
                  <a:pt x="821" y="543"/>
                  <a:pt x="822" y="542"/>
                  <a:pt x="822" y="542"/>
                </a:cubicBezTo>
                <a:cubicBezTo>
                  <a:pt x="822" y="542"/>
                  <a:pt x="823" y="543"/>
                  <a:pt x="823" y="543"/>
                </a:cubicBezTo>
                <a:cubicBezTo>
                  <a:pt x="822" y="544"/>
                  <a:pt x="821" y="544"/>
                  <a:pt x="822" y="544"/>
                </a:cubicBezTo>
                <a:cubicBezTo>
                  <a:pt x="822" y="544"/>
                  <a:pt x="824" y="544"/>
                  <a:pt x="823" y="543"/>
                </a:cubicBezTo>
                <a:cubicBezTo>
                  <a:pt x="824" y="543"/>
                  <a:pt x="824" y="543"/>
                  <a:pt x="824" y="543"/>
                </a:cubicBezTo>
                <a:cubicBezTo>
                  <a:pt x="824" y="543"/>
                  <a:pt x="825" y="543"/>
                  <a:pt x="825" y="543"/>
                </a:cubicBezTo>
                <a:cubicBezTo>
                  <a:pt x="825" y="543"/>
                  <a:pt x="826" y="542"/>
                  <a:pt x="826" y="541"/>
                </a:cubicBezTo>
                <a:cubicBezTo>
                  <a:pt x="827" y="541"/>
                  <a:pt x="829" y="541"/>
                  <a:pt x="830" y="541"/>
                </a:cubicBezTo>
                <a:cubicBezTo>
                  <a:pt x="830" y="540"/>
                  <a:pt x="830" y="540"/>
                  <a:pt x="831" y="540"/>
                </a:cubicBezTo>
                <a:cubicBezTo>
                  <a:pt x="831" y="540"/>
                  <a:pt x="831" y="540"/>
                  <a:pt x="831" y="540"/>
                </a:cubicBezTo>
                <a:cubicBezTo>
                  <a:pt x="831" y="539"/>
                  <a:pt x="833" y="539"/>
                  <a:pt x="833" y="540"/>
                </a:cubicBezTo>
                <a:cubicBezTo>
                  <a:pt x="833" y="540"/>
                  <a:pt x="832" y="540"/>
                  <a:pt x="832" y="540"/>
                </a:cubicBezTo>
                <a:cubicBezTo>
                  <a:pt x="832" y="541"/>
                  <a:pt x="833" y="541"/>
                  <a:pt x="833" y="541"/>
                </a:cubicBezTo>
                <a:cubicBezTo>
                  <a:pt x="834" y="541"/>
                  <a:pt x="836" y="541"/>
                  <a:pt x="837" y="541"/>
                </a:cubicBezTo>
                <a:cubicBezTo>
                  <a:pt x="837" y="541"/>
                  <a:pt x="837" y="541"/>
                  <a:pt x="838" y="541"/>
                </a:cubicBezTo>
                <a:cubicBezTo>
                  <a:pt x="838" y="542"/>
                  <a:pt x="839" y="542"/>
                  <a:pt x="839" y="542"/>
                </a:cubicBezTo>
                <a:cubicBezTo>
                  <a:pt x="839" y="543"/>
                  <a:pt x="839" y="543"/>
                  <a:pt x="840" y="543"/>
                </a:cubicBezTo>
                <a:cubicBezTo>
                  <a:pt x="841" y="543"/>
                  <a:pt x="842" y="543"/>
                  <a:pt x="842" y="544"/>
                </a:cubicBezTo>
                <a:cubicBezTo>
                  <a:pt x="842" y="544"/>
                  <a:pt x="842" y="545"/>
                  <a:pt x="842" y="545"/>
                </a:cubicBezTo>
                <a:cubicBezTo>
                  <a:pt x="843" y="545"/>
                  <a:pt x="843" y="546"/>
                  <a:pt x="844" y="547"/>
                </a:cubicBezTo>
                <a:cubicBezTo>
                  <a:pt x="843" y="547"/>
                  <a:pt x="843" y="548"/>
                  <a:pt x="842" y="548"/>
                </a:cubicBezTo>
                <a:cubicBezTo>
                  <a:pt x="842" y="548"/>
                  <a:pt x="842" y="549"/>
                  <a:pt x="842" y="549"/>
                </a:cubicBezTo>
                <a:cubicBezTo>
                  <a:pt x="843" y="549"/>
                  <a:pt x="843" y="549"/>
                  <a:pt x="843" y="549"/>
                </a:cubicBezTo>
                <a:cubicBezTo>
                  <a:pt x="843" y="549"/>
                  <a:pt x="843" y="550"/>
                  <a:pt x="843" y="550"/>
                </a:cubicBezTo>
                <a:cubicBezTo>
                  <a:pt x="843" y="550"/>
                  <a:pt x="843" y="550"/>
                  <a:pt x="843" y="550"/>
                </a:cubicBezTo>
                <a:cubicBezTo>
                  <a:pt x="843" y="551"/>
                  <a:pt x="845" y="552"/>
                  <a:pt x="845" y="553"/>
                </a:cubicBezTo>
                <a:cubicBezTo>
                  <a:pt x="846" y="553"/>
                  <a:pt x="849" y="553"/>
                  <a:pt x="849" y="552"/>
                </a:cubicBezTo>
                <a:cubicBezTo>
                  <a:pt x="849" y="552"/>
                  <a:pt x="851" y="552"/>
                  <a:pt x="851" y="551"/>
                </a:cubicBezTo>
                <a:cubicBezTo>
                  <a:pt x="851" y="551"/>
                  <a:pt x="852" y="552"/>
                  <a:pt x="852" y="551"/>
                </a:cubicBezTo>
                <a:cubicBezTo>
                  <a:pt x="852" y="550"/>
                  <a:pt x="853" y="551"/>
                  <a:pt x="853" y="550"/>
                </a:cubicBezTo>
                <a:cubicBezTo>
                  <a:pt x="854" y="550"/>
                  <a:pt x="855" y="550"/>
                  <a:pt x="855" y="550"/>
                </a:cubicBezTo>
                <a:cubicBezTo>
                  <a:pt x="855" y="551"/>
                  <a:pt x="855" y="551"/>
                  <a:pt x="855" y="551"/>
                </a:cubicBezTo>
                <a:cubicBezTo>
                  <a:pt x="856" y="551"/>
                  <a:pt x="856" y="551"/>
                  <a:pt x="856" y="551"/>
                </a:cubicBezTo>
                <a:cubicBezTo>
                  <a:pt x="856" y="549"/>
                  <a:pt x="857" y="551"/>
                  <a:pt x="857" y="551"/>
                </a:cubicBezTo>
                <a:cubicBezTo>
                  <a:pt x="858" y="551"/>
                  <a:pt x="858" y="550"/>
                  <a:pt x="859" y="550"/>
                </a:cubicBezTo>
                <a:cubicBezTo>
                  <a:pt x="859" y="551"/>
                  <a:pt x="859" y="552"/>
                  <a:pt x="859" y="553"/>
                </a:cubicBezTo>
                <a:cubicBezTo>
                  <a:pt x="859" y="553"/>
                  <a:pt x="860" y="554"/>
                  <a:pt x="861" y="553"/>
                </a:cubicBezTo>
                <a:cubicBezTo>
                  <a:pt x="861" y="553"/>
                  <a:pt x="862" y="552"/>
                  <a:pt x="863" y="553"/>
                </a:cubicBezTo>
                <a:cubicBezTo>
                  <a:pt x="863" y="553"/>
                  <a:pt x="862" y="554"/>
                  <a:pt x="862" y="553"/>
                </a:cubicBezTo>
                <a:cubicBezTo>
                  <a:pt x="862" y="554"/>
                  <a:pt x="862" y="554"/>
                  <a:pt x="862" y="555"/>
                </a:cubicBezTo>
                <a:cubicBezTo>
                  <a:pt x="862" y="555"/>
                  <a:pt x="862" y="555"/>
                  <a:pt x="862" y="555"/>
                </a:cubicBezTo>
                <a:cubicBezTo>
                  <a:pt x="862" y="556"/>
                  <a:pt x="862" y="556"/>
                  <a:pt x="862" y="556"/>
                </a:cubicBezTo>
                <a:cubicBezTo>
                  <a:pt x="862" y="557"/>
                  <a:pt x="863" y="557"/>
                  <a:pt x="863" y="557"/>
                </a:cubicBezTo>
                <a:cubicBezTo>
                  <a:pt x="863" y="558"/>
                  <a:pt x="863" y="558"/>
                  <a:pt x="864" y="558"/>
                </a:cubicBezTo>
                <a:cubicBezTo>
                  <a:pt x="864" y="559"/>
                  <a:pt x="863" y="559"/>
                  <a:pt x="863" y="559"/>
                </a:cubicBezTo>
                <a:cubicBezTo>
                  <a:pt x="863" y="560"/>
                  <a:pt x="863" y="560"/>
                  <a:pt x="863" y="561"/>
                </a:cubicBezTo>
                <a:cubicBezTo>
                  <a:pt x="863" y="561"/>
                  <a:pt x="863" y="561"/>
                  <a:pt x="863" y="561"/>
                </a:cubicBezTo>
                <a:cubicBezTo>
                  <a:pt x="863" y="562"/>
                  <a:pt x="863" y="563"/>
                  <a:pt x="863" y="563"/>
                </a:cubicBezTo>
                <a:cubicBezTo>
                  <a:pt x="862" y="564"/>
                  <a:pt x="862" y="564"/>
                  <a:pt x="863" y="565"/>
                </a:cubicBezTo>
                <a:cubicBezTo>
                  <a:pt x="863" y="566"/>
                  <a:pt x="862" y="566"/>
                  <a:pt x="862" y="567"/>
                </a:cubicBezTo>
                <a:cubicBezTo>
                  <a:pt x="862" y="568"/>
                  <a:pt x="861" y="569"/>
                  <a:pt x="861" y="570"/>
                </a:cubicBezTo>
                <a:cubicBezTo>
                  <a:pt x="862" y="571"/>
                  <a:pt x="862" y="573"/>
                  <a:pt x="862" y="574"/>
                </a:cubicBezTo>
                <a:cubicBezTo>
                  <a:pt x="862" y="574"/>
                  <a:pt x="860" y="574"/>
                  <a:pt x="860" y="574"/>
                </a:cubicBezTo>
                <a:cubicBezTo>
                  <a:pt x="860" y="575"/>
                  <a:pt x="861" y="575"/>
                  <a:pt x="862" y="576"/>
                </a:cubicBezTo>
                <a:cubicBezTo>
                  <a:pt x="861" y="576"/>
                  <a:pt x="861" y="576"/>
                  <a:pt x="860" y="576"/>
                </a:cubicBezTo>
                <a:cubicBezTo>
                  <a:pt x="861" y="577"/>
                  <a:pt x="860" y="578"/>
                  <a:pt x="860" y="580"/>
                </a:cubicBezTo>
                <a:cubicBezTo>
                  <a:pt x="860" y="580"/>
                  <a:pt x="859" y="582"/>
                  <a:pt x="859" y="582"/>
                </a:cubicBezTo>
                <a:cubicBezTo>
                  <a:pt x="859" y="582"/>
                  <a:pt x="858" y="582"/>
                  <a:pt x="858" y="582"/>
                </a:cubicBezTo>
                <a:cubicBezTo>
                  <a:pt x="858" y="582"/>
                  <a:pt x="858" y="583"/>
                  <a:pt x="858" y="583"/>
                </a:cubicBezTo>
                <a:cubicBezTo>
                  <a:pt x="858" y="583"/>
                  <a:pt x="858" y="583"/>
                  <a:pt x="858" y="583"/>
                </a:cubicBezTo>
                <a:cubicBezTo>
                  <a:pt x="859" y="583"/>
                  <a:pt x="859" y="583"/>
                  <a:pt x="859" y="583"/>
                </a:cubicBezTo>
                <a:cubicBezTo>
                  <a:pt x="859" y="584"/>
                  <a:pt x="859" y="584"/>
                  <a:pt x="859" y="585"/>
                </a:cubicBezTo>
                <a:cubicBezTo>
                  <a:pt x="860" y="585"/>
                  <a:pt x="860" y="585"/>
                  <a:pt x="861" y="585"/>
                </a:cubicBezTo>
                <a:cubicBezTo>
                  <a:pt x="861" y="585"/>
                  <a:pt x="861" y="586"/>
                  <a:pt x="861" y="586"/>
                </a:cubicBezTo>
                <a:cubicBezTo>
                  <a:pt x="861" y="586"/>
                  <a:pt x="862" y="586"/>
                  <a:pt x="862" y="587"/>
                </a:cubicBezTo>
                <a:cubicBezTo>
                  <a:pt x="862" y="587"/>
                  <a:pt x="860" y="587"/>
                  <a:pt x="860" y="587"/>
                </a:cubicBezTo>
                <a:cubicBezTo>
                  <a:pt x="860" y="588"/>
                  <a:pt x="861" y="588"/>
                  <a:pt x="862" y="589"/>
                </a:cubicBezTo>
                <a:cubicBezTo>
                  <a:pt x="862" y="589"/>
                  <a:pt x="862" y="589"/>
                  <a:pt x="862" y="589"/>
                </a:cubicBezTo>
                <a:cubicBezTo>
                  <a:pt x="862" y="589"/>
                  <a:pt x="862" y="589"/>
                  <a:pt x="862" y="589"/>
                </a:cubicBezTo>
                <a:cubicBezTo>
                  <a:pt x="863" y="589"/>
                  <a:pt x="863" y="590"/>
                  <a:pt x="863" y="590"/>
                </a:cubicBezTo>
                <a:cubicBezTo>
                  <a:pt x="863" y="591"/>
                  <a:pt x="864" y="591"/>
                  <a:pt x="864" y="591"/>
                </a:cubicBezTo>
                <a:cubicBezTo>
                  <a:pt x="865" y="592"/>
                  <a:pt x="865" y="593"/>
                  <a:pt x="866" y="593"/>
                </a:cubicBezTo>
                <a:cubicBezTo>
                  <a:pt x="867" y="593"/>
                  <a:pt x="867" y="593"/>
                  <a:pt x="867" y="594"/>
                </a:cubicBezTo>
                <a:cubicBezTo>
                  <a:pt x="868" y="594"/>
                  <a:pt x="868" y="595"/>
                  <a:pt x="867" y="596"/>
                </a:cubicBezTo>
                <a:cubicBezTo>
                  <a:pt x="868" y="596"/>
                  <a:pt x="868" y="596"/>
                  <a:pt x="868" y="596"/>
                </a:cubicBezTo>
                <a:cubicBezTo>
                  <a:pt x="868" y="597"/>
                  <a:pt x="868" y="597"/>
                  <a:pt x="869" y="597"/>
                </a:cubicBezTo>
                <a:cubicBezTo>
                  <a:pt x="869" y="598"/>
                  <a:pt x="870" y="598"/>
                  <a:pt x="871" y="598"/>
                </a:cubicBezTo>
                <a:cubicBezTo>
                  <a:pt x="871" y="599"/>
                  <a:pt x="871" y="599"/>
                  <a:pt x="872" y="599"/>
                </a:cubicBezTo>
                <a:cubicBezTo>
                  <a:pt x="872" y="599"/>
                  <a:pt x="871" y="601"/>
                  <a:pt x="872" y="601"/>
                </a:cubicBezTo>
                <a:cubicBezTo>
                  <a:pt x="872" y="601"/>
                  <a:pt x="873" y="603"/>
                  <a:pt x="873" y="603"/>
                </a:cubicBezTo>
                <a:cubicBezTo>
                  <a:pt x="873" y="603"/>
                  <a:pt x="874" y="603"/>
                  <a:pt x="874" y="603"/>
                </a:cubicBezTo>
                <a:cubicBezTo>
                  <a:pt x="874" y="604"/>
                  <a:pt x="874" y="604"/>
                  <a:pt x="874" y="604"/>
                </a:cubicBezTo>
                <a:cubicBezTo>
                  <a:pt x="875" y="604"/>
                  <a:pt x="875" y="605"/>
                  <a:pt x="875" y="605"/>
                </a:cubicBezTo>
                <a:cubicBezTo>
                  <a:pt x="874" y="605"/>
                  <a:pt x="874" y="605"/>
                  <a:pt x="874" y="606"/>
                </a:cubicBezTo>
                <a:cubicBezTo>
                  <a:pt x="874" y="606"/>
                  <a:pt x="874" y="606"/>
                  <a:pt x="874" y="606"/>
                </a:cubicBezTo>
                <a:cubicBezTo>
                  <a:pt x="875" y="607"/>
                  <a:pt x="874" y="607"/>
                  <a:pt x="875" y="607"/>
                </a:cubicBezTo>
                <a:cubicBezTo>
                  <a:pt x="876" y="608"/>
                  <a:pt x="876" y="608"/>
                  <a:pt x="875" y="609"/>
                </a:cubicBezTo>
                <a:cubicBezTo>
                  <a:pt x="876" y="609"/>
                  <a:pt x="876" y="611"/>
                  <a:pt x="876" y="611"/>
                </a:cubicBezTo>
                <a:cubicBezTo>
                  <a:pt x="876" y="612"/>
                  <a:pt x="877" y="611"/>
                  <a:pt x="877" y="612"/>
                </a:cubicBezTo>
                <a:cubicBezTo>
                  <a:pt x="877" y="612"/>
                  <a:pt x="877" y="612"/>
                  <a:pt x="877" y="613"/>
                </a:cubicBezTo>
                <a:cubicBezTo>
                  <a:pt x="877" y="614"/>
                  <a:pt x="877" y="613"/>
                  <a:pt x="877" y="614"/>
                </a:cubicBezTo>
                <a:cubicBezTo>
                  <a:pt x="878" y="615"/>
                  <a:pt x="879" y="616"/>
                  <a:pt x="879" y="617"/>
                </a:cubicBezTo>
                <a:cubicBezTo>
                  <a:pt x="879" y="618"/>
                  <a:pt x="879" y="619"/>
                  <a:pt x="880" y="620"/>
                </a:cubicBezTo>
                <a:cubicBezTo>
                  <a:pt x="880" y="620"/>
                  <a:pt x="879" y="620"/>
                  <a:pt x="880" y="620"/>
                </a:cubicBezTo>
                <a:cubicBezTo>
                  <a:pt x="880" y="621"/>
                  <a:pt x="880" y="622"/>
                  <a:pt x="880" y="622"/>
                </a:cubicBezTo>
                <a:cubicBezTo>
                  <a:pt x="881" y="622"/>
                  <a:pt x="881" y="624"/>
                  <a:pt x="880" y="624"/>
                </a:cubicBezTo>
                <a:cubicBezTo>
                  <a:pt x="880" y="624"/>
                  <a:pt x="881" y="625"/>
                  <a:pt x="881" y="625"/>
                </a:cubicBezTo>
                <a:cubicBezTo>
                  <a:pt x="880" y="626"/>
                  <a:pt x="879" y="626"/>
                  <a:pt x="880" y="627"/>
                </a:cubicBezTo>
                <a:cubicBezTo>
                  <a:pt x="880" y="627"/>
                  <a:pt x="880" y="628"/>
                  <a:pt x="880" y="629"/>
                </a:cubicBezTo>
                <a:cubicBezTo>
                  <a:pt x="879" y="629"/>
                  <a:pt x="879" y="630"/>
                  <a:pt x="880" y="630"/>
                </a:cubicBezTo>
                <a:cubicBezTo>
                  <a:pt x="880" y="630"/>
                  <a:pt x="879" y="631"/>
                  <a:pt x="880" y="631"/>
                </a:cubicBezTo>
                <a:cubicBezTo>
                  <a:pt x="880" y="632"/>
                  <a:pt x="880" y="633"/>
                  <a:pt x="880" y="633"/>
                </a:cubicBezTo>
                <a:cubicBezTo>
                  <a:pt x="880" y="634"/>
                  <a:pt x="881" y="634"/>
                  <a:pt x="881" y="635"/>
                </a:cubicBezTo>
                <a:cubicBezTo>
                  <a:pt x="881" y="635"/>
                  <a:pt x="881" y="635"/>
                  <a:pt x="882" y="635"/>
                </a:cubicBezTo>
                <a:cubicBezTo>
                  <a:pt x="882" y="636"/>
                  <a:pt x="882" y="636"/>
                  <a:pt x="882" y="637"/>
                </a:cubicBezTo>
                <a:cubicBezTo>
                  <a:pt x="882" y="637"/>
                  <a:pt x="882" y="637"/>
                  <a:pt x="882" y="638"/>
                </a:cubicBezTo>
                <a:cubicBezTo>
                  <a:pt x="882" y="638"/>
                  <a:pt x="882" y="639"/>
                  <a:pt x="882" y="639"/>
                </a:cubicBezTo>
                <a:cubicBezTo>
                  <a:pt x="882" y="641"/>
                  <a:pt x="882" y="642"/>
                  <a:pt x="882" y="644"/>
                </a:cubicBezTo>
                <a:cubicBezTo>
                  <a:pt x="882" y="644"/>
                  <a:pt x="882" y="644"/>
                  <a:pt x="882" y="644"/>
                </a:cubicBezTo>
                <a:cubicBezTo>
                  <a:pt x="882" y="644"/>
                  <a:pt x="882" y="645"/>
                  <a:pt x="882" y="645"/>
                </a:cubicBezTo>
                <a:cubicBezTo>
                  <a:pt x="882" y="646"/>
                  <a:pt x="881" y="646"/>
                  <a:pt x="881" y="646"/>
                </a:cubicBezTo>
                <a:cubicBezTo>
                  <a:pt x="881" y="647"/>
                  <a:pt x="881" y="647"/>
                  <a:pt x="880" y="647"/>
                </a:cubicBezTo>
                <a:cubicBezTo>
                  <a:pt x="879" y="647"/>
                  <a:pt x="880" y="647"/>
                  <a:pt x="880" y="648"/>
                </a:cubicBezTo>
                <a:cubicBezTo>
                  <a:pt x="879" y="648"/>
                  <a:pt x="879" y="648"/>
                  <a:pt x="879" y="649"/>
                </a:cubicBezTo>
                <a:cubicBezTo>
                  <a:pt x="879" y="650"/>
                  <a:pt x="879" y="650"/>
                  <a:pt x="878" y="650"/>
                </a:cubicBezTo>
                <a:cubicBezTo>
                  <a:pt x="878" y="651"/>
                  <a:pt x="878" y="651"/>
                  <a:pt x="877" y="651"/>
                </a:cubicBezTo>
                <a:cubicBezTo>
                  <a:pt x="877" y="651"/>
                  <a:pt x="877" y="651"/>
                  <a:pt x="877" y="652"/>
                </a:cubicBezTo>
                <a:cubicBezTo>
                  <a:pt x="877" y="653"/>
                  <a:pt x="877" y="655"/>
                  <a:pt x="876" y="655"/>
                </a:cubicBezTo>
                <a:cubicBezTo>
                  <a:pt x="876" y="656"/>
                  <a:pt x="876" y="657"/>
                  <a:pt x="876" y="658"/>
                </a:cubicBezTo>
                <a:cubicBezTo>
                  <a:pt x="876" y="659"/>
                  <a:pt x="875" y="659"/>
                  <a:pt x="875" y="660"/>
                </a:cubicBezTo>
                <a:cubicBezTo>
                  <a:pt x="875" y="661"/>
                  <a:pt x="874" y="661"/>
                  <a:pt x="874" y="662"/>
                </a:cubicBezTo>
                <a:cubicBezTo>
                  <a:pt x="874" y="662"/>
                  <a:pt x="874" y="663"/>
                  <a:pt x="873" y="663"/>
                </a:cubicBezTo>
                <a:cubicBezTo>
                  <a:pt x="873" y="663"/>
                  <a:pt x="872" y="666"/>
                  <a:pt x="872" y="666"/>
                </a:cubicBezTo>
                <a:cubicBezTo>
                  <a:pt x="872" y="668"/>
                  <a:pt x="874" y="670"/>
                  <a:pt x="872" y="671"/>
                </a:cubicBezTo>
                <a:cubicBezTo>
                  <a:pt x="873" y="671"/>
                  <a:pt x="872" y="674"/>
                  <a:pt x="873" y="674"/>
                </a:cubicBezTo>
                <a:cubicBezTo>
                  <a:pt x="873" y="674"/>
                  <a:pt x="873" y="675"/>
                  <a:pt x="872" y="675"/>
                </a:cubicBezTo>
                <a:cubicBezTo>
                  <a:pt x="872" y="676"/>
                  <a:pt x="872" y="676"/>
                  <a:pt x="872" y="677"/>
                </a:cubicBezTo>
                <a:cubicBezTo>
                  <a:pt x="872" y="678"/>
                  <a:pt x="872" y="679"/>
                  <a:pt x="873" y="680"/>
                </a:cubicBezTo>
                <a:cubicBezTo>
                  <a:pt x="873" y="680"/>
                  <a:pt x="874" y="680"/>
                  <a:pt x="874" y="680"/>
                </a:cubicBezTo>
                <a:cubicBezTo>
                  <a:pt x="875" y="681"/>
                  <a:pt x="875" y="682"/>
                  <a:pt x="875" y="682"/>
                </a:cubicBezTo>
                <a:cubicBezTo>
                  <a:pt x="876" y="683"/>
                  <a:pt x="876" y="683"/>
                  <a:pt x="877" y="683"/>
                </a:cubicBezTo>
                <a:cubicBezTo>
                  <a:pt x="877" y="684"/>
                  <a:pt x="877" y="684"/>
                  <a:pt x="878" y="684"/>
                </a:cubicBezTo>
                <a:cubicBezTo>
                  <a:pt x="879" y="685"/>
                  <a:pt x="878" y="686"/>
                  <a:pt x="878" y="687"/>
                </a:cubicBezTo>
                <a:cubicBezTo>
                  <a:pt x="878" y="687"/>
                  <a:pt x="878" y="687"/>
                  <a:pt x="878" y="688"/>
                </a:cubicBezTo>
                <a:cubicBezTo>
                  <a:pt x="878" y="689"/>
                  <a:pt x="878" y="688"/>
                  <a:pt x="878" y="688"/>
                </a:cubicBezTo>
                <a:cubicBezTo>
                  <a:pt x="878" y="689"/>
                  <a:pt x="879" y="691"/>
                  <a:pt x="879" y="692"/>
                </a:cubicBezTo>
                <a:cubicBezTo>
                  <a:pt x="880" y="692"/>
                  <a:pt x="879" y="692"/>
                  <a:pt x="879" y="693"/>
                </a:cubicBezTo>
                <a:cubicBezTo>
                  <a:pt x="880" y="693"/>
                  <a:pt x="880" y="693"/>
                  <a:pt x="880" y="693"/>
                </a:cubicBezTo>
                <a:cubicBezTo>
                  <a:pt x="880" y="693"/>
                  <a:pt x="880" y="694"/>
                  <a:pt x="880" y="694"/>
                </a:cubicBezTo>
                <a:cubicBezTo>
                  <a:pt x="880" y="695"/>
                  <a:pt x="881" y="695"/>
                  <a:pt x="881" y="695"/>
                </a:cubicBezTo>
                <a:cubicBezTo>
                  <a:pt x="882" y="695"/>
                  <a:pt x="882" y="695"/>
                  <a:pt x="882" y="696"/>
                </a:cubicBezTo>
                <a:cubicBezTo>
                  <a:pt x="882" y="696"/>
                  <a:pt x="883" y="696"/>
                  <a:pt x="883" y="696"/>
                </a:cubicBezTo>
                <a:cubicBezTo>
                  <a:pt x="883" y="697"/>
                  <a:pt x="883" y="698"/>
                  <a:pt x="882" y="699"/>
                </a:cubicBezTo>
                <a:cubicBezTo>
                  <a:pt x="883" y="699"/>
                  <a:pt x="883" y="700"/>
                  <a:pt x="884" y="700"/>
                </a:cubicBezTo>
                <a:cubicBezTo>
                  <a:pt x="884" y="701"/>
                  <a:pt x="885" y="701"/>
                  <a:pt x="885" y="702"/>
                </a:cubicBezTo>
                <a:cubicBezTo>
                  <a:pt x="885" y="703"/>
                  <a:pt x="885" y="703"/>
                  <a:pt x="885" y="704"/>
                </a:cubicBezTo>
                <a:cubicBezTo>
                  <a:pt x="885" y="704"/>
                  <a:pt x="886" y="704"/>
                  <a:pt x="886" y="704"/>
                </a:cubicBezTo>
                <a:cubicBezTo>
                  <a:pt x="886" y="704"/>
                  <a:pt x="885" y="704"/>
                  <a:pt x="885" y="704"/>
                </a:cubicBezTo>
                <a:cubicBezTo>
                  <a:pt x="885" y="704"/>
                  <a:pt x="885" y="705"/>
                  <a:pt x="885" y="705"/>
                </a:cubicBezTo>
                <a:cubicBezTo>
                  <a:pt x="886" y="705"/>
                  <a:pt x="885" y="706"/>
                  <a:pt x="885" y="707"/>
                </a:cubicBezTo>
                <a:cubicBezTo>
                  <a:pt x="885" y="708"/>
                  <a:pt x="885" y="708"/>
                  <a:pt x="886" y="709"/>
                </a:cubicBezTo>
                <a:cubicBezTo>
                  <a:pt x="885" y="709"/>
                  <a:pt x="885" y="709"/>
                  <a:pt x="885" y="709"/>
                </a:cubicBezTo>
                <a:cubicBezTo>
                  <a:pt x="885" y="710"/>
                  <a:pt x="885" y="712"/>
                  <a:pt x="886" y="712"/>
                </a:cubicBezTo>
                <a:cubicBezTo>
                  <a:pt x="886" y="712"/>
                  <a:pt x="885" y="714"/>
                  <a:pt x="885" y="714"/>
                </a:cubicBezTo>
                <a:cubicBezTo>
                  <a:pt x="886" y="714"/>
                  <a:pt x="886" y="715"/>
                  <a:pt x="886" y="715"/>
                </a:cubicBezTo>
                <a:cubicBezTo>
                  <a:pt x="886" y="716"/>
                  <a:pt x="887" y="716"/>
                  <a:pt x="887" y="716"/>
                </a:cubicBezTo>
                <a:cubicBezTo>
                  <a:pt x="887" y="717"/>
                  <a:pt x="887" y="717"/>
                  <a:pt x="887" y="718"/>
                </a:cubicBezTo>
                <a:cubicBezTo>
                  <a:pt x="887" y="718"/>
                  <a:pt x="888" y="718"/>
                  <a:pt x="887" y="718"/>
                </a:cubicBezTo>
                <a:cubicBezTo>
                  <a:pt x="887" y="719"/>
                  <a:pt x="887" y="720"/>
                  <a:pt x="887" y="721"/>
                </a:cubicBezTo>
                <a:cubicBezTo>
                  <a:pt x="887" y="722"/>
                  <a:pt x="887" y="721"/>
                  <a:pt x="886" y="722"/>
                </a:cubicBezTo>
                <a:cubicBezTo>
                  <a:pt x="886" y="723"/>
                  <a:pt x="887" y="722"/>
                  <a:pt x="887" y="723"/>
                </a:cubicBezTo>
                <a:cubicBezTo>
                  <a:pt x="887" y="723"/>
                  <a:pt x="887" y="724"/>
                  <a:pt x="887" y="724"/>
                </a:cubicBezTo>
                <a:cubicBezTo>
                  <a:pt x="888" y="725"/>
                  <a:pt x="886" y="725"/>
                  <a:pt x="887" y="726"/>
                </a:cubicBezTo>
                <a:cubicBezTo>
                  <a:pt x="888" y="726"/>
                  <a:pt x="887" y="727"/>
                  <a:pt x="887" y="728"/>
                </a:cubicBezTo>
                <a:cubicBezTo>
                  <a:pt x="887" y="729"/>
                  <a:pt x="888" y="728"/>
                  <a:pt x="888" y="729"/>
                </a:cubicBezTo>
                <a:cubicBezTo>
                  <a:pt x="888" y="729"/>
                  <a:pt x="888" y="730"/>
                  <a:pt x="888" y="730"/>
                </a:cubicBezTo>
                <a:cubicBezTo>
                  <a:pt x="889" y="730"/>
                  <a:pt x="889" y="732"/>
                  <a:pt x="889" y="732"/>
                </a:cubicBezTo>
                <a:cubicBezTo>
                  <a:pt x="889" y="732"/>
                  <a:pt x="889" y="733"/>
                  <a:pt x="890" y="734"/>
                </a:cubicBezTo>
                <a:cubicBezTo>
                  <a:pt x="890" y="734"/>
                  <a:pt x="890" y="735"/>
                  <a:pt x="890" y="735"/>
                </a:cubicBezTo>
                <a:cubicBezTo>
                  <a:pt x="891" y="735"/>
                  <a:pt x="891" y="735"/>
                  <a:pt x="891" y="735"/>
                </a:cubicBezTo>
                <a:cubicBezTo>
                  <a:pt x="891" y="736"/>
                  <a:pt x="891" y="736"/>
                  <a:pt x="892" y="736"/>
                </a:cubicBezTo>
                <a:cubicBezTo>
                  <a:pt x="892" y="736"/>
                  <a:pt x="893" y="736"/>
                  <a:pt x="893" y="736"/>
                </a:cubicBezTo>
                <a:cubicBezTo>
                  <a:pt x="894" y="737"/>
                  <a:pt x="894" y="740"/>
                  <a:pt x="895" y="741"/>
                </a:cubicBezTo>
                <a:cubicBezTo>
                  <a:pt x="896" y="741"/>
                  <a:pt x="896" y="741"/>
                  <a:pt x="896" y="742"/>
                </a:cubicBezTo>
                <a:cubicBezTo>
                  <a:pt x="896" y="743"/>
                  <a:pt x="896" y="741"/>
                  <a:pt x="897" y="743"/>
                </a:cubicBezTo>
                <a:cubicBezTo>
                  <a:pt x="897" y="744"/>
                  <a:pt x="897" y="743"/>
                  <a:pt x="897" y="744"/>
                </a:cubicBezTo>
                <a:cubicBezTo>
                  <a:pt x="896" y="744"/>
                  <a:pt x="897" y="744"/>
                  <a:pt x="897" y="744"/>
                </a:cubicBezTo>
                <a:cubicBezTo>
                  <a:pt x="897" y="744"/>
                  <a:pt x="898" y="745"/>
                  <a:pt x="897" y="745"/>
                </a:cubicBezTo>
                <a:cubicBezTo>
                  <a:pt x="897" y="746"/>
                  <a:pt x="898" y="747"/>
                  <a:pt x="898" y="747"/>
                </a:cubicBezTo>
                <a:cubicBezTo>
                  <a:pt x="898" y="748"/>
                  <a:pt x="898" y="748"/>
                  <a:pt x="898" y="749"/>
                </a:cubicBezTo>
                <a:cubicBezTo>
                  <a:pt x="898" y="749"/>
                  <a:pt x="898" y="749"/>
                  <a:pt x="898" y="749"/>
                </a:cubicBezTo>
                <a:cubicBezTo>
                  <a:pt x="898" y="749"/>
                  <a:pt x="898" y="750"/>
                  <a:pt x="898" y="750"/>
                </a:cubicBezTo>
                <a:cubicBezTo>
                  <a:pt x="899" y="751"/>
                  <a:pt x="899" y="750"/>
                  <a:pt x="899" y="751"/>
                </a:cubicBezTo>
                <a:cubicBezTo>
                  <a:pt x="900" y="751"/>
                  <a:pt x="900" y="752"/>
                  <a:pt x="900" y="753"/>
                </a:cubicBezTo>
                <a:cubicBezTo>
                  <a:pt x="900" y="754"/>
                  <a:pt x="900" y="753"/>
                  <a:pt x="901" y="753"/>
                </a:cubicBezTo>
                <a:cubicBezTo>
                  <a:pt x="901" y="754"/>
                  <a:pt x="900" y="754"/>
                  <a:pt x="901" y="754"/>
                </a:cubicBezTo>
                <a:cubicBezTo>
                  <a:pt x="902" y="754"/>
                  <a:pt x="902" y="758"/>
                  <a:pt x="902" y="759"/>
                </a:cubicBezTo>
                <a:cubicBezTo>
                  <a:pt x="903" y="760"/>
                  <a:pt x="903" y="760"/>
                  <a:pt x="902" y="760"/>
                </a:cubicBezTo>
                <a:cubicBezTo>
                  <a:pt x="901" y="761"/>
                  <a:pt x="902" y="761"/>
                  <a:pt x="902" y="762"/>
                </a:cubicBezTo>
                <a:cubicBezTo>
                  <a:pt x="901" y="762"/>
                  <a:pt x="902" y="762"/>
                  <a:pt x="901" y="763"/>
                </a:cubicBezTo>
                <a:cubicBezTo>
                  <a:pt x="900" y="762"/>
                  <a:pt x="900" y="762"/>
                  <a:pt x="900" y="763"/>
                </a:cubicBezTo>
                <a:cubicBezTo>
                  <a:pt x="900" y="764"/>
                  <a:pt x="900" y="764"/>
                  <a:pt x="901" y="765"/>
                </a:cubicBezTo>
                <a:cubicBezTo>
                  <a:pt x="901" y="766"/>
                  <a:pt x="900" y="766"/>
                  <a:pt x="900" y="766"/>
                </a:cubicBezTo>
                <a:cubicBezTo>
                  <a:pt x="900" y="767"/>
                  <a:pt x="901" y="768"/>
                  <a:pt x="901" y="768"/>
                </a:cubicBezTo>
                <a:cubicBezTo>
                  <a:pt x="902" y="769"/>
                  <a:pt x="902" y="770"/>
                  <a:pt x="901" y="770"/>
                </a:cubicBezTo>
                <a:cubicBezTo>
                  <a:pt x="901" y="771"/>
                  <a:pt x="902" y="773"/>
                  <a:pt x="902" y="773"/>
                </a:cubicBezTo>
                <a:cubicBezTo>
                  <a:pt x="902" y="773"/>
                  <a:pt x="902" y="773"/>
                  <a:pt x="902" y="773"/>
                </a:cubicBezTo>
                <a:cubicBezTo>
                  <a:pt x="902" y="773"/>
                  <a:pt x="903" y="773"/>
                  <a:pt x="903" y="773"/>
                </a:cubicBezTo>
                <a:cubicBezTo>
                  <a:pt x="904" y="773"/>
                  <a:pt x="903" y="772"/>
                  <a:pt x="904" y="772"/>
                </a:cubicBezTo>
                <a:cubicBezTo>
                  <a:pt x="904" y="772"/>
                  <a:pt x="904" y="772"/>
                  <a:pt x="905" y="773"/>
                </a:cubicBezTo>
                <a:cubicBezTo>
                  <a:pt x="905" y="773"/>
                  <a:pt x="905" y="773"/>
                  <a:pt x="905" y="773"/>
                </a:cubicBezTo>
                <a:cubicBezTo>
                  <a:pt x="905" y="773"/>
                  <a:pt x="905" y="773"/>
                  <a:pt x="906" y="773"/>
                </a:cubicBezTo>
                <a:cubicBezTo>
                  <a:pt x="906" y="773"/>
                  <a:pt x="906" y="774"/>
                  <a:pt x="907" y="774"/>
                </a:cubicBezTo>
                <a:cubicBezTo>
                  <a:pt x="908" y="774"/>
                  <a:pt x="908" y="775"/>
                  <a:pt x="909" y="775"/>
                </a:cubicBezTo>
                <a:cubicBezTo>
                  <a:pt x="910" y="774"/>
                  <a:pt x="911" y="774"/>
                  <a:pt x="912" y="773"/>
                </a:cubicBezTo>
                <a:cubicBezTo>
                  <a:pt x="914" y="773"/>
                  <a:pt x="915" y="773"/>
                  <a:pt x="915" y="772"/>
                </a:cubicBezTo>
                <a:cubicBezTo>
                  <a:pt x="916" y="772"/>
                  <a:pt x="918" y="771"/>
                  <a:pt x="919" y="773"/>
                </a:cubicBezTo>
                <a:cubicBezTo>
                  <a:pt x="920" y="772"/>
                  <a:pt x="920" y="772"/>
                  <a:pt x="921" y="772"/>
                </a:cubicBezTo>
                <a:cubicBezTo>
                  <a:pt x="921" y="771"/>
                  <a:pt x="921" y="771"/>
                  <a:pt x="922" y="771"/>
                </a:cubicBezTo>
                <a:cubicBezTo>
                  <a:pt x="922" y="771"/>
                  <a:pt x="922" y="772"/>
                  <a:pt x="923" y="771"/>
                </a:cubicBezTo>
                <a:cubicBezTo>
                  <a:pt x="923" y="770"/>
                  <a:pt x="924" y="771"/>
                  <a:pt x="924" y="770"/>
                </a:cubicBezTo>
                <a:cubicBezTo>
                  <a:pt x="925" y="770"/>
                  <a:pt x="925" y="771"/>
                  <a:pt x="926" y="771"/>
                </a:cubicBezTo>
                <a:cubicBezTo>
                  <a:pt x="926" y="770"/>
                  <a:pt x="926" y="770"/>
                  <a:pt x="927" y="770"/>
                </a:cubicBezTo>
                <a:cubicBezTo>
                  <a:pt x="927" y="770"/>
                  <a:pt x="927" y="770"/>
                  <a:pt x="928" y="770"/>
                </a:cubicBezTo>
                <a:cubicBezTo>
                  <a:pt x="929" y="770"/>
                  <a:pt x="930" y="771"/>
                  <a:pt x="931" y="771"/>
                </a:cubicBezTo>
                <a:cubicBezTo>
                  <a:pt x="933" y="772"/>
                  <a:pt x="934" y="771"/>
                  <a:pt x="935" y="770"/>
                </a:cubicBezTo>
                <a:cubicBezTo>
                  <a:pt x="935" y="770"/>
                  <a:pt x="935" y="770"/>
                  <a:pt x="935" y="770"/>
                </a:cubicBezTo>
                <a:cubicBezTo>
                  <a:pt x="935" y="770"/>
                  <a:pt x="935" y="770"/>
                  <a:pt x="936" y="770"/>
                </a:cubicBezTo>
                <a:cubicBezTo>
                  <a:pt x="937" y="770"/>
                  <a:pt x="938" y="770"/>
                  <a:pt x="939" y="770"/>
                </a:cubicBezTo>
                <a:cubicBezTo>
                  <a:pt x="939" y="770"/>
                  <a:pt x="939" y="769"/>
                  <a:pt x="939" y="769"/>
                </a:cubicBezTo>
                <a:cubicBezTo>
                  <a:pt x="939" y="768"/>
                  <a:pt x="939" y="769"/>
                  <a:pt x="939" y="769"/>
                </a:cubicBezTo>
                <a:cubicBezTo>
                  <a:pt x="940" y="768"/>
                  <a:pt x="942" y="769"/>
                  <a:pt x="942" y="769"/>
                </a:cubicBezTo>
                <a:cubicBezTo>
                  <a:pt x="942" y="768"/>
                  <a:pt x="943" y="769"/>
                  <a:pt x="943" y="768"/>
                </a:cubicBezTo>
                <a:cubicBezTo>
                  <a:pt x="944" y="767"/>
                  <a:pt x="944" y="768"/>
                  <a:pt x="945" y="767"/>
                </a:cubicBezTo>
                <a:cubicBezTo>
                  <a:pt x="946" y="767"/>
                  <a:pt x="946" y="766"/>
                  <a:pt x="947" y="766"/>
                </a:cubicBezTo>
                <a:cubicBezTo>
                  <a:pt x="947" y="766"/>
                  <a:pt x="948" y="766"/>
                  <a:pt x="948" y="765"/>
                </a:cubicBezTo>
                <a:cubicBezTo>
                  <a:pt x="948" y="764"/>
                  <a:pt x="949" y="764"/>
                  <a:pt x="949" y="763"/>
                </a:cubicBezTo>
                <a:cubicBezTo>
                  <a:pt x="949" y="763"/>
                  <a:pt x="950" y="763"/>
                  <a:pt x="950" y="762"/>
                </a:cubicBezTo>
                <a:cubicBezTo>
                  <a:pt x="951" y="761"/>
                  <a:pt x="951" y="761"/>
                  <a:pt x="952" y="761"/>
                </a:cubicBezTo>
                <a:cubicBezTo>
                  <a:pt x="953" y="761"/>
                  <a:pt x="953" y="760"/>
                  <a:pt x="953" y="760"/>
                </a:cubicBezTo>
                <a:cubicBezTo>
                  <a:pt x="953" y="759"/>
                  <a:pt x="954" y="759"/>
                  <a:pt x="954" y="759"/>
                </a:cubicBezTo>
                <a:cubicBezTo>
                  <a:pt x="955" y="758"/>
                  <a:pt x="955" y="758"/>
                  <a:pt x="955" y="758"/>
                </a:cubicBezTo>
                <a:cubicBezTo>
                  <a:pt x="956" y="757"/>
                  <a:pt x="957" y="757"/>
                  <a:pt x="957" y="756"/>
                </a:cubicBezTo>
                <a:cubicBezTo>
                  <a:pt x="957" y="755"/>
                  <a:pt x="957" y="755"/>
                  <a:pt x="958" y="755"/>
                </a:cubicBezTo>
                <a:cubicBezTo>
                  <a:pt x="958" y="755"/>
                  <a:pt x="957" y="754"/>
                  <a:pt x="958" y="754"/>
                </a:cubicBezTo>
                <a:cubicBezTo>
                  <a:pt x="959" y="754"/>
                  <a:pt x="960" y="752"/>
                  <a:pt x="961" y="751"/>
                </a:cubicBezTo>
                <a:cubicBezTo>
                  <a:pt x="961" y="750"/>
                  <a:pt x="961" y="750"/>
                  <a:pt x="962" y="750"/>
                </a:cubicBezTo>
                <a:cubicBezTo>
                  <a:pt x="962" y="749"/>
                  <a:pt x="962" y="749"/>
                  <a:pt x="962" y="748"/>
                </a:cubicBezTo>
                <a:cubicBezTo>
                  <a:pt x="962" y="748"/>
                  <a:pt x="963" y="748"/>
                  <a:pt x="963" y="748"/>
                </a:cubicBezTo>
                <a:cubicBezTo>
                  <a:pt x="963" y="747"/>
                  <a:pt x="963" y="746"/>
                  <a:pt x="963" y="746"/>
                </a:cubicBezTo>
                <a:cubicBezTo>
                  <a:pt x="963" y="746"/>
                  <a:pt x="964" y="745"/>
                  <a:pt x="964" y="745"/>
                </a:cubicBezTo>
                <a:cubicBezTo>
                  <a:pt x="964" y="744"/>
                  <a:pt x="964" y="745"/>
                  <a:pt x="965" y="744"/>
                </a:cubicBezTo>
                <a:cubicBezTo>
                  <a:pt x="965" y="743"/>
                  <a:pt x="965" y="743"/>
                  <a:pt x="966" y="743"/>
                </a:cubicBezTo>
                <a:cubicBezTo>
                  <a:pt x="966" y="743"/>
                  <a:pt x="967" y="743"/>
                  <a:pt x="967" y="742"/>
                </a:cubicBezTo>
                <a:cubicBezTo>
                  <a:pt x="967" y="741"/>
                  <a:pt x="968" y="741"/>
                  <a:pt x="968" y="741"/>
                </a:cubicBezTo>
                <a:cubicBezTo>
                  <a:pt x="969" y="741"/>
                  <a:pt x="970" y="741"/>
                  <a:pt x="970" y="740"/>
                </a:cubicBezTo>
                <a:cubicBezTo>
                  <a:pt x="970" y="739"/>
                  <a:pt x="970" y="737"/>
                  <a:pt x="969" y="737"/>
                </a:cubicBezTo>
                <a:cubicBezTo>
                  <a:pt x="969" y="737"/>
                  <a:pt x="969" y="736"/>
                  <a:pt x="969" y="736"/>
                </a:cubicBezTo>
                <a:cubicBezTo>
                  <a:pt x="970" y="736"/>
                  <a:pt x="970" y="736"/>
                  <a:pt x="971" y="734"/>
                </a:cubicBezTo>
                <a:cubicBezTo>
                  <a:pt x="971" y="734"/>
                  <a:pt x="972" y="729"/>
                  <a:pt x="971" y="729"/>
                </a:cubicBezTo>
                <a:cubicBezTo>
                  <a:pt x="971" y="729"/>
                  <a:pt x="971" y="727"/>
                  <a:pt x="971" y="727"/>
                </a:cubicBezTo>
                <a:cubicBezTo>
                  <a:pt x="971" y="726"/>
                  <a:pt x="971" y="727"/>
                  <a:pt x="971" y="726"/>
                </a:cubicBezTo>
                <a:cubicBezTo>
                  <a:pt x="972" y="725"/>
                  <a:pt x="972" y="725"/>
                  <a:pt x="971" y="725"/>
                </a:cubicBezTo>
                <a:cubicBezTo>
                  <a:pt x="970" y="724"/>
                  <a:pt x="970" y="724"/>
                  <a:pt x="970" y="723"/>
                </a:cubicBezTo>
                <a:cubicBezTo>
                  <a:pt x="970" y="722"/>
                  <a:pt x="971" y="722"/>
                  <a:pt x="971" y="721"/>
                </a:cubicBezTo>
                <a:cubicBezTo>
                  <a:pt x="972" y="720"/>
                  <a:pt x="972" y="721"/>
                  <a:pt x="973" y="720"/>
                </a:cubicBezTo>
                <a:cubicBezTo>
                  <a:pt x="973" y="720"/>
                  <a:pt x="974" y="720"/>
                  <a:pt x="974" y="720"/>
                </a:cubicBezTo>
                <a:cubicBezTo>
                  <a:pt x="974" y="720"/>
                  <a:pt x="974" y="720"/>
                  <a:pt x="974" y="720"/>
                </a:cubicBezTo>
                <a:cubicBezTo>
                  <a:pt x="975" y="720"/>
                  <a:pt x="975" y="719"/>
                  <a:pt x="976" y="719"/>
                </a:cubicBezTo>
                <a:cubicBezTo>
                  <a:pt x="977" y="719"/>
                  <a:pt x="975" y="719"/>
                  <a:pt x="977" y="719"/>
                </a:cubicBezTo>
                <a:cubicBezTo>
                  <a:pt x="977" y="719"/>
                  <a:pt x="978" y="718"/>
                  <a:pt x="978" y="718"/>
                </a:cubicBezTo>
                <a:cubicBezTo>
                  <a:pt x="979" y="718"/>
                  <a:pt x="979" y="718"/>
                  <a:pt x="979" y="718"/>
                </a:cubicBezTo>
                <a:cubicBezTo>
                  <a:pt x="980" y="718"/>
                  <a:pt x="979" y="718"/>
                  <a:pt x="980" y="718"/>
                </a:cubicBezTo>
                <a:cubicBezTo>
                  <a:pt x="981" y="718"/>
                  <a:pt x="981" y="718"/>
                  <a:pt x="982" y="717"/>
                </a:cubicBezTo>
                <a:cubicBezTo>
                  <a:pt x="982" y="716"/>
                  <a:pt x="982" y="716"/>
                  <a:pt x="982" y="716"/>
                </a:cubicBezTo>
                <a:cubicBezTo>
                  <a:pt x="983" y="716"/>
                  <a:pt x="982" y="716"/>
                  <a:pt x="983" y="716"/>
                </a:cubicBezTo>
                <a:cubicBezTo>
                  <a:pt x="983" y="716"/>
                  <a:pt x="984" y="715"/>
                  <a:pt x="984" y="715"/>
                </a:cubicBezTo>
                <a:cubicBezTo>
                  <a:pt x="984" y="714"/>
                  <a:pt x="984" y="714"/>
                  <a:pt x="984" y="713"/>
                </a:cubicBezTo>
                <a:cubicBezTo>
                  <a:pt x="984" y="713"/>
                  <a:pt x="985" y="712"/>
                  <a:pt x="984" y="712"/>
                </a:cubicBezTo>
                <a:cubicBezTo>
                  <a:pt x="984" y="712"/>
                  <a:pt x="984" y="711"/>
                  <a:pt x="984" y="711"/>
                </a:cubicBezTo>
                <a:cubicBezTo>
                  <a:pt x="984" y="711"/>
                  <a:pt x="984" y="711"/>
                  <a:pt x="984" y="711"/>
                </a:cubicBezTo>
                <a:cubicBezTo>
                  <a:pt x="984" y="710"/>
                  <a:pt x="984" y="708"/>
                  <a:pt x="984" y="707"/>
                </a:cubicBezTo>
                <a:cubicBezTo>
                  <a:pt x="983" y="707"/>
                  <a:pt x="984" y="706"/>
                  <a:pt x="984" y="706"/>
                </a:cubicBezTo>
                <a:cubicBezTo>
                  <a:pt x="984" y="705"/>
                  <a:pt x="983" y="706"/>
                  <a:pt x="983" y="705"/>
                </a:cubicBezTo>
                <a:cubicBezTo>
                  <a:pt x="983" y="704"/>
                  <a:pt x="984" y="704"/>
                  <a:pt x="984" y="703"/>
                </a:cubicBezTo>
                <a:cubicBezTo>
                  <a:pt x="983" y="703"/>
                  <a:pt x="983" y="703"/>
                  <a:pt x="983" y="702"/>
                </a:cubicBezTo>
                <a:cubicBezTo>
                  <a:pt x="983" y="702"/>
                  <a:pt x="983" y="702"/>
                  <a:pt x="983" y="702"/>
                </a:cubicBezTo>
                <a:cubicBezTo>
                  <a:pt x="983" y="701"/>
                  <a:pt x="983" y="702"/>
                  <a:pt x="983" y="701"/>
                </a:cubicBezTo>
                <a:cubicBezTo>
                  <a:pt x="983" y="701"/>
                  <a:pt x="983" y="700"/>
                  <a:pt x="982" y="700"/>
                </a:cubicBezTo>
                <a:cubicBezTo>
                  <a:pt x="982" y="700"/>
                  <a:pt x="983" y="699"/>
                  <a:pt x="982" y="699"/>
                </a:cubicBezTo>
                <a:cubicBezTo>
                  <a:pt x="982" y="699"/>
                  <a:pt x="982" y="696"/>
                  <a:pt x="982" y="696"/>
                </a:cubicBezTo>
                <a:cubicBezTo>
                  <a:pt x="982" y="695"/>
                  <a:pt x="982" y="695"/>
                  <a:pt x="981" y="694"/>
                </a:cubicBezTo>
                <a:cubicBezTo>
                  <a:pt x="980" y="694"/>
                  <a:pt x="980" y="693"/>
                  <a:pt x="980" y="692"/>
                </a:cubicBezTo>
                <a:cubicBezTo>
                  <a:pt x="980" y="691"/>
                  <a:pt x="980" y="690"/>
                  <a:pt x="980" y="689"/>
                </a:cubicBezTo>
                <a:cubicBezTo>
                  <a:pt x="980" y="688"/>
                  <a:pt x="980" y="688"/>
                  <a:pt x="980" y="688"/>
                </a:cubicBezTo>
                <a:cubicBezTo>
                  <a:pt x="981" y="687"/>
                  <a:pt x="982" y="687"/>
                  <a:pt x="982" y="687"/>
                </a:cubicBezTo>
                <a:cubicBezTo>
                  <a:pt x="983" y="686"/>
                  <a:pt x="983" y="686"/>
                  <a:pt x="983" y="685"/>
                </a:cubicBezTo>
                <a:cubicBezTo>
                  <a:pt x="984" y="685"/>
                  <a:pt x="984" y="685"/>
                  <a:pt x="984" y="684"/>
                </a:cubicBezTo>
                <a:cubicBezTo>
                  <a:pt x="984" y="684"/>
                  <a:pt x="985" y="684"/>
                  <a:pt x="985" y="683"/>
                </a:cubicBezTo>
                <a:cubicBezTo>
                  <a:pt x="986" y="683"/>
                  <a:pt x="986" y="682"/>
                  <a:pt x="987" y="682"/>
                </a:cubicBezTo>
                <a:cubicBezTo>
                  <a:pt x="987" y="682"/>
                  <a:pt x="987" y="681"/>
                  <a:pt x="987" y="681"/>
                </a:cubicBezTo>
                <a:cubicBezTo>
                  <a:pt x="987" y="680"/>
                  <a:pt x="987" y="680"/>
                  <a:pt x="987" y="679"/>
                </a:cubicBezTo>
                <a:cubicBezTo>
                  <a:pt x="987" y="679"/>
                  <a:pt x="988" y="679"/>
                  <a:pt x="987" y="679"/>
                </a:cubicBezTo>
                <a:cubicBezTo>
                  <a:pt x="987" y="679"/>
                  <a:pt x="987" y="678"/>
                  <a:pt x="987" y="678"/>
                </a:cubicBezTo>
                <a:cubicBezTo>
                  <a:pt x="988" y="678"/>
                  <a:pt x="988" y="678"/>
                  <a:pt x="989" y="678"/>
                </a:cubicBezTo>
                <a:cubicBezTo>
                  <a:pt x="989" y="678"/>
                  <a:pt x="990" y="679"/>
                  <a:pt x="990" y="678"/>
                </a:cubicBezTo>
                <a:cubicBezTo>
                  <a:pt x="990" y="678"/>
                  <a:pt x="991" y="679"/>
                  <a:pt x="991" y="678"/>
                </a:cubicBezTo>
                <a:cubicBezTo>
                  <a:pt x="991" y="678"/>
                  <a:pt x="992" y="678"/>
                  <a:pt x="992" y="678"/>
                </a:cubicBezTo>
                <a:cubicBezTo>
                  <a:pt x="993" y="678"/>
                  <a:pt x="994" y="678"/>
                  <a:pt x="994" y="677"/>
                </a:cubicBezTo>
                <a:cubicBezTo>
                  <a:pt x="994" y="677"/>
                  <a:pt x="996" y="676"/>
                  <a:pt x="996" y="676"/>
                </a:cubicBezTo>
                <a:cubicBezTo>
                  <a:pt x="997" y="676"/>
                  <a:pt x="997" y="675"/>
                  <a:pt x="998" y="675"/>
                </a:cubicBezTo>
                <a:cubicBezTo>
                  <a:pt x="998" y="675"/>
                  <a:pt x="999" y="675"/>
                  <a:pt x="999" y="675"/>
                </a:cubicBezTo>
                <a:cubicBezTo>
                  <a:pt x="999" y="674"/>
                  <a:pt x="999" y="674"/>
                  <a:pt x="999" y="674"/>
                </a:cubicBezTo>
                <a:cubicBezTo>
                  <a:pt x="1000" y="674"/>
                  <a:pt x="1000" y="674"/>
                  <a:pt x="1000" y="674"/>
                </a:cubicBezTo>
                <a:cubicBezTo>
                  <a:pt x="1000" y="674"/>
                  <a:pt x="1000" y="674"/>
                  <a:pt x="1000" y="674"/>
                </a:cubicBezTo>
                <a:cubicBezTo>
                  <a:pt x="1001" y="674"/>
                  <a:pt x="1001" y="674"/>
                  <a:pt x="1001" y="674"/>
                </a:cubicBezTo>
                <a:cubicBezTo>
                  <a:pt x="1001" y="674"/>
                  <a:pt x="1002" y="673"/>
                  <a:pt x="1002" y="673"/>
                </a:cubicBezTo>
                <a:cubicBezTo>
                  <a:pt x="1004" y="672"/>
                  <a:pt x="1003" y="671"/>
                  <a:pt x="1004" y="671"/>
                </a:cubicBezTo>
                <a:cubicBezTo>
                  <a:pt x="1005" y="671"/>
                  <a:pt x="1005" y="671"/>
                  <a:pt x="1005" y="671"/>
                </a:cubicBezTo>
                <a:cubicBezTo>
                  <a:pt x="1005" y="670"/>
                  <a:pt x="1006" y="670"/>
                  <a:pt x="1006" y="670"/>
                </a:cubicBezTo>
                <a:cubicBezTo>
                  <a:pt x="1006" y="669"/>
                  <a:pt x="1006" y="669"/>
                  <a:pt x="1006" y="668"/>
                </a:cubicBezTo>
                <a:cubicBezTo>
                  <a:pt x="1006" y="668"/>
                  <a:pt x="1007" y="668"/>
                  <a:pt x="1007" y="668"/>
                </a:cubicBezTo>
                <a:cubicBezTo>
                  <a:pt x="1008" y="666"/>
                  <a:pt x="1009" y="666"/>
                  <a:pt x="1008" y="664"/>
                </a:cubicBezTo>
                <a:cubicBezTo>
                  <a:pt x="1009" y="664"/>
                  <a:pt x="1009" y="664"/>
                  <a:pt x="1009" y="663"/>
                </a:cubicBezTo>
                <a:cubicBezTo>
                  <a:pt x="1010" y="663"/>
                  <a:pt x="1009" y="662"/>
                  <a:pt x="1009" y="662"/>
                </a:cubicBezTo>
                <a:cubicBezTo>
                  <a:pt x="1008" y="661"/>
                  <a:pt x="1008" y="657"/>
                  <a:pt x="1009" y="657"/>
                </a:cubicBezTo>
                <a:cubicBezTo>
                  <a:pt x="1009" y="657"/>
                  <a:pt x="1009" y="656"/>
                  <a:pt x="1009" y="655"/>
                </a:cubicBezTo>
                <a:cubicBezTo>
                  <a:pt x="1009" y="655"/>
                  <a:pt x="1009" y="654"/>
                  <a:pt x="1009" y="654"/>
                </a:cubicBezTo>
                <a:cubicBezTo>
                  <a:pt x="1009" y="653"/>
                  <a:pt x="1010" y="653"/>
                  <a:pt x="1010" y="653"/>
                </a:cubicBezTo>
                <a:cubicBezTo>
                  <a:pt x="1009" y="653"/>
                  <a:pt x="1010" y="652"/>
                  <a:pt x="1009" y="652"/>
                </a:cubicBezTo>
                <a:cubicBezTo>
                  <a:pt x="1009" y="652"/>
                  <a:pt x="1009" y="649"/>
                  <a:pt x="1009" y="649"/>
                </a:cubicBezTo>
                <a:cubicBezTo>
                  <a:pt x="1010" y="649"/>
                  <a:pt x="1009" y="647"/>
                  <a:pt x="1009" y="647"/>
                </a:cubicBezTo>
                <a:cubicBezTo>
                  <a:pt x="1009" y="646"/>
                  <a:pt x="1009" y="643"/>
                  <a:pt x="1009" y="643"/>
                </a:cubicBezTo>
                <a:cubicBezTo>
                  <a:pt x="1009" y="643"/>
                  <a:pt x="1009" y="643"/>
                  <a:pt x="1009" y="642"/>
                </a:cubicBezTo>
                <a:cubicBezTo>
                  <a:pt x="1008" y="643"/>
                  <a:pt x="1009" y="639"/>
                  <a:pt x="1008" y="640"/>
                </a:cubicBezTo>
                <a:cubicBezTo>
                  <a:pt x="1008" y="639"/>
                  <a:pt x="1008" y="638"/>
                  <a:pt x="1008" y="638"/>
                </a:cubicBezTo>
                <a:cubicBezTo>
                  <a:pt x="1008" y="638"/>
                  <a:pt x="1009" y="638"/>
                  <a:pt x="1009" y="638"/>
                </a:cubicBezTo>
                <a:cubicBezTo>
                  <a:pt x="1009" y="637"/>
                  <a:pt x="1009" y="636"/>
                  <a:pt x="1009" y="636"/>
                </a:cubicBezTo>
                <a:cubicBezTo>
                  <a:pt x="1009" y="635"/>
                  <a:pt x="1008" y="636"/>
                  <a:pt x="1008" y="635"/>
                </a:cubicBezTo>
                <a:cubicBezTo>
                  <a:pt x="1007" y="634"/>
                  <a:pt x="1006" y="633"/>
                  <a:pt x="1005" y="632"/>
                </a:cubicBezTo>
                <a:cubicBezTo>
                  <a:pt x="1005" y="632"/>
                  <a:pt x="1005" y="631"/>
                  <a:pt x="1005" y="631"/>
                </a:cubicBezTo>
                <a:cubicBezTo>
                  <a:pt x="1005" y="631"/>
                  <a:pt x="1004" y="631"/>
                  <a:pt x="1004" y="631"/>
                </a:cubicBezTo>
                <a:cubicBezTo>
                  <a:pt x="1004" y="630"/>
                  <a:pt x="1004" y="629"/>
                  <a:pt x="1004" y="629"/>
                </a:cubicBezTo>
                <a:cubicBezTo>
                  <a:pt x="1004" y="627"/>
                  <a:pt x="1004" y="627"/>
                  <a:pt x="1004" y="626"/>
                </a:cubicBezTo>
                <a:cubicBezTo>
                  <a:pt x="1004" y="625"/>
                  <a:pt x="1003" y="624"/>
                  <a:pt x="1003" y="623"/>
                </a:cubicBezTo>
                <a:cubicBezTo>
                  <a:pt x="1004" y="622"/>
                  <a:pt x="1004" y="621"/>
                  <a:pt x="1004" y="620"/>
                </a:cubicBezTo>
                <a:cubicBezTo>
                  <a:pt x="1004" y="619"/>
                  <a:pt x="1005" y="619"/>
                  <a:pt x="1005" y="618"/>
                </a:cubicBezTo>
                <a:cubicBezTo>
                  <a:pt x="1005" y="617"/>
                  <a:pt x="1005" y="617"/>
                  <a:pt x="1004" y="617"/>
                </a:cubicBezTo>
                <a:cubicBezTo>
                  <a:pt x="1004" y="616"/>
                  <a:pt x="1004" y="617"/>
                  <a:pt x="1004" y="616"/>
                </a:cubicBezTo>
                <a:cubicBezTo>
                  <a:pt x="1004" y="616"/>
                  <a:pt x="1004" y="616"/>
                  <a:pt x="1003" y="616"/>
                </a:cubicBezTo>
                <a:cubicBezTo>
                  <a:pt x="1002" y="615"/>
                  <a:pt x="1002" y="614"/>
                  <a:pt x="1001" y="614"/>
                </a:cubicBezTo>
                <a:cubicBezTo>
                  <a:pt x="1001" y="614"/>
                  <a:pt x="1002" y="611"/>
                  <a:pt x="1001" y="611"/>
                </a:cubicBezTo>
                <a:cubicBezTo>
                  <a:pt x="1000" y="610"/>
                  <a:pt x="1001" y="611"/>
                  <a:pt x="1001" y="610"/>
                </a:cubicBezTo>
                <a:cubicBezTo>
                  <a:pt x="1001" y="609"/>
                  <a:pt x="1002" y="610"/>
                  <a:pt x="1002" y="609"/>
                </a:cubicBezTo>
                <a:cubicBezTo>
                  <a:pt x="1002" y="609"/>
                  <a:pt x="1002" y="606"/>
                  <a:pt x="1003" y="606"/>
                </a:cubicBezTo>
                <a:cubicBezTo>
                  <a:pt x="1003" y="605"/>
                  <a:pt x="1002" y="605"/>
                  <a:pt x="1003" y="605"/>
                </a:cubicBezTo>
                <a:cubicBezTo>
                  <a:pt x="1003" y="605"/>
                  <a:pt x="1003" y="604"/>
                  <a:pt x="1004" y="603"/>
                </a:cubicBezTo>
                <a:cubicBezTo>
                  <a:pt x="1004" y="602"/>
                  <a:pt x="1005" y="602"/>
                  <a:pt x="1005" y="602"/>
                </a:cubicBezTo>
                <a:cubicBezTo>
                  <a:pt x="1005" y="601"/>
                  <a:pt x="1004" y="601"/>
                  <a:pt x="1005" y="601"/>
                </a:cubicBezTo>
                <a:cubicBezTo>
                  <a:pt x="1005" y="601"/>
                  <a:pt x="1004" y="599"/>
                  <a:pt x="1005" y="599"/>
                </a:cubicBezTo>
                <a:cubicBezTo>
                  <a:pt x="1005" y="598"/>
                  <a:pt x="1005" y="598"/>
                  <a:pt x="1005" y="597"/>
                </a:cubicBezTo>
                <a:cubicBezTo>
                  <a:pt x="1005" y="596"/>
                  <a:pt x="1006" y="597"/>
                  <a:pt x="1006" y="596"/>
                </a:cubicBezTo>
                <a:cubicBezTo>
                  <a:pt x="1006" y="595"/>
                  <a:pt x="1007" y="594"/>
                  <a:pt x="1007" y="593"/>
                </a:cubicBezTo>
                <a:cubicBezTo>
                  <a:pt x="1009" y="592"/>
                  <a:pt x="1010" y="593"/>
                  <a:pt x="1011" y="592"/>
                </a:cubicBezTo>
                <a:cubicBezTo>
                  <a:pt x="1011" y="591"/>
                  <a:pt x="1012" y="591"/>
                  <a:pt x="1012" y="590"/>
                </a:cubicBezTo>
                <a:cubicBezTo>
                  <a:pt x="1012" y="589"/>
                  <a:pt x="1012" y="589"/>
                  <a:pt x="1012" y="589"/>
                </a:cubicBezTo>
                <a:cubicBezTo>
                  <a:pt x="1013" y="589"/>
                  <a:pt x="1014" y="589"/>
                  <a:pt x="1015" y="588"/>
                </a:cubicBezTo>
                <a:cubicBezTo>
                  <a:pt x="1015" y="587"/>
                  <a:pt x="1015" y="587"/>
                  <a:pt x="1015" y="586"/>
                </a:cubicBezTo>
                <a:cubicBezTo>
                  <a:pt x="1015" y="586"/>
                  <a:pt x="1015" y="586"/>
                  <a:pt x="1015" y="586"/>
                </a:cubicBezTo>
                <a:cubicBezTo>
                  <a:pt x="1015" y="585"/>
                  <a:pt x="1015" y="585"/>
                  <a:pt x="1016" y="584"/>
                </a:cubicBezTo>
                <a:cubicBezTo>
                  <a:pt x="1017" y="584"/>
                  <a:pt x="1017" y="584"/>
                  <a:pt x="1017" y="583"/>
                </a:cubicBezTo>
                <a:cubicBezTo>
                  <a:pt x="1016" y="581"/>
                  <a:pt x="1018" y="582"/>
                  <a:pt x="1018" y="581"/>
                </a:cubicBezTo>
                <a:cubicBezTo>
                  <a:pt x="1018" y="580"/>
                  <a:pt x="1019" y="580"/>
                  <a:pt x="1019" y="579"/>
                </a:cubicBezTo>
                <a:cubicBezTo>
                  <a:pt x="1018" y="578"/>
                  <a:pt x="1020" y="578"/>
                  <a:pt x="1020" y="577"/>
                </a:cubicBezTo>
                <a:cubicBezTo>
                  <a:pt x="1020" y="576"/>
                  <a:pt x="1020" y="577"/>
                  <a:pt x="1021" y="576"/>
                </a:cubicBezTo>
                <a:cubicBezTo>
                  <a:pt x="1021" y="576"/>
                  <a:pt x="1022" y="576"/>
                  <a:pt x="1022" y="576"/>
                </a:cubicBezTo>
                <a:cubicBezTo>
                  <a:pt x="1022" y="575"/>
                  <a:pt x="1023" y="575"/>
                  <a:pt x="1023" y="574"/>
                </a:cubicBezTo>
                <a:cubicBezTo>
                  <a:pt x="1023" y="573"/>
                  <a:pt x="1023" y="573"/>
                  <a:pt x="1024" y="573"/>
                </a:cubicBezTo>
                <a:cubicBezTo>
                  <a:pt x="1024" y="573"/>
                  <a:pt x="1024" y="573"/>
                  <a:pt x="1024" y="572"/>
                </a:cubicBezTo>
                <a:cubicBezTo>
                  <a:pt x="1025" y="572"/>
                  <a:pt x="1025" y="572"/>
                  <a:pt x="1025" y="572"/>
                </a:cubicBezTo>
                <a:cubicBezTo>
                  <a:pt x="1025" y="571"/>
                  <a:pt x="1025" y="571"/>
                  <a:pt x="1026" y="571"/>
                </a:cubicBezTo>
                <a:cubicBezTo>
                  <a:pt x="1027" y="571"/>
                  <a:pt x="1027" y="571"/>
                  <a:pt x="1027" y="570"/>
                </a:cubicBezTo>
                <a:cubicBezTo>
                  <a:pt x="1027" y="570"/>
                  <a:pt x="1027" y="570"/>
                  <a:pt x="1027" y="570"/>
                </a:cubicBezTo>
                <a:cubicBezTo>
                  <a:pt x="1027" y="570"/>
                  <a:pt x="1027" y="569"/>
                  <a:pt x="1028" y="569"/>
                </a:cubicBezTo>
                <a:cubicBezTo>
                  <a:pt x="1029" y="569"/>
                  <a:pt x="1028" y="568"/>
                  <a:pt x="1029" y="568"/>
                </a:cubicBezTo>
                <a:cubicBezTo>
                  <a:pt x="1030" y="568"/>
                  <a:pt x="1029" y="568"/>
                  <a:pt x="1030" y="568"/>
                </a:cubicBezTo>
                <a:cubicBezTo>
                  <a:pt x="1030" y="567"/>
                  <a:pt x="1031" y="567"/>
                  <a:pt x="1031" y="567"/>
                </a:cubicBezTo>
                <a:cubicBezTo>
                  <a:pt x="1032" y="567"/>
                  <a:pt x="1033" y="566"/>
                  <a:pt x="1033" y="566"/>
                </a:cubicBezTo>
                <a:cubicBezTo>
                  <a:pt x="1033" y="564"/>
                  <a:pt x="1038" y="563"/>
                  <a:pt x="1038" y="561"/>
                </a:cubicBezTo>
                <a:cubicBezTo>
                  <a:pt x="1038" y="559"/>
                  <a:pt x="1039" y="560"/>
                  <a:pt x="1039" y="560"/>
                </a:cubicBezTo>
                <a:cubicBezTo>
                  <a:pt x="1039" y="559"/>
                  <a:pt x="1041" y="559"/>
                  <a:pt x="1041" y="558"/>
                </a:cubicBezTo>
                <a:cubicBezTo>
                  <a:pt x="1041" y="557"/>
                  <a:pt x="1041" y="556"/>
                  <a:pt x="1041" y="556"/>
                </a:cubicBezTo>
                <a:cubicBezTo>
                  <a:pt x="1042" y="555"/>
                  <a:pt x="1043" y="555"/>
                  <a:pt x="1044" y="555"/>
                </a:cubicBezTo>
                <a:cubicBezTo>
                  <a:pt x="1044" y="554"/>
                  <a:pt x="1043" y="554"/>
                  <a:pt x="1044" y="554"/>
                </a:cubicBezTo>
                <a:cubicBezTo>
                  <a:pt x="1044" y="554"/>
                  <a:pt x="1045" y="554"/>
                  <a:pt x="1045" y="554"/>
                </a:cubicBezTo>
                <a:cubicBezTo>
                  <a:pt x="1045" y="553"/>
                  <a:pt x="1044" y="553"/>
                  <a:pt x="1045" y="552"/>
                </a:cubicBezTo>
                <a:cubicBezTo>
                  <a:pt x="1046" y="552"/>
                  <a:pt x="1046" y="551"/>
                  <a:pt x="1047" y="550"/>
                </a:cubicBezTo>
                <a:cubicBezTo>
                  <a:pt x="1047" y="550"/>
                  <a:pt x="1047" y="549"/>
                  <a:pt x="1047" y="549"/>
                </a:cubicBezTo>
                <a:cubicBezTo>
                  <a:pt x="1047" y="549"/>
                  <a:pt x="1047" y="548"/>
                  <a:pt x="1048" y="548"/>
                </a:cubicBezTo>
                <a:cubicBezTo>
                  <a:pt x="1048" y="547"/>
                  <a:pt x="1048" y="546"/>
                  <a:pt x="1048" y="545"/>
                </a:cubicBezTo>
                <a:cubicBezTo>
                  <a:pt x="1049" y="545"/>
                  <a:pt x="1049" y="544"/>
                  <a:pt x="1050" y="544"/>
                </a:cubicBezTo>
                <a:cubicBezTo>
                  <a:pt x="1050" y="543"/>
                  <a:pt x="1050" y="543"/>
                  <a:pt x="1050" y="542"/>
                </a:cubicBezTo>
                <a:cubicBezTo>
                  <a:pt x="1050" y="542"/>
                  <a:pt x="1050" y="542"/>
                  <a:pt x="1050" y="541"/>
                </a:cubicBezTo>
                <a:cubicBezTo>
                  <a:pt x="1050" y="541"/>
                  <a:pt x="1050" y="541"/>
                  <a:pt x="1050" y="541"/>
                </a:cubicBezTo>
                <a:cubicBezTo>
                  <a:pt x="1050" y="541"/>
                  <a:pt x="1051" y="540"/>
                  <a:pt x="1051" y="539"/>
                </a:cubicBezTo>
                <a:cubicBezTo>
                  <a:pt x="1051" y="539"/>
                  <a:pt x="1051" y="539"/>
                  <a:pt x="1051" y="539"/>
                </a:cubicBezTo>
                <a:cubicBezTo>
                  <a:pt x="1051" y="539"/>
                  <a:pt x="1051" y="538"/>
                  <a:pt x="1051" y="538"/>
                </a:cubicBezTo>
                <a:cubicBezTo>
                  <a:pt x="1051" y="538"/>
                  <a:pt x="1051" y="538"/>
                  <a:pt x="1052" y="537"/>
                </a:cubicBezTo>
                <a:cubicBezTo>
                  <a:pt x="1052" y="537"/>
                  <a:pt x="1052" y="536"/>
                  <a:pt x="1052" y="535"/>
                </a:cubicBezTo>
                <a:cubicBezTo>
                  <a:pt x="1052" y="534"/>
                  <a:pt x="1053" y="534"/>
                  <a:pt x="1053" y="534"/>
                </a:cubicBezTo>
                <a:cubicBezTo>
                  <a:pt x="1053" y="532"/>
                  <a:pt x="1053" y="532"/>
                  <a:pt x="1054" y="532"/>
                </a:cubicBezTo>
                <a:cubicBezTo>
                  <a:pt x="1055" y="531"/>
                  <a:pt x="1055" y="531"/>
                  <a:pt x="1055" y="530"/>
                </a:cubicBezTo>
                <a:cubicBezTo>
                  <a:pt x="1055" y="530"/>
                  <a:pt x="1055" y="530"/>
                  <a:pt x="1056" y="530"/>
                </a:cubicBezTo>
                <a:cubicBezTo>
                  <a:pt x="1056" y="529"/>
                  <a:pt x="1056" y="529"/>
                  <a:pt x="1056" y="528"/>
                </a:cubicBezTo>
                <a:cubicBezTo>
                  <a:pt x="1056" y="527"/>
                  <a:pt x="1056" y="526"/>
                  <a:pt x="1057" y="526"/>
                </a:cubicBezTo>
                <a:cubicBezTo>
                  <a:pt x="1058" y="526"/>
                  <a:pt x="1057" y="524"/>
                  <a:pt x="1058" y="523"/>
                </a:cubicBezTo>
                <a:cubicBezTo>
                  <a:pt x="1058" y="522"/>
                  <a:pt x="1058" y="523"/>
                  <a:pt x="1058" y="522"/>
                </a:cubicBezTo>
                <a:cubicBezTo>
                  <a:pt x="1058" y="522"/>
                  <a:pt x="1058" y="521"/>
                  <a:pt x="1058" y="521"/>
                </a:cubicBezTo>
                <a:cubicBezTo>
                  <a:pt x="1058" y="521"/>
                  <a:pt x="1058" y="521"/>
                  <a:pt x="1058" y="521"/>
                </a:cubicBezTo>
                <a:cubicBezTo>
                  <a:pt x="1059" y="520"/>
                  <a:pt x="1058" y="519"/>
                  <a:pt x="1059" y="518"/>
                </a:cubicBezTo>
                <a:cubicBezTo>
                  <a:pt x="1059" y="518"/>
                  <a:pt x="1059" y="518"/>
                  <a:pt x="1059" y="518"/>
                </a:cubicBezTo>
                <a:cubicBezTo>
                  <a:pt x="1059" y="517"/>
                  <a:pt x="1059" y="516"/>
                  <a:pt x="1059" y="515"/>
                </a:cubicBezTo>
                <a:cubicBezTo>
                  <a:pt x="1059" y="515"/>
                  <a:pt x="1059" y="514"/>
                  <a:pt x="1059" y="513"/>
                </a:cubicBezTo>
                <a:cubicBezTo>
                  <a:pt x="1059" y="513"/>
                  <a:pt x="1060" y="512"/>
                  <a:pt x="1059" y="512"/>
                </a:cubicBezTo>
                <a:cubicBezTo>
                  <a:pt x="1058" y="511"/>
                  <a:pt x="1057" y="512"/>
                  <a:pt x="1056" y="512"/>
                </a:cubicBezTo>
                <a:cubicBezTo>
                  <a:pt x="1056" y="512"/>
                  <a:pt x="1056" y="513"/>
                  <a:pt x="1056" y="513"/>
                </a:cubicBezTo>
                <a:cubicBezTo>
                  <a:pt x="1056" y="513"/>
                  <a:pt x="1055" y="513"/>
                  <a:pt x="1055" y="513"/>
                </a:cubicBezTo>
                <a:cubicBezTo>
                  <a:pt x="1054" y="513"/>
                  <a:pt x="1056" y="513"/>
                  <a:pt x="1054" y="513"/>
                </a:cubicBezTo>
                <a:cubicBezTo>
                  <a:pt x="1054" y="513"/>
                  <a:pt x="1054" y="513"/>
                  <a:pt x="1053" y="513"/>
                </a:cubicBezTo>
                <a:cubicBezTo>
                  <a:pt x="1053" y="513"/>
                  <a:pt x="1053" y="514"/>
                  <a:pt x="1053" y="514"/>
                </a:cubicBezTo>
                <a:cubicBezTo>
                  <a:pt x="1052" y="514"/>
                  <a:pt x="1051" y="514"/>
                  <a:pt x="1049" y="514"/>
                </a:cubicBezTo>
                <a:cubicBezTo>
                  <a:pt x="1049" y="514"/>
                  <a:pt x="1048" y="514"/>
                  <a:pt x="1048" y="514"/>
                </a:cubicBezTo>
                <a:cubicBezTo>
                  <a:pt x="1046" y="514"/>
                  <a:pt x="1048" y="514"/>
                  <a:pt x="1047" y="514"/>
                </a:cubicBezTo>
                <a:cubicBezTo>
                  <a:pt x="1047" y="514"/>
                  <a:pt x="1046" y="514"/>
                  <a:pt x="1046" y="514"/>
                </a:cubicBezTo>
                <a:cubicBezTo>
                  <a:pt x="1046" y="515"/>
                  <a:pt x="1046" y="515"/>
                  <a:pt x="1045" y="515"/>
                </a:cubicBezTo>
                <a:cubicBezTo>
                  <a:pt x="1045" y="515"/>
                  <a:pt x="1044" y="515"/>
                  <a:pt x="1044" y="515"/>
                </a:cubicBezTo>
                <a:cubicBezTo>
                  <a:pt x="1044" y="515"/>
                  <a:pt x="1044" y="515"/>
                  <a:pt x="1043" y="516"/>
                </a:cubicBezTo>
                <a:cubicBezTo>
                  <a:pt x="1042" y="516"/>
                  <a:pt x="1042" y="516"/>
                  <a:pt x="1042" y="516"/>
                </a:cubicBezTo>
                <a:cubicBezTo>
                  <a:pt x="1041" y="517"/>
                  <a:pt x="1041" y="517"/>
                  <a:pt x="1041" y="517"/>
                </a:cubicBezTo>
                <a:cubicBezTo>
                  <a:pt x="1040" y="517"/>
                  <a:pt x="1041" y="517"/>
                  <a:pt x="1040" y="517"/>
                </a:cubicBezTo>
                <a:cubicBezTo>
                  <a:pt x="1040" y="517"/>
                  <a:pt x="1040" y="517"/>
                  <a:pt x="1040" y="517"/>
                </a:cubicBezTo>
                <a:cubicBezTo>
                  <a:pt x="1039" y="517"/>
                  <a:pt x="1040" y="517"/>
                  <a:pt x="1039" y="517"/>
                </a:cubicBezTo>
                <a:cubicBezTo>
                  <a:pt x="1038" y="517"/>
                  <a:pt x="1038" y="518"/>
                  <a:pt x="1037" y="518"/>
                </a:cubicBezTo>
                <a:cubicBezTo>
                  <a:pt x="1037" y="518"/>
                  <a:pt x="1036" y="518"/>
                  <a:pt x="1036" y="517"/>
                </a:cubicBezTo>
                <a:cubicBezTo>
                  <a:pt x="1035" y="516"/>
                  <a:pt x="1032" y="517"/>
                  <a:pt x="1031" y="518"/>
                </a:cubicBezTo>
                <a:cubicBezTo>
                  <a:pt x="1030" y="518"/>
                  <a:pt x="1029" y="519"/>
                  <a:pt x="1028" y="519"/>
                </a:cubicBezTo>
                <a:cubicBezTo>
                  <a:pt x="1027" y="518"/>
                  <a:pt x="1027" y="518"/>
                  <a:pt x="1027" y="518"/>
                </a:cubicBezTo>
                <a:cubicBezTo>
                  <a:pt x="1026" y="518"/>
                  <a:pt x="1027" y="518"/>
                  <a:pt x="1027" y="517"/>
                </a:cubicBezTo>
                <a:cubicBezTo>
                  <a:pt x="1026" y="517"/>
                  <a:pt x="1026" y="517"/>
                  <a:pt x="1026" y="517"/>
                </a:cubicBezTo>
                <a:cubicBezTo>
                  <a:pt x="1026" y="517"/>
                  <a:pt x="1025" y="517"/>
                  <a:pt x="1025" y="517"/>
                </a:cubicBezTo>
                <a:cubicBezTo>
                  <a:pt x="1024" y="516"/>
                  <a:pt x="1024" y="516"/>
                  <a:pt x="1024" y="515"/>
                </a:cubicBezTo>
                <a:cubicBezTo>
                  <a:pt x="1023" y="515"/>
                  <a:pt x="1023" y="515"/>
                  <a:pt x="1023" y="514"/>
                </a:cubicBezTo>
                <a:cubicBezTo>
                  <a:pt x="1023" y="513"/>
                  <a:pt x="1022" y="512"/>
                  <a:pt x="1021" y="512"/>
                </a:cubicBezTo>
                <a:cubicBezTo>
                  <a:pt x="1021" y="512"/>
                  <a:pt x="1021" y="511"/>
                  <a:pt x="1021" y="511"/>
                </a:cubicBezTo>
                <a:cubicBezTo>
                  <a:pt x="1022" y="510"/>
                  <a:pt x="1022" y="511"/>
                  <a:pt x="1022" y="511"/>
                </a:cubicBezTo>
                <a:cubicBezTo>
                  <a:pt x="1022" y="510"/>
                  <a:pt x="1023" y="509"/>
                  <a:pt x="1023" y="509"/>
                </a:cubicBezTo>
                <a:cubicBezTo>
                  <a:pt x="1023" y="508"/>
                  <a:pt x="1023" y="508"/>
                  <a:pt x="1023" y="507"/>
                </a:cubicBezTo>
                <a:cubicBezTo>
                  <a:pt x="1022" y="508"/>
                  <a:pt x="1023" y="506"/>
                  <a:pt x="1022" y="506"/>
                </a:cubicBezTo>
                <a:cubicBezTo>
                  <a:pt x="1021" y="506"/>
                  <a:pt x="1020" y="504"/>
                  <a:pt x="1019" y="503"/>
                </a:cubicBezTo>
                <a:cubicBezTo>
                  <a:pt x="1018" y="502"/>
                  <a:pt x="1018" y="503"/>
                  <a:pt x="1018" y="501"/>
                </a:cubicBezTo>
                <a:cubicBezTo>
                  <a:pt x="1018" y="501"/>
                  <a:pt x="1018" y="501"/>
                  <a:pt x="1018" y="500"/>
                </a:cubicBezTo>
                <a:cubicBezTo>
                  <a:pt x="1018" y="500"/>
                  <a:pt x="1017" y="500"/>
                  <a:pt x="1017" y="500"/>
                </a:cubicBezTo>
                <a:cubicBezTo>
                  <a:pt x="1017" y="499"/>
                  <a:pt x="1017" y="499"/>
                  <a:pt x="1017" y="499"/>
                </a:cubicBezTo>
                <a:cubicBezTo>
                  <a:pt x="1016" y="499"/>
                  <a:pt x="1015" y="498"/>
                  <a:pt x="1015" y="498"/>
                </a:cubicBezTo>
                <a:cubicBezTo>
                  <a:pt x="1013" y="497"/>
                  <a:pt x="1014" y="494"/>
                  <a:pt x="1011" y="493"/>
                </a:cubicBezTo>
                <a:cubicBezTo>
                  <a:pt x="1010" y="493"/>
                  <a:pt x="1009" y="493"/>
                  <a:pt x="1009" y="493"/>
                </a:cubicBezTo>
                <a:cubicBezTo>
                  <a:pt x="1009" y="492"/>
                  <a:pt x="1009" y="492"/>
                  <a:pt x="1009" y="492"/>
                </a:cubicBezTo>
                <a:cubicBezTo>
                  <a:pt x="1009" y="491"/>
                  <a:pt x="1008" y="492"/>
                  <a:pt x="1008" y="491"/>
                </a:cubicBezTo>
                <a:cubicBezTo>
                  <a:pt x="1007" y="491"/>
                  <a:pt x="1007" y="489"/>
                  <a:pt x="1006" y="489"/>
                </a:cubicBezTo>
                <a:cubicBezTo>
                  <a:pt x="1006" y="491"/>
                  <a:pt x="1005" y="489"/>
                  <a:pt x="1005" y="489"/>
                </a:cubicBezTo>
                <a:cubicBezTo>
                  <a:pt x="1004" y="488"/>
                  <a:pt x="1004" y="486"/>
                  <a:pt x="1003" y="485"/>
                </a:cubicBezTo>
                <a:cubicBezTo>
                  <a:pt x="1003" y="484"/>
                  <a:pt x="1004" y="481"/>
                  <a:pt x="1003" y="481"/>
                </a:cubicBezTo>
                <a:cubicBezTo>
                  <a:pt x="1003" y="481"/>
                  <a:pt x="1003" y="480"/>
                  <a:pt x="1003" y="479"/>
                </a:cubicBezTo>
                <a:cubicBezTo>
                  <a:pt x="1003" y="479"/>
                  <a:pt x="1003" y="479"/>
                  <a:pt x="1003" y="478"/>
                </a:cubicBezTo>
                <a:cubicBezTo>
                  <a:pt x="1003" y="477"/>
                  <a:pt x="1003" y="478"/>
                  <a:pt x="1002" y="478"/>
                </a:cubicBezTo>
                <a:cubicBezTo>
                  <a:pt x="1002" y="477"/>
                  <a:pt x="1002" y="477"/>
                  <a:pt x="1002" y="477"/>
                </a:cubicBezTo>
                <a:cubicBezTo>
                  <a:pt x="1002" y="477"/>
                  <a:pt x="1002" y="477"/>
                  <a:pt x="1002" y="477"/>
                </a:cubicBezTo>
                <a:cubicBezTo>
                  <a:pt x="1002" y="477"/>
                  <a:pt x="1002" y="476"/>
                  <a:pt x="1002" y="476"/>
                </a:cubicBezTo>
                <a:cubicBezTo>
                  <a:pt x="1002" y="475"/>
                  <a:pt x="1002" y="476"/>
                  <a:pt x="1002" y="475"/>
                </a:cubicBezTo>
                <a:cubicBezTo>
                  <a:pt x="1001" y="474"/>
                  <a:pt x="1000" y="475"/>
                  <a:pt x="999" y="474"/>
                </a:cubicBezTo>
                <a:cubicBezTo>
                  <a:pt x="999" y="473"/>
                  <a:pt x="998" y="472"/>
                  <a:pt x="997" y="471"/>
                </a:cubicBezTo>
                <a:cubicBezTo>
                  <a:pt x="997" y="471"/>
                  <a:pt x="996" y="470"/>
                  <a:pt x="995" y="470"/>
                </a:cubicBezTo>
                <a:cubicBezTo>
                  <a:pt x="995" y="470"/>
                  <a:pt x="995" y="469"/>
                  <a:pt x="995" y="468"/>
                </a:cubicBezTo>
                <a:cubicBezTo>
                  <a:pt x="995" y="468"/>
                  <a:pt x="995" y="468"/>
                  <a:pt x="994" y="467"/>
                </a:cubicBezTo>
                <a:cubicBezTo>
                  <a:pt x="994" y="467"/>
                  <a:pt x="994" y="466"/>
                  <a:pt x="994" y="466"/>
                </a:cubicBezTo>
                <a:cubicBezTo>
                  <a:pt x="994" y="466"/>
                  <a:pt x="994" y="464"/>
                  <a:pt x="994" y="464"/>
                </a:cubicBezTo>
                <a:cubicBezTo>
                  <a:pt x="994" y="464"/>
                  <a:pt x="994" y="463"/>
                  <a:pt x="994" y="462"/>
                </a:cubicBezTo>
                <a:cubicBezTo>
                  <a:pt x="995" y="462"/>
                  <a:pt x="995" y="462"/>
                  <a:pt x="995" y="461"/>
                </a:cubicBezTo>
                <a:cubicBezTo>
                  <a:pt x="995" y="461"/>
                  <a:pt x="994" y="460"/>
                  <a:pt x="994" y="459"/>
                </a:cubicBezTo>
                <a:cubicBezTo>
                  <a:pt x="994" y="459"/>
                  <a:pt x="995" y="459"/>
                  <a:pt x="995" y="459"/>
                </a:cubicBezTo>
                <a:cubicBezTo>
                  <a:pt x="994" y="459"/>
                  <a:pt x="994" y="459"/>
                  <a:pt x="994" y="458"/>
                </a:cubicBezTo>
                <a:cubicBezTo>
                  <a:pt x="994" y="458"/>
                  <a:pt x="994" y="458"/>
                  <a:pt x="994" y="458"/>
                </a:cubicBezTo>
                <a:cubicBezTo>
                  <a:pt x="994" y="457"/>
                  <a:pt x="994" y="457"/>
                  <a:pt x="994" y="456"/>
                </a:cubicBezTo>
                <a:cubicBezTo>
                  <a:pt x="994" y="456"/>
                  <a:pt x="994" y="456"/>
                  <a:pt x="994" y="456"/>
                </a:cubicBezTo>
                <a:cubicBezTo>
                  <a:pt x="994" y="455"/>
                  <a:pt x="993" y="455"/>
                  <a:pt x="993" y="454"/>
                </a:cubicBezTo>
                <a:cubicBezTo>
                  <a:pt x="993" y="454"/>
                  <a:pt x="993" y="454"/>
                  <a:pt x="993" y="453"/>
                </a:cubicBezTo>
                <a:cubicBezTo>
                  <a:pt x="993" y="453"/>
                  <a:pt x="992" y="453"/>
                  <a:pt x="992" y="453"/>
                </a:cubicBezTo>
                <a:cubicBezTo>
                  <a:pt x="992" y="452"/>
                  <a:pt x="992" y="452"/>
                  <a:pt x="992" y="452"/>
                </a:cubicBezTo>
                <a:cubicBezTo>
                  <a:pt x="992" y="450"/>
                  <a:pt x="992" y="451"/>
                  <a:pt x="991" y="450"/>
                </a:cubicBezTo>
                <a:cubicBezTo>
                  <a:pt x="990" y="449"/>
                  <a:pt x="991" y="450"/>
                  <a:pt x="990" y="449"/>
                </a:cubicBezTo>
                <a:cubicBezTo>
                  <a:pt x="989" y="448"/>
                  <a:pt x="988" y="448"/>
                  <a:pt x="988" y="447"/>
                </a:cubicBezTo>
                <a:cubicBezTo>
                  <a:pt x="987" y="447"/>
                  <a:pt x="987" y="446"/>
                  <a:pt x="987" y="446"/>
                </a:cubicBezTo>
                <a:cubicBezTo>
                  <a:pt x="987" y="446"/>
                  <a:pt x="987" y="445"/>
                  <a:pt x="987" y="445"/>
                </a:cubicBezTo>
                <a:cubicBezTo>
                  <a:pt x="987" y="444"/>
                  <a:pt x="987" y="444"/>
                  <a:pt x="987" y="444"/>
                </a:cubicBezTo>
                <a:cubicBezTo>
                  <a:pt x="986" y="444"/>
                  <a:pt x="986" y="445"/>
                  <a:pt x="986" y="444"/>
                </a:cubicBezTo>
                <a:cubicBezTo>
                  <a:pt x="986" y="442"/>
                  <a:pt x="986" y="441"/>
                  <a:pt x="986" y="440"/>
                </a:cubicBezTo>
                <a:cubicBezTo>
                  <a:pt x="986" y="440"/>
                  <a:pt x="987" y="440"/>
                  <a:pt x="987" y="440"/>
                </a:cubicBezTo>
                <a:cubicBezTo>
                  <a:pt x="987" y="439"/>
                  <a:pt x="986" y="439"/>
                  <a:pt x="986" y="438"/>
                </a:cubicBezTo>
                <a:cubicBezTo>
                  <a:pt x="986" y="437"/>
                  <a:pt x="985" y="438"/>
                  <a:pt x="985" y="436"/>
                </a:cubicBezTo>
                <a:cubicBezTo>
                  <a:pt x="985" y="436"/>
                  <a:pt x="985" y="435"/>
                  <a:pt x="984" y="435"/>
                </a:cubicBezTo>
                <a:cubicBezTo>
                  <a:pt x="984" y="435"/>
                  <a:pt x="984" y="435"/>
                  <a:pt x="984" y="434"/>
                </a:cubicBezTo>
                <a:cubicBezTo>
                  <a:pt x="984" y="434"/>
                  <a:pt x="984" y="435"/>
                  <a:pt x="984" y="434"/>
                </a:cubicBezTo>
                <a:cubicBezTo>
                  <a:pt x="984" y="434"/>
                  <a:pt x="983" y="433"/>
                  <a:pt x="983" y="433"/>
                </a:cubicBezTo>
                <a:cubicBezTo>
                  <a:pt x="983" y="432"/>
                  <a:pt x="983" y="431"/>
                  <a:pt x="982" y="431"/>
                </a:cubicBezTo>
                <a:cubicBezTo>
                  <a:pt x="980" y="431"/>
                  <a:pt x="980" y="428"/>
                  <a:pt x="979" y="427"/>
                </a:cubicBezTo>
                <a:cubicBezTo>
                  <a:pt x="979" y="425"/>
                  <a:pt x="978" y="424"/>
                  <a:pt x="978" y="422"/>
                </a:cubicBezTo>
                <a:cubicBezTo>
                  <a:pt x="977" y="421"/>
                  <a:pt x="976" y="421"/>
                  <a:pt x="976" y="420"/>
                </a:cubicBezTo>
                <a:cubicBezTo>
                  <a:pt x="976" y="420"/>
                  <a:pt x="976" y="419"/>
                  <a:pt x="976" y="419"/>
                </a:cubicBezTo>
                <a:cubicBezTo>
                  <a:pt x="976" y="418"/>
                  <a:pt x="976" y="417"/>
                  <a:pt x="975" y="417"/>
                </a:cubicBezTo>
                <a:cubicBezTo>
                  <a:pt x="975" y="416"/>
                  <a:pt x="975" y="416"/>
                  <a:pt x="974" y="415"/>
                </a:cubicBezTo>
                <a:cubicBezTo>
                  <a:pt x="973" y="414"/>
                  <a:pt x="972" y="412"/>
                  <a:pt x="972" y="411"/>
                </a:cubicBezTo>
                <a:cubicBezTo>
                  <a:pt x="973" y="411"/>
                  <a:pt x="972" y="410"/>
                  <a:pt x="973" y="410"/>
                </a:cubicBezTo>
                <a:cubicBezTo>
                  <a:pt x="973" y="410"/>
                  <a:pt x="974" y="411"/>
                  <a:pt x="974" y="411"/>
                </a:cubicBezTo>
                <a:cubicBezTo>
                  <a:pt x="974" y="412"/>
                  <a:pt x="974" y="412"/>
                  <a:pt x="975" y="412"/>
                </a:cubicBezTo>
                <a:cubicBezTo>
                  <a:pt x="975" y="412"/>
                  <a:pt x="975" y="414"/>
                  <a:pt x="975" y="414"/>
                </a:cubicBezTo>
                <a:cubicBezTo>
                  <a:pt x="976" y="414"/>
                  <a:pt x="976" y="415"/>
                  <a:pt x="976" y="415"/>
                </a:cubicBezTo>
                <a:cubicBezTo>
                  <a:pt x="976" y="415"/>
                  <a:pt x="977" y="417"/>
                  <a:pt x="978" y="417"/>
                </a:cubicBezTo>
                <a:cubicBezTo>
                  <a:pt x="979" y="418"/>
                  <a:pt x="979" y="418"/>
                  <a:pt x="980" y="418"/>
                </a:cubicBezTo>
                <a:cubicBezTo>
                  <a:pt x="981" y="418"/>
                  <a:pt x="981" y="416"/>
                  <a:pt x="982" y="415"/>
                </a:cubicBezTo>
                <a:cubicBezTo>
                  <a:pt x="982" y="415"/>
                  <a:pt x="982" y="415"/>
                  <a:pt x="982" y="415"/>
                </a:cubicBezTo>
                <a:cubicBezTo>
                  <a:pt x="982" y="414"/>
                  <a:pt x="982" y="414"/>
                  <a:pt x="982" y="414"/>
                </a:cubicBezTo>
                <a:cubicBezTo>
                  <a:pt x="982" y="415"/>
                  <a:pt x="982" y="416"/>
                  <a:pt x="982" y="417"/>
                </a:cubicBezTo>
                <a:cubicBezTo>
                  <a:pt x="983" y="417"/>
                  <a:pt x="984" y="417"/>
                  <a:pt x="985" y="417"/>
                </a:cubicBezTo>
                <a:cubicBezTo>
                  <a:pt x="986" y="417"/>
                  <a:pt x="985" y="418"/>
                  <a:pt x="986" y="418"/>
                </a:cubicBezTo>
                <a:cubicBezTo>
                  <a:pt x="987" y="418"/>
                  <a:pt x="987" y="419"/>
                  <a:pt x="987" y="420"/>
                </a:cubicBezTo>
                <a:cubicBezTo>
                  <a:pt x="987" y="421"/>
                  <a:pt x="987" y="422"/>
                  <a:pt x="988" y="422"/>
                </a:cubicBezTo>
                <a:cubicBezTo>
                  <a:pt x="988" y="422"/>
                  <a:pt x="988" y="423"/>
                  <a:pt x="988" y="423"/>
                </a:cubicBezTo>
                <a:cubicBezTo>
                  <a:pt x="988" y="423"/>
                  <a:pt x="988" y="424"/>
                  <a:pt x="988" y="424"/>
                </a:cubicBezTo>
                <a:cubicBezTo>
                  <a:pt x="989" y="424"/>
                  <a:pt x="989" y="424"/>
                  <a:pt x="989" y="425"/>
                </a:cubicBezTo>
                <a:cubicBezTo>
                  <a:pt x="990" y="426"/>
                  <a:pt x="990" y="426"/>
                  <a:pt x="991" y="427"/>
                </a:cubicBezTo>
                <a:cubicBezTo>
                  <a:pt x="991" y="427"/>
                  <a:pt x="991" y="428"/>
                  <a:pt x="991" y="428"/>
                </a:cubicBezTo>
                <a:cubicBezTo>
                  <a:pt x="991" y="428"/>
                  <a:pt x="992" y="429"/>
                  <a:pt x="992" y="429"/>
                </a:cubicBezTo>
                <a:cubicBezTo>
                  <a:pt x="992" y="429"/>
                  <a:pt x="993" y="429"/>
                  <a:pt x="993" y="430"/>
                </a:cubicBezTo>
                <a:cubicBezTo>
                  <a:pt x="993" y="430"/>
                  <a:pt x="993" y="430"/>
                  <a:pt x="993" y="430"/>
                </a:cubicBezTo>
                <a:cubicBezTo>
                  <a:pt x="994" y="431"/>
                  <a:pt x="994" y="429"/>
                  <a:pt x="994" y="431"/>
                </a:cubicBezTo>
                <a:cubicBezTo>
                  <a:pt x="994" y="431"/>
                  <a:pt x="994" y="432"/>
                  <a:pt x="994" y="432"/>
                </a:cubicBezTo>
                <a:cubicBezTo>
                  <a:pt x="994" y="432"/>
                  <a:pt x="995" y="432"/>
                  <a:pt x="995" y="432"/>
                </a:cubicBezTo>
                <a:cubicBezTo>
                  <a:pt x="995" y="433"/>
                  <a:pt x="995" y="434"/>
                  <a:pt x="995" y="435"/>
                </a:cubicBezTo>
                <a:cubicBezTo>
                  <a:pt x="995" y="435"/>
                  <a:pt x="996" y="437"/>
                  <a:pt x="996" y="437"/>
                </a:cubicBezTo>
                <a:cubicBezTo>
                  <a:pt x="997" y="437"/>
                  <a:pt x="999" y="439"/>
                  <a:pt x="1000" y="440"/>
                </a:cubicBezTo>
                <a:cubicBezTo>
                  <a:pt x="1000" y="440"/>
                  <a:pt x="1000" y="441"/>
                  <a:pt x="1000" y="441"/>
                </a:cubicBezTo>
                <a:cubicBezTo>
                  <a:pt x="1001" y="441"/>
                  <a:pt x="1000" y="441"/>
                  <a:pt x="1001" y="442"/>
                </a:cubicBezTo>
                <a:cubicBezTo>
                  <a:pt x="1001" y="442"/>
                  <a:pt x="1001" y="442"/>
                  <a:pt x="1001" y="443"/>
                </a:cubicBezTo>
                <a:cubicBezTo>
                  <a:pt x="1001" y="443"/>
                  <a:pt x="1001" y="443"/>
                  <a:pt x="1001" y="443"/>
                </a:cubicBezTo>
                <a:cubicBezTo>
                  <a:pt x="1001" y="444"/>
                  <a:pt x="1002" y="444"/>
                  <a:pt x="1002" y="445"/>
                </a:cubicBezTo>
                <a:cubicBezTo>
                  <a:pt x="1002" y="446"/>
                  <a:pt x="1002" y="446"/>
                  <a:pt x="1002" y="447"/>
                </a:cubicBezTo>
                <a:cubicBezTo>
                  <a:pt x="1002" y="448"/>
                  <a:pt x="1002" y="449"/>
                  <a:pt x="1002" y="450"/>
                </a:cubicBezTo>
                <a:cubicBezTo>
                  <a:pt x="1002" y="450"/>
                  <a:pt x="1002" y="451"/>
                  <a:pt x="1001" y="451"/>
                </a:cubicBezTo>
                <a:cubicBezTo>
                  <a:pt x="1001" y="452"/>
                  <a:pt x="1001" y="453"/>
                  <a:pt x="1001" y="453"/>
                </a:cubicBezTo>
                <a:cubicBezTo>
                  <a:pt x="1001" y="453"/>
                  <a:pt x="1002" y="453"/>
                  <a:pt x="1002" y="453"/>
                </a:cubicBezTo>
                <a:cubicBezTo>
                  <a:pt x="1002" y="453"/>
                  <a:pt x="1003" y="454"/>
                  <a:pt x="1003" y="454"/>
                </a:cubicBezTo>
                <a:cubicBezTo>
                  <a:pt x="1003" y="456"/>
                  <a:pt x="1002" y="457"/>
                  <a:pt x="1003" y="458"/>
                </a:cubicBezTo>
                <a:cubicBezTo>
                  <a:pt x="1003" y="458"/>
                  <a:pt x="1003" y="458"/>
                  <a:pt x="1003" y="458"/>
                </a:cubicBezTo>
                <a:cubicBezTo>
                  <a:pt x="1003" y="459"/>
                  <a:pt x="1003" y="459"/>
                  <a:pt x="1003" y="459"/>
                </a:cubicBezTo>
                <a:cubicBezTo>
                  <a:pt x="1003" y="460"/>
                  <a:pt x="1004" y="461"/>
                  <a:pt x="1004" y="462"/>
                </a:cubicBezTo>
                <a:cubicBezTo>
                  <a:pt x="1004" y="463"/>
                  <a:pt x="1005" y="463"/>
                  <a:pt x="1006" y="463"/>
                </a:cubicBezTo>
                <a:cubicBezTo>
                  <a:pt x="1006" y="463"/>
                  <a:pt x="1006" y="464"/>
                  <a:pt x="1006" y="464"/>
                </a:cubicBezTo>
                <a:cubicBezTo>
                  <a:pt x="1006" y="464"/>
                  <a:pt x="1007" y="464"/>
                  <a:pt x="1007" y="465"/>
                </a:cubicBezTo>
                <a:cubicBezTo>
                  <a:pt x="1007" y="465"/>
                  <a:pt x="1007" y="465"/>
                  <a:pt x="1008" y="465"/>
                </a:cubicBezTo>
                <a:cubicBezTo>
                  <a:pt x="1008" y="465"/>
                  <a:pt x="1009" y="465"/>
                  <a:pt x="1009" y="465"/>
                </a:cubicBezTo>
                <a:cubicBezTo>
                  <a:pt x="1009" y="466"/>
                  <a:pt x="1009" y="466"/>
                  <a:pt x="1009" y="466"/>
                </a:cubicBezTo>
                <a:cubicBezTo>
                  <a:pt x="1009" y="466"/>
                  <a:pt x="1010" y="466"/>
                  <a:pt x="1010" y="467"/>
                </a:cubicBezTo>
                <a:cubicBezTo>
                  <a:pt x="1011" y="467"/>
                  <a:pt x="1011" y="467"/>
                  <a:pt x="1011" y="467"/>
                </a:cubicBezTo>
                <a:cubicBezTo>
                  <a:pt x="1011" y="467"/>
                  <a:pt x="1010" y="468"/>
                  <a:pt x="1011" y="468"/>
                </a:cubicBezTo>
                <a:cubicBezTo>
                  <a:pt x="1011" y="468"/>
                  <a:pt x="1012" y="468"/>
                  <a:pt x="1012" y="469"/>
                </a:cubicBezTo>
                <a:cubicBezTo>
                  <a:pt x="1012" y="469"/>
                  <a:pt x="1012" y="469"/>
                  <a:pt x="1012" y="469"/>
                </a:cubicBezTo>
                <a:cubicBezTo>
                  <a:pt x="1012" y="469"/>
                  <a:pt x="1012" y="471"/>
                  <a:pt x="1012" y="471"/>
                </a:cubicBezTo>
                <a:cubicBezTo>
                  <a:pt x="1013" y="471"/>
                  <a:pt x="1012" y="471"/>
                  <a:pt x="1013" y="472"/>
                </a:cubicBezTo>
                <a:cubicBezTo>
                  <a:pt x="1013" y="472"/>
                  <a:pt x="1014" y="472"/>
                  <a:pt x="1014" y="473"/>
                </a:cubicBezTo>
                <a:cubicBezTo>
                  <a:pt x="1014" y="474"/>
                  <a:pt x="1013" y="475"/>
                  <a:pt x="1014" y="476"/>
                </a:cubicBezTo>
                <a:cubicBezTo>
                  <a:pt x="1015" y="476"/>
                  <a:pt x="1016" y="477"/>
                  <a:pt x="1016" y="478"/>
                </a:cubicBezTo>
                <a:cubicBezTo>
                  <a:pt x="1016" y="478"/>
                  <a:pt x="1016" y="478"/>
                  <a:pt x="1017" y="479"/>
                </a:cubicBezTo>
                <a:cubicBezTo>
                  <a:pt x="1018" y="479"/>
                  <a:pt x="1017" y="479"/>
                  <a:pt x="1017" y="480"/>
                </a:cubicBezTo>
                <a:cubicBezTo>
                  <a:pt x="1017" y="480"/>
                  <a:pt x="1018" y="481"/>
                  <a:pt x="1018" y="481"/>
                </a:cubicBezTo>
                <a:cubicBezTo>
                  <a:pt x="1019" y="481"/>
                  <a:pt x="1019" y="482"/>
                  <a:pt x="1020" y="482"/>
                </a:cubicBezTo>
                <a:cubicBezTo>
                  <a:pt x="1020" y="483"/>
                  <a:pt x="1020" y="486"/>
                  <a:pt x="1020" y="487"/>
                </a:cubicBezTo>
                <a:cubicBezTo>
                  <a:pt x="1020" y="487"/>
                  <a:pt x="1020" y="488"/>
                  <a:pt x="1020" y="488"/>
                </a:cubicBezTo>
                <a:cubicBezTo>
                  <a:pt x="1020" y="488"/>
                  <a:pt x="1019" y="488"/>
                  <a:pt x="1020" y="488"/>
                </a:cubicBezTo>
                <a:cubicBezTo>
                  <a:pt x="1020" y="489"/>
                  <a:pt x="1020" y="489"/>
                  <a:pt x="1020" y="489"/>
                </a:cubicBezTo>
                <a:cubicBezTo>
                  <a:pt x="1020" y="490"/>
                  <a:pt x="1020" y="490"/>
                  <a:pt x="1020" y="491"/>
                </a:cubicBezTo>
                <a:cubicBezTo>
                  <a:pt x="1020" y="492"/>
                  <a:pt x="1019" y="492"/>
                  <a:pt x="1020" y="493"/>
                </a:cubicBezTo>
                <a:cubicBezTo>
                  <a:pt x="1020" y="493"/>
                  <a:pt x="1020" y="494"/>
                  <a:pt x="1020" y="495"/>
                </a:cubicBezTo>
                <a:cubicBezTo>
                  <a:pt x="1020" y="495"/>
                  <a:pt x="1021" y="495"/>
                  <a:pt x="1021" y="495"/>
                </a:cubicBezTo>
                <a:cubicBezTo>
                  <a:pt x="1021" y="496"/>
                  <a:pt x="1021" y="496"/>
                  <a:pt x="1021" y="496"/>
                </a:cubicBezTo>
                <a:cubicBezTo>
                  <a:pt x="1021" y="496"/>
                  <a:pt x="1021" y="497"/>
                  <a:pt x="1021" y="498"/>
                </a:cubicBezTo>
                <a:cubicBezTo>
                  <a:pt x="1021" y="498"/>
                  <a:pt x="1021" y="498"/>
                  <a:pt x="1021" y="499"/>
                </a:cubicBezTo>
                <a:cubicBezTo>
                  <a:pt x="1021" y="499"/>
                  <a:pt x="1023" y="499"/>
                  <a:pt x="1022" y="500"/>
                </a:cubicBezTo>
                <a:cubicBezTo>
                  <a:pt x="1022" y="501"/>
                  <a:pt x="1022" y="502"/>
                  <a:pt x="1022" y="503"/>
                </a:cubicBezTo>
                <a:cubicBezTo>
                  <a:pt x="1023" y="503"/>
                  <a:pt x="1023" y="505"/>
                  <a:pt x="1023" y="505"/>
                </a:cubicBezTo>
                <a:cubicBezTo>
                  <a:pt x="1024" y="505"/>
                  <a:pt x="1026" y="506"/>
                  <a:pt x="1028" y="506"/>
                </a:cubicBezTo>
                <a:cubicBezTo>
                  <a:pt x="1029" y="506"/>
                  <a:pt x="1028" y="505"/>
                  <a:pt x="1029" y="505"/>
                </a:cubicBezTo>
                <a:cubicBezTo>
                  <a:pt x="1029" y="505"/>
                  <a:pt x="1031" y="506"/>
                  <a:pt x="1031" y="505"/>
                </a:cubicBezTo>
                <a:cubicBezTo>
                  <a:pt x="1031" y="505"/>
                  <a:pt x="1031" y="505"/>
                  <a:pt x="1032" y="505"/>
                </a:cubicBezTo>
                <a:cubicBezTo>
                  <a:pt x="1032" y="504"/>
                  <a:pt x="1033" y="503"/>
                  <a:pt x="1033" y="503"/>
                </a:cubicBezTo>
                <a:cubicBezTo>
                  <a:pt x="1034" y="503"/>
                  <a:pt x="1035" y="503"/>
                  <a:pt x="1035" y="502"/>
                </a:cubicBezTo>
                <a:cubicBezTo>
                  <a:pt x="1035" y="502"/>
                  <a:pt x="1037" y="502"/>
                  <a:pt x="1038" y="502"/>
                </a:cubicBezTo>
                <a:cubicBezTo>
                  <a:pt x="1038" y="503"/>
                  <a:pt x="1042" y="501"/>
                  <a:pt x="1041" y="501"/>
                </a:cubicBezTo>
                <a:cubicBezTo>
                  <a:pt x="1042" y="501"/>
                  <a:pt x="1042" y="501"/>
                  <a:pt x="1042" y="500"/>
                </a:cubicBezTo>
                <a:cubicBezTo>
                  <a:pt x="1043" y="500"/>
                  <a:pt x="1043" y="500"/>
                  <a:pt x="1043" y="499"/>
                </a:cubicBezTo>
                <a:cubicBezTo>
                  <a:pt x="1043" y="499"/>
                  <a:pt x="1044" y="499"/>
                  <a:pt x="1045" y="499"/>
                </a:cubicBezTo>
                <a:cubicBezTo>
                  <a:pt x="1046" y="499"/>
                  <a:pt x="1045" y="499"/>
                  <a:pt x="1046" y="499"/>
                </a:cubicBezTo>
                <a:cubicBezTo>
                  <a:pt x="1046" y="498"/>
                  <a:pt x="1047" y="499"/>
                  <a:pt x="1048" y="499"/>
                </a:cubicBezTo>
                <a:cubicBezTo>
                  <a:pt x="1048" y="499"/>
                  <a:pt x="1051" y="496"/>
                  <a:pt x="1051" y="496"/>
                </a:cubicBezTo>
                <a:cubicBezTo>
                  <a:pt x="1051" y="496"/>
                  <a:pt x="1051" y="496"/>
                  <a:pt x="1051" y="496"/>
                </a:cubicBezTo>
                <a:cubicBezTo>
                  <a:pt x="1052" y="496"/>
                  <a:pt x="1051" y="496"/>
                  <a:pt x="1052" y="495"/>
                </a:cubicBezTo>
                <a:cubicBezTo>
                  <a:pt x="1052" y="495"/>
                  <a:pt x="1053" y="495"/>
                  <a:pt x="1053" y="495"/>
                </a:cubicBezTo>
                <a:cubicBezTo>
                  <a:pt x="1053" y="495"/>
                  <a:pt x="1053" y="495"/>
                  <a:pt x="1053" y="495"/>
                </a:cubicBezTo>
                <a:cubicBezTo>
                  <a:pt x="1053" y="495"/>
                  <a:pt x="1054" y="495"/>
                  <a:pt x="1055" y="495"/>
                </a:cubicBezTo>
                <a:cubicBezTo>
                  <a:pt x="1056" y="494"/>
                  <a:pt x="1055" y="494"/>
                  <a:pt x="1056" y="494"/>
                </a:cubicBezTo>
                <a:cubicBezTo>
                  <a:pt x="1057" y="494"/>
                  <a:pt x="1056" y="494"/>
                  <a:pt x="1057" y="494"/>
                </a:cubicBezTo>
                <a:cubicBezTo>
                  <a:pt x="1057" y="494"/>
                  <a:pt x="1057" y="494"/>
                  <a:pt x="1057" y="494"/>
                </a:cubicBezTo>
                <a:cubicBezTo>
                  <a:pt x="1057" y="494"/>
                  <a:pt x="1057" y="493"/>
                  <a:pt x="1057" y="493"/>
                </a:cubicBezTo>
                <a:cubicBezTo>
                  <a:pt x="1058" y="493"/>
                  <a:pt x="1058" y="494"/>
                  <a:pt x="1059" y="493"/>
                </a:cubicBezTo>
                <a:cubicBezTo>
                  <a:pt x="1059" y="492"/>
                  <a:pt x="1060" y="492"/>
                  <a:pt x="1060" y="492"/>
                </a:cubicBezTo>
                <a:cubicBezTo>
                  <a:pt x="1061" y="492"/>
                  <a:pt x="1063" y="490"/>
                  <a:pt x="1064" y="489"/>
                </a:cubicBezTo>
                <a:cubicBezTo>
                  <a:pt x="1064" y="488"/>
                  <a:pt x="1065" y="488"/>
                  <a:pt x="1066" y="488"/>
                </a:cubicBezTo>
                <a:cubicBezTo>
                  <a:pt x="1066" y="488"/>
                  <a:pt x="1065" y="487"/>
                  <a:pt x="1065" y="487"/>
                </a:cubicBezTo>
                <a:cubicBezTo>
                  <a:pt x="1065" y="487"/>
                  <a:pt x="1065" y="487"/>
                  <a:pt x="1065" y="487"/>
                </a:cubicBezTo>
                <a:cubicBezTo>
                  <a:pt x="1065" y="486"/>
                  <a:pt x="1065" y="486"/>
                  <a:pt x="1065" y="486"/>
                </a:cubicBezTo>
                <a:cubicBezTo>
                  <a:pt x="1065" y="485"/>
                  <a:pt x="1066" y="485"/>
                  <a:pt x="1067" y="484"/>
                </a:cubicBezTo>
                <a:cubicBezTo>
                  <a:pt x="1067" y="484"/>
                  <a:pt x="1068" y="485"/>
                  <a:pt x="1068" y="484"/>
                </a:cubicBezTo>
                <a:cubicBezTo>
                  <a:pt x="1068" y="484"/>
                  <a:pt x="1068" y="484"/>
                  <a:pt x="1068" y="484"/>
                </a:cubicBezTo>
                <a:cubicBezTo>
                  <a:pt x="1069" y="484"/>
                  <a:pt x="1069" y="484"/>
                  <a:pt x="1069" y="483"/>
                </a:cubicBezTo>
                <a:cubicBezTo>
                  <a:pt x="1070" y="483"/>
                  <a:pt x="1071" y="483"/>
                  <a:pt x="1072" y="483"/>
                </a:cubicBezTo>
                <a:cubicBezTo>
                  <a:pt x="1074" y="482"/>
                  <a:pt x="1072" y="482"/>
                  <a:pt x="1073" y="482"/>
                </a:cubicBezTo>
                <a:cubicBezTo>
                  <a:pt x="1073" y="482"/>
                  <a:pt x="1075" y="482"/>
                  <a:pt x="1075" y="481"/>
                </a:cubicBezTo>
                <a:cubicBezTo>
                  <a:pt x="1075" y="481"/>
                  <a:pt x="1077" y="481"/>
                  <a:pt x="1077" y="481"/>
                </a:cubicBezTo>
                <a:cubicBezTo>
                  <a:pt x="1078" y="480"/>
                  <a:pt x="1077" y="481"/>
                  <a:pt x="1078" y="480"/>
                </a:cubicBezTo>
                <a:cubicBezTo>
                  <a:pt x="1078" y="480"/>
                  <a:pt x="1078" y="480"/>
                  <a:pt x="1079" y="480"/>
                </a:cubicBezTo>
                <a:cubicBezTo>
                  <a:pt x="1079" y="479"/>
                  <a:pt x="1079" y="479"/>
                  <a:pt x="1079" y="479"/>
                </a:cubicBezTo>
                <a:cubicBezTo>
                  <a:pt x="1079" y="478"/>
                  <a:pt x="1080" y="478"/>
                  <a:pt x="1080" y="477"/>
                </a:cubicBezTo>
                <a:cubicBezTo>
                  <a:pt x="1080" y="476"/>
                  <a:pt x="1081" y="477"/>
                  <a:pt x="1082" y="477"/>
                </a:cubicBezTo>
                <a:cubicBezTo>
                  <a:pt x="1083" y="477"/>
                  <a:pt x="1083" y="477"/>
                  <a:pt x="1084" y="476"/>
                </a:cubicBezTo>
                <a:cubicBezTo>
                  <a:pt x="1086" y="476"/>
                  <a:pt x="1085" y="475"/>
                  <a:pt x="1085" y="474"/>
                </a:cubicBezTo>
                <a:cubicBezTo>
                  <a:pt x="1086" y="474"/>
                  <a:pt x="1086" y="474"/>
                  <a:pt x="1086" y="473"/>
                </a:cubicBezTo>
                <a:cubicBezTo>
                  <a:pt x="1086" y="473"/>
                  <a:pt x="1087" y="473"/>
                  <a:pt x="1087" y="472"/>
                </a:cubicBezTo>
                <a:cubicBezTo>
                  <a:pt x="1088" y="471"/>
                  <a:pt x="1091" y="472"/>
                  <a:pt x="1092" y="471"/>
                </a:cubicBezTo>
                <a:cubicBezTo>
                  <a:pt x="1092" y="470"/>
                  <a:pt x="1092" y="470"/>
                  <a:pt x="1092" y="469"/>
                </a:cubicBezTo>
                <a:cubicBezTo>
                  <a:pt x="1092" y="468"/>
                  <a:pt x="1092" y="467"/>
                  <a:pt x="1092" y="466"/>
                </a:cubicBezTo>
                <a:cubicBezTo>
                  <a:pt x="1092" y="466"/>
                  <a:pt x="1092" y="466"/>
                  <a:pt x="1092" y="466"/>
                </a:cubicBezTo>
                <a:cubicBezTo>
                  <a:pt x="1092" y="465"/>
                  <a:pt x="1093" y="465"/>
                  <a:pt x="1093" y="465"/>
                </a:cubicBezTo>
                <a:cubicBezTo>
                  <a:pt x="1093" y="464"/>
                  <a:pt x="1093" y="464"/>
                  <a:pt x="1093" y="463"/>
                </a:cubicBezTo>
                <a:cubicBezTo>
                  <a:pt x="1094" y="463"/>
                  <a:pt x="1094" y="463"/>
                  <a:pt x="1095" y="463"/>
                </a:cubicBezTo>
                <a:cubicBezTo>
                  <a:pt x="1095" y="462"/>
                  <a:pt x="1095" y="462"/>
                  <a:pt x="1095" y="461"/>
                </a:cubicBezTo>
                <a:cubicBezTo>
                  <a:pt x="1096" y="460"/>
                  <a:pt x="1096" y="460"/>
                  <a:pt x="1096" y="458"/>
                </a:cubicBezTo>
                <a:cubicBezTo>
                  <a:pt x="1097" y="458"/>
                  <a:pt x="1097" y="457"/>
                  <a:pt x="1098" y="457"/>
                </a:cubicBezTo>
                <a:cubicBezTo>
                  <a:pt x="1098" y="456"/>
                  <a:pt x="1098" y="456"/>
                  <a:pt x="1098" y="456"/>
                </a:cubicBezTo>
                <a:cubicBezTo>
                  <a:pt x="1098" y="455"/>
                  <a:pt x="1099" y="456"/>
                  <a:pt x="1099" y="455"/>
                </a:cubicBezTo>
                <a:cubicBezTo>
                  <a:pt x="1099" y="455"/>
                  <a:pt x="1098" y="455"/>
                  <a:pt x="1099" y="455"/>
                </a:cubicBezTo>
                <a:cubicBezTo>
                  <a:pt x="1100" y="454"/>
                  <a:pt x="1099" y="454"/>
                  <a:pt x="1099" y="453"/>
                </a:cubicBezTo>
                <a:cubicBezTo>
                  <a:pt x="1099" y="453"/>
                  <a:pt x="1100" y="452"/>
                  <a:pt x="1100" y="452"/>
                </a:cubicBezTo>
                <a:cubicBezTo>
                  <a:pt x="1100" y="451"/>
                  <a:pt x="1101" y="451"/>
                  <a:pt x="1101" y="450"/>
                </a:cubicBezTo>
                <a:cubicBezTo>
                  <a:pt x="1100" y="450"/>
                  <a:pt x="1100" y="449"/>
                  <a:pt x="1099" y="449"/>
                </a:cubicBezTo>
                <a:cubicBezTo>
                  <a:pt x="1098" y="449"/>
                  <a:pt x="1099" y="448"/>
                  <a:pt x="1099" y="447"/>
                </a:cubicBezTo>
                <a:cubicBezTo>
                  <a:pt x="1099" y="446"/>
                  <a:pt x="1097" y="447"/>
                  <a:pt x="1097" y="446"/>
                </a:cubicBezTo>
                <a:cubicBezTo>
                  <a:pt x="1097" y="445"/>
                  <a:pt x="1097" y="445"/>
                  <a:pt x="1096" y="445"/>
                </a:cubicBezTo>
                <a:cubicBezTo>
                  <a:pt x="1096" y="445"/>
                  <a:pt x="1095" y="443"/>
                  <a:pt x="1094" y="443"/>
                </a:cubicBezTo>
                <a:cubicBezTo>
                  <a:pt x="1094" y="443"/>
                  <a:pt x="1094" y="443"/>
                  <a:pt x="1093" y="443"/>
                </a:cubicBezTo>
                <a:cubicBezTo>
                  <a:pt x="1093" y="443"/>
                  <a:pt x="1093" y="442"/>
                  <a:pt x="1093" y="442"/>
                </a:cubicBezTo>
                <a:cubicBezTo>
                  <a:pt x="1093" y="442"/>
                  <a:pt x="1089" y="441"/>
                  <a:pt x="1089" y="441"/>
                </a:cubicBezTo>
                <a:cubicBezTo>
                  <a:pt x="1089" y="441"/>
                  <a:pt x="1088" y="440"/>
                  <a:pt x="1087" y="439"/>
                </a:cubicBezTo>
                <a:cubicBezTo>
                  <a:pt x="1087" y="439"/>
                  <a:pt x="1087" y="439"/>
                  <a:pt x="1087" y="439"/>
                </a:cubicBezTo>
                <a:cubicBezTo>
                  <a:pt x="1087" y="438"/>
                  <a:pt x="1086" y="438"/>
                  <a:pt x="1086" y="438"/>
                </a:cubicBezTo>
                <a:cubicBezTo>
                  <a:pt x="1086" y="437"/>
                  <a:pt x="1086" y="438"/>
                  <a:pt x="1086" y="438"/>
                </a:cubicBezTo>
                <a:cubicBezTo>
                  <a:pt x="1085" y="438"/>
                  <a:pt x="1085" y="437"/>
                  <a:pt x="1085" y="437"/>
                </a:cubicBezTo>
                <a:cubicBezTo>
                  <a:pt x="1084" y="436"/>
                  <a:pt x="1084" y="436"/>
                  <a:pt x="1084" y="435"/>
                </a:cubicBezTo>
                <a:cubicBezTo>
                  <a:pt x="1084" y="434"/>
                  <a:pt x="1084" y="435"/>
                  <a:pt x="1084" y="435"/>
                </a:cubicBezTo>
                <a:cubicBezTo>
                  <a:pt x="1083" y="434"/>
                  <a:pt x="1084" y="433"/>
                  <a:pt x="1084" y="432"/>
                </a:cubicBezTo>
                <a:cubicBezTo>
                  <a:pt x="1084" y="431"/>
                  <a:pt x="1084" y="430"/>
                  <a:pt x="1084" y="429"/>
                </a:cubicBezTo>
                <a:cubicBezTo>
                  <a:pt x="1083" y="429"/>
                  <a:pt x="1082" y="429"/>
                  <a:pt x="1082" y="430"/>
                </a:cubicBezTo>
                <a:cubicBezTo>
                  <a:pt x="1082" y="431"/>
                  <a:pt x="1081" y="432"/>
                  <a:pt x="1080" y="432"/>
                </a:cubicBezTo>
                <a:cubicBezTo>
                  <a:pt x="1080" y="433"/>
                  <a:pt x="1079" y="433"/>
                  <a:pt x="1078" y="434"/>
                </a:cubicBezTo>
                <a:cubicBezTo>
                  <a:pt x="1078" y="434"/>
                  <a:pt x="1079" y="434"/>
                  <a:pt x="1078" y="434"/>
                </a:cubicBezTo>
                <a:cubicBezTo>
                  <a:pt x="1078" y="435"/>
                  <a:pt x="1077" y="435"/>
                  <a:pt x="1077" y="435"/>
                </a:cubicBezTo>
                <a:cubicBezTo>
                  <a:pt x="1077" y="436"/>
                  <a:pt x="1077" y="436"/>
                  <a:pt x="1077" y="436"/>
                </a:cubicBezTo>
                <a:cubicBezTo>
                  <a:pt x="1077" y="436"/>
                  <a:pt x="1077" y="436"/>
                  <a:pt x="1077" y="437"/>
                </a:cubicBezTo>
                <a:cubicBezTo>
                  <a:pt x="1076" y="437"/>
                  <a:pt x="1076" y="436"/>
                  <a:pt x="1076" y="437"/>
                </a:cubicBezTo>
                <a:cubicBezTo>
                  <a:pt x="1075" y="437"/>
                  <a:pt x="1075" y="437"/>
                  <a:pt x="1075" y="438"/>
                </a:cubicBezTo>
                <a:cubicBezTo>
                  <a:pt x="1074" y="438"/>
                  <a:pt x="1073" y="439"/>
                  <a:pt x="1073" y="439"/>
                </a:cubicBezTo>
                <a:cubicBezTo>
                  <a:pt x="1072" y="439"/>
                  <a:pt x="1072" y="439"/>
                  <a:pt x="1072" y="440"/>
                </a:cubicBezTo>
                <a:cubicBezTo>
                  <a:pt x="1071" y="440"/>
                  <a:pt x="1070" y="440"/>
                  <a:pt x="1069" y="440"/>
                </a:cubicBezTo>
                <a:cubicBezTo>
                  <a:pt x="1069" y="439"/>
                  <a:pt x="1068" y="439"/>
                  <a:pt x="1067" y="439"/>
                </a:cubicBezTo>
                <a:cubicBezTo>
                  <a:pt x="1067" y="439"/>
                  <a:pt x="1067" y="438"/>
                  <a:pt x="1066" y="438"/>
                </a:cubicBezTo>
                <a:cubicBezTo>
                  <a:pt x="1065" y="439"/>
                  <a:pt x="1065" y="439"/>
                  <a:pt x="1065" y="440"/>
                </a:cubicBezTo>
                <a:cubicBezTo>
                  <a:pt x="1064" y="439"/>
                  <a:pt x="1063" y="439"/>
                  <a:pt x="1062" y="439"/>
                </a:cubicBezTo>
                <a:cubicBezTo>
                  <a:pt x="1062" y="439"/>
                  <a:pt x="1061" y="438"/>
                  <a:pt x="1061" y="438"/>
                </a:cubicBezTo>
                <a:cubicBezTo>
                  <a:pt x="1060" y="438"/>
                  <a:pt x="1060" y="437"/>
                  <a:pt x="1060" y="436"/>
                </a:cubicBezTo>
                <a:cubicBezTo>
                  <a:pt x="1060" y="436"/>
                  <a:pt x="1060" y="435"/>
                  <a:pt x="1061" y="435"/>
                </a:cubicBezTo>
                <a:cubicBezTo>
                  <a:pt x="1061" y="434"/>
                  <a:pt x="1061" y="432"/>
                  <a:pt x="1060" y="432"/>
                </a:cubicBezTo>
                <a:cubicBezTo>
                  <a:pt x="1060" y="432"/>
                  <a:pt x="1061" y="432"/>
                  <a:pt x="1061" y="431"/>
                </a:cubicBezTo>
                <a:cubicBezTo>
                  <a:pt x="1061" y="431"/>
                  <a:pt x="1060" y="430"/>
                  <a:pt x="1060" y="429"/>
                </a:cubicBezTo>
                <a:cubicBezTo>
                  <a:pt x="1059" y="429"/>
                  <a:pt x="1059" y="430"/>
                  <a:pt x="1059" y="431"/>
                </a:cubicBezTo>
                <a:cubicBezTo>
                  <a:pt x="1059" y="432"/>
                  <a:pt x="1058" y="432"/>
                  <a:pt x="1057" y="432"/>
                </a:cubicBezTo>
                <a:cubicBezTo>
                  <a:pt x="1057" y="432"/>
                  <a:pt x="1057" y="433"/>
                  <a:pt x="1057" y="434"/>
                </a:cubicBezTo>
                <a:cubicBezTo>
                  <a:pt x="1056" y="433"/>
                  <a:pt x="1056" y="432"/>
                  <a:pt x="1055" y="433"/>
                </a:cubicBezTo>
                <a:cubicBezTo>
                  <a:pt x="1055" y="431"/>
                  <a:pt x="1055" y="430"/>
                  <a:pt x="1055" y="429"/>
                </a:cubicBezTo>
                <a:cubicBezTo>
                  <a:pt x="1055" y="428"/>
                  <a:pt x="1055" y="427"/>
                  <a:pt x="1055" y="427"/>
                </a:cubicBezTo>
                <a:cubicBezTo>
                  <a:pt x="1055" y="425"/>
                  <a:pt x="1054" y="426"/>
                  <a:pt x="1054" y="425"/>
                </a:cubicBezTo>
                <a:cubicBezTo>
                  <a:pt x="1053" y="424"/>
                  <a:pt x="1053" y="424"/>
                  <a:pt x="1052" y="423"/>
                </a:cubicBezTo>
                <a:cubicBezTo>
                  <a:pt x="1051" y="423"/>
                  <a:pt x="1051" y="422"/>
                  <a:pt x="1050" y="422"/>
                </a:cubicBezTo>
                <a:cubicBezTo>
                  <a:pt x="1050" y="421"/>
                  <a:pt x="1051" y="421"/>
                  <a:pt x="1051" y="420"/>
                </a:cubicBezTo>
                <a:cubicBezTo>
                  <a:pt x="1049" y="421"/>
                  <a:pt x="1050" y="419"/>
                  <a:pt x="1049" y="419"/>
                </a:cubicBezTo>
                <a:cubicBezTo>
                  <a:pt x="1048" y="418"/>
                  <a:pt x="1048" y="417"/>
                  <a:pt x="1047" y="416"/>
                </a:cubicBezTo>
                <a:cubicBezTo>
                  <a:pt x="1047" y="416"/>
                  <a:pt x="1047" y="415"/>
                  <a:pt x="1047" y="415"/>
                </a:cubicBezTo>
                <a:cubicBezTo>
                  <a:pt x="1046" y="415"/>
                  <a:pt x="1047" y="413"/>
                  <a:pt x="1046" y="413"/>
                </a:cubicBezTo>
                <a:cubicBezTo>
                  <a:pt x="1045" y="412"/>
                  <a:pt x="1046" y="412"/>
                  <a:pt x="1045" y="411"/>
                </a:cubicBezTo>
                <a:cubicBezTo>
                  <a:pt x="1044" y="411"/>
                  <a:pt x="1045" y="409"/>
                  <a:pt x="1044" y="410"/>
                </a:cubicBezTo>
                <a:cubicBezTo>
                  <a:pt x="1044" y="409"/>
                  <a:pt x="1044" y="408"/>
                  <a:pt x="1044" y="407"/>
                </a:cubicBezTo>
                <a:cubicBezTo>
                  <a:pt x="1044" y="405"/>
                  <a:pt x="1046" y="406"/>
                  <a:pt x="1047" y="407"/>
                </a:cubicBezTo>
                <a:cubicBezTo>
                  <a:pt x="1047" y="406"/>
                  <a:pt x="1047" y="406"/>
                  <a:pt x="1047" y="406"/>
                </a:cubicBezTo>
                <a:cubicBezTo>
                  <a:pt x="1046" y="406"/>
                  <a:pt x="1046" y="405"/>
                  <a:pt x="1045" y="405"/>
                </a:cubicBezTo>
                <a:cubicBezTo>
                  <a:pt x="1045" y="405"/>
                  <a:pt x="1045" y="403"/>
                  <a:pt x="1045" y="404"/>
                </a:cubicBezTo>
                <a:cubicBezTo>
                  <a:pt x="1045" y="403"/>
                  <a:pt x="1045" y="403"/>
                  <a:pt x="1045" y="403"/>
                </a:cubicBezTo>
                <a:cubicBezTo>
                  <a:pt x="1046" y="403"/>
                  <a:pt x="1046" y="405"/>
                  <a:pt x="1047" y="405"/>
                </a:cubicBezTo>
                <a:cubicBezTo>
                  <a:pt x="1048" y="405"/>
                  <a:pt x="1049" y="405"/>
                  <a:pt x="1049" y="404"/>
                </a:cubicBezTo>
                <a:cubicBezTo>
                  <a:pt x="1050" y="404"/>
                  <a:pt x="1051" y="405"/>
                  <a:pt x="1051" y="405"/>
                </a:cubicBezTo>
                <a:cubicBezTo>
                  <a:pt x="1053" y="406"/>
                  <a:pt x="1053" y="405"/>
                  <a:pt x="1054" y="405"/>
                </a:cubicBezTo>
                <a:cubicBezTo>
                  <a:pt x="1054" y="405"/>
                  <a:pt x="1055" y="405"/>
                  <a:pt x="1055" y="406"/>
                </a:cubicBezTo>
                <a:cubicBezTo>
                  <a:pt x="1055" y="406"/>
                  <a:pt x="1056" y="406"/>
                  <a:pt x="1056" y="407"/>
                </a:cubicBezTo>
                <a:cubicBezTo>
                  <a:pt x="1056" y="407"/>
                  <a:pt x="1057" y="408"/>
                  <a:pt x="1057" y="408"/>
                </a:cubicBezTo>
                <a:cubicBezTo>
                  <a:pt x="1057" y="409"/>
                  <a:pt x="1057" y="408"/>
                  <a:pt x="1057" y="408"/>
                </a:cubicBezTo>
                <a:cubicBezTo>
                  <a:pt x="1057" y="409"/>
                  <a:pt x="1057" y="410"/>
                  <a:pt x="1057" y="410"/>
                </a:cubicBezTo>
                <a:cubicBezTo>
                  <a:pt x="1057" y="411"/>
                  <a:pt x="1058" y="411"/>
                  <a:pt x="1059" y="412"/>
                </a:cubicBezTo>
                <a:cubicBezTo>
                  <a:pt x="1059" y="412"/>
                  <a:pt x="1059" y="412"/>
                  <a:pt x="1059" y="413"/>
                </a:cubicBezTo>
                <a:cubicBezTo>
                  <a:pt x="1058" y="413"/>
                  <a:pt x="1059" y="413"/>
                  <a:pt x="1059" y="414"/>
                </a:cubicBezTo>
                <a:cubicBezTo>
                  <a:pt x="1060" y="414"/>
                  <a:pt x="1059" y="414"/>
                  <a:pt x="1059" y="414"/>
                </a:cubicBezTo>
                <a:cubicBezTo>
                  <a:pt x="1060" y="414"/>
                  <a:pt x="1060" y="415"/>
                  <a:pt x="1060" y="415"/>
                </a:cubicBezTo>
                <a:cubicBezTo>
                  <a:pt x="1060" y="416"/>
                  <a:pt x="1060" y="416"/>
                  <a:pt x="1061" y="417"/>
                </a:cubicBezTo>
                <a:cubicBezTo>
                  <a:pt x="1062" y="417"/>
                  <a:pt x="1062" y="417"/>
                  <a:pt x="1062" y="418"/>
                </a:cubicBezTo>
                <a:cubicBezTo>
                  <a:pt x="1062" y="418"/>
                  <a:pt x="1062" y="418"/>
                  <a:pt x="1062" y="418"/>
                </a:cubicBezTo>
                <a:cubicBezTo>
                  <a:pt x="1062" y="419"/>
                  <a:pt x="1062" y="419"/>
                  <a:pt x="1062" y="419"/>
                </a:cubicBezTo>
                <a:cubicBezTo>
                  <a:pt x="1063" y="420"/>
                  <a:pt x="1064" y="420"/>
                  <a:pt x="1064" y="421"/>
                </a:cubicBezTo>
                <a:cubicBezTo>
                  <a:pt x="1064" y="421"/>
                  <a:pt x="1065" y="422"/>
                  <a:pt x="1065" y="422"/>
                </a:cubicBezTo>
                <a:cubicBezTo>
                  <a:pt x="1065" y="422"/>
                  <a:pt x="1065" y="423"/>
                  <a:pt x="1066" y="423"/>
                </a:cubicBezTo>
                <a:cubicBezTo>
                  <a:pt x="1066" y="424"/>
                  <a:pt x="1067" y="424"/>
                  <a:pt x="1068" y="424"/>
                </a:cubicBezTo>
                <a:cubicBezTo>
                  <a:pt x="1068" y="425"/>
                  <a:pt x="1068" y="425"/>
                  <a:pt x="1069" y="426"/>
                </a:cubicBezTo>
                <a:cubicBezTo>
                  <a:pt x="1070" y="426"/>
                  <a:pt x="1071" y="426"/>
                  <a:pt x="1071" y="427"/>
                </a:cubicBezTo>
                <a:cubicBezTo>
                  <a:pt x="1072" y="427"/>
                  <a:pt x="1074" y="427"/>
                  <a:pt x="1074" y="428"/>
                </a:cubicBezTo>
                <a:cubicBezTo>
                  <a:pt x="1077" y="428"/>
                  <a:pt x="1078" y="426"/>
                  <a:pt x="1081" y="426"/>
                </a:cubicBezTo>
                <a:cubicBezTo>
                  <a:pt x="1081" y="425"/>
                  <a:pt x="1081" y="425"/>
                  <a:pt x="1082" y="425"/>
                </a:cubicBezTo>
                <a:cubicBezTo>
                  <a:pt x="1082" y="425"/>
                  <a:pt x="1082" y="424"/>
                  <a:pt x="1083" y="424"/>
                </a:cubicBezTo>
                <a:cubicBezTo>
                  <a:pt x="1084" y="424"/>
                  <a:pt x="1084" y="423"/>
                  <a:pt x="1085" y="423"/>
                </a:cubicBezTo>
                <a:cubicBezTo>
                  <a:pt x="1085" y="423"/>
                  <a:pt x="1085" y="424"/>
                  <a:pt x="1085" y="424"/>
                </a:cubicBezTo>
                <a:cubicBezTo>
                  <a:pt x="1086" y="424"/>
                  <a:pt x="1086" y="424"/>
                  <a:pt x="1087" y="425"/>
                </a:cubicBezTo>
                <a:cubicBezTo>
                  <a:pt x="1087" y="426"/>
                  <a:pt x="1088" y="425"/>
                  <a:pt x="1088" y="426"/>
                </a:cubicBezTo>
                <a:cubicBezTo>
                  <a:pt x="1088" y="426"/>
                  <a:pt x="1088" y="427"/>
                  <a:pt x="1088" y="427"/>
                </a:cubicBezTo>
                <a:cubicBezTo>
                  <a:pt x="1088" y="427"/>
                  <a:pt x="1088" y="428"/>
                  <a:pt x="1088" y="428"/>
                </a:cubicBezTo>
                <a:cubicBezTo>
                  <a:pt x="1088" y="428"/>
                  <a:pt x="1089" y="428"/>
                  <a:pt x="1089" y="428"/>
                </a:cubicBezTo>
                <a:cubicBezTo>
                  <a:pt x="1089" y="429"/>
                  <a:pt x="1089" y="430"/>
                  <a:pt x="1089" y="431"/>
                </a:cubicBezTo>
                <a:cubicBezTo>
                  <a:pt x="1089" y="431"/>
                  <a:pt x="1089" y="431"/>
                  <a:pt x="1089" y="431"/>
                </a:cubicBezTo>
                <a:cubicBezTo>
                  <a:pt x="1090" y="431"/>
                  <a:pt x="1090" y="431"/>
                  <a:pt x="1090" y="431"/>
                </a:cubicBezTo>
                <a:cubicBezTo>
                  <a:pt x="1091" y="433"/>
                  <a:pt x="1093" y="433"/>
                  <a:pt x="1095" y="433"/>
                </a:cubicBezTo>
                <a:cubicBezTo>
                  <a:pt x="1096" y="433"/>
                  <a:pt x="1097" y="433"/>
                  <a:pt x="1097" y="433"/>
                </a:cubicBezTo>
                <a:cubicBezTo>
                  <a:pt x="1098" y="433"/>
                  <a:pt x="1098" y="434"/>
                  <a:pt x="1099" y="434"/>
                </a:cubicBezTo>
                <a:cubicBezTo>
                  <a:pt x="1100" y="434"/>
                  <a:pt x="1102" y="434"/>
                  <a:pt x="1103" y="434"/>
                </a:cubicBezTo>
                <a:cubicBezTo>
                  <a:pt x="1103" y="434"/>
                  <a:pt x="1106" y="434"/>
                  <a:pt x="1106" y="435"/>
                </a:cubicBezTo>
                <a:cubicBezTo>
                  <a:pt x="1107" y="435"/>
                  <a:pt x="1107" y="435"/>
                  <a:pt x="1108" y="435"/>
                </a:cubicBezTo>
                <a:cubicBezTo>
                  <a:pt x="1108" y="436"/>
                  <a:pt x="1109" y="435"/>
                  <a:pt x="1109" y="435"/>
                </a:cubicBezTo>
                <a:cubicBezTo>
                  <a:pt x="1110" y="435"/>
                  <a:pt x="1109" y="435"/>
                  <a:pt x="1111" y="435"/>
                </a:cubicBezTo>
                <a:cubicBezTo>
                  <a:pt x="1112" y="435"/>
                  <a:pt x="1112" y="435"/>
                  <a:pt x="1112" y="434"/>
                </a:cubicBezTo>
                <a:cubicBezTo>
                  <a:pt x="1113" y="434"/>
                  <a:pt x="1114" y="434"/>
                  <a:pt x="1114" y="435"/>
                </a:cubicBezTo>
                <a:cubicBezTo>
                  <a:pt x="1114" y="435"/>
                  <a:pt x="1115" y="435"/>
                  <a:pt x="1116" y="435"/>
                </a:cubicBezTo>
                <a:cubicBezTo>
                  <a:pt x="1116" y="435"/>
                  <a:pt x="1117" y="435"/>
                  <a:pt x="1117" y="435"/>
                </a:cubicBezTo>
                <a:cubicBezTo>
                  <a:pt x="1117" y="435"/>
                  <a:pt x="1117" y="434"/>
                  <a:pt x="1118" y="434"/>
                </a:cubicBezTo>
                <a:cubicBezTo>
                  <a:pt x="1119" y="434"/>
                  <a:pt x="1120" y="435"/>
                  <a:pt x="1121" y="434"/>
                </a:cubicBezTo>
                <a:cubicBezTo>
                  <a:pt x="1121" y="434"/>
                  <a:pt x="1121" y="434"/>
                  <a:pt x="1121" y="434"/>
                </a:cubicBezTo>
                <a:cubicBezTo>
                  <a:pt x="1122" y="434"/>
                  <a:pt x="1122" y="434"/>
                  <a:pt x="1123" y="434"/>
                </a:cubicBezTo>
                <a:cubicBezTo>
                  <a:pt x="1124" y="434"/>
                  <a:pt x="1124" y="434"/>
                  <a:pt x="1125" y="433"/>
                </a:cubicBezTo>
                <a:cubicBezTo>
                  <a:pt x="1125" y="433"/>
                  <a:pt x="1125" y="433"/>
                  <a:pt x="1125" y="433"/>
                </a:cubicBezTo>
                <a:cubicBezTo>
                  <a:pt x="1126" y="433"/>
                  <a:pt x="1126" y="433"/>
                  <a:pt x="1126" y="433"/>
                </a:cubicBezTo>
                <a:cubicBezTo>
                  <a:pt x="1127" y="433"/>
                  <a:pt x="1128" y="433"/>
                  <a:pt x="1129" y="433"/>
                </a:cubicBezTo>
                <a:cubicBezTo>
                  <a:pt x="1130" y="433"/>
                  <a:pt x="1131" y="432"/>
                  <a:pt x="1132" y="432"/>
                </a:cubicBezTo>
                <a:cubicBezTo>
                  <a:pt x="1132" y="433"/>
                  <a:pt x="1131" y="434"/>
                  <a:pt x="1132" y="434"/>
                </a:cubicBezTo>
                <a:cubicBezTo>
                  <a:pt x="1133" y="434"/>
                  <a:pt x="1133" y="437"/>
                  <a:pt x="1132" y="437"/>
                </a:cubicBezTo>
                <a:cubicBezTo>
                  <a:pt x="1133" y="438"/>
                  <a:pt x="1133" y="438"/>
                  <a:pt x="1134" y="438"/>
                </a:cubicBezTo>
                <a:cubicBezTo>
                  <a:pt x="1134" y="438"/>
                  <a:pt x="1134" y="437"/>
                  <a:pt x="1134" y="438"/>
                </a:cubicBezTo>
                <a:cubicBezTo>
                  <a:pt x="1134" y="438"/>
                  <a:pt x="1135" y="438"/>
                  <a:pt x="1135" y="438"/>
                </a:cubicBezTo>
                <a:cubicBezTo>
                  <a:pt x="1136" y="438"/>
                  <a:pt x="1134" y="438"/>
                  <a:pt x="1136" y="438"/>
                </a:cubicBezTo>
                <a:cubicBezTo>
                  <a:pt x="1137" y="439"/>
                  <a:pt x="1137" y="440"/>
                  <a:pt x="1137" y="440"/>
                </a:cubicBezTo>
                <a:cubicBezTo>
                  <a:pt x="1137" y="441"/>
                  <a:pt x="1137" y="442"/>
                  <a:pt x="1138" y="442"/>
                </a:cubicBezTo>
                <a:cubicBezTo>
                  <a:pt x="1138" y="442"/>
                  <a:pt x="1138" y="442"/>
                  <a:pt x="1138" y="442"/>
                </a:cubicBezTo>
                <a:cubicBezTo>
                  <a:pt x="1139" y="442"/>
                  <a:pt x="1139" y="442"/>
                  <a:pt x="1140" y="442"/>
                </a:cubicBezTo>
                <a:cubicBezTo>
                  <a:pt x="1140" y="442"/>
                  <a:pt x="1140" y="443"/>
                  <a:pt x="1140" y="443"/>
                </a:cubicBezTo>
                <a:cubicBezTo>
                  <a:pt x="1141" y="443"/>
                  <a:pt x="1141" y="443"/>
                  <a:pt x="1142" y="443"/>
                </a:cubicBezTo>
                <a:cubicBezTo>
                  <a:pt x="1142" y="443"/>
                  <a:pt x="1142" y="442"/>
                  <a:pt x="1143" y="442"/>
                </a:cubicBezTo>
                <a:cubicBezTo>
                  <a:pt x="1143" y="443"/>
                  <a:pt x="1142" y="443"/>
                  <a:pt x="1142" y="443"/>
                </a:cubicBezTo>
                <a:cubicBezTo>
                  <a:pt x="1142" y="444"/>
                  <a:pt x="1142" y="444"/>
                  <a:pt x="1142" y="445"/>
                </a:cubicBezTo>
                <a:cubicBezTo>
                  <a:pt x="1142" y="445"/>
                  <a:pt x="1142" y="446"/>
                  <a:pt x="1142" y="446"/>
                </a:cubicBezTo>
                <a:cubicBezTo>
                  <a:pt x="1142" y="447"/>
                  <a:pt x="1142" y="447"/>
                  <a:pt x="1143" y="447"/>
                </a:cubicBezTo>
                <a:cubicBezTo>
                  <a:pt x="1144" y="448"/>
                  <a:pt x="1145" y="449"/>
                  <a:pt x="1145" y="449"/>
                </a:cubicBezTo>
                <a:cubicBezTo>
                  <a:pt x="1146" y="449"/>
                  <a:pt x="1147" y="449"/>
                  <a:pt x="1147" y="449"/>
                </a:cubicBezTo>
                <a:cubicBezTo>
                  <a:pt x="1148" y="449"/>
                  <a:pt x="1149" y="449"/>
                  <a:pt x="1150" y="449"/>
                </a:cubicBezTo>
                <a:cubicBezTo>
                  <a:pt x="1151" y="449"/>
                  <a:pt x="1150" y="448"/>
                  <a:pt x="1151" y="448"/>
                </a:cubicBezTo>
                <a:cubicBezTo>
                  <a:pt x="1151" y="448"/>
                  <a:pt x="1151" y="448"/>
                  <a:pt x="1151" y="448"/>
                </a:cubicBezTo>
                <a:cubicBezTo>
                  <a:pt x="1151" y="447"/>
                  <a:pt x="1151" y="448"/>
                  <a:pt x="1152" y="447"/>
                </a:cubicBezTo>
                <a:cubicBezTo>
                  <a:pt x="1152" y="446"/>
                  <a:pt x="1152" y="446"/>
                  <a:pt x="1153" y="446"/>
                </a:cubicBezTo>
                <a:cubicBezTo>
                  <a:pt x="1153" y="447"/>
                  <a:pt x="1152" y="449"/>
                  <a:pt x="1151" y="449"/>
                </a:cubicBezTo>
                <a:cubicBezTo>
                  <a:pt x="1151" y="449"/>
                  <a:pt x="1151" y="450"/>
                  <a:pt x="1150" y="450"/>
                </a:cubicBezTo>
                <a:cubicBezTo>
                  <a:pt x="1150" y="450"/>
                  <a:pt x="1150" y="451"/>
                  <a:pt x="1150" y="451"/>
                </a:cubicBezTo>
                <a:cubicBezTo>
                  <a:pt x="1149" y="452"/>
                  <a:pt x="1148" y="451"/>
                  <a:pt x="1148" y="451"/>
                </a:cubicBezTo>
                <a:cubicBezTo>
                  <a:pt x="1148" y="451"/>
                  <a:pt x="1148" y="452"/>
                  <a:pt x="1147" y="452"/>
                </a:cubicBezTo>
                <a:cubicBezTo>
                  <a:pt x="1147" y="452"/>
                  <a:pt x="1147" y="452"/>
                  <a:pt x="1147" y="452"/>
                </a:cubicBezTo>
                <a:cubicBezTo>
                  <a:pt x="1146" y="452"/>
                  <a:pt x="1146" y="452"/>
                  <a:pt x="1145" y="452"/>
                </a:cubicBezTo>
                <a:cubicBezTo>
                  <a:pt x="1145" y="453"/>
                  <a:pt x="1144" y="452"/>
                  <a:pt x="1145" y="454"/>
                </a:cubicBezTo>
                <a:cubicBezTo>
                  <a:pt x="1145" y="455"/>
                  <a:pt x="1146" y="456"/>
                  <a:pt x="1147" y="456"/>
                </a:cubicBezTo>
                <a:cubicBezTo>
                  <a:pt x="1148" y="458"/>
                  <a:pt x="1150" y="459"/>
                  <a:pt x="1151" y="461"/>
                </a:cubicBezTo>
                <a:cubicBezTo>
                  <a:pt x="1152" y="462"/>
                  <a:pt x="1154" y="462"/>
                  <a:pt x="1155" y="461"/>
                </a:cubicBezTo>
                <a:cubicBezTo>
                  <a:pt x="1156" y="460"/>
                  <a:pt x="1156" y="461"/>
                  <a:pt x="1156" y="460"/>
                </a:cubicBezTo>
                <a:cubicBezTo>
                  <a:pt x="1157" y="460"/>
                  <a:pt x="1157" y="460"/>
                  <a:pt x="1157" y="460"/>
                </a:cubicBezTo>
                <a:cubicBezTo>
                  <a:pt x="1158" y="460"/>
                  <a:pt x="1158" y="458"/>
                  <a:pt x="1159" y="458"/>
                </a:cubicBezTo>
                <a:cubicBezTo>
                  <a:pt x="1159" y="456"/>
                  <a:pt x="1159" y="455"/>
                  <a:pt x="1159" y="453"/>
                </a:cubicBezTo>
                <a:cubicBezTo>
                  <a:pt x="1160" y="454"/>
                  <a:pt x="1160" y="452"/>
                  <a:pt x="1160" y="451"/>
                </a:cubicBezTo>
                <a:cubicBezTo>
                  <a:pt x="1160" y="451"/>
                  <a:pt x="1161" y="452"/>
                  <a:pt x="1161" y="452"/>
                </a:cubicBezTo>
                <a:cubicBezTo>
                  <a:pt x="1161" y="453"/>
                  <a:pt x="1161" y="453"/>
                  <a:pt x="1162" y="453"/>
                </a:cubicBezTo>
                <a:cubicBezTo>
                  <a:pt x="1161" y="454"/>
                  <a:pt x="1161" y="453"/>
                  <a:pt x="1161" y="454"/>
                </a:cubicBezTo>
                <a:cubicBezTo>
                  <a:pt x="1161" y="455"/>
                  <a:pt x="1161" y="455"/>
                  <a:pt x="1162" y="455"/>
                </a:cubicBezTo>
                <a:cubicBezTo>
                  <a:pt x="1162" y="455"/>
                  <a:pt x="1162" y="456"/>
                  <a:pt x="1162" y="456"/>
                </a:cubicBezTo>
                <a:cubicBezTo>
                  <a:pt x="1161" y="456"/>
                  <a:pt x="1161" y="458"/>
                  <a:pt x="1162" y="458"/>
                </a:cubicBezTo>
                <a:cubicBezTo>
                  <a:pt x="1162" y="458"/>
                  <a:pt x="1163" y="459"/>
                  <a:pt x="1163" y="459"/>
                </a:cubicBezTo>
                <a:cubicBezTo>
                  <a:pt x="1163" y="460"/>
                  <a:pt x="1163" y="460"/>
                  <a:pt x="1163" y="460"/>
                </a:cubicBezTo>
                <a:cubicBezTo>
                  <a:pt x="1163" y="461"/>
                  <a:pt x="1162" y="461"/>
                  <a:pt x="1162" y="462"/>
                </a:cubicBezTo>
                <a:cubicBezTo>
                  <a:pt x="1162" y="462"/>
                  <a:pt x="1162" y="462"/>
                  <a:pt x="1162" y="463"/>
                </a:cubicBezTo>
                <a:cubicBezTo>
                  <a:pt x="1161" y="463"/>
                  <a:pt x="1161" y="464"/>
                  <a:pt x="1161" y="465"/>
                </a:cubicBezTo>
                <a:cubicBezTo>
                  <a:pt x="1161" y="465"/>
                  <a:pt x="1161" y="466"/>
                  <a:pt x="1160" y="466"/>
                </a:cubicBezTo>
                <a:cubicBezTo>
                  <a:pt x="1160" y="466"/>
                  <a:pt x="1160" y="467"/>
                  <a:pt x="1161" y="467"/>
                </a:cubicBezTo>
                <a:cubicBezTo>
                  <a:pt x="1161" y="467"/>
                  <a:pt x="1161" y="468"/>
                  <a:pt x="1161" y="468"/>
                </a:cubicBezTo>
                <a:cubicBezTo>
                  <a:pt x="1161" y="468"/>
                  <a:pt x="1161" y="469"/>
                  <a:pt x="1162" y="469"/>
                </a:cubicBezTo>
                <a:cubicBezTo>
                  <a:pt x="1162" y="469"/>
                  <a:pt x="1162" y="469"/>
                  <a:pt x="1162" y="470"/>
                </a:cubicBezTo>
                <a:cubicBezTo>
                  <a:pt x="1162" y="470"/>
                  <a:pt x="1162" y="470"/>
                  <a:pt x="1162" y="471"/>
                </a:cubicBezTo>
                <a:cubicBezTo>
                  <a:pt x="1163" y="472"/>
                  <a:pt x="1163" y="472"/>
                  <a:pt x="1162" y="472"/>
                </a:cubicBezTo>
                <a:cubicBezTo>
                  <a:pt x="1162" y="473"/>
                  <a:pt x="1162" y="474"/>
                  <a:pt x="1163" y="474"/>
                </a:cubicBezTo>
                <a:cubicBezTo>
                  <a:pt x="1162" y="475"/>
                  <a:pt x="1162" y="476"/>
                  <a:pt x="1162" y="477"/>
                </a:cubicBezTo>
                <a:cubicBezTo>
                  <a:pt x="1163" y="477"/>
                  <a:pt x="1163" y="477"/>
                  <a:pt x="1163" y="477"/>
                </a:cubicBezTo>
                <a:cubicBezTo>
                  <a:pt x="1163" y="478"/>
                  <a:pt x="1163" y="477"/>
                  <a:pt x="1163" y="478"/>
                </a:cubicBezTo>
                <a:cubicBezTo>
                  <a:pt x="1163" y="478"/>
                  <a:pt x="1163" y="478"/>
                  <a:pt x="1163" y="479"/>
                </a:cubicBezTo>
                <a:cubicBezTo>
                  <a:pt x="1163" y="479"/>
                  <a:pt x="1163" y="479"/>
                  <a:pt x="1163" y="479"/>
                </a:cubicBezTo>
                <a:cubicBezTo>
                  <a:pt x="1163" y="479"/>
                  <a:pt x="1163" y="479"/>
                  <a:pt x="1163" y="480"/>
                </a:cubicBezTo>
                <a:cubicBezTo>
                  <a:pt x="1164" y="480"/>
                  <a:pt x="1163" y="481"/>
                  <a:pt x="1164" y="481"/>
                </a:cubicBezTo>
                <a:cubicBezTo>
                  <a:pt x="1164" y="481"/>
                  <a:pt x="1164" y="483"/>
                  <a:pt x="1164" y="483"/>
                </a:cubicBezTo>
                <a:cubicBezTo>
                  <a:pt x="1164" y="484"/>
                  <a:pt x="1164" y="483"/>
                  <a:pt x="1164" y="484"/>
                </a:cubicBezTo>
                <a:cubicBezTo>
                  <a:pt x="1164" y="485"/>
                  <a:pt x="1164" y="485"/>
                  <a:pt x="1164" y="486"/>
                </a:cubicBezTo>
                <a:cubicBezTo>
                  <a:pt x="1164" y="486"/>
                  <a:pt x="1165" y="486"/>
                  <a:pt x="1165" y="486"/>
                </a:cubicBezTo>
                <a:cubicBezTo>
                  <a:pt x="1165" y="486"/>
                  <a:pt x="1165" y="487"/>
                  <a:pt x="1165" y="487"/>
                </a:cubicBezTo>
                <a:cubicBezTo>
                  <a:pt x="1165" y="488"/>
                  <a:pt x="1165" y="487"/>
                  <a:pt x="1165" y="488"/>
                </a:cubicBezTo>
                <a:cubicBezTo>
                  <a:pt x="1165" y="488"/>
                  <a:pt x="1165" y="488"/>
                  <a:pt x="1165" y="489"/>
                </a:cubicBezTo>
                <a:cubicBezTo>
                  <a:pt x="1165" y="489"/>
                  <a:pt x="1166" y="489"/>
                  <a:pt x="1166" y="489"/>
                </a:cubicBezTo>
                <a:cubicBezTo>
                  <a:pt x="1166" y="489"/>
                  <a:pt x="1165" y="489"/>
                  <a:pt x="1166" y="489"/>
                </a:cubicBezTo>
                <a:cubicBezTo>
                  <a:pt x="1166" y="489"/>
                  <a:pt x="1166" y="491"/>
                  <a:pt x="1166" y="491"/>
                </a:cubicBezTo>
                <a:cubicBezTo>
                  <a:pt x="1167" y="493"/>
                  <a:pt x="1166" y="491"/>
                  <a:pt x="1167" y="492"/>
                </a:cubicBezTo>
                <a:cubicBezTo>
                  <a:pt x="1167" y="492"/>
                  <a:pt x="1167" y="492"/>
                  <a:pt x="1167" y="492"/>
                </a:cubicBezTo>
                <a:cubicBezTo>
                  <a:pt x="1167" y="492"/>
                  <a:pt x="1167" y="492"/>
                  <a:pt x="1167" y="492"/>
                </a:cubicBezTo>
                <a:cubicBezTo>
                  <a:pt x="1167" y="493"/>
                  <a:pt x="1167" y="493"/>
                  <a:pt x="1167" y="493"/>
                </a:cubicBezTo>
                <a:cubicBezTo>
                  <a:pt x="1167" y="493"/>
                  <a:pt x="1168" y="494"/>
                  <a:pt x="1168" y="494"/>
                </a:cubicBezTo>
                <a:cubicBezTo>
                  <a:pt x="1168" y="494"/>
                  <a:pt x="1168" y="494"/>
                  <a:pt x="1168" y="495"/>
                </a:cubicBezTo>
                <a:cubicBezTo>
                  <a:pt x="1168" y="495"/>
                  <a:pt x="1168" y="494"/>
                  <a:pt x="1168" y="495"/>
                </a:cubicBezTo>
                <a:cubicBezTo>
                  <a:pt x="1168" y="495"/>
                  <a:pt x="1168" y="495"/>
                  <a:pt x="1168" y="496"/>
                </a:cubicBezTo>
                <a:cubicBezTo>
                  <a:pt x="1168" y="496"/>
                  <a:pt x="1168" y="495"/>
                  <a:pt x="1168" y="496"/>
                </a:cubicBezTo>
                <a:cubicBezTo>
                  <a:pt x="1168" y="496"/>
                  <a:pt x="1169" y="498"/>
                  <a:pt x="1169" y="498"/>
                </a:cubicBezTo>
                <a:cubicBezTo>
                  <a:pt x="1169" y="498"/>
                  <a:pt x="1170" y="502"/>
                  <a:pt x="1170" y="503"/>
                </a:cubicBezTo>
                <a:cubicBezTo>
                  <a:pt x="1170" y="504"/>
                  <a:pt x="1170" y="505"/>
                  <a:pt x="1170" y="506"/>
                </a:cubicBezTo>
                <a:cubicBezTo>
                  <a:pt x="1170" y="506"/>
                  <a:pt x="1171" y="506"/>
                  <a:pt x="1171" y="506"/>
                </a:cubicBezTo>
                <a:cubicBezTo>
                  <a:pt x="1171" y="506"/>
                  <a:pt x="1171" y="509"/>
                  <a:pt x="1172" y="509"/>
                </a:cubicBezTo>
                <a:cubicBezTo>
                  <a:pt x="1172" y="509"/>
                  <a:pt x="1172" y="509"/>
                  <a:pt x="1172" y="509"/>
                </a:cubicBezTo>
                <a:cubicBezTo>
                  <a:pt x="1172" y="510"/>
                  <a:pt x="1172" y="510"/>
                  <a:pt x="1173" y="510"/>
                </a:cubicBezTo>
                <a:cubicBezTo>
                  <a:pt x="1173" y="510"/>
                  <a:pt x="1173" y="511"/>
                  <a:pt x="1173" y="512"/>
                </a:cubicBezTo>
                <a:cubicBezTo>
                  <a:pt x="1174" y="512"/>
                  <a:pt x="1174" y="512"/>
                  <a:pt x="1174" y="512"/>
                </a:cubicBezTo>
                <a:cubicBezTo>
                  <a:pt x="1174" y="513"/>
                  <a:pt x="1174" y="513"/>
                  <a:pt x="1174" y="513"/>
                </a:cubicBezTo>
                <a:cubicBezTo>
                  <a:pt x="1175" y="513"/>
                  <a:pt x="1175" y="514"/>
                  <a:pt x="1175" y="515"/>
                </a:cubicBezTo>
                <a:cubicBezTo>
                  <a:pt x="1175" y="515"/>
                  <a:pt x="1175" y="514"/>
                  <a:pt x="1176" y="515"/>
                </a:cubicBezTo>
                <a:cubicBezTo>
                  <a:pt x="1176" y="516"/>
                  <a:pt x="1176" y="517"/>
                  <a:pt x="1176" y="517"/>
                </a:cubicBezTo>
                <a:cubicBezTo>
                  <a:pt x="1176" y="518"/>
                  <a:pt x="1176" y="518"/>
                  <a:pt x="1177" y="518"/>
                </a:cubicBezTo>
                <a:cubicBezTo>
                  <a:pt x="1177" y="519"/>
                  <a:pt x="1177" y="519"/>
                  <a:pt x="1178" y="520"/>
                </a:cubicBezTo>
                <a:cubicBezTo>
                  <a:pt x="1178" y="520"/>
                  <a:pt x="1178" y="521"/>
                  <a:pt x="1178" y="521"/>
                </a:cubicBezTo>
                <a:cubicBezTo>
                  <a:pt x="1179" y="522"/>
                  <a:pt x="1179" y="522"/>
                  <a:pt x="1178" y="523"/>
                </a:cubicBezTo>
                <a:cubicBezTo>
                  <a:pt x="1178" y="523"/>
                  <a:pt x="1178" y="522"/>
                  <a:pt x="1178" y="523"/>
                </a:cubicBezTo>
                <a:cubicBezTo>
                  <a:pt x="1178" y="523"/>
                  <a:pt x="1178" y="523"/>
                  <a:pt x="1178" y="524"/>
                </a:cubicBezTo>
                <a:cubicBezTo>
                  <a:pt x="1178" y="525"/>
                  <a:pt x="1179" y="525"/>
                  <a:pt x="1179" y="526"/>
                </a:cubicBezTo>
                <a:cubicBezTo>
                  <a:pt x="1180" y="526"/>
                  <a:pt x="1180" y="526"/>
                  <a:pt x="1180" y="526"/>
                </a:cubicBezTo>
                <a:cubicBezTo>
                  <a:pt x="1180" y="526"/>
                  <a:pt x="1180" y="526"/>
                  <a:pt x="1180" y="527"/>
                </a:cubicBezTo>
                <a:cubicBezTo>
                  <a:pt x="1180" y="527"/>
                  <a:pt x="1181" y="528"/>
                  <a:pt x="1181" y="528"/>
                </a:cubicBezTo>
                <a:cubicBezTo>
                  <a:pt x="1181" y="528"/>
                  <a:pt x="1181" y="528"/>
                  <a:pt x="1181" y="528"/>
                </a:cubicBezTo>
                <a:cubicBezTo>
                  <a:pt x="1181" y="529"/>
                  <a:pt x="1181" y="528"/>
                  <a:pt x="1181" y="529"/>
                </a:cubicBezTo>
                <a:cubicBezTo>
                  <a:pt x="1181" y="529"/>
                  <a:pt x="1181" y="529"/>
                  <a:pt x="1181" y="529"/>
                </a:cubicBezTo>
                <a:cubicBezTo>
                  <a:pt x="1182" y="529"/>
                  <a:pt x="1182" y="529"/>
                  <a:pt x="1182" y="530"/>
                </a:cubicBezTo>
                <a:cubicBezTo>
                  <a:pt x="1182" y="530"/>
                  <a:pt x="1182" y="530"/>
                  <a:pt x="1182" y="530"/>
                </a:cubicBezTo>
                <a:cubicBezTo>
                  <a:pt x="1183" y="530"/>
                  <a:pt x="1182" y="531"/>
                  <a:pt x="1182" y="531"/>
                </a:cubicBezTo>
                <a:cubicBezTo>
                  <a:pt x="1183" y="532"/>
                  <a:pt x="1183" y="532"/>
                  <a:pt x="1184" y="532"/>
                </a:cubicBezTo>
                <a:cubicBezTo>
                  <a:pt x="1185" y="532"/>
                  <a:pt x="1184" y="531"/>
                  <a:pt x="1185" y="531"/>
                </a:cubicBezTo>
                <a:cubicBezTo>
                  <a:pt x="1186" y="531"/>
                  <a:pt x="1186" y="530"/>
                  <a:pt x="1187" y="529"/>
                </a:cubicBezTo>
                <a:cubicBezTo>
                  <a:pt x="1187" y="529"/>
                  <a:pt x="1187" y="529"/>
                  <a:pt x="1187" y="528"/>
                </a:cubicBezTo>
                <a:cubicBezTo>
                  <a:pt x="1187" y="528"/>
                  <a:pt x="1188" y="527"/>
                  <a:pt x="1189" y="527"/>
                </a:cubicBezTo>
                <a:cubicBezTo>
                  <a:pt x="1190" y="527"/>
                  <a:pt x="1189" y="526"/>
                  <a:pt x="1190" y="525"/>
                </a:cubicBezTo>
                <a:cubicBezTo>
                  <a:pt x="1191" y="524"/>
                  <a:pt x="1190" y="524"/>
                  <a:pt x="1191" y="523"/>
                </a:cubicBezTo>
                <a:cubicBezTo>
                  <a:pt x="1191" y="523"/>
                  <a:pt x="1192" y="523"/>
                  <a:pt x="1192" y="522"/>
                </a:cubicBezTo>
                <a:cubicBezTo>
                  <a:pt x="1192" y="522"/>
                  <a:pt x="1192" y="521"/>
                  <a:pt x="1192" y="521"/>
                </a:cubicBezTo>
                <a:cubicBezTo>
                  <a:pt x="1193" y="521"/>
                  <a:pt x="1194" y="522"/>
                  <a:pt x="1194" y="521"/>
                </a:cubicBezTo>
                <a:cubicBezTo>
                  <a:pt x="1194" y="520"/>
                  <a:pt x="1195" y="519"/>
                  <a:pt x="1194" y="519"/>
                </a:cubicBezTo>
                <a:cubicBezTo>
                  <a:pt x="1194" y="519"/>
                  <a:pt x="1194" y="518"/>
                  <a:pt x="1194" y="518"/>
                </a:cubicBezTo>
                <a:cubicBezTo>
                  <a:pt x="1193" y="517"/>
                  <a:pt x="1194" y="516"/>
                  <a:pt x="1194" y="515"/>
                </a:cubicBezTo>
                <a:cubicBezTo>
                  <a:pt x="1194" y="515"/>
                  <a:pt x="1193" y="514"/>
                  <a:pt x="1194" y="514"/>
                </a:cubicBezTo>
                <a:cubicBezTo>
                  <a:pt x="1194" y="514"/>
                  <a:pt x="1194" y="512"/>
                  <a:pt x="1194" y="512"/>
                </a:cubicBezTo>
                <a:cubicBezTo>
                  <a:pt x="1195" y="511"/>
                  <a:pt x="1196" y="511"/>
                  <a:pt x="1196" y="510"/>
                </a:cubicBezTo>
                <a:cubicBezTo>
                  <a:pt x="1196" y="510"/>
                  <a:pt x="1196" y="509"/>
                  <a:pt x="1196" y="508"/>
                </a:cubicBezTo>
                <a:cubicBezTo>
                  <a:pt x="1197" y="508"/>
                  <a:pt x="1197" y="508"/>
                  <a:pt x="1197" y="507"/>
                </a:cubicBezTo>
                <a:cubicBezTo>
                  <a:pt x="1196" y="506"/>
                  <a:pt x="1196" y="506"/>
                  <a:pt x="1196" y="505"/>
                </a:cubicBezTo>
                <a:cubicBezTo>
                  <a:pt x="1196" y="503"/>
                  <a:pt x="1195" y="502"/>
                  <a:pt x="1196" y="500"/>
                </a:cubicBezTo>
                <a:cubicBezTo>
                  <a:pt x="1196" y="499"/>
                  <a:pt x="1196" y="497"/>
                  <a:pt x="1196" y="495"/>
                </a:cubicBezTo>
                <a:cubicBezTo>
                  <a:pt x="1196" y="495"/>
                  <a:pt x="1197" y="494"/>
                  <a:pt x="1196" y="494"/>
                </a:cubicBezTo>
                <a:cubicBezTo>
                  <a:pt x="1197" y="494"/>
                  <a:pt x="1196" y="493"/>
                  <a:pt x="1196" y="493"/>
                </a:cubicBezTo>
                <a:cubicBezTo>
                  <a:pt x="1195" y="493"/>
                  <a:pt x="1196" y="490"/>
                  <a:pt x="1196" y="490"/>
                </a:cubicBezTo>
                <a:cubicBezTo>
                  <a:pt x="1197" y="489"/>
                  <a:pt x="1197" y="488"/>
                  <a:pt x="1198" y="488"/>
                </a:cubicBezTo>
                <a:cubicBezTo>
                  <a:pt x="1199" y="488"/>
                  <a:pt x="1200" y="489"/>
                  <a:pt x="1201" y="487"/>
                </a:cubicBezTo>
                <a:cubicBezTo>
                  <a:pt x="1202" y="486"/>
                  <a:pt x="1203" y="486"/>
                  <a:pt x="1204" y="486"/>
                </a:cubicBezTo>
                <a:cubicBezTo>
                  <a:pt x="1205" y="485"/>
                  <a:pt x="1206" y="485"/>
                  <a:pt x="1206" y="484"/>
                </a:cubicBezTo>
                <a:cubicBezTo>
                  <a:pt x="1206" y="484"/>
                  <a:pt x="1206" y="483"/>
                  <a:pt x="1206" y="483"/>
                </a:cubicBezTo>
                <a:cubicBezTo>
                  <a:pt x="1206" y="483"/>
                  <a:pt x="1206" y="483"/>
                  <a:pt x="1206" y="483"/>
                </a:cubicBezTo>
                <a:cubicBezTo>
                  <a:pt x="1206" y="483"/>
                  <a:pt x="1206" y="482"/>
                  <a:pt x="1206" y="482"/>
                </a:cubicBezTo>
                <a:cubicBezTo>
                  <a:pt x="1206" y="482"/>
                  <a:pt x="1207" y="482"/>
                  <a:pt x="1207" y="482"/>
                </a:cubicBezTo>
                <a:cubicBezTo>
                  <a:pt x="1207" y="481"/>
                  <a:pt x="1207" y="481"/>
                  <a:pt x="1207" y="481"/>
                </a:cubicBezTo>
                <a:cubicBezTo>
                  <a:pt x="1207" y="481"/>
                  <a:pt x="1207" y="481"/>
                  <a:pt x="1207" y="480"/>
                </a:cubicBezTo>
                <a:cubicBezTo>
                  <a:pt x="1207" y="480"/>
                  <a:pt x="1208" y="481"/>
                  <a:pt x="1208" y="480"/>
                </a:cubicBezTo>
                <a:cubicBezTo>
                  <a:pt x="1208" y="480"/>
                  <a:pt x="1209" y="480"/>
                  <a:pt x="1209" y="480"/>
                </a:cubicBezTo>
                <a:cubicBezTo>
                  <a:pt x="1210" y="480"/>
                  <a:pt x="1211" y="480"/>
                  <a:pt x="1211" y="479"/>
                </a:cubicBezTo>
                <a:cubicBezTo>
                  <a:pt x="1212" y="478"/>
                  <a:pt x="1214" y="477"/>
                  <a:pt x="1215" y="477"/>
                </a:cubicBezTo>
                <a:cubicBezTo>
                  <a:pt x="1216" y="475"/>
                  <a:pt x="1218" y="474"/>
                  <a:pt x="1219" y="472"/>
                </a:cubicBezTo>
                <a:cubicBezTo>
                  <a:pt x="1219" y="472"/>
                  <a:pt x="1219" y="472"/>
                  <a:pt x="1219" y="472"/>
                </a:cubicBezTo>
                <a:cubicBezTo>
                  <a:pt x="1219" y="471"/>
                  <a:pt x="1220" y="471"/>
                  <a:pt x="1220" y="471"/>
                </a:cubicBezTo>
                <a:cubicBezTo>
                  <a:pt x="1220" y="470"/>
                  <a:pt x="1221" y="470"/>
                  <a:pt x="1221" y="470"/>
                </a:cubicBezTo>
                <a:cubicBezTo>
                  <a:pt x="1221" y="469"/>
                  <a:pt x="1221" y="468"/>
                  <a:pt x="1222" y="468"/>
                </a:cubicBezTo>
                <a:cubicBezTo>
                  <a:pt x="1223" y="468"/>
                  <a:pt x="1224" y="468"/>
                  <a:pt x="1224" y="468"/>
                </a:cubicBezTo>
                <a:cubicBezTo>
                  <a:pt x="1224" y="468"/>
                  <a:pt x="1226" y="467"/>
                  <a:pt x="1226" y="467"/>
                </a:cubicBezTo>
                <a:cubicBezTo>
                  <a:pt x="1226" y="467"/>
                  <a:pt x="1226" y="466"/>
                  <a:pt x="1227" y="466"/>
                </a:cubicBezTo>
                <a:cubicBezTo>
                  <a:pt x="1228" y="466"/>
                  <a:pt x="1228" y="465"/>
                  <a:pt x="1229" y="465"/>
                </a:cubicBezTo>
                <a:cubicBezTo>
                  <a:pt x="1230" y="464"/>
                  <a:pt x="1230" y="463"/>
                  <a:pt x="1230" y="463"/>
                </a:cubicBezTo>
                <a:cubicBezTo>
                  <a:pt x="1230" y="462"/>
                  <a:pt x="1230" y="461"/>
                  <a:pt x="1230" y="460"/>
                </a:cubicBezTo>
                <a:cubicBezTo>
                  <a:pt x="1230" y="460"/>
                  <a:pt x="1230" y="460"/>
                  <a:pt x="1230" y="460"/>
                </a:cubicBezTo>
                <a:cubicBezTo>
                  <a:pt x="1230" y="459"/>
                  <a:pt x="1231" y="460"/>
                  <a:pt x="1231" y="459"/>
                </a:cubicBezTo>
                <a:cubicBezTo>
                  <a:pt x="1231" y="459"/>
                  <a:pt x="1231" y="459"/>
                  <a:pt x="1231" y="458"/>
                </a:cubicBezTo>
                <a:cubicBezTo>
                  <a:pt x="1232" y="458"/>
                  <a:pt x="1233" y="457"/>
                  <a:pt x="1234" y="457"/>
                </a:cubicBezTo>
                <a:cubicBezTo>
                  <a:pt x="1235" y="457"/>
                  <a:pt x="1234" y="457"/>
                  <a:pt x="1235" y="456"/>
                </a:cubicBezTo>
                <a:cubicBezTo>
                  <a:pt x="1235" y="456"/>
                  <a:pt x="1235" y="455"/>
                  <a:pt x="1235" y="457"/>
                </a:cubicBezTo>
                <a:cubicBezTo>
                  <a:pt x="1236" y="456"/>
                  <a:pt x="1237" y="456"/>
                  <a:pt x="1238" y="456"/>
                </a:cubicBezTo>
                <a:cubicBezTo>
                  <a:pt x="1238" y="456"/>
                  <a:pt x="1237" y="457"/>
                  <a:pt x="1238" y="458"/>
                </a:cubicBezTo>
                <a:cubicBezTo>
                  <a:pt x="1238" y="458"/>
                  <a:pt x="1239" y="458"/>
                  <a:pt x="1240" y="457"/>
                </a:cubicBezTo>
                <a:cubicBezTo>
                  <a:pt x="1241" y="456"/>
                  <a:pt x="1240" y="456"/>
                  <a:pt x="1241" y="456"/>
                </a:cubicBezTo>
                <a:cubicBezTo>
                  <a:pt x="1241" y="456"/>
                  <a:pt x="1242" y="456"/>
                  <a:pt x="1242" y="456"/>
                </a:cubicBezTo>
                <a:cubicBezTo>
                  <a:pt x="1242" y="456"/>
                  <a:pt x="1242" y="455"/>
                  <a:pt x="1242" y="455"/>
                </a:cubicBezTo>
                <a:cubicBezTo>
                  <a:pt x="1242" y="456"/>
                  <a:pt x="1242" y="456"/>
                  <a:pt x="1242" y="456"/>
                </a:cubicBezTo>
                <a:cubicBezTo>
                  <a:pt x="1243" y="456"/>
                  <a:pt x="1244" y="456"/>
                  <a:pt x="1243" y="455"/>
                </a:cubicBezTo>
                <a:cubicBezTo>
                  <a:pt x="1244" y="455"/>
                  <a:pt x="1244" y="455"/>
                  <a:pt x="1244" y="455"/>
                </a:cubicBezTo>
                <a:cubicBezTo>
                  <a:pt x="1245" y="456"/>
                  <a:pt x="1246" y="456"/>
                  <a:pt x="1246" y="455"/>
                </a:cubicBezTo>
                <a:cubicBezTo>
                  <a:pt x="1247" y="455"/>
                  <a:pt x="1247" y="455"/>
                  <a:pt x="1247" y="454"/>
                </a:cubicBezTo>
                <a:cubicBezTo>
                  <a:pt x="1246" y="453"/>
                  <a:pt x="1246" y="452"/>
                  <a:pt x="1246" y="452"/>
                </a:cubicBezTo>
                <a:cubicBezTo>
                  <a:pt x="1246" y="451"/>
                  <a:pt x="1247" y="451"/>
                  <a:pt x="1247" y="450"/>
                </a:cubicBezTo>
                <a:cubicBezTo>
                  <a:pt x="1247" y="450"/>
                  <a:pt x="1247" y="449"/>
                  <a:pt x="1247" y="449"/>
                </a:cubicBezTo>
                <a:cubicBezTo>
                  <a:pt x="1247" y="449"/>
                  <a:pt x="1247" y="449"/>
                  <a:pt x="1246" y="449"/>
                </a:cubicBezTo>
                <a:cubicBezTo>
                  <a:pt x="1246" y="448"/>
                  <a:pt x="1246" y="448"/>
                  <a:pt x="1246" y="448"/>
                </a:cubicBezTo>
                <a:cubicBezTo>
                  <a:pt x="1246" y="448"/>
                  <a:pt x="1246" y="448"/>
                  <a:pt x="1246" y="447"/>
                </a:cubicBezTo>
                <a:cubicBezTo>
                  <a:pt x="1247" y="448"/>
                  <a:pt x="1248" y="448"/>
                  <a:pt x="1249" y="449"/>
                </a:cubicBezTo>
                <a:cubicBezTo>
                  <a:pt x="1249" y="450"/>
                  <a:pt x="1250" y="450"/>
                  <a:pt x="1250" y="450"/>
                </a:cubicBezTo>
                <a:cubicBezTo>
                  <a:pt x="1251" y="450"/>
                  <a:pt x="1251" y="451"/>
                  <a:pt x="1252" y="451"/>
                </a:cubicBezTo>
                <a:cubicBezTo>
                  <a:pt x="1252" y="451"/>
                  <a:pt x="1252" y="452"/>
                  <a:pt x="1253" y="453"/>
                </a:cubicBezTo>
                <a:cubicBezTo>
                  <a:pt x="1254" y="453"/>
                  <a:pt x="1253" y="453"/>
                  <a:pt x="1253" y="454"/>
                </a:cubicBezTo>
                <a:cubicBezTo>
                  <a:pt x="1253" y="455"/>
                  <a:pt x="1254" y="455"/>
                  <a:pt x="1254" y="456"/>
                </a:cubicBezTo>
                <a:cubicBezTo>
                  <a:pt x="1254" y="457"/>
                  <a:pt x="1254" y="458"/>
                  <a:pt x="1254" y="459"/>
                </a:cubicBezTo>
                <a:cubicBezTo>
                  <a:pt x="1254" y="459"/>
                  <a:pt x="1254" y="460"/>
                  <a:pt x="1254" y="460"/>
                </a:cubicBezTo>
                <a:cubicBezTo>
                  <a:pt x="1255" y="461"/>
                  <a:pt x="1255" y="460"/>
                  <a:pt x="1255" y="460"/>
                </a:cubicBezTo>
                <a:cubicBezTo>
                  <a:pt x="1255" y="461"/>
                  <a:pt x="1255" y="461"/>
                  <a:pt x="1255" y="461"/>
                </a:cubicBezTo>
                <a:cubicBezTo>
                  <a:pt x="1256" y="461"/>
                  <a:pt x="1256" y="462"/>
                  <a:pt x="1256" y="463"/>
                </a:cubicBezTo>
                <a:cubicBezTo>
                  <a:pt x="1256" y="464"/>
                  <a:pt x="1256" y="463"/>
                  <a:pt x="1256" y="463"/>
                </a:cubicBezTo>
                <a:cubicBezTo>
                  <a:pt x="1256" y="463"/>
                  <a:pt x="1256" y="464"/>
                  <a:pt x="1256" y="464"/>
                </a:cubicBezTo>
                <a:cubicBezTo>
                  <a:pt x="1257" y="464"/>
                  <a:pt x="1257" y="464"/>
                  <a:pt x="1257" y="464"/>
                </a:cubicBezTo>
                <a:cubicBezTo>
                  <a:pt x="1257" y="465"/>
                  <a:pt x="1257" y="465"/>
                  <a:pt x="1258" y="466"/>
                </a:cubicBezTo>
                <a:cubicBezTo>
                  <a:pt x="1258" y="467"/>
                  <a:pt x="1259" y="465"/>
                  <a:pt x="1259" y="465"/>
                </a:cubicBezTo>
                <a:cubicBezTo>
                  <a:pt x="1259" y="465"/>
                  <a:pt x="1260" y="465"/>
                  <a:pt x="1260" y="465"/>
                </a:cubicBezTo>
                <a:cubicBezTo>
                  <a:pt x="1260" y="465"/>
                  <a:pt x="1260" y="465"/>
                  <a:pt x="1260" y="465"/>
                </a:cubicBezTo>
                <a:cubicBezTo>
                  <a:pt x="1260" y="464"/>
                  <a:pt x="1261" y="465"/>
                  <a:pt x="1261" y="465"/>
                </a:cubicBezTo>
                <a:cubicBezTo>
                  <a:pt x="1261" y="465"/>
                  <a:pt x="1261" y="467"/>
                  <a:pt x="1262" y="467"/>
                </a:cubicBezTo>
                <a:cubicBezTo>
                  <a:pt x="1263" y="468"/>
                  <a:pt x="1262" y="470"/>
                  <a:pt x="1264" y="470"/>
                </a:cubicBezTo>
                <a:cubicBezTo>
                  <a:pt x="1263" y="471"/>
                  <a:pt x="1264" y="474"/>
                  <a:pt x="1264" y="475"/>
                </a:cubicBezTo>
                <a:cubicBezTo>
                  <a:pt x="1264" y="475"/>
                  <a:pt x="1265" y="475"/>
                  <a:pt x="1265" y="475"/>
                </a:cubicBezTo>
                <a:cubicBezTo>
                  <a:pt x="1266" y="476"/>
                  <a:pt x="1265" y="476"/>
                  <a:pt x="1265" y="477"/>
                </a:cubicBezTo>
                <a:cubicBezTo>
                  <a:pt x="1266" y="477"/>
                  <a:pt x="1265" y="478"/>
                  <a:pt x="1266" y="478"/>
                </a:cubicBezTo>
                <a:cubicBezTo>
                  <a:pt x="1266" y="478"/>
                  <a:pt x="1266" y="479"/>
                  <a:pt x="1266" y="480"/>
                </a:cubicBezTo>
                <a:cubicBezTo>
                  <a:pt x="1266" y="480"/>
                  <a:pt x="1265" y="481"/>
                  <a:pt x="1265" y="481"/>
                </a:cubicBezTo>
                <a:cubicBezTo>
                  <a:pt x="1265" y="481"/>
                  <a:pt x="1265" y="481"/>
                  <a:pt x="1265" y="481"/>
                </a:cubicBezTo>
                <a:cubicBezTo>
                  <a:pt x="1265" y="482"/>
                  <a:pt x="1265" y="482"/>
                  <a:pt x="1265" y="483"/>
                </a:cubicBezTo>
                <a:cubicBezTo>
                  <a:pt x="1265" y="483"/>
                  <a:pt x="1264" y="483"/>
                  <a:pt x="1264" y="483"/>
                </a:cubicBezTo>
                <a:cubicBezTo>
                  <a:pt x="1264" y="483"/>
                  <a:pt x="1264" y="483"/>
                  <a:pt x="1264" y="484"/>
                </a:cubicBezTo>
                <a:cubicBezTo>
                  <a:pt x="1264" y="484"/>
                  <a:pt x="1264" y="483"/>
                  <a:pt x="1264" y="484"/>
                </a:cubicBezTo>
                <a:cubicBezTo>
                  <a:pt x="1264" y="484"/>
                  <a:pt x="1264" y="484"/>
                  <a:pt x="1264" y="485"/>
                </a:cubicBezTo>
                <a:cubicBezTo>
                  <a:pt x="1264" y="485"/>
                  <a:pt x="1264" y="486"/>
                  <a:pt x="1264" y="486"/>
                </a:cubicBezTo>
                <a:cubicBezTo>
                  <a:pt x="1264" y="487"/>
                  <a:pt x="1264" y="488"/>
                  <a:pt x="1265" y="488"/>
                </a:cubicBezTo>
                <a:cubicBezTo>
                  <a:pt x="1265" y="488"/>
                  <a:pt x="1266" y="488"/>
                  <a:pt x="1266" y="488"/>
                </a:cubicBezTo>
                <a:cubicBezTo>
                  <a:pt x="1267" y="488"/>
                  <a:pt x="1266" y="489"/>
                  <a:pt x="1267" y="488"/>
                </a:cubicBezTo>
                <a:cubicBezTo>
                  <a:pt x="1268" y="488"/>
                  <a:pt x="1268" y="488"/>
                  <a:pt x="1269" y="488"/>
                </a:cubicBezTo>
                <a:cubicBezTo>
                  <a:pt x="1271" y="489"/>
                  <a:pt x="1270" y="487"/>
                  <a:pt x="1271" y="487"/>
                </a:cubicBezTo>
                <a:cubicBezTo>
                  <a:pt x="1271" y="487"/>
                  <a:pt x="1272" y="487"/>
                  <a:pt x="1272" y="487"/>
                </a:cubicBezTo>
                <a:cubicBezTo>
                  <a:pt x="1272" y="486"/>
                  <a:pt x="1273" y="486"/>
                  <a:pt x="1273" y="486"/>
                </a:cubicBezTo>
                <a:cubicBezTo>
                  <a:pt x="1274" y="484"/>
                  <a:pt x="1274" y="483"/>
                  <a:pt x="1275" y="482"/>
                </a:cubicBezTo>
                <a:cubicBezTo>
                  <a:pt x="1276" y="481"/>
                  <a:pt x="1276" y="483"/>
                  <a:pt x="1276" y="483"/>
                </a:cubicBezTo>
                <a:cubicBezTo>
                  <a:pt x="1277" y="483"/>
                  <a:pt x="1277" y="483"/>
                  <a:pt x="1277" y="484"/>
                </a:cubicBezTo>
                <a:cubicBezTo>
                  <a:pt x="1278" y="484"/>
                  <a:pt x="1278" y="484"/>
                  <a:pt x="1278" y="484"/>
                </a:cubicBezTo>
                <a:cubicBezTo>
                  <a:pt x="1278" y="485"/>
                  <a:pt x="1278" y="485"/>
                  <a:pt x="1278" y="485"/>
                </a:cubicBezTo>
                <a:cubicBezTo>
                  <a:pt x="1279" y="485"/>
                  <a:pt x="1280" y="485"/>
                  <a:pt x="1280" y="486"/>
                </a:cubicBezTo>
                <a:cubicBezTo>
                  <a:pt x="1280" y="487"/>
                  <a:pt x="1280" y="486"/>
                  <a:pt x="1280" y="487"/>
                </a:cubicBezTo>
                <a:cubicBezTo>
                  <a:pt x="1280" y="487"/>
                  <a:pt x="1280" y="487"/>
                  <a:pt x="1280" y="488"/>
                </a:cubicBezTo>
                <a:cubicBezTo>
                  <a:pt x="1279" y="488"/>
                  <a:pt x="1279" y="488"/>
                  <a:pt x="1280" y="489"/>
                </a:cubicBezTo>
                <a:cubicBezTo>
                  <a:pt x="1280" y="490"/>
                  <a:pt x="1280" y="490"/>
                  <a:pt x="1281" y="490"/>
                </a:cubicBezTo>
                <a:cubicBezTo>
                  <a:pt x="1281" y="491"/>
                  <a:pt x="1281" y="490"/>
                  <a:pt x="1281" y="491"/>
                </a:cubicBezTo>
                <a:cubicBezTo>
                  <a:pt x="1281" y="492"/>
                  <a:pt x="1282" y="491"/>
                  <a:pt x="1282" y="492"/>
                </a:cubicBezTo>
                <a:cubicBezTo>
                  <a:pt x="1282" y="492"/>
                  <a:pt x="1282" y="492"/>
                  <a:pt x="1282" y="492"/>
                </a:cubicBezTo>
                <a:cubicBezTo>
                  <a:pt x="1282" y="493"/>
                  <a:pt x="1282" y="494"/>
                  <a:pt x="1282" y="494"/>
                </a:cubicBezTo>
                <a:cubicBezTo>
                  <a:pt x="1282" y="495"/>
                  <a:pt x="1282" y="495"/>
                  <a:pt x="1282" y="496"/>
                </a:cubicBezTo>
                <a:cubicBezTo>
                  <a:pt x="1282" y="497"/>
                  <a:pt x="1283" y="497"/>
                  <a:pt x="1283" y="498"/>
                </a:cubicBezTo>
                <a:cubicBezTo>
                  <a:pt x="1283" y="499"/>
                  <a:pt x="1283" y="498"/>
                  <a:pt x="1283" y="499"/>
                </a:cubicBezTo>
                <a:cubicBezTo>
                  <a:pt x="1283" y="499"/>
                  <a:pt x="1283" y="500"/>
                  <a:pt x="1283" y="500"/>
                </a:cubicBezTo>
                <a:cubicBezTo>
                  <a:pt x="1283" y="500"/>
                  <a:pt x="1284" y="501"/>
                  <a:pt x="1284" y="501"/>
                </a:cubicBezTo>
                <a:cubicBezTo>
                  <a:pt x="1285" y="502"/>
                  <a:pt x="1285" y="502"/>
                  <a:pt x="1285" y="503"/>
                </a:cubicBezTo>
                <a:cubicBezTo>
                  <a:pt x="1285" y="503"/>
                  <a:pt x="1285" y="504"/>
                  <a:pt x="1285" y="504"/>
                </a:cubicBezTo>
                <a:cubicBezTo>
                  <a:pt x="1285" y="504"/>
                  <a:pt x="1285" y="504"/>
                  <a:pt x="1285" y="504"/>
                </a:cubicBezTo>
                <a:cubicBezTo>
                  <a:pt x="1285" y="505"/>
                  <a:pt x="1285" y="505"/>
                  <a:pt x="1285" y="506"/>
                </a:cubicBezTo>
                <a:cubicBezTo>
                  <a:pt x="1285" y="506"/>
                  <a:pt x="1286" y="506"/>
                  <a:pt x="1286" y="507"/>
                </a:cubicBezTo>
                <a:cubicBezTo>
                  <a:pt x="1285" y="507"/>
                  <a:pt x="1286" y="507"/>
                  <a:pt x="1286" y="507"/>
                </a:cubicBezTo>
                <a:cubicBezTo>
                  <a:pt x="1286" y="507"/>
                  <a:pt x="1286" y="508"/>
                  <a:pt x="1286" y="508"/>
                </a:cubicBezTo>
                <a:cubicBezTo>
                  <a:pt x="1286" y="509"/>
                  <a:pt x="1286" y="510"/>
                  <a:pt x="1285" y="511"/>
                </a:cubicBezTo>
                <a:cubicBezTo>
                  <a:pt x="1285" y="511"/>
                  <a:pt x="1286" y="511"/>
                  <a:pt x="1286" y="511"/>
                </a:cubicBezTo>
                <a:cubicBezTo>
                  <a:pt x="1286" y="512"/>
                  <a:pt x="1286" y="512"/>
                  <a:pt x="1286" y="512"/>
                </a:cubicBezTo>
                <a:cubicBezTo>
                  <a:pt x="1287" y="512"/>
                  <a:pt x="1287" y="513"/>
                  <a:pt x="1287" y="514"/>
                </a:cubicBezTo>
                <a:cubicBezTo>
                  <a:pt x="1287" y="514"/>
                  <a:pt x="1287" y="514"/>
                  <a:pt x="1287" y="515"/>
                </a:cubicBezTo>
                <a:cubicBezTo>
                  <a:pt x="1287" y="515"/>
                  <a:pt x="1287" y="514"/>
                  <a:pt x="1287" y="515"/>
                </a:cubicBezTo>
                <a:cubicBezTo>
                  <a:pt x="1288" y="516"/>
                  <a:pt x="1287" y="517"/>
                  <a:pt x="1287" y="518"/>
                </a:cubicBezTo>
                <a:cubicBezTo>
                  <a:pt x="1287" y="519"/>
                  <a:pt x="1286" y="519"/>
                  <a:pt x="1286" y="519"/>
                </a:cubicBezTo>
                <a:cubicBezTo>
                  <a:pt x="1286" y="520"/>
                  <a:pt x="1286" y="521"/>
                  <a:pt x="1286" y="522"/>
                </a:cubicBezTo>
                <a:cubicBezTo>
                  <a:pt x="1286" y="522"/>
                  <a:pt x="1287" y="521"/>
                  <a:pt x="1287" y="522"/>
                </a:cubicBezTo>
                <a:cubicBezTo>
                  <a:pt x="1287" y="522"/>
                  <a:pt x="1287" y="523"/>
                  <a:pt x="1287" y="523"/>
                </a:cubicBezTo>
                <a:cubicBezTo>
                  <a:pt x="1287" y="523"/>
                  <a:pt x="1286" y="523"/>
                  <a:pt x="1286" y="524"/>
                </a:cubicBezTo>
                <a:cubicBezTo>
                  <a:pt x="1286" y="524"/>
                  <a:pt x="1286" y="525"/>
                  <a:pt x="1285" y="525"/>
                </a:cubicBezTo>
                <a:cubicBezTo>
                  <a:pt x="1285" y="526"/>
                  <a:pt x="1285" y="527"/>
                  <a:pt x="1285" y="528"/>
                </a:cubicBezTo>
                <a:cubicBezTo>
                  <a:pt x="1285" y="528"/>
                  <a:pt x="1285" y="528"/>
                  <a:pt x="1285" y="528"/>
                </a:cubicBezTo>
                <a:cubicBezTo>
                  <a:pt x="1285" y="529"/>
                  <a:pt x="1285" y="529"/>
                  <a:pt x="1285" y="530"/>
                </a:cubicBezTo>
                <a:cubicBezTo>
                  <a:pt x="1285" y="530"/>
                  <a:pt x="1285" y="530"/>
                  <a:pt x="1286" y="530"/>
                </a:cubicBezTo>
                <a:cubicBezTo>
                  <a:pt x="1286" y="531"/>
                  <a:pt x="1286" y="531"/>
                  <a:pt x="1286" y="531"/>
                </a:cubicBezTo>
                <a:cubicBezTo>
                  <a:pt x="1286" y="532"/>
                  <a:pt x="1289" y="534"/>
                  <a:pt x="1290" y="535"/>
                </a:cubicBezTo>
                <a:cubicBezTo>
                  <a:pt x="1290" y="535"/>
                  <a:pt x="1289" y="535"/>
                  <a:pt x="1290" y="536"/>
                </a:cubicBezTo>
                <a:cubicBezTo>
                  <a:pt x="1291" y="537"/>
                  <a:pt x="1291" y="537"/>
                  <a:pt x="1291" y="538"/>
                </a:cubicBezTo>
                <a:cubicBezTo>
                  <a:pt x="1291" y="539"/>
                  <a:pt x="1292" y="539"/>
                  <a:pt x="1293" y="540"/>
                </a:cubicBezTo>
                <a:cubicBezTo>
                  <a:pt x="1293" y="541"/>
                  <a:pt x="1293" y="542"/>
                  <a:pt x="1293" y="543"/>
                </a:cubicBezTo>
                <a:cubicBezTo>
                  <a:pt x="1293" y="544"/>
                  <a:pt x="1293" y="544"/>
                  <a:pt x="1293" y="546"/>
                </a:cubicBezTo>
                <a:cubicBezTo>
                  <a:pt x="1293" y="546"/>
                  <a:pt x="1294" y="545"/>
                  <a:pt x="1294" y="546"/>
                </a:cubicBezTo>
                <a:cubicBezTo>
                  <a:pt x="1294" y="547"/>
                  <a:pt x="1294" y="546"/>
                  <a:pt x="1294" y="547"/>
                </a:cubicBezTo>
                <a:cubicBezTo>
                  <a:pt x="1294" y="547"/>
                  <a:pt x="1294" y="548"/>
                  <a:pt x="1294" y="548"/>
                </a:cubicBezTo>
                <a:cubicBezTo>
                  <a:pt x="1294" y="548"/>
                  <a:pt x="1294" y="549"/>
                  <a:pt x="1294" y="550"/>
                </a:cubicBezTo>
                <a:cubicBezTo>
                  <a:pt x="1294" y="550"/>
                  <a:pt x="1294" y="550"/>
                  <a:pt x="1294" y="551"/>
                </a:cubicBezTo>
                <a:cubicBezTo>
                  <a:pt x="1294" y="551"/>
                  <a:pt x="1295" y="551"/>
                  <a:pt x="1295" y="552"/>
                </a:cubicBezTo>
                <a:cubicBezTo>
                  <a:pt x="1295" y="552"/>
                  <a:pt x="1295" y="552"/>
                  <a:pt x="1295" y="552"/>
                </a:cubicBezTo>
                <a:cubicBezTo>
                  <a:pt x="1295" y="552"/>
                  <a:pt x="1295" y="553"/>
                  <a:pt x="1295" y="554"/>
                </a:cubicBezTo>
                <a:cubicBezTo>
                  <a:pt x="1295" y="555"/>
                  <a:pt x="1296" y="556"/>
                  <a:pt x="1296" y="557"/>
                </a:cubicBezTo>
                <a:cubicBezTo>
                  <a:pt x="1297" y="558"/>
                  <a:pt x="1297" y="558"/>
                  <a:pt x="1298" y="559"/>
                </a:cubicBezTo>
                <a:cubicBezTo>
                  <a:pt x="1298" y="560"/>
                  <a:pt x="1298" y="559"/>
                  <a:pt x="1298" y="560"/>
                </a:cubicBezTo>
                <a:cubicBezTo>
                  <a:pt x="1298" y="560"/>
                  <a:pt x="1298" y="561"/>
                  <a:pt x="1298" y="561"/>
                </a:cubicBezTo>
                <a:cubicBezTo>
                  <a:pt x="1298" y="562"/>
                  <a:pt x="1299" y="563"/>
                  <a:pt x="1300" y="564"/>
                </a:cubicBezTo>
                <a:cubicBezTo>
                  <a:pt x="1300" y="564"/>
                  <a:pt x="1303" y="565"/>
                  <a:pt x="1303" y="566"/>
                </a:cubicBezTo>
                <a:cubicBezTo>
                  <a:pt x="1303" y="567"/>
                  <a:pt x="1304" y="567"/>
                  <a:pt x="1304" y="567"/>
                </a:cubicBezTo>
                <a:cubicBezTo>
                  <a:pt x="1305" y="568"/>
                  <a:pt x="1304" y="568"/>
                  <a:pt x="1305" y="568"/>
                </a:cubicBezTo>
                <a:cubicBezTo>
                  <a:pt x="1306" y="568"/>
                  <a:pt x="1305" y="568"/>
                  <a:pt x="1305" y="568"/>
                </a:cubicBezTo>
                <a:cubicBezTo>
                  <a:pt x="1305" y="568"/>
                  <a:pt x="1306" y="568"/>
                  <a:pt x="1306" y="568"/>
                </a:cubicBezTo>
                <a:cubicBezTo>
                  <a:pt x="1306" y="568"/>
                  <a:pt x="1306" y="568"/>
                  <a:pt x="1306" y="568"/>
                </a:cubicBezTo>
                <a:cubicBezTo>
                  <a:pt x="1306" y="569"/>
                  <a:pt x="1307" y="569"/>
                  <a:pt x="1307" y="569"/>
                </a:cubicBezTo>
                <a:cubicBezTo>
                  <a:pt x="1308" y="570"/>
                  <a:pt x="1308" y="569"/>
                  <a:pt x="1308" y="568"/>
                </a:cubicBezTo>
                <a:cubicBezTo>
                  <a:pt x="1309" y="567"/>
                  <a:pt x="1310" y="568"/>
                  <a:pt x="1312" y="568"/>
                </a:cubicBezTo>
                <a:cubicBezTo>
                  <a:pt x="1311" y="567"/>
                  <a:pt x="1311" y="566"/>
                  <a:pt x="1311" y="565"/>
                </a:cubicBezTo>
                <a:cubicBezTo>
                  <a:pt x="1310" y="564"/>
                  <a:pt x="1311" y="566"/>
                  <a:pt x="1310" y="564"/>
                </a:cubicBezTo>
                <a:cubicBezTo>
                  <a:pt x="1310" y="563"/>
                  <a:pt x="1310" y="564"/>
                  <a:pt x="1310" y="563"/>
                </a:cubicBezTo>
                <a:cubicBezTo>
                  <a:pt x="1310" y="563"/>
                  <a:pt x="1310" y="562"/>
                  <a:pt x="1310" y="562"/>
                </a:cubicBezTo>
                <a:cubicBezTo>
                  <a:pt x="1309" y="562"/>
                  <a:pt x="1308" y="562"/>
                  <a:pt x="1308" y="561"/>
                </a:cubicBezTo>
                <a:cubicBezTo>
                  <a:pt x="1308" y="561"/>
                  <a:pt x="1309" y="560"/>
                  <a:pt x="1308" y="560"/>
                </a:cubicBezTo>
                <a:cubicBezTo>
                  <a:pt x="1308" y="559"/>
                  <a:pt x="1309" y="554"/>
                  <a:pt x="1308" y="553"/>
                </a:cubicBezTo>
                <a:cubicBezTo>
                  <a:pt x="1308" y="553"/>
                  <a:pt x="1309" y="551"/>
                  <a:pt x="1308" y="551"/>
                </a:cubicBezTo>
                <a:cubicBezTo>
                  <a:pt x="1308" y="551"/>
                  <a:pt x="1308" y="551"/>
                  <a:pt x="1308" y="551"/>
                </a:cubicBezTo>
                <a:cubicBezTo>
                  <a:pt x="1307" y="551"/>
                  <a:pt x="1307" y="550"/>
                  <a:pt x="1307" y="550"/>
                </a:cubicBezTo>
                <a:cubicBezTo>
                  <a:pt x="1307" y="550"/>
                  <a:pt x="1308" y="550"/>
                  <a:pt x="1307" y="549"/>
                </a:cubicBezTo>
                <a:cubicBezTo>
                  <a:pt x="1305" y="548"/>
                  <a:pt x="1306" y="545"/>
                  <a:pt x="1304" y="545"/>
                </a:cubicBezTo>
                <a:cubicBezTo>
                  <a:pt x="1304" y="545"/>
                  <a:pt x="1302" y="543"/>
                  <a:pt x="1302" y="543"/>
                </a:cubicBezTo>
                <a:cubicBezTo>
                  <a:pt x="1301" y="542"/>
                  <a:pt x="1301" y="542"/>
                  <a:pt x="1301" y="541"/>
                </a:cubicBezTo>
                <a:cubicBezTo>
                  <a:pt x="1301" y="541"/>
                  <a:pt x="1298" y="538"/>
                  <a:pt x="1298" y="538"/>
                </a:cubicBezTo>
                <a:cubicBezTo>
                  <a:pt x="1297" y="538"/>
                  <a:pt x="1296" y="538"/>
                  <a:pt x="1295" y="537"/>
                </a:cubicBezTo>
                <a:cubicBezTo>
                  <a:pt x="1294" y="535"/>
                  <a:pt x="1293" y="533"/>
                  <a:pt x="1293" y="531"/>
                </a:cubicBezTo>
                <a:cubicBezTo>
                  <a:pt x="1293" y="531"/>
                  <a:pt x="1292" y="531"/>
                  <a:pt x="1292" y="531"/>
                </a:cubicBezTo>
                <a:cubicBezTo>
                  <a:pt x="1292" y="530"/>
                  <a:pt x="1291" y="530"/>
                  <a:pt x="1291" y="529"/>
                </a:cubicBezTo>
                <a:cubicBezTo>
                  <a:pt x="1291" y="528"/>
                  <a:pt x="1291" y="528"/>
                  <a:pt x="1291" y="527"/>
                </a:cubicBezTo>
                <a:cubicBezTo>
                  <a:pt x="1291" y="527"/>
                  <a:pt x="1290" y="527"/>
                  <a:pt x="1290" y="527"/>
                </a:cubicBezTo>
                <a:cubicBezTo>
                  <a:pt x="1289" y="527"/>
                  <a:pt x="1289" y="526"/>
                  <a:pt x="1289" y="526"/>
                </a:cubicBezTo>
                <a:cubicBezTo>
                  <a:pt x="1289" y="525"/>
                  <a:pt x="1289" y="524"/>
                  <a:pt x="1289" y="523"/>
                </a:cubicBezTo>
                <a:cubicBezTo>
                  <a:pt x="1289" y="522"/>
                  <a:pt x="1290" y="523"/>
                  <a:pt x="1290" y="522"/>
                </a:cubicBezTo>
                <a:cubicBezTo>
                  <a:pt x="1290" y="521"/>
                  <a:pt x="1290" y="522"/>
                  <a:pt x="1290" y="522"/>
                </a:cubicBezTo>
                <a:cubicBezTo>
                  <a:pt x="1290" y="521"/>
                  <a:pt x="1290" y="519"/>
                  <a:pt x="1290" y="519"/>
                </a:cubicBezTo>
                <a:cubicBezTo>
                  <a:pt x="1290" y="519"/>
                  <a:pt x="1291" y="518"/>
                  <a:pt x="1291" y="518"/>
                </a:cubicBezTo>
                <a:cubicBezTo>
                  <a:pt x="1291" y="517"/>
                  <a:pt x="1291" y="516"/>
                  <a:pt x="1291" y="515"/>
                </a:cubicBezTo>
                <a:cubicBezTo>
                  <a:pt x="1291" y="515"/>
                  <a:pt x="1291" y="515"/>
                  <a:pt x="1291" y="515"/>
                </a:cubicBezTo>
                <a:cubicBezTo>
                  <a:pt x="1291" y="514"/>
                  <a:pt x="1291" y="514"/>
                  <a:pt x="1291" y="513"/>
                </a:cubicBezTo>
                <a:cubicBezTo>
                  <a:pt x="1291" y="513"/>
                  <a:pt x="1292" y="511"/>
                  <a:pt x="1292" y="511"/>
                </a:cubicBezTo>
                <a:cubicBezTo>
                  <a:pt x="1292" y="510"/>
                  <a:pt x="1292" y="509"/>
                  <a:pt x="1292" y="508"/>
                </a:cubicBezTo>
                <a:cubicBezTo>
                  <a:pt x="1292" y="507"/>
                  <a:pt x="1293" y="506"/>
                  <a:pt x="1293" y="505"/>
                </a:cubicBezTo>
                <a:cubicBezTo>
                  <a:pt x="1292" y="505"/>
                  <a:pt x="1292" y="504"/>
                  <a:pt x="1292" y="504"/>
                </a:cubicBezTo>
                <a:cubicBezTo>
                  <a:pt x="1293" y="504"/>
                  <a:pt x="1293" y="504"/>
                  <a:pt x="1293" y="503"/>
                </a:cubicBezTo>
                <a:cubicBezTo>
                  <a:pt x="1293" y="503"/>
                  <a:pt x="1294" y="503"/>
                  <a:pt x="1294" y="503"/>
                </a:cubicBezTo>
                <a:cubicBezTo>
                  <a:pt x="1295" y="503"/>
                  <a:pt x="1295" y="503"/>
                  <a:pt x="1295" y="503"/>
                </a:cubicBezTo>
                <a:cubicBezTo>
                  <a:pt x="1295" y="503"/>
                  <a:pt x="1296" y="503"/>
                  <a:pt x="1296" y="503"/>
                </a:cubicBezTo>
                <a:cubicBezTo>
                  <a:pt x="1297" y="503"/>
                  <a:pt x="1297" y="506"/>
                  <a:pt x="1298" y="507"/>
                </a:cubicBezTo>
                <a:cubicBezTo>
                  <a:pt x="1298" y="507"/>
                  <a:pt x="1300" y="507"/>
                  <a:pt x="1300" y="507"/>
                </a:cubicBezTo>
                <a:cubicBezTo>
                  <a:pt x="1301" y="508"/>
                  <a:pt x="1301" y="510"/>
                  <a:pt x="1303" y="511"/>
                </a:cubicBezTo>
                <a:cubicBezTo>
                  <a:pt x="1303" y="511"/>
                  <a:pt x="1303" y="511"/>
                  <a:pt x="1303" y="511"/>
                </a:cubicBezTo>
                <a:cubicBezTo>
                  <a:pt x="1303" y="511"/>
                  <a:pt x="1303" y="511"/>
                  <a:pt x="1304" y="511"/>
                </a:cubicBezTo>
                <a:cubicBezTo>
                  <a:pt x="1304" y="511"/>
                  <a:pt x="1304" y="513"/>
                  <a:pt x="1305" y="513"/>
                </a:cubicBezTo>
                <a:cubicBezTo>
                  <a:pt x="1305" y="514"/>
                  <a:pt x="1306" y="514"/>
                  <a:pt x="1306" y="515"/>
                </a:cubicBezTo>
                <a:cubicBezTo>
                  <a:pt x="1306" y="516"/>
                  <a:pt x="1307" y="516"/>
                  <a:pt x="1307" y="516"/>
                </a:cubicBezTo>
                <a:cubicBezTo>
                  <a:pt x="1307" y="517"/>
                  <a:pt x="1307" y="518"/>
                  <a:pt x="1307" y="519"/>
                </a:cubicBezTo>
                <a:cubicBezTo>
                  <a:pt x="1308" y="518"/>
                  <a:pt x="1309" y="518"/>
                  <a:pt x="1309" y="518"/>
                </a:cubicBezTo>
                <a:cubicBezTo>
                  <a:pt x="1309" y="518"/>
                  <a:pt x="1309" y="519"/>
                  <a:pt x="1310" y="520"/>
                </a:cubicBezTo>
                <a:cubicBezTo>
                  <a:pt x="1310" y="520"/>
                  <a:pt x="1312" y="520"/>
                  <a:pt x="1312" y="520"/>
                </a:cubicBezTo>
                <a:cubicBezTo>
                  <a:pt x="1312" y="520"/>
                  <a:pt x="1313" y="520"/>
                  <a:pt x="1313" y="521"/>
                </a:cubicBezTo>
                <a:cubicBezTo>
                  <a:pt x="1313" y="521"/>
                  <a:pt x="1314" y="522"/>
                  <a:pt x="1314" y="523"/>
                </a:cubicBezTo>
                <a:cubicBezTo>
                  <a:pt x="1314" y="523"/>
                  <a:pt x="1314" y="525"/>
                  <a:pt x="1313" y="525"/>
                </a:cubicBezTo>
                <a:cubicBezTo>
                  <a:pt x="1313" y="525"/>
                  <a:pt x="1313" y="526"/>
                  <a:pt x="1314" y="527"/>
                </a:cubicBezTo>
                <a:cubicBezTo>
                  <a:pt x="1314" y="528"/>
                  <a:pt x="1314" y="528"/>
                  <a:pt x="1315" y="529"/>
                </a:cubicBezTo>
                <a:cubicBezTo>
                  <a:pt x="1315" y="530"/>
                  <a:pt x="1314" y="530"/>
                  <a:pt x="1314" y="531"/>
                </a:cubicBezTo>
                <a:cubicBezTo>
                  <a:pt x="1316" y="530"/>
                  <a:pt x="1317" y="530"/>
                  <a:pt x="1317" y="528"/>
                </a:cubicBezTo>
                <a:cubicBezTo>
                  <a:pt x="1318" y="528"/>
                  <a:pt x="1318" y="528"/>
                  <a:pt x="1319" y="528"/>
                </a:cubicBezTo>
                <a:cubicBezTo>
                  <a:pt x="1319" y="528"/>
                  <a:pt x="1319" y="527"/>
                  <a:pt x="1319" y="528"/>
                </a:cubicBezTo>
                <a:cubicBezTo>
                  <a:pt x="1319" y="527"/>
                  <a:pt x="1319" y="527"/>
                  <a:pt x="1319" y="527"/>
                </a:cubicBezTo>
                <a:cubicBezTo>
                  <a:pt x="1319" y="526"/>
                  <a:pt x="1318" y="524"/>
                  <a:pt x="1318" y="523"/>
                </a:cubicBezTo>
                <a:cubicBezTo>
                  <a:pt x="1318" y="523"/>
                  <a:pt x="1318" y="523"/>
                  <a:pt x="1318" y="523"/>
                </a:cubicBezTo>
                <a:cubicBezTo>
                  <a:pt x="1318" y="523"/>
                  <a:pt x="1318" y="522"/>
                  <a:pt x="1318" y="522"/>
                </a:cubicBezTo>
                <a:cubicBezTo>
                  <a:pt x="1318" y="522"/>
                  <a:pt x="1317" y="522"/>
                  <a:pt x="1317" y="522"/>
                </a:cubicBezTo>
                <a:cubicBezTo>
                  <a:pt x="1319" y="523"/>
                  <a:pt x="1319" y="525"/>
                  <a:pt x="1321" y="525"/>
                </a:cubicBezTo>
                <a:cubicBezTo>
                  <a:pt x="1322" y="525"/>
                  <a:pt x="1322" y="524"/>
                  <a:pt x="1322" y="524"/>
                </a:cubicBezTo>
                <a:cubicBezTo>
                  <a:pt x="1321" y="523"/>
                  <a:pt x="1320" y="523"/>
                  <a:pt x="1320" y="522"/>
                </a:cubicBezTo>
                <a:cubicBezTo>
                  <a:pt x="1319" y="522"/>
                  <a:pt x="1318" y="521"/>
                  <a:pt x="1318" y="520"/>
                </a:cubicBezTo>
                <a:cubicBezTo>
                  <a:pt x="1318" y="520"/>
                  <a:pt x="1319" y="520"/>
                  <a:pt x="1319" y="520"/>
                </a:cubicBezTo>
                <a:cubicBezTo>
                  <a:pt x="1320" y="520"/>
                  <a:pt x="1320" y="521"/>
                  <a:pt x="1320" y="521"/>
                </a:cubicBezTo>
                <a:cubicBezTo>
                  <a:pt x="1321" y="521"/>
                  <a:pt x="1322" y="522"/>
                  <a:pt x="1322" y="521"/>
                </a:cubicBezTo>
                <a:cubicBezTo>
                  <a:pt x="1322" y="521"/>
                  <a:pt x="1323" y="522"/>
                  <a:pt x="1324" y="521"/>
                </a:cubicBezTo>
                <a:cubicBezTo>
                  <a:pt x="1324" y="521"/>
                  <a:pt x="1324" y="521"/>
                  <a:pt x="1324" y="521"/>
                </a:cubicBezTo>
                <a:cubicBezTo>
                  <a:pt x="1324" y="521"/>
                  <a:pt x="1325" y="521"/>
                  <a:pt x="1325" y="521"/>
                </a:cubicBezTo>
                <a:cubicBezTo>
                  <a:pt x="1325" y="521"/>
                  <a:pt x="1325" y="520"/>
                  <a:pt x="1325" y="520"/>
                </a:cubicBezTo>
                <a:cubicBezTo>
                  <a:pt x="1325" y="520"/>
                  <a:pt x="1326" y="521"/>
                  <a:pt x="1327" y="521"/>
                </a:cubicBezTo>
                <a:cubicBezTo>
                  <a:pt x="1327" y="520"/>
                  <a:pt x="1327" y="520"/>
                  <a:pt x="1328" y="519"/>
                </a:cubicBezTo>
                <a:cubicBezTo>
                  <a:pt x="1328" y="519"/>
                  <a:pt x="1328" y="519"/>
                  <a:pt x="1328" y="519"/>
                </a:cubicBezTo>
                <a:cubicBezTo>
                  <a:pt x="1329" y="518"/>
                  <a:pt x="1330" y="519"/>
                  <a:pt x="1330" y="518"/>
                </a:cubicBezTo>
                <a:cubicBezTo>
                  <a:pt x="1330" y="517"/>
                  <a:pt x="1331" y="517"/>
                  <a:pt x="1331" y="517"/>
                </a:cubicBezTo>
                <a:cubicBezTo>
                  <a:pt x="1332" y="517"/>
                  <a:pt x="1331" y="517"/>
                  <a:pt x="1332" y="517"/>
                </a:cubicBezTo>
                <a:cubicBezTo>
                  <a:pt x="1332" y="517"/>
                  <a:pt x="1332" y="517"/>
                  <a:pt x="1333" y="516"/>
                </a:cubicBezTo>
                <a:cubicBezTo>
                  <a:pt x="1333" y="516"/>
                  <a:pt x="1333" y="515"/>
                  <a:pt x="1334" y="515"/>
                </a:cubicBezTo>
                <a:cubicBezTo>
                  <a:pt x="1334" y="515"/>
                  <a:pt x="1335" y="514"/>
                  <a:pt x="1335" y="514"/>
                </a:cubicBezTo>
                <a:cubicBezTo>
                  <a:pt x="1335" y="513"/>
                  <a:pt x="1335" y="512"/>
                  <a:pt x="1336" y="512"/>
                </a:cubicBezTo>
                <a:cubicBezTo>
                  <a:pt x="1336" y="510"/>
                  <a:pt x="1335" y="508"/>
                  <a:pt x="1336" y="508"/>
                </a:cubicBezTo>
                <a:cubicBezTo>
                  <a:pt x="1337" y="507"/>
                  <a:pt x="1337" y="506"/>
                  <a:pt x="1336" y="506"/>
                </a:cubicBezTo>
                <a:cubicBezTo>
                  <a:pt x="1336" y="506"/>
                  <a:pt x="1336" y="505"/>
                  <a:pt x="1336" y="505"/>
                </a:cubicBezTo>
                <a:cubicBezTo>
                  <a:pt x="1336" y="504"/>
                  <a:pt x="1335" y="504"/>
                  <a:pt x="1335" y="504"/>
                </a:cubicBezTo>
                <a:cubicBezTo>
                  <a:pt x="1335" y="503"/>
                  <a:pt x="1335" y="503"/>
                  <a:pt x="1335" y="501"/>
                </a:cubicBezTo>
                <a:cubicBezTo>
                  <a:pt x="1335" y="501"/>
                  <a:pt x="1335" y="500"/>
                  <a:pt x="1335" y="500"/>
                </a:cubicBezTo>
                <a:cubicBezTo>
                  <a:pt x="1335" y="499"/>
                  <a:pt x="1334" y="499"/>
                  <a:pt x="1334" y="499"/>
                </a:cubicBezTo>
                <a:cubicBezTo>
                  <a:pt x="1334" y="498"/>
                  <a:pt x="1334" y="497"/>
                  <a:pt x="1334" y="497"/>
                </a:cubicBezTo>
                <a:cubicBezTo>
                  <a:pt x="1333" y="496"/>
                  <a:pt x="1333" y="495"/>
                  <a:pt x="1333" y="494"/>
                </a:cubicBezTo>
                <a:cubicBezTo>
                  <a:pt x="1333" y="493"/>
                  <a:pt x="1332" y="494"/>
                  <a:pt x="1332" y="493"/>
                </a:cubicBezTo>
                <a:cubicBezTo>
                  <a:pt x="1332" y="493"/>
                  <a:pt x="1331" y="491"/>
                  <a:pt x="1331" y="491"/>
                </a:cubicBezTo>
                <a:cubicBezTo>
                  <a:pt x="1330" y="491"/>
                  <a:pt x="1330" y="489"/>
                  <a:pt x="1330" y="488"/>
                </a:cubicBezTo>
                <a:cubicBezTo>
                  <a:pt x="1329" y="488"/>
                  <a:pt x="1329" y="488"/>
                  <a:pt x="1329" y="487"/>
                </a:cubicBezTo>
                <a:cubicBezTo>
                  <a:pt x="1328" y="486"/>
                  <a:pt x="1328" y="487"/>
                  <a:pt x="1327" y="486"/>
                </a:cubicBezTo>
                <a:cubicBezTo>
                  <a:pt x="1327" y="486"/>
                  <a:pt x="1327" y="486"/>
                  <a:pt x="1327" y="486"/>
                </a:cubicBezTo>
                <a:cubicBezTo>
                  <a:pt x="1327" y="485"/>
                  <a:pt x="1327" y="486"/>
                  <a:pt x="1327" y="485"/>
                </a:cubicBezTo>
                <a:cubicBezTo>
                  <a:pt x="1326" y="485"/>
                  <a:pt x="1327" y="485"/>
                  <a:pt x="1327" y="485"/>
                </a:cubicBezTo>
                <a:cubicBezTo>
                  <a:pt x="1326" y="484"/>
                  <a:pt x="1326" y="484"/>
                  <a:pt x="1326" y="484"/>
                </a:cubicBezTo>
                <a:cubicBezTo>
                  <a:pt x="1326" y="483"/>
                  <a:pt x="1325" y="484"/>
                  <a:pt x="1325" y="484"/>
                </a:cubicBezTo>
                <a:cubicBezTo>
                  <a:pt x="1325" y="483"/>
                  <a:pt x="1325" y="483"/>
                  <a:pt x="1325" y="483"/>
                </a:cubicBezTo>
                <a:cubicBezTo>
                  <a:pt x="1325" y="482"/>
                  <a:pt x="1325" y="482"/>
                  <a:pt x="1324" y="482"/>
                </a:cubicBezTo>
                <a:cubicBezTo>
                  <a:pt x="1324" y="482"/>
                  <a:pt x="1323" y="481"/>
                  <a:pt x="1323" y="481"/>
                </a:cubicBezTo>
                <a:cubicBezTo>
                  <a:pt x="1323" y="480"/>
                  <a:pt x="1323" y="481"/>
                  <a:pt x="1322" y="480"/>
                </a:cubicBezTo>
                <a:cubicBezTo>
                  <a:pt x="1322" y="480"/>
                  <a:pt x="1323" y="480"/>
                  <a:pt x="1322" y="480"/>
                </a:cubicBezTo>
                <a:cubicBezTo>
                  <a:pt x="1321" y="479"/>
                  <a:pt x="1321" y="480"/>
                  <a:pt x="1321" y="479"/>
                </a:cubicBezTo>
                <a:cubicBezTo>
                  <a:pt x="1321" y="478"/>
                  <a:pt x="1321" y="479"/>
                  <a:pt x="1321" y="479"/>
                </a:cubicBezTo>
                <a:cubicBezTo>
                  <a:pt x="1321" y="478"/>
                  <a:pt x="1321" y="478"/>
                  <a:pt x="1321" y="478"/>
                </a:cubicBezTo>
                <a:cubicBezTo>
                  <a:pt x="1321" y="477"/>
                  <a:pt x="1319" y="477"/>
                  <a:pt x="1319" y="476"/>
                </a:cubicBezTo>
                <a:cubicBezTo>
                  <a:pt x="1319" y="476"/>
                  <a:pt x="1319" y="476"/>
                  <a:pt x="1319" y="476"/>
                </a:cubicBezTo>
                <a:cubicBezTo>
                  <a:pt x="1318" y="475"/>
                  <a:pt x="1319" y="476"/>
                  <a:pt x="1318" y="475"/>
                </a:cubicBezTo>
                <a:cubicBezTo>
                  <a:pt x="1318" y="475"/>
                  <a:pt x="1318" y="474"/>
                  <a:pt x="1318" y="474"/>
                </a:cubicBezTo>
                <a:cubicBezTo>
                  <a:pt x="1318" y="474"/>
                  <a:pt x="1318" y="474"/>
                  <a:pt x="1318" y="474"/>
                </a:cubicBezTo>
                <a:cubicBezTo>
                  <a:pt x="1318" y="474"/>
                  <a:pt x="1318" y="473"/>
                  <a:pt x="1318" y="473"/>
                </a:cubicBezTo>
                <a:cubicBezTo>
                  <a:pt x="1317" y="473"/>
                  <a:pt x="1317" y="474"/>
                  <a:pt x="1317" y="473"/>
                </a:cubicBezTo>
                <a:cubicBezTo>
                  <a:pt x="1317" y="472"/>
                  <a:pt x="1318" y="471"/>
                  <a:pt x="1318" y="470"/>
                </a:cubicBezTo>
                <a:cubicBezTo>
                  <a:pt x="1318" y="470"/>
                  <a:pt x="1318" y="469"/>
                  <a:pt x="1318" y="468"/>
                </a:cubicBezTo>
                <a:cubicBezTo>
                  <a:pt x="1318" y="467"/>
                  <a:pt x="1318" y="468"/>
                  <a:pt x="1318" y="467"/>
                </a:cubicBezTo>
                <a:cubicBezTo>
                  <a:pt x="1319" y="467"/>
                  <a:pt x="1319" y="466"/>
                  <a:pt x="1319" y="466"/>
                </a:cubicBezTo>
                <a:cubicBezTo>
                  <a:pt x="1320" y="466"/>
                  <a:pt x="1320" y="466"/>
                  <a:pt x="1320" y="466"/>
                </a:cubicBezTo>
                <a:cubicBezTo>
                  <a:pt x="1320" y="466"/>
                  <a:pt x="1320" y="466"/>
                  <a:pt x="1320" y="466"/>
                </a:cubicBezTo>
                <a:cubicBezTo>
                  <a:pt x="1321" y="466"/>
                  <a:pt x="1321" y="465"/>
                  <a:pt x="1321" y="465"/>
                </a:cubicBezTo>
                <a:cubicBezTo>
                  <a:pt x="1321" y="465"/>
                  <a:pt x="1321" y="465"/>
                  <a:pt x="1322" y="465"/>
                </a:cubicBezTo>
                <a:cubicBezTo>
                  <a:pt x="1322" y="465"/>
                  <a:pt x="1322" y="464"/>
                  <a:pt x="1322" y="463"/>
                </a:cubicBezTo>
                <a:cubicBezTo>
                  <a:pt x="1323" y="463"/>
                  <a:pt x="1323" y="463"/>
                  <a:pt x="1323" y="463"/>
                </a:cubicBezTo>
                <a:cubicBezTo>
                  <a:pt x="1323" y="462"/>
                  <a:pt x="1324" y="462"/>
                  <a:pt x="1324" y="461"/>
                </a:cubicBezTo>
                <a:cubicBezTo>
                  <a:pt x="1324" y="460"/>
                  <a:pt x="1324" y="460"/>
                  <a:pt x="1325" y="460"/>
                </a:cubicBezTo>
                <a:cubicBezTo>
                  <a:pt x="1326" y="460"/>
                  <a:pt x="1327" y="460"/>
                  <a:pt x="1327" y="459"/>
                </a:cubicBezTo>
                <a:cubicBezTo>
                  <a:pt x="1328" y="458"/>
                  <a:pt x="1329" y="458"/>
                  <a:pt x="1330" y="458"/>
                </a:cubicBezTo>
                <a:cubicBezTo>
                  <a:pt x="1330" y="457"/>
                  <a:pt x="1330" y="457"/>
                  <a:pt x="1330" y="456"/>
                </a:cubicBezTo>
                <a:cubicBezTo>
                  <a:pt x="1331" y="455"/>
                  <a:pt x="1332" y="456"/>
                  <a:pt x="1333" y="456"/>
                </a:cubicBezTo>
                <a:cubicBezTo>
                  <a:pt x="1333" y="456"/>
                  <a:pt x="1333" y="456"/>
                  <a:pt x="1333" y="456"/>
                </a:cubicBezTo>
                <a:cubicBezTo>
                  <a:pt x="1333" y="456"/>
                  <a:pt x="1335" y="455"/>
                  <a:pt x="1335" y="457"/>
                </a:cubicBezTo>
                <a:cubicBezTo>
                  <a:pt x="1335" y="456"/>
                  <a:pt x="1336" y="456"/>
                  <a:pt x="1336" y="456"/>
                </a:cubicBezTo>
                <a:cubicBezTo>
                  <a:pt x="1337" y="457"/>
                  <a:pt x="1336" y="456"/>
                  <a:pt x="1337" y="457"/>
                </a:cubicBezTo>
                <a:cubicBezTo>
                  <a:pt x="1337" y="458"/>
                  <a:pt x="1336" y="459"/>
                  <a:pt x="1336" y="461"/>
                </a:cubicBezTo>
                <a:cubicBezTo>
                  <a:pt x="1337" y="461"/>
                  <a:pt x="1338" y="463"/>
                  <a:pt x="1338" y="464"/>
                </a:cubicBezTo>
                <a:cubicBezTo>
                  <a:pt x="1339" y="464"/>
                  <a:pt x="1340" y="464"/>
                  <a:pt x="1341" y="463"/>
                </a:cubicBezTo>
                <a:cubicBezTo>
                  <a:pt x="1341" y="463"/>
                  <a:pt x="1341" y="462"/>
                  <a:pt x="1340" y="462"/>
                </a:cubicBezTo>
                <a:cubicBezTo>
                  <a:pt x="1340" y="462"/>
                  <a:pt x="1339" y="461"/>
                  <a:pt x="1339" y="461"/>
                </a:cubicBezTo>
                <a:cubicBezTo>
                  <a:pt x="1339" y="460"/>
                  <a:pt x="1340" y="461"/>
                  <a:pt x="1340" y="461"/>
                </a:cubicBezTo>
                <a:cubicBezTo>
                  <a:pt x="1340" y="461"/>
                  <a:pt x="1340" y="460"/>
                  <a:pt x="1340" y="460"/>
                </a:cubicBezTo>
                <a:cubicBezTo>
                  <a:pt x="1340" y="459"/>
                  <a:pt x="1342" y="459"/>
                  <a:pt x="1343" y="459"/>
                </a:cubicBezTo>
                <a:cubicBezTo>
                  <a:pt x="1344" y="458"/>
                  <a:pt x="1345" y="457"/>
                  <a:pt x="1345" y="456"/>
                </a:cubicBezTo>
                <a:cubicBezTo>
                  <a:pt x="1345" y="456"/>
                  <a:pt x="1346" y="457"/>
                  <a:pt x="1346" y="456"/>
                </a:cubicBezTo>
                <a:cubicBezTo>
                  <a:pt x="1347" y="456"/>
                  <a:pt x="1347" y="456"/>
                  <a:pt x="1347" y="455"/>
                </a:cubicBezTo>
                <a:cubicBezTo>
                  <a:pt x="1347" y="455"/>
                  <a:pt x="1348" y="455"/>
                  <a:pt x="1348" y="454"/>
                </a:cubicBezTo>
                <a:cubicBezTo>
                  <a:pt x="1348" y="455"/>
                  <a:pt x="1348" y="455"/>
                  <a:pt x="1349" y="455"/>
                </a:cubicBezTo>
                <a:cubicBezTo>
                  <a:pt x="1349" y="454"/>
                  <a:pt x="1350" y="454"/>
                  <a:pt x="1351" y="454"/>
                </a:cubicBezTo>
                <a:cubicBezTo>
                  <a:pt x="1351" y="454"/>
                  <a:pt x="1352" y="454"/>
                  <a:pt x="1352" y="454"/>
                </a:cubicBezTo>
                <a:cubicBezTo>
                  <a:pt x="1352" y="454"/>
                  <a:pt x="1353" y="454"/>
                  <a:pt x="1353" y="454"/>
                </a:cubicBezTo>
                <a:cubicBezTo>
                  <a:pt x="1354" y="454"/>
                  <a:pt x="1355" y="454"/>
                  <a:pt x="1355" y="453"/>
                </a:cubicBezTo>
                <a:cubicBezTo>
                  <a:pt x="1355" y="452"/>
                  <a:pt x="1356" y="452"/>
                  <a:pt x="1357" y="450"/>
                </a:cubicBezTo>
                <a:cubicBezTo>
                  <a:pt x="1357" y="449"/>
                  <a:pt x="1358" y="450"/>
                  <a:pt x="1358" y="449"/>
                </a:cubicBezTo>
                <a:cubicBezTo>
                  <a:pt x="1358" y="449"/>
                  <a:pt x="1356" y="449"/>
                  <a:pt x="1357" y="448"/>
                </a:cubicBezTo>
                <a:cubicBezTo>
                  <a:pt x="1357" y="448"/>
                  <a:pt x="1358" y="448"/>
                  <a:pt x="1358" y="448"/>
                </a:cubicBezTo>
                <a:cubicBezTo>
                  <a:pt x="1358" y="449"/>
                  <a:pt x="1358" y="449"/>
                  <a:pt x="1359" y="450"/>
                </a:cubicBezTo>
                <a:cubicBezTo>
                  <a:pt x="1359" y="450"/>
                  <a:pt x="1360" y="451"/>
                  <a:pt x="1360" y="451"/>
                </a:cubicBezTo>
                <a:cubicBezTo>
                  <a:pt x="1360" y="451"/>
                  <a:pt x="1360" y="451"/>
                  <a:pt x="1361" y="451"/>
                </a:cubicBezTo>
                <a:cubicBezTo>
                  <a:pt x="1361" y="451"/>
                  <a:pt x="1360" y="451"/>
                  <a:pt x="1361" y="451"/>
                </a:cubicBezTo>
                <a:cubicBezTo>
                  <a:pt x="1361" y="451"/>
                  <a:pt x="1362" y="451"/>
                  <a:pt x="1362" y="450"/>
                </a:cubicBezTo>
                <a:cubicBezTo>
                  <a:pt x="1362" y="450"/>
                  <a:pt x="1365" y="449"/>
                  <a:pt x="1366" y="449"/>
                </a:cubicBezTo>
                <a:cubicBezTo>
                  <a:pt x="1367" y="449"/>
                  <a:pt x="1367" y="450"/>
                  <a:pt x="1368" y="450"/>
                </a:cubicBezTo>
                <a:cubicBezTo>
                  <a:pt x="1368" y="449"/>
                  <a:pt x="1368" y="449"/>
                  <a:pt x="1369" y="449"/>
                </a:cubicBezTo>
                <a:cubicBezTo>
                  <a:pt x="1370" y="448"/>
                  <a:pt x="1370" y="447"/>
                  <a:pt x="1369" y="446"/>
                </a:cubicBezTo>
                <a:cubicBezTo>
                  <a:pt x="1369" y="445"/>
                  <a:pt x="1370" y="445"/>
                  <a:pt x="1371" y="445"/>
                </a:cubicBezTo>
                <a:cubicBezTo>
                  <a:pt x="1372" y="444"/>
                  <a:pt x="1371" y="443"/>
                  <a:pt x="1372" y="444"/>
                </a:cubicBezTo>
                <a:cubicBezTo>
                  <a:pt x="1373" y="444"/>
                  <a:pt x="1374" y="443"/>
                  <a:pt x="1374" y="442"/>
                </a:cubicBezTo>
                <a:cubicBezTo>
                  <a:pt x="1374" y="441"/>
                  <a:pt x="1375" y="442"/>
                  <a:pt x="1375" y="442"/>
                </a:cubicBezTo>
                <a:cubicBezTo>
                  <a:pt x="1375" y="442"/>
                  <a:pt x="1376" y="441"/>
                  <a:pt x="1376" y="441"/>
                </a:cubicBezTo>
                <a:cubicBezTo>
                  <a:pt x="1377" y="441"/>
                  <a:pt x="1377" y="440"/>
                  <a:pt x="1377" y="440"/>
                </a:cubicBezTo>
                <a:cubicBezTo>
                  <a:pt x="1377" y="440"/>
                  <a:pt x="1377" y="439"/>
                  <a:pt x="1376" y="439"/>
                </a:cubicBezTo>
                <a:cubicBezTo>
                  <a:pt x="1377" y="438"/>
                  <a:pt x="1379" y="438"/>
                  <a:pt x="1380" y="438"/>
                </a:cubicBezTo>
                <a:cubicBezTo>
                  <a:pt x="1380" y="437"/>
                  <a:pt x="1381" y="438"/>
                  <a:pt x="1382" y="438"/>
                </a:cubicBezTo>
                <a:cubicBezTo>
                  <a:pt x="1382" y="437"/>
                  <a:pt x="1382" y="436"/>
                  <a:pt x="1381" y="435"/>
                </a:cubicBezTo>
                <a:cubicBezTo>
                  <a:pt x="1382" y="435"/>
                  <a:pt x="1382" y="435"/>
                  <a:pt x="1383" y="435"/>
                </a:cubicBezTo>
                <a:cubicBezTo>
                  <a:pt x="1382" y="435"/>
                  <a:pt x="1382" y="434"/>
                  <a:pt x="1382" y="434"/>
                </a:cubicBezTo>
                <a:cubicBezTo>
                  <a:pt x="1383" y="433"/>
                  <a:pt x="1384" y="433"/>
                  <a:pt x="1385" y="433"/>
                </a:cubicBezTo>
                <a:cubicBezTo>
                  <a:pt x="1385" y="433"/>
                  <a:pt x="1385" y="433"/>
                  <a:pt x="1385" y="433"/>
                </a:cubicBezTo>
                <a:cubicBezTo>
                  <a:pt x="1385" y="432"/>
                  <a:pt x="1385" y="431"/>
                  <a:pt x="1385" y="431"/>
                </a:cubicBezTo>
                <a:cubicBezTo>
                  <a:pt x="1385" y="430"/>
                  <a:pt x="1385" y="430"/>
                  <a:pt x="1385" y="430"/>
                </a:cubicBezTo>
                <a:cubicBezTo>
                  <a:pt x="1384" y="429"/>
                  <a:pt x="1383" y="429"/>
                  <a:pt x="1383" y="429"/>
                </a:cubicBezTo>
                <a:cubicBezTo>
                  <a:pt x="1383" y="428"/>
                  <a:pt x="1383" y="428"/>
                  <a:pt x="1384" y="428"/>
                </a:cubicBezTo>
                <a:cubicBezTo>
                  <a:pt x="1384" y="428"/>
                  <a:pt x="1384" y="425"/>
                  <a:pt x="1385" y="425"/>
                </a:cubicBezTo>
                <a:cubicBezTo>
                  <a:pt x="1386" y="425"/>
                  <a:pt x="1386" y="425"/>
                  <a:pt x="1387" y="425"/>
                </a:cubicBezTo>
                <a:cubicBezTo>
                  <a:pt x="1387" y="424"/>
                  <a:pt x="1388" y="425"/>
                  <a:pt x="1388" y="424"/>
                </a:cubicBezTo>
                <a:cubicBezTo>
                  <a:pt x="1388" y="423"/>
                  <a:pt x="1387" y="423"/>
                  <a:pt x="1388" y="423"/>
                </a:cubicBezTo>
                <a:cubicBezTo>
                  <a:pt x="1388" y="423"/>
                  <a:pt x="1389" y="422"/>
                  <a:pt x="1389" y="422"/>
                </a:cubicBezTo>
                <a:cubicBezTo>
                  <a:pt x="1389" y="421"/>
                  <a:pt x="1389" y="421"/>
                  <a:pt x="1389" y="420"/>
                </a:cubicBezTo>
                <a:cubicBezTo>
                  <a:pt x="1389" y="420"/>
                  <a:pt x="1391" y="420"/>
                  <a:pt x="1391" y="419"/>
                </a:cubicBezTo>
                <a:cubicBezTo>
                  <a:pt x="1390" y="419"/>
                  <a:pt x="1390" y="419"/>
                  <a:pt x="1390" y="419"/>
                </a:cubicBezTo>
                <a:cubicBezTo>
                  <a:pt x="1390" y="418"/>
                  <a:pt x="1391" y="418"/>
                  <a:pt x="1392" y="418"/>
                </a:cubicBezTo>
                <a:cubicBezTo>
                  <a:pt x="1392" y="418"/>
                  <a:pt x="1392" y="417"/>
                  <a:pt x="1392" y="417"/>
                </a:cubicBezTo>
                <a:cubicBezTo>
                  <a:pt x="1393" y="417"/>
                  <a:pt x="1394" y="417"/>
                  <a:pt x="1394" y="416"/>
                </a:cubicBezTo>
                <a:cubicBezTo>
                  <a:pt x="1394" y="416"/>
                  <a:pt x="1393" y="415"/>
                  <a:pt x="1393" y="415"/>
                </a:cubicBezTo>
                <a:cubicBezTo>
                  <a:pt x="1393" y="414"/>
                  <a:pt x="1392" y="415"/>
                  <a:pt x="1393" y="414"/>
                </a:cubicBezTo>
                <a:cubicBezTo>
                  <a:pt x="1393" y="414"/>
                  <a:pt x="1393" y="414"/>
                  <a:pt x="1393" y="414"/>
                </a:cubicBezTo>
                <a:cubicBezTo>
                  <a:pt x="1394" y="414"/>
                  <a:pt x="1393" y="412"/>
                  <a:pt x="1393" y="411"/>
                </a:cubicBezTo>
                <a:cubicBezTo>
                  <a:pt x="1394" y="411"/>
                  <a:pt x="1395" y="411"/>
                  <a:pt x="1396" y="412"/>
                </a:cubicBezTo>
                <a:cubicBezTo>
                  <a:pt x="1396" y="411"/>
                  <a:pt x="1396" y="411"/>
                  <a:pt x="1396" y="411"/>
                </a:cubicBezTo>
                <a:cubicBezTo>
                  <a:pt x="1396" y="411"/>
                  <a:pt x="1395" y="411"/>
                  <a:pt x="1395" y="410"/>
                </a:cubicBezTo>
                <a:cubicBezTo>
                  <a:pt x="1395" y="409"/>
                  <a:pt x="1396" y="409"/>
                  <a:pt x="1396" y="409"/>
                </a:cubicBezTo>
                <a:cubicBezTo>
                  <a:pt x="1394" y="408"/>
                  <a:pt x="1396" y="407"/>
                  <a:pt x="1397" y="407"/>
                </a:cubicBezTo>
                <a:cubicBezTo>
                  <a:pt x="1397" y="407"/>
                  <a:pt x="1397" y="406"/>
                  <a:pt x="1397" y="406"/>
                </a:cubicBezTo>
                <a:cubicBezTo>
                  <a:pt x="1396" y="406"/>
                  <a:pt x="1396" y="406"/>
                  <a:pt x="1395" y="406"/>
                </a:cubicBezTo>
                <a:cubicBezTo>
                  <a:pt x="1395" y="405"/>
                  <a:pt x="1394" y="405"/>
                  <a:pt x="1394" y="405"/>
                </a:cubicBezTo>
                <a:cubicBezTo>
                  <a:pt x="1393" y="405"/>
                  <a:pt x="1392" y="406"/>
                  <a:pt x="1391" y="405"/>
                </a:cubicBezTo>
                <a:cubicBezTo>
                  <a:pt x="1390" y="405"/>
                  <a:pt x="1390" y="404"/>
                  <a:pt x="1391" y="404"/>
                </a:cubicBezTo>
                <a:cubicBezTo>
                  <a:pt x="1392" y="404"/>
                  <a:pt x="1392" y="403"/>
                  <a:pt x="1393" y="402"/>
                </a:cubicBezTo>
                <a:cubicBezTo>
                  <a:pt x="1393" y="402"/>
                  <a:pt x="1394" y="402"/>
                  <a:pt x="1394" y="402"/>
                </a:cubicBezTo>
                <a:cubicBezTo>
                  <a:pt x="1395" y="401"/>
                  <a:pt x="1395" y="401"/>
                  <a:pt x="1394" y="400"/>
                </a:cubicBezTo>
                <a:cubicBezTo>
                  <a:pt x="1394" y="399"/>
                  <a:pt x="1393" y="398"/>
                  <a:pt x="1393" y="398"/>
                </a:cubicBezTo>
                <a:cubicBezTo>
                  <a:pt x="1392" y="398"/>
                  <a:pt x="1392" y="398"/>
                  <a:pt x="1392" y="397"/>
                </a:cubicBezTo>
                <a:cubicBezTo>
                  <a:pt x="1392" y="397"/>
                  <a:pt x="1390" y="396"/>
                  <a:pt x="1390" y="396"/>
                </a:cubicBezTo>
                <a:cubicBezTo>
                  <a:pt x="1390" y="397"/>
                  <a:pt x="1388" y="397"/>
                  <a:pt x="1388" y="397"/>
                </a:cubicBezTo>
                <a:cubicBezTo>
                  <a:pt x="1388" y="397"/>
                  <a:pt x="1388" y="396"/>
                  <a:pt x="1387" y="396"/>
                </a:cubicBezTo>
                <a:cubicBezTo>
                  <a:pt x="1388" y="395"/>
                  <a:pt x="1389" y="395"/>
                  <a:pt x="1390" y="395"/>
                </a:cubicBezTo>
                <a:cubicBezTo>
                  <a:pt x="1390" y="395"/>
                  <a:pt x="1391" y="396"/>
                  <a:pt x="1391" y="396"/>
                </a:cubicBezTo>
                <a:cubicBezTo>
                  <a:pt x="1391" y="396"/>
                  <a:pt x="1392" y="396"/>
                  <a:pt x="1392" y="396"/>
                </a:cubicBezTo>
                <a:cubicBezTo>
                  <a:pt x="1392" y="396"/>
                  <a:pt x="1392" y="394"/>
                  <a:pt x="1392" y="394"/>
                </a:cubicBezTo>
                <a:cubicBezTo>
                  <a:pt x="1391" y="393"/>
                  <a:pt x="1391" y="392"/>
                  <a:pt x="1390" y="391"/>
                </a:cubicBezTo>
                <a:cubicBezTo>
                  <a:pt x="1388" y="390"/>
                  <a:pt x="1388" y="389"/>
                  <a:pt x="1387" y="387"/>
                </a:cubicBezTo>
                <a:cubicBezTo>
                  <a:pt x="1387" y="386"/>
                  <a:pt x="1387" y="385"/>
                  <a:pt x="1386" y="385"/>
                </a:cubicBezTo>
                <a:cubicBezTo>
                  <a:pt x="1385" y="385"/>
                  <a:pt x="1386" y="386"/>
                  <a:pt x="1385" y="386"/>
                </a:cubicBezTo>
                <a:cubicBezTo>
                  <a:pt x="1385" y="386"/>
                  <a:pt x="1385" y="386"/>
                  <a:pt x="1384" y="386"/>
                </a:cubicBezTo>
                <a:cubicBezTo>
                  <a:pt x="1385" y="385"/>
                  <a:pt x="1385" y="385"/>
                  <a:pt x="1385" y="384"/>
                </a:cubicBezTo>
                <a:cubicBezTo>
                  <a:pt x="1385" y="384"/>
                  <a:pt x="1385" y="383"/>
                  <a:pt x="1384" y="383"/>
                </a:cubicBezTo>
                <a:cubicBezTo>
                  <a:pt x="1384" y="381"/>
                  <a:pt x="1383" y="380"/>
                  <a:pt x="1383" y="378"/>
                </a:cubicBezTo>
                <a:cubicBezTo>
                  <a:pt x="1383" y="377"/>
                  <a:pt x="1383" y="376"/>
                  <a:pt x="1384" y="375"/>
                </a:cubicBezTo>
                <a:cubicBezTo>
                  <a:pt x="1384" y="374"/>
                  <a:pt x="1385" y="373"/>
                  <a:pt x="1386" y="373"/>
                </a:cubicBezTo>
                <a:cubicBezTo>
                  <a:pt x="1386" y="372"/>
                  <a:pt x="1385" y="371"/>
                  <a:pt x="1386" y="371"/>
                </a:cubicBezTo>
                <a:cubicBezTo>
                  <a:pt x="1387" y="371"/>
                  <a:pt x="1387" y="371"/>
                  <a:pt x="1388" y="370"/>
                </a:cubicBezTo>
                <a:cubicBezTo>
                  <a:pt x="1388" y="370"/>
                  <a:pt x="1388" y="370"/>
                  <a:pt x="1388" y="369"/>
                </a:cubicBezTo>
                <a:cubicBezTo>
                  <a:pt x="1389" y="369"/>
                  <a:pt x="1389" y="369"/>
                  <a:pt x="1389" y="368"/>
                </a:cubicBezTo>
                <a:cubicBezTo>
                  <a:pt x="1391" y="367"/>
                  <a:pt x="1391" y="367"/>
                  <a:pt x="1392" y="366"/>
                </a:cubicBezTo>
                <a:cubicBezTo>
                  <a:pt x="1393" y="366"/>
                  <a:pt x="1394" y="366"/>
                  <a:pt x="1394" y="366"/>
                </a:cubicBezTo>
                <a:cubicBezTo>
                  <a:pt x="1395" y="365"/>
                  <a:pt x="1397" y="363"/>
                  <a:pt x="1396" y="365"/>
                </a:cubicBezTo>
                <a:cubicBezTo>
                  <a:pt x="1398" y="365"/>
                  <a:pt x="1398" y="365"/>
                  <a:pt x="1398" y="364"/>
                </a:cubicBezTo>
                <a:cubicBezTo>
                  <a:pt x="1399" y="363"/>
                  <a:pt x="1399" y="362"/>
                  <a:pt x="1399" y="361"/>
                </a:cubicBezTo>
                <a:cubicBezTo>
                  <a:pt x="1398" y="361"/>
                  <a:pt x="1397" y="360"/>
                  <a:pt x="1395" y="361"/>
                </a:cubicBezTo>
                <a:cubicBezTo>
                  <a:pt x="1395" y="361"/>
                  <a:pt x="1394" y="361"/>
                  <a:pt x="1393" y="361"/>
                </a:cubicBezTo>
                <a:cubicBezTo>
                  <a:pt x="1392" y="361"/>
                  <a:pt x="1392" y="360"/>
                  <a:pt x="1391" y="360"/>
                </a:cubicBezTo>
                <a:cubicBezTo>
                  <a:pt x="1390" y="360"/>
                  <a:pt x="1389" y="360"/>
                  <a:pt x="1388" y="360"/>
                </a:cubicBezTo>
                <a:cubicBezTo>
                  <a:pt x="1388" y="360"/>
                  <a:pt x="1387" y="359"/>
                  <a:pt x="1387" y="360"/>
                </a:cubicBezTo>
                <a:cubicBezTo>
                  <a:pt x="1386" y="361"/>
                  <a:pt x="1385" y="361"/>
                  <a:pt x="1384" y="361"/>
                </a:cubicBezTo>
                <a:cubicBezTo>
                  <a:pt x="1384" y="362"/>
                  <a:pt x="1384" y="362"/>
                  <a:pt x="1384" y="363"/>
                </a:cubicBezTo>
                <a:cubicBezTo>
                  <a:pt x="1383" y="363"/>
                  <a:pt x="1384" y="363"/>
                  <a:pt x="1383" y="363"/>
                </a:cubicBezTo>
                <a:cubicBezTo>
                  <a:pt x="1383" y="363"/>
                  <a:pt x="1382" y="363"/>
                  <a:pt x="1382" y="363"/>
                </a:cubicBezTo>
                <a:cubicBezTo>
                  <a:pt x="1382" y="363"/>
                  <a:pt x="1382" y="363"/>
                  <a:pt x="1382" y="363"/>
                </a:cubicBezTo>
                <a:cubicBezTo>
                  <a:pt x="1381" y="363"/>
                  <a:pt x="1381" y="363"/>
                  <a:pt x="1381" y="364"/>
                </a:cubicBezTo>
                <a:cubicBezTo>
                  <a:pt x="1381" y="364"/>
                  <a:pt x="1380" y="363"/>
                  <a:pt x="1380" y="363"/>
                </a:cubicBezTo>
                <a:cubicBezTo>
                  <a:pt x="1379" y="362"/>
                  <a:pt x="1379" y="361"/>
                  <a:pt x="1379" y="361"/>
                </a:cubicBezTo>
                <a:cubicBezTo>
                  <a:pt x="1378" y="359"/>
                  <a:pt x="1376" y="358"/>
                  <a:pt x="1376" y="357"/>
                </a:cubicBezTo>
                <a:cubicBezTo>
                  <a:pt x="1376" y="356"/>
                  <a:pt x="1376" y="357"/>
                  <a:pt x="1376" y="356"/>
                </a:cubicBezTo>
                <a:cubicBezTo>
                  <a:pt x="1376" y="355"/>
                  <a:pt x="1375" y="355"/>
                  <a:pt x="1375" y="355"/>
                </a:cubicBezTo>
                <a:cubicBezTo>
                  <a:pt x="1375" y="355"/>
                  <a:pt x="1374" y="354"/>
                  <a:pt x="1374" y="354"/>
                </a:cubicBezTo>
                <a:cubicBezTo>
                  <a:pt x="1374" y="354"/>
                  <a:pt x="1375" y="353"/>
                  <a:pt x="1375" y="353"/>
                </a:cubicBezTo>
                <a:cubicBezTo>
                  <a:pt x="1375" y="352"/>
                  <a:pt x="1375" y="351"/>
                  <a:pt x="1376" y="351"/>
                </a:cubicBezTo>
                <a:cubicBezTo>
                  <a:pt x="1377" y="351"/>
                  <a:pt x="1379" y="351"/>
                  <a:pt x="1380" y="351"/>
                </a:cubicBezTo>
                <a:cubicBezTo>
                  <a:pt x="1381" y="351"/>
                  <a:pt x="1382" y="349"/>
                  <a:pt x="1382" y="349"/>
                </a:cubicBezTo>
                <a:cubicBezTo>
                  <a:pt x="1383" y="348"/>
                  <a:pt x="1383" y="348"/>
                  <a:pt x="1384" y="347"/>
                </a:cubicBezTo>
                <a:cubicBezTo>
                  <a:pt x="1385" y="346"/>
                  <a:pt x="1386" y="346"/>
                  <a:pt x="1386" y="346"/>
                </a:cubicBezTo>
                <a:cubicBezTo>
                  <a:pt x="1387" y="346"/>
                  <a:pt x="1387" y="345"/>
                  <a:pt x="1388" y="344"/>
                </a:cubicBezTo>
                <a:cubicBezTo>
                  <a:pt x="1388" y="344"/>
                  <a:pt x="1388" y="345"/>
                  <a:pt x="1388" y="344"/>
                </a:cubicBezTo>
                <a:cubicBezTo>
                  <a:pt x="1389" y="344"/>
                  <a:pt x="1389" y="343"/>
                  <a:pt x="1389" y="342"/>
                </a:cubicBezTo>
                <a:cubicBezTo>
                  <a:pt x="1390" y="341"/>
                  <a:pt x="1390" y="341"/>
                  <a:pt x="1391" y="340"/>
                </a:cubicBezTo>
                <a:cubicBezTo>
                  <a:pt x="1391" y="340"/>
                  <a:pt x="1392" y="339"/>
                  <a:pt x="1393" y="339"/>
                </a:cubicBezTo>
                <a:cubicBezTo>
                  <a:pt x="1394" y="340"/>
                  <a:pt x="1396" y="340"/>
                  <a:pt x="1398" y="341"/>
                </a:cubicBezTo>
                <a:cubicBezTo>
                  <a:pt x="1398" y="341"/>
                  <a:pt x="1397" y="342"/>
                  <a:pt x="1397" y="342"/>
                </a:cubicBezTo>
                <a:cubicBezTo>
                  <a:pt x="1397" y="342"/>
                  <a:pt x="1396" y="343"/>
                  <a:pt x="1396" y="342"/>
                </a:cubicBezTo>
                <a:cubicBezTo>
                  <a:pt x="1396" y="343"/>
                  <a:pt x="1396" y="344"/>
                  <a:pt x="1396" y="344"/>
                </a:cubicBezTo>
                <a:cubicBezTo>
                  <a:pt x="1396" y="344"/>
                  <a:pt x="1395" y="344"/>
                  <a:pt x="1395" y="345"/>
                </a:cubicBezTo>
                <a:cubicBezTo>
                  <a:pt x="1395" y="346"/>
                  <a:pt x="1395" y="346"/>
                  <a:pt x="1394" y="347"/>
                </a:cubicBezTo>
                <a:cubicBezTo>
                  <a:pt x="1393" y="347"/>
                  <a:pt x="1393" y="348"/>
                  <a:pt x="1393" y="348"/>
                </a:cubicBezTo>
                <a:cubicBezTo>
                  <a:pt x="1393" y="349"/>
                  <a:pt x="1393" y="349"/>
                  <a:pt x="1393" y="350"/>
                </a:cubicBezTo>
                <a:cubicBezTo>
                  <a:pt x="1394" y="350"/>
                  <a:pt x="1394" y="349"/>
                  <a:pt x="1395" y="349"/>
                </a:cubicBezTo>
                <a:cubicBezTo>
                  <a:pt x="1394" y="350"/>
                  <a:pt x="1394" y="351"/>
                  <a:pt x="1393" y="351"/>
                </a:cubicBezTo>
                <a:cubicBezTo>
                  <a:pt x="1393" y="352"/>
                  <a:pt x="1393" y="352"/>
                  <a:pt x="1393" y="353"/>
                </a:cubicBezTo>
                <a:cubicBezTo>
                  <a:pt x="1394" y="353"/>
                  <a:pt x="1395" y="353"/>
                  <a:pt x="1395" y="352"/>
                </a:cubicBezTo>
                <a:cubicBezTo>
                  <a:pt x="1395" y="352"/>
                  <a:pt x="1395" y="352"/>
                  <a:pt x="1395" y="351"/>
                </a:cubicBezTo>
                <a:cubicBezTo>
                  <a:pt x="1395" y="351"/>
                  <a:pt x="1396" y="351"/>
                  <a:pt x="1396" y="351"/>
                </a:cubicBezTo>
                <a:cubicBezTo>
                  <a:pt x="1396" y="351"/>
                  <a:pt x="1396" y="351"/>
                  <a:pt x="1396" y="351"/>
                </a:cubicBezTo>
                <a:cubicBezTo>
                  <a:pt x="1397" y="350"/>
                  <a:pt x="1396" y="351"/>
                  <a:pt x="1397" y="350"/>
                </a:cubicBezTo>
                <a:cubicBezTo>
                  <a:pt x="1398" y="350"/>
                  <a:pt x="1398" y="349"/>
                  <a:pt x="1399" y="349"/>
                </a:cubicBezTo>
                <a:cubicBezTo>
                  <a:pt x="1400" y="349"/>
                  <a:pt x="1399" y="348"/>
                  <a:pt x="1400" y="348"/>
                </a:cubicBezTo>
                <a:cubicBezTo>
                  <a:pt x="1400" y="348"/>
                  <a:pt x="1400" y="348"/>
                  <a:pt x="1401" y="348"/>
                </a:cubicBezTo>
                <a:cubicBezTo>
                  <a:pt x="1401" y="347"/>
                  <a:pt x="1401" y="347"/>
                  <a:pt x="1402" y="347"/>
                </a:cubicBezTo>
                <a:cubicBezTo>
                  <a:pt x="1402" y="347"/>
                  <a:pt x="1402" y="347"/>
                  <a:pt x="1402" y="347"/>
                </a:cubicBezTo>
                <a:cubicBezTo>
                  <a:pt x="1403" y="347"/>
                  <a:pt x="1403" y="347"/>
                  <a:pt x="1403" y="347"/>
                </a:cubicBezTo>
                <a:cubicBezTo>
                  <a:pt x="1404" y="347"/>
                  <a:pt x="1403" y="346"/>
                  <a:pt x="1404" y="346"/>
                </a:cubicBezTo>
                <a:cubicBezTo>
                  <a:pt x="1405" y="346"/>
                  <a:pt x="1405" y="346"/>
                  <a:pt x="1406" y="346"/>
                </a:cubicBezTo>
                <a:cubicBezTo>
                  <a:pt x="1407" y="346"/>
                  <a:pt x="1407" y="347"/>
                  <a:pt x="1407" y="347"/>
                </a:cubicBezTo>
                <a:cubicBezTo>
                  <a:pt x="1408" y="347"/>
                  <a:pt x="1408" y="347"/>
                  <a:pt x="1408" y="347"/>
                </a:cubicBezTo>
                <a:cubicBezTo>
                  <a:pt x="1409" y="346"/>
                  <a:pt x="1409" y="347"/>
                  <a:pt x="1409" y="347"/>
                </a:cubicBezTo>
                <a:cubicBezTo>
                  <a:pt x="1409" y="348"/>
                  <a:pt x="1410" y="348"/>
                  <a:pt x="1411" y="348"/>
                </a:cubicBezTo>
                <a:cubicBezTo>
                  <a:pt x="1412" y="349"/>
                  <a:pt x="1411" y="350"/>
                  <a:pt x="1411" y="350"/>
                </a:cubicBezTo>
                <a:cubicBezTo>
                  <a:pt x="1411" y="352"/>
                  <a:pt x="1411" y="352"/>
                  <a:pt x="1412" y="353"/>
                </a:cubicBezTo>
                <a:cubicBezTo>
                  <a:pt x="1412" y="354"/>
                  <a:pt x="1411" y="353"/>
                  <a:pt x="1410" y="353"/>
                </a:cubicBezTo>
                <a:cubicBezTo>
                  <a:pt x="1410" y="353"/>
                  <a:pt x="1409" y="355"/>
                  <a:pt x="1409" y="354"/>
                </a:cubicBezTo>
                <a:cubicBezTo>
                  <a:pt x="1409" y="355"/>
                  <a:pt x="1409" y="355"/>
                  <a:pt x="1408" y="356"/>
                </a:cubicBezTo>
                <a:cubicBezTo>
                  <a:pt x="1409" y="356"/>
                  <a:pt x="1409" y="357"/>
                  <a:pt x="1409" y="358"/>
                </a:cubicBezTo>
                <a:cubicBezTo>
                  <a:pt x="1410" y="358"/>
                  <a:pt x="1410" y="357"/>
                  <a:pt x="1410" y="357"/>
                </a:cubicBezTo>
                <a:cubicBezTo>
                  <a:pt x="1411" y="357"/>
                  <a:pt x="1411" y="358"/>
                  <a:pt x="1411" y="358"/>
                </a:cubicBezTo>
                <a:cubicBezTo>
                  <a:pt x="1411" y="358"/>
                  <a:pt x="1411" y="359"/>
                  <a:pt x="1410" y="359"/>
                </a:cubicBezTo>
                <a:cubicBezTo>
                  <a:pt x="1411" y="359"/>
                  <a:pt x="1411" y="360"/>
                  <a:pt x="1411" y="360"/>
                </a:cubicBezTo>
                <a:cubicBezTo>
                  <a:pt x="1412" y="360"/>
                  <a:pt x="1412" y="360"/>
                  <a:pt x="1413" y="361"/>
                </a:cubicBezTo>
                <a:cubicBezTo>
                  <a:pt x="1412" y="361"/>
                  <a:pt x="1414" y="360"/>
                  <a:pt x="1414" y="360"/>
                </a:cubicBezTo>
                <a:cubicBezTo>
                  <a:pt x="1415" y="360"/>
                  <a:pt x="1416" y="360"/>
                  <a:pt x="1417" y="360"/>
                </a:cubicBezTo>
                <a:cubicBezTo>
                  <a:pt x="1417" y="360"/>
                  <a:pt x="1417" y="360"/>
                  <a:pt x="1417" y="360"/>
                </a:cubicBezTo>
                <a:cubicBezTo>
                  <a:pt x="1417" y="360"/>
                  <a:pt x="1417" y="360"/>
                  <a:pt x="1418" y="360"/>
                </a:cubicBezTo>
                <a:cubicBezTo>
                  <a:pt x="1419" y="360"/>
                  <a:pt x="1418" y="361"/>
                  <a:pt x="1419" y="362"/>
                </a:cubicBezTo>
                <a:cubicBezTo>
                  <a:pt x="1419" y="362"/>
                  <a:pt x="1419" y="363"/>
                  <a:pt x="1419" y="363"/>
                </a:cubicBezTo>
                <a:cubicBezTo>
                  <a:pt x="1419" y="363"/>
                  <a:pt x="1419" y="363"/>
                  <a:pt x="1419" y="363"/>
                </a:cubicBezTo>
                <a:cubicBezTo>
                  <a:pt x="1419" y="365"/>
                  <a:pt x="1419" y="365"/>
                  <a:pt x="1418" y="365"/>
                </a:cubicBezTo>
                <a:cubicBezTo>
                  <a:pt x="1418" y="365"/>
                  <a:pt x="1418" y="366"/>
                  <a:pt x="1418" y="367"/>
                </a:cubicBezTo>
                <a:cubicBezTo>
                  <a:pt x="1419" y="367"/>
                  <a:pt x="1420" y="367"/>
                  <a:pt x="1419" y="368"/>
                </a:cubicBezTo>
                <a:cubicBezTo>
                  <a:pt x="1418" y="368"/>
                  <a:pt x="1418" y="369"/>
                  <a:pt x="1418" y="370"/>
                </a:cubicBezTo>
                <a:cubicBezTo>
                  <a:pt x="1419" y="370"/>
                  <a:pt x="1419" y="371"/>
                  <a:pt x="1419" y="371"/>
                </a:cubicBezTo>
                <a:cubicBezTo>
                  <a:pt x="1419" y="371"/>
                  <a:pt x="1419" y="371"/>
                  <a:pt x="1419" y="371"/>
                </a:cubicBezTo>
                <a:cubicBezTo>
                  <a:pt x="1418" y="372"/>
                  <a:pt x="1420" y="372"/>
                  <a:pt x="1418" y="373"/>
                </a:cubicBezTo>
                <a:cubicBezTo>
                  <a:pt x="1418" y="373"/>
                  <a:pt x="1417" y="373"/>
                  <a:pt x="1417" y="374"/>
                </a:cubicBezTo>
                <a:cubicBezTo>
                  <a:pt x="1417" y="375"/>
                  <a:pt x="1418" y="376"/>
                  <a:pt x="1418" y="376"/>
                </a:cubicBezTo>
                <a:cubicBezTo>
                  <a:pt x="1417" y="376"/>
                  <a:pt x="1417" y="378"/>
                  <a:pt x="1417" y="378"/>
                </a:cubicBezTo>
                <a:cubicBezTo>
                  <a:pt x="1417" y="378"/>
                  <a:pt x="1417" y="378"/>
                  <a:pt x="1417" y="378"/>
                </a:cubicBezTo>
                <a:cubicBezTo>
                  <a:pt x="1416" y="378"/>
                  <a:pt x="1417" y="379"/>
                  <a:pt x="1417" y="379"/>
                </a:cubicBezTo>
                <a:cubicBezTo>
                  <a:pt x="1417" y="380"/>
                  <a:pt x="1416" y="380"/>
                  <a:pt x="1416" y="381"/>
                </a:cubicBezTo>
                <a:cubicBezTo>
                  <a:pt x="1417" y="381"/>
                  <a:pt x="1417" y="382"/>
                  <a:pt x="1418" y="381"/>
                </a:cubicBezTo>
                <a:cubicBezTo>
                  <a:pt x="1419" y="381"/>
                  <a:pt x="1419" y="381"/>
                  <a:pt x="1420" y="380"/>
                </a:cubicBezTo>
                <a:cubicBezTo>
                  <a:pt x="1421" y="380"/>
                  <a:pt x="1421" y="380"/>
                  <a:pt x="1421" y="379"/>
                </a:cubicBezTo>
                <a:cubicBezTo>
                  <a:pt x="1421" y="378"/>
                  <a:pt x="1421" y="379"/>
                  <a:pt x="1422" y="378"/>
                </a:cubicBezTo>
                <a:cubicBezTo>
                  <a:pt x="1422" y="378"/>
                  <a:pt x="1422" y="378"/>
                  <a:pt x="1422" y="378"/>
                </a:cubicBezTo>
                <a:cubicBezTo>
                  <a:pt x="1423" y="378"/>
                  <a:pt x="1424" y="378"/>
                  <a:pt x="1425" y="378"/>
                </a:cubicBezTo>
                <a:cubicBezTo>
                  <a:pt x="1425" y="378"/>
                  <a:pt x="1426" y="378"/>
                  <a:pt x="1426" y="378"/>
                </a:cubicBezTo>
                <a:cubicBezTo>
                  <a:pt x="1427" y="377"/>
                  <a:pt x="1427" y="376"/>
                  <a:pt x="1427" y="376"/>
                </a:cubicBezTo>
                <a:cubicBezTo>
                  <a:pt x="1428" y="376"/>
                  <a:pt x="1428" y="376"/>
                  <a:pt x="1429" y="375"/>
                </a:cubicBezTo>
                <a:cubicBezTo>
                  <a:pt x="1430" y="375"/>
                  <a:pt x="1430" y="375"/>
                  <a:pt x="1430" y="374"/>
                </a:cubicBezTo>
                <a:cubicBezTo>
                  <a:pt x="1430" y="372"/>
                  <a:pt x="1431" y="371"/>
                  <a:pt x="1431" y="370"/>
                </a:cubicBezTo>
                <a:cubicBezTo>
                  <a:pt x="1429" y="371"/>
                  <a:pt x="1430" y="368"/>
                  <a:pt x="1430" y="367"/>
                </a:cubicBezTo>
                <a:cubicBezTo>
                  <a:pt x="1430" y="367"/>
                  <a:pt x="1430" y="366"/>
                  <a:pt x="1430" y="365"/>
                </a:cubicBezTo>
                <a:cubicBezTo>
                  <a:pt x="1430" y="365"/>
                  <a:pt x="1430" y="365"/>
                  <a:pt x="1430" y="365"/>
                </a:cubicBezTo>
                <a:cubicBezTo>
                  <a:pt x="1431" y="364"/>
                  <a:pt x="1430" y="365"/>
                  <a:pt x="1430" y="365"/>
                </a:cubicBezTo>
                <a:cubicBezTo>
                  <a:pt x="1430" y="364"/>
                  <a:pt x="1430" y="364"/>
                  <a:pt x="1430" y="363"/>
                </a:cubicBezTo>
                <a:cubicBezTo>
                  <a:pt x="1429" y="363"/>
                  <a:pt x="1429" y="363"/>
                  <a:pt x="1428" y="362"/>
                </a:cubicBezTo>
                <a:cubicBezTo>
                  <a:pt x="1428" y="361"/>
                  <a:pt x="1428" y="361"/>
                  <a:pt x="1428" y="360"/>
                </a:cubicBezTo>
                <a:cubicBezTo>
                  <a:pt x="1428" y="360"/>
                  <a:pt x="1428" y="361"/>
                  <a:pt x="1428" y="360"/>
                </a:cubicBezTo>
                <a:cubicBezTo>
                  <a:pt x="1428" y="360"/>
                  <a:pt x="1427" y="360"/>
                  <a:pt x="1427" y="360"/>
                </a:cubicBezTo>
                <a:cubicBezTo>
                  <a:pt x="1427" y="360"/>
                  <a:pt x="1427" y="359"/>
                  <a:pt x="1426" y="359"/>
                </a:cubicBezTo>
                <a:cubicBezTo>
                  <a:pt x="1426" y="359"/>
                  <a:pt x="1427" y="358"/>
                  <a:pt x="1427" y="358"/>
                </a:cubicBezTo>
                <a:cubicBezTo>
                  <a:pt x="1427" y="357"/>
                  <a:pt x="1426" y="357"/>
                  <a:pt x="1426" y="357"/>
                </a:cubicBezTo>
                <a:cubicBezTo>
                  <a:pt x="1426" y="357"/>
                  <a:pt x="1426" y="356"/>
                  <a:pt x="1426" y="356"/>
                </a:cubicBezTo>
                <a:cubicBezTo>
                  <a:pt x="1426" y="356"/>
                  <a:pt x="1425" y="356"/>
                  <a:pt x="1425" y="356"/>
                </a:cubicBezTo>
                <a:cubicBezTo>
                  <a:pt x="1425" y="356"/>
                  <a:pt x="1425" y="356"/>
                  <a:pt x="1425" y="356"/>
                </a:cubicBezTo>
                <a:cubicBezTo>
                  <a:pt x="1425" y="356"/>
                  <a:pt x="1425" y="356"/>
                  <a:pt x="1425" y="356"/>
                </a:cubicBezTo>
                <a:cubicBezTo>
                  <a:pt x="1425" y="355"/>
                  <a:pt x="1425" y="355"/>
                  <a:pt x="1425" y="355"/>
                </a:cubicBezTo>
                <a:cubicBezTo>
                  <a:pt x="1425" y="354"/>
                  <a:pt x="1425" y="355"/>
                  <a:pt x="1425" y="354"/>
                </a:cubicBezTo>
                <a:cubicBezTo>
                  <a:pt x="1425" y="354"/>
                  <a:pt x="1426" y="353"/>
                  <a:pt x="1425" y="353"/>
                </a:cubicBezTo>
                <a:cubicBezTo>
                  <a:pt x="1423" y="353"/>
                  <a:pt x="1423" y="351"/>
                  <a:pt x="1422" y="351"/>
                </a:cubicBezTo>
                <a:cubicBezTo>
                  <a:pt x="1421" y="351"/>
                  <a:pt x="1420" y="351"/>
                  <a:pt x="1420" y="350"/>
                </a:cubicBezTo>
                <a:cubicBezTo>
                  <a:pt x="1421" y="350"/>
                  <a:pt x="1421" y="350"/>
                  <a:pt x="1421" y="350"/>
                </a:cubicBezTo>
                <a:cubicBezTo>
                  <a:pt x="1421" y="350"/>
                  <a:pt x="1422" y="348"/>
                  <a:pt x="1422" y="347"/>
                </a:cubicBezTo>
                <a:cubicBezTo>
                  <a:pt x="1422" y="346"/>
                  <a:pt x="1422" y="346"/>
                  <a:pt x="1423" y="346"/>
                </a:cubicBezTo>
                <a:cubicBezTo>
                  <a:pt x="1424" y="346"/>
                  <a:pt x="1424" y="346"/>
                  <a:pt x="1424" y="345"/>
                </a:cubicBezTo>
                <a:cubicBezTo>
                  <a:pt x="1424" y="345"/>
                  <a:pt x="1425" y="345"/>
                  <a:pt x="1425" y="345"/>
                </a:cubicBezTo>
                <a:cubicBezTo>
                  <a:pt x="1425" y="345"/>
                  <a:pt x="1425" y="345"/>
                  <a:pt x="1425" y="345"/>
                </a:cubicBezTo>
                <a:cubicBezTo>
                  <a:pt x="1425" y="344"/>
                  <a:pt x="1426" y="344"/>
                  <a:pt x="1427" y="343"/>
                </a:cubicBezTo>
                <a:cubicBezTo>
                  <a:pt x="1427" y="343"/>
                  <a:pt x="1427" y="342"/>
                  <a:pt x="1427" y="342"/>
                </a:cubicBezTo>
                <a:cubicBezTo>
                  <a:pt x="1427" y="342"/>
                  <a:pt x="1428" y="342"/>
                  <a:pt x="1427" y="342"/>
                </a:cubicBezTo>
                <a:cubicBezTo>
                  <a:pt x="1427" y="341"/>
                  <a:pt x="1429" y="341"/>
                  <a:pt x="1429" y="341"/>
                </a:cubicBezTo>
                <a:cubicBezTo>
                  <a:pt x="1430" y="341"/>
                  <a:pt x="1430" y="341"/>
                  <a:pt x="1430" y="341"/>
                </a:cubicBezTo>
                <a:cubicBezTo>
                  <a:pt x="1430" y="340"/>
                  <a:pt x="1430" y="340"/>
                  <a:pt x="1430" y="340"/>
                </a:cubicBezTo>
                <a:cubicBezTo>
                  <a:pt x="1430" y="340"/>
                  <a:pt x="1431" y="340"/>
                  <a:pt x="1431" y="339"/>
                </a:cubicBezTo>
                <a:cubicBezTo>
                  <a:pt x="1432" y="339"/>
                  <a:pt x="1432" y="338"/>
                  <a:pt x="1432" y="337"/>
                </a:cubicBezTo>
                <a:cubicBezTo>
                  <a:pt x="1431" y="336"/>
                  <a:pt x="1431" y="335"/>
                  <a:pt x="1431" y="334"/>
                </a:cubicBezTo>
                <a:cubicBezTo>
                  <a:pt x="1431" y="333"/>
                  <a:pt x="1432" y="333"/>
                  <a:pt x="1432" y="333"/>
                </a:cubicBezTo>
                <a:cubicBezTo>
                  <a:pt x="1433" y="333"/>
                  <a:pt x="1432" y="332"/>
                  <a:pt x="1433" y="332"/>
                </a:cubicBezTo>
                <a:cubicBezTo>
                  <a:pt x="1433" y="331"/>
                  <a:pt x="1434" y="332"/>
                  <a:pt x="1434" y="331"/>
                </a:cubicBezTo>
                <a:cubicBezTo>
                  <a:pt x="1434" y="331"/>
                  <a:pt x="1436" y="330"/>
                  <a:pt x="1436" y="329"/>
                </a:cubicBezTo>
                <a:cubicBezTo>
                  <a:pt x="1436" y="329"/>
                  <a:pt x="1437" y="329"/>
                  <a:pt x="1437" y="328"/>
                </a:cubicBezTo>
                <a:cubicBezTo>
                  <a:pt x="1437" y="328"/>
                  <a:pt x="1437" y="328"/>
                  <a:pt x="1438" y="328"/>
                </a:cubicBezTo>
                <a:cubicBezTo>
                  <a:pt x="1438" y="328"/>
                  <a:pt x="1439" y="328"/>
                  <a:pt x="1439" y="327"/>
                </a:cubicBezTo>
                <a:cubicBezTo>
                  <a:pt x="1439" y="327"/>
                  <a:pt x="1439" y="327"/>
                  <a:pt x="1439" y="326"/>
                </a:cubicBezTo>
                <a:cubicBezTo>
                  <a:pt x="1439" y="326"/>
                  <a:pt x="1440" y="326"/>
                  <a:pt x="1440" y="326"/>
                </a:cubicBezTo>
                <a:cubicBezTo>
                  <a:pt x="1441" y="326"/>
                  <a:pt x="1440" y="326"/>
                  <a:pt x="1441" y="325"/>
                </a:cubicBezTo>
                <a:cubicBezTo>
                  <a:pt x="1441" y="325"/>
                  <a:pt x="1441" y="326"/>
                  <a:pt x="1442" y="325"/>
                </a:cubicBezTo>
                <a:cubicBezTo>
                  <a:pt x="1442" y="324"/>
                  <a:pt x="1442" y="323"/>
                  <a:pt x="1443" y="323"/>
                </a:cubicBezTo>
                <a:cubicBezTo>
                  <a:pt x="1443" y="323"/>
                  <a:pt x="1444" y="323"/>
                  <a:pt x="1444" y="323"/>
                </a:cubicBezTo>
                <a:cubicBezTo>
                  <a:pt x="1444" y="324"/>
                  <a:pt x="1444" y="324"/>
                  <a:pt x="1444" y="324"/>
                </a:cubicBezTo>
                <a:cubicBezTo>
                  <a:pt x="1445" y="324"/>
                  <a:pt x="1445" y="324"/>
                  <a:pt x="1446" y="323"/>
                </a:cubicBezTo>
                <a:cubicBezTo>
                  <a:pt x="1446" y="324"/>
                  <a:pt x="1445" y="325"/>
                  <a:pt x="1446" y="326"/>
                </a:cubicBezTo>
                <a:cubicBezTo>
                  <a:pt x="1446" y="326"/>
                  <a:pt x="1446" y="326"/>
                  <a:pt x="1447" y="327"/>
                </a:cubicBezTo>
                <a:cubicBezTo>
                  <a:pt x="1448" y="327"/>
                  <a:pt x="1447" y="328"/>
                  <a:pt x="1448" y="328"/>
                </a:cubicBezTo>
                <a:cubicBezTo>
                  <a:pt x="1449" y="328"/>
                  <a:pt x="1449" y="328"/>
                  <a:pt x="1450" y="329"/>
                </a:cubicBezTo>
                <a:cubicBezTo>
                  <a:pt x="1450" y="329"/>
                  <a:pt x="1451" y="330"/>
                  <a:pt x="1451" y="329"/>
                </a:cubicBezTo>
                <a:cubicBezTo>
                  <a:pt x="1451" y="329"/>
                  <a:pt x="1452" y="329"/>
                  <a:pt x="1452" y="329"/>
                </a:cubicBezTo>
                <a:cubicBezTo>
                  <a:pt x="1453" y="329"/>
                  <a:pt x="1454" y="327"/>
                  <a:pt x="1454" y="327"/>
                </a:cubicBezTo>
                <a:cubicBezTo>
                  <a:pt x="1454" y="326"/>
                  <a:pt x="1454" y="326"/>
                  <a:pt x="1455" y="326"/>
                </a:cubicBezTo>
                <a:cubicBezTo>
                  <a:pt x="1456" y="326"/>
                  <a:pt x="1456" y="325"/>
                  <a:pt x="1456" y="325"/>
                </a:cubicBezTo>
                <a:cubicBezTo>
                  <a:pt x="1456" y="325"/>
                  <a:pt x="1456" y="324"/>
                  <a:pt x="1457" y="324"/>
                </a:cubicBezTo>
                <a:cubicBezTo>
                  <a:pt x="1457" y="323"/>
                  <a:pt x="1458" y="323"/>
                  <a:pt x="1458" y="322"/>
                </a:cubicBezTo>
                <a:cubicBezTo>
                  <a:pt x="1458" y="322"/>
                  <a:pt x="1458" y="322"/>
                  <a:pt x="1459" y="322"/>
                </a:cubicBezTo>
                <a:cubicBezTo>
                  <a:pt x="1459" y="322"/>
                  <a:pt x="1459" y="322"/>
                  <a:pt x="1459" y="322"/>
                </a:cubicBezTo>
                <a:cubicBezTo>
                  <a:pt x="1459" y="322"/>
                  <a:pt x="1459" y="321"/>
                  <a:pt x="1460" y="320"/>
                </a:cubicBezTo>
                <a:cubicBezTo>
                  <a:pt x="1460" y="319"/>
                  <a:pt x="1461" y="318"/>
                  <a:pt x="1461" y="317"/>
                </a:cubicBezTo>
                <a:cubicBezTo>
                  <a:pt x="1462" y="316"/>
                  <a:pt x="1462" y="317"/>
                  <a:pt x="1462" y="316"/>
                </a:cubicBezTo>
                <a:cubicBezTo>
                  <a:pt x="1463" y="316"/>
                  <a:pt x="1463" y="316"/>
                  <a:pt x="1463" y="315"/>
                </a:cubicBezTo>
                <a:cubicBezTo>
                  <a:pt x="1464" y="315"/>
                  <a:pt x="1464" y="316"/>
                  <a:pt x="1464" y="315"/>
                </a:cubicBezTo>
                <a:cubicBezTo>
                  <a:pt x="1464" y="314"/>
                  <a:pt x="1464" y="314"/>
                  <a:pt x="1464" y="314"/>
                </a:cubicBezTo>
                <a:cubicBezTo>
                  <a:pt x="1465" y="313"/>
                  <a:pt x="1466" y="313"/>
                  <a:pt x="1466" y="312"/>
                </a:cubicBezTo>
                <a:cubicBezTo>
                  <a:pt x="1466" y="312"/>
                  <a:pt x="1467" y="311"/>
                  <a:pt x="1467" y="311"/>
                </a:cubicBezTo>
                <a:cubicBezTo>
                  <a:pt x="1467" y="311"/>
                  <a:pt x="1468" y="310"/>
                  <a:pt x="1469" y="310"/>
                </a:cubicBezTo>
                <a:cubicBezTo>
                  <a:pt x="1469" y="309"/>
                  <a:pt x="1469" y="308"/>
                  <a:pt x="1470" y="308"/>
                </a:cubicBezTo>
                <a:cubicBezTo>
                  <a:pt x="1470" y="308"/>
                  <a:pt x="1471" y="307"/>
                  <a:pt x="1471" y="307"/>
                </a:cubicBezTo>
                <a:cubicBezTo>
                  <a:pt x="1471" y="307"/>
                  <a:pt x="1471" y="306"/>
                  <a:pt x="1471" y="306"/>
                </a:cubicBezTo>
                <a:cubicBezTo>
                  <a:pt x="1471" y="306"/>
                  <a:pt x="1472" y="306"/>
                  <a:pt x="1472" y="306"/>
                </a:cubicBezTo>
                <a:cubicBezTo>
                  <a:pt x="1472" y="305"/>
                  <a:pt x="1472" y="305"/>
                  <a:pt x="1472" y="305"/>
                </a:cubicBezTo>
                <a:cubicBezTo>
                  <a:pt x="1472" y="305"/>
                  <a:pt x="1472" y="305"/>
                  <a:pt x="1472" y="305"/>
                </a:cubicBezTo>
                <a:cubicBezTo>
                  <a:pt x="1472" y="304"/>
                  <a:pt x="1472" y="304"/>
                  <a:pt x="1473" y="304"/>
                </a:cubicBezTo>
                <a:cubicBezTo>
                  <a:pt x="1473" y="304"/>
                  <a:pt x="1473" y="303"/>
                  <a:pt x="1473" y="303"/>
                </a:cubicBezTo>
                <a:cubicBezTo>
                  <a:pt x="1473" y="303"/>
                  <a:pt x="1473" y="301"/>
                  <a:pt x="1473" y="301"/>
                </a:cubicBezTo>
                <a:cubicBezTo>
                  <a:pt x="1474" y="301"/>
                  <a:pt x="1474" y="300"/>
                  <a:pt x="1474" y="300"/>
                </a:cubicBezTo>
                <a:cubicBezTo>
                  <a:pt x="1474" y="299"/>
                  <a:pt x="1474" y="300"/>
                  <a:pt x="1474" y="299"/>
                </a:cubicBezTo>
                <a:cubicBezTo>
                  <a:pt x="1474" y="298"/>
                  <a:pt x="1475" y="299"/>
                  <a:pt x="1475" y="298"/>
                </a:cubicBezTo>
                <a:cubicBezTo>
                  <a:pt x="1475" y="298"/>
                  <a:pt x="1476" y="297"/>
                  <a:pt x="1476" y="298"/>
                </a:cubicBezTo>
                <a:cubicBezTo>
                  <a:pt x="1477" y="298"/>
                  <a:pt x="1477" y="297"/>
                  <a:pt x="1477" y="297"/>
                </a:cubicBezTo>
                <a:cubicBezTo>
                  <a:pt x="1477" y="296"/>
                  <a:pt x="1477" y="296"/>
                  <a:pt x="1477" y="295"/>
                </a:cubicBezTo>
                <a:cubicBezTo>
                  <a:pt x="1477" y="295"/>
                  <a:pt x="1477" y="295"/>
                  <a:pt x="1477" y="295"/>
                </a:cubicBezTo>
                <a:cubicBezTo>
                  <a:pt x="1478" y="295"/>
                  <a:pt x="1477" y="295"/>
                  <a:pt x="1478" y="294"/>
                </a:cubicBezTo>
                <a:cubicBezTo>
                  <a:pt x="1479" y="294"/>
                  <a:pt x="1478" y="293"/>
                  <a:pt x="1479" y="293"/>
                </a:cubicBezTo>
                <a:cubicBezTo>
                  <a:pt x="1480" y="292"/>
                  <a:pt x="1480" y="292"/>
                  <a:pt x="1481" y="291"/>
                </a:cubicBezTo>
                <a:cubicBezTo>
                  <a:pt x="1481" y="290"/>
                  <a:pt x="1481" y="288"/>
                  <a:pt x="1482" y="288"/>
                </a:cubicBezTo>
                <a:cubicBezTo>
                  <a:pt x="1482" y="288"/>
                  <a:pt x="1482" y="288"/>
                  <a:pt x="1483" y="288"/>
                </a:cubicBezTo>
                <a:cubicBezTo>
                  <a:pt x="1483" y="287"/>
                  <a:pt x="1482" y="287"/>
                  <a:pt x="1482" y="287"/>
                </a:cubicBezTo>
                <a:cubicBezTo>
                  <a:pt x="1482" y="287"/>
                  <a:pt x="1483" y="284"/>
                  <a:pt x="1483" y="284"/>
                </a:cubicBezTo>
                <a:cubicBezTo>
                  <a:pt x="1483" y="284"/>
                  <a:pt x="1484" y="283"/>
                  <a:pt x="1484" y="283"/>
                </a:cubicBezTo>
                <a:cubicBezTo>
                  <a:pt x="1484" y="282"/>
                  <a:pt x="1484" y="281"/>
                  <a:pt x="1483" y="281"/>
                </a:cubicBezTo>
                <a:cubicBezTo>
                  <a:pt x="1483" y="280"/>
                  <a:pt x="1483" y="279"/>
                  <a:pt x="1483" y="279"/>
                </a:cubicBezTo>
                <a:cubicBezTo>
                  <a:pt x="1482" y="278"/>
                  <a:pt x="1482" y="278"/>
                  <a:pt x="1483" y="277"/>
                </a:cubicBezTo>
                <a:cubicBezTo>
                  <a:pt x="1483" y="276"/>
                  <a:pt x="1484" y="276"/>
                  <a:pt x="1484" y="275"/>
                </a:cubicBezTo>
                <a:cubicBezTo>
                  <a:pt x="1484" y="275"/>
                  <a:pt x="1482" y="273"/>
                  <a:pt x="1483" y="273"/>
                </a:cubicBezTo>
                <a:cubicBezTo>
                  <a:pt x="1484" y="273"/>
                  <a:pt x="1484" y="273"/>
                  <a:pt x="1484" y="272"/>
                </a:cubicBezTo>
                <a:cubicBezTo>
                  <a:pt x="1484" y="272"/>
                  <a:pt x="1485" y="271"/>
                  <a:pt x="1485" y="271"/>
                </a:cubicBezTo>
                <a:cubicBezTo>
                  <a:pt x="1485" y="271"/>
                  <a:pt x="1485" y="270"/>
                  <a:pt x="1485" y="270"/>
                </a:cubicBezTo>
                <a:cubicBezTo>
                  <a:pt x="1485" y="270"/>
                  <a:pt x="1486" y="269"/>
                  <a:pt x="1486" y="269"/>
                </a:cubicBezTo>
                <a:cubicBezTo>
                  <a:pt x="1486" y="269"/>
                  <a:pt x="1486" y="269"/>
                  <a:pt x="1486" y="268"/>
                </a:cubicBezTo>
                <a:cubicBezTo>
                  <a:pt x="1486" y="268"/>
                  <a:pt x="1486" y="268"/>
                  <a:pt x="1485" y="268"/>
                </a:cubicBezTo>
                <a:cubicBezTo>
                  <a:pt x="1485" y="267"/>
                  <a:pt x="1485" y="266"/>
                  <a:pt x="1486" y="267"/>
                </a:cubicBezTo>
                <a:cubicBezTo>
                  <a:pt x="1486" y="266"/>
                  <a:pt x="1486" y="265"/>
                  <a:pt x="1485" y="266"/>
                </a:cubicBezTo>
                <a:cubicBezTo>
                  <a:pt x="1485" y="264"/>
                  <a:pt x="1485" y="263"/>
                  <a:pt x="1486" y="263"/>
                </a:cubicBezTo>
                <a:cubicBezTo>
                  <a:pt x="1487" y="263"/>
                  <a:pt x="1488" y="263"/>
                  <a:pt x="1489" y="264"/>
                </a:cubicBezTo>
                <a:cubicBezTo>
                  <a:pt x="1489" y="264"/>
                  <a:pt x="1490" y="262"/>
                  <a:pt x="1489" y="262"/>
                </a:cubicBezTo>
                <a:cubicBezTo>
                  <a:pt x="1489" y="261"/>
                  <a:pt x="1489" y="263"/>
                  <a:pt x="1488" y="262"/>
                </a:cubicBezTo>
                <a:cubicBezTo>
                  <a:pt x="1488" y="262"/>
                  <a:pt x="1487" y="262"/>
                  <a:pt x="1487" y="262"/>
                </a:cubicBezTo>
                <a:cubicBezTo>
                  <a:pt x="1487" y="262"/>
                  <a:pt x="1487" y="262"/>
                  <a:pt x="1487" y="262"/>
                </a:cubicBezTo>
                <a:cubicBezTo>
                  <a:pt x="1486" y="262"/>
                  <a:pt x="1486" y="261"/>
                  <a:pt x="1486" y="261"/>
                </a:cubicBezTo>
                <a:cubicBezTo>
                  <a:pt x="1486" y="261"/>
                  <a:pt x="1486" y="261"/>
                  <a:pt x="1486" y="260"/>
                </a:cubicBezTo>
                <a:cubicBezTo>
                  <a:pt x="1485" y="260"/>
                  <a:pt x="1485" y="261"/>
                  <a:pt x="1485" y="261"/>
                </a:cubicBezTo>
                <a:cubicBezTo>
                  <a:pt x="1485" y="260"/>
                  <a:pt x="1483" y="259"/>
                  <a:pt x="1482" y="259"/>
                </a:cubicBezTo>
                <a:cubicBezTo>
                  <a:pt x="1482" y="259"/>
                  <a:pt x="1482" y="257"/>
                  <a:pt x="1482" y="257"/>
                </a:cubicBezTo>
                <a:cubicBezTo>
                  <a:pt x="1482" y="256"/>
                  <a:pt x="1479" y="256"/>
                  <a:pt x="1479" y="255"/>
                </a:cubicBezTo>
                <a:cubicBezTo>
                  <a:pt x="1479" y="254"/>
                  <a:pt x="1478" y="255"/>
                  <a:pt x="1477" y="255"/>
                </a:cubicBezTo>
                <a:cubicBezTo>
                  <a:pt x="1476" y="255"/>
                  <a:pt x="1475" y="255"/>
                  <a:pt x="1474" y="254"/>
                </a:cubicBezTo>
                <a:cubicBezTo>
                  <a:pt x="1474" y="255"/>
                  <a:pt x="1474" y="256"/>
                  <a:pt x="1474" y="257"/>
                </a:cubicBezTo>
                <a:cubicBezTo>
                  <a:pt x="1474" y="258"/>
                  <a:pt x="1473" y="258"/>
                  <a:pt x="1473" y="257"/>
                </a:cubicBezTo>
                <a:cubicBezTo>
                  <a:pt x="1473" y="257"/>
                  <a:pt x="1473" y="257"/>
                  <a:pt x="1472" y="257"/>
                </a:cubicBezTo>
                <a:cubicBezTo>
                  <a:pt x="1472" y="257"/>
                  <a:pt x="1472" y="257"/>
                  <a:pt x="1472" y="258"/>
                </a:cubicBezTo>
                <a:cubicBezTo>
                  <a:pt x="1472" y="259"/>
                  <a:pt x="1472" y="258"/>
                  <a:pt x="1471" y="259"/>
                </a:cubicBezTo>
                <a:cubicBezTo>
                  <a:pt x="1471" y="259"/>
                  <a:pt x="1470" y="260"/>
                  <a:pt x="1470" y="260"/>
                </a:cubicBezTo>
                <a:cubicBezTo>
                  <a:pt x="1469" y="260"/>
                  <a:pt x="1469" y="260"/>
                  <a:pt x="1468" y="260"/>
                </a:cubicBezTo>
                <a:cubicBezTo>
                  <a:pt x="1469" y="259"/>
                  <a:pt x="1470" y="258"/>
                  <a:pt x="1470" y="257"/>
                </a:cubicBezTo>
                <a:cubicBezTo>
                  <a:pt x="1470" y="255"/>
                  <a:pt x="1469" y="256"/>
                  <a:pt x="1468" y="255"/>
                </a:cubicBezTo>
                <a:cubicBezTo>
                  <a:pt x="1467" y="255"/>
                  <a:pt x="1467" y="257"/>
                  <a:pt x="1467" y="258"/>
                </a:cubicBezTo>
                <a:cubicBezTo>
                  <a:pt x="1467" y="258"/>
                  <a:pt x="1466" y="258"/>
                  <a:pt x="1466" y="257"/>
                </a:cubicBezTo>
                <a:cubicBezTo>
                  <a:pt x="1466" y="257"/>
                  <a:pt x="1465" y="254"/>
                  <a:pt x="1466" y="254"/>
                </a:cubicBezTo>
                <a:cubicBezTo>
                  <a:pt x="1466" y="253"/>
                  <a:pt x="1466" y="252"/>
                  <a:pt x="1466" y="251"/>
                </a:cubicBezTo>
                <a:cubicBezTo>
                  <a:pt x="1465" y="251"/>
                  <a:pt x="1463" y="251"/>
                  <a:pt x="1462" y="251"/>
                </a:cubicBezTo>
                <a:cubicBezTo>
                  <a:pt x="1462" y="251"/>
                  <a:pt x="1461" y="251"/>
                  <a:pt x="1461" y="251"/>
                </a:cubicBezTo>
                <a:cubicBezTo>
                  <a:pt x="1461" y="251"/>
                  <a:pt x="1461" y="251"/>
                  <a:pt x="1460" y="251"/>
                </a:cubicBezTo>
                <a:cubicBezTo>
                  <a:pt x="1460" y="251"/>
                  <a:pt x="1459" y="251"/>
                  <a:pt x="1458" y="251"/>
                </a:cubicBezTo>
                <a:cubicBezTo>
                  <a:pt x="1458" y="250"/>
                  <a:pt x="1458" y="250"/>
                  <a:pt x="1459" y="250"/>
                </a:cubicBezTo>
                <a:cubicBezTo>
                  <a:pt x="1459" y="249"/>
                  <a:pt x="1459" y="249"/>
                  <a:pt x="1459" y="249"/>
                </a:cubicBezTo>
                <a:cubicBezTo>
                  <a:pt x="1459" y="248"/>
                  <a:pt x="1460" y="248"/>
                  <a:pt x="1460" y="247"/>
                </a:cubicBezTo>
                <a:cubicBezTo>
                  <a:pt x="1461" y="247"/>
                  <a:pt x="1461" y="247"/>
                  <a:pt x="1461" y="246"/>
                </a:cubicBezTo>
                <a:cubicBezTo>
                  <a:pt x="1463" y="246"/>
                  <a:pt x="1461" y="246"/>
                  <a:pt x="1462" y="245"/>
                </a:cubicBezTo>
                <a:cubicBezTo>
                  <a:pt x="1463" y="245"/>
                  <a:pt x="1463" y="245"/>
                  <a:pt x="1464" y="244"/>
                </a:cubicBezTo>
                <a:cubicBezTo>
                  <a:pt x="1464" y="243"/>
                  <a:pt x="1465" y="243"/>
                  <a:pt x="1466" y="243"/>
                </a:cubicBezTo>
                <a:cubicBezTo>
                  <a:pt x="1467" y="242"/>
                  <a:pt x="1467" y="241"/>
                  <a:pt x="1468" y="240"/>
                </a:cubicBezTo>
                <a:cubicBezTo>
                  <a:pt x="1469" y="240"/>
                  <a:pt x="1470" y="240"/>
                  <a:pt x="1470" y="240"/>
                </a:cubicBezTo>
                <a:cubicBezTo>
                  <a:pt x="1471" y="239"/>
                  <a:pt x="1469" y="238"/>
                  <a:pt x="1471" y="237"/>
                </a:cubicBezTo>
                <a:cubicBezTo>
                  <a:pt x="1472" y="237"/>
                  <a:pt x="1473" y="237"/>
                  <a:pt x="1473" y="235"/>
                </a:cubicBezTo>
                <a:cubicBezTo>
                  <a:pt x="1473" y="234"/>
                  <a:pt x="1473" y="235"/>
                  <a:pt x="1473" y="235"/>
                </a:cubicBezTo>
                <a:cubicBezTo>
                  <a:pt x="1473" y="234"/>
                  <a:pt x="1473" y="233"/>
                  <a:pt x="1474" y="233"/>
                </a:cubicBezTo>
                <a:cubicBezTo>
                  <a:pt x="1473" y="232"/>
                  <a:pt x="1473" y="232"/>
                  <a:pt x="1474" y="232"/>
                </a:cubicBezTo>
                <a:cubicBezTo>
                  <a:pt x="1474" y="232"/>
                  <a:pt x="1474" y="232"/>
                  <a:pt x="1475" y="232"/>
                </a:cubicBezTo>
                <a:cubicBezTo>
                  <a:pt x="1475" y="232"/>
                  <a:pt x="1476" y="231"/>
                  <a:pt x="1476" y="230"/>
                </a:cubicBezTo>
                <a:cubicBezTo>
                  <a:pt x="1477" y="230"/>
                  <a:pt x="1477" y="231"/>
                  <a:pt x="1477" y="230"/>
                </a:cubicBezTo>
                <a:cubicBezTo>
                  <a:pt x="1477" y="229"/>
                  <a:pt x="1477" y="229"/>
                  <a:pt x="1477" y="229"/>
                </a:cubicBezTo>
                <a:cubicBezTo>
                  <a:pt x="1478" y="229"/>
                  <a:pt x="1478" y="229"/>
                  <a:pt x="1478" y="229"/>
                </a:cubicBezTo>
                <a:cubicBezTo>
                  <a:pt x="1479" y="228"/>
                  <a:pt x="1478" y="229"/>
                  <a:pt x="1479" y="228"/>
                </a:cubicBezTo>
                <a:cubicBezTo>
                  <a:pt x="1480" y="228"/>
                  <a:pt x="1480" y="227"/>
                  <a:pt x="1481" y="227"/>
                </a:cubicBezTo>
                <a:cubicBezTo>
                  <a:pt x="1482" y="227"/>
                  <a:pt x="1481" y="227"/>
                  <a:pt x="1482" y="226"/>
                </a:cubicBezTo>
                <a:cubicBezTo>
                  <a:pt x="1482" y="225"/>
                  <a:pt x="1483" y="225"/>
                  <a:pt x="1483" y="225"/>
                </a:cubicBezTo>
                <a:cubicBezTo>
                  <a:pt x="1484" y="225"/>
                  <a:pt x="1484" y="225"/>
                  <a:pt x="1484" y="224"/>
                </a:cubicBezTo>
                <a:cubicBezTo>
                  <a:pt x="1485" y="223"/>
                  <a:pt x="1485" y="222"/>
                  <a:pt x="1486" y="221"/>
                </a:cubicBezTo>
                <a:cubicBezTo>
                  <a:pt x="1486" y="221"/>
                  <a:pt x="1486" y="220"/>
                  <a:pt x="1487" y="220"/>
                </a:cubicBezTo>
                <a:cubicBezTo>
                  <a:pt x="1488" y="219"/>
                  <a:pt x="1487" y="219"/>
                  <a:pt x="1487" y="218"/>
                </a:cubicBezTo>
                <a:cubicBezTo>
                  <a:pt x="1488" y="218"/>
                  <a:pt x="1488" y="218"/>
                  <a:pt x="1488" y="218"/>
                </a:cubicBezTo>
                <a:cubicBezTo>
                  <a:pt x="1488" y="218"/>
                  <a:pt x="1488" y="217"/>
                  <a:pt x="1488" y="217"/>
                </a:cubicBezTo>
                <a:cubicBezTo>
                  <a:pt x="1489" y="217"/>
                  <a:pt x="1489" y="217"/>
                  <a:pt x="1489" y="216"/>
                </a:cubicBezTo>
                <a:cubicBezTo>
                  <a:pt x="1490" y="216"/>
                  <a:pt x="1490" y="216"/>
                  <a:pt x="1490" y="216"/>
                </a:cubicBezTo>
                <a:cubicBezTo>
                  <a:pt x="1490" y="215"/>
                  <a:pt x="1490" y="215"/>
                  <a:pt x="1490" y="214"/>
                </a:cubicBezTo>
                <a:cubicBezTo>
                  <a:pt x="1491" y="214"/>
                  <a:pt x="1492" y="214"/>
                  <a:pt x="1492" y="213"/>
                </a:cubicBezTo>
                <a:cubicBezTo>
                  <a:pt x="1493" y="212"/>
                  <a:pt x="1495" y="212"/>
                  <a:pt x="1496" y="212"/>
                </a:cubicBezTo>
                <a:cubicBezTo>
                  <a:pt x="1496" y="211"/>
                  <a:pt x="1496" y="210"/>
                  <a:pt x="1496" y="210"/>
                </a:cubicBezTo>
                <a:cubicBezTo>
                  <a:pt x="1497" y="210"/>
                  <a:pt x="1497" y="211"/>
                  <a:pt x="1498" y="210"/>
                </a:cubicBezTo>
                <a:cubicBezTo>
                  <a:pt x="1498" y="210"/>
                  <a:pt x="1498" y="210"/>
                  <a:pt x="1499" y="210"/>
                </a:cubicBezTo>
                <a:cubicBezTo>
                  <a:pt x="1499" y="210"/>
                  <a:pt x="1499" y="211"/>
                  <a:pt x="1498" y="212"/>
                </a:cubicBezTo>
                <a:cubicBezTo>
                  <a:pt x="1499" y="211"/>
                  <a:pt x="1499" y="211"/>
                  <a:pt x="1500" y="211"/>
                </a:cubicBezTo>
                <a:cubicBezTo>
                  <a:pt x="1500" y="211"/>
                  <a:pt x="1501" y="211"/>
                  <a:pt x="1501" y="211"/>
                </a:cubicBezTo>
                <a:cubicBezTo>
                  <a:pt x="1501" y="211"/>
                  <a:pt x="1501" y="211"/>
                  <a:pt x="1501" y="211"/>
                </a:cubicBezTo>
                <a:cubicBezTo>
                  <a:pt x="1502" y="211"/>
                  <a:pt x="1504" y="211"/>
                  <a:pt x="1505" y="211"/>
                </a:cubicBezTo>
                <a:cubicBezTo>
                  <a:pt x="1506" y="211"/>
                  <a:pt x="1506" y="211"/>
                  <a:pt x="1506" y="211"/>
                </a:cubicBezTo>
                <a:cubicBezTo>
                  <a:pt x="1507" y="211"/>
                  <a:pt x="1507" y="211"/>
                  <a:pt x="1507" y="211"/>
                </a:cubicBezTo>
                <a:cubicBezTo>
                  <a:pt x="1507" y="210"/>
                  <a:pt x="1507" y="211"/>
                  <a:pt x="1508" y="211"/>
                </a:cubicBezTo>
                <a:cubicBezTo>
                  <a:pt x="1509" y="211"/>
                  <a:pt x="1509" y="211"/>
                  <a:pt x="1510" y="211"/>
                </a:cubicBezTo>
                <a:cubicBezTo>
                  <a:pt x="1511" y="212"/>
                  <a:pt x="1512" y="213"/>
                  <a:pt x="1511" y="213"/>
                </a:cubicBezTo>
                <a:cubicBezTo>
                  <a:pt x="1511" y="213"/>
                  <a:pt x="1511" y="214"/>
                  <a:pt x="1511" y="214"/>
                </a:cubicBezTo>
                <a:cubicBezTo>
                  <a:pt x="1512" y="214"/>
                  <a:pt x="1513" y="214"/>
                  <a:pt x="1513" y="213"/>
                </a:cubicBezTo>
                <a:cubicBezTo>
                  <a:pt x="1513" y="213"/>
                  <a:pt x="1513" y="213"/>
                  <a:pt x="1513" y="213"/>
                </a:cubicBezTo>
                <a:cubicBezTo>
                  <a:pt x="1514" y="212"/>
                  <a:pt x="1514" y="212"/>
                  <a:pt x="1514" y="212"/>
                </a:cubicBezTo>
                <a:cubicBezTo>
                  <a:pt x="1515" y="211"/>
                  <a:pt x="1515" y="212"/>
                  <a:pt x="1515" y="212"/>
                </a:cubicBezTo>
                <a:cubicBezTo>
                  <a:pt x="1516" y="212"/>
                  <a:pt x="1516" y="213"/>
                  <a:pt x="1516" y="213"/>
                </a:cubicBezTo>
                <a:cubicBezTo>
                  <a:pt x="1516" y="213"/>
                  <a:pt x="1517" y="213"/>
                  <a:pt x="1517" y="213"/>
                </a:cubicBezTo>
                <a:cubicBezTo>
                  <a:pt x="1517" y="214"/>
                  <a:pt x="1518" y="213"/>
                  <a:pt x="1518" y="214"/>
                </a:cubicBezTo>
                <a:cubicBezTo>
                  <a:pt x="1519" y="214"/>
                  <a:pt x="1521" y="214"/>
                  <a:pt x="1523" y="213"/>
                </a:cubicBezTo>
                <a:cubicBezTo>
                  <a:pt x="1524" y="213"/>
                  <a:pt x="1523" y="213"/>
                  <a:pt x="1524" y="214"/>
                </a:cubicBezTo>
                <a:cubicBezTo>
                  <a:pt x="1524" y="214"/>
                  <a:pt x="1524" y="214"/>
                  <a:pt x="1524" y="215"/>
                </a:cubicBezTo>
                <a:cubicBezTo>
                  <a:pt x="1525" y="215"/>
                  <a:pt x="1525" y="214"/>
                  <a:pt x="1526" y="214"/>
                </a:cubicBezTo>
                <a:cubicBezTo>
                  <a:pt x="1526" y="214"/>
                  <a:pt x="1525" y="213"/>
                  <a:pt x="1525" y="213"/>
                </a:cubicBezTo>
                <a:cubicBezTo>
                  <a:pt x="1525" y="212"/>
                  <a:pt x="1526" y="212"/>
                  <a:pt x="1526" y="212"/>
                </a:cubicBezTo>
                <a:cubicBezTo>
                  <a:pt x="1525" y="211"/>
                  <a:pt x="1526" y="211"/>
                  <a:pt x="1526" y="210"/>
                </a:cubicBezTo>
                <a:cubicBezTo>
                  <a:pt x="1527" y="209"/>
                  <a:pt x="1530" y="210"/>
                  <a:pt x="1530" y="211"/>
                </a:cubicBezTo>
                <a:cubicBezTo>
                  <a:pt x="1532" y="211"/>
                  <a:pt x="1533" y="211"/>
                  <a:pt x="1534" y="210"/>
                </a:cubicBezTo>
                <a:cubicBezTo>
                  <a:pt x="1534" y="211"/>
                  <a:pt x="1535" y="212"/>
                  <a:pt x="1535" y="211"/>
                </a:cubicBezTo>
                <a:cubicBezTo>
                  <a:pt x="1536" y="211"/>
                  <a:pt x="1536" y="211"/>
                  <a:pt x="1536" y="210"/>
                </a:cubicBezTo>
                <a:cubicBezTo>
                  <a:pt x="1536" y="210"/>
                  <a:pt x="1536" y="210"/>
                  <a:pt x="1537" y="210"/>
                </a:cubicBezTo>
                <a:cubicBezTo>
                  <a:pt x="1538" y="210"/>
                  <a:pt x="1538" y="209"/>
                  <a:pt x="1539" y="210"/>
                </a:cubicBezTo>
                <a:cubicBezTo>
                  <a:pt x="1539" y="211"/>
                  <a:pt x="1539" y="211"/>
                  <a:pt x="1540" y="212"/>
                </a:cubicBezTo>
                <a:cubicBezTo>
                  <a:pt x="1540" y="212"/>
                  <a:pt x="1540" y="213"/>
                  <a:pt x="1540" y="213"/>
                </a:cubicBezTo>
                <a:cubicBezTo>
                  <a:pt x="1541" y="213"/>
                  <a:pt x="1541" y="213"/>
                  <a:pt x="1541" y="214"/>
                </a:cubicBezTo>
                <a:cubicBezTo>
                  <a:pt x="1541" y="215"/>
                  <a:pt x="1537" y="214"/>
                  <a:pt x="1536" y="214"/>
                </a:cubicBezTo>
                <a:cubicBezTo>
                  <a:pt x="1536" y="215"/>
                  <a:pt x="1537" y="218"/>
                  <a:pt x="1538" y="218"/>
                </a:cubicBezTo>
                <a:cubicBezTo>
                  <a:pt x="1538" y="218"/>
                  <a:pt x="1538" y="218"/>
                  <a:pt x="1538" y="218"/>
                </a:cubicBezTo>
                <a:cubicBezTo>
                  <a:pt x="1539" y="218"/>
                  <a:pt x="1541" y="218"/>
                  <a:pt x="1542" y="217"/>
                </a:cubicBezTo>
                <a:cubicBezTo>
                  <a:pt x="1542" y="217"/>
                  <a:pt x="1542" y="216"/>
                  <a:pt x="1542" y="216"/>
                </a:cubicBezTo>
                <a:cubicBezTo>
                  <a:pt x="1543" y="216"/>
                  <a:pt x="1544" y="217"/>
                  <a:pt x="1545" y="217"/>
                </a:cubicBezTo>
                <a:cubicBezTo>
                  <a:pt x="1546" y="216"/>
                  <a:pt x="1545" y="216"/>
                  <a:pt x="1546" y="216"/>
                </a:cubicBezTo>
                <a:cubicBezTo>
                  <a:pt x="1547" y="215"/>
                  <a:pt x="1547" y="215"/>
                  <a:pt x="1548" y="215"/>
                </a:cubicBezTo>
                <a:cubicBezTo>
                  <a:pt x="1548" y="214"/>
                  <a:pt x="1549" y="214"/>
                  <a:pt x="1549" y="214"/>
                </a:cubicBezTo>
                <a:cubicBezTo>
                  <a:pt x="1549" y="215"/>
                  <a:pt x="1549" y="214"/>
                  <a:pt x="1549" y="215"/>
                </a:cubicBezTo>
                <a:cubicBezTo>
                  <a:pt x="1549" y="215"/>
                  <a:pt x="1549" y="215"/>
                  <a:pt x="1549" y="216"/>
                </a:cubicBezTo>
                <a:cubicBezTo>
                  <a:pt x="1550" y="216"/>
                  <a:pt x="1551" y="215"/>
                  <a:pt x="1551" y="215"/>
                </a:cubicBezTo>
                <a:cubicBezTo>
                  <a:pt x="1552" y="214"/>
                  <a:pt x="1552" y="215"/>
                  <a:pt x="1553" y="215"/>
                </a:cubicBezTo>
                <a:cubicBezTo>
                  <a:pt x="1553" y="214"/>
                  <a:pt x="1554" y="214"/>
                  <a:pt x="1554" y="214"/>
                </a:cubicBezTo>
                <a:cubicBezTo>
                  <a:pt x="1554" y="213"/>
                  <a:pt x="1554" y="212"/>
                  <a:pt x="1554" y="212"/>
                </a:cubicBezTo>
                <a:cubicBezTo>
                  <a:pt x="1553" y="212"/>
                  <a:pt x="1552" y="212"/>
                  <a:pt x="1551" y="212"/>
                </a:cubicBezTo>
                <a:cubicBezTo>
                  <a:pt x="1550" y="213"/>
                  <a:pt x="1550" y="213"/>
                  <a:pt x="1549" y="212"/>
                </a:cubicBezTo>
                <a:cubicBezTo>
                  <a:pt x="1549" y="212"/>
                  <a:pt x="1549" y="211"/>
                  <a:pt x="1550" y="210"/>
                </a:cubicBezTo>
                <a:cubicBezTo>
                  <a:pt x="1550" y="210"/>
                  <a:pt x="1549" y="209"/>
                  <a:pt x="1549" y="208"/>
                </a:cubicBezTo>
                <a:cubicBezTo>
                  <a:pt x="1550" y="209"/>
                  <a:pt x="1550" y="209"/>
                  <a:pt x="1551" y="209"/>
                </a:cubicBezTo>
                <a:cubicBezTo>
                  <a:pt x="1551" y="208"/>
                  <a:pt x="1551" y="209"/>
                  <a:pt x="1551" y="208"/>
                </a:cubicBezTo>
                <a:cubicBezTo>
                  <a:pt x="1551" y="208"/>
                  <a:pt x="1551" y="208"/>
                  <a:pt x="1551" y="207"/>
                </a:cubicBezTo>
                <a:cubicBezTo>
                  <a:pt x="1551" y="207"/>
                  <a:pt x="1551" y="206"/>
                  <a:pt x="1552" y="206"/>
                </a:cubicBezTo>
                <a:cubicBezTo>
                  <a:pt x="1552" y="206"/>
                  <a:pt x="1552" y="206"/>
                  <a:pt x="1552" y="205"/>
                </a:cubicBezTo>
                <a:cubicBezTo>
                  <a:pt x="1552" y="205"/>
                  <a:pt x="1553" y="205"/>
                  <a:pt x="1553" y="205"/>
                </a:cubicBezTo>
                <a:cubicBezTo>
                  <a:pt x="1554" y="205"/>
                  <a:pt x="1555" y="204"/>
                  <a:pt x="1556" y="203"/>
                </a:cubicBezTo>
                <a:cubicBezTo>
                  <a:pt x="1556" y="204"/>
                  <a:pt x="1557" y="203"/>
                  <a:pt x="1558" y="203"/>
                </a:cubicBezTo>
                <a:cubicBezTo>
                  <a:pt x="1558" y="202"/>
                  <a:pt x="1558" y="202"/>
                  <a:pt x="1559" y="201"/>
                </a:cubicBezTo>
                <a:cubicBezTo>
                  <a:pt x="1559" y="201"/>
                  <a:pt x="1559" y="201"/>
                  <a:pt x="1559" y="200"/>
                </a:cubicBezTo>
                <a:cubicBezTo>
                  <a:pt x="1559" y="199"/>
                  <a:pt x="1559" y="199"/>
                  <a:pt x="1560" y="199"/>
                </a:cubicBezTo>
                <a:cubicBezTo>
                  <a:pt x="1561" y="198"/>
                  <a:pt x="1562" y="198"/>
                  <a:pt x="1562" y="197"/>
                </a:cubicBezTo>
                <a:cubicBezTo>
                  <a:pt x="1562" y="197"/>
                  <a:pt x="1563" y="197"/>
                  <a:pt x="1563" y="197"/>
                </a:cubicBezTo>
                <a:cubicBezTo>
                  <a:pt x="1563" y="197"/>
                  <a:pt x="1563" y="197"/>
                  <a:pt x="1563" y="197"/>
                </a:cubicBezTo>
                <a:cubicBezTo>
                  <a:pt x="1564" y="197"/>
                  <a:pt x="1564" y="196"/>
                  <a:pt x="1565" y="196"/>
                </a:cubicBezTo>
                <a:cubicBezTo>
                  <a:pt x="1566" y="196"/>
                  <a:pt x="1566" y="195"/>
                  <a:pt x="1567" y="195"/>
                </a:cubicBezTo>
                <a:cubicBezTo>
                  <a:pt x="1567" y="195"/>
                  <a:pt x="1568" y="195"/>
                  <a:pt x="1569" y="195"/>
                </a:cubicBezTo>
                <a:cubicBezTo>
                  <a:pt x="1569" y="195"/>
                  <a:pt x="1570" y="195"/>
                  <a:pt x="1570" y="195"/>
                </a:cubicBezTo>
                <a:cubicBezTo>
                  <a:pt x="1571" y="194"/>
                  <a:pt x="1571" y="195"/>
                  <a:pt x="1572" y="195"/>
                </a:cubicBezTo>
                <a:cubicBezTo>
                  <a:pt x="1572" y="194"/>
                  <a:pt x="1574" y="194"/>
                  <a:pt x="1574" y="195"/>
                </a:cubicBezTo>
                <a:cubicBezTo>
                  <a:pt x="1574" y="196"/>
                  <a:pt x="1574" y="196"/>
                  <a:pt x="1575" y="196"/>
                </a:cubicBezTo>
                <a:cubicBezTo>
                  <a:pt x="1575" y="196"/>
                  <a:pt x="1575" y="197"/>
                  <a:pt x="1576" y="197"/>
                </a:cubicBezTo>
                <a:cubicBezTo>
                  <a:pt x="1576" y="196"/>
                  <a:pt x="1577" y="196"/>
                  <a:pt x="1577" y="196"/>
                </a:cubicBezTo>
                <a:cubicBezTo>
                  <a:pt x="1577" y="196"/>
                  <a:pt x="1578" y="195"/>
                  <a:pt x="1578" y="195"/>
                </a:cubicBezTo>
                <a:cubicBezTo>
                  <a:pt x="1579" y="195"/>
                  <a:pt x="1578" y="195"/>
                  <a:pt x="1579" y="195"/>
                </a:cubicBezTo>
                <a:cubicBezTo>
                  <a:pt x="1579" y="195"/>
                  <a:pt x="1579" y="196"/>
                  <a:pt x="1579" y="196"/>
                </a:cubicBezTo>
                <a:cubicBezTo>
                  <a:pt x="1579" y="197"/>
                  <a:pt x="1579" y="198"/>
                  <a:pt x="1578" y="198"/>
                </a:cubicBezTo>
                <a:cubicBezTo>
                  <a:pt x="1578" y="199"/>
                  <a:pt x="1577" y="200"/>
                  <a:pt x="1577" y="202"/>
                </a:cubicBezTo>
                <a:cubicBezTo>
                  <a:pt x="1577" y="202"/>
                  <a:pt x="1578" y="202"/>
                  <a:pt x="1579" y="201"/>
                </a:cubicBezTo>
                <a:cubicBezTo>
                  <a:pt x="1579" y="201"/>
                  <a:pt x="1579" y="200"/>
                  <a:pt x="1580" y="200"/>
                </a:cubicBezTo>
                <a:cubicBezTo>
                  <a:pt x="1580" y="201"/>
                  <a:pt x="1580" y="202"/>
                  <a:pt x="1579" y="202"/>
                </a:cubicBezTo>
                <a:cubicBezTo>
                  <a:pt x="1578" y="203"/>
                  <a:pt x="1578" y="203"/>
                  <a:pt x="1579" y="204"/>
                </a:cubicBezTo>
                <a:cubicBezTo>
                  <a:pt x="1579" y="204"/>
                  <a:pt x="1580" y="203"/>
                  <a:pt x="1581" y="203"/>
                </a:cubicBezTo>
                <a:cubicBezTo>
                  <a:pt x="1581" y="202"/>
                  <a:pt x="1581" y="202"/>
                  <a:pt x="1582" y="202"/>
                </a:cubicBezTo>
                <a:cubicBezTo>
                  <a:pt x="1583" y="202"/>
                  <a:pt x="1582" y="201"/>
                  <a:pt x="1583" y="201"/>
                </a:cubicBezTo>
                <a:cubicBezTo>
                  <a:pt x="1584" y="201"/>
                  <a:pt x="1583" y="200"/>
                  <a:pt x="1584" y="200"/>
                </a:cubicBezTo>
                <a:cubicBezTo>
                  <a:pt x="1584" y="199"/>
                  <a:pt x="1585" y="199"/>
                  <a:pt x="1585" y="199"/>
                </a:cubicBezTo>
                <a:cubicBezTo>
                  <a:pt x="1585" y="199"/>
                  <a:pt x="1585" y="198"/>
                  <a:pt x="1585" y="198"/>
                </a:cubicBezTo>
                <a:cubicBezTo>
                  <a:pt x="1585" y="198"/>
                  <a:pt x="1586" y="198"/>
                  <a:pt x="1586" y="197"/>
                </a:cubicBezTo>
                <a:cubicBezTo>
                  <a:pt x="1586" y="197"/>
                  <a:pt x="1586" y="197"/>
                  <a:pt x="1586" y="197"/>
                </a:cubicBezTo>
                <a:cubicBezTo>
                  <a:pt x="1586" y="196"/>
                  <a:pt x="1587" y="197"/>
                  <a:pt x="1587" y="196"/>
                </a:cubicBezTo>
                <a:cubicBezTo>
                  <a:pt x="1588" y="196"/>
                  <a:pt x="1589" y="196"/>
                  <a:pt x="1588" y="195"/>
                </a:cubicBezTo>
                <a:cubicBezTo>
                  <a:pt x="1589" y="195"/>
                  <a:pt x="1590" y="195"/>
                  <a:pt x="1591" y="196"/>
                </a:cubicBezTo>
                <a:cubicBezTo>
                  <a:pt x="1591" y="195"/>
                  <a:pt x="1591" y="195"/>
                  <a:pt x="1591" y="196"/>
                </a:cubicBezTo>
                <a:cubicBezTo>
                  <a:pt x="1591" y="197"/>
                  <a:pt x="1591" y="197"/>
                  <a:pt x="1593" y="197"/>
                </a:cubicBezTo>
                <a:cubicBezTo>
                  <a:pt x="1592" y="196"/>
                  <a:pt x="1593" y="196"/>
                  <a:pt x="1594" y="196"/>
                </a:cubicBezTo>
                <a:cubicBezTo>
                  <a:pt x="1594" y="196"/>
                  <a:pt x="1594" y="195"/>
                  <a:pt x="1594" y="195"/>
                </a:cubicBezTo>
                <a:cubicBezTo>
                  <a:pt x="1593" y="195"/>
                  <a:pt x="1593" y="192"/>
                  <a:pt x="1593" y="191"/>
                </a:cubicBezTo>
                <a:cubicBezTo>
                  <a:pt x="1593" y="191"/>
                  <a:pt x="1594" y="192"/>
                  <a:pt x="1594" y="191"/>
                </a:cubicBezTo>
                <a:cubicBezTo>
                  <a:pt x="1594" y="190"/>
                  <a:pt x="1594" y="190"/>
                  <a:pt x="1594" y="189"/>
                </a:cubicBezTo>
                <a:cubicBezTo>
                  <a:pt x="1594" y="189"/>
                  <a:pt x="1594" y="189"/>
                  <a:pt x="1594" y="189"/>
                </a:cubicBezTo>
                <a:cubicBezTo>
                  <a:pt x="1594" y="189"/>
                  <a:pt x="1595" y="189"/>
                  <a:pt x="1595" y="189"/>
                </a:cubicBezTo>
                <a:cubicBezTo>
                  <a:pt x="1596" y="189"/>
                  <a:pt x="1596" y="189"/>
                  <a:pt x="1596" y="189"/>
                </a:cubicBezTo>
                <a:cubicBezTo>
                  <a:pt x="1597" y="189"/>
                  <a:pt x="1596" y="188"/>
                  <a:pt x="1597" y="188"/>
                </a:cubicBezTo>
                <a:cubicBezTo>
                  <a:pt x="1597" y="188"/>
                  <a:pt x="1598" y="188"/>
                  <a:pt x="1598" y="188"/>
                </a:cubicBezTo>
                <a:cubicBezTo>
                  <a:pt x="1598" y="188"/>
                  <a:pt x="1598" y="188"/>
                  <a:pt x="1598" y="188"/>
                </a:cubicBezTo>
                <a:cubicBezTo>
                  <a:pt x="1599" y="188"/>
                  <a:pt x="1599" y="189"/>
                  <a:pt x="1600" y="189"/>
                </a:cubicBezTo>
                <a:cubicBezTo>
                  <a:pt x="1601" y="190"/>
                  <a:pt x="1603" y="190"/>
                  <a:pt x="1603" y="191"/>
                </a:cubicBezTo>
                <a:cubicBezTo>
                  <a:pt x="1601" y="191"/>
                  <a:pt x="1600" y="190"/>
                  <a:pt x="1598" y="191"/>
                </a:cubicBezTo>
                <a:cubicBezTo>
                  <a:pt x="1598" y="191"/>
                  <a:pt x="1597" y="192"/>
                  <a:pt x="1597" y="192"/>
                </a:cubicBezTo>
                <a:cubicBezTo>
                  <a:pt x="1597" y="193"/>
                  <a:pt x="1597" y="195"/>
                  <a:pt x="1597" y="196"/>
                </a:cubicBezTo>
                <a:cubicBezTo>
                  <a:pt x="1597" y="196"/>
                  <a:pt x="1597" y="197"/>
                  <a:pt x="1597" y="197"/>
                </a:cubicBezTo>
                <a:cubicBezTo>
                  <a:pt x="1596" y="197"/>
                  <a:pt x="1596" y="199"/>
                  <a:pt x="1595" y="200"/>
                </a:cubicBezTo>
                <a:cubicBezTo>
                  <a:pt x="1596" y="200"/>
                  <a:pt x="1596" y="200"/>
                  <a:pt x="1596" y="201"/>
                </a:cubicBezTo>
                <a:cubicBezTo>
                  <a:pt x="1596" y="201"/>
                  <a:pt x="1595" y="201"/>
                  <a:pt x="1595" y="201"/>
                </a:cubicBezTo>
                <a:cubicBezTo>
                  <a:pt x="1595" y="201"/>
                  <a:pt x="1595" y="202"/>
                  <a:pt x="1595" y="202"/>
                </a:cubicBezTo>
                <a:cubicBezTo>
                  <a:pt x="1595" y="203"/>
                  <a:pt x="1594" y="203"/>
                  <a:pt x="1593" y="203"/>
                </a:cubicBezTo>
                <a:cubicBezTo>
                  <a:pt x="1592" y="203"/>
                  <a:pt x="1591" y="203"/>
                  <a:pt x="1591" y="203"/>
                </a:cubicBezTo>
                <a:cubicBezTo>
                  <a:pt x="1591" y="203"/>
                  <a:pt x="1590" y="202"/>
                  <a:pt x="1590" y="203"/>
                </a:cubicBezTo>
                <a:cubicBezTo>
                  <a:pt x="1590" y="203"/>
                  <a:pt x="1590" y="203"/>
                  <a:pt x="1590" y="203"/>
                </a:cubicBezTo>
                <a:cubicBezTo>
                  <a:pt x="1589" y="203"/>
                  <a:pt x="1589" y="203"/>
                  <a:pt x="1589" y="204"/>
                </a:cubicBezTo>
                <a:cubicBezTo>
                  <a:pt x="1588" y="204"/>
                  <a:pt x="1588" y="204"/>
                  <a:pt x="1587" y="204"/>
                </a:cubicBezTo>
                <a:cubicBezTo>
                  <a:pt x="1586" y="204"/>
                  <a:pt x="1586" y="204"/>
                  <a:pt x="1586" y="204"/>
                </a:cubicBezTo>
                <a:cubicBezTo>
                  <a:pt x="1585" y="204"/>
                  <a:pt x="1586" y="205"/>
                  <a:pt x="1585" y="205"/>
                </a:cubicBezTo>
                <a:cubicBezTo>
                  <a:pt x="1585" y="206"/>
                  <a:pt x="1586" y="205"/>
                  <a:pt x="1586" y="206"/>
                </a:cubicBezTo>
                <a:cubicBezTo>
                  <a:pt x="1586" y="208"/>
                  <a:pt x="1585" y="207"/>
                  <a:pt x="1584" y="208"/>
                </a:cubicBezTo>
                <a:cubicBezTo>
                  <a:pt x="1584" y="208"/>
                  <a:pt x="1584" y="209"/>
                  <a:pt x="1584" y="209"/>
                </a:cubicBezTo>
                <a:cubicBezTo>
                  <a:pt x="1584" y="210"/>
                  <a:pt x="1584" y="209"/>
                  <a:pt x="1583" y="209"/>
                </a:cubicBezTo>
                <a:cubicBezTo>
                  <a:pt x="1583" y="210"/>
                  <a:pt x="1583" y="210"/>
                  <a:pt x="1583" y="211"/>
                </a:cubicBezTo>
                <a:cubicBezTo>
                  <a:pt x="1582" y="211"/>
                  <a:pt x="1583" y="211"/>
                  <a:pt x="1582" y="212"/>
                </a:cubicBezTo>
                <a:cubicBezTo>
                  <a:pt x="1581" y="212"/>
                  <a:pt x="1579" y="213"/>
                  <a:pt x="1579" y="213"/>
                </a:cubicBezTo>
                <a:cubicBezTo>
                  <a:pt x="1579" y="214"/>
                  <a:pt x="1580" y="214"/>
                  <a:pt x="1579" y="214"/>
                </a:cubicBezTo>
                <a:cubicBezTo>
                  <a:pt x="1578" y="215"/>
                  <a:pt x="1577" y="215"/>
                  <a:pt x="1577" y="216"/>
                </a:cubicBezTo>
                <a:cubicBezTo>
                  <a:pt x="1577" y="216"/>
                  <a:pt x="1576" y="217"/>
                  <a:pt x="1576" y="217"/>
                </a:cubicBezTo>
                <a:cubicBezTo>
                  <a:pt x="1576" y="218"/>
                  <a:pt x="1576" y="218"/>
                  <a:pt x="1575" y="219"/>
                </a:cubicBezTo>
                <a:cubicBezTo>
                  <a:pt x="1574" y="220"/>
                  <a:pt x="1573" y="221"/>
                  <a:pt x="1572" y="222"/>
                </a:cubicBezTo>
                <a:cubicBezTo>
                  <a:pt x="1572" y="222"/>
                  <a:pt x="1571" y="221"/>
                  <a:pt x="1571" y="222"/>
                </a:cubicBezTo>
                <a:cubicBezTo>
                  <a:pt x="1571" y="222"/>
                  <a:pt x="1571" y="223"/>
                  <a:pt x="1570" y="223"/>
                </a:cubicBezTo>
                <a:cubicBezTo>
                  <a:pt x="1570" y="224"/>
                  <a:pt x="1569" y="224"/>
                  <a:pt x="1568" y="224"/>
                </a:cubicBezTo>
                <a:cubicBezTo>
                  <a:pt x="1567" y="224"/>
                  <a:pt x="1567" y="224"/>
                  <a:pt x="1566" y="225"/>
                </a:cubicBezTo>
                <a:cubicBezTo>
                  <a:pt x="1566" y="225"/>
                  <a:pt x="1566" y="225"/>
                  <a:pt x="1565" y="225"/>
                </a:cubicBezTo>
                <a:cubicBezTo>
                  <a:pt x="1565" y="225"/>
                  <a:pt x="1564" y="226"/>
                  <a:pt x="1564" y="225"/>
                </a:cubicBezTo>
                <a:cubicBezTo>
                  <a:pt x="1563" y="225"/>
                  <a:pt x="1562" y="225"/>
                  <a:pt x="1562" y="225"/>
                </a:cubicBezTo>
                <a:cubicBezTo>
                  <a:pt x="1562" y="226"/>
                  <a:pt x="1562" y="226"/>
                  <a:pt x="1563" y="227"/>
                </a:cubicBezTo>
                <a:cubicBezTo>
                  <a:pt x="1563" y="227"/>
                  <a:pt x="1563" y="229"/>
                  <a:pt x="1563" y="229"/>
                </a:cubicBezTo>
                <a:cubicBezTo>
                  <a:pt x="1562" y="229"/>
                  <a:pt x="1562" y="232"/>
                  <a:pt x="1562" y="233"/>
                </a:cubicBezTo>
                <a:cubicBezTo>
                  <a:pt x="1561" y="233"/>
                  <a:pt x="1561" y="233"/>
                  <a:pt x="1560" y="233"/>
                </a:cubicBezTo>
                <a:cubicBezTo>
                  <a:pt x="1560" y="233"/>
                  <a:pt x="1560" y="233"/>
                  <a:pt x="1559" y="233"/>
                </a:cubicBezTo>
                <a:cubicBezTo>
                  <a:pt x="1558" y="234"/>
                  <a:pt x="1558" y="235"/>
                  <a:pt x="1558" y="237"/>
                </a:cubicBezTo>
                <a:cubicBezTo>
                  <a:pt x="1558" y="238"/>
                  <a:pt x="1557" y="238"/>
                  <a:pt x="1557" y="239"/>
                </a:cubicBezTo>
                <a:cubicBezTo>
                  <a:pt x="1557" y="240"/>
                  <a:pt x="1557" y="239"/>
                  <a:pt x="1557" y="240"/>
                </a:cubicBezTo>
                <a:cubicBezTo>
                  <a:pt x="1557" y="240"/>
                  <a:pt x="1557" y="241"/>
                  <a:pt x="1556" y="241"/>
                </a:cubicBezTo>
                <a:cubicBezTo>
                  <a:pt x="1556" y="243"/>
                  <a:pt x="1556" y="245"/>
                  <a:pt x="1556" y="247"/>
                </a:cubicBezTo>
                <a:cubicBezTo>
                  <a:pt x="1556" y="248"/>
                  <a:pt x="1557" y="248"/>
                  <a:pt x="1557" y="249"/>
                </a:cubicBezTo>
                <a:cubicBezTo>
                  <a:pt x="1557" y="250"/>
                  <a:pt x="1557" y="250"/>
                  <a:pt x="1557" y="250"/>
                </a:cubicBezTo>
                <a:cubicBezTo>
                  <a:pt x="1557" y="251"/>
                  <a:pt x="1557" y="251"/>
                  <a:pt x="1558" y="251"/>
                </a:cubicBezTo>
                <a:cubicBezTo>
                  <a:pt x="1558" y="252"/>
                  <a:pt x="1557" y="253"/>
                  <a:pt x="1558" y="253"/>
                </a:cubicBezTo>
                <a:cubicBezTo>
                  <a:pt x="1558" y="254"/>
                  <a:pt x="1558" y="255"/>
                  <a:pt x="1558" y="255"/>
                </a:cubicBezTo>
                <a:cubicBezTo>
                  <a:pt x="1559" y="255"/>
                  <a:pt x="1557" y="258"/>
                  <a:pt x="1558" y="258"/>
                </a:cubicBezTo>
                <a:cubicBezTo>
                  <a:pt x="1558" y="259"/>
                  <a:pt x="1558" y="260"/>
                  <a:pt x="1558" y="261"/>
                </a:cubicBezTo>
                <a:cubicBezTo>
                  <a:pt x="1559" y="261"/>
                  <a:pt x="1559" y="265"/>
                  <a:pt x="1559" y="266"/>
                </a:cubicBezTo>
                <a:cubicBezTo>
                  <a:pt x="1560" y="266"/>
                  <a:pt x="1560" y="266"/>
                  <a:pt x="1560" y="267"/>
                </a:cubicBezTo>
                <a:cubicBezTo>
                  <a:pt x="1560" y="267"/>
                  <a:pt x="1560" y="267"/>
                  <a:pt x="1560" y="267"/>
                </a:cubicBezTo>
                <a:cubicBezTo>
                  <a:pt x="1560" y="267"/>
                  <a:pt x="1561" y="267"/>
                  <a:pt x="1560" y="268"/>
                </a:cubicBezTo>
                <a:cubicBezTo>
                  <a:pt x="1560" y="269"/>
                  <a:pt x="1560" y="269"/>
                  <a:pt x="1561" y="270"/>
                </a:cubicBezTo>
                <a:cubicBezTo>
                  <a:pt x="1561" y="270"/>
                  <a:pt x="1561" y="271"/>
                  <a:pt x="1561" y="271"/>
                </a:cubicBezTo>
                <a:cubicBezTo>
                  <a:pt x="1560" y="272"/>
                  <a:pt x="1560" y="272"/>
                  <a:pt x="1560" y="272"/>
                </a:cubicBezTo>
                <a:cubicBezTo>
                  <a:pt x="1561" y="273"/>
                  <a:pt x="1561" y="274"/>
                  <a:pt x="1561" y="275"/>
                </a:cubicBezTo>
                <a:cubicBezTo>
                  <a:pt x="1563" y="275"/>
                  <a:pt x="1563" y="274"/>
                  <a:pt x="1565" y="273"/>
                </a:cubicBezTo>
                <a:cubicBezTo>
                  <a:pt x="1565" y="273"/>
                  <a:pt x="1566" y="272"/>
                  <a:pt x="1566" y="272"/>
                </a:cubicBezTo>
                <a:cubicBezTo>
                  <a:pt x="1566" y="271"/>
                  <a:pt x="1568" y="271"/>
                  <a:pt x="1568" y="270"/>
                </a:cubicBezTo>
                <a:cubicBezTo>
                  <a:pt x="1570" y="269"/>
                  <a:pt x="1568" y="264"/>
                  <a:pt x="1570" y="263"/>
                </a:cubicBezTo>
                <a:cubicBezTo>
                  <a:pt x="1570" y="263"/>
                  <a:pt x="1571" y="263"/>
                  <a:pt x="1571" y="263"/>
                </a:cubicBezTo>
                <a:cubicBezTo>
                  <a:pt x="1571" y="262"/>
                  <a:pt x="1575" y="262"/>
                  <a:pt x="1575" y="262"/>
                </a:cubicBezTo>
                <a:cubicBezTo>
                  <a:pt x="1575" y="261"/>
                  <a:pt x="1575" y="260"/>
                  <a:pt x="1575" y="259"/>
                </a:cubicBezTo>
                <a:cubicBezTo>
                  <a:pt x="1575" y="257"/>
                  <a:pt x="1575" y="256"/>
                  <a:pt x="1576" y="255"/>
                </a:cubicBezTo>
                <a:cubicBezTo>
                  <a:pt x="1577" y="255"/>
                  <a:pt x="1576" y="254"/>
                  <a:pt x="1577" y="254"/>
                </a:cubicBezTo>
                <a:cubicBezTo>
                  <a:pt x="1578" y="253"/>
                  <a:pt x="1578" y="254"/>
                  <a:pt x="1578" y="253"/>
                </a:cubicBezTo>
                <a:cubicBezTo>
                  <a:pt x="1578" y="253"/>
                  <a:pt x="1578" y="252"/>
                  <a:pt x="1578" y="253"/>
                </a:cubicBezTo>
                <a:cubicBezTo>
                  <a:pt x="1579" y="253"/>
                  <a:pt x="1579" y="252"/>
                  <a:pt x="1579" y="252"/>
                </a:cubicBezTo>
                <a:cubicBezTo>
                  <a:pt x="1580" y="251"/>
                  <a:pt x="1581" y="251"/>
                  <a:pt x="1581" y="251"/>
                </a:cubicBezTo>
                <a:cubicBezTo>
                  <a:pt x="1582" y="251"/>
                  <a:pt x="1583" y="252"/>
                  <a:pt x="1584" y="252"/>
                </a:cubicBezTo>
                <a:cubicBezTo>
                  <a:pt x="1584" y="252"/>
                  <a:pt x="1585" y="252"/>
                  <a:pt x="1585" y="251"/>
                </a:cubicBezTo>
                <a:cubicBezTo>
                  <a:pt x="1585" y="251"/>
                  <a:pt x="1585" y="251"/>
                  <a:pt x="1585" y="251"/>
                </a:cubicBezTo>
                <a:cubicBezTo>
                  <a:pt x="1585" y="250"/>
                  <a:pt x="1585" y="251"/>
                  <a:pt x="1586" y="250"/>
                </a:cubicBezTo>
                <a:cubicBezTo>
                  <a:pt x="1586" y="250"/>
                  <a:pt x="1586" y="249"/>
                  <a:pt x="1587" y="250"/>
                </a:cubicBezTo>
                <a:cubicBezTo>
                  <a:pt x="1587" y="248"/>
                  <a:pt x="1586" y="247"/>
                  <a:pt x="1585" y="246"/>
                </a:cubicBezTo>
                <a:cubicBezTo>
                  <a:pt x="1584" y="246"/>
                  <a:pt x="1584" y="246"/>
                  <a:pt x="1584" y="245"/>
                </a:cubicBezTo>
                <a:cubicBezTo>
                  <a:pt x="1584" y="245"/>
                  <a:pt x="1584" y="244"/>
                  <a:pt x="1584" y="244"/>
                </a:cubicBezTo>
                <a:cubicBezTo>
                  <a:pt x="1584" y="244"/>
                  <a:pt x="1584" y="244"/>
                  <a:pt x="1584" y="244"/>
                </a:cubicBezTo>
                <a:cubicBezTo>
                  <a:pt x="1585" y="243"/>
                  <a:pt x="1584" y="241"/>
                  <a:pt x="1584" y="240"/>
                </a:cubicBezTo>
                <a:cubicBezTo>
                  <a:pt x="1585" y="240"/>
                  <a:pt x="1588" y="239"/>
                  <a:pt x="1588" y="238"/>
                </a:cubicBezTo>
                <a:cubicBezTo>
                  <a:pt x="1588" y="238"/>
                  <a:pt x="1590" y="239"/>
                  <a:pt x="1590" y="239"/>
                </a:cubicBezTo>
                <a:cubicBezTo>
                  <a:pt x="1592" y="239"/>
                  <a:pt x="1592" y="238"/>
                  <a:pt x="1592" y="236"/>
                </a:cubicBezTo>
                <a:cubicBezTo>
                  <a:pt x="1591" y="236"/>
                  <a:pt x="1590" y="236"/>
                  <a:pt x="1589" y="236"/>
                </a:cubicBezTo>
                <a:cubicBezTo>
                  <a:pt x="1589" y="235"/>
                  <a:pt x="1589" y="235"/>
                  <a:pt x="1589" y="234"/>
                </a:cubicBezTo>
                <a:cubicBezTo>
                  <a:pt x="1588" y="234"/>
                  <a:pt x="1588" y="233"/>
                  <a:pt x="1588" y="233"/>
                </a:cubicBezTo>
                <a:cubicBezTo>
                  <a:pt x="1587" y="232"/>
                  <a:pt x="1588" y="232"/>
                  <a:pt x="1588" y="231"/>
                </a:cubicBezTo>
                <a:cubicBezTo>
                  <a:pt x="1589" y="230"/>
                  <a:pt x="1588" y="229"/>
                  <a:pt x="1589" y="228"/>
                </a:cubicBezTo>
                <a:cubicBezTo>
                  <a:pt x="1591" y="228"/>
                  <a:pt x="1591" y="228"/>
                  <a:pt x="1591" y="226"/>
                </a:cubicBezTo>
                <a:cubicBezTo>
                  <a:pt x="1591" y="225"/>
                  <a:pt x="1592" y="225"/>
                  <a:pt x="1590" y="224"/>
                </a:cubicBezTo>
                <a:cubicBezTo>
                  <a:pt x="1590" y="224"/>
                  <a:pt x="1589" y="224"/>
                  <a:pt x="1588" y="224"/>
                </a:cubicBezTo>
                <a:cubicBezTo>
                  <a:pt x="1588" y="224"/>
                  <a:pt x="1588" y="224"/>
                  <a:pt x="1588" y="224"/>
                </a:cubicBezTo>
                <a:cubicBezTo>
                  <a:pt x="1587" y="224"/>
                  <a:pt x="1587" y="224"/>
                  <a:pt x="1587" y="223"/>
                </a:cubicBezTo>
                <a:cubicBezTo>
                  <a:pt x="1587" y="223"/>
                  <a:pt x="1586" y="223"/>
                  <a:pt x="1586" y="223"/>
                </a:cubicBezTo>
                <a:cubicBezTo>
                  <a:pt x="1586" y="222"/>
                  <a:pt x="1586" y="222"/>
                  <a:pt x="1586" y="222"/>
                </a:cubicBezTo>
                <a:cubicBezTo>
                  <a:pt x="1586" y="220"/>
                  <a:pt x="1587" y="219"/>
                  <a:pt x="1588" y="218"/>
                </a:cubicBezTo>
                <a:cubicBezTo>
                  <a:pt x="1588" y="217"/>
                  <a:pt x="1589" y="216"/>
                  <a:pt x="1590" y="216"/>
                </a:cubicBezTo>
                <a:cubicBezTo>
                  <a:pt x="1591" y="216"/>
                  <a:pt x="1590" y="215"/>
                  <a:pt x="1591" y="214"/>
                </a:cubicBezTo>
                <a:cubicBezTo>
                  <a:pt x="1592" y="215"/>
                  <a:pt x="1592" y="214"/>
                  <a:pt x="1592" y="213"/>
                </a:cubicBezTo>
                <a:cubicBezTo>
                  <a:pt x="1592" y="213"/>
                  <a:pt x="1593" y="213"/>
                  <a:pt x="1593" y="213"/>
                </a:cubicBezTo>
                <a:cubicBezTo>
                  <a:pt x="1593" y="212"/>
                  <a:pt x="1592" y="211"/>
                  <a:pt x="1593" y="211"/>
                </a:cubicBezTo>
                <a:cubicBezTo>
                  <a:pt x="1594" y="210"/>
                  <a:pt x="1594" y="210"/>
                  <a:pt x="1594" y="209"/>
                </a:cubicBezTo>
                <a:cubicBezTo>
                  <a:pt x="1595" y="208"/>
                  <a:pt x="1594" y="208"/>
                  <a:pt x="1595" y="208"/>
                </a:cubicBezTo>
                <a:cubicBezTo>
                  <a:pt x="1596" y="208"/>
                  <a:pt x="1597" y="208"/>
                  <a:pt x="1597" y="209"/>
                </a:cubicBezTo>
                <a:cubicBezTo>
                  <a:pt x="1597" y="209"/>
                  <a:pt x="1598" y="209"/>
                  <a:pt x="1599" y="209"/>
                </a:cubicBezTo>
                <a:cubicBezTo>
                  <a:pt x="1600" y="209"/>
                  <a:pt x="1599" y="209"/>
                  <a:pt x="1600" y="209"/>
                </a:cubicBezTo>
                <a:cubicBezTo>
                  <a:pt x="1601" y="209"/>
                  <a:pt x="1601" y="209"/>
                  <a:pt x="1601" y="208"/>
                </a:cubicBezTo>
                <a:cubicBezTo>
                  <a:pt x="1601" y="207"/>
                  <a:pt x="1603" y="207"/>
                  <a:pt x="1604" y="206"/>
                </a:cubicBezTo>
                <a:cubicBezTo>
                  <a:pt x="1605" y="206"/>
                  <a:pt x="1605" y="205"/>
                  <a:pt x="1606" y="205"/>
                </a:cubicBezTo>
                <a:cubicBezTo>
                  <a:pt x="1606" y="204"/>
                  <a:pt x="1606" y="204"/>
                  <a:pt x="1607" y="204"/>
                </a:cubicBezTo>
                <a:cubicBezTo>
                  <a:pt x="1607" y="204"/>
                  <a:pt x="1606" y="204"/>
                  <a:pt x="1606" y="205"/>
                </a:cubicBezTo>
                <a:cubicBezTo>
                  <a:pt x="1606" y="205"/>
                  <a:pt x="1606" y="206"/>
                  <a:pt x="1606" y="206"/>
                </a:cubicBezTo>
                <a:cubicBezTo>
                  <a:pt x="1606" y="208"/>
                  <a:pt x="1606" y="209"/>
                  <a:pt x="1606" y="210"/>
                </a:cubicBezTo>
                <a:cubicBezTo>
                  <a:pt x="1607" y="210"/>
                  <a:pt x="1607" y="209"/>
                  <a:pt x="1608" y="209"/>
                </a:cubicBezTo>
                <a:cubicBezTo>
                  <a:pt x="1608" y="209"/>
                  <a:pt x="1609" y="208"/>
                  <a:pt x="1609" y="208"/>
                </a:cubicBezTo>
                <a:cubicBezTo>
                  <a:pt x="1609" y="208"/>
                  <a:pt x="1610" y="208"/>
                  <a:pt x="1610" y="208"/>
                </a:cubicBezTo>
                <a:cubicBezTo>
                  <a:pt x="1610" y="207"/>
                  <a:pt x="1610" y="207"/>
                  <a:pt x="1610" y="207"/>
                </a:cubicBezTo>
                <a:cubicBezTo>
                  <a:pt x="1611" y="207"/>
                  <a:pt x="1611" y="205"/>
                  <a:pt x="1611" y="204"/>
                </a:cubicBezTo>
                <a:cubicBezTo>
                  <a:pt x="1612" y="204"/>
                  <a:pt x="1612" y="204"/>
                  <a:pt x="1612" y="205"/>
                </a:cubicBezTo>
                <a:cubicBezTo>
                  <a:pt x="1612" y="204"/>
                  <a:pt x="1614" y="204"/>
                  <a:pt x="1614" y="203"/>
                </a:cubicBezTo>
                <a:cubicBezTo>
                  <a:pt x="1614" y="203"/>
                  <a:pt x="1616" y="203"/>
                  <a:pt x="1617" y="203"/>
                </a:cubicBezTo>
                <a:cubicBezTo>
                  <a:pt x="1617" y="203"/>
                  <a:pt x="1618" y="203"/>
                  <a:pt x="1618" y="203"/>
                </a:cubicBezTo>
                <a:cubicBezTo>
                  <a:pt x="1618" y="204"/>
                  <a:pt x="1618" y="203"/>
                  <a:pt x="1618" y="204"/>
                </a:cubicBezTo>
                <a:cubicBezTo>
                  <a:pt x="1619" y="204"/>
                  <a:pt x="1618" y="204"/>
                  <a:pt x="1619" y="204"/>
                </a:cubicBezTo>
                <a:cubicBezTo>
                  <a:pt x="1619" y="204"/>
                  <a:pt x="1619" y="204"/>
                  <a:pt x="1620" y="205"/>
                </a:cubicBezTo>
                <a:cubicBezTo>
                  <a:pt x="1621" y="205"/>
                  <a:pt x="1622" y="204"/>
                  <a:pt x="1622" y="206"/>
                </a:cubicBezTo>
                <a:cubicBezTo>
                  <a:pt x="1622" y="207"/>
                  <a:pt x="1622" y="207"/>
                  <a:pt x="1623" y="208"/>
                </a:cubicBezTo>
                <a:cubicBezTo>
                  <a:pt x="1623" y="208"/>
                  <a:pt x="1624" y="208"/>
                  <a:pt x="1624" y="209"/>
                </a:cubicBezTo>
                <a:cubicBezTo>
                  <a:pt x="1624" y="209"/>
                  <a:pt x="1626" y="209"/>
                  <a:pt x="1626" y="209"/>
                </a:cubicBezTo>
                <a:cubicBezTo>
                  <a:pt x="1627" y="208"/>
                  <a:pt x="1627" y="207"/>
                  <a:pt x="1627" y="206"/>
                </a:cubicBezTo>
                <a:cubicBezTo>
                  <a:pt x="1627" y="206"/>
                  <a:pt x="1628" y="206"/>
                  <a:pt x="1628" y="206"/>
                </a:cubicBezTo>
                <a:cubicBezTo>
                  <a:pt x="1628" y="205"/>
                  <a:pt x="1628" y="205"/>
                  <a:pt x="1629" y="205"/>
                </a:cubicBezTo>
                <a:cubicBezTo>
                  <a:pt x="1629" y="204"/>
                  <a:pt x="1629" y="204"/>
                  <a:pt x="1629" y="204"/>
                </a:cubicBezTo>
                <a:cubicBezTo>
                  <a:pt x="1630" y="204"/>
                  <a:pt x="1630" y="203"/>
                  <a:pt x="1631" y="203"/>
                </a:cubicBezTo>
                <a:cubicBezTo>
                  <a:pt x="1631" y="203"/>
                  <a:pt x="1632" y="202"/>
                  <a:pt x="1632" y="202"/>
                </a:cubicBezTo>
                <a:cubicBezTo>
                  <a:pt x="1632" y="202"/>
                  <a:pt x="1632" y="201"/>
                  <a:pt x="1632" y="201"/>
                </a:cubicBezTo>
                <a:cubicBezTo>
                  <a:pt x="1632" y="201"/>
                  <a:pt x="1633" y="201"/>
                  <a:pt x="1633" y="200"/>
                </a:cubicBezTo>
                <a:cubicBezTo>
                  <a:pt x="1634" y="200"/>
                  <a:pt x="1634" y="201"/>
                  <a:pt x="1635" y="200"/>
                </a:cubicBezTo>
                <a:cubicBezTo>
                  <a:pt x="1636" y="200"/>
                  <a:pt x="1636" y="199"/>
                  <a:pt x="1637" y="199"/>
                </a:cubicBezTo>
                <a:cubicBezTo>
                  <a:pt x="1637" y="198"/>
                  <a:pt x="1635" y="198"/>
                  <a:pt x="1636" y="197"/>
                </a:cubicBezTo>
                <a:cubicBezTo>
                  <a:pt x="1636" y="197"/>
                  <a:pt x="1637" y="198"/>
                  <a:pt x="1638" y="198"/>
                </a:cubicBezTo>
                <a:cubicBezTo>
                  <a:pt x="1639" y="198"/>
                  <a:pt x="1639" y="198"/>
                  <a:pt x="1640" y="198"/>
                </a:cubicBezTo>
                <a:cubicBezTo>
                  <a:pt x="1641" y="197"/>
                  <a:pt x="1639" y="196"/>
                  <a:pt x="1639" y="195"/>
                </a:cubicBezTo>
                <a:cubicBezTo>
                  <a:pt x="1640" y="196"/>
                  <a:pt x="1641" y="197"/>
                  <a:pt x="1642" y="196"/>
                </a:cubicBezTo>
                <a:cubicBezTo>
                  <a:pt x="1643" y="196"/>
                  <a:pt x="1643" y="195"/>
                  <a:pt x="1643" y="195"/>
                </a:cubicBezTo>
                <a:cubicBezTo>
                  <a:pt x="1644" y="195"/>
                  <a:pt x="1643" y="195"/>
                  <a:pt x="1644" y="195"/>
                </a:cubicBezTo>
                <a:cubicBezTo>
                  <a:pt x="1644" y="195"/>
                  <a:pt x="1645" y="195"/>
                  <a:pt x="1645" y="194"/>
                </a:cubicBezTo>
                <a:cubicBezTo>
                  <a:pt x="1645" y="194"/>
                  <a:pt x="1645" y="194"/>
                  <a:pt x="1646" y="194"/>
                </a:cubicBezTo>
                <a:cubicBezTo>
                  <a:pt x="1646" y="194"/>
                  <a:pt x="1646" y="194"/>
                  <a:pt x="1646" y="194"/>
                </a:cubicBezTo>
                <a:cubicBezTo>
                  <a:pt x="1646" y="194"/>
                  <a:pt x="1647" y="194"/>
                  <a:pt x="1647" y="194"/>
                </a:cubicBezTo>
                <a:cubicBezTo>
                  <a:pt x="1648" y="193"/>
                  <a:pt x="1647" y="193"/>
                  <a:pt x="1648" y="193"/>
                </a:cubicBezTo>
                <a:cubicBezTo>
                  <a:pt x="1649" y="193"/>
                  <a:pt x="1649" y="192"/>
                  <a:pt x="1649" y="192"/>
                </a:cubicBezTo>
                <a:cubicBezTo>
                  <a:pt x="1650" y="192"/>
                  <a:pt x="1650" y="192"/>
                  <a:pt x="1650" y="192"/>
                </a:cubicBezTo>
                <a:cubicBezTo>
                  <a:pt x="1650" y="192"/>
                  <a:pt x="1651" y="192"/>
                  <a:pt x="1651" y="192"/>
                </a:cubicBezTo>
                <a:cubicBezTo>
                  <a:pt x="1651" y="192"/>
                  <a:pt x="1651" y="192"/>
                  <a:pt x="1652" y="192"/>
                </a:cubicBezTo>
                <a:cubicBezTo>
                  <a:pt x="1652" y="192"/>
                  <a:pt x="1652" y="191"/>
                  <a:pt x="1653" y="191"/>
                </a:cubicBezTo>
                <a:cubicBezTo>
                  <a:pt x="1653" y="191"/>
                  <a:pt x="1653" y="191"/>
                  <a:pt x="1653" y="191"/>
                </a:cubicBezTo>
                <a:cubicBezTo>
                  <a:pt x="1653" y="191"/>
                  <a:pt x="1654" y="191"/>
                  <a:pt x="1654" y="191"/>
                </a:cubicBezTo>
                <a:cubicBezTo>
                  <a:pt x="1655" y="191"/>
                  <a:pt x="1656" y="190"/>
                  <a:pt x="1656" y="190"/>
                </a:cubicBezTo>
                <a:cubicBezTo>
                  <a:pt x="1657" y="190"/>
                  <a:pt x="1656" y="191"/>
                  <a:pt x="1658" y="190"/>
                </a:cubicBezTo>
                <a:cubicBezTo>
                  <a:pt x="1659" y="190"/>
                  <a:pt x="1660" y="190"/>
                  <a:pt x="1661" y="190"/>
                </a:cubicBezTo>
                <a:cubicBezTo>
                  <a:pt x="1661" y="190"/>
                  <a:pt x="1661" y="190"/>
                  <a:pt x="1662" y="190"/>
                </a:cubicBezTo>
                <a:cubicBezTo>
                  <a:pt x="1662" y="191"/>
                  <a:pt x="1662" y="191"/>
                  <a:pt x="1663" y="191"/>
                </a:cubicBezTo>
                <a:cubicBezTo>
                  <a:pt x="1663" y="191"/>
                  <a:pt x="1663" y="191"/>
                  <a:pt x="1663" y="191"/>
                </a:cubicBezTo>
                <a:cubicBezTo>
                  <a:pt x="1664" y="191"/>
                  <a:pt x="1665" y="191"/>
                  <a:pt x="1666" y="191"/>
                </a:cubicBezTo>
                <a:cubicBezTo>
                  <a:pt x="1666" y="191"/>
                  <a:pt x="1667" y="190"/>
                  <a:pt x="1668" y="189"/>
                </a:cubicBezTo>
                <a:cubicBezTo>
                  <a:pt x="1668" y="189"/>
                  <a:pt x="1668" y="190"/>
                  <a:pt x="1668" y="189"/>
                </a:cubicBezTo>
                <a:cubicBezTo>
                  <a:pt x="1668" y="188"/>
                  <a:pt x="1667" y="189"/>
                  <a:pt x="1668" y="188"/>
                </a:cubicBezTo>
                <a:cubicBezTo>
                  <a:pt x="1668" y="187"/>
                  <a:pt x="1668" y="187"/>
                  <a:pt x="1667" y="186"/>
                </a:cubicBezTo>
                <a:cubicBezTo>
                  <a:pt x="1667" y="186"/>
                  <a:pt x="1666" y="186"/>
                  <a:pt x="1666" y="186"/>
                </a:cubicBezTo>
                <a:cubicBezTo>
                  <a:pt x="1666" y="186"/>
                  <a:pt x="1665" y="186"/>
                  <a:pt x="1665" y="186"/>
                </a:cubicBezTo>
                <a:cubicBezTo>
                  <a:pt x="1665" y="185"/>
                  <a:pt x="1666" y="185"/>
                  <a:pt x="1666" y="185"/>
                </a:cubicBezTo>
                <a:cubicBezTo>
                  <a:pt x="1665" y="185"/>
                  <a:pt x="1666" y="184"/>
                  <a:pt x="1665" y="184"/>
                </a:cubicBezTo>
                <a:cubicBezTo>
                  <a:pt x="1665" y="184"/>
                  <a:pt x="1665" y="183"/>
                  <a:pt x="1665" y="182"/>
                </a:cubicBezTo>
                <a:cubicBezTo>
                  <a:pt x="1665" y="182"/>
                  <a:pt x="1664" y="182"/>
                  <a:pt x="1664" y="181"/>
                </a:cubicBezTo>
                <a:cubicBezTo>
                  <a:pt x="1664" y="181"/>
                  <a:pt x="1664" y="181"/>
                  <a:pt x="1664" y="180"/>
                </a:cubicBezTo>
                <a:cubicBezTo>
                  <a:pt x="1663" y="180"/>
                  <a:pt x="1663" y="180"/>
                  <a:pt x="1662" y="178"/>
                </a:cubicBezTo>
                <a:cubicBezTo>
                  <a:pt x="1662" y="178"/>
                  <a:pt x="1662" y="177"/>
                  <a:pt x="1661" y="177"/>
                </a:cubicBezTo>
                <a:cubicBezTo>
                  <a:pt x="1661" y="178"/>
                  <a:pt x="1661" y="178"/>
                  <a:pt x="1660" y="178"/>
                </a:cubicBezTo>
                <a:cubicBezTo>
                  <a:pt x="1659" y="179"/>
                  <a:pt x="1658" y="178"/>
                  <a:pt x="1659" y="177"/>
                </a:cubicBezTo>
                <a:cubicBezTo>
                  <a:pt x="1659" y="177"/>
                  <a:pt x="1659" y="177"/>
                  <a:pt x="1659" y="176"/>
                </a:cubicBezTo>
                <a:cubicBezTo>
                  <a:pt x="1659" y="176"/>
                  <a:pt x="1660" y="176"/>
                  <a:pt x="1660" y="176"/>
                </a:cubicBezTo>
                <a:cubicBezTo>
                  <a:pt x="1660" y="175"/>
                  <a:pt x="1660" y="175"/>
                  <a:pt x="1660" y="175"/>
                </a:cubicBezTo>
                <a:cubicBezTo>
                  <a:pt x="1660" y="175"/>
                  <a:pt x="1659" y="175"/>
                  <a:pt x="1659" y="175"/>
                </a:cubicBezTo>
                <a:cubicBezTo>
                  <a:pt x="1659" y="176"/>
                  <a:pt x="1659" y="176"/>
                  <a:pt x="1658" y="176"/>
                </a:cubicBezTo>
                <a:cubicBezTo>
                  <a:pt x="1657" y="176"/>
                  <a:pt x="1657" y="175"/>
                  <a:pt x="1656" y="175"/>
                </a:cubicBezTo>
                <a:cubicBezTo>
                  <a:pt x="1655" y="174"/>
                  <a:pt x="1655" y="175"/>
                  <a:pt x="1653" y="175"/>
                </a:cubicBezTo>
                <a:cubicBezTo>
                  <a:pt x="1652" y="175"/>
                  <a:pt x="1654" y="174"/>
                  <a:pt x="1654" y="173"/>
                </a:cubicBezTo>
                <a:cubicBezTo>
                  <a:pt x="1655" y="174"/>
                  <a:pt x="1657" y="174"/>
                  <a:pt x="1658" y="174"/>
                </a:cubicBezTo>
                <a:cubicBezTo>
                  <a:pt x="1658" y="173"/>
                  <a:pt x="1658" y="173"/>
                  <a:pt x="1659" y="173"/>
                </a:cubicBezTo>
                <a:cubicBezTo>
                  <a:pt x="1659" y="174"/>
                  <a:pt x="1661" y="173"/>
                  <a:pt x="1661" y="174"/>
                </a:cubicBezTo>
                <a:cubicBezTo>
                  <a:pt x="1661" y="174"/>
                  <a:pt x="1661" y="174"/>
                  <a:pt x="1661" y="174"/>
                </a:cubicBezTo>
                <a:cubicBezTo>
                  <a:pt x="1662" y="174"/>
                  <a:pt x="1661" y="174"/>
                  <a:pt x="1661" y="175"/>
                </a:cubicBezTo>
                <a:cubicBezTo>
                  <a:pt x="1663" y="175"/>
                  <a:pt x="1665" y="175"/>
                  <a:pt x="1666" y="175"/>
                </a:cubicBezTo>
                <a:cubicBezTo>
                  <a:pt x="1666" y="175"/>
                  <a:pt x="1667" y="175"/>
                  <a:pt x="1667" y="175"/>
                </a:cubicBezTo>
                <a:cubicBezTo>
                  <a:pt x="1668" y="175"/>
                  <a:pt x="1666" y="174"/>
                  <a:pt x="1668" y="174"/>
                </a:cubicBezTo>
                <a:cubicBezTo>
                  <a:pt x="1668" y="175"/>
                  <a:pt x="1669" y="175"/>
                  <a:pt x="1669" y="175"/>
                </a:cubicBezTo>
                <a:cubicBezTo>
                  <a:pt x="1669" y="174"/>
                  <a:pt x="1669" y="175"/>
                  <a:pt x="1670" y="175"/>
                </a:cubicBezTo>
                <a:cubicBezTo>
                  <a:pt x="1670" y="174"/>
                  <a:pt x="1670" y="174"/>
                  <a:pt x="1671" y="174"/>
                </a:cubicBezTo>
                <a:cubicBezTo>
                  <a:pt x="1671" y="174"/>
                  <a:pt x="1671" y="174"/>
                  <a:pt x="1671" y="173"/>
                </a:cubicBezTo>
                <a:cubicBezTo>
                  <a:pt x="1671" y="173"/>
                  <a:pt x="1671" y="174"/>
                  <a:pt x="1672" y="173"/>
                </a:cubicBezTo>
                <a:cubicBezTo>
                  <a:pt x="1672" y="173"/>
                  <a:pt x="1671" y="173"/>
                  <a:pt x="1672" y="173"/>
                </a:cubicBezTo>
                <a:cubicBezTo>
                  <a:pt x="1673" y="173"/>
                  <a:pt x="1673" y="171"/>
                  <a:pt x="1673" y="170"/>
                </a:cubicBezTo>
                <a:cubicBezTo>
                  <a:pt x="1674" y="169"/>
                  <a:pt x="1675" y="169"/>
                  <a:pt x="1674" y="168"/>
                </a:cubicBezTo>
                <a:cubicBezTo>
                  <a:pt x="1674" y="167"/>
                  <a:pt x="1673" y="168"/>
                  <a:pt x="1673" y="167"/>
                </a:cubicBezTo>
                <a:cubicBezTo>
                  <a:pt x="1672" y="167"/>
                  <a:pt x="1671" y="165"/>
                  <a:pt x="1673" y="165"/>
                </a:cubicBezTo>
                <a:cubicBezTo>
                  <a:pt x="1673" y="164"/>
                  <a:pt x="1673" y="164"/>
                  <a:pt x="1673" y="163"/>
                </a:cubicBezTo>
                <a:cubicBezTo>
                  <a:pt x="1673" y="162"/>
                  <a:pt x="1674" y="162"/>
                  <a:pt x="1674" y="162"/>
                </a:cubicBezTo>
                <a:cubicBezTo>
                  <a:pt x="1675" y="162"/>
                  <a:pt x="1675" y="162"/>
                  <a:pt x="1676" y="162"/>
                </a:cubicBezTo>
                <a:cubicBezTo>
                  <a:pt x="1676" y="162"/>
                  <a:pt x="1676" y="161"/>
                  <a:pt x="1676" y="161"/>
                </a:cubicBezTo>
                <a:cubicBezTo>
                  <a:pt x="1676" y="162"/>
                  <a:pt x="1675" y="163"/>
                  <a:pt x="1675" y="164"/>
                </a:cubicBezTo>
                <a:cubicBezTo>
                  <a:pt x="1676" y="164"/>
                  <a:pt x="1676" y="164"/>
                  <a:pt x="1676" y="164"/>
                </a:cubicBezTo>
                <a:cubicBezTo>
                  <a:pt x="1676" y="165"/>
                  <a:pt x="1676" y="166"/>
                  <a:pt x="1676" y="166"/>
                </a:cubicBezTo>
                <a:cubicBezTo>
                  <a:pt x="1675" y="167"/>
                  <a:pt x="1675" y="167"/>
                  <a:pt x="1675" y="167"/>
                </a:cubicBezTo>
                <a:cubicBezTo>
                  <a:pt x="1675" y="169"/>
                  <a:pt x="1676" y="168"/>
                  <a:pt x="1677" y="169"/>
                </a:cubicBezTo>
                <a:cubicBezTo>
                  <a:pt x="1678" y="169"/>
                  <a:pt x="1678" y="169"/>
                  <a:pt x="1678" y="170"/>
                </a:cubicBezTo>
                <a:cubicBezTo>
                  <a:pt x="1679" y="170"/>
                  <a:pt x="1680" y="170"/>
                  <a:pt x="1681" y="169"/>
                </a:cubicBezTo>
                <a:cubicBezTo>
                  <a:pt x="1681" y="169"/>
                  <a:pt x="1682" y="169"/>
                  <a:pt x="1682" y="169"/>
                </a:cubicBezTo>
                <a:cubicBezTo>
                  <a:pt x="1683" y="169"/>
                  <a:pt x="1683" y="168"/>
                  <a:pt x="1684" y="167"/>
                </a:cubicBezTo>
                <a:cubicBezTo>
                  <a:pt x="1685" y="167"/>
                  <a:pt x="1684" y="168"/>
                  <a:pt x="1685" y="168"/>
                </a:cubicBezTo>
                <a:cubicBezTo>
                  <a:pt x="1686" y="168"/>
                  <a:pt x="1687" y="168"/>
                  <a:pt x="1688" y="168"/>
                </a:cubicBezTo>
                <a:cubicBezTo>
                  <a:pt x="1688" y="168"/>
                  <a:pt x="1690" y="170"/>
                  <a:pt x="1690" y="171"/>
                </a:cubicBezTo>
                <a:cubicBezTo>
                  <a:pt x="1690" y="171"/>
                  <a:pt x="1691" y="171"/>
                  <a:pt x="1691" y="172"/>
                </a:cubicBezTo>
                <a:cubicBezTo>
                  <a:pt x="1691" y="172"/>
                  <a:pt x="1690" y="173"/>
                  <a:pt x="1690" y="173"/>
                </a:cubicBezTo>
                <a:cubicBezTo>
                  <a:pt x="1691" y="174"/>
                  <a:pt x="1693" y="176"/>
                  <a:pt x="1694" y="175"/>
                </a:cubicBezTo>
                <a:cubicBezTo>
                  <a:pt x="1696" y="174"/>
                  <a:pt x="1696" y="176"/>
                  <a:pt x="1697" y="176"/>
                </a:cubicBezTo>
                <a:cubicBezTo>
                  <a:pt x="1698" y="176"/>
                  <a:pt x="1699" y="177"/>
                  <a:pt x="1700" y="178"/>
                </a:cubicBezTo>
                <a:cubicBezTo>
                  <a:pt x="1700" y="179"/>
                  <a:pt x="1701" y="179"/>
                  <a:pt x="1702" y="178"/>
                </a:cubicBezTo>
                <a:cubicBezTo>
                  <a:pt x="1702" y="178"/>
                  <a:pt x="1703" y="177"/>
                  <a:pt x="1704" y="177"/>
                </a:cubicBezTo>
                <a:cubicBezTo>
                  <a:pt x="1704" y="178"/>
                  <a:pt x="1704" y="179"/>
                  <a:pt x="1706" y="179"/>
                </a:cubicBezTo>
                <a:cubicBezTo>
                  <a:pt x="1706" y="179"/>
                  <a:pt x="1706" y="179"/>
                  <a:pt x="1706" y="179"/>
                </a:cubicBezTo>
                <a:close/>
                <a:moveTo>
                  <a:pt x="933" y="65"/>
                </a:moveTo>
                <a:cubicBezTo>
                  <a:pt x="933" y="65"/>
                  <a:pt x="933" y="65"/>
                  <a:pt x="933" y="65"/>
                </a:cubicBezTo>
                <a:cubicBezTo>
                  <a:pt x="933" y="64"/>
                  <a:pt x="933" y="65"/>
                  <a:pt x="933" y="64"/>
                </a:cubicBezTo>
                <a:cubicBezTo>
                  <a:pt x="932" y="64"/>
                  <a:pt x="931" y="65"/>
                  <a:pt x="930" y="65"/>
                </a:cubicBezTo>
                <a:cubicBezTo>
                  <a:pt x="930" y="65"/>
                  <a:pt x="930" y="64"/>
                  <a:pt x="929" y="64"/>
                </a:cubicBezTo>
                <a:cubicBezTo>
                  <a:pt x="929" y="64"/>
                  <a:pt x="929" y="64"/>
                  <a:pt x="929" y="64"/>
                </a:cubicBezTo>
                <a:cubicBezTo>
                  <a:pt x="928" y="64"/>
                  <a:pt x="928" y="63"/>
                  <a:pt x="928" y="63"/>
                </a:cubicBezTo>
                <a:cubicBezTo>
                  <a:pt x="927" y="63"/>
                  <a:pt x="927" y="63"/>
                  <a:pt x="926" y="63"/>
                </a:cubicBezTo>
                <a:cubicBezTo>
                  <a:pt x="925" y="63"/>
                  <a:pt x="926" y="61"/>
                  <a:pt x="925" y="61"/>
                </a:cubicBezTo>
                <a:cubicBezTo>
                  <a:pt x="924" y="61"/>
                  <a:pt x="923" y="61"/>
                  <a:pt x="923" y="62"/>
                </a:cubicBezTo>
                <a:cubicBezTo>
                  <a:pt x="921" y="62"/>
                  <a:pt x="919" y="61"/>
                  <a:pt x="918" y="61"/>
                </a:cubicBezTo>
                <a:cubicBezTo>
                  <a:pt x="917" y="62"/>
                  <a:pt x="916" y="62"/>
                  <a:pt x="916" y="63"/>
                </a:cubicBezTo>
                <a:cubicBezTo>
                  <a:pt x="916" y="64"/>
                  <a:pt x="916" y="64"/>
                  <a:pt x="917" y="65"/>
                </a:cubicBezTo>
                <a:cubicBezTo>
                  <a:pt x="917" y="66"/>
                  <a:pt x="916" y="67"/>
                  <a:pt x="916" y="68"/>
                </a:cubicBezTo>
                <a:cubicBezTo>
                  <a:pt x="918" y="68"/>
                  <a:pt x="920" y="67"/>
                  <a:pt x="922" y="67"/>
                </a:cubicBezTo>
                <a:cubicBezTo>
                  <a:pt x="922" y="67"/>
                  <a:pt x="922" y="68"/>
                  <a:pt x="922" y="69"/>
                </a:cubicBezTo>
                <a:cubicBezTo>
                  <a:pt x="922" y="68"/>
                  <a:pt x="922" y="68"/>
                  <a:pt x="923" y="68"/>
                </a:cubicBezTo>
                <a:cubicBezTo>
                  <a:pt x="924" y="68"/>
                  <a:pt x="923" y="69"/>
                  <a:pt x="923" y="69"/>
                </a:cubicBezTo>
                <a:cubicBezTo>
                  <a:pt x="924" y="69"/>
                  <a:pt x="924" y="68"/>
                  <a:pt x="924" y="68"/>
                </a:cubicBezTo>
                <a:cubicBezTo>
                  <a:pt x="925" y="68"/>
                  <a:pt x="925" y="68"/>
                  <a:pt x="925" y="68"/>
                </a:cubicBezTo>
                <a:cubicBezTo>
                  <a:pt x="925" y="68"/>
                  <a:pt x="927" y="68"/>
                  <a:pt x="927" y="68"/>
                </a:cubicBezTo>
                <a:cubicBezTo>
                  <a:pt x="927" y="68"/>
                  <a:pt x="929" y="67"/>
                  <a:pt x="928" y="67"/>
                </a:cubicBezTo>
                <a:cubicBezTo>
                  <a:pt x="929" y="67"/>
                  <a:pt x="930" y="67"/>
                  <a:pt x="931" y="67"/>
                </a:cubicBezTo>
                <a:cubicBezTo>
                  <a:pt x="932" y="67"/>
                  <a:pt x="933" y="67"/>
                  <a:pt x="933" y="65"/>
                </a:cubicBezTo>
                <a:close/>
                <a:moveTo>
                  <a:pt x="473" y="61"/>
                </a:moveTo>
                <a:cubicBezTo>
                  <a:pt x="473" y="62"/>
                  <a:pt x="473" y="62"/>
                  <a:pt x="474" y="62"/>
                </a:cubicBezTo>
                <a:cubicBezTo>
                  <a:pt x="475" y="62"/>
                  <a:pt x="476" y="62"/>
                  <a:pt x="476" y="61"/>
                </a:cubicBezTo>
                <a:cubicBezTo>
                  <a:pt x="476" y="61"/>
                  <a:pt x="473" y="61"/>
                  <a:pt x="473" y="61"/>
                </a:cubicBezTo>
                <a:cubicBezTo>
                  <a:pt x="473" y="62"/>
                  <a:pt x="473" y="61"/>
                  <a:pt x="473" y="61"/>
                </a:cubicBezTo>
                <a:close/>
                <a:moveTo>
                  <a:pt x="370" y="58"/>
                </a:moveTo>
                <a:cubicBezTo>
                  <a:pt x="370" y="59"/>
                  <a:pt x="369" y="59"/>
                  <a:pt x="368" y="59"/>
                </a:cubicBezTo>
                <a:cubicBezTo>
                  <a:pt x="368" y="59"/>
                  <a:pt x="368" y="59"/>
                  <a:pt x="368" y="59"/>
                </a:cubicBezTo>
                <a:cubicBezTo>
                  <a:pt x="368" y="59"/>
                  <a:pt x="367" y="60"/>
                  <a:pt x="366" y="60"/>
                </a:cubicBezTo>
                <a:cubicBezTo>
                  <a:pt x="366" y="60"/>
                  <a:pt x="367" y="60"/>
                  <a:pt x="366" y="60"/>
                </a:cubicBezTo>
                <a:cubicBezTo>
                  <a:pt x="366" y="60"/>
                  <a:pt x="365" y="60"/>
                  <a:pt x="364" y="60"/>
                </a:cubicBezTo>
                <a:cubicBezTo>
                  <a:pt x="364" y="60"/>
                  <a:pt x="363" y="60"/>
                  <a:pt x="362" y="60"/>
                </a:cubicBezTo>
                <a:cubicBezTo>
                  <a:pt x="362" y="60"/>
                  <a:pt x="361" y="61"/>
                  <a:pt x="360" y="61"/>
                </a:cubicBezTo>
                <a:cubicBezTo>
                  <a:pt x="361" y="62"/>
                  <a:pt x="362" y="61"/>
                  <a:pt x="364" y="61"/>
                </a:cubicBezTo>
                <a:cubicBezTo>
                  <a:pt x="364" y="62"/>
                  <a:pt x="366" y="62"/>
                  <a:pt x="366" y="62"/>
                </a:cubicBezTo>
                <a:cubicBezTo>
                  <a:pt x="367" y="62"/>
                  <a:pt x="366" y="62"/>
                  <a:pt x="367" y="62"/>
                </a:cubicBezTo>
                <a:cubicBezTo>
                  <a:pt x="367" y="62"/>
                  <a:pt x="368" y="62"/>
                  <a:pt x="368" y="62"/>
                </a:cubicBezTo>
                <a:cubicBezTo>
                  <a:pt x="369" y="62"/>
                  <a:pt x="369" y="63"/>
                  <a:pt x="370" y="63"/>
                </a:cubicBezTo>
                <a:cubicBezTo>
                  <a:pt x="370" y="62"/>
                  <a:pt x="371" y="63"/>
                  <a:pt x="371" y="62"/>
                </a:cubicBezTo>
                <a:cubicBezTo>
                  <a:pt x="372" y="62"/>
                  <a:pt x="372" y="63"/>
                  <a:pt x="373" y="63"/>
                </a:cubicBezTo>
                <a:cubicBezTo>
                  <a:pt x="373" y="63"/>
                  <a:pt x="374" y="63"/>
                  <a:pt x="374" y="63"/>
                </a:cubicBezTo>
                <a:cubicBezTo>
                  <a:pt x="374" y="62"/>
                  <a:pt x="375" y="62"/>
                  <a:pt x="375" y="62"/>
                </a:cubicBezTo>
                <a:cubicBezTo>
                  <a:pt x="375" y="61"/>
                  <a:pt x="376" y="61"/>
                  <a:pt x="377" y="61"/>
                </a:cubicBezTo>
                <a:cubicBezTo>
                  <a:pt x="377" y="61"/>
                  <a:pt x="377" y="60"/>
                  <a:pt x="377" y="59"/>
                </a:cubicBezTo>
                <a:cubicBezTo>
                  <a:pt x="377" y="59"/>
                  <a:pt x="375" y="59"/>
                  <a:pt x="375" y="58"/>
                </a:cubicBezTo>
                <a:cubicBezTo>
                  <a:pt x="374" y="58"/>
                  <a:pt x="374" y="59"/>
                  <a:pt x="373" y="59"/>
                </a:cubicBezTo>
                <a:cubicBezTo>
                  <a:pt x="372" y="59"/>
                  <a:pt x="371" y="58"/>
                  <a:pt x="370" y="58"/>
                </a:cubicBezTo>
                <a:cubicBezTo>
                  <a:pt x="370" y="58"/>
                  <a:pt x="370" y="58"/>
                  <a:pt x="370" y="58"/>
                </a:cubicBezTo>
                <a:close/>
                <a:moveTo>
                  <a:pt x="333" y="58"/>
                </a:moveTo>
                <a:cubicBezTo>
                  <a:pt x="333" y="58"/>
                  <a:pt x="333" y="58"/>
                  <a:pt x="333" y="59"/>
                </a:cubicBezTo>
                <a:cubicBezTo>
                  <a:pt x="334" y="58"/>
                  <a:pt x="334" y="60"/>
                  <a:pt x="334" y="60"/>
                </a:cubicBezTo>
                <a:cubicBezTo>
                  <a:pt x="335" y="60"/>
                  <a:pt x="336" y="60"/>
                  <a:pt x="337" y="60"/>
                </a:cubicBezTo>
                <a:cubicBezTo>
                  <a:pt x="337" y="59"/>
                  <a:pt x="337" y="58"/>
                  <a:pt x="336" y="58"/>
                </a:cubicBezTo>
                <a:cubicBezTo>
                  <a:pt x="335" y="58"/>
                  <a:pt x="336" y="58"/>
                  <a:pt x="335" y="58"/>
                </a:cubicBezTo>
                <a:cubicBezTo>
                  <a:pt x="335" y="57"/>
                  <a:pt x="334" y="57"/>
                  <a:pt x="333" y="58"/>
                </a:cubicBezTo>
                <a:cubicBezTo>
                  <a:pt x="333" y="58"/>
                  <a:pt x="333" y="58"/>
                  <a:pt x="333" y="58"/>
                </a:cubicBezTo>
                <a:close/>
                <a:moveTo>
                  <a:pt x="317" y="58"/>
                </a:moveTo>
                <a:cubicBezTo>
                  <a:pt x="317" y="58"/>
                  <a:pt x="317" y="60"/>
                  <a:pt x="318" y="60"/>
                </a:cubicBezTo>
                <a:cubicBezTo>
                  <a:pt x="319" y="61"/>
                  <a:pt x="318" y="61"/>
                  <a:pt x="319" y="62"/>
                </a:cubicBezTo>
                <a:cubicBezTo>
                  <a:pt x="319" y="62"/>
                  <a:pt x="319" y="62"/>
                  <a:pt x="319" y="63"/>
                </a:cubicBezTo>
                <a:cubicBezTo>
                  <a:pt x="319" y="63"/>
                  <a:pt x="320" y="62"/>
                  <a:pt x="320" y="62"/>
                </a:cubicBezTo>
                <a:cubicBezTo>
                  <a:pt x="320" y="62"/>
                  <a:pt x="320" y="61"/>
                  <a:pt x="320" y="60"/>
                </a:cubicBezTo>
                <a:cubicBezTo>
                  <a:pt x="320" y="59"/>
                  <a:pt x="319" y="58"/>
                  <a:pt x="319" y="57"/>
                </a:cubicBezTo>
                <a:cubicBezTo>
                  <a:pt x="318" y="57"/>
                  <a:pt x="318" y="57"/>
                  <a:pt x="317" y="58"/>
                </a:cubicBezTo>
                <a:cubicBezTo>
                  <a:pt x="317" y="59"/>
                  <a:pt x="317" y="58"/>
                  <a:pt x="317" y="58"/>
                </a:cubicBezTo>
                <a:close/>
                <a:moveTo>
                  <a:pt x="387" y="57"/>
                </a:moveTo>
                <a:cubicBezTo>
                  <a:pt x="387" y="58"/>
                  <a:pt x="386" y="59"/>
                  <a:pt x="385" y="60"/>
                </a:cubicBezTo>
                <a:cubicBezTo>
                  <a:pt x="386" y="60"/>
                  <a:pt x="386" y="62"/>
                  <a:pt x="386" y="63"/>
                </a:cubicBezTo>
                <a:cubicBezTo>
                  <a:pt x="386" y="63"/>
                  <a:pt x="387" y="63"/>
                  <a:pt x="387" y="63"/>
                </a:cubicBezTo>
                <a:cubicBezTo>
                  <a:pt x="387" y="62"/>
                  <a:pt x="387" y="62"/>
                  <a:pt x="388" y="62"/>
                </a:cubicBezTo>
                <a:cubicBezTo>
                  <a:pt x="389" y="62"/>
                  <a:pt x="389" y="62"/>
                  <a:pt x="389" y="61"/>
                </a:cubicBezTo>
                <a:cubicBezTo>
                  <a:pt x="389" y="61"/>
                  <a:pt x="389" y="59"/>
                  <a:pt x="390" y="60"/>
                </a:cubicBezTo>
                <a:cubicBezTo>
                  <a:pt x="390" y="59"/>
                  <a:pt x="390" y="59"/>
                  <a:pt x="390" y="58"/>
                </a:cubicBezTo>
                <a:cubicBezTo>
                  <a:pt x="390" y="58"/>
                  <a:pt x="389" y="57"/>
                  <a:pt x="389" y="58"/>
                </a:cubicBezTo>
                <a:cubicBezTo>
                  <a:pt x="389" y="57"/>
                  <a:pt x="388" y="58"/>
                  <a:pt x="388" y="58"/>
                </a:cubicBezTo>
                <a:cubicBezTo>
                  <a:pt x="388" y="57"/>
                  <a:pt x="388" y="57"/>
                  <a:pt x="388" y="57"/>
                </a:cubicBezTo>
                <a:cubicBezTo>
                  <a:pt x="388" y="57"/>
                  <a:pt x="387" y="57"/>
                  <a:pt x="387" y="57"/>
                </a:cubicBezTo>
                <a:cubicBezTo>
                  <a:pt x="387" y="58"/>
                  <a:pt x="387" y="57"/>
                  <a:pt x="387" y="57"/>
                </a:cubicBezTo>
                <a:close/>
                <a:moveTo>
                  <a:pt x="918" y="61"/>
                </a:moveTo>
                <a:cubicBezTo>
                  <a:pt x="920" y="61"/>
                  <a:pt x="920" y="61"/>
                  <a:pt x="920" y="60"/>
                </a:cubicBezTo>
                <a:cubicBezTo>
                  <a:pt x="920" y="58"/>
                  <a:pt x="922" y="59"/>
                  <a:pt x="921" y="58"/>
                </a:cubicBezTo>
                <a:cubicBezTo>
                  <a:pt x="920" y="57"/>
                  <a:pt x="920" y="56"/>
                  <a:pt x="919" y="56"/>
                </a:cubicBezTo>
                <a:cubicBezTo>
                  <a:pt x="918" y="56"/>
                  <a:pt x="917" y="56"/>
                  <a:pt x="916" y="56"/>
                </a:cubicBezTo>
                <a:cubicBezTo>
                  <a:pt x="915" y="56"/>
                  <a:pt x="915" y="56"/>
                  <a:pt x="914" y="56"/>
                </a:cubicBezTo>
                <a:cubicBezTo>
                  <a:pt x="914" y="56"/>
                  <a:pt x="914" y="57"/>
                  <a:pt x="913" y="57"/>
                </a:cubicBezTo>
                <a:cubicBezTo>
                  <a:pt x="913" y="57"/>
                  <a:pt x="913" y="57"/>
                  <a:pt x="912" y="57"/>
                </a:cubicBezTo>
                <a:cubicBezTo>
                  <a:pt x="911" y="57"/>
                  <a:pt x="911" y="57"/>
                  <a:pt x="911" y="58"/>
                </a:cubicBezTo>
                <a:cubicBezTo>
                  <a:pt x="912" y="58"/>
                  <a:pt x="913" y="59"/>
                  <a:pt x="914" y="59"/>
                </a:cubicBezTo>
                <a:cubicBezTo>
                  <a:pt x="914" y="59"/>
                  <a:pt x="914" y="60"/>
                  <a:pt x="914" y="60"/>
                </a:cubicBezTo>
                <a:cubicBezTo>
                  <a:pt x="914" y="61"/>
                  <a:pt x="914" y="60"/>
                  <a:pt x="915" y="61"/>
                </a:cubicBezTo>
                <a:cubicBezTo>
                  <a:pt x="915" y="61"/>
                  <a:pt x="915" y="61"/>
                  <a:pt x="915" y="61"/>
                </a:cubicBezTo>
                <a:cubicBezTo>
                  <a:pt x="915" y="61"/>
                  <a:pt x="915" y="61"/>
                  <a:pt x="916" y="61"/>
                </a:cubicBezTo>
                <a:cubicBezTo>
                  <a:pt x="916" y="61"/>
                  <a:pt x="918" y="60"/>
                  <a:pt x="918" y="61"/>
                </a:cubicBezTo>
                <a:close/>
                <a:moveTo>
                  <a:pt x="247" y="69"/>
                </a:moveTo>
                <a:cubicBezTo>
                  <a:pt x="248" y="69"/>
                  <a:pt x="246" y="71"/>
                  <a:pt x="247" y="69"/>
                </a:cubicBezTo>
                <a:close/>
                <a:moveTo>
                  <a:pt x="228" y="72"/>
                </a:moveTo>
                <a:cubicBezTo>
                  <a:pt x="228" y="72"/>
                  <a:pt x="229" y="72"/>
                  <a:pt x="230" y="72"/>
                </a:cubicBezTo>
                <a:cubicBezTo>
                  <a:pt x="230" y="72"/>
                  <a:pt x="231" y="74"/>
                  <a:pt x="231" y="74"/>
                </a:cubicBezTo>
                <a:cubicBezTo>
                  <a:pt x="231" y="75"/>
                  <a:pt x="231" y="74"/>
                  <a:pt x="231" y="74"/>
                </a:cubicBezTo>
                <a:cubicBezTo>
                  <a:pt x="232" y="75"/>
                  <a:pt x="232" y="75"/>
                  <a:pt x="232" y="76"/>
                </a:cubicBezTo>
                <a:cubicBezTo>
                  <a:pt x="233" y="77"/>
                  <a:pt x="234" y="76"/>
                  <a:pt x="235" y="75"/>
                </a:cubicBezTo>
                <a:cubicBezTo>
                  <a:pt x="235" y="75"/>
                  <a:pt x="234" y="75"/>
                  <a:pt x="235" y="75"/>
                </a:cubicBezTo>
                <a:cubicBezTo>
                  <a:pt x="236" y="75"/>
                  <a:pt x="236" y="75"/>
                  <a:pt x="237" y="75"/>
                </a:cubicBezTo>
                <a:cubicBezTo>
                  <a:pt x="237" y="75"/>
                  <a:pt x="237" y="75"/>
                  <a:pt x="237" y="76"/>
                </a:cubicBezTo>
                <a:cubicBezTo>
                  <a:pt x="238" y="76"/>
                  <a:pt x="240" y="76"/>
                  <a:pt x="240" y="75"/>
                </a:cubicBezTo>
                <a:cubicBezTo>
                  <a:pt x="240" y="75"/>
                  <a:pt x="240" y="74"/>
                  <a:pt x="240" y="74"/>
                </a:cubicBezTo>
                <a:cubicBezTo>
                  <a:pt x="241" y="74"/>
                  <a:pt x="241" y="75"/>
                  <a:pt x="241" y="75"/>
                </a:cubicBezTo>
                <a:cubicBezTo>
                  <a:pt x="242" y="74"/>
                  <a:pt x="241" y="73"/>
                  <a:pt x="241" y="72"/>
                </a:cubicBezTo>
                <a:cubicBezTo>
                  <a:pt x="242" y="72"/>
                  <a:pt x="242" y="74"/>
                  <a:pt x="243" y="75"/>
                </a:cubicBezTo>
                <a:cubicBezTo>
                  <a:pt x="243" y="75"/>
                  <a:pt x="243" y="76"/>
                  <a:pt x="244" y="76"/>
                </a:cubicBezTo>
                <a:cubicBezTo>
                  <a:pt x="244" y="76"/>
                  <a:pt x="245" y="76"/>
                  <a:pt x="246" y="75"/>
                </a:cubicBezTo>
                <a:cubicBezTo>
                  <a:pt x="247" y="75"/>
                  <a:pt x="247" y="74"/>
                  <a:pt x="247" y="73"/>
                </a:cubicBezTo>
                <a:cubicBezTo>
                  <a:pt x="247" y="73"/>
                  <a:pt x="247" y="75"/>
                  <a:pt x="247" y="73"/>
                </a:cubicBezTo>
                <a:cubicBezTo>
                  <a:pt x="247" y="72"/>
                  <a:pt x="247" y="72"/>
                  <a:pt x="247" y="71"/>
                </a:cubicBezTo>
                <a:cubicBezTo>
                  <a:pt x="247" y="71"/>
                  <a:pt x="247" y="71"/>
                  <a:pt x="248" y="70"/>
                </a:cubicBezTo>
                <a:cubicBezTo>
                  <a:pt x="248" y="71"/>
                  <a:pt x="248" y="72"/>
                  <a:pt x="249" y="72"/>
                </a:cubicBezTo>
                <a:cubicBezTo>
                  <a:pt x="249" y="72"/>
                  <a:pt x="249" y="72"/>
                  <a:pt x="249" y="72"/>
                </a:cubicBezTo>
                <a:cubicBezTo>
                  <a:pt x="249" y="71"/>
                  <a:pt x="250" y="71"/>
                  <a:pt x="250" y="71"/>
                </a:cubicBezTo>
                <a:cubicBezTo>
                  <a:pt x="251" y="70"/>
                  <a:pt x="251" y="71"/>
                  <a:pt x="251" y="70"/>
                </a:cubicBezTo>
                <a:cubicBezTo>
                  <a:pt x="251" y="69"/>
                  <a:pt x="251" y="69"/>
                  <a:pt x="251" y="68"/>
                </a:cubicBezTo>
                <a:cubicBezTo>
                  <a:pt x="250" y="68"/>
                  <a:pt x="251" y="67"/>
                  <a:pt x="252" y="67"/>
                </a:cubicBezTo>
                <a:cubicBezTo>
                  <a:pt x="252" y="67"/>
                  <a:pt x="252" y="67"/>
                  <a:pt x="252" y="68"/>
                </a:cubicBezTo>
                <a:cubicBezTo>
                  <a:pt x="253" y="67"/>
                  <a:pt x="253" y="67"/>
                  <a:pt x="253" y="66"/>
                </a:cubicBezTo>
                <a:cubicBezTo>
                  <a:pt x="254" y="65"/>
                  <a:pt x="254" y="65"/>
                  <a:pt x="256" y="65"/>
                </a:cubicBezTo>
                <a:cubicBezTo>
                  <a:pt x="256" y="66"/>
                  <a:pt x="255" y="67"/>
                  <a:pt x="255" y="68"/>
                </a:cubicBezTo>
                <a:cubicBezTo>
                  <a:pt x="254" y="68"/>
                  <a:pt x="253" y="69"/>
                  <a:pt x="254" y="70"/>
                </a:cubicBezTo>
                <a:cubicBezTo>
                  <a:pt x="254" y="70"/>
                  <a:pt x="255" y="70"/>
                  <a:pt x="255" y="70"/>
                </a:cubicBezTo>
                <a:cubicBezTo>
                  <a:pt x="255" y="70"/>
                  <a:pt x="255" y="70"/>
                  <a:pt x="256" y="71"/>
                </a:cubicBezTo>
                <a:cubicBezTo>
                  <a:pt x="256" y="71"/>
                  <a:pt x="257" y="70"/>
                  <a:pt x="257" y="70"/>
                </a:cubicBezTo>
                <a:cubicBezTo>
                  <a:pt x="258" y="69"/>
                  <a:pt x="257" y="69"/>
                  <a:pt x="259" y="69"/>
                </a:cubicBezTo>
                <a:cubicBezTo>
                  <a:pt x="259" y="68"/>
                  <a:pt x="260" y="68"/>
                  <a:pt x="261" y="68"/>
                </a:cubicBezTo>
                <a:cubicBezTo>
                  <a:pt x="261" y="68"/>
                  <a:pt x="261" y="67"/>
                  <a:pt x="261" y="67"/>
                </a:cubicBezTo>
                <a:cubicBezTo>
                  <a:pt x="262" y="67"/>
                  <a:pt x="261" y="67"/>
                  <a:pt x="261" y="67"/>
                </a:cubicBezTo>
                <a:cubicBezTo>
                  <a:pt x="261" y="66"/>
                  <a:pt x="261" y="66"/>
                  <a:pt x="261" y="66"/>
                </a:cubicBezTo>
                <a:cubicBezTo>
                  <a:pt x="262" y="65"/>
                  <a:pt x="261" y="64"/>
                  <a:pt x="261" y="63"/>
                </a:cubicBezTo>
                <a:cubicBezTo>
                  <a:pt x="263" y="64"/>
                  <a:pt x="264" y="64"/>
                  <a:pt x="266" y="65"/>
                </a:cubicBezTo>
                <a:cubicBezTo>
                  <a:pt x="265" y="64"/>
                  <a:pt x="265" y="64"/>
                  <a:pt x="265" y="63"/>
                </a:cubicBezTo>
                <a:cubicBezTo>
                  <a:pt x="265" y="63"/>
                  <a:pt x="265" y="63"/>
                  <a:pt x="265" y="62"/>
                </a:cubicBezTo>
                <a:cubicBezTo>
                  <a:pt x="266" y="62"/>
                  <a:pt x="266" y="61"/>
                  <a:pt x="267" y="60"/>
                </a:cubicBezTo>
                <a:cubicBezTo>
                  <a:pt x="267" y="59"/>
                  <a:pt x="265" y="58"/>
                  <a:pt x="264" y="57"/>
                </a:cubicBezTo>
                <a:cubicBezTo>
                  <a:pt x="263" y="56"/>
                  <a:pt x="263" y="56"/>
                  <a:pt x="261" y="56"/>
                </a:cubicBezTo>
                <a:cubicBezTo>
                  <a:pt x="261" y="56"/>
                  <a:pt x="260" y="57"/>
                  <a:pt x="259" y="57"/>
                </a:cubicBezTo>
                <a:cubicBezTo>
                  <a:pt x="258" y="57"/>
                  <a:pt x="258" y="58"/>
                  <a:pt x="259" y="58"/>
                </a:cubicBezTo>
                <a:cubicBezTo>
                  <a:pt x="260" y="58"/>
                  <a:pt x="259" y="59"/>
                  <a:pt x="259" y="59"/>
                </a:cubicBezTo>
                <a:cubicBezTo>
                  <a:pt x="258" y="59"/>
                  <a:pt x="258" y="60"/>
                  <a:pt x="258" y="60"/>
                </a:cubicBezTo>
                <a:cubicBezTo>
                  <a:pt x="257" y="60"/>
                  <a:pt x="256" y="60"/>
                  <a:pt x="256" y="59"/>
                </a:cubicBezTo>
                <a:cubicBezTo>
                  <a:pt x="255" y="58"/>
                  <a:pt x="252" y="59"/>
                  <a:pt x="251" y="59"/>
                </a:cubicBezTo>
                <a:cubicBezTo>
                  <a:pt x="250" y="59"/>
                  <a:pt x="250" y="59"/>
                  <a:pt x="249" y="59"/>
                </a:cubicBezTo>
                <a:cubicBezTo>
                  <a:pt x="248" y="59"/>
                  <a:pt x="248" y="60"/>
                  <a:pt x="247" y="60"/>
                </a:cubicBezTo>
                <a:cubicBezTo>
                  <a:pt x="246" y="60"/>
                  <a:pt x="245" y="62"/>
                  <a:pt x="244" y="62"/>
                </a:cubicBezTo>
                <a:cubicBezTo>
                  <a:pt x="244" y="62"/>
                  <a:pt x="244" y="62"/>
                  <a:pt x="244" y="62"/>
                </a:cubicBezTo>
                <a:cubicBezTo>
                  <a:pt x="244" y="63"/>
                  <a:pt x="243" y="62"/>
                  <a:pt x="243" y="62"/>
                </a:cubicBezTo>
                <a:cubicBezTo>
                  <a:pt x="242" y="63"/>
                  <a:pt x="242" y="63"/>
                  <a:pt x="241" y="64"/>
                </a:cubicBezTo>
                <a:cubicBezTo>
                  <a:pt x="241" y="64"/>
                  <a:pt x="240" y="64"/>
                  <a:pt x="240" y="64"/>
                </a:cubicBezTo>
                <a:cubicBezTo>
                  <a:pt x="240" y="64"/>
                  <a:pt x="239" y="64"/>
                  <a:pt x="240" y="65"/>
                </a:cubicBezTo>
                <a:cubicBezTo>
                  <a:pt x="239" y="65"/>
                  <a:pt x="238" y="65"/>
                  <a:pt x="238" y="64"/>
                </a:cubicBezTo>
                <a:cubicBezTo>
                  <a:pt x="238" y="66"/>
                  <a:pt x="238" y="65"/>
                  <a:pt x="237" y="66"/>
                </a:cubicBezTo>
                <a:cubicBezTo>
                  <a:pt x="236" y="67"/>
                  <a:pt x="236" y="66"/>
                  <a:pt x="235" y="67"/>
                </a:cubicBezTo>
                <a:cubicBezTo>
                  <a:pt x="235" y="67"/>
                  <a:pt x="235" y="66"/>
                  <a:pt x="234" y="67"/>
                </a:cubicBezTo>
                <a:cubicBezTo>
                  <a:pt x="234" y="68"/>
                  <a:pt x="235" y="68"/>
                  <a:pt x="235" y="69"/>
                </a:cubicBezTo>
                <a:cubicBezTo>
                  <a:pt x="234" y="69"/>
                  <a:pt x="233" y="69"/>
                  <a:pt x="233" y="69"/>
                </a:cubicBezTo>
                <a:cubicBezTo>
                  <a:pt x="232" y="69"/>
                  <a:pt x="232" y="69"/>
                  <a:pt x="231" y="69"/>
                </a:cubicBezTo>
                <a:cubicBezTo>
                  <a:pt x="231" y="69"/>
                  <a:pt x="231" y="70"/>
                  <a:pt x="231" y="70"/>
                </a:cubicBezTo>
                <a:cubicBezTo>
                  <a:pt x="230" y="70"/>
                  <a:pt x="230" y="70"/>
                  <a:pt x="230" y="70"/>
                </a:cubicBezTo>
                <a:cubicBezTo>
                  <a:pt x="229" y="70"/>
                  <a:pt x="227" y="71"/>
                  <a:pt x="228" y="72"/>
                </a:cubicBezTo>
                <a:close/>
                <a:moveTo>
                  <a:pt x="287" y="56"/>
                </a:moveTo>
                <a:cubicBezTo>
                  <a:pt x="287" y="56"/>
                  <a:pt x="286" y="56"/>
                  <a:pt x="286" y="56"/>
                </a:cubicBezTo>
                <a:cubicBezTo>
                  <a:pt x="285" y="56"/>
                  <a:pt x="285" y="57"/>
                  <a:pt x="284" y="57"/>
                </a:cubicBezTo>
                <a:cubicBezTo>
                  <a:pt x="284" y="57"/>
                  <a:pt x="284" y="58"/>
                  <a:pt x="283" y="58"/>
                </a:cubicBezTo>
                <a:cubicBezTo>
                  <a:pt x="282" y="58"/>
                  <a:pt x="281" y="58"/>
                  <a:pt x="281" y="58"/>
                </a:cubicBezTo>
                <a:cubicBezTo>
                  <a:pt x="280" y="59"/>
                  <a:pt x="279" y="59"/>
                  <a:pt x="279" y="59"/>
                </a:cubicBezTo>
                <a:cubicBezTo>
                  <a:pt x="279" y="59"/>
                  <a:pt x="278" y="60"/>
                  <a:pt x="278" y="61"/>
                </a:cubicBezTo>
                <a:cubicBezTo>
                  <a:pt x="279" y="62"/>
                  <a:pt x="279" y="63"/>
                  <a:pt x="279" y="64"/>
                </a:cubicBezTo>
                <a:cubicBezTo>
                  <a:pt x="280" y="64"/>
                  <a:pt x="280" y="64"/>
                  <a:pt x="281" y="65"/>
                </a:cubicBezTo>
                <a:cubicBezTo>
                  <a:pt x="282" y="65"/>
                  <a:pt x="279" y="65"/>
                  <a:pt x="282" y="65"/>
                </a:cubicBezTo>
                <a:cubicBezTo>
                  <a:pt x="282" y="65"/>
                  <a:pt x="283" y="65"/>
                  <a:pt x="283" y="66"/>
                </a:cubicBezTo>
                <a:cubicBezTo>
                  <a:pt x="283" y="66"/>
                  <a:pt x="284" y="65"/>
                  <a:pt x="284" y="66"/>
                </a:cubicBezTo>
                <a:cubicBezTo>
                  <a:pt x="285" y="66"/>
                  <a:pt x="285" y="66"/>
                  <a:pt x="286" y="66"/>
                </a:cubicBezTo>
                <a:cubicBezTo>
                  <a:pt x="286" y="65"/>
                  <a:pt x="287" y="65"/>
                  <a:pt x="287" y="65"/>
                </a:cubicBezTo>
                <a:cubicBezTo>
                  <a:pt x="288" y="65"/>
                  <a:pt x="288" y="64"/>
                  <a:pt x="288" y="64"/>
                </a:cubicBezTo>
                <a:cubicBezTo>
                  <a:pt x="289" y="64"/>
                  <a:pt x="290" y="64"/>
                  <a:pt x="291" y="64"/>
                </a:cubicBezTo>
                <a:cubicBezTo>
                  <a:pt x="291" y="64"/>
                  <a:pt x="291" y="64"/>
                  <a:pt x="292" y="63"/>
                </a:cubicBezTo>
                <a:cubicBezTo>
                  <a:pt x="294" y="61"/>
                  <a:pt x="292" y="61"/>
                  <a:pt x="291" y="59"/>
                </a:cubicBezTo>
                <a:cubicBezTo>
                  <a:pt x="292" y="59"/>
                  <a:pt x="294" y="59"/>
                  <a:pt x="295" y="58"/>
                </a:cubicBezTo>
                <a:cubicBezTo>
                  <a:pt x="295" y="57"/>
                  <a:pt x="296" y="57"/>
                  <a:pt x="296" y="55"/>
                </a:cubicBezTo>
                <a:cubicBezTo>
                  <a:pt x="295" y="55"/>
                  <a:pt x="295" y="55"/>
                  <a:pt x="294" y="55"/>
                </a:cubicBezTo>
                <a:cubicBezTo>
                  <a:pt x="293" y="55"/>
                  <a:pt x="293" y="55"/>
                  <a:pt x="293" y="55"/>
                </a:cubicBezTo>
                <a:cubicBezTo>
                  <a:pt x="292" y="54"/>
                  <a:pt x="292" y="55"/>
                  <a:pt x="291" y="55"/>
                </a:cubicBezTo>
                <a:cubicBezTo>
                  <a:pt x="291" y="55"/>
                  <a:pt x="291" y="55"/>
                  <a:pt x="290" y="56"/>
                </a:cubicBezTo>
                <a:cubicBezTo>
                  <a:pt x="290" y="56"/>
                  <a:pt x="289" y="56"/>
                  <a:pt x="288" y="55"/>
                </a:cubicBezTo>
                <a:cubicBezTo>
                  <a:pt x="288" y="56"/>
                  <a:pt x="287" y="55"/>
                  <a:pt x="287" y="56"/>
                </a:cubicBezTo>
                <a:cubicBezTo>
                  <a:pt x="286" y="56"/>
                  <a:pt x="287" y="56"/>
                  <a:pt x="287" y="56"/>
                </a:cubicBezTo>
                <a:close/>
                <a:moveTo>
                  <a:pt x="271" y="59"/>
                </a:moveTo>
                <a:cubicBezTo>
                  <a:pt x="271" y="59"/>
                  <a:pt x="273" y="59"/>
                  <a:pt x="273" y="59"/>
                </a:cubicBezTo>
                <a:cubicBezTo>
                  <a:pt x="273" y="58"/>
                  <a:pt x="273" y="58"/>
                  <a:pt x="273" y="58"/>
                </a:cubicBezTo>
                <a:cubicBezTo>
                  <a:pt x="273" y="58"/>
                  <a:pt x="274" y="58"/>
                  <a:pt x="274" y="57"/>
                </a:cubicBezTo>
                <a:cubicBezTo>
                  <a:pt x="275" y="56"/>
                  <a:pt x="273" y="56"/>
                  <a:pt x="273" y="55"/>
                </a:cubicBezTo>
                <a:cubicBezTo>
                  <a:pt x="272" y="54"/>
                  <a:pt x="272" y="54"/>
                  <a:pt x="271" y="54"/>
                </a:cubicBezTo>
                <a:cubicBezTo>
                  <a:pt x="271" y="54"/>
                  <a:pt x="271" y="54"/>
                  <a:pt x="270" y="54"/>
                </a:cubicBezTo>
                <a:cubicBezTo>
                  <a:pt x="269" y="54"/>
                  <a:pt x="268" y="55"/>
                  <a:pt x="268" y="56"/>
                </a:cubicBezTo>
                <a:cubicBezTo>
                  <a:pt x="268" y="57"/>
                  <a:pt x="269" y="57"/>
                  <a:pt x="269" y="58"/>
                </a:cubicBezTo>
                <a:cubicBezTo>
                  <a:pt x="270" y="59"/>
                  <a:pt x="270" y="59"/>
                  <a:pt x="271" y="59"/>
                </a:cubicBezTo>
                <a:close/>
                <a:moveTo>
                  <a:pt x="946" y="53"/>
                </a:moveTo>
                <a:cubicBezTo>
                  <a:pt x="946" y="55"/>
                  <a:pt x="948" y="55"/>
                  <a:pt x="949" y="55"/>
                </a:cubicBezTo>
                <a:cubicBezTo>
                  <a:pt x="948" y="54"/>
                  <a:pt x="948" y="54"/>
                  <a:pt x="948" y="53"/>
                </a:cubicBezTo>
                <a:cubicBezTo>
                  <a:pt x="947" y="53"/>
                  <a:pt x="947" y="53"/>
                  <a:pt x="946" y="53"/>
                </a:cubicBezTo>
                <a:close/>
                <a:moveTo>
                  <a:pt x="958" y="52"/>
                </a:moveTo>
                <a:cubicBezTo>
                  <a:pt x="958" y="52"/>
                  <a:pt x="958" y="52"/>
                  <a:pt x="958" y="52"/>
                </a:cubicBezTo>
                <a:cubicBezTo>
                  <a:pt x="959" y="52"/>
                  <a:pt x="961" y="52"/>
                  <a:pt x="961" y="52"/>
                </a:cubicBezTo>
                <a:cubicBezTo>
                  <a:pt x="961" y="51"/>
                  <a:pt x="961" y="51"/>
                  <a:pt x="960" y="51"/>
                </a:cubicBezTo>
                <a:cubicBezTo>
                  <a:pt x="960" y="51"/>
                  <a:pt x="959" y="51"/>
                  <a:pt x="959" y="51"/>
                </a:cubicBezTo>
                <a:cubicBezTo>
                  <a:pt x="959" y="51"/>
                  <a:pt x="958" y="50"/>
                  <a:pt x="958" y="50"/>
                </a:cubicBezTo>
                <a:cubicBezTo>
                  <a:pt x="956" y="50"/>
                  <a:pt x="956" y="50"/>
                  <a:pt x="954" y="51"/>
                </a:cubicBezTo>
                <a:cubicBezTo>
                  <a:pt x="954" y="51"/>
                  <a:pt x="954" y="51"/>
                  <a:pt x="954" y="52"/>
                </a:cubicBezTo>
                <a:cubicBezTo>
                  <a:pt x="955" y="52"/>
                  <a:pt x="956" y="51"/>
                  <a:pt x="958" y="52"/>
                </a:cubicBezTo>
                <a:close/>
                <a:moveTo>
                  <a:pt x="277" y="54"/>
                </a:moveTo>
                <a:cubicBezTo>
                  <a:pt x="278" y="54"/>
                  <a:pt x="279" y="54"/>
                  <a:pt x="279" y="53"/>
                </a:cubicBezTo>
                <a:cubicBezTo>
                  <a:pt x="280" y="53"/>
                  <a:pt x="280" y="54"/>
                  <a:pt x="281" y="53"/>
                </a:cubicBezTo>
                <a:cubicBezTo>
                  <a:pt x="281" y="53"/>
                  <a:pt x="280" y="53"/>
                  <a:pt x="281" y="53"/>
                </a:cubicBezTo>
                <a:cubicBezTo>
                  <a:pt x="281" y="53"/>
                  <a:pt x="281" y="53"/>
                  <a:pt x="281" y="53"/>
                </a:cubicBezTo>
                <a:cubicBezTo>
                  <a:pt x="282" y="53"/>
                  <a:pt x="282" y="53"/>
                  <a:pt x="283" y="53"/>
                </a:cubicBezTo>
                <a:cubicBezTo>
                  <a:pt x="283" y="53"/>
                  <a:pt x="283" y="54"/>
                  <a:pt x="283" y="54"/>
                </a:cubicBezTo>
                <a:cubicBezTo>
                  <a:pt x="284" y="54"/>
                  <a:pt x="285" y="55"/>
                  <a:pt x="286" y="55"/>
                </a:cubicBezTo>
                <a:cubicBezTo>
                  <a:pt x="286" y="54"/>
                  <a:pt x="287" y="53"/>
                  <a:pt x="287" y="53"/>
                </a:cubicBezTo>
                <a:cubicBezTo>
                  <a:pt x="287" y="52"/>
                  <a:pt x="287" y="52"/>
                  <a:pt x="287" y="51"/>
                </a:cubicBezTo>
                <a:cubicBezTo>
                  <a:pt x="287" y="51"/>
                  <a:pt x="286" y="51"/>
                  <a:pt x="285" y="51"/>
                </a:cubicBezTo>
                <a:cubicBezTo>
                  <a:pt x="284" y="51"/>
                  <a:pt x="283" y="50"/>
                  <a:pt x="282" y="50"/>
                </a:cubicBezTo>
                <a:cubicBezTo>
                  <a:pt x="281" y="51"/>
                  <a:pt x="281" y="51"/>
                  <a:pt x="280" y="51"/>
                </a:cubicBezTo>
                <a:cubicBezTo>
                  <a:pt x="279" y="51"/>
                  <a:pt x="279" y="51"/>
                  <a:pt x="278" y="51"/>
                </a:cubicBezTo>
                <a:cubicBezTo>
                  <a:pt x="278" y="51"/>
                  <a:pt x="277" y="52"/>
                  <a:pt x="277" y="52"/>
                </a:cubicBezTo>
                <a:cubicBezTo>
                  <a:pt x="276" y="53"/>
                  <a:pt x="277" y="53"/>
                  <a:pt x="277" y="54"/>
                </a:cubicBezTo>
                <a:cubicBezTo>
                  <a:pt x="278" y="54"/>
                  <a:pt x="277" y="54"/>
                  <a:pt x="277" y="54"/>
                </a:cubicBezTo>
                <a:close/>
                <a:moveTo>
                  <a:pt x="873" y="52"/>
                </a:moveTo>
                <a:cubicBezTo>
                  <a:pt x="873" y="52"/>
                  <a:pt x="873" y="53"/>
                  <a:pt x="873" y="53"/>
                </a:cubicBezTo>
                <a:cubicBezTo>
                  <a:pt x="874" y="53"/>
                  <a:pt x="874" y="54"/>
                  <a:pt x="874" y="54"/>
                </a:cubicBezTo>
                <a:cubicBezTo>
                  <a:pt x="874" y="54"/>
                  <a:pt x="875" y="54"/>
                  <a:pt x="875" y="54"/>
                </a:cubicBezTo>
                <a:cubicBezTo>
                  <a:pt x="875" y="54"/>
                  <a:pt x="875" y="55"/>
                  <a:pt x="876" y="54"/>
                </a:cubicBezTo>
                <a:cubicBezTo>
                  <a:pt x="876" y="54"/>
                  <a:pt x="874" y="51"/>
                  <a:pt x="874" y="51"/>
                </a:cubicBezTo>
                <a:cubicBezTo>
                  <a:pt x="872" y="51"/>
                  <a:pt x="874" y="48"/>
                  <a:pt x="872" y="48"/>
                </a:cubicBezTo>
                <a:cubicBezTo>
                  <a:pt x="872" y="50"/>
                  <a:pt x="872" y="51"/>
                  <a:pt x="873" y="52"/>
                </a:cubicBezTo>
                <a:close/>
                <a:moveTo>
                  <a:pt x="289" y="53"/>
                </a:moveTo>
                <a:cubicBezTo>
                  <a:pt x="289" y="53"/>
                  <a:pt x="291" y="54"/>
                  <a:pt x="291" y="54"/>
                </a:cubicBezTo>
                <a:cubicBezTo>
                  <a:pt x="291" y="54"/>
                  <a:pt x="292" y="54"/>
                  <a:pt x="293" y="54"/>
                </a:cubicBezTo>
                <a:cubicBezTo>
                  <a:pt x="293" y="54"/>
                  <a:pt x="293" y="54"/>
                  <a:pt x="294" y="54"/>
                </a:cubicBezTo>
                <a:cubicBezTo>
                  <a:pt x="295" y="54"/>
                  <a:pt x="294" y="54"/>
                  <a:pt x="294" y="54"/>
                </a:cubicBezTo>
                <a:cubicBezTo>
                  <a:pt x="295" y="54"/>
                  <a:pt x="295" y="54"/>
                  <a:pt x="295" y="54"/>
                </a:cubicBezTo>
                <a:cubicBezTo>
                  <a:pt x="295" y="54"/>
                  <a:pt x="295" y="53"/>
                  <a:pt x="295" y="53"/>
                </a:cubicBezTo>
                <a:cubicBezTo>
                  <a:pt x="295" y="53"/>
                  <a:pt x="296" y="53"/>
                  <a:pt x="296" y="53"/>
                </a:cubicBezTo>
                <a:cubicBezTo>
                  <a:pt x="297" y="53"/>
                  <a:pt x="298" y="54"/>
                  <a:pt x="298" y="53"/>
                </a:cubicBezTo>
                <a:cubicBezTo>
                  <a:pt x="298" y="52"/>
                  <a:pt x="299" y="52"/>
                  <a:pt x="298" y="51"/>
                </a:cubicBezTo>
                <a:cubicBezTo>
                  <a:pt x="298" y="50"/>
                  <a:pt x="298" y="49"/>
                  <a:pt x="297" y="49"/>
                </a:cubicBezTo>
                <a:cubicBezTo>
                  <a:pt x="297" y="49"/>
                  <a:pt x="297" y="49"/>
                  <a:pt x="296" y="49"/>
                </a:cubicBezTo>
                <a:cubicBezTo>
                  <a:pt x="296" y="49"/>
                  <a:pt x="296" y="49"/>
                  <a:pt x="295" y="48"/>
                </a:cubicBezTo>
                <a:cubicBezTo>
                  <a:pt x="294" y="48"/>
                  <a:pt x="294" y="48"/>
                  <a:pt x="294" y="49"/>
                </a:cubicBezTo>
                <a:cubicBezTo>
                  <a:pt x="293" y="49"/>
                  <a:pt x="293" y="49"/>
                  <a:pt x="293" y="49"/>
                </a:cubicBezTo>
                <a:cubicBezTo>
                  <a:pt x="291" y="49"/>
                  <a:pt x="291" y="49"/>
                  <a:pt x="290" y="50"/>
                </a:cubicBezTo>
                <a:cubicBezTo>
                  <a:pt x="290" y="51"/>
                  <a:pt x="289" y="50"/>
                  <a:pt x="288" y="51"/>
                </a:cubicBezTo>
                <a:cubicBezTo>
                  <a:pt x="288" y="51"/>
                  <a:pt x="288" y="52"/>
                  <a:pt x="288" y="52"/>
                </a:cubicBezTo>
                <a:cubicBezTo>
                  <a:pt x="288" y="52"/>
                  <a:pt x="288" y="52"/>
                  <a:pt x="288" y="53"/>
                </a:cubicBezTo>
                <a:cubicBezTo>
                  <a:pt x="288" y="53"/>
                  <a:pt x="289" y="52"/>
                  <a:pt x="289" y="53"/>
                </a:cubicBezTo>
                <a:close/>
                <a:moveTo>
                  <a:pt x="409" y="48"/>
                </a:moveTo>
                <a:cubicBezTo>
                  <a:pt x="408" y="48"/>
                  <a:pt x="407" y="48"/>
                  <a:pt x="407" y="49"/>
                </a:cubicBezTo>
                <a:cubicBezTo>
                  <a:pt x="407" y="49"/>
                  <a:pt x="408" y="49"/>
                  <a:pt x="409" y="48"/>
                </a:cubicBezTo>
                <a:cubicBezTo>
                  <a:pt x="408" y="48"/>
                  <a:pt x="409" y="48"/>
                  <a:pt x="409" y="48"/>
                </a:cubicBezTo>
                <a:close/>
                <a:moveTo>
                  <a:pt x="351" y="54"/>
                </a:moveTo>
                <a:cubicBezTo>
                  <a:pt x="351" y="54"/>
                  <a:pt x="352" y="54"/>
                  <a:pt x="352" y="54"/>
                </a:cubicBezTo>
                <a:cubicBezTo>
                  <a:pt x="352" y="55"/>
                  <a:pt x="353" y="54"/>
                  <a:pt x="354" y="54"/>
                </a:cubicBezTo>
                <a:cubicBezTo>
                  <a:pt x="354" y="54"/>
                  <a:pt x="355" y="54"/>
                  <a:pt x="355" y="55"/>
                </a:cubicBezTo>
                <a:cubicBezTo>
                  <a:pt x="355" y="55"/>
                  <a:pt x="356" y="55"/>
                  <a:pt x="356" y="55"/>
                </a:cubicBezTo>
                <a:cubicBezTo>
                  <a:pt x="355" y="55"/>
                  <a:pt x="355" y="55"/>
                  <a:pt x="354" y="55"/>
                </a:cubicBezTo>
                <a:cubicBezTo>
                  <a:pt x="354" y="55"/>
                  <a:pt x="354" y="56"/>
                  <a:pt x="354" y="56"/>
                </a:cubicBezTo>
                <a:cubicBezTo>
                  <a:pt x="353" y="56"/>
                  <a:pt x="355" y="58"/>
                  <a:pt x="355" y="58"/>
                </a:cubicBezTo>
                <a:cubicBezTo>
                  <a:pt x="356" y="59"/>
                  <a:pt x="356" y="59"/>
                  <a:pt x="357" y="59"/>
                </a:cubicBezTo>
                <a:cubicBezTo>
                  <a:pt x="358" y="60"/>
                  <a:pt x="357" y="60"/>
                  <a:pt x="357" y="60"/>
                </a:cubicBezTo>
                <a:cubicBezTo>
                  <a:pt x="358" y="60"/>
                  <a:pt x="358" y="60"/>
                  <a:pt x="359" y="60"/>
                </a:cubicBezTo>
                <a:cubicBezTo>
                  <a:pt x="360" y="60"/>
                  <a:pt x="359" y="59"/>
                  <a:pt x="360" y="59"/>
                </a:cubicBezTo>
                <a:cubicBezTo>
                  <a:pt x="361" y="59"/>
                  <a:pt x="361" y="59"/>
                  <a:pt x="362" y="59"/>
                </a:cubicBezTo>
                <a:cubicBezTo>
                  <a:pt x="362" y="59"/>
                  <a:pt x="362" y="59"/>
                  <a:pt x="362" y="59"/>
                </a:cubicBezTo>
                <a:cubicBezTo>
                  <a:pt x="363" y="59"/>
                  <a:pt x="362" y="58"/>
                  <a:pt x="363" y="58"/>
                </a:cubicBezTo>
                <a:cubicBezTo>
                  <a:pt x="364" y="58"/>
                  <a:pt x="365" y="58"/>
                  <a:pt x="366" y="59"/>
                </a:cubicBezTo>
                <a:cubicBezTo>
                  <a:pt x="366" y="58"/>
                  <a:pt x="367" y="57"/>
                  <a:pt x="366" y="57"/>
                </a:cubicBezTo>
                <a:cubicBezTo>
                  <a:pt x="366" y="57"/>
                  <a:pt x="364" y="55"/>
                  <a:pt x="365" y="55"/>
                </a:cubicBezTo>
                <a:cubicBezTo>
                  <a:pt x="365" y="53"/>
                  <a:pt x="363" y="54"/>
                  <a:pt x="362" y="52"/>
                </a:cubicBezTo>
                <a:cubicBezTo>
                  <a:pt x="362" y="52"/>
                  <a:pt x="361" y="53"/>
                  <a:pt x="361" y="53"/>
                </a:cubicBezTo>
                <a:cubicBezTo>
                  <a:pt x="360" y="52"/>
                  <a:pt x="360" y="52"/>
                  <a:pt x="360" y="51"/>
                </a:cubicBezTo>
                <a:cubicBezTo>
                  <a:pt x="359" y="51"/>
                  <a:pt x="358" y="51"/>
                  <a:pt x="357" y="51"/>
                </a:cubicBezTo>
                <a:cubicBezTo>
                  <a:pt x="355" y="51"/>
                  <a:pt x="353" y="49"/>
                  <a:pt x="352" y="48"/>
                </a:cubicBezTo>
                <a:cubicBezTo>
                  <a:pt x="351" y="48"/>
                  <a:pt x="350" y="49"/>
                  <a:pt x="350" y="50"/>
                </a:cubicBezTo>
                <a:cubicBezTo>
                  <a:pt x="350" y="51"/>
                  <a:pt x="350" y="51"/>
                  <a:pt x="350" y="52"/>
                </a:cubicBezTo>
                <a:cubicBezTo>
                  <a:pt x="350" y="52"/>
                  <a:pt x="350" y="52"/>
                  <a:pt x="350" y="52"/>
                </a:cubicBezTo>
                <a:cubicBezTo>
                  <a:pt x="350" y="52"/>
                  <a:pt x="350" y="53"/>
                  <a:pt x="350" y="53"/>
                </a:cubicBezTo>
                <a:cubicBezTo>
                  <a:pt x="350" y="54"/>
                  <a:pt x="351" y="53"/>
                  <a:pt x="351" y="54"/>
                </a:cubicBezTo>
                <a:close/>
                <a:moveTo>
                  <a:pt x="313" y="49"/>
                </a:moveTo>
                <a:cubicBezTo>
                  <a:pt x="313" y="49"/>
                  <a:pt x="315" y="49"/>
                  <a:pt x="315" y="48"/>
                </a:cubicBezTo>
                <a:cubicBezTo>
                  <a:pt x="316" y="48"/>
                  <a:pt x="315" y="49"/>
                  <a:pt x="315" y="50"/>
                </a:cubicBezTo>
                <a:cubicBezTo>
                  <a:pt x="315" y="51"/>
                  <a:pt x="316" y="49"/>
                  <a:pt x="317" y="49"/>
                </a:cubicBezTo>
                <a:cubicBezTo>
                  <a:pt x="317" y="50"/>
                  <a:pt x="317" y="49"/>
                  <a:pt x="317" y="50"/>
                </a:cubicBezTo>
                <a:cubicBezTo>
                  <a:pt x="317" y="50"/>
                  <a:pt x="317" y="51"/>
                  <a:pt x="317" y="52"/>
                </a:cubicBezTo>
                <a:cubicBezTo>
                  <a:pt x="318" y="52"/>
                  <a:pt x="319" y="52"/>
                  <a:pt x="319" y="51"/>
                </a:cubicBezTo>
                <a:cubicBezTo>
                  <a:pt x="319" y="50"/>
                  <a:pt x="320" y="51"/>
                  <a:pt x="320" y="51"/>
                </a:cubicBezTo>
                <a:cubicBezTo>
                  <a:pt x="321" y="51"/>
                  <a:pt x="318" y="52"/>
                  <a:pt x="319" y="53"/>
                </a:cubicBezTo>
                <a:cubicBezTo>
                  <a:pt x="319" y="53"/>
                  <a:pt x="320" y="53"/>
                  <a:pt x="320" y="53"/>
                </a:cubicBezTo>
                <a:cubicBezTo>
                  <a:pt x="320" y="54"/>
                  <a:pt x="319" y="54"/>
                  <a:pt x="317" y="53"/>
                </a:cubicBezTo>
                <a:cubicBezTo>
                  <a:pt x="318" y="54"/>
                  <a:pt x="318" y="55"/>
                  <a:pt x="318" y="55"/>
                </a:cubicBezTo>
                <a:cubicBezTo>
                  <a:pt x="319" y="55"/>
                  <a:pt x="320" y="55"/>
                  <a:pt x="321" y="54"/>
                </a:cubicBezTo>
                <a:cubicBezTo>
                  <a:pt x="321" y="54"/>
                  <a:pt x="326" y="52"/>
                  <a:pt x="326" y="53"/>
                </a:cubicBezTo>
                <a:cubicBezTo>
                  <a:pt x="326" y="54"/>
                  <a:pt x="326" y="54"/>
                  <a:pt x="327" y="54"/>
                </a:cubicBezTo>
                <a:cubicBezTo>
                  <a:pt x="328" y="54"/>
                  <a:pt x="328" y="51"/>
                  <a:pt x="329" y="53"/>
                </a:cubicBezTo>
                <a:cubicBezTo>
                  <a:pt x="329" y="53"/>
                  <a:pt x="330" y="53"/>
                  <a:pt x="331" y="53"/>
                </a:cubicBezTo>
                <a:cubicBezTo>
                  <a:pt x="332" y="53"/>
                  <a:pt x="332" y="53"/>
                  <a:pt x="332" y="53"/>
                </a:cubicBezTo>
                <a:cubicBezTo>
                  <a:pt x="333" y="53"/>
                  <a:pt x="333" y="54"/>
                  <a:pt x="333" y="54"/>
                </a:cubicBezTo>
                <a:cubicBezTo>
                  <a:pt x="334" y="54"/>
                  <a:pt x="334" y="54"/>
                  <a:pt x="334" y="55"/>
                </a:cubicBezTo>
                <a:cubicBezTo>
                  <a:pt x="334" y="55"/>
                  <a:pt x="335" y="55"/>
                  <a:pt x="336" y="55"/>
                </a:cubicBezTo>
                <a:cubicBezTo>
                  <a:pt x="336" y="55"/>
                  <a:pt x="336" y="56"/>
                  <a:pt x="337" y="56"/>
                </a:cubicBezTo>
                <a:cubicBezTo>
                  <a:pt x="337" y="56"/>
                  <a:pt x="337" y="56"/>
                  <a:pt x="337" y="56"/>
                </a:cubicBezTo>
                <a:cubicBezTo>
                  <a:pt x="338" y="57"/>
                  <a:pt x="338" y="57"/>
                  <a:pt x="339" y="58"/>
                </a:cubicBezTo>
                <a:cubicBezTo>
                  <a:pt x="340" y="58"/>
                  <a:pt x="340" y="58"/>
                  <a:pt x="341" y="58"/>
                </a:cubicBezTo>
                <a:cubicBezTo>
                  <a:pt x="341" y="59"/>
                  <a:pt x="342" y="59"/>
                  <a:pt x="342" y="60"/>
                </a:cubicBezTo>
                <a:cubicBezTo>
                  <a:pt x="343" y="61"/>
                  <a:pt x="343" y="60"/>
                  <a:pt x="344" y="61"/>
                </a:cubicBezTo>
                <a:cubicBezTo>
                  <a:pt x="345" y="61"/>
                  <a:pt x="345" y="60"/>
                  <a:pt x="346" y="60"/>
                </a:cubicBezTo>
                <a:cubicBezTo>
                  <a:pt x="346" y="60"/>
                  <a:pt x="347" y="57"/>
                  <a:pt x="347" y="57"/>
                </a:cubicBezTo>
                <a:cubicBezTo>
                  <a:pt x="346" y="56"/>
                  <a:pt x="346" y="56"/>
                  <a:pt x="346" y="56"/>
                </a:cubicBezTo>
                <a:cubicBezTo>
                  <a:pt x="346" y="55"/>
                  <a:pt x="346" y="55"/>
                  <a:pt x="345" y="55"/>
                </a:cubicBezTo>
                <a:cubicBezTo>
                  <a:pt x="345" y="54"/>
                  <a:pt x="346" y="54"/>
                  <a:pt x="344" y="54"/>
                </a:cubicBezTo>
                <a:cubicBezTo>
                  <a:pt x="344" y="52"/>
                  <a:pt x="344" y="52"/>
                  <a:pt x="342" y="52"/>
                </a:cubicBezTo>
                <a:cubicBezTo>
                  <a:pt x="341" y="52"/>
                  <a:pt x="340" y="52"/>
                  <a:pt x="339" y="52"/>
                </a:cubicBezTo>
                <a:cubicBezTo>
                  <a:pt x="339" y="52"/>
                  <a:pt x="338" y="52"/>
                  <a:pt x="338" y="52"/>
                </a:cubicBezTo>
                <a:cubicBezTo>
                  <a:pt x="338" y="51"/>
                  <a:pt x="337" y="50"/>
                  <a:pt x="336" y="50"/>
                </a:cubicBezTo>
                <a:cubicBezTo>
                  <a:pt x="336" y="50"/>
                  <a:pt x="335" y="49"/>
                  <a:pt x="335" y="49"/>
                </a:cubicBezTo>
                <a:cubicBezTo>
                  <a:pt x="334" y="49"/>
                  <a:pt x="333" y="50"/>
                  <a:pt x="333" y="49"/>
                </a:cubicBezTo>
                <a:cubicBezTo>
                  <a:pt x="333" y="48"/>
                  <a:pt x="330" y="47"/>
                  <a:pt x="330" y="48"/>
                </a:cubicBezTo>
                <a:cubicBezTo>
                  <a:pt x="330" y="49"/>
                  <a:pt x="328" y="49"/>
                  <a:pt x="328" y="49"/>
                </a:cubicBezTo>
                <a:cubicBezTo>
                  <a:pt x="328" y="49"/>
                  <a:pt x="327" y="48"/>
                  <a:pt x="327" y="47"/>
                </a:cubicBezTo>
                <a:cubicBezTo>
                  <a:pt x="327" y="47"/>
                  <a:pt x="324" y="45"/>
                  <a:pt x="323" y="46"/>
                </a:cubicBezTo>
                <a:cubicBezTo>
                  <a:pt x="323" y="47"/>
                  <a:pt x="323" y="48"/>
                  <a:pt x="323" y="49"/>
                </a:cubicBezTo>
                <a:cubicBezTo>
                  <a:pt x="322" y="49"/>
                  <a:pt x="321" y="49"/>
                  <a:pt x="321" y="48"/>
                </a:cubicBezTo>
                <a:cubicBezTo>
                  <a:pt x="321" y="48"/>
                  <a:pt x="321" y="48"/>
                  <a:pt x="321" y="47"/>
                </a:cubicBezTo>
                <a:cubicBezTo>
                  <a:pt x="321" y="47"/>
                  <a:pt x="320" y="47"/>
                  <a:pt x="320" y="46"/>
                </a:cubicBezTo>
                <a:cubicBezTo>
                  <a:pt x="319" y="45"/>
                  <a:pt x="319" y="46"/>
                  <a:pt x="317" y="46"/>
                </a:cubicBezTo>
                <a:cubicBezTo>
                  <a:pt x="317" y="46"/>
                  <a:pt x="317" y="45"/>
                  <a:pt x="317" y="45"/>
                </a:cubicBezTo>
                <a:cubicBezTo>
                  <a:pt x="317" y="45"/>
                  <a:pt x="316" y="45"/>
                  <a:pt x="316" y="45"/>
                </a:cubicBezTo>
                <a:cubicBezTo>
                  <a:pt x="315" y="45"/>
                  <a:pt x="315" y="44"/>
                  <a:pt x="315" y="45"/>
                </a:cubicBezTo>
                <a:cubicBezTo>
                  <a:pt x="314" y="45"/>
                  <a:pt x="314" y="46"/>
                  <a:pt x="314" y="46"/>
                </a:cubicBezTo>
                <a:cubicBezTo>
                  <a:pt x="313" y="46"/>
                  <a:pt x="313" y="46"/>
                  <a:pt x="313" y="46"/>
                </a:cubicBezTo>
                <a:cubicBezTo>
                  <a:pt x="313" y="47"/>
                  <a:pt x="313" y="48"/>
                  <a:pt x="313" y="49"/>
                </a:cubicBezTo>
                <a:close/>
                <a:moveTo>
                  <a:pt x="466" y="48"/>
                </a:moveTo>
                <a:cubicBezTo>
                  <a:pt x="467" y="47"/>
                  <a:pt x="466" y="46"/>
                  <a:pt x="466" y="45"/>
                </a:cubicBezTo>
                <a:cubicBezTo>
                  <a:pt x="467" y="45"/>
                  <a:pt x="467" y="45"/>
                  <a:pt x="467" y="44"/>
                </a:cubicBezTo>
                <a:cubicBezTo>
                  <a:pt x="466" y="45"/>
                  <a:pt x="465" y="45"/>
                  <a:pt x="464" y="44"/>
                </a:cubicBezTo>
                <a:cubicBezTo>
                  <a:pt x="464" y="44"/>
                  <a:pt x="463" y="44"/>
                  <a:pt x="462" y="44"/>
                </a:cubicBezTo>
                <a:cubicBezTo>
                  <a:pt x="462" y="44"/>
                  <a:pt x="462" y="44"/>
                  <a:pt x="461" y="44"/>
                </a:cubicBezTo>
                <a:cubicBezTo>
                  <a:pt x="461" y="44"/>
                  <a:pt x="462" y="45"/>
                  <a:pt x="461" y="45"/>
                </a:cubicBezTo>
                <a:cubicBezTo>
                  <a:pt x="461" y="46"/>
                  <a:pt x="461" y="46"/>
                  <a:pt x="461" y="46"/>
                </a:cubicBezTo>
                <a:cubicBezTo>
                  <a:pt x="462" y="46"/>
                  <a:pt x="462" y="46"/>
                  <a:pt x="463" y="46"/>
                </a:cubicBezTo>
                <a:cubicBezTo>
                  <a:pt x="463" y="46"/>
                  <a:pt x="462" y="47"/>
                  <a:pt x="463" y="47"/>
                </a:cubicBezTo>
                <a:cubicBezTo>
                  <a:pt x="464" y="47"/>
                  <a:pt x="463" y="47"/>
                  <a:pt x="464" y="47"/>
                </a:cubicBezTo>
                <a:cubicBezTo>
                  <a:pt x="465" y="47"/>
                  <a:pt x="465" y="47"/>
                  <a:pt x="466" y="48"/>
                </a:cubicBezTo>
                <a:cubicBezTo>
                  <a:pt x="467" y="47"/>
                  <a:pt x="466" y="48"/>
                  <a:pt x="466" y="48"/>
                </a:cubicBezTo>
                <a:close/>
                <a:moveTo>
                  <a:pt x="1291" y="58"/>
                </a:moveTo>
                <a:cubicBezTo>
                  <a:pt x="1290" y="58"/>
                  <a:pt x="1291" y="58"/>
                  <a:pt x="1292" y="58"/>
                </a:cubicBezTo>
                <a:cubicBezTo>
                  <a:pt x="1292" y="58"/>
                  <a:pt x="1293" y="58"/>
                  <a:pt x="1293" y="58"/>
                </a:cubicBezTo>
                <a:cubicBezTo>
                  <a:pt x="1293" y="58"/>
                  <a:pt x="1293" y="59"/>
                  <a:pt x="1293" y="59"/>
                </a:cubicBezTo>
                <a:cubicBezTo>
                  <a:pt x="1293" y="59"/>
                  <a:pt x="1294" y="59"/>
                  <a:pt x="1294" y="58"/>
                </a:cubicBezTo>
                <a:cubicBezTo>
                  <a:pt x="1294" y="58"/>
                  <a:pt x="1294" y="58"/>
                  <a:pt x="1294" y="58"/>
                </a:cubicBezTo>
                <a:cubicBezTo>
                  <a:pt x="1294" y="58"/>
                  <a:pt x="1294" y="58"/>
                  <a:pt x="1294" y="58"/>
                </a:cubicBezTo>
                <a:cubicBezTo>
                  <a:pt x="1295" y="58"/>
                  <a:pt x="1295" y="58"/>
                  <a:pt x="1296" y="57"/>
                </a:cubicBezTo>
                <a:cubicBezTo>
                  <a:pt x="1297" y="57"/>
                  <a:pt x="1296" y="57"/>
                  <a:pt x="1297" y="56"/>
                </a:cubicBezTo>
                <a:cubicBezTo>
                  <a:pt x="1298" y="56"/>
                  <a:pt x="1299" y="55"/>
                  <a:pt x="1299" y="55"/>
                </a:cubicBezTo>
                <a:cubicBezTo>
                  <a:pt x="1299" y="55"/>
                  <a:pt x="1300" y="55"/>
                  <a:pt x="1300" y="55"/>
                </a:cubicBezTo>
                <a:cubicBezTo>
                  <a:pt x="1300" y="55"/>
                  <a:pt x="1300" y="55"/>
                  <a:pt x="1300" y="55"/>
                </a:cubicBezTo>
                <a:cubicBezTo>
                  <a:pt x="1301" y="56"/>
                  <a:pt x="1302" y="55"/>
                  <a:pt x="1302" y="55"/>
                </a:cubicBezTo>
                <a:cubicBezTo>
                  <a:pt x="1302" y="55"/>
                  <a:pt x="1303" y="56"/>
                  <a:pt x="1303" y="56"/>
                </a:cubicBezTo>
                <a:cubicBezTo>
                  <a:pt x="1304" y="56"/>
                  <a:pt x="1303" y="56"/>
                  <a:pt x="1304" y="56"/>
                </a:cubicBezTo>
                <a:cubicBezTo>
                  <a:pt x="1304" y="56"/>
                  <a:pt x="1305" y="56"/>
                  <a:pt x="1305" y="56"/>
                </a:cubicBezTo>
                <a:cubicBezTo>
                  <a:pt x="1305" y="56"/>
                  <a:pt x="1305" y="56"/>
                  <a:pt x="1305" y="56"/>
                </a:cubicBezTo>
                <a:cubicBezTo>
                  <a:pt x="1306" y="56"/>
                  <a:pt x="1306" y="56"/>
                  <a:pt x="1307" y="55"/>
                </a:cubicBezTo>
                <a:cubicBezTo>
                  <a:pt x="1308" y="55"/>
                  <a:pt x="1308" y="55"/>
                  <a:pt x="1309" y="55"/>
                </a:cubicBezTo>
                <a:cubicBezTo>
                  <a:pt x="1310" y="55"/>
                  <a:pt x="1310" y="54"/>
                  <a:pt x="1311" y="54"/>
                </a:cubicBezTo>
                <a:cubicBezTo>
                  <a:pt x="1311" y="54"/>
                  <a:pt x="1311" y="54"/>
                  <a:pt x="1311" y="54"/>
                </a:cubicBezTo>
                <a:cubicBezTo>
                  <a:pt x="1311" y="54"/>
                  <a:pt x="1312" y="54"/>
                  <a:pt x="1312" y="54"/>
                </a:cubicBezTo>
                <a:cubicBezTo>
                  <a:pt x="1313" y="54"/>
                  <a:pt x="1313" y="53"/>
                  <a:pt x="1314" y="53"/>
                </a:cubicBezTo>
                <a:cubicBezTo>
                  <a:pt x="1314" y="52"/>
                  <a:pt x="1314" y="53"/>
                  <a:pt x="1314" y="52"/>
                </a:cubicBezTo>
                <a:cubicBezTo>
                  <a:pt x="1314" y="52"/>
                  <a:pt x="1314" y="52"/>
                  <a:pt x="1314" y="51"/>
                </a:cubicBezTo>
                <a:cubicBezTo>
                  <a:pt x="1314" y="50"/>
                  <a:pt x="1313" y="50"/>
                  <a:pt x="1312" y="50"/>
                </a:cubicBezTo>
                <a:cubicBezTo>
                  <a:pt x="1312" y="49"/>
                  <a:pt x="1311" y="49"/>
                  <a:pt x="1311" y="49"/>
                </a:cubicBezTo>
                <a:cubicBezTo>
                  <a:pt x="1310" y="49"/>
                  <a:pt x="1310" y="49"/>
                  <a:pt x="1310" y="49"/>
                </a:cubicBezTo>
                <a:cubicBezTo>
                  <a:pt x="1310" y="48"/>
                  <a:pt x="1308" y="48"/>
                  <a:pt x="1308" y="48"/>
                </a:cubicBezTo>
                <a:cubicBezTo>
                  <a:pt x="1307" y="48"/>
                  <a:pt x="1306" y="47"/>
                  <a:pt x="1306" y="46"/>
                </a:cubicBezTo>
                <a:cubicBezTo>
                  <a:pt x="1306" y="46"/>
                  <a:pt x="1305" y="47"/>
                  <a:pt x="1305" y="46"/>
                </a:cubicBezTo>
                <a:cubicBezTo>
                  <a:pt x="1305" y="46"/>
                  <a:pt x="1305" y="46"/>
                  <a:pt x="1304" y="46"/>
                </a:cubicBezTo>
                <a:cubicBezTo>
                  <a:pt x="1304" y="46"/>
                  <a:pt x="1303" y="47"/>
                  <a:pt x="1302" y="47"/>
                </a:cubicBezTo>
                <a:cubicBezTo>
                  <a:pt x="1302" y="46"/>
                  <a:pt x="1303" y="45"/>
                  <a:pt x="1302" y="45"/>
                </a:cubicBezTo>
                <a:cubicBezTo>
                  <a:pt x="1302" y="44"/>
                  <a:pt x="1301" y="43"/>
                  <a:pt x="1301" y="43"/>
                </a:cubicBezTo>
                <a:cubicBezTo>
                  <a:pt x="1301" y="43"/>
                  <a:pt x="1301" y="44"/>
                  <a:pt x="1301" y="44"/>
                </a:cubicBezTo>
                <a:cubicBezTo>
                  <a:pt x="1301" y="44"/>
                  <a:pt x="1300" y="44"/>
                  <a:pt x="1300" y="45"/>
                </a:cubicBezTo>
                <a:cubicBezTo>
                  <a:pt x="1301" y="44"/>
                  <a:pt x="1299" y="44"/>
                  <a:pt x="1299" y="44"/>
                </a:cubicBezTo>
                <a:cubicBezTo>
                  <a:pt x="1299" y="44"/>
                  <a:pt x="1299" y="46"/>
                  <a:pt x="1299" y="46"/>
                </a:cubicBezTo>
                <a:cubicBezTo>
                  <a:pt x="1299" y="46"/>
                  <a:pt x="1298" y="47"/>
                  <a:pt x="1298" y="47"/>
                </a:cubicBezTo>
                <a:cubicBezTo>
                  <a:pt x="1298" y="48"/>
                  <a:pt x="1298" y="48"/>
                  <a:pt x="1297" y="49"/>
                </a:cubicBezTo>
                <a:cubicBezTo>
                  <a:pt x="1297" y="49"/>
                  <a:pt x="1297" y="50"/>
                  <a:pt x="1297" y="50"/>
                </a:cubicBezTo>
                <a:cubicBezTo>
                  <a:pt x="1297" y="50"/>
                  <a:pt x="1297" y="51"/>
                  <a:pt x="1297" y="52"/>
                </a:cubicBezTo>
                <a:cubicBezTo>
                  <a:pt x="1296" y="51"/>
                  <a:pt x="1296" y="51"/>
                  <a:pt x="1295" y="53"/>
                </a:cubicBezTo>
                <a:cubicBezTo>
                  <a:pt x="1295" y="53"/>
                  <a:pt x="1295" y="54"/>
                  <a:pt x="1294" y="55"/>
                </a:cubicBezTo>
                <a:cubicBezTo>
                  <a:pt x="1293" y="55"/>
                  <a:pt x="1292" y="57"/>
                  <a:pt x="1291" y="58"/>
                </a:cubicBezTo>
                <a:close/>
                <a:moveTo>
                  <a:pt x="1254" y="41"/>
                </a:moveTo>
                <a:cubicBezTo>
                  <a:pt x="1255" y="41"/>
                  <a:pt x="1255" y="41"/>
                  <a:pt x="1255" y="41"/>
                </a:cubicBezTo>
                <a:cubicBezTo>
                  <a:pt x="1255" y="42"/>
                  <a:pt x="1254" y="42"/>
                  <a:pt x="1253" y="43"/>
                </a:cubicBezTo>
                <a:cubicBezTo>
                  <a:pt x="1254" y="44"/>
                  <a:pt x="1253" y="45"/>
                  <a:pt x="1254" y="45"/>
                </a:cubicBezTo>
                <a:cubicBezTo>
                  <a:pt x="1255" y="46"/>
                  <a:pt x="1254" y="45"/>
                  <a:pt x="1254" y="46"/>
                </a:cubicBezTo>
                <a:cubicBezTo>
                  <a:pt x="1254" y="46"/>
                  <a:pt x="1255" y="46"/>
                  <a:pt x="1256" y="46"/>
                </a:cubicBezTo>
                <a:cubicBezTo>
                  <a:pt x="1257" y="46"/>
                  <a:pt x="1257" y="46"/>
                  <a:pt x="1258" y="46"/>
                </a:cubicBezTo>
                <a:cubicBezTo>
                  <a:pt x="1259" y="46"/>
                  <a:pt x="1261" y="46"/>
                  <a:pt x="1262" y="46"/>
                </a:cubicBezTo>
                <a:cubicBezTo>
                  <a:pt x="1262" y="46"/>
                  <a:pt x="1262" y="45"/>
                  <a:pt x="1262" y="45"/>
                </a:cubicBezTo>
                <a:cubicBezTo>
                  <a:pt x="1263" y="45"/>
                  <a:pt x="1264" y="45"/>
                  <a:pt x="1264" y="44"/>
                </a:cubicBezTo>
                <a:cubicBezTo>
                  <a:pt x="1263" y="42"/>
                  <a:pt x="1261" y="42"/>
                  <a:pt x="1260" y="41"/>
                </a:cubicBezTo>
                <a:cubicBezTo>
                  <a:pt x="1260" y="41"/>
                  <a:pt x="1259" y="41"/>
                  <a:pt x="1259" y="41"/>
                </a:cubicBezTo>
                <a:cubicBezTo>
                  <a:pt x="1259" y="41"/>
                  <a:pt x="1259" y="41"/>
                  <a:pt x="1259" y="41"/>
                </a:cubicBezTo>
                <a:cubicBezTo>
                  <a:pt x="1259" y="40"/>
                  <a:pt x="1258" y="40"/>
                  <a:pt x="1257" y="40"/>
                </a:cubicBezTo>
                <a:cubicBezTo>
                  <a:pt x="1256" y="40"/>
                  <a:pt x="1256" y="40"/>
                  <a:pt x="1255" y="40"/>
                </a:cubicBezTo>
                <a:cubicBezTo>
                  <a:pt x="1254" y="40"/>
                  <a:pt x="1254" y="41"/>
                  <a:pt x="1254" y="41"/>
                </a:cubicBezTo>
                <a:close/>
                <a:moveTo>
                  <a:pt x="1061" y="40"/>
                </a:moveTo>
                <a:cubicBezTo>
                  <a:pt x="1060" y="41"/>
                  <a:pt x="1059" y="41"/>
                  <a:pt x="1059" y="42"/>
                </a:cubicBezTo>
                <a:cubicBezTo>
                  <a:pt x="1059" y="42"/>
                  <a:pt x="1058" y="43"/>
                  <a:pt x="1059" y="43"/>
                </a:cubicBezTo>
                <a:cubicBezTo>
                  <a:pt x="1060" y="43"/>
                  <a:pt x="1062" y="43"/>
                  <a:pt x="1063" y="43"/>
                </a:cubicBezTo>
                <a:cubicBezTo>
                  <a:pt x="1063" y="42"/>
                  <a:pt x="1063" y="41"/>
                  <a:pt x="1062" y="40"/>
                </a:cubicBezTo>
                <a:cubicBezTo>
                  <a:pt x="1062" y="40"/>
                  <a:pt x="1061" y="40"/>
                  <a:pt x="1061" y="40"/>
                </a:cubicBezTo>
                <a:cubicBezTo>
                  <a:pt x="1061" y="41"/>
                  <a:pt x="1061" y="40"/>
                  <a:pt x="1061" y="40"/>
                </a:cubicBezTo>
                <a:close/>
                <a:moveTo>
                  <a:pt x="1097" y="41"/>
                </a:moveTo>
                <a:cubicBezTo>
                  <a:pt x="1098" y="42"/>
                  <a:pt x="1098" y="42"/>
                  <a:pt x="1099" y="43"/>
                </a:cubicBezTo>
                <a:cubicBezTo>
                  <a:pt x="1100" y="43"/>
                  <a:pt x="1100" y="43"/>
                  <a:pt x="1101" y="43"/>
                </a:cubicBezTo>
                <a:cubicBezTo>
                  <a:pt x="1101" y="42"/>
                  <a:pt x="1101" y="42"/>
                  <a:pt x="1102" y="42"/>
                </a:cubicBezTo>
                <a:cubicBezTo>
                  <a:pt x="1101" y="41"/>
                  <a:pt x="1101" y="39"/>
                  <a:pt x="1100" y="39"/>
                </a:cubicBezTo>
                <a:cubicBezTo>
                  <a:pt x="1099" y="39"/>
                  <a:pt x="1099" y="40"/>
                  <a:pt x="1098" y="40"/>
                </a:cubicBezTo>
                <a:cubicBezTo>
                  <a:pt x="1097" y="40"/>
                  <a:pt x="1097" y="40"/>
                  <a:pt x="1097" y="41"/>
                </a:cubicBezTo>
                <a:cubicBezTo>
                  <a:pt x="1099" y="42"/>
                  <a:pt x="1097" y="41"/>
                  <a:pt x="1097" y="41"/>
                </a:cubicBezTo>
                <a:close/>
                <a:moveTo>
                  <a:pt x="1058" y="41"/>
                </a:moveTo>
                <a:cubicBezTo>
                  <a:pt x="1058" y="40"/>
                  <a:pt x="1057" y="40"/>
                  <a:pt x="1058" y="40"/>
                </a:cubicBezTo>
                <a:cubicBezTo>
                  <a:pt x="1058" y="40"/>
                  <a:pt x="1058" y="39"/>
                  <a:pt x="1058" y="38"/>
                </a:cubicBezTo>
                <a:cubicBezTo>
                  <a:pt x="1057" y="39"/>
                  <a:pt x="1055" y="39"/>
                  <a:pt x="1054" y="39"/>
                </a:cubicBezTo>
                <a:cubicBezTo>
                  <a:pt x="1055" y="40"/>
                  <a:pt x="1055" y="40"/>
                  <a:pt x="1056" y="40"/>
                </a:cubicBezTo>
                <a:cubicBezTo>
                  <a:pt x="1056" y="40"/>
                  <a:pt x="1056" y="41"/>
                  <a:pt x="1056" y="41"/>
                </a:cubicBezTo>
                <a:cubicBezTo>
                  <a:pt x="1057" y="41"/>
                  <a:pt x="1057" y="41"/>
                  <a:pt x="1058" y="41"/>
                </a:cubicBezTo>
                <a:close/>
                <a:moveTo>
                  <a:pt x="896" y="61"/>
                </a:moveTo>
                <a:cubicBezTo>
                  <a:pt x="896" y="61"/>
                  <a:pt x="896" y="61"/>
                  <a:pt x="897" y="61"/>
                </a:cubicBezTo>
                <a:cubicBezTo>
                  <a:pt x="896" y="61"/>
                  <a:pt x="896" y="61"/>
                  <a:pt x="896" y="61"/>
                </a:cubicBezTo>
                <a:cubicBezTo>
                  <a:pt x="897" y="61"/>
                  <a:pt x="896" y="61"/>
                  <a:pt x="896" y="61"/>
                </a:cubicBezTo>
                <a:close/>
                <a:moveTo>
                  <a:pt x="875" y="44"/>
                </a:moveTo>
                <a:cubicBezTo>
                  <a:pt x="875" y="44"/>
                  <a:pt x="876" y="44"/>
                  <a:pt x="876" y="44"/>
                </a:cubicBezTo>
                <a:cubicBezTo>
                  <a:pt x="876" y="45"/>
                  <a:pt x="876" y="46"/>
                  <a:pt x="877" y="47"/>
                </a:cubicBezTo>
                <a:cubicBezTo>
                  <a:pt x="877" y="47"/>
                  <a:pt x="876" y="47"/>
                  <a:pt x="876" y="47"/>
                </a:cubicBezTo>
                <a:cubicBezTo>
                  <a:pt x="875" y="47"/>
                  <a:pt x="875" y="48"/>
                  <a:pt x="875" y="49"/>
                </a:cubicBezTo>
                <a:cubicBezTo>
                  <a:pt x="875" y="50"/>
                  <a:pt x="877" y="50"/>
                  <a:pt x="878" y="51"/>
                </a:cubicBezTo>
                <a:cubicBezTo>
                  <a:pt x="877" y="51"/>
                  <a:pt x="877" y="52"/>
                  <a:pt x="877" y="52"/>
                </a:cubicBezTo>
                <a:cubicBezTo>
                  <a:pt x="878" y="52"/>
                  <a:pt x="877" y="53"/>
                  <a:pt x="878" y="53"/>
                </a:cubicBezTo>
                <a:cubicBezTo>
                  <a:pt x="878" y="53"/>
                  <a:pt x="878" y="54"/>
                  <a:pt x="878" y="54"/>
                </a:cubicBezTo>
                <a:cubicBezTo>
                  <a:pt x="878" y="55"/>
                  <a:pt x="878" y="55"/>
                  <a:pt x="878" y="55"/>
                </a:cubicBezTo>
                <a:cubicBezTo>
                  <a:pt x="879" y="56"/>
                  <a:pt x="880" y="56"/>
                  <a:pt x="881" y="56"/>
                </a:cubicBezTo>
                <a:cubicBezTo>
                  <a:pt x="881" y="56"/>
                  <a:pt x="881" y="55"/>
                  <a:pt x="881" y="55"/>
                </a:cubicBezTo>
                <a:cubicBezTo>
                  <a:pt x="882" y="55"/>
                  <a:pt x="882" y="55"/>
                  <a:pt x="882" y="54"/>
                </a:cubicBezTo>
                <a:cubicBezTo>
                  <a:pt x="883" y="54"/>
                  <a:pt x="884" y="54"/>
                  <a:pt x="885" y="54"/>
                </a:cubicBezTo>
                <a:cubicBezTo>
                  <a:pt x="885" y="54"/>
                  <a:pt x="886" y="54"/>
                  <a:pt x="886" y="54"/>
                </a:cubicBezTo>
                <a:cubicBezTo>
                  <a:pt x="886" y="52"/>
                  <a:pt x="885" y="52"/>
                  <a:pt x="887" y="52"/>
                </a:cubicBezTo>
                <a:cubicBezTo>
                  <a:pt x="887" y="52"/>
                  <a:pt x="887" y="52"/>
                  <a:pt x="887" y="52"/>
                </a:cubicBezTo>
                <a:cubicBezTo>
                  <a:pt x="888" y="52"/>
                  <a:pt x="888" y="51"/>
                  <a:pt x="889" y="51"/>
                </a:cubicBezTo>
                <a:cubicBezTo>
                  <a:pt x="889" y="52"/>
                  <a:pt x="889" y="54"/>
                  <a:pt x="890" y="54"/>
                </a:cubicBezTo>
                <a:cubicBezTo>
                  <a:pt x="890" y="54"/>
                  <a:pt x="892" y="55"/>
                  <a:pt x="892" y="54"/>
                </a:cubicBezTo>
                <a:cubicBezTo>
                  <a:pt x="892" y="54"/>
                  <a:pt x="893" y="54"/>
                  <a:pt x="893" y="54"/>
                </a:cubicBezTo>
                <a:cubicBezTo>
                  <a:pt x="893" y="55"/>
                  <a:pt x="893" y="55"/>
                  <a:pt x="893" y="55"/>
                </a:cubicBezTo>
                <a:cubicBezTo>
                  <a:pt x="893" y="55"/>
                  <a:pt x="894" y="56"/>
                  <a:pt x="894" y="56"/>
                </a:cubicBezTo>
                <a:cubicBezTo>
                  <a:pt x="895" y="56"/>
                  <a:pt x="895" y="56"/>
                  <a:pt x="896" y="56"/>
                </a:cubicBezTo>
                <a:cubicBezTo>
                  <a:pt x="896" y="56"/>
                  <a:pt x="898" y="56"/>
                  <a:pt x="898" y="56"/>
                </a:cubicBezTo>
                <a:cubicBezTo>
                  <a:pt x="899" y="56"/>
                  <a:pt x="898" y="57"/>
                  <a:pt x="897" y="57"/>
                </a:cubicBezTo>
                <a:cubicBezTo>
                  <a:pt x="896" y="57"/>
                  <a:pt x="894" y="57"/>
                  <a:pt x="893" y="57"/>
                </a:cubicBezTo>
                <a:cubicBezTo>
                  <a:pt x="891" y="58"/>
                  <a:pt x="890" y="57"/>
                  <a:pt x="889" y="57"/>
                </a:cubicBezTo>
                <a:cubicBezTo>
                  <a:pt x="888" y="58"/>
                  <a:pt x="888" y="57"/>
                  <a:pt x="887" y="58"/>
                </a:cubicBezTo>
                <a:cubicBezTo>
                  <a:pt x="887" y="58"/>
                  <a:pt x="887" y="58"/>
                  <a:pt x="887" y="59"/>
                </a:cubicBezTo>
                <a:cubicBezTo>
                  <a:pt x="886" y="58"/>
                  <a:pt x="886" y="58"/>
                  <a:pt x="885" y="58"/>
                </a:cubicBezTo>
                <a:cubicBezTo>
                  <a:pt x="885" y="58"/>
                  <a:pt x="885" y="58"/>
                  <a:pt x="885" y="58"/>
                </a:cubicBezTo>
                <a:cubicBezTo>
                  <a:pt x="884" y="57"/>
                  <a:pt x="884" y="57"/>
                  <a:pt x="883" y="57"/>
                </a:cubicBezTo>
                <a:cubicBezTo>
                  <a:pt x="883" y="58"/>
                  <a:pt x="883" y="58"/>
                  <a:pt x="883" y="58"/>
                </a:cubicBezTo>
                <a:cubicBezTo>
                  <a:pt x="882" y="58"/>
                  <a:pt x="882" y="58"/>
                  <a:pt x="881" y="58"/>
                </a:cubicBezTo>
                <a:cubicBezTo>
                  <a:pt x="881" y="59"/>
                  <a:pt x="881" y="60"/>
                  <a:pt x="882" y="61"/>
                </a:cubicBezTo>
                <a:cubicBezTo>
                  <a:pt x="882" y="62"/>
                  <a:pt x="882" y="62"/>
                  <a:pt x="883" y="62"/>
                </a:cubicBezTo>
                <a:cubicBezTo>
                  <a:pt x="883" y="61"/>
                  <a:pt x="883" y="61"/>
                  <a:pt x="884" y="61"/>
                </a:cubicBezTo>
                <a:cubicBezTo>
                  <a:pt x="884" y="62"/>
                  <a:pt x="886" y="61"/>
                  <a:pt x="887" y="61"/>
                </a:cubicBezTo>
                <a:cubicBezTo>
                  <a:pt x="888" y="61"/>
                  <a:pt x="890" y="61"/>
                  <a:pt x="891" y="61"/>
                </a:cubicBezTo>
                <a:cubicBezTo>
                  <a:pt x="892" y="61"/>
                  <a:pt x="891" y="61"/>
                  <a:pt x="891" y="61"/>
                </a:cubicBezTo>
                <a:cubicBezTo>
                  <a:pt x="890" y="61"/>
                  <a:pt x="890" y="61"/>
                  <a:pt x="889" y="61"/>
                </a:cubicBezTo>
                <a:cubicBezTo>
                  <a:pt x="889" y="61"/>
                  <a:pt x="889" y="62"/>
                  <a:pt x="889" y="62"/>
                </a:cubicBezTo>
                <a:cubicBezTo>
                  <a:pt x="888" y="62"/>
                  <a:pt x="888" y="62"/>
                  <a:pt x="888" y="62"/>
                </a:cubicBezTo>
                <a:cubicBezTo>
                  <a:pt x="887" y="63"/>
                  <a:pt x="888" y="65"/>
                  <a:pt x="889" y="65"/>
                </a:cubicBezTo>
                <a:cubicBezTo>
                  <a:pt x="889" y="65"/>
                  <a:pt x="886" y="65"/>
                  <a:pt x="886" y="64"/>
                </a:cubicBezTo>
                <a:cubicBezTo>
                  <a:pt x="886" y="64"/>
                  <a:pt x="885" y="65"/>
                  <a:pt x="885" y="65"/>
                </a:cubicBezTo>
                <a:cubicBezTo>
                  <a:pt x="885" y="64"/>
                  <a:pt x="883" y="64"/>
                  <a:pt x="883" y="64"/>
                </a:cubicBezTo>
                <a:cubicBezTo>
                  <a:pt x="882" y="64"/>
                  <a:pt x="882" y="65"/>
                  <a:pt x="883" y="66"/>
                </a:cubicBezTo>
                <a:cubicBezTo>
                  <a:pt x="883" y="66"/>
                  <a:pt x="883" y="68"/>
                  <a:pt x="883" y="68"/>
                </a:cubicBezTo>
                <a:cubicBezTo>
                  <a:pt x="884" y="68"/>
                  <a:pt x="883" y="68"/>
                  <a:pt x="883" y="68"/>
                </a:cubicBezTo>
                <a:cubicBezTo>
                  <a:pt x="884" y="68"/>
                  <a:pt x="885" y="68"/>
                  <a:pt x="886" y="68"/>
                </a:cubicBezTo>
                <a:cubicBezTo>
                  <a:pt x="887" y="68"/>
                  <a:pt x="887" y="69"/>
                  <a:pt x="888" y="69"/>
                </a:cubicBezTo>
                <a:cubicBezTo>
                  <a:pt x="888" y="69"/>
                  <a:pt x="888" y="70"/>
                  <a:pt x="889" y="70"/>
                </a:cubicBezTo>
                <a:cubicBezTo>
                  <a:pt x="890" y="70"/>
                  <a:pt x="890" y="71"/>
                  <a:pt x="891" y="71"/>
                </a:cubicBezTo>
                <a:cubicBezTo>
                  <a:pt x="891" y="71"/>
                  <a:pt x="892" y="71"/>
                  <a:pt x="892" y="70"/>
                </a:cubicBezTo>
                <a:cubicBezTo>
                  <a:pt x="893" y="70"/>
                  <a:pt x="893" y="71"/>
                  <a:pt x="893" y="72"/>
                </a:cubicBezTo>
                <a:cubicBezTo>
                  <a:pt x="893" y="72"/>
                  <a:pt x="894" y="74"/>
                  <a:pt x="894" y="74"/>
                </a:cubicBezTo>
                <a:cubicBezTo>
                  <a:pt x="894" y="75"/>
                  <a:pt x="895" y="75"/>
                  <a:pt x="895" y="74"/>
                </a:cubicBezTo>
                <a:cubicBezTo>
                  <a:pt x="895" y="73"/>
                  <a:pt x="895" y="73"/>
                  <a:pt x="896" y="74"/>
                </a:cubicBezTo>
                <a:cubicBezTo>
                  <a:pt x="896" y="73"/>
                  <a:pt x="898" y="74"/>
                  <a:pt x="897" y="72"/>
                </a:cubicBezTo>
                <a:cubicBezTo>
                  <a:pt x="897" y="72"/>
                  <a:pt x="897" y="71"/>
                  <a:pt x="897" y="71"/>
                </a:cubicBezTo>
                <a:cubicBezTo>
                  <a:pt x="896" y="70"/>
                  <a:pt x="897" y="70"/>
                  <a:pt x="898" y="70"/>
                </a:cubicBezTo>
                <a:cubicBezTo>
                  <a:pt x="898" y="70"/>
                  <a:pt x="900" y="70"/>
                  <a:pt x="901" y="70"/>
                </a:cubicBezTo>
                <a:cubicBezTo>
                  <a:pt x="901" y="70"/>
                  <a:pt x="902" y="68"/>
                  <a:pt x="902" y="68"/>
                </a:cubicBezTo>
                <a:cubicBezTo>
                  <a:pt x="903" y="68"/>
                  <a:pt x="903" y="67"/>
                  <a:pt x="903" y="67"/>
                </a:cubicBezTo>
                <a:cubicBezTo>
                  <a:pt x="903" y="66"/>
                  <a:pt x="903" y="66"/>
                  <a:pt x="904" y="66"/>
                </a:cubicBezTo>
                <a:cubicBezTo>
                  <a:pt x="906" y="66"/>
                  <a:pt x="906" y="65"/>
                  <a:pt x="906" y="63"/>
                </a:cubicBezTo>
                <a:cubicBezTo>
                  <a:pt x="906" y="62"/>
                  <a:pt x="907" y="62"/>
                  <a:pt x="908" y="62"/>
                </a:cubicBezTo>
                <a:cubicBezTo>
                  <a:pt x="908" y="62"/>
                  <a:pt x="908" y="62"/>
                  <a:pt x="908" y="62"/>
                </a:cubicBezTo>
                <a:cubicBezTo>
                  <a:pt x="908" y="62"/>
                  <a:pt x="908" y="61"/>
                  <a:pt x="908" y="61"/>
                </a:cubicBezTo>
                <a:cubicBezTo>
                  <a:pt x="908" y="61"/>
                  <a:pt x="908" y="61"/>
                  <a:pt x="908" y="60"/>
                </a:cubicBezTo>
                <a:cubicBezTo>
                  <a:pt x="908" y="60"/>
                  <a:pt x="908" y="59"/>
                  <a:pt x="907" y="59"/>
                </a:cubicBezTo>
                <a:cubicBezTo>
                  <a:pt x="907" y="58"/>
                  <a:pt x="907" y="57"/>
                  <a:pt x="908" y="57"/>
                </a:cubicBezTo>
                <a:cubicBezTo>
                  <a:pt x="909" y="56"/>
                  <a:pt x="909" y="56"/>
                  <a:pt x="910" y="56"/>
                </a:cubicBezTo>
                <a:cubicBezTo>
                  <a:pt x="911" y="55"/>
                  <a:pt x="913" y="55"/>
                  <a:pt x="915" y="55"/>
                </a:cubicBezTo>
                <a:cubicBezTo>
                  <a:pt x="915" y="53"/>
                  <a:pt x="914" y="53"/>
                  <a:pt x="912" y="53"/>
                </a:cubicBezTo>
                <a:cubicBezTo>
                  <a:pt x="911" y="53"/>
                  <a:pt x="911" y="52"/>
                  <a:pt x="910" y="52"/>
                </a:cubicBezTo>
                <a:cubicBezTo>
                  <a:pt x="909" y="52"/>
                  <a:pt x="907" y="51"/>
                  <a:pt x="907" y="50"/>
                </a:cubicBezTo>
                <a:cubicBezTo>
                  <a:pt x="907" y="49"/>
                  <a:pt x="906" y="48"/>
                  <a:pt x="906" y="46"/>
                </a:cubicBezTo>
                <a:cubicBezTo>
                  <a:pt x="905" y="46"/>
                  <a:pt x="905" y="46"/>
                  <a:pt x="905" y="47"/>
                </a:cubicBezTo>
                <a:cubicBezTo>
                  <a:pt x="905" y="47"/>
                  <a:pt x="904" y="47"/>
                  <a:pt x="904" y="47"/>
                </a:cubicBezTo>
                <a:cubicBezTo>
                  <a:pt x="904" y="48"/>
                  <a:pt x="904" y="47"/>
                  <a:pt x="904" y="47"/>
                </a:cubicBezTo>
                <a:cubicBezTo>
                  <a:pt x="903" y="46"/>
                  <a:pt x="903" y="46"/>
                  <a:pt x="904" y="45"/>
                </a:cubicBezTo>
                <a:cubicBezTo>
                  <a:pt x="904" y="45"/>
                  <a:pt x="904" y="46"/>
                  <a:pt x="904" y="45"/>
                </a:cubicBezTo>
                <a:cubicBezTo>
                  <a:pt x="904" y="44"/>
                  <a:pt x="904" y="43"/>
                  <a:pt x="903" y="43"/>
                </a:cubicBezTo>
                <a:cubicBezTo>
                  <a:pt x="902" y="43"/>
                  <a:pt x="902" y="42"/>
                  <a:pt x="901" y="42"/>
                </a:cubicBezTo>
                <a:cubicBezTo>
                  <a:pt x="900" y="42"/>
                  <a:pt x="901" y="41"/>
                  <a:pt x="900" y="40"/>
                </a:cubicBezTo>
                <a:cubicBezTo>
                  <a:pt x="900" y="40"/>
                  <a:pt x="900" y="40"/>
                  <a:pt x="900" y="40"/>
                </a:cubicBezTo>
                <a:cubicBezTo>
                  <a:pt x="899" y="40"/>
                  <a:pt x="899" y="40"/>
                  <a:pt x="899" y="40"/>
                </a:cubicBezTo>
                <a:cubicBezTo>
                  <a:pt x="898" y="41"/>
                  <a:pt x="898" y="41"/>
                  <a:pt x="897" y="41"/>
                </a:cubicBezTo>
                <a:cubicBezTo>
                  <a:pt x="897" y="41"/>
                  <a:pt x="896" y="39"/>
                  <a:pt x="896" y="38"/>
                </a:cubicBezTo>
                <a:cubicBezTo>
                  <a:pt x="895" y="38"/>
                  <a:pt x="895" y="39"/>
                  <a:pt x="895" y="39"/>
                </a:cubicBezTo>
                <a:cubicBezTo>
                  <a:pt x="894" y="40"/>
                  <a:pt x="894" y="40"/>
                  <a:pt x="893" y="40"/>
                </a:cubicBezTo>
                <a:cubicBezTo>
                  <a:pt x="893" y="41"/>
                  <a:pt x="892" y="42"/>
                  <a:pt x="891" y="42"/>
                </a:cubicBezTo>
                <a:cubicBezTo>
                  <a:pt x="890" y="42"/>
                  <a:pt x="891" y="44"/>
                  <a:pt x="891" y="45"/>
                </a:cubicBezTo>
                <a:cubicBezTo>
                  <a:pt x="891" y="46"/>
                  <a:pt x="891" y="47"/>
                  <a:pt x="891" y="47"/>
                </a:cubicBezTo>
                <a:cubicBezTo>
                  <a:pt x="892" y="47"/>
                  <a:pt x="892" y="47"/>
                  <a:pt x="892" y="47"/>
                </a:cubicBezTo>
                <a:cubicBezTo>
                  <a:pt x="892" y="48"/>
                  <a:pt x="892" y="48"/>
                  <a:pt x="892" y="48"/>
                </a:cubicBezTo>
                <a:cubicBezTo>
                  <a:pt x="892" y="48"/>
                  <a:pt x="892" y="49"/>
                  <a:pt x="893" y="50"/>
                </a:cubicBezTo>
                <a:cubicBezTo>
                  <a:pt x="893" y="50"/>
                  <a:pt x="893" y="50"/>
                  <a:pt x="893" y="51"/>
                </a:cubicBezTo>
                <a:cubicBezTo>
                  <a:pt x="893" y="51"/>
                  <a:pt x="892" y="50"/>
                  <a:pt x="892" y="50"/>
                </a:cubicBezTo>
                <a:cubicBezTo>
                  <a:pt x="892" y="50"/>
                  <a:pt x="892" y="49"/>
                  <a:pt x="892" y="49"/>
                </a:cubicBezTo>
                <a:cubicBezTo>
                  <a:pt x="891" y="48"/>
                  <a:pt x="891" y="48"/>
                  <a:pt x="891" y="48"/>
                </a:cubicBezTo>
                <a:cubicBezTo>
                  <a:pt x="891" y="48"/>
                  <a:pt x="891" y="48"/>
                  <a:pt x="891" y="48"/>
                </a:cubicBezTo>
                <a:cubicBezTo>
                  <a:pt x="891" y="48"/>
                  <a:pt x="891" y="47"/>
                  <a:pt x="891" y="47"/>
                </a:cubicBezTo>
                <a:cubicBezTo>
                  <a:pt x="890" y="47"/>
                  <a:pt x="890" y="46"/>
                  <a:pt x="889" y="46"/>
                </a:cubicBezTo>
                <a:cubicBezTo>
                  <a:pt x="888" y="45"/>
                  <a:pt x="889" y="45"/>
                  <a:pt x="889" y="44"/>
                </a:cubicBezTo>
                <a:cubicBezTo>
                  <a:pt x="888" y="44"/>
                  <a:pt x="887" y="43"/>
                  <a:pt x="887" y="42"/>
                </a:cubicBezTo>
                <a:cubicBezTo>
                  <a:pt x="887" y="41"/>
                  <a:pt x="886" y="42"/>
                  <a:pt x="885" y="42"/>
                </a:cubicBezTo>
                <a:cubicBezTo>
                  <a:pt x="884" y="43"/>
                  <a:pt x="883" y="45"/>
                  <a:pt x="884" y="46"/>
                </a:cubicBezTo>
                <a:cubicBezTo>
                  <a:pt x="883" y="46"/>
                  <a:pt x="883" y="46"/>
                  <a:pt x="883" y="45"/>
                </a:cubicBezTo>
                <a:cubicBezTo>
                  <a:pt x="882" y="45"/>
                  <a:pt x="883" y="45"/>
                  <a:pt x="882" y="45"/>
                </a:cubicBezTo>
                <a:cubicBezTo>
                  <a:pt x="881" y="45"/>
                  <a:pt x="882" y="44"/>
                  <a:pt x="881" y="44"/>
                </a:cubicBezTo>
                <a:cubicBezTo>
                  <a:pt x="880" y="43"/>
                  <a:pt x="879" y="43"/>
                  <a:pt x="881" y="43"/>
                </a:cubicBezTo>
                <a:cubicBezTo>
                  <a:pt x="881" y="42"/>
                  <a:pt x="883" y="43"/>
                  <a:pt x="883" y="42"/>
                </a:cubicBezTo>
                <a:cubicBezTo>
                  <a:pt x="883" y="41"/>
                  <a:pt x="883" y="41"/>
                  <a:pt x="883" y="41"/>
                </a:cubicBezTo>
                <a:cubicBezTo>
                  <a:pt x="882" y="41"/>
                  <a:pt x="881" y="41"/>
                  <a:pt x="881" y="41"/>
                </a:cubicBezTo>
                <a:cubicBezTo>
                  <a:pt x="881" y="40"/>
                  <a:pt x="880" y="41"/>
                  <a:pt x="880" y="41"/>
                </a:cubicBezTo>
                <a:cubicBezTo>
                  <a:pt x="880" y="41"/>
                  <a:pt x="878" y="41"/>
                  <a:pt x="878" y="41"/>
                </a:cubicBezTo>
                <a:cubicBezTo>
                  <a:pt x="878" y="41"/>
                  <a:pt x="878" y="41"/>
                  <a:pt x="877" y="41"/>
                </a:cubicBezTo>
                <a:cubicBezTo>
                  <a:pt x="877" y="41"/>
                  <a:pt x="876" y="43"/>
                  <a:pt x="876" y="42"/>
                </a:cubicBezTo>
                <a:cubicBezTo>
                  <a:pt x="875" y="41"/>
                  <a:pt x="875" y="41"/>
                  <a:pt x="874" y="42"/>
                </a:cubicBezTo>
                <a:cubicBezTo>
                  <a:pt x="874" y="43"/>
                  <a:pt x="874" y="44"/>
                  <a:pt x="874" y="45"/>
                </a:cubicBezTo>
                <a:cubicBezTo>
                  <a:pt x="875" y="45"/>
                  <a:pt x="875" y="45"/>
                  <a:pt x="875" y="44"/>
                </a:cubicBezTo>
                <a:close/>
                <a:moveTo>
                  <a:pt x="1074" y="38"/>
                </a:moveTo>
                <a:cubicBezTo>
                  <a:pt x="1074" y="38"/>
                  <a:pt x="1074" y="38"/>
                  <a:pt x="1074" y="38"/>
                </a:cubicBezTo>
                <a:cubicBezTo>
                  <a:pt x="1074" y="37"/>
                  <a:pt x="1074" y="37"/>
                  <a:pt x="1074" y="37"/>
                </a:cubicBezTo>
                <a:cubicBezTo>
                  <a:pt x="1074" y="37"/>
                  <a:pt x="1074" y="38"/>
                  <a:pt x="1074" y="38"/>
                </a:cubicBezTo>
                <a:close/>
                <a:moveTo>
                  <a:pt x="1078" y="37"/>
                </a:moveTo>
                <a:cubicBezTo>
                  <a:pt x="1080" y="38"/>
                  <a:pt x="1080" y="38"/>
                  <a:pt x="1080" y="36"/>
                </a:cubicBezTo>
                <a:cubicBezTo>
                  <a:pt x="1079" y="36"/>
                  <a:pt x="1078" y="36"/>
                  <a:pt x="1078" y="37"/>
                </a:cubicBezTo>
                <a:cubicBezTo>
                  <a:pt x="1079" y="38"/>
                  <a:pt x="1078" y="37"/>
                  <a:pt x="1078" y="37"/>
                </a:cubicBezTo>
                <a:close/>
                <a:moveTo>
                  <a:pt x="345" y="41"/>
                </a:moveTo>
                <a:cubicBezTo>
                  <a:pt x="345" y="41"/>
                  <a:pt x="346" y="40"/>
                  <a:pt x="346" y="41"/>
                </a:cubicBezTo>
                <a:cubicBezTo>
                  <a:pt x="346" y="42"/>
                  <a:pt x="347" y="42"/>
                  <a:pt x="348" y="42"/>
                </a:cubicBezTo>
                <a:cubicBezTo>
                  <a:pt x="348" y="41"/>
                  <a:pt x="347" y="40"/>
                  <a:pt x="347" y="39"/>
                </a:cubicBezTo>
                <a:cubicBezTo>
                  <a:pt x="346" y="39"/>
                  <a:pt x="345" y="36"/>
                  <a:pt x="346" y="36"/>
                </a:cubicBezTo>
                <a:cubicBezTo>
                  <a:pt x="345" y="36"/>
                  <a:pt x="344" y="36"/>
                  <a:pt x="344" y="37"/>
                </a:cubicBezTo>
                <a:cubicBezTo>
                  <a:pt x="344" y="37"/>
                  <a:pt x="343" y="38"/>
                  <a:pt x="344" y="38"/>
                </a:cubicBezTo>
                <a:cubicBezTo>
                  <a:pt x="344" y="39"/>
                  <a:pt x="344" y="40"/>
                  <a:pt x="345" y="41"/>
                </a:cubicBezTo>
                <a:cubicBezTo>
                  <a:pt x="345" y="41"/>
                  <a:pt x="345" y="41"/>
                  <a:pt x="345" y="41"/>
                </a:cubicBezTo>
                <a:close/>
                <a:moveTo>
                  <a:pt x="724" y="36"/>
                </a:moveTo>
                <a:cubicBezTo>
                  <a:pt x="724" y="37"/>
                  <a:pt x="724" y="37"/>
                  <a:pt x="724" y="37"/>
                </a:cubicBezTo>
                <a:cubicBezTo>
                  <a:pt x="724" y="37"/>
                  <a:pt x="725" y="37"/>
                  <a:pt x="725" y="37"/>
                </a:cubicBezTo>
                <a:cubicBezTo>
                  <a:pt x="726" y="37"/>
                  <a:pt x="725" y="37"/>
                  <a:pt x="726" y="37"/>
                </a:cubicBezTo>
                <a:cubicBezTo>
                  <a:pt x="726" y="37"/>
                  <a:pt x="725" y="36"/>
                  <a:pt x="724" y="36"/>
                </a:cubicBezTo>
                <a:cubicBezTo>
                  <a:pt x="724" y="37"/>
                  <a:pt x="724" y="36"/>
                  <a:pt x="724" y="36"/>
                </a:cubicBezTo>
                <a:close/>
                <a:moveTo>
                  <a:pt x="1090" y="36"/>
                </a:moveTo>
                <a:cubicBezTo>
                  <a:pt x="1090" y="36"/>
                  <a:pt x="1087" y="36"/>
                  <a:pt x="1087" y="36"/>
                </a:cubicBezTo>
                <a:cubicBezTo>
                  <a:pt x="1087" y="37"/>
                  <a:pt x="1085" y="36"/>
                  <a:pt x="1085" y="37"/>
                </a:cubicBezTo>
                <a:cubicBezTo>
                  <a:pt x="1085" y="37"/>
                  <a:pt x="1085" y="37"/>
                  <a:pt x="1085" y="37"/>
                </a:cubicBezTo>
                <a:cubicBezTo>
                  <a:pt x="1085" y="38"/>
                  <a:pt x="1085" y="38"/>
                  <a:pt x="1085" y="39"/>
                </a:cubicBezTo>
                <a:cubicBezTo>
                  <a:pt x="1086" y="39"/>
                  <a:pt x="1087" y="39"/>
                  <a:pt x="1088" y="39"/>
                </a:cubicBezTo>
                <a:cubicBezTo>
                  <a:pt x="1088" y="39"/>
                  <a:pt x="1088" y="40"/>
                  <a:pt x="1088" y="40"/>
                </a:cubicBezTo>
                <a:cubicBezTo>
                  <a:pt x="1089" y="40"/>
                  <a:pt x="1089" y="40"/>
                  <a:pt x="1089" y="40"/>
                </a:cubicBezTo>
                <a:cubicBezTo>
                  <a:pt x="1090" y="40"/>
                  <a:pt x="1090" y="39"/>
                  <a:pt x="1090" y="39"/>
                </a:cubicBezTo>
                <a:cubicBezTo>
                  <a:pt x="1090" y="39"/>
                  <a:pt x="1089" y="38"/>
                  <a:pt x="1089" y="38"/>
                </a:cubicBezTo>
                <a:cubicBezTo>
                  <a:pt x="1090" y="38"/>
                  <a:pt x="1090" y="37"/>
                  <a:pt x="1091" y="37"/>
                </a:cubicBezTo>
                <a:cubicBezTo>
                  <a:pt x="1091" y="37"/>
                  <a:pt x="1090" y="36"/>
                  <a:pt x="1090" y="36"/>
                </a:cubicBezTo>
                <a:close/>
                <a:moveTo>
                  <a:pt x="1070" y="38"/>
                </a:moveTo>
                <a:cubicBezTo>
                  <a:pt x="1071" y="38"/>
                  <a:pt x="1072" y="38"/>
                  <a:pt x="1072" y="38"/>
                </a:cubicBezTo>
                <a:cubicBezTo>
                  <a:pt x="1072" y="38"/>
                  <a:pt x="1072" y="37"/>
                  <a:pt x="1072" y="37"/>
                </a:cubicBezTo>
                <a:cubicBezTo>
                  <a:pt x="1073" y="36"/>
                  <a:pt x="1072" y="36"/>
                  <a:pt x="1072" y="36"/>
                </a:cubicBezTo>
                <a:cubicBezTo>
                  <a:pt x="1071" y="36"/>
                  <a:pt x="1071" y="35"/>
                  <a:pt x="1070" y="35"/>
                </a:cubicBezTo>
                <a:cubicBezTo>
                  <a:pt x="1069" y="35"/>
                  <a:pt x="1069" y="35"/>
                  <a:pt x="1068" y="36"/>
                </a:cubicBezTo>
                <a:cubicBezTo>
                  <a:pt x="1068" y="36"/>
                  <a:pt x="1069" y="36"/>
                  <a:pt x="1068" y="36"/>
                </a:cubicBezTo>
                <a:cubicBezTo>
                  <a:pt x="1068" y="36"/>
                  <a:pt x="1067" y="36"/>
                  <a:pt x="1066" y="36"/>
                </a:cubicBezTo>
                <a:cubicBezTo>
                  <a:pt x="1065" y="37"/>
                  <a:pt x="1069" y="38"/>
                  <a:pt x="1070" y="38"/>
                </a:cubicBezTo>
                <a:cubicBezTo>
                  <a:pt x="1071" y="38"/>
                  <a:pt x="1070" y="38"/>
                  <a:pt x="1070" y="38"/>
                </a:cubicBezTo>
                <a:close/>
                <a:moveTo>
                  <a:pt x="926" y="36"/>
                </a:moveTo>
                <a:cubicBezTo>
                  <a:pt x="926" y="35"/>
                  <a:pt x="926" y="35"/>
                  <a:pt x="925" y="35"/>
                </a:cubicBezTo>
                <a:cubicBezTo>
                  <a:pt x="925" y="36"/>
                  <a:pt x="925" y="36"/>
                  <a:pt x="926" y="36"/>
                </a:cubicBezTo>
                <a:cubicBezTo>
                  <a:pt x="926" y="35"/>
                  <a:pt x="926" y="36"/>
                  <a:pt x="926" y="36"/>
                </a:cubicBezTo>
                <a:close/>
                <a:moveTo>
                  <a:pt x="1094" y="39"/>
                </a:moveTo>
                <a:cubicBezTo>
                  <a:pt x="1095" y="38"/>
                  <a:pt x="1095" y="37"/>
                  <a:pt x="1097" y="36"/>
                </a:cubicBezTo>
                <a:cubicBezTo>
                  <a:pt x="1097" y="36"/>
                  <a:pt x="1098" y="36"/>
                  <a:pt x="1098" y="36"/>
                </a:cubicBezTo>
                <a:cubicBezTo>
                  <a:pt x="1098" y="35"/>
                  <a:pt x="1096" y="35"/>
                  <a:pt x="1095" y="35"/>
                </a:cubicBezTo>
                <a:cubicBezTo>
                  <a:pt x="1094" y="35"/>
                  <a:pt x="1093" y="35"/>
                  <a:pt x="1093" y="34"/>
                </a:cubicBezTo>
                <a:cubicBezTo>
                  <a:pt x="1092" y="34"/>
                  <a:pt x="1092" y="34"/>
                  <a:pt x="1091" y="34"/>
                </a:cubicBezTo>
                <a:cubicBezTo>
                  <a:pt x="1091" y="35"/>
                  <a:pt x="1091" y="35"/>
                  <a:pt x="1092" y="36"/>
                </a:cubicBezTo>
                <a:cubicBezTo>
                  <a:pt x="1092" y="37"/>
                  <a:pt x="1091" y="38"/>
                  <a:pt x="1092" y="38"/>
                </a:cubicBezTo>
                <a:cubicBezTo>
                  <a:pt x="1093" y="38"/>
                  <a:pt x="1093" y="38"/>
                  <a:pt x="1094" y="39"/>
                </a:cubicBezTo>
                <a:cubicBezTo>
                  <a:pt x="1095" y="38"/>
                  <a:pt x="1094" y="39"/>
                  <a:pt x="1094" y="39"/>
                </a:cubicBezTo>
                <a:close/>
                <a:moveTo>
                  <a:pt x="1074" y="35"/>
                </a:moveTo>
                <a:cubicBezTo>
                  <a:pt x="1075" y="34"/>
                  <a:pt x="1075" y="34"/>
                  <a:pt x="1075" y="34"/>
                </a:cubicBezTo>
                <a:cubicBezTo>
                  <a:pt x="1074" y="34"/>
                  <a:pt x="1073" y="33"/>
                  <a:pt x="1073" y="34"/>
                </a:cubicBezTo>
                <a:cubicBezTo>
                  <a:pt x="1073" y="35"/>
                  <a:pt x="1073" y="35"/>
                  <a:pt x="1074" y="35"/>
                </a:cubicBezTo>
                <a:cubicBezTo>
                  <a:pt x="1075" y="34"/>
                  <a:pt x="1074" y="35"/>
                  <a:pt x="1074" y="35"/>
                </a:cubicBezTo>
                <a:close/>
                <a:moveTo>
                  <a:pt x="905" y="39"/>
                </a:moveTo>
                <a:cubicBezTo>
                  <a:pt x="906" y="39"/>
                  <a:pt x="906" y="38"/>
                  <a:pt x="906" y="38"/>
                </a:cubicBezTo>
                <a:cubicBezTo>
                  <a:pt x="906" y="39"/>
                  <a:pt x="906" y="39"/>
                  <a:pt x="906" y="39"/>
                </a:cubicBezTo>
                <a:cubicBezTo>
                  <a:pt x="907" y="39"/>
                  <a:pt x="907" y="39"/>
                  <a:pt x="907" y="39"/>
                </a:cubicBezTo>
                <a:cubicBezTo>
                  <a:pt x="908" y="39"/>
                  <a:pt x="907" y="39"/>
                  <a:pt x="908" y="39"/>
                </a:cubicBezTo>
                <a:cubicBezTo>
                  <a:pt x="908" y="39"/>
                  <a:pt x="909" y="39"/>
                  <a:pt x="909" y="39"/>
                </a:cubicBezTo>
                <a:cubicBezTo>
                  <a:pt x="909" y="40"/>
                  <a:pt x="909" y="40"/>
                  <a:pt x="909" y="41"/>
                </a:cubicBezTo>
                <a:cubicBezTo>
                  <a:pt x="908" y="41"/>
                  <a:pt x="907" y="41"/>
                  <a:pt x="906" y="41"/>
                </a:cubicBezTo>
                <a:cubicBezTo>
                  <a:pt x="907" y="42"/>
                  <a:pt x="907" y="42"/>
                  <a:pt x="907" y="43"/>
                </a:cubicBezTo>
                <a:cubicBezTo>
                  <a:pt x="907" y="43"/>
                  <a:pt x="908" y="43"/>
                  <a:pt x="908" y="43"/>
                </a:cubicBezTo>
                <a:cubicBezTo>
                  <a:pt x="909" y="43"/>
                  <a:pt x="908" y="44"/>
                  <a:pt x="909" y="44"/>
                </a:cubicBezTo>
                <a:cubicBezTo>
                  <a:pt x="909" y="44"/>
                  <a:pt x="909" y="44"/>
                  <a:pt x="909" y="44"/>
                </a:cubicBezTo>
                <a:cubicBezTo>
                  <a:pt x="911" y="44"/>
                  <a:pt x="912" y="44"/>
                  <a:pt x="913" y="43"/>
                </a:cubicBezTo>
                <a:cubicBezTo>
                  <a:pt x="914" y="43"/>
                  <a:pt x="916" y="43"/>
                  <a:pt x="917" y="43"/>
                </a:cubicBezTo>
                <a:cubicBezTo>
                  <a:pt x="918" y="43"/>
                  <a:pt x="920" y="43"/>
                  <a:pt x="919" y="44"/>
                </a:cubicBezTo>
                <a:cubicBezTo>
                  <a:pt x="919" y="44"/>
                  <a:pt x="920" y="44"/>
                  <a:pt x="919" y="44"/>
                </a:cubicBezTo>
                <a:cubicBezTo>
                  <a:pt x="918" y="44"/>
                  <a:pt x="918" y="44"/>
                  <a:pt x="918" y="44"/>
                </a:cubicBezTo>
                <a:cubicBezTo>
                  <a:pt x="917" y="44"/>
                  <a:pt x="918" y="45"/>
                  <a:pt x="917" y="45"/>
                </a:cubicBezTo>
                <a:cubicBezTo>
                  <a:pt x="917" y="45"/>
                  <a:pt x="917" y="45"/>
                  <a:pt x="916" y="45"/>
                </a:cubicBezTo>
                <a:cubicBezTo>
                  <a:pt x="916" y="45"/>
                  <a:pt x="915" y="45"/>
                  <a:pt x="914" y="45"/>
                </a:cubicBezTo>
                <a:cubicBezTo>
                  <a:pt x="914" y="45"/>
                  <a:pt x="914" y="45"/>
                  <a:pt x="915" y="46"/>
                </a:cubicBezTo>
                <a:cubicBezTo>
                  <a:pt x="913" y="46"/>
                  <a:pt x="912" y="45"/>
                  <a:pt x="911" y="45"/>
                </a:cubicBezTo>
                <a:cubicBezTo>
                  <a:pt x="911" y="45"/>
                  <a:pt x="910" y="45"/>
                  <a:pt x="911" y="46"/>
                </a:cubicBezTo>
                <a:cubicBezTo>
                  <a:pt x="911" y="47"/>
                  <a:pt x="911" y="47"/>
                  <a:pt x="911" y="47"/>
                </a:cubicBezTo>
                <a:cubicBezTo>
                  <a:pt x="912" y="47"/>
                  <a:pt x="913" y="48"/>
                  <a:pt x="913" y="48"/>
                </a:cubicBezTo>
                <a:cubicBezTo>
                  <a:pt x="913" y="48"/>
                  <a:pt x="915" y="47"/>
                  <a:pt x="915" y="48"/>
                </a:cubicBezTo>
                <a:cubicBezTo>
                  <a:pt x="916" y="48"/>
                  <a:pt x="917" y="48"/>
                  <a:pt x="918" y="47"/>
                </a:cubicBezTo>
                <a:cubicBezTo>
                  <a:pt x="918" y="48"/>
                  <a:pt x="918" y="48"/>
                  <a:pt x="918" y="48"/>
                </a:cubicBezTo>
                <a:cubicBezTo>
                  <a:pt x="919" y="48"/>
                  <a:pt x="918" y="48"/>
                  <a:pt x="919" y="48"/>
                </a:cubicBezTo>
                <a:cubicBezTo>
                  <a:pt x="920" y="48"/>
                  <a:pt x="921" y="48"/>
                  <a:pt x="922" y="48"/>
                </a:cubicBezTo>
                <a:cubicBezTo>
                  <a:pt x="922" y="48"/>
                  <a:pt x="922" y="49"/>
                  <a:pt x="923" y="49"/>
                </a:cubicBezTo>
                <a:cubicBezTo>
                  <a:pt x="923" y="49"/>
                  <a:pt x="923" y="49"/>
                  <a:pt x="923" y="49"/>
                </a:cubicBezTo>
                <a:cubicBezTo>
                  <a:pt x="924" y="49"/>
                  <a:pt x="925" y="49"/>
                  <a:pt x="926" y="49"/>
                </a:cubicBezTo>
                <a:cubicBezTo>
                  <a:pt x="926" y="49"/>
                  <a:pt x="926" y="50"/>
                  <a:pt x="926" y="50"/>
                </a:cubicBezTo>
                <a:cubicBezTo>
                  <a:pt x="927" y="50"/>
                  <a:pt x="927" y="49"/>
                  <a:pt x="927" y="50"/>
                </a:cubicBezTo>
                <a:cubicBezTo>
                  <a:pt x="927" y="50"/>
                  <a:pt x="931" y="50"/>
                  <a:pt x="931" y="50"/>
                </a:cubicBezTo>
                <a:cubicBezTo>
                  <a:pt x="932" y="50"/>
                  <a:pt x="933" y="50"/>
                  <a:pt x="935" y="50"/>
                </a:cubicBezTo>
                <a:cubicBezTo>
                  <a:pt x="935" y="50"/>
                  <a:pt x="936" y="50"/>
                  <a:pt x="937" y="50"/>
                </a:cubicBezTo>
                <a:cubicBezTo>
                  <a:pt x="938" y="50"/>
                  <a:pt x="938" y="49"/>
                  <a:pt x="938" y="49"/>
                </a:cubicBezTo>
                <a:cubicBezTo>
                  <a:pt x="938" y="49"/>
                  <a:pt x="938" y="48"/>
                  <a:pt x="938" y="47"/>
                </a:cubicBezTo>
                <a:cubicBezTo>
                  <a:pt x="940" y="47"/>
                  <a:pt x="943" y="47"/>
                  <a:pt x="944" y="45"/>
                </a:cubicBezTo>
                <a:cubicBezTo>
                  <a:pt x="943" y="46"/>
                  <a:pt x="943" y="45"/>
                  <a:pt x="943" y="44"/>
                </a:cubicBezTo>
                <a:cubicBezTo>
                  <a:pt x="943" y="44"/>
                  <a:pt x="945" y="44"/>
                  <a:pt x="945" y="44"/>
                </a:cubicBezTo>
                <a:cubicBezTo>
                  <a:pt x="946" y="44"/>
                  <a:pt x="946" y="44"/>
                  <a:pt x="946" y="44"/>
                </a:cubicBezTo>
                <a:cubicBezTo>
                  <a:pt x="946" y="43"/>
                  <a:pt x="947" y="42"/>
                  <a:pt x="948" y="42"/>
                </a:cubicBezTo>
                <a:cubicBezTo>
                  <a:pt x="948" y="41"/>
                  <a:pt x="948" y="41"/>
                  <a:pt x="948" y="41"/>
                </a:cubicBezTo>
                <a:cubicBezTo>
                  <a:pt x="948" y="41"/>
                  <a:pt x="948" y="41"/>
                  <a:pt x="948" y="41"/>
                </a:cubicBezTo>
                <a:cubicBezTo>
                  <a:pt x="949" y="40"/>
                  <a:pt x="949" y="40"/>
                  <a:pt x="949" y="39"/>
                </a:cubicBezTo>
                <a:cubicBezTo>
                  <a:pt x="948" y="39"/>
                  <a:pt x="948" y="39"/>
                  <a:pt x="947" y="39"/>
                </a:cubicBezTo>
                <a:cubicBezTo>
                  <a:pt x="947" y="39"/>
                  <a:pt x="947" y="40"/>
                  <a:pt x="946" y="40"/>
                </a:cubicBezTo>
                <a:cubicBezTo>
                  <a:pt x="947" y="39"/>
                  <a:pt x="943" y="39"/>
                  <a:pt x="942" y="38"/>
                </a:cubicBezTo>
                <a:cubicBezTo>
                  <a:pt x="942" y="38"/>
                  <a:pt x="942" y="37"/>
                  <a:pt x="942" y="37"/>
                </a:cubicBezTo>
                <a:cubicBezTo>
                  <a:pt x="942" y="37"/>
                  <a:pt x="941" y="37"/>
                  <a:pt x="941" y="38"/>
                </a:cubicBezTo>
                <a:cubicBezTo>
                  <a:pt x="940" y="39"/>
                  <a:pt x="939" y="39"/>
                  <a:pt x="938" y="39"/>
                </a:cubicBezTo>
                <a:cubicBezTo>
                  <a:pt x="939" y="38"/>
                  <a:pt x="939" y="37"/>
                  <a:pt x="939" y="36"/>
                </a:cubicBezTo>
                <a:cubicBezTo>
                  <a:pt x="939" y="37"/>
                  <a:pt x="937" y="37"/>
                  <a:pt x="937" y="38"/>
                </a:cubicBezTo>
                <a:cubicBezTo>
                  <a:pt x="936" y="39"/>
                  <a:pt x="935" y="39"/>
                  <a:pt x="934" y="40"/>
                </a:cubicBezTo>
                <a:cubicBezTo>
                  <a:pt x="933" y="39"/>
                  <a:pt x="934" y="39"/>
                  <a:pt x="934" y="38"/>
                </a:cubicBezTo>
                <a:cubicBezTo>
                  <a:pt x="935" y="38"/>
                  <a:pt x="934" y="37"/>
                  <a:pt x="934" y="36"/>
                </a:cubicBezTo>
                <a:cubicBezTo>
                  <a:pt x="933" y="35"/>
                  <a:pt x="933" y="34"/>
                  <a:pt x="933" y="36"/>
                </a:cubicBezTo>
                <a:cubicBezTo>
                  <a:pt x="933" y="36"/>
                  <a:pt x="932" y="38"/>
                  <a:pt x="932" y="38"/>
                </a:cubicBezTo>
                <a:cubicBezTo>
                  <a:pt x="932" y="38"/>
                  <a:pt x="931" y="38"/>
                  <a:pt x="931" y="38"/>
                </a:cubicBezTo>
                <a:cubicBezTo>
                  <a:pt x="931" y="38"/>
                  <a:pt x="931" y="37"/>
                  <a:pt x="931" y="37"/>
                </a:cubicBezTo>
                <a:cubicBezTo>
                  <a:pt x="931" y="37"/>
                  <a:pt x="931" y="37"/>
                  <a:pt x="931" y="37"/>
                </a:cubicBezTo>
                <a:cubicBezTo>
                  <a:pt x="931" y="36"/>
                  <a:pt x="931" y="37"/>
                  <a:pt x="931" y="38"/>
                </a:cubicBezTo>
                <a:cubicBezTo>
                  <a:pt x="931" y="39"/>
                  <a:pt x="929" y="39"/>
                  <a:pt x="929" y="40"/>
                </a:cubicBezTo>
                <a:cubicBezTo>
                  <a:pt x="928" y="40"/>
                  <a:pt x="928" y="39"/>
                  <a:pt x="927" y="39"/>
                </a:cubicBezTo>
                <a:cubicBezTo>
                  <a:pt x="927" y="39"/>
                  <a:pt x="927" y="39"/>
                  <a:pt x="927" y="39"/>
                </a:cubicBezTo>
                <a:cubicBezTo>
                  <a:pt x="927" y="39"/>
                  <a:pt x="926" y="39"/>
                  <a:pt x="926" y="39"/>
                </a:cubicBezTo>
                <a:cubicBezTo>
                  <a:pt x="926" y="39"/>
                  <a:pt x="926" y="38"/>
                  <a:pt x="926" y="38"/>
                </a:cubicBezTo>
                <a:cubicBezTo>
                  <a:pt x="926" y="38"/>
                  <a:pt x="926" y="38"/>
                  <a:pt x="925" y="38"/>
                </a:cubicBezTo>
                <a:cubicBezTo>
                  <a:pt x="924" y="38"/>
                  <a:pt x="924" y="37"/>
                  <a:pt x="923" y="37"/>
                </a:cubicBezTo>
                <a:cubicBezTo>
                  <a:pt x="922" y="37"/>
                  <a:pt x="921" y="38"/>
                  <a:pt x="920" y="36"/>
                </a:cubicBezTo>
                <a:cubicBezTo>
                  <a:pt x="920" y="36"/>
                  <a:pt x="919" y="36"/>
                  <a:pt x="919" y="36"/>
                </a:cubicBezTo>
                <a:cubicBezTo>
                  <a:pt x="919" y="36"/>
                  <a:pt x="918" y="35"/>
                  <a:pt x="918" y="35"/>
                </a:cubicBezTo>
                <a:cubicBezTo>
                  <a:pt x="917" y="35"/>
                  <a:pt x="918" y="34"/>
                  <a:pt x="917" y="34"/>
                </a:cubicBezTo>
                <a:cubicBezTo>
                  <a:pt x="917" y="34"/>
                  <a:pt x="916" y="34"/>
                  <a:pt x="916" y="35"/>
                </a:cubicBezTo>
                <a:cubicBezTo>
                  <a:pt x="915" y="34"/>
                  <a:pt x="915" y="34"/>
                  <a:pt x="914" y="33"/>
                </a:cubicBezTo>
                <a:cubicBezTo>
                  <a:pt x="914" y="33"/>
                  <a:pt x="913" y="33"/>
                  <a:pt x="913" y="33"/>
                </a:cubicBezTo>
                <a:cubicBezTo>
                  <a:pt x="913" y="35"/>
                  <a:pt x="913" y="35"/>
                  <a:pt x="914" y="35"/>
                </a:cubicBezTo>
                <a:cubicBezTo>
                  <a:pt x="913" y="37"/>
                  <a:pt x="911" y="36"/>
                  <a:pt x="911" y="37"/>
                </a:cubicBezTo>
                <a:cubicBezTo>
                  <a:pt x="911" y="38"/>
                  <a:pt x="912" y="39"/>
                  <a:pt x="911" y="39"/>
                </a:cubicBezTo>
                <a:cubicBezTo>
                  <a:pt x="910" y="39"/>
                  <a:pt x="909" y="39"/>
                  <a:pt x="909" y="38"/>
                </a:cubicBezTo>
                <a:cubicBezTo>
                  <a:pt x="909" y="38"/>
                  <a:pt x="905" y="37"/>
                  <a:pt x="904" y="37"/>
                </a:cubicBezTo>
                <a:cubicBezTo>
                  <a:pt x="904" y="38"/>
                  <a:pt x="904" y="38"/>
                  <a:pt x="905" y="39"/>
                </a:cubicBezTo>
                <a:close/>
                <a:moveTo>
                  <a:pt x="1072" y="33"/>
                </a:moveTo>
                <a:cubicBezTo>
                  <a:pt x="1072" y="33"/>
                  <a:pt x="1073" y="32"/>
                  <a:pt x="1072" y="33"/>
                </a:cubicBezTo>
                <a:cubicBezTo>
                  <a:pt x="1072" y="33"/>
                  <a:pt x="1072" y="33"/>
                  <a:pt x="1072" y="33"/>
                </a:cubicBezTo>
                <a:close/>
                <a:moveTo>
                  <a:pt x="1092" y="32"/>
                </a:moveTo>
                <a:cubicBezTo>
                  <a:pt x="1092" y="32"/>
                  <a:pt x="1092" y="32"/>
                  <a:pt x="1091" y="32"/>
                </a:cubicBezTo>
                <a:cubicBezTo>
                  <a:pt x="1092" y="32"/>
                  <a:pt x="1092" y="32"/>
                  <a:pt x="1092" y="32"/>
                </a:cubicBezTo>
                <a:close/>
                <a:moveTo>
                  <a:pt x="1055" y="33"/>
                </a:moveTo>
                <a:cubicBezTo>
                  <a:pt x="1056" y="34"/>
                  <a:pt x="1054" y="34"/>
                  <a:pt x="1053" y="34"/>
                </a:cubicBezTo>
                <a:cubicBezTo>
                  <a:pt x="1052" y="35"/>
                  <a:pt x="1051" y="36"/>
                  <a:pt x="1049" y="36"/>
                </a:cubicBezTo>
                <a:cubicBezTo>
                  <a:pt x="1048" y="36"/>
                  <a:pt x="1047" y="35"/>
                  <a:pt x="1046" y="35"/>
                </a:cubicBezTo>
                <a:cubicBezTo>
                  <a:pt x="1045" y="35"/>
                  <a:pt x="1044" y="35"/>
                  <a:pt x="1044" y="35"/>
                </a:cubicBezTo>
                <a:cubicBezTo>
                  <a:pt x="1043" y="35"/>
                  <a:pt x="1040" y="35"/>
                  <a:pt x="1040" y="36"/>
                </a:cubicBezTo>
                <a:cubicBezTo>
                  <a:pt x="1040" y="35"/>
                  <a:pt x="1042" y="36"/>
                  <a:pt x="1043" y="36"/>
                </a:cubicBezTo>
                <a:cubicBezTo>
                  <a:pt x="1042" y="37"/>
                  <a:pt x="1041" y="37"/>
                  <a:pt x="1041" y="38"/>
                </a:cubicBezTo>
                <a:cubicBezTo>
                  <a:pt x="1041" y="38"/>
                  <a:pt x="1042" y="39"/>
                  <a:pt x="1042" y="39"/>
                </a:cubicBezTo>
                <a:cubicBezTo>
                  <a:pt x="1043" y="39"/>
                  <a:pt x="1043" y="39"/>
                  <a:pt x="1044" y="39"/>
                </a:cubicBezTo>
                <a:cubicBezTo>
                  <a:pt x="1045" y="39"/>
                  <a:pt x="1044" y="39"/>
                  <a:pt x="1045" y="39"/>
                </a:cubicBezTo>
                <a:cubicBezTo>
                  <a:pt x="1045" y="40"/>
                  <a:pt x="1045" y="40"/>
                  <a:pt x="1045" y="40"/>
                </a:cubicBezTo>
                <a:cubicBezTo>
                  <a:pt x="1045" y="40"/>
                  <a:pt x="1046" y="40"/>
                  <a:pt x="1046" y="40"/>
                </a:cubicBezTo>
                <a:cubicBezTo>
                  <a:pt x="1046" y="39"/>
                  <a:pt x="1046" y="39"/>
                  <a:pt x="1047" y="39"/>
                </a:cubicBezTo>
                <a:cubicBezTo>
                  <a:pt x="1047" y="39"/>
                  <a:pt x="1048" y="40"/>
                  <a:pt x="1048" y="39"/>
                </a:cubicBezTo>
                <a:cubicBezTo>
                  <a:pt x="1048" y="39"/>
                  <a:pt x="1050" y="39"/>
                  <a:pt x="1050" y="39"/>
                </a:cubicBezTo>
                <a:cubicBezTo>
                  <a:pt x="1050" y="38"/>
                  <a:pt x="1050" y="38"/>
                  <a:pt x="1050" y="37"/>
                </a:cubicBezTo>
                <a:cubicBezTo>
                  <a:pt x="1052" y="37"/>
                  <a:pt x="1054" y="38"/>
                  <a:pt x="1056" y="38"/>
                </a:cubicBezTo>
                <a:cubicBezTo>
                  <a:pt x="1056" y="37"/>
                  <a:pt x="1055" y="36"/>
                  <a:pt x="1056" y="36"/>
                </a:cubicBezTo>
                <a:cubicBezTo>
                  <a:pt x="1057" y="36"/>
                  <a:pt x="1059" y="36"/>
                  <a:pt x="1060" y="36"/>
                </a:cubicBezTo>
                <a:cubicBezTo>
                  <a:pt x="1060" y="36"/>
                  <a:pt x="1061" y="36"/>
                  <a:pt x="1061" y="36"/>
                </a:cubicBezTo>
                <a:cubicBezTo>
                  <a:pt x="1061" y="35"/>
                  <a:pt x="1062" y="35"/>
                  <a:pt x="1062" y="34"/>
                </a:cubicBezTo>
                <a:cubicBezTo>
                  <a:pt x="1061" y="32"/>
                  <a:pt x="1060" y="34"/>
                  <a:pt x="1058" y="34"/>
                </a:cubicBezTo>
                <a:cubicBezTo>
                  <a:pt x="1059" y="33"/>
                  <a:pt x="1059" y="33"/>
                  <a:pt x="1059" y="32"/>
                </a:cubicBezTo>
                <a:cubicBezTo>
                  <a:pt x="1058" y="32"/>
                  <a:pt x="1057" y="32"/>
                  <a:pt x="1057" y="33"/>
                </a:cubicBezTo>
                <a:cubicBezTo>
                  <a:pt x="1057" y="31"/>
                  <a:pt x="1055" y="32"/>
                  <a:pt x="1054" y="32"/>
                </a:cubicBezTo>
                <a:cubicBezTo>
                  <a:pt x="1055" y="33"/>
                  <a:pt x="1055" y="33"/>
                  <a:pt x="1055" y="33"/>
                </a:cubicBezTo>
                <a:close/>
                <a:moveTo>
                  <a:pt x="1023" y="36"/>
                </a:moveTo>
                <a:cubicBezTo>
                  <a:pt x="1024" y="36"/>
                  <a:pt x="1026" y="37"/>
                  <a:pt x="1026" y="37"/>
                </a:cubicBezTo>
                <a:cubicBezTo>
                  <a:pt x="1026" y="37"/>
                  <a:pt x="1027" y="37"/>
                  <a:pt x="1028" y="36"/>
                </a:cubicBezTo>
                <a:cubicBezTo>
                  <a:pt x="1028" y="36"/>
                  <a:pt x="1030" y="36"/>
                  <a:pt x="1030" y="35"/>
                </a:cubicBezTo>
                <a:cubicBezTo>
                  <a:pt x="1031" y="35"/>
                  <a:pt x="1032" y="36"/>
                  <a:pt x="1033" y="37"/>
                </a:cubicBezTo>
                <a:cubicBezTo>
                  <a:pt x="1033" y="37"/>
                  <a:pt x="1034" y="37"/>
                  <a:pt x="1034" y="37"/>
                </a:cubicBezTo>
                <a:cubicBezTo>
                  <a:pt x="1034" y="37"/>
                  <a:pt x="1034" y="36"/>
                  <a:pt x="1034" y="36"/>
                </a:cubicBezTo>
                <a:cubicBezTo>
                  <a:pt x="1035" y="36"/>
                  <a:pt x="1036" y="36"/>
                  <a:pt x="1037" y="35"/>
                </a:cubicBezTo>
                <a:cubicBezTo>
                  <a:pt x="1037" y="34"/>
                  <a:pt x="1037" y="34"/>
                  <a:pt x="1038" y="34"/>
                </a:cubicBezTo>
                <a:cubicBezTo>
                  <a:pt x="1039" y="34"/>
                  <a:pt x="1040" y="34"/>
                  <a:pt x="1041" y="34"/>
                </a:cubicBezTo>
                <a:cubicBezTo>
                  <a:pt x="1041" y="33"/>
                  <a:pt x="1043" y="33"/>
                  <a:pt x="1044" y="33"/>
                </a:cubicBezTo>
                <a:cubicBezTo>
                  <a:pt x="1044" y="33"/>
                  <a:pt x="1044" y="33"/>
                  <a:pt x="1044" y="33"/>
                </a:cubicBezTo>
                <a:cubicBezTo>
                  <a:pt x="1044" y="34"/>
                  <a:pt x="1044" y="34"/>
                  <a:pt x="1044" y="34"/>
                </a:cubicBezTo>
                <a:cubicBezTo>
                  <a:pt x="1046" y="34"/>
                  <a:pt x="1047" y="34"/>
                  <a:pt x="1048" y="34"/>
                </a:cubicBezTo>
                <a:cubicBezTo>
                  <a:pt x="1048" y="34"/>
                  <a:pt x="1048" y="34"/>
                  <a:pt x="1048" y="34"/>
                </a:cubicBezTo>
                <a:cubicBezTo>
                  <a:pt x="1048" y="34"/>
                  <a:pt x="1048" y="34"/>
                  <a:pt x="1048" y="34"/>
                </a:cubicBezTo>
                <a:cubicBezTo>
                  <a:pt x="1049" y="34"/>
                  <a:pt x="1050" y="34"/>
                  <a:pt x="1051" y="34"/>
                </a:cubicBezTo>
                <a:cubicBezTo>
                  <a:pt x="1051" y="34"/>
                  <a:pt x="1051" y="34"/>
                  <a:pt x="1051" y="34"/>
                </a:cubicBezTo>
                <a:cubicBezTo>
                  <a:pt x="1050" y="33"/>
                  <a:pt x="1049" y="33"/>
                  <a:pt x="1049" y="33"/>
                </a:cubicBezTo>
                <a:cubicBezTo>
                  <a:pt x="1048" y="32"/>
                  <a:pt x="1048" y="32"/>
                  <a:pt x="1047" y="32"/>
                </a:cubicBezTo>
                <a:cubicBezTo>
                  <a:pt x="1047" y="32"/>
                  <a:pt x="1047" y="32"/>
                  <a:pt x="1046" y="32"/>
                </a:cubicBezTo>
                <a:cubicBezTo>
                  <a:pt x="1046" y="32"/>
                  <a:pt x="1045" y="32"/>
                  <a:pt x="1044" y="32"/>
                </a:cubicBezTo>
                <a:cubicBezTo>
                  <a:pt x="1044" y="32"/>
                  <a:pt x="1044" y="31"/>
                  <a:pt x="1044" y="31"/>
                </a:cubicBezTo>
                <a:cubicBezTo>
                  <a:pt x="1043" y="31"/>
                  <a:pt x="1043" y="31"/>
                  <a:pt x="1043" y="31"/>
                </a:cubicBezTo>
                <a:cubicBezTo>
                  <a:pt x="1042" y="31"/>
                  <a:pt x="1040" y="31"/>
                  <a:pt x="1038" y="31"/>
                </a:cubicBezTo>
                <a:cubicBezTo>
                  <a:pt x="1038" y="31"/>
                  <a:pt x="1038" y="31"/>
                  <a:pt x="1038" y="31"/>
                </a:cubicBezTo>
                <a:cubicBezTo>
                  <a:pt x="1036" y="31"/>
                  <a:pt x="1034" y="31"/>
                  <a:pt x="1032" y="31"/>
                </a:cubicBezTo>
                <a:cubicBezTo>
                  <a:pt x="1032" y="31"/>
                  <a:pt x="1032" y="31"/>
                  <a:pt x="1031" y="31"/>
                </a:cubicBezTo>
                <a:cubicBezTo>
                  <a:pt x="1031" y="31"/>
                  <a:pt x="1031" y="31"/>
                  <a:pt x="1031" y="31"/>
                </a:cubicBezTo>
                <a:cubicBezTo>
                  <a:pt x="1030" y="32"/>
                  <a:pt x="1030" y="32"/>
                  <a:pt x="1029" y="32"/>
                </a:cubicBezTo>
                <a:cubicBezTo>
                  <a:pt x="1028" y="32"/>
                  <a:pt x="1025" y="32"/>
                  <a:pt x="1025" y="33"/>
                </a:cubicBezTo>
                <a:cubicBezTo>
                  <a:pt x="1024" y="33"/>
                  <a:pt x="1024" y="33"/>
                  <a:pt x="1023" y="33"/>
                </a:cubicBezTo>
                <a:cubicBezTo>
                  <a:pt x="1023" y="33"/>
                  <a:pt x="1023" y="33"/>
                  <a:pt x="1022" y="33"/>
                </a:cubicBezTo>
                <a:cubicBezTo>
                  <a:pt x="1021" y="33"/>
                  <a:pt x="1021" y="34"/>
                  <a:pt x="1021" y="34"/>
                </a:cubicBezTo>
                <a:cubicBezTo>
                  <a:pt x="1020" y="34"/>
                  <a:pt x="1020" y="35"/>
                  <a:pt x="1020" y="36"/>
                </a:cubicBezTo>
                <a:cubicBezTo>
                  <a:pt x="1021" y="36"/>
                  <a:pt x="1022" y="36"/>
                  <a:pt x="1023" y="36"/>
                </a:cubicBezTo>
                <a:cubicBezTo>
                  <a:pt x="1023" y="36"/>
                  <a:pt x="1023" y="36"/>
                  <a:pt x="1023" y="36"/>
                </a:cubicBezTo>
                <a:close/>
                <a:moveTo>
                  <a:pt x="1102" y="37"/>
                </a:moveTo>
                <a:cubicBezTo>
                  <a:pt x="1103" y="37"/>
                  <a:pt x="1104" y="37"/>
                  <a:pt x="1106" y="37"/>
                </a:cubicBezTo>
                <a:cubicBezTo>
                  <a:pt x="1106" y="38"/>
                  <a:pt x="1107" y="38"/>
                  <a:pt x="1108" y="38"/>
                </a:cubicBezTo>
                <a:cubicBezTo>
                  <a:pt x="1109" y="37"/>
                  <a:pt x="1108" y="35"/>
                  <a:pt x="1108" y="34"/>
                </a:cubicBezTo>
                <a:cubicBezTo>
                  <a:pt x="1108" y="34"/>
                  <a:pt x="1111" y="35"/>
                  <a:pt x="1111" y="34"/>
                </a:cubicBezTo>
                <a:cubicBezTo>
                  <a:pt x="1111" y="33"/>
                  <a:pt x="1111" y="34"/>
                  <a:pt x="1111" y="33"/>
                </a:cubicBezTo>
                <a:cubicBezTo>
                  <a:pt x="1112" y="33"/>
                  <a:pt x="1113" y="34"/>
                  <a:pt x="1113" y="34"/>
                </a:cubicBezTo>
                <a:cubicBezTo>
                  <a:pt x="1113" y="33"/>
                  <a:pt x="1113" y="32"/>
                  <a:pt x="1113" y="32"/>
                </a:cubicBezTo>
                <a:cubicBezTo>
                  <a:pt x="1113" y="32"/>
                  <a:pt x="1111" y="30"/>
                  <a:pt x="1111" y="30"/>
                </a:cubicBezTo>
                <a:cubicBezTo>
                  <a:pt x="1111" y="30"/>
                  <a:pt x="1110" y="30"/>
                  <a:pt x="1110" y="31"/>
                </a:cubicBezTo>
                <a:cubicBezTo>
                  <a:pt x="1110" y="30"/>
                  <a:pt x="1110" y="29"/>
                  <a:pt x="1110" y="29"/>
                </a:cubicBezTo>
                <a:cubicBezTo>
                  <a:pt x="1109" y="29"/>
                  <a:pt x="1109" y="29"/>
                  <a:pt x="1108" y="29"/>
                </a:cubicBezTo>
                <a:cubicBezTo>
                  <a:pt x="1108" y="29"/>
                  <a:pt x="1106" y="30"/>
                  <a:pt x="1106" y="29"/>
                </a:cubicBezTo>
                <a:cubicBezTo>
                  <a:pt x="1106" y="29"/>
                  <a:pt x="1106" y="29"/>
                  <a:pt x="1106" y="29"/>
                </a:cubicBezTo>
                <a:cubicBezTo>
                  <a:pt x="1104" y="29"/>
                  <a:pt x="1104" y="30"/>
                  <a:pt x="1104" y="31"/>
                </a:cubicBezTo>
                <a:cubicBezTo>
                  <a:pt x="1104" y="31"/>
                  <a:pt x="1103" y="32"/>
                  <a:pt x="1103" y="32"/>
                </a:cubicBezTo>
                <a:cubicBezTo>
                  <a:pt x="1102" y="33"/>
                  <a:pt x="1102" y="33"/>
                  <a:pt x="1101" y="34"/>
                </a:cubicBezTo>
                <a:cubicBezTo>
                  <a:pt x="1101" y="34"/>
                  <a:pt x="1101" y="34"/>
                  <a:pt x="1101" y="34"/>
                </a:cubicBezTo>
                <a:cubicBezTo>
                  <a:pt x="1101" y="35"/>
                  <a:pt x="1101" y="35"/>
                  <a:pt x="1101" y="36"/>
                </a:cubicBezTo>
                <a:cubicBezTo>
                  <a:pt x="1101" y="36"/>
                  <a:pt x="1102" y="37"/>
                  <a:pt x="1102" y="37"/>
                </a:cubicBezTo>
                <a:cubicBezTo>
                  <a:pt x="1103" y="37"/>
                  <a:pt x="1102" y="37"/>
                  <a:pt x="1102" y="37"/>
                </a:cubicBezTo>
                <a:close/>
                <a:moveTo>
                  <a:pt x="1264" y="40"/>
                </a:moveTo>
                <a:cubicBezTo>
                  <a:pt x="1265" y="40"/>
                  <a:pt x="1267" y="41"/>
                  <a:pt x="1269" y="41"/>
                </a:cubicBezTo>
                <a:cubicBezTo>
                  <a:pt x="1270" y="41"/>
                  <a:pt x="1270" y="40"/>
                  <a:pt x="1271" y="40"/>
                </a:cubicBezTo>
                <a:cubicBezTo>
                  <a:pt x="1271" y="40"/>
                  <a:pt x="1271" y="40"/>
                  <a:pt x="1272" y="40"/>
                </a:cubicBezTo>
                <a:cubicBezTo>
                  <a:pt x="1273" y="40"/>
                  <a:pt x="1273" y="40"/>
                  <a:pt x="1273" y="39"/>
                </a:cubicBezTo>
                <a:cubicBezTo>
                  <a:pt x="1274" y="39"/>
                  <a:pt x="1276" y="40"/>
                  <a:pt x="1277" y="40"/>
                </a:cubicBezTo>
                <a:cubicBezTo>
                  <a:pt x="1277" y="40"/>
                  <a:pt x="1278" y="40"/>
                  <a:pt x="1277" y="40"/>
                </a:cubicBezTo>
                <a:cubicBezTo>
                  <a:pt x="1276" y="40"/>
                  <a:pt x="1274" y="40"/>
                  <a:pt x="1274" y="41"/>
                </a:cubicBezTo>
                <a:cubicBezTo>
                  <a:pt x="1274" y="41"/>
                  <a:pt x="1273" y="41"/>
                  <a:pt x="1272" y="41"/>
                </a:cubicBezTo>
                <a:cubicBezTo>
                  <a:pt x="1272" y="41"/>
                  <a:pt x="1270" y="43"/>
                  <a:pt x="1269" y="43"/>
                </a:cubicBezTo>
                <a:cubicBezTo>
                  <a:pt x="1269" y="43"/>
                  <a:pt x="1269" y="44"/>
                  <a:pt x="1269" y="45"/>
                </a:cubicBezTo>
                <a:cubicBezTo>
                  <a:pt x="1268" y="44"/>
                  <a:pt x="1268" y="44"/>
                  <a:pt x="1267" y="45"/>
                </a:cubicBezTo>
                <a:cubicBezTo>
                  <a:pt x="1266" y="45"/>
                  <a:pt x="1266" y="46"/>
                  <a:pt x="1266" y="46"/>
                </a:cubicBezTo>
                <a:cubicBezTo>
                  <a:pt x="1266" y="46"/>
                  <a:pt x="1265" y="46"/>
                  <a:pt x="1265" y="46"/>
                </a:cubicBezTo>
                <a:cubicBezTo>
                  <a:pt x="1265" y="46"/>
                  <a:pt x="1265" y="46"/>
                  <a:pt x="1265" y="46"/>
                </a:cubicBezTo>
                <a:cubicBezTo>
                  <a:pt x="1265" y="46"/>
                  <a:pt x="1265" y="46"/>
                  <a:pt x="1265" y="46"/>
                </a:cubicBezTo>
                <a:cubicBezTo>
                  <a:pt x="1265" y="47"/>
                  <a:pt x="1265" y="47"/>
                  <a:pt x="1265" y="47"/>
                </a:cubicBezTo>
                <a:cubicBezTo>
                  <a:pt x="1265" y="47"/>
                  <a:pt x="1266" y="47"/>
                  <a:pt x="1266" y="47"/>
                </a:cubicBezTo>
                <a:cubicBezTo>
                  <a:pt x="1267" y="47"/>
                  <a:pt x="1267" y="47"/>
                  <a:pt x="1267" y="47"/>
                </a:cubicBezTo>
                <a:cubicBezTo>
                  <a:pt x="1267" y="47"/>
                  <a:pt x="1269" y="47"/>
                  <a:pt x="1269" y="46"/>
                </a:cubicBezTo>
                <a:cubicBezTo>
                  <a:pt x="1269" y="47"/>
                  <a:pt x="1269" y="47"/>
                  <a:pt x="1269" y="48"/>
                </a:cubicBezTo>
                <a:cubicBezTo>
                  <a:pt x="1269" y="48"/>
                  <a:pt x="1269" y="48"/>
                  <a:pt x="1270" y="49"/>
                </a:cubicBezTo>
                <a:cubicBezTo>
                  <a:pt x="1270" y="48"/>
                  <a:pt x="1271" y="48"/>
                  <a:pt x="1271" y="48"/>
                </a:cubicBezTo>
                <a:cubicBezTo>
                  <a:pt x="1273" y="48"/>
                  <a:pt x="1273" y="48"/>
                  <a:pt x="1274" y="49"/>
                </a:cubicBezTo>
                <a:cubicBezTo>
                  <a:pt x="1274" y="49"/>
                  <a:pt x="1275" y="49"/>
                  <a:pt x="1275" y="49"/>
                </a:cubicBezTo>
                <a:cubicBezTo>
                  <a:pt x="1276" y="49"/>
                  <a:pt x="1278" y="49"/>
                  <a:pt x="1278" y="49"/>
                </a:cubicBezTo>
                <a:cubicBezTo>
                  <a:pt x="1278" y="49"/>
                  <a:pt x="1280" y="50"/>
                  <a:pt x="1281" y="50"/>
                </a:cubicBezTo>
                <a:cubicBezTo>
                  <a:pt x="1281" y="50"/>
                  <a:pt x="1283" y="51"/>
                  <a:pt x="1283" y="50"/>
                </a:cubicBezTo>
                <a:cubicBezTo>
                  <a:pt x="1283" y="50"/>
                  <a:pt x="1283" y="49"/>
                  <a:pt x="1283" y="49"/>
                </a:cubicBezTo>
                <a:cubicBezTo>
                  <a:pt x="1284" y="49"/>
                  <a:pt x="1285" y="50"/>
                  <a:pt x="1285" y="50"/>
                </a:cubicBezTo>
                <a:cubicBezTo>
                  <a:pt x="1286" y="51"/>
                  <a:pt x="1286" y="50"/>
                  <a:pt x="1287" y="50"/>
                </a:cubicBezTo>
                <a:cubicBezTo>
                  <a:pt x="1288" y="49"/>
                  <a:pt x="1289" y="49"/>
                  <a:pt x="1289" y="49"/>
                </a:cubicBezTo>
                <a:cubicBezTo>
                  <a:pt x="1290" y="49"/>
                  <a:pt x="1291" y="48"/>
                  <a:pt x="1291" y="48"/>
                </a:cubicBezTo>
                <a:cubicBezTo>
                  <a:pt x="1291" y="47"/>
                  <a:pt x="1290" y="47"/>
                  <a:pt x="1292" y="47"/>
                </a:cubicBezTo>
                <a:cubicBezTo>
                  <a:pt x="1294" y="47"/>
                  <a:pt x="1294" y="44"/>
                  <a:pt x="1293" y="43"/>
                </a:cubicBezTo>
                <a:cubicBezTo>
                  <a:pt x="1292" y="43"/>
                  <a:pt x="1292" y="43"/>
                  <a:pt x="1292" y="42"/>
                </a:cubicBezTo>
                <a:cubicBezTo>
                  <a:pt x="1292" y="42"/>
                  <a:pt x="1292" y="41"/>
                  <a:pt x="1291" y="41"/>
                </a:cubicBezTo>
                <a:cubicBezTo>
                  <a:pt x="1290" y="41"/>
                  <a:pt x="1290" y="42"/>
                  <a:pt x="1290" y="43"/>
                </a:cubicBezTo>
                <a:cubicBezTo>
                  <a:pt x="1289" y="44"/>
                  <a:pt x="1289" y="44"/>
                  <a:pt x="1288" y="44"/>
                </a:cubicBezTo>
                <a:cubicBezTo>
                  <a:pt x="1287" y="44"/>
                  <a:pt x="1286" y="44"/>
                  <a:pt x="1288" y="44"/>
                </a:cubicBezTo>
                <a:cubicBezTo>
                  <a:pt x="1288" y="43"/>
                  <a:pt x="1288" y="42"/>
                  <a:pt x="1288" y="41"/>
                </a:cubicBezTo>
                <a:cubicBezTo>
                  <a:pt x="1288" y="40"/>
                  <a:pt x="1286" y="39"/>
                  <a:pt x="1285" y="40"/>
                </a:cubicBezTo>
                <a:cubicBezTo>
                  <a:pt x="1284" y="40"/>
                  <a:pt x="1284" y="41"/>
                  <a:pt x="1283" y="41"/>
                </a:cubicBezTo>
                <a:cubicBezTo>
                  <a:pt x="1282" y="41"/>
                  <a:pt x="1281" y="41"/>
                  <a:pt x="1280" y="41"/>
                </a:cubicBezTo>
                <a:cubicBezTo>
                  <a:pt x="1281" y="40"/>
                  <a:pt x="1282" y="40"/>
                  <a:pt x="1283" y="40"/>
                </a:cubicBezTo>
                <a:cubicBezTo>
                  <a:pt x="1284" y="39"/>
                  <a:pt x="1284" y="39"/>
                  <a:pt x="1284" y="38"/>
                </a:cubicBezTo>
                <a:cubicBezTo>
                  <a:pt x="1284" y="37"/>
                  <a:pt x="1284" y="36"/>
                  <a:pt x="1284" y="36"/>
                </a:cubicBezTo>
                <a:cubicBezTo>
                  <a:pt x="1284" y="35"/>
                  <a:pt x="1283" y="35"/>
                  <a:pt x="1282" y="35"/>
                </a:cubicBezTo>
                <a:cubicBezTo>
                  <a:pt x="1282" y="34"/>
                  <a:pt x="1281" y="34"/>
                  <a:pt x="1280" y="33"/>
                </a:cubicBezTo>
                <a:cubicBezTo>
                  <a:pt x="1280" y="33"/>
                  <a:pt x="1280" y="33"/>
                  <a:pt x="1280" y="33"/>
                </a:cubicBezTo>
                <a:cubicBezTo>
                  <a:pt x="1280" y="32"/>
                  <a:pt x="1280" y="32"/>
                  <a:pt x="1279" y="32"/>
                </a:cubicBezTo>
                <a:cubicBezTo>
                  <a:pt x="1279" y="32"/>
                  <a:pt x="1278" y="31"/>
                  <a:pt x="1278" y="31"/>
                </a:cubicBezTo>
                <a:cubicBezTo>
                  <a:pt x="1277" y="31"/>
                  <a:pt x="1278" y="31"/>
                  <a:pt x="1277" y="31"/>
                </a:cubicBezTo>
                <a:cubicBezTo>
                  <a:pt x="1277" y="31"/>
                  <a:pt x="1276" y="30"/>
                  <a:pt x="1276" y="30"/>
                </a:cubicBezTo>
                <a:cubicBezTo>
                  <a:pt x="1276" y="29"/>
                  <a:pt x="1276" y="29"/>
                  <a:pt x="1275" y="29"/>
                </a:cubicBezTo>
                <a:cubicBezTo>
                  <a:pt x="1275" y="29"/>
                  <a:pt x="1276" y="29"/>
                  <a:pt x="1275" y="29"/>
                </a:cubicBezTo>
                <a:cubicBezTo>
                  <a:pt x="1275" y="29"/>
                  <a:pt x="1275" y="29"/>
                  <a:pt x="1275" y="28"/>
                </a:cubicBezTo>
                <a:cubicBezTo>
                  <a:pt x="1274" y="29"/>
                  <a:pt x="1273" y="28"/>
                  <a:pt x="1273" y="29"/>
                </a:cubicBezTo>
                <a:cubicBezTo>
                  <a:pt x="1273" y="30"/>
                  <a:pt x="1272" y="30"/>
                  <a:pt x="1271" y="31"/>
                </a:cubicBezTo>
                <a:cubicBezTo>
                  <a:pt x="1270" y="31"/>
                  <a:pt x="1269" y="32"/>
                  <a:pt x="1268" y="32"/>
                </a:cubicBezTo>
                <a:cubicBezTo>
                  <a:pt x="1268" y="32"/>
                  <a:pt x="1268" y="32"/>
                  <a:pt x="1268" y="33"/>
                </a:cubicBezTo>
                <a:cubicBezTo>
                  <a:pt x="1267" y="33"/>
                  <a:pt x="1267" y="33"/>
                  <a:pt x="1266" y="33"/>
                </a:cubicBezTo>
                <a:cubicBezTo>
                  <a:pt x="1266" y="34"/>
                  <a:pt x="1266" y="34"/>
                  <a:pt x="1266" y="35"/>
                </a:cubicBezTo>
                <a:cubicBezTo>
                  <a:pt x="1266" y="35"/>
                  <a:pt x="1266" y="35"/>
                  <a:pt x="1266" y="35"/>
                </a:cubicBezTo>
                <a:cubicBezTo>
                  <a:pt x="1266" y="36"/>
                  <a:pt x="1266" y="36"/>
                  <a:pt x="1266" y="36"/>
                </a:cubicBezTo>
                <a:cubicBezTo>
                  <a:pt x="1265" y="36"/>
                  <a:pt x="1263" y="36"/>
                  <a:pt x="1263" y="37"/>
                </a:cubicBezTo>
                <a:cubicBezTo>
                  <a:pt x="1263" y="37"/>
                  <a:pt x="1263" y="37"/>
                  <a:pt x="1263" y="37"/>
                </a:cubicBezTo>
                <a:cubicBezTo>
                  <a:pt x="1262" y="37"/>
                  <a:pt x="1262" y="37"/>
                  <a:pt x="1261" y="37"/>
                </a:cubicBezTo>
                <a:cubicBezTo>
                  <a:pt x="1261" y="38"/>
                  <a:pt x="1260" y="38"/>
                  <a:pt x="1260" y="38"/>
                </a:cubicBezTo>
                <a:cubicBezTo>
                  <a:pt x="1260" y="39"/>
                  <a:pt x="1261" y="38"/>
                  <a:pt x="1261" y="38"/>
                </a:cubicBezTo>
                <a:cubicBezTo>
                  <a:pt x="1263" y="38"/>
                  <a:pt x="1263" y="38"/>
                  <a:pt x="1264" y="40"/>
                </a:cubicBezTo>
                <a:cubicBezTo>
                  <a:pt x="1265" y="40"/>
                  <a:pt x="1264" y="40"/>
                  <a:pt x="1264" y="40"/>
                </a:cubicBezTo>
                <a:close/>
                <a:moveTo>
                  <a:pt x="1251" y="30"/>
                </a:moveTo>
                <a:cubicBezTo>
                  <a:pt x="1252" y="30"/>
                  <a:pt x="1253" y="30"/>
                  <a:pt x="1254" y="29"/>
                </a:cubicBezTo>
                <a:cubicBezTo>
                  <a:pt x="1254" y="29"/>
                  <a:pt x="1255" y="29"/>
                  <a:pt x="1254" y="28"/>
                </a:cubicBezTo>
                <a:cubicBezTo>
                  <a:pt x="1254" y="28"/>
                  <a:pt x="1253" y="28"/>
                  <a:pt x="1253" y="28"/>
                </a:cubicBezTo>
                <a:cubicBezTo>
                  <a:pt x="1253" y="28"/>
                  <a:pt x="1252" y="28"/>
                  <a:pt x="1252" y="28"/>
                </a:cubicBezTo>
                <a:cubicBezTo>
                  <a:pt x="1252" y="28"/>
                  <a:pt x="1251" y="27"/>
                  <a:pt x="1250" y="27"/>
                </a:cubicBezTo>
                <a:cubicBezTo>
                  <a:pt x="1250" y="28"/>
                  <a:pt x="1250" y="28"/>
                  <a:pt x="1249" y="28"/>
                </a:cubicBezTo>
                <a:cubicBezTo>
                  <a:pt x="1249" y="28"/>
                  <a:pt x="1248" y="29"/>
                  <a:pt x="1249" y="30"/>
                </a:cubicBezTo>
                <a:cubicBezTo>
                  <a:pt x="1250" y="30"/>
                  <a:pt x="1251" y="30"/>
                  <a:pt x="1251" y="30"/>
                </a:cubicBezTo>
                <a:close/>
                <a:moveTo>
                  <a:pt x="1087" y="29"/>
                </a:moveTo>
                <a:cubicBezTo>
                  <a:pt x="1087" y="30"/>
                  <a:pt x="1088" y="30"/>
                  <a:pt x="1089" y="29"/>
                </a:cubicBezTo>
                <a:cubicBezTo>
                  <a:pt x="1088" y="28"/>
                  <a:pt x="1089" y="28"/>
                  <a:pt x="1087" y="28"/>
                </a:cubicBezTo>
                <a:cubicBezTo>
                  <a:pt x="1087" y="28"/>
                  <a:pt x="1086" y="27"/>
                  <a:pt x="1085" y="27"/>
                </a:cubicBezTo>
                <a:cubicBezTo>
                  <a:pt x="1086" y="28"/>
                  <a:pt x="1084" y="28"/>
                  <a:pt x="1083" y="28"/>
                </a:cubicBezTo>
                <a:cubicBezTo>
                  <a:pt x="1083" y="28"/>
                  <a:pt x="1083" y="29"/>
                  <a:pt x="1083" y="29"/>
                </a:cubicBezTo>
                <a:cubicBezTo>
                  <a:pt x="1084" y="29"/>
                  <a:pt x="1086" y="28"/>
                  <a:pt x="1087" y="29"/>
                </a:cubicBezTo>
                <a:cubicBezTo>
                  <a:pt x="1088" y="30"/>
                  <a:pt x="1087" y="29"/>
                  <a:pt x="1087" y="29"/>
                </a:cubicBezTo>
                <a:close/>
                <a:moveTo>
                  <a:pt x="1119" y="33"/>
                </a:moveTo>
                <a:cubicBezTo>
                  <a:pt x="1120" y="33"/>
                  <a:pt x="1121" y="34"/>
                  <a:pt x="1121" y="33"/>
                </a:cubicBezTo>
                <a:cubicBezTo>
                  <a:pt x="1121" y="35"/>
                  <a:pt x="1123" y="33"/>
                  <a:pt x="1123" y="33"/>
                </a:cubicBezTo>
                <a:cubicBezTo>
                  <a:pt x="1123" y="33"/>
                  <a:pt x="1123" y="32"/>
                  <a:pt x="1124" y="32"/>
                </a:cubicBezTo>
                <a:cubicBezTo>
                  <a:pt x="1124" y="32"/>
                  <a:pt x="1124" y="31"/>
                  <a:pt x="1125" y="31"/>
                </a:cubicBezTo>
                <a:cubicBezTo>
                  <a:pt x="1125" y="31"/>
                  <a:pt x="1126" y="31"/>
                  <a:pt x="1127" y="31"/>
                </a:cubicBezTo>
                <a:cubicBezTo>
                  <a:pt x="1127" y="31"/>
                  <a:pt x="1128" y="29"/>
                  <a:pt x="1128" y="29"/>
                </a:cubicBezTo>
                <a:cubicBezTo>
                  <a:pt x="1128" y="29"/>
                  <a:pt x="1130" y="29"/>
                  <a:pt x="1130" y="29"/>
                </a:cubicBezTo>
                <a:cubicBezTo>
                  <a:pt x="1130" y="28"/>
                  <a:pt x="1130" y="28"/>
                  <a:pt x="1130" y="28"/>
                </a:cubicBezTo>
                <a:cubicBezTo>
                  <a:pt x="1130" y="27"/>
                  <a:pt x="1128" y="28"/>
                  <a:pt x="1128" y="27"/>
                </a:cubicBezTo>
                <a:cubicBezTo>
                  <a:pt x="1128" y="26"/>
                  <a:pt x="1127" y="27"/>
                  <a:pt x="1127" y="26"/>
                </a:cubicBezTo>
                <a:cubicBezTo>
                  <a:pt x="1125" y="27"/>
                  <a:pt x="1124" y="26"/>
                  <a:pt x="1123" y="28"/>
                </a:cubicBezTo>
                <a:cubicBezTo>
                  <a:pt x="1123" y="28"/>
                  <a:pt x="1123" y="28"/>
                  <a:pt x="1123" y="28"/>
                </a:cubicBezTo>
                <a:cubicBezTo>
                  <a:pt x="1122" y="29"/>
                  <a:pt x="1122" y="28"/>
                  <a:pt x="1122" y="28"/>
                </a:cubicBezTo>
                <a:cubicBezTo>
                  <a:pt x="1122" y="29"/>
                  <a:pt x="1122" y="29"/>
                  <a:pt x="1122" y="29"/>
                </a:cubicBezTo>
                <a:cubicBezTo>
                  <a:pt x="1121" y="29"/>
                  <a:pt x="1121" y="29"/>
                  <a:pt x="1121" y="29"/>
                </a:cubicBezTo>
                <a:cubicBezTo>
                  <a:pt x="1120" y="29"/>
                  <a:pt x="1119" y="29"/>
                  <a:pt x="1119" y="29"/>
                </a:cubicBezTo>
                <a:cubicBezTo>
                  <a:pt x="1119" y="30"/>
                  <a:pt x="1120" y="30"/>
                  <a:pt x="1118" y="30"/>
                </a:cubicBezTo>
                <a:cubicBezTo>
                  <a:pt x="1118" y="30"/>
                  <a:pt x="1118" y="31"/>
                  <a:pt x="1118" y="31"/>
                </a:cubicBezTo>
                <a:cubicBezTo>
                  <a:pt x="1119" y="32"/>
                  <a:pt x="1120" y="32"/>
                  <a:pt x="1119" y="33"/>
                </a:cubicBezTo>
                <a:close/>
                <a:moveTo>
                  <a:pt x="1078" y="27"/>
                </a:moveTo>
                <a:cubicBezTo>
                  <a:pt x="1078" y="27"/>
                  <a:pt x="1079" y="27"/>
                  <a:pt x="1079" y="27"/>
                </a:cubicBezTo>
                <a:cubicBezTo>
                  <a:pt x="1079" y="27"/>
                  <a:pt x="1079" y="28"/>
                  <a:pt x="1080" y="28"/>
                </a:cubicBezTo>
                <a:cubicBezTo>
                  <a:pt x="1080" y="28"/>
                  <a:pt x="1080" y="28"/>
                  <a:pt x="1081" y="28"/>
                </a:cubicBezTo>
                <a:cubicBezTo>
                  <a:pt x="1081" y="28"/>
                  <a:pt x="1083" y="28"/>
                  <a:pt x="1083" y="28"/>
                </a:cubicBezTo>
                <a:cubicBezTo>
                  <a:pt x="1083" y="28"/>
                  <a:pt x="1082" y="27"/>
                  <a:pt x="1082" y="27"/>
                </a:cubicBezTo>
                <a:cubicBezTo>
                  <a:pt x="1081" y="27"/>
                  <a:pt x="1081" y="27"/>
                  <a:pt x="1080" y="27"/>
                </a:cubicBezTo>
                <a:cubicBezTo>
                  <a:pt x="1080" y="27"/>
                  <a:pt x="1080" y="26"/>
                  <a:pt x="1079" y="26"/>
                </a:cubicBezTo>
                <a:cubicBezTo>
                  <a:pt x="1079" y="26"/>
                  <a:pt x="1078" y="26"/>
                  <a:pt x="1078" y="27"/>
                </a:cubicBezTo>
                <a:cubicBezTo>
                  <a:pt x="1078" y="27"/>
                  <a:pt x="1078" y="27"/>
                  <a:pt x="1077" y="27"/>
                </a:cubicBezTo>
                <a:cubicBezTo>
                  <a:pt x="1077" y="27"/>
                  <a:pt x="1077" y="28"/>
                  <a:pt x="1078" y="27"/>
                </a:cubicBezTo>
                <a:close/>
                <a:moveTo>
                  <a:pt x="1093" y="27"/>
                </a:moveTo>
                <a:cubicBezTo>
                  <a:pt x="1094" y="28"/>
                  <a:pt x="1095" y="25"/>
                  <a:pt x="1095" y="25"/>
                </a:cubicBezTo>
                <a:cubicBezTo>
                  <a:pt x="1094" y="25"/>
                  <a:pt x="1093" y="26"/>
                  <a:pt x="1092" y="26"/>
                </a:cubicBezTo>
                <a:cubicBezTo>
                  <a:pt x="1092" y="27"/>
                  <a:pt x="1093" y="27"/>
                  <a:pt x="1093" y="27"/>
                </a:cubicBezTo>
                <a:cubicBezTo>
                  <a:pt x="1094" y="27"/>
                  <a:pt x="1093" y="27"/>
                  <a:pt x="1093" y="27"/>
                </a:cubicBezTo>
                <a:close/>
                <a:moveTo>
                  <a:pt x="1091" y="27"/>
                </a:moveTo>
                <a:cubicBezTo>
                  <a:pt x="1091" y="27"/>
                  <a:pt x="1089" y="26"/>
                  <a:pt x="1089" y="26"/>
                </a:cubicBezTo>
                <a:cubicBezTo>
                  <a:pt x="1089" y="26"/>
                  <a:pt x="1087" y="26"/>
                  <a:pt x="1087" y="26"/>
                </a:cubicBezTo>
                <a:cubicBezTo>
                  <a:pt x="1087" y="25"/>
                  <a:pt x="1086" y="24"/>
                  <a:pt x="1086" y="24"/>
                </a:cubicBezTo>
                <a:cubicBezTo>
                  <a:pt x="1085" y="24"/>
                  <a:pt x="1085" y="24"/>
                  <a:pt x="1084" y="23"/>
                </a:cubicBezTo>
                <a:cubicBezTo>
                  <a:pt x="1084" y="23"/>
                  <a:pt x="1083" y="23"/>
                  <a:pt x="1083" y="24"/>
                </a:cubicBezTo>
                <a:cubicBezTo>
                  <a:pt x="1081" y="24"/>
                  <a:pt x="1083" y="25"/>
                  <a:pt x="1083" y="26"/>
                </a:cubicBezTo>
                <a:cubicBezTo>
                  <a:pt x="1084" y="25"/>
                  <a:pt x="1084" y="26"/>
                  <a:pt x="1085" y="27"/>
                </a:cubicBezTo>
                <a:cubicBezTo>
                  <a:pt x="1085" y="27"/>
                  <a:pt x="1086" y="26"/>
                  <a:pt x="1086" y="26"/>
                </a:cubicBezTo>
                <a:cubicBezTo>
                  <a:pt x="1086" y="27"/>
                  <a:pt x="1087" y="27"/>
                  <a:pt x="1088" y="27"/>
                </a:cubicBezTo>
                <a:cubicBezTo>
                  <a:pt x="1088" y="27"/>
                  <a:pt x="1088" y="28"/>
                  <a:pt x="1089" y="28"/>
                </a:cubicBezTo>
                <a:cubicBezTo>
                  <a:pt x="1090" y="28"/>
                  <a:pt x="1091" y="28"/>
                  <a:pt x="1091" y="27"/>
                </a:cubicBezTo>
                <a:cubicBezTo>
                  <a:pt x="1091" y="27"/>
                  <a:pt x="1091" y="27"/>
                  <a:pt x="1091" y="27"/>
                </a:cubicBezTo>
                <a:close/>
                <a:moveTo>
                  <a:pt x="1092" y="24"/>
                </a:moveTo>
                <a:cubicBezTo>
                  <a:pt x="1090" y="24"/>
                  <a:pt x="1088" y="23"/>
                  <a:pt x="1086" y="23"/>
                </a:cubicBezTo>
                <a:cubicBezTo>
                  <a:pt x="1086" y="23"/>
                  <a:pt x="1087" y="24"/>
                  <a:pt x="1087" y="24"/>
                </a:cubicBezTo>
                <a:cubicBezTo>
                  <a:pt x="1087" y="25"/>
                  <a:pt x="1087" y="24"/>
                  <a:pt x="1088" y="24"/>
                </a:cubicBezTo>
                <a:cubicBezTo>
                  <a:pt x="1088" y="25"/>
                  <a:pt x="1089" y="25"/>
                  <a:pt x="1090" y="26"/>
                </a:cubicBezTo>
                <a:cubicBezTo>
                  <a:pt x="1091" y="26"/>
                  <a:pt x="1092" y="25"/>
                  <a:pt x="1092" y="24"/>
                </a:cubicBezTo>
                <a:cubicBezTo>
                  <a:pt x="1090" y="24"/>
                  <a:pt x="1092" y="24"/>
                  <a:pt x="1092" y="24"/>
                </a:cubicBezTo>
                <a:close/>
                <a:moveTo>
                  <a:pt x="1081" y="25"/>
                </a:moveTo>
                <a:cubicBezTo>
                  <a:pt x="1082" y="24"/>
                  <a:pt x="1082" y="24"/>
                  <a:pt x="1082" y="24"/>
                </a:cubicBezTo>
                <a:cubicBezTo>
                  <a:pt x="1081" y="23"/>
                  <a:pt x="1080" y="23"/>
                  <a:pt x="1078" y="23"/>
                </a:cubicBezTo>
                <a:cubicBezTo>
                  <a:pt x="1078" y="25"/>
                  <a:pt x="1080" y="25"/>
                  <a:pt x="1081" y="25"/>
                </a:cubicBezTo>
                <a:close/>
                <a:moveTo>
                  <a:pt x="1093" y="24"/>
                </a:moveTo>
                <a:cubicBezTo>
                  <a:pt x="1093" y="24"/>
                  <a:pt x="1093" y="24"/>
                  <a:pt x="1093" y="24"/>
                </a:cubicBezTo>
                <a:cubicBezTo>
                  <a:pt x="1093" y="22"/>
                  <a:pt x="1094" y="23"/>
                  <a:pt x="1092" y="23"/>
                </a:cubicBezTo>
                <a:cubicBezTo>
                  <a:pt x="1092" y="23"/>
                  <a:pt x="1093" y="23"/>
                  <a:pt x="1093" y="24"/>
                </a:cubicBezTo>
                <a:close/>
                <a:moveTo>
                  <a:pt x="1089" y="22"/>
                </a:moveTo>
                <a:cubicBezTo>
                  <a:pt x="1090" y="20"/>
                  <a:pt x="1090" y="20"/>
                  <a:pt x="1089" y="20"/>
                </a:cubicBezTo>
                <a:cubicBezTo>
                  <a:pt x="1089" y="20"/>
                  <a:pt x="1088" y="21"/>
                  <a:pt x="1088" y="21"/>
                </a:cubicBezTo>
                <a:cubicBezTo>
                  <a:pt x="1088" y="21"/>
                  <a:pt x="1089" y="21"/>
                  <a:pt x="1089" y="22"/>
                </a:cubicBezTo>
                <a:cubicBezTo>
                  <a:pt x="1089" y="21"/>
                  <a:pt x="1089" y="22"/>
                  <a:pt x="1089" y="22"/>
                </a:cubicBezTo>
                <a:close/>
                <a:moveTo>
                  <a:pt x="728" y="19"/>
                </a:moveTo>
                <a:cubicBezTo>
                  <a:pt x="728" y="18"/>
                  <a:pt x="727" y="21"/>
                  <a:pt x="728" y="20"/>
                </a:cubicBezTo>
                <a:cubicBezTo>
                  <a:pt x="728" y="20"/>
                  <a:pt x="728" y="20"/>
                  <a:pt x="728" y="19"/>
                </a:cubicBezTo>
                <a:close/>
                <a:moveTo>
                  <a:pt x="1094" y="19"/>
                </a:moveTo>
                <a:cubicBezTo>
                  <a:pt x="1094" y="19"/>
                  <a:pt x="1095" y="19"/>
                  <a:pt x="1095" y="19"/>
                </a:cubicBezTo>
                <a:cubicBezTo>
                  <a:pt x="1095" y="19"/>
                  <a:pt x="1095" y="19"/>
                  <a:pt x="1095" y="19"/>
                </a:cubicBezTo>
                <a:cubicBezTo>
                  <a:pt x="1094" y="19"/>
                  <a:pt x="1094" y="19"/>
                  <a:pt x="1093" y="20"/>
                </a:cubicBezTo>
                <a:cubicBezTo>
                  <a:pt x="1094" y="20"/>
                  <a:pt x="1094" y="20"/>
                  <a:pt x="1094" y="19"/>
                </a:cubicBezTo>
                <a:close/>
                <a:moveTo>
                  <a:pt x="724" y="21"/>
                </a:moveTo>
                <a:cubicBezTo>
                  <a:pt x="724" y="21"/>
                  <a:pt x="724" y="20"/>
                  <a:pt x="724" y="20"/>
                </a:cubicBezTo>
                <a:cubicBezTo>
                  <a:pt x="724" y="19"/>
                  <a:pt x="724" y="19"/>
                  <a:pt x="724" y="19"/>
                </a:cubicBezTo>
                <a:cubicBezTo>
                  <a:pt x="724" y="18"/>
                  <a:pt x="723" y="19"/>
                  <a:pt x="723" y="20"/>
                </a:cubicBezTo>
                <a:cubicBezTo>
                  <a:pt x="723" y="21"/>
                  <a:pt x="723" y="21"/>
                  <a:pt x="724" y="21"/>
                </a:cubicBezTo>
                <a:close/>
                <a:moveTo>
                  <a:pt x="1082" y="20"/>
                </a:moveTo>
                <a:cubicBezTo>
                  <a:pt x="1082" y="21"/>
                  <a:pt x="1082" y="21"/>
                  <a:pt x="1082" y="21"/>
                </a:cubicBezTo>
                <a:cubicBezTo>
                  <a:pt x="1083" y="21"/>
                  <a:pt x="1084" y="21"/>
                  <a:pt x="1085" y="21"/>
                </a:cubicBezTo>
                <a:cubicBezTo>
                  <a:pt x="1086" y="21"/>
                  <a:pt x="1086" y="20"/>
                  <a:pt x="1086" y="20"/>
                </a:cubicBezTo>
                <a:cubicBezTo>
                  <a:pt x="1087" y="20"/>
                  <a:pt x="1088" y="19"/>
                  <a:pt x="1088" y="19"/>
                </a:cubicBezTo>
                <a:cubicBezTo>
                  <a:pt x="1089" y="18"/>
                  <a:pt x="1088" y="18"/>
                  <a:pt x="1087" y="18"/>
                </a:cubicBezTo>
                <a:cubicBezTo>
                  <a:pt x="1086" y="18"/>
                  <a:pt x="1086" y="18"/>
                  <a:pt x="1085" y="18"/>
                </a:cubicBezTo>
                <a:cubicBezTo>
                  <a:pt x="1085" y="18"/>
                  <a:pt x="1085" y="19"/>
                  <a:pt x="1084" y="19"/>
                </a:cubicBezTo>
                <a:cubicBezTo>
                  <a:pt x="1083" y="19"/>
                  <a:pt x="1082" y="19"/>
                  <a:pt x="1081" y="20"/>
                </a:cubicBezTo>
                <a:cubicBezTo>
                  <a:pt x="1081" y="20"/>
                  <a:pt x="1082" y="20"/>
                  <a:pt x="1082" y="20"/>
                </a:cubicBezTo>
                <a:close/>
                <a:moveTo>
                  <a:pt x="1093" y="18"/>
                </a:moveTo>
                <a:cubicBezTo>
                  <a:pt x="1093" y="17"/>
                  <a:pt x="1093" y="17"/>
                  <a:pt x="1093" y="17"/>
                </a:cubicBezTo>
                <a:cubicBezTo>
                  <a:pt x="1092" y="16"/>
                  <a:pt x="1091" y="16"/>
                  <a:pt x="1090" y="16"/>
                </a:cubicBezTo>
                <a:cubicBezTo>
                  <a:pt x="1090" y="16"/>
                  <a:pt x="1090" y="16"/>
                  <a:pt x="1090" y="16"/>
                </a:cubicBezTo>
                <a:cubicBezTo>
                  <a:pt x="1090" y="17"/>
                  <a:pt x="1090" y="17"/>
                  <a:pt x="1090" y="17"/>
                </a:cubicBezTo>
                <a:cubicBezTo>
                  <a:pt x="1091" y="18"/>
                  <a:pt x="1092" y="18"/>
                  <a:pt x="1093" y="18"/>
                </a:cubicBezTo>
                <a:close/>
                <a:moveTo>
                  <a:pt x="565" y="18"/>
                </a:moveTo>
                <a:cubicBezTo>
                  <a:pt x="567" y="21"/>
                  <a:pt x="573" y="22"/>
                  <a:pt x="576" y="22"/>
                </a:cubicBezTo>
                <a:cubicBezTo>
                  <a:pt x="576" y="21"/>
                  <a:pt x="576" y="20"/>
                  <a:pt x="575" y="20"/>
                </a:cubicBezTo>
                <a:cubicBezTo>
                  <a:pt x="575" y="20"/>
                  <a:pt x="573" y="20"/>
                  <a:pt x="573" y="19"/>
                </a:cubicBezTo>
                <a:cubicBezTo>
                  <a:pt x="573" y="19"/>
                  <a:pt x="572" y="19"/>
                  <a:pt x="572" y="19"/>
                </a:cubicBezTo>
                <a:cubicBezTo>
                  <a:pt x="572" y="19"/>
                  <a:pt x="571" y="19"/>
                  <a:pt x="571" y="19"/>
                </a:cubicBezTo>
                <a:cubicBezTo>
                  <a:pt x="570" y="19"/>
                  <a:pt x="570" y="17"/>
                  <a:pt x="569" y="17"/>
                </a:cubicBezTo>
                <a:cubicBezTo>
                  <a:pt x="568" y="17"/>
                  <a:pt x="567" y="17"/>
                  <a:pt x="566" y="17"/>
                </a:cubicBezTo>
                <a:cubicBezTo>
                  <a:pt x="566" y="16"/>
                  <a:pt x="565" y="15"/>
                  <a:pt x="564" y="15"/>
                </a:cubicBezTo>
                <a:cubicBezTo>
                  <a:pt x="565" y="16"/>
                  <a:pt x="564" y="18"/>
                  <a:pt x="565" y="18"/>
                </a:cubicBezTo>
                <a:cubicBezTo>
                  <a:pt x="567" y="20"/>
                  <a:pt x="565" y="18"/>
                  <a:pt x="565" y="18"/>
                </a:cubicBezTo>
                <a:close/>
                <a:moveTo>
                  <a:pt x="1097" y="14"/>
                </a:moveTo>
                <a:cubicBezTo>
                  <a:pt x="1097" y="14"/>
                  <a:pt x="1098" y="14"/>
                  <a:pt x="1098" y="14"/>
                </a:cubicBezTo>
                <a:cubicBezTo>
                  <a:pt x="1099" y="14"/>
                  <a:pt x="1097" y="13"/>
                  <a:pt x="1097" y="13"/>
                </a:cubicBezTo>
                <a:cubicBezTo>
                  <a:pt x="1096" y="12"/>
                  <a:pt x="1097" y="13"/>
                  <a:pt x="1097" y="13"/>
                </a:cubicBezTo>
                <a:cubicBezTo>
                  <a:pt x="1096" y="13"/>
                  <a:pt x="1096" y="13"/>
                  <a:pt x="1096" y="13"/>
                </a:cubicBezTo>
                <a:cubicBezTo>
                  <a:pt x="1095" y="13"/>
                  <a:pt x="1095" y="13"/>
                  <a:pt x="1094" y="14"/>
                </a:cubicBezTo>
                <a:cubicBezTo>
                  <a:pt x="1095" y="14"/>
                  <a:pt x="1097" y="14"/>
                  <a:pt x="1097" y="14"/>
                </a:cubicBezTo>
                <a:close/>
                <a:moveTo>
                  <a:pt x="376" y="36"/>
                </a:moveTo>
                <a:cubicBezTo>
                  <a:pt x="378" y="36"/>
                  <a:pt x="376" y="37"/>
                  <a:pt x="375" y="37"/>
                </a:cubicBezTo>
                <a:cubicBezTo>
                  <a:pt x="375" y="37"/>
                  <a:pt x="376" y="36"/>
                  <a:pt x="376" y="36"/>
                </a:cubicBezTo>
                <a:cubicBezTo>
                  <a:pt x="377" y="36"/>
                  <a:pt x="376" y="36"/>
                  <a:pt x="376" y="36"/>
                </a:cubicBezTo>
                <a:close/>
                <a:moveTo>
                  <a:pt x="377" y="40"/>
                </a:moveTo>
                <a:cubicBezTo>
                  <a:pt x="377" y="40"/>
                  <a:pt x="377" y="40"/>
                  <a:pt x="377" y="40"/>
                </a:cubicBezTo>
                <a:cubicBezTo>
                  <a:pt x="377" y="40"/>
                  <a:pt x="377" y="40"/>
                  <a:pt x="377" y="40"/>
                </a:cubicBezTo>
                <a:cubicBezTo>
                  <a:pt x="377" y="40"/>
                  <a:pt x="377" y="40"/>
                  <a:pt x="377" y="40"/>
                </a:cubicBezTo>
                <a:close/>
                <a:moveTo>
                  <a:pt x="389" y="53"/>
                </a:moveTo>
                <a:cubicBezTo>
                  <a:pt x="390" y="53"/>
                  <a:pt x="389" y="55"/>
                  <a:pt x="389" y="53"/>
                </a:cubicBezTo>
                <a:close/>
                <a:moveTo>
                  <a:pt x="429" y="60"/>
                </a:moveTo>
                <a:cubicBezTo>
                  <a:pt x="430" y="60"/>
                  <a:pt x="431" y="61"/>
                  <a:pt x="431" y="60"/>
                </a:cubicBezTo>
                <a:cubicBezTo>
                  <a:pt x="432" y="60"/>
                  <a:pt x="433" y="61"/>
                  <a:pt x="433" y="61"/>
                </a:cubicBezTo>
                <a:cubicBezTo>
                  <a:pt x="432" y="61"/>
                  <a:pt x="430" y="61"/>
                  <a:pt x="429" y="61"/>
                </a:cubicBezTo>
                <a:cubicBezTo>
                  <a:pt x="429" y="61"/>
                  <a:pt x="429" y="61"/>
                  <a:pt x="429" y="60"/>
                </a:cubicBezTo>
                <a:close/>
                <a:moveTo>
                  <a:pt x="454" y="31"/>
                </a:moveTo>
                <a:cubicBezTo>
                  <a:pt x="454" y="31"/>
                  <a:pt x="454" y="31"/>
                  <a:pt x="454" y="31"/>
                </a:cubicBezTo>
                <a:cubicBezTo>
                  <a:pt x="454" y="31"/>
                  <a:pt x="454" y="31"/>
                  <a:pt x="454" y="31"/>
                </a:cubicBezTo>
                <a:cubicBezTo>
                  <a:pt x="454" y="31"/>
                  <a:pt x="454" y="31"/>
                  <a:pt x="454" y="31"/>
                </a:cubicBezTo>
                <a:close/>
                <a:moveTo>
                  <a:pt x="457" y="28"/>
                </a:moveTo>
                <a:cubicBezTo>
                  <a:pt x="457" y="28"/>
                  <a:pt x="457" y="28"/>
                  <a:pt x="457" y="28"/>
                </a:cubicBezTo>
                <a:cubicBezTo>
                  <a:pt x="457" y="28"/>
                  <a:pt x="457" y="28"/>
                  <a:pt x="457" y="28"/>
                </a:cubicBezTo>
                <a:cubicBezTo>
                  <a:pt x="457" y="28"/>
                  <a:pt x="457" y="28"/>
                  <a:pt x="457" y="28"/>
                </a:cubicBezTo>
                <a:close/>
                <a:moveTo>
                  <a:pt x="418" y="22"/>
                </a:moveTo>
                <a:cubicBezTo>
                  <a:pt x="418" y="22"/>
                  <a:pt x="418" y="21"/>
                  <a:pt x="418" y="21"/>
                </a:cubicBezTo>
                <a:cubicBezTo>
                  <a:pt x="418" y="21"/>
                  <a:pt x="418" y="21"/>
                  <a:pt x="418" y="22"/>
                </a:cubicBezTo>
                <a:close/>
                <a:moveTo>
                  <a:pt x="460" y="28"/>
                </a:moveTo>
                <a:cubicBezTo>
                  <a:pt x="460" y="28"/>
                  <a:pt x="463" y="27"/>
                  <a:pt x="463" y="28"/>
                </a:cubicBezTo>
                <a:cubicBezTo>
                  <a:pt x="463" y="28"/>
                  <a:pt x="460" y="29"/>
                  <a:pt x="460" y="28"/>
                </a:cubicBezTo>
                <a:close/>
                <a:moveTo>
                  <a:pt x="504" y="22"/>
                </a:moveTo>
                <a:cubicBezTo>
                  <a:pt x="504" y="22"/>
                  <a:pt x="504" y="22"/>
                  <a:pt x="504" y="22"/>
                </a:cubicBezTo>
                <a:cubicBezTo>
                  <a:pt x="505" y="22"/>
                  <a:pt x="506" y="22"/>
                  <a:pt x="506" y="23"/>
                </a:cubicBezTo>
                <a:cubicBezTo>
                  <a:pt x="505" y="23"/>
                  <a:pt x="504" y="23"/>
                  <a:pt x="504" y="22"/>
                </a:cubicBezTo>
                <a:cubicBezTo>
                  <a:pt x="504" y="22"/>
                  <a:pt x="504" y="22"/>
                  <a:pt x="504" y="22"/>
                </a:cubicBezTo>
                <a:close/>
                <a:moveTo>
                  <a:pt x="424" y="56"/>
                </a:moveTo>
                <a:cubicBezTo>
                  <a:pt x="424" y="57"/>
                  <a:pt x="424" y="57"/>
                  <a:pt x="424" y="56"/>
                </a:cubicBezTo>
                <a:cubicBezTo>
                  <a:pt x="424" y="56"/>
                  <a:pt x="424" y="55"/>
                  <a:pt x="425" y="55"/>
                </a:cubicBezTo>
                <a:cubicBezTo>
                  <a:pt x="425" y="56"/>
                  <a:pt x="425" y="56"/>
                  <a:pt x="424" y="56"/>
                </a:cubicBezTo>
                <a:close/>
                <a:moveTo>
                  <a:pt x="423" y="69"/>
                </a:moveTo>
                <a:cubicBezTo>
                  <a:pt x="422" y="69"/>
                  <a:pt x="421" y="67"/>
                  <a:pt x="421" y="67"/>
                </a:cubicBezTo>
                <a:cubicBezTo>
                  <a:pt x="421" y="66"/>
                  <a:pt x="421" y="66"/>
                  <a:pt x="422" y="66"/>
                </a:cubicBezTo>
                <a:cubicBezTo>
                  <a:pt x="421" y="67"/>
                  <a:pt x="423" y="67"/>
                  <a:pt x="423" y="67"/>
                </a:cubicBezTo>
                <a:cubicBezTo>
                  <a:pt x="423" y="68"/>
                  <a:pt x="423" y="68"/>
                  <a:pt x="423" y="69"/>
                </a:cubicBezTo>
                <a:cubicBezTo>
                  <a:pt x="422" y="69"/>
                  <a:pt x="423" y="69"/>
                  <a:pt x="423" y="69"/>
                </a:cubicBezTo>
                <a:close/>
                <a:moveTo>
                  <a:pt x="363" y="27"/>
                </a:moveTo>
                <a:cubicBezTo>
                  <a:pt x="363" y="27"/>
                  <a:pt x="362" y="28"/>
                  <a:pt x="362" y="28"/>
                </a:cubicBezTo>
                <a:cubicBezTo>
                  <a:pt x="362" y="28"/>
                  <a:pt x="362" y="30"/>
                  <a:pt x="362" y="30"/>
                </a:cubicBezTo>
                <a:cubicBezTo>
                  <a:pt x="364" y="30"/>
                  <a:pt x="364" y="29"/>
                  <a:pt x="364" y="31"/>
                </a:cubicBezTo>
                <a:cubicBezTo>
                  <a:pt x="365" y="31"/>
                  <a:pt x="367" y="31"/>
                  <a:pt x="367" y="29"/>
                </a:cubicBezTo>
                <a:cubicBezTo>
                  <a:pt x="367" y="29"/>
                  <a:pt x="368" y="31"/>
                  <a:pt x="368" y="31"/>
                </a:cubicBezTo>
                <a:cubicBezTo>
                  <a:pt x="369" y="31"/>
                  <a:pt x="370" y="31"/>
                  <a:pt x="370" y="31"/>
                </a:cubicBezTo>
                <a:cubicBezTo>
                  <a:pt x="371" y="31"/>
                  <a:pt x="372" y="31"/>
                  <a:pt x="372" y="31"/>
                </a:cubicBezTo>
                <a:cubicBezTo>
                  <a:pt x="372" y="30"/>
                  <a:pt x="372" y="30"/>
                  <a:pt x="373" y="29"/>
                </a:cubicBezTo>
                <a:cubicBezTo>
                  <a:pt x="373" y="30"/>
                  <a:pt x="373" y="30"/>
                  <a:pt x="373" y="31"/>
                </a:cubicBezTo>
                <a:cubicBezTo>
                  <a:pt x="373" y="31"/>
                  <a:pt x="374" y="32"/>
                  <a:pt x="374" y="33"/>
                </a:cubicBezTo>
                <a:cubicBezTo>
                  <a:pt x="372" y="33"/>
                  <a:pt x="369" y="33"/>
                  <a:pt x="367" y="34"/>
                </a:cubicBezTo>
                <a:cubicBezTo>
                  <a:pt x="366" y="34"/>
                  <a:pt x="366" y="34"/>
                  <a:pt x="367" y="35"/>
                </a:cubicBezTo>
                <a:cubicBezTo>
                  <a:pt x="367" y="36"/>
                  <a:pt x="367" y="36"/>
                  <a:pt x="367" y="36"/>
                </a:cubicBezTo>
                <a:cubicBezTo>
                  <a:pt x="366" y="36"/>
                  <a:pt x="365" y="36"/>
                  <a:pt x="364" y="36"/>
                </a:cubicBezTo>
                <a:cubicBezTo>
                  <a:pt x="364" y="37"/>
                  <a:pt x="365" y="37"/>
                  <a:pt x="365" y="37"/>
                </a:cubicBezTo>
                <a:cubicBezTo>
                  <a:pt x="366" y="37"/>
                  <a:pt x="367" y="38"/>
                  <a:pt x="369" y="37"/>
                </a:cubicBezTo>
                <a:cubicBezTo>
                  <a:pt x="369" y="38"/>
                  <a:pt x="369" y="38"/>
                  <a:pt x="369" y="38"/>
                </a:cubicBezTo>
                <a:cubicBezTo>
                  <a:pt x="370" y="38"/>
                  <a:pt x="370" y="38"/>
                  <a:pt x="371" y="37"/>
                </a:cubicBezTo>
                <a:cubicBezTo>
                  <a:pt x="371" y="37"/>
                  <a:pt x="372" y="36"/>
                  <a:pt x="372" y="37"/>
                </a:cubicBezTo>
                <a:cubicBezTo>
                  <a:pt x="372" y="38"/>
                  <a:pt x="372" y="38"/>
                  <a:pt x="373" y="38"/>
                </a:cubicBezTo>
                <a:cubicBezTo>
                  <a:pt x="374" y="38"/>
                  <a:pt x="374" y="37"/>
                  <a:pt x="375" y="38"/>
                </a:cubicBezTo>
                <a:cubicBezTo>
                  <a:pt x="375" y="39"/>
                  <a:pt x="376" y="39"/>
                  <a:pt x="376" y="40"/>
                </a:cubicBezTo>
                <a:cubicBezTo>
                  <a:pt x="375" y="39"/>
                  <a:pt x="374" y="39"/>
                  <a:pt x="373" y="39"/>
                </a:cubicBezTo>
                <a:cubicBezTo>
                  <a:pt x="372" y="39"/>
                  <a:pt x="372" y="39"/>
                  <a:pt x="371" y="39"/>
                </a:cubicBezTo>
                <a:cubicBezTo>
                  <a:pt x="371" y="39"/>
                  <a:pt x="371" y="39"/>
                  <a:pt x="371" y="39"/>
                </a:cubicBezTo>
                <a:cubicBezTo>
                  <a:pt x="371" y="39"/>
                  <a:pt x="371" y="39"/>
                  <a:pt x="371" y="39"/>
                </a:cubicBezTo>
                <a:cubicBezTo>
                  <a:pt x="370" y="39"/>
                  <a:pt x="369" y="38"/>
                  <a:pt x="368" y="38"/>
                </a:cubicBezTo>
                <a:cubicBezTo>
                  <a:pt x="366" y="38"/>
                  <a:pt x="366" y="38"/>
                  <a:pt x="366" y="40"/>
                </a:cubicBezTo>
                <a:cubicBezTo>
                  <a:pt x="367" y="40"/>
                  <a:pt x="367" y="41"/>
                  <a:pt x="366" y="41"/>
                </a:cubicBezTo>
                <a:cubicBezTo>
                  <a:pt x="367" y="42"/>
                  <a:pt x="367" y="42"/>
                  <a:pt x="368" y="42"/>
                </a:cubicBezTo>
                <a:cubicBezTo>
                  <a:pt x="368" y="42"/>
                  <a:pt x="368" y="43"/>
                  <a:pt x="369" y="43"/>
                </a:cubicBezTo>
                <a:cubicBezTo>
                  <a:pt x="369" y="44"/>
                  <a:pt x="369" y="43"/>
                  <a:pt x="369" y="44"/>
                </a:cubicBezTo>
                <a:cubicBezTo>
                  <a:pt x="369" y="45"/>
                  <a:pt x="376" y="44"/>
                  <a:pt x="377" y="44"/>
                </a:cubicBezTo>
                <a:cubicBezTo>
                  <a:pt x="377" y="46"/>
                  <a:pt x="376" y="45"/>
                  <a:pt x="376" y="45"/>
                </a:cubicBezTo>
                <a:cubicBezTo>
                  <a:pt x="374" y="45"/>
                  <a:pt x="373" y="45"/>
                  <a:pt x="371" y="46"/>
                </a:cubicBezTo>
                <a:cubicBezTo>
                  <a:pt x="370" y="46"/>
                  <a:pt x="371" y="48"/>
                  <a:pt x="372" y="47"/>
                </a:cubicBezTo>
                <a:cubicBezTo>
                  <a:pt x="373" y="47"/>
                  <a:pt x="374" y="47"/>
                  <a:pt x="376" y="48"/>
                </a:cubicBezTo>
                <a:cubicBezTo>
                  <a:pt x="376" y="48"/>
                  <a:pt x="377" y="48"/>
                  <a:pt x="377" y="47"/>
                </a:cubicBezTo>
                <a:cubicBezTo>
                  <a:pt x="377" y="47"/>
                  <a:pt x="378" y="47"/>
                  <a:pt x="378" y="47"/>
                </a:cubicBezTo>
                <a:cubicBezTo>
                  <a:pt x="378" y="47"/>
                  <a:pt x="379" y="46"/>
                  <a:pt x="379" y="46"/>
                </a:cubicBezTo>
                <a:cubicBezTo>
                  <a:pt x="380" y="46"/>
                  <a:pt x="381" y="46"/>
                  <a:pt x="382" y="46"/>
                </a:cubicBezTo>
                <a:cubicBezTo>
                  <a:pt x="383" y="46"/>
                  <a:pt x="384" y="46"/>
                  <a:pt x="384" y="47"/>
                </a:cubicBezTo>
                <a:cubicBezTo>
                  <a:pt x="384" y="47"/>
                  <a:pt x="384" y="47"/>
                  <a:pt x="383" y="47"/>
                </a:cubicBezTo>
                <a:cubicBezTo>
                  <a:pt x="383" y="47"/>
                  <a:pt x="380" y="47"/>
                  <a:pt x="380" y="48"/>
                </a:cubicBezTo>
                <a:cubicBezTo>
                  <a:pt x="380" y="48"/>
                  <a:pt x="379" y="48"/>
                  <a:pt x="379" y="48"/>
                </a:cubicBezTo>
                <a:cubicBezTo>
                  <a:pt x="379" y="48"/>
                  <a:pt x="378" y="49"/>
                  <a:pt x="378" y="49"/>
                </a:cubicBezTo>
                <a:cubicBezTo>
                  <a:pt x="377" y="49"/>
                  <a:pt x="377" y="48"/>
                  <a:pt x="377" y="49"/>
                </a:cubicBezTo>
                <a:cubicBezTo>
                  <a:pt x="376" y="49"/>
                  <a:pt x="377" y="50"/>
                  <a:pt x="377" y="50"/>
                </a:cubicBezTo>
                <a:cubicBezTo>
                  <a:pt x="377" y="51"/>
                  <a:pt x="377" y="51"/>
                  <a:pt x="378" y="51"/>
                </a:cubicBezTo>
                <a:cubicBezTo>
                  <a:pt x="379" y="51"/>
                  <a:pt x="378" y="52"/>
                  <a:pt x="379" y="53"/>
                </a:cubicBezTo>
                <a:cubicBezTo>
                  <a:pt x="379" y="54"/>
                  <a:pt x="379" y="54"/>
                  <a:pt x="380" y="54"/>
                </a:cubicBezTo>
                <a:cubicBezTo>
                  <a:pt x="380" y="54"/>
                  <a:pt x="380" y="54"/>
                  <a:pt x="380" y="54"/>
                </a:cubicBezTo>
                <a:cubicBezTo>
                  <a:pt x="380" y="55"/>
                  <a:pt x="378" y="54"/>
                  <a:pt x="379" y="55"/>
                </a:cubicBezTo>
                <a:cubicBezTo>
                  <a:pt x="379" y="57"/>
                  <a:pt x="380" y="56"/>
                  <a:pt x="381" y="56"/>
                </a:cubicBezTo>
                <a:cubicBezTo>
                  <a:pt x="382" y="56"/>
                  <a:pt x="383" y="56"/>
                  <a:pt x="384" y="56"/>
                </a:cubicBezTo>
                <a:cubicBezTo>
                  <a:pt x="384" y="56"/>
                  <a:pt x="384" y="56"/>
                  <a:pt x="385" y="56"/>
                </a:cubicBezTo>
                <a:cubicBezTo>
                  <a:pt x="385" y="56"/>
                  <a:pt x="385" y="56"/>
                  <a:pt x="385" y="56"/>
                </a:cubicBezTo>
                <a:cubicBezTo>
                  <a:pt x="386" y="55"/>
                  <a:pt x="386" y="55"/>
                  <a:pt x="386" y="54"/>
                </a:cubicBezTo>
                <a:cubicBezTo>
                  <a:pt x="387" y="54"/>
                  <a:pt x="388" y="54"/>
                  <a:pt x="388" y="55"/>
                </a:cubicBezTo>
                <a:cubicBezTo>
                  <a:pt x="389" y="56"/>
                  <a:pt x="390" y="56"/>
                  <a:pt x="391" y="56"/>
                </a:cubicBezTo>
                <a:cubicBezTo>
                  <a:pt x="391" y="56"/>
                  <a:pt x="391" y="55"/>
                  <a:pt x="391" y="55"/>
                </a:cubicBezTo>
                <a:cubicBezTo>
                  <a:pt x="390" y="55"/>
                  <a:pt x="390" y="55"/>
                  <a:pt x="390" y="54"/>
                </a:cubicBezTo>
                <a:cubicBezTo>
                  <a:pt x="391" y="55"/>
                  <a:pt x="392" y="56"/>
                  <a:pt x="392" y="55"/>
                </a:cubicBezTo>
                <a:cubicBezTo>
                  <a:pt x="392" y="54"/>
                  <a:pt x="393" y="54"/>
                  <a:pt x="394" y="52"/>
                </a:cubicBezTo>
                <a:cubicBezTo>
                  <a:pt x="395" y="53"/>
                  <a:pt x="396" y="52"/>
                  <a:pt x="398" y="52"/>
                </a:cubicBezTo>
                <a:cubicBezTo>
                  <a:pt x="399" y="51"/>
                  <a:pt x="397" y="51"/>
                  <a:pt x="398" y="50"/>
                </a:cubicBezTo>
                <a:cubicBezTo>
                  <a:pt x="399" y="50"/>
                  <a:pt x="398" y="48"/>
                  <a:pt x="399" y="48"/>
                </a:cubicBezTo>
                <a:cubicBezTo>
                  <a:pt x="399" y="49"/>
                  <a:pt x="399" y="49"/>
                  <a:pt x="399" y="50"/>
                </a:cubicBezTo>
                <a:cubicBezTo>
                  <a:pt x="400" y="50"/>
                  <a:pt x="401" y="50"/>
                  <a:pt x="401" y="50"/>
                </a:cubicBezTo>
                <a:cubicBezTo>
                  <a:pt x="402" y="49"/>
                  <a:pt x="402" y="49"/>
                  <a:pt x="402" y="49"/>
                </a:cubicBezTo>
                <a:cubicBezTo>
                  <a:pt x="402" y="49"/>
                  <a:pt x="402" y="49"/>
                  <a:pt x="402" y="49"/>
                </a:cubicBezTo>
                <a:cubicBezTo>
                  <a:pt x="403" y="48"/>
                  <a:pt x="403" y="49"/>
                  <a:pt x="403" y="49"/>
                </a:cubicBezTo>
                <a:cubicBezTo>
                  <a:pt x="403" y="48"/>
                  <a:pt x="404" y="48"/>
                  <a:pt x="404" y="47"/>
                </a:cubicBezTo>
                <a:cubicBezTo>
                  <a:pt x="404" y="48"/>
                  <a:pt x="405" y="48"/>
                  <a:pt x="405" y="49"/>
                </a:cubicBezTo>
                <a:cubicBezTo>
                  <a:pt x="405" y="48"/>
                  <a:pt x="408" y="48"/>
                  <a:pt x="409" y="47"/>
                </a:cubicBezTo>
                <a:cubicBezTo>
                  <a:pt x="409" y="48"/>
                  <a:pt x="410" y="49"/>
                  <a:pt x="410" y="48"/>
                </a:cubicBezTo>
                <a:cubicBezTo>
                  <a:pt x="410" y="47"/>
                  <a:pt x="410" y="47"/>
                  <a:pt x="410" y="47"/>
                </a:cubicBezTo>
                <a:cubicBezTo>
                  <a:pt x="411" y="47"/>
                  <a:pt x="411" y="47"/>
                  <a:pt x="411" y="47"/>
                </a:cubicBezTo>
                <a:cubicBezTo>
                  <a:pt x="411" y="47"/>
                  <a:pt x="412" y="47"/>
                  <a:pt x="412" y="47"/>
                </a:cubicBezTo>
                <a:cubicBezTo>
                  <a:pt x="413" y="47"/>
                  <a:pt x="413" y="47"/>
                  <a:pt x="413" y="46"/>
                </a:cubicBezTo>
                <a:cubicBezTo>
                  <a:pt x="414" y="46"/>
                  <a:pt x="415" y="46"/>
                  <a:pt x="415" y="46"/>
                </a:cubicBezTo>
                <a:cubicBezTo>
                  <a:pt x="415" y="45"/>
                  <a:pt x="414" y="45"/>
                  <a:pt x="415" y="45"/>
                </a:cubicBezTo>
                <a:cubicBezTo>
                  <a:pt x="415" y="44"/>
                  <a:pt x="415" y="44"/>
                  <a:pt x="415" y="43"/>
                </a:cubicBezTo>
                <a:cubicBezTo>
                  <a:pt x="414" y="43"/>
                  <a:pt x="414" y="43"/>
                  <a:pt x="414" y="42"/>
                </a:cubicBezTo>
                <a:cubicBezTo>
                  <a:pt x="414" y="41"/>
                  <a:pt x="413" y="41"/>
                  <a:pt x="413" y="41"/>
                </a:cubicBezTo>
                <a:cubicBezTo>
                  <a:pt x="414" y="41"/>
                  <a:pt x="415" y="41"/>
                  <a:pt x="415" y="42"/>
                </a:cubicBezTo>
                <a:cubicBezTo>
                  <a:pt x="415" y="42"/>
                  <a:pt x="415" y="42"/>
                  <a:pt x="415" y="43"/>
                </a:cubicBezTo>
                <a:cubicBezTo>
                  <a:pt x="415" y="44"/>
                  <a:pt x="415" y="43"/>
                  <a:pt x="416" y="43"/>
                </a:cubicBezTo>
                <a:cubicBezTo>
                  <a:pt x="416" y="43"/>
                  <a:pt x="415" y="44"/>
                  <a:pt x="416" y="44"/>
                </a:cubicBezTo>
                <a:cubicBezTo>
                  <a:pt x="416" y="44"/>
                  <a:pt x="416" y="43"/>
                  <a:pt x="416" y="44"/>
                </a:cubicBezTo>
                <a:cubicBezTo>
                  <a:pt x="416" y="45"/>
                  <a:pt x="417" y="45"/>
                  <a:pt x="417" y="45"/>
                </a:cubicBezTo>
                <a:cubicBezTo>
                  <a:pt x="418" y="44"/>
                  <a:pt x="418" y="44"/>
                  <a:pt x="419" y="44"/>
                </a:cubicBezTo>
                <a:cubicBezTo>
                  <a:pt x="419" y="44"/>
                  <a:pt x="420" y="46"/>
                  <a:pt x="420" y="46"/>
                </a:cubicBezTo>
                <a:cubicBezTo>
                  <a:pt x="420" y="46"/>
                  <a:pt x="419" y="46"/>
                  <a:pt x="419" y="46"/>
                </a:cubicBezTo>
                <a:cubicBezTo>
                  <a:pt x="418" y="46"/>
                  <a:pt x="417" y="46"/>
                  <a:pt x="416" y="46"/>
                </a:cubicBezTo>
                <a:cubicBezTo>
                  <a:pt x="416" y="46"/>
                  <a:pt x="416" y="47"/>
                  <a:pt x="416" y="47"/>
                </a:cubicBezTo>
                <a:cubicBezTo>
                  <a:pt x="418" y="48"/>
                  <a:pt x="420" y="48"/>
                  <a:pt x="422" y="48"/>
                </a:cubicBezTo>
                <a:cubicBezTo>
                  <a:pt x="423" y="48"/>
                  <a:pt x="425" y="48"/>
                  <a:pt x="426" y="48"/>
                </a:cubicBezTo>
                <a:cubicBezTo>
                  <a:pt x="425" y="50"/>
                  <a:pt x="426" y="49"/>
                  <a:pt x="426" y="50"/>
                </a:cubicBezTo>
                <a:cubicBezTo>
                  <a:pt x="425" y="49"/>
                  <a:pt x="425" y="49"/>
                  <a:pt x="423" y="49"/>
                </a:cubicBezTo>
                <a:cubicBezTo>
                  <a:pt x="423" y="49"/>
                  <a:pt x="420" y="49"/>
                  <a:pt x="420" y="49"/>
                </a:cubicBezTo>
                <a:cubicBezTo>
                  <a:pt x="420" y="49"/>
                  <a:pt x="417" y="49"/>
                  <a:pt x="416" y="49"/>
                </a:cubicBezTo>
                <a:cubicBezTo>
                  <a:pt x="415" y="49"/>
                  <a:pt x="414" y="49"/>
                  <a:pt x="413" y="49"/>
                </a:cubicBezTo>
                <a:cubicBezTo>
                  <a:pt x="413" y="49"/>
                  <a:pt x="412" y="49"/>
                  <a:pt x="411" y="48"/>
                </a:cubicBezTo>
                <a:cubicBezTo>
                  <a:pt x="411" y="49"/>
                  <a:pt x="411" y="49"/>
                  <a:pt x="410" y="49"/>
                </a:cubicBezTo>
                <a:cubicBezTo>
                  <a:pt x="409" y="49"/>
                  <a:pt x="410" y="49"/>
                  <a:pt x="409" y="49"/>
                </a:cubicBezTo>
                <a:cubicBezTo>
                  <a:pt x="409" y="49"/>
                  <a:pt x="409" y="49"/>
                  <a:pt x="409" y="49"/>
                </a:cubicBezTo>
                <a:cubicBezTo>
                  <a:pt x="409" y="49"/>
                  <a:pt x="408" y="49"/>
                  <a:pt x="408" y="49"/>
                </a:cubicBezTo>
                <a:cubicBezTo>
                  <a:pt x="408" y="49"/>
                  <a:pt x="406" y="50"/>
                  <a:pt x="406" y="50"/>
                </a:cubicBezTo>
                <a:cubicBezTo>
                  <a:pt x="406" y="51"/>
                  <a:pt x="405" y="50"/>
                  <a:pt x="405" y="50"/>
                </a:cubicBezTo>
                <a:cubicBezTo>
                  <a:pt x="405" y="51"/>
                  <a:pt x="405" y="51"/>
                  <a:pt x="405" y="51"/>
                </a:cubicBezTo>
                <a:cubicBezTo>
                  <a:pt x="404" y="51"/>
                  <a:pt x="405" y="51"/>
                  <a:pt x="403" y="51"/>
                </a:cubicBezTo>
                <a:cubicBezTo>
                  <a:pt x="403" y="51"/>
                  <a:pt x="402" y="51"/>
                  <a:pt x="401" y="51"/>
                </a:cubicBezTo>
                <a:cubicBezTo>
                  <a:pt x="401" y="52"/>
                  <a:pt x="401" y="52"/>
                  <a:pt x="401" y="53"/>
                </a:cubicBezTo>
                <a:cubicBezTo>
                  <a:pt x="401" y="53"/>
                  <a:pt x="401" y="53"/>
                  <a:pt x="401" y="53"/>
                </a:cubicBezTo>
                <a:cubicBezTo>
                  <a:pt x="401" y="54"/>
                  <a:pt x="401" y="54"/>
                  <a:pt x="400" y="54"/>
                </a:cubicBezTo>
                <a:cubicBezTo>
                  <a:pt x="400" y="55"/>
                  <a:pt x="400" y="55"/>
                  <a:pt x="401" y="56"/>
                </a:cubicBezTo>
                <a:cubicBezTo>
                  <a:pt x="401" y="56"/>
                  <a:pt x="401" y="56"/>
                  <a:pt x="401" y="56"/>
                </a:cubicBezTo>
                <a:cubicBezTo>
                  <a:pt x="402" y="56"/>
                  <a:pt x="403" y="56"/>
                  <a:pt x="404" y="55"/>
                </a:cubicBezTo>
                <a:cubicBezTo>
                  <a:pt x="405" y="55"/>
                  <a:pt x="405" y="56"/>
                  <a:pt x="405" y="55"/>
                </a:cubicBezTo>
                <a:cubicBezTo>
                  <a:pt x="406" y="55"/>
                  <a:pt x="406" y="55"/>
                  <a:pt x="406" y="55"/>
                </a:cubicBezTo>
                <a:cubicBezTo>
                  <a:pt x="407" y="55"/>
                  <a:pt x="408" y="54"/>
                  <a:pt x="408" y="55"/>
                </a:cubicBezTo>
                <a:cubicBezTo>
                  <a:pt x="408" y="55"/>
                  <a:pt x="408" y="55"/>
                  <a:pt x="407" y="55"/>
                </a:cubicBezTo>
                <a:cubicBezTo>
                  <a:pt x="408" y="56"/>
                  <a:pt x="409" y="55"/>
                  <a:pt x="410" y="55"/>
                </a:cubicBezTo>
                <a:cubicBezTo>
                  <a:pt x="411" y="55"/>
                  <a:pt x="412" y="55"/>
                  <a:pt x="413" y="55"/>
                </a:cubicBezTo>
                <a:cubicBezTo>
                  <a:pt x="413" y="55"/>
                  <a:pt x="413" y="55"/>
                  <a:pt x="414" y="54"/>
                </a:cubicBezTo>
                <a:cubicBezTo>
                  <a:pt x="414" y="54"/>
                  <a:pt x="414" y="52"/>
                  <a:pt x="415" y="52"/>
                </a:cubicBezTo>
                <a:cubicBezTo>
                  <a:pt x="416" y="52"/>
                  <a:pt x="416" y="52"/>
                  <a:pt x="416" y="53"/>
                </a:cubicBezTo>
                <a:cubicBezTo>
                  <a:pt x="416" y="53"/>
                  <a:pt x="416" y="53"/>
                  <a:pt x="416" y="54"/>
                </a:cubicBezTo>
                <a:cubicBezTo>
                  <a:pt x="416" y="54"/>
                  <a:pt x="415" y="54"/>
                  <a:pt x="416" y="54"/>
                </a:cubicBezTo>
                <a:cubicBezTo>
                  <a:pt x="416" y="54"/>
                  <a:pt x="416" y="54"/>
                  <a:pt x="416" y="55"/>
                </a:cubicBezTo>
                <a:cubicBezTo>
                  <a:pt x="416" y="55"/>
                  <a:pt x="415" y="54"/>
                  <a:pt x="415" y="55"/>
                </a:cubicBezTo>
                <a:cubicBezTo>
                  <a:pt x="415" y="56"/>
                  <a:pt x="415" y="56"/>
                  <a:pt x="415" y="56"/>
                </a:cubicBezTo>
                <a:cubicBezTo>
                  <a:pt x="413" y="56"/>
                  <a:pt x="414" y="56"/>
                  <a:pt x="414" y="56"/>
                </a:cubicBezTo>
                <a:cubicBezTo>
                  <a:pt x="415" y="57"/>
                  <a:pt x="414" y="57"/>
                  <a:pt x="415" y="57"/>
                </a:cubicBezTo>
                <a:cubicBezTo>
                  <a:pt x="416" y="57"/>
                  <a:pt x="416" y="58"/>
                  <a:pt x="416" y="58"/>
                </a:cubicBezTo>
                <a:cubicBezTo>
                  <a:pt x="416" y="60"/>
                  <a:pt x="418" y="60"/>
                  <a:pt x="418" y="58"/>
                </a:cubicBezTo>
                <a:cubicBezTo>
                  <a:pt x="418" y="58"/>
                  <a:pt x="419" y="59"/>
                  <a:pt x="419" y="59"/>
                </a:cubicBezTo>
                <a:cubicBezTo>
                  <a:pt x="419" y="59"/>
                  <a:pt x="419" y="59"/>
                  <a:pt x="419" y="59"/>
                </a:cubicBezTo>
                <a:cubicBezTo>
                  <a:pt x="419" y="60"/>
                  <a:pt x="420" y="60"/>
                  <a:pt x="420" y="60"/>
                </a:cubicBezTo>
                <a:cubicBezTo>
                  <a:pt x="421" y="60"/>
                  <a:pt x="422" y="60"/>
                  <a:pt x="422" y="60"/>
                </a:cubicBezTo>
                <a:cubicBezTo>
                  <a:pt x="423" y="59"/>
                  <a:pt x="423" y="59"/>
                  <a:pt x="424" y="59"/>
                </a:cubicBezTo>
                <a:cubicBezTo>
                  <a:pt x="423" y="60"/>
                  <a:pt x="422" y="60"/>
                  <a:pt x="422" y="61"/>
                </a:cubicBezTo>
                <a:cubicBezTo>
                  <a:pt x="423" y="61"/>
                  <a:pt x="422" y="61"/>
                  <a:pt x="422" y="62"/>
                </a:cubicBezTo>
                <a:cubicBezTo>
                  <a:pt x="422" y="62"/>
                  <a:pt x="422" y="62"/>
                  <a:pt x="421" y="62"/>
                </a:cubicBezTo>
                <a:cubicBezTo>
                  <a:pt x="421" y="62"/>
                  <a:pt x="421" y="62"/>
                  <a:pt x="421" y="63"/>
                </a:cubicBezTo>
                <a:cubicBezTo>
                  <a:pt x="419" y="63"/>
                  <a:pt x="419" y="62"/>
                  <a:pt x="418" y="62"/>
                </a:cubicBezTo>
                <a:cubicBezTo>
                  <a:pt x="417" y="62"/>
                  <a:pt x="417" y="62"/>
                  <a:pt x="416" y="62"/>
                </a:cubicBezTo>
                <a:cubicBezTo>
                  <a:pt x="416" y="62"/>
                  <a:pt x="415" y="62"/>
                  <a:pt x="414" y="62"/>
                </a:cubicBezTo>
                <a:cubicBezTo>
                  <a:pt x="414" y="61"/>
                  <a:pt x="413" y="61"/>
                  <a:pt x="413" y="60"/>
                </a:cubicBezTo>
                <a:cubicBezTo>
                  <a:pt x="412" y="59"/>
                  <a:pt x="411" y="60"/>
                  <a:pt x="411" y="60"/>
                </a:cubicBezTo>
                <a:cubicBezTo>
                  <a:pt x="410" y="60"/>
                  <a:pt x="410" y="58"/>
                  <a:pt x="409" y="58"/>
                </a:cubicBezTo>
                <a:cubicBezTo>
                  <a:pt x="408" y="58"/>
                  <a:pt x="406" y="58"/>
                  <a:pt x="406" y="57"/>
                </a:cubicBezTo>
                <a:cubicBezTo>
                  <a:pt x="406" y="57"/>
                  <a:pt x="405" y="57"/>
                  <a:pt x="404" y="58"/>
                </a:cubicBezTo>
                <a:cubicBezTo>
                  <a:pt x="404" y="58"/>
                  <a:pt x="404" y="58"/>
                  <a:pt x="404" y="58"/>
                </a:cubicBezTo>
                <a:cubicBezTo>
                  <a:pt x="404" y="58"/>
                  <a:pt x="404" y="58"/>
                  <a:pt x="403" y="58"/>
                </a:cubicBezTo>
                <a:cubicBezTo>
                  <a:pt x="402" y="58"/>
                  <a:pt x="401" y="58"/>
                  <a:pt x="399" y="58"/>
                </a:cubicBezTo>
                <a:cubicBezTo>
                  <a:pt x="399" y="59"/>
                  <a:pt x="400" y="61"/>
                  <a:pt x="401" y="61"/>
                </a:cubicBezTo>
                <a:cubicBezTo>
                  <a:pt x="402" y="61"/>
                  <a:pt x="403" y="61"/>
                  <a:pt x="403" y="62"/>
                </a:cubicBezTo>
                <a:cubicBezTo>
                  <a:pt x="403" y="63"/>
                  <a:pt x="403" y="63"/>
                  <a:pt x="403" y="64"/>
                </a:cubicBezTo>
                <a:cubicBezTo>
                  <a:pt x="401" y="64"/>
                  <a:pt x="401" y="64"/>
                  <a:pt x="399" y="64"/>
                </a:cubicBezTo>
                <a:cubicBezTo>
                  <a:pt x="398" y="64"/>
                  <a:pt x="398" y="64"/>
                  <a:pt x="397" y="64"/>
                </a:cubicBezTo>
                <a:cubicBezTo>
                  <a:pt x="397" y="64"/>
                  <a:pt x="397" y="65"/>
                  <a:pt x="396" y="65"/>
                </a:cubicBezTo>
                <a:cubicBezTo>
                  <a:pt x="396" y="65"/>
                  <a:pt x="396" y="65"/>
                  <a:pt x="395" y="65"/>
                </a:cubicBezTo>
                <a:cubicBezTo>
                  <a:pt x="394" y="65"/>
                  <a:pt x="395" y="65"/>
                  <a:pt x="394" y="66"/>
                </a:cubicBezTo>
                <a:cubicBezTo>
                  <a:pt x="394" y="66"/>
                  <a:pt x="394" y="66"/>
                  <a:pt x="394" y="66"/>
                </a:cubicBezTo>
                <a:cubicBezTo>
                  <a:pt x="393" y="66"/>
                  <a:pt x="393" y="67"/>
                  <a:pt x="392" y="67"/>
                </a:cubicBezTo>
                <a:cubicBezTo>
                  <a:pt x="392" y="67"/>
                  <a:pt x="392" y="67"/>
                  <a:pt x="392" y="67"/>
                </a:cubicBezTo>
                <a:cubicBezTo>
                  <a:pt x="391" y="67"/>
                  <a:pt x="393" y="67"/>
                  <a:pt x="391" y="68"/>
                </a:cubicBezTo>
                <a:cubicBezTo>
                  <a:pt x="390" y="68"/>
                  <a:pt x="391" y="68"/>
                  <a:pt x="391" y="69"/>
                </a:cubicBezTo>
                <a:cubicBezTo>
                  <a:pt x="391" y="70"/>
                  <a:pt x="391" y="70"/>
                  <a:pt x="392" y="70"/>
                </a:cubicBezTo>
                <a:cubicBezTo>
                  <a:pt x="392" y="71"/>
                  <a:pt x="392" y="71"/>
                  <a:pt x="392" y="72"/>
                </a:cubicBezTo>
                <a:cubicBezTo>
                  <a:pt x="393" y="72"/>
                  <a:pt x="394" y="72"/>
                  <a:pt x="394" y="72"/>
                </a:cubicBezTo>
                <a:cubicBezTo>
                  <a:pt x="394" y="71"/>
                  <a:pt x="394" y="71"/>
                  <a:pt x="394" y="71"/>
                </a:cubicBezTo>
                <a:cubicBezTo>
                  <a:pt x="394" y="70"/>
                  <a:pt x="395" y="71"/>
                  <a:pt x="395" y="71"/>
                </a:cubicBezTo>
                <a:cubicBezTo>
                  <a:pt x="395" y="71"/>
                  <a:pt x="396" y="70"/>
                  <a:pt x="396" y="71"/>
                </a:cubicBezTo>
                <a:cubicBezTo>
                  <a:pt x="396" y="72"/>
                  <a:pt x="395" y="72"/>
                  <a:pt x="396" y="72"/>
                </a:cubicBezTo>
                <a:cubicBezTo>
                  <a:pt x="398" y="72"/>
                  <a:pt x="400" y="73"/>
                  <a:pt x="401" y="71"/>
                </a:cubicBezTo>
                <a:cubicBezTo>
                  <a:pt x="400" y="71"/>
                  <a:pt x="400" y="71"/>
                  <a:pt x="400" y="71"/>
                </a:cubicBezTo>
                <a:cubicBezTo>
                  <a:pt x="400" y="70"/>
                  <a:pt x="400" y="70"/>
                  <a:pt x="401" y="70"/>
                </a:cubicBezTo>
                <a:cubicBezTo>
                  <a:pt x="401" y="70"/>
                  <a:pt x="401" y="69"/>
                  <a:pt x="401" y="69"/>
                </a:cubicBezTo>
                <a:cubicBezTo>
                  <a:pt x="401" y="69"/>
                  <a:pt x="402" y="70"/>
                  <a:pt x="402" y="70"/>
                </a:cubicBezTo>
                <a:cubicBezTo>
                  <a:pt x="402" y="70"/>
                  <a:pt x="402" y="70"/>
                  <a:pt x="402" y="70"/>
                </a:cubicBezTo>
                <a:cubicBezTo>
                  <a:pt x="402" y="71"/>
                  <a:pt x="402" y="71"/>
                  <a:pt x="402" y="71"/>
                </a:cubicBezTo>
                <a:cubicBezTo>
                  <a:pt x="402" y="72"/>
                  <a:pt x="404" y="72"/>
                  <a:pt x="404" y="72"/>
                </a:cubicBezTo>
                <a:cubicBezTo>
                  <a:pt x="404" y="72"/>
                  <a:pt x="404" y="70"/>
                  <a:pt x="404" y="70"/>
                </a:cubicBezTo>
                <a:cubicBezTo>
                  <a:pt x="404" y="70"/>
                  <a:pt x="405" y="69"/>
                  <a:pt x="405" y="70"/>
                </a:cubicBezTo>
                <a:cubicBezTo>
                  <a:pt x="405" y="70"/>
                  <a:pt x="405" y="71"/>
                  <a:pt x="405" y="71"/>
                </a:cubicBezTo>
                <a:cubicBezTo>
                  <a:pt x="406" y="71"/>
                  <a:pt x="406" y="72"/>
                  <a:pt x="407" y="72"/>
                </a:cubicBezTo>
                <a:cubicBezTo>
                  <a:pt x="408" y="72"/>
                  <a:pt x="408" y="72"/>
                  <a:pt x="409" y="72"/>
                </a:cubicBezTo>
                <a:cubicBezTo>
                  <a:pt x="409" y="72"/>
                  <a:pt x="411" y="72"/>
                  <a:pt x="412" y="73"/>
                </a:cubicBezTo>
                <a:cubicBezTo>
                  <a:pt x="411" y="72"/>
                  <a:pt x="413" y="73"/>
                  <a:pt x="412" y="73"/>
                </a:cubicBezTo>
                <a:cubicBezTo>
                  <a:pt x="413" y="73"/>
                  <a:pt x="413" y="74"/>
                  <a:pt x="413" y="73"/>
                </a:cubicBezTo>
                <a:cubicBezTo>
                  <a:pt x="413" y="73"/>
                  <a:pt x="412" y="72"/>
                  <a:pt x="413" y="72"/>
                </a:cubicBezTo>
                <a:cubicBezTo>
                  <a:pt x="413" y="72"/>
                  <a:pt x="414" y="71"/>
                  <a:pt x="414" y="71"/>
                </a:cubicBezTo>
                <a:cubicBezTo>
                  <a:pt x="414" y="71"/>
                  <a:pt x="415" y="71"/>
                  <a:pt x="415" y="71"/>
                </a:cubicBezTo>
                <a:cubicBezTo>
                  <a:pt x="416" y="70"/>
                  <a:pt x="414" y="69"/>
                  <a:pt x="414" y="69"/>
                </a:cubicBezTo>
                <a:cubicBezTo>
                  <a:pt x="415" y="69"/>
                  <a:pt x="416" y="70"/>
                  <a:pt x="417" y="69"/>
                </a:cubicBezTo>
                <a:cubicBezTo>
                  <a:pt x="417" y="68"/>
                  <a:pt x="418" y="68"/>
                  <a:pt x="418" y="68"/>
                </a:cubicBezTo>
                <a:cubicBezTo>
                  <a:pt x="418" y="67"/>
                  <a:pt x="418" y="67"/>
                  <a:pt x="418" y="67"/>
                </a:cubicBezTo>
                <a:cubicBezTo>
                  <a:pt x="419" y="67"/>
                  <a:pt x="418" y="67"/>
                  <a:pt x="419" y="67"/>
                </a:cubicBezTo>
                <a:cubicBezTo>
                  <a:pt x="419" y="68"/>
                  <a:pt x="419" y="69"/>
                  <a:pt x="418" y="69"/>
                </a:cubicBezTo>
                <a:cubicBezTo>
                  <a:pt x="418" y="69"/>
                  <a:pt x="418" y="69"/>
                  <a:pt x="418" y="70"/>
                </a:cubicBezTo>
                <a:cubicBezTo>
                  <a:pt x="419" y="71"/>
                  <a:pt x="419" y="70"/>
                  <a:pt x="420" y="70"/>
                </a:cubicBezTo>
                <a:cubicBezTo>
                  <a:pt x="421" y="70"/>
                  <a:pt x="421" y="70"/>
                  <a:pt x="422" y="70"/>
                </a:cubicBezTo>
                <a:cubicBezTo>
                  <a:pt x="423" y="70"/>
                  <a:pt x="423" y="70"/>
                  <a:pt x="423" y="70"/>
                </a:cubicBezTo>
                <a:cubicBezTo>
                  <a:pt x="423" y="70"/>
                  <a:pt x="423" y="70"/>
                  <a:pt x="424" y="70"/>
                </a:cubicBezTo>
                <a:cubicBezTo>
                  <a:pt x="424" y="70"/>
                  <a:pt x="425" y="70"/>
                  <a:pt x="425" y="70"/>
                </a:cubicBezTo>
                <a:cubicBezTo>
                  <a:pt x="426" y="70"/>
                  <a:pt x="429" y="70"/>
                  <a:pt x="428" y="67"/>
                </a:cubicBezTo>
                <a:cubicBezTo>
                  <a:pt x="428" y="67"/>
                  <a:pt x="427" y="66"/>
                  <a:pt x="427" y="66"/>
                </a:cubicBezTo>
                <a:cubicBezTo>
                  <a:pt x="428" y="66"/>
                  <a:pt x="428" y="68"/>
                  <a:pt x="429" y="67"/>
                </a:cubicBezTo>
                <a:cubicBezTo>
                  <a:pt x="429" y="67"/>
                  <a:pt x="428" y="68"/>
                  <a:pt x="429" y="69"/>
                </a:cubicBezTo>
                <a:cubicBezTo>
                  <a:pt x="430" y="70"/>
                  <a:pt x="431" y="70"/>
                  <a:pt x="431" y="69"/>
                </a:cubicBezTo>
                <a:cubicBezTo>
                  <a:pt x="432" y="67"/>
                  <a:pt x="434" y="71"/>
                  <a:pt x="433" y="71"/>
                </a:cubicBezTo>
                <a:cubicBezTo>
                  <a:pt x="433" y="72"/>
                  <a:pt x="433" y="73"/>
                  <a:pt x="433" y="74"/>
                </a:cubicBezTo>
                <a:cubicBezTo>
                  <a:pt x="434" y="74"/>
                  <a:pt x="435" y="73"/>
                  <a:pt x="435" y="74"/>
                </a:cubicBezTo>
                <a:cubicBezTo>
                  <a:pt x="437" y="74"/>
                  <a:pt x="437" y="72"/>
                  <a:pt x="438" y="72"/>
                </a:cubicBezTo>
                <a:cubicBezTo>
                  <a:pt x="439" y="72"/>
                  <a:pt x="439" y="71"/>
                  <a:pt x="439" y="71"/>
                </a:cubicBezTo>
                <a:cubicBezTo>
                  <a:pt x="440" y="71"/>
                  <a:pt x="440" y="70"/>
                  <a:pt x="441" y="69"/>
                </a:cubicBezTo>
                <a:cubicBezTo>
                  <a:pt x="441" y="70"/>
                  <a:pt x="442" y="71"/>
                  <a:pt x="443" y="70"/>
                </a:cubicBezTo>
                <a:cubicBezTo>
                  <a:pt x="443" y="70"/>
                  <a:pt x="444" y="70"/>
                  <a:pt x="444" y="70"/>
                </a:cubicBezTo>
                <a:cubicBezTo>
                  <a:pt x="444" y="69"/>
                  <a:pt x="444" y="70"/>
                  <a:pt x="444" y="70"/>
                </a:cubicBezTo>
                <a:cubicBezTo>
                  <a:pt x="445" y="68"/>
                  <a:pt x="447" y="68"/>
                  <a:pt x="448" y="67"/>
                </a:cubicBezTo>
                <a:cubicBezTo>
                  <a:pt x="447" y="66"/>
                  <a:pt x="447" y="66"/>
                  <a:pt x="446" y="66"/>
                </a:cubicBezTo>
                <a:cubicBezTo>
                  <a:pt x="445" y="66"/>
                  <a:pt x="446" y="66"/>
                  <a:pt x="445" y="66"/>
                </a:cubicBezTo>
                <a:cubicBezTo>
                  <a:pt x="444" y="66"/>
                  <a:pt x="444" y="66"/>
                  <a:pt x="444" y="66"/>
                </a:cubicBezTo>
                <a:cubicBezTo>
                  <a:pt x="444" y="65"/>
                  <a:pt x="443" y="65"/>
                  <a:pt x="443" y="64"/>
                </a:cubicBezTo>
                <a:cubicBezTo>
                  <a:pt x="442" y="64"/>
                  <a:pt x="442" y="63"/>
                  <a:pt x="441" y="63"/>
                </a:cubicBezTo>
                <a:cubicBezTo>
                  <a:pt x="440" y="63"/>
                  <a:pt x="438" y="63"/>
                  <a:pt x="437" y="63"/>
                </a:cubicBezTo>
                <a:cubicBezTo>
                  <a:pt x="437" y="62"/>
                  <a:pt x="441" y="62"/>
                  <a:pt x="441" y="62"/>
                </a:cubicBezTo>
                <a:cubicBezTo>
                  <a:pt x="441" y="62"/>
                  <a:pt x="442" y="62"/>
                  <a:pt x="443" y="62"/>
                </a:cubicBezTo>
                <a:cubicBezTo>
                  <a:pt x="443" y="61"/>
                  <a:pt x="446" y="61"/>
                  <a:pt x="447" y="61"/>
                </a:cubicBezTo>
                <a:cubicBezTo>
                  <a:pt x="447" y="61"/>
                  <a:pt x="447" y="61"/>
                  <a:pt x="447" y="60"/>
                </a:cubicBezTo>
                <a:cubicBezTo>
                  <a:pt x="447" y="60"/>
                  <a:pt x="448" y="59"/>
                  <a:pt x="447" y="59"/>
                </a:cubicBezTo>
                <a:cubicBezTo>
                  <a:pt x="446" y="59"/>
                  <a:pt x="447" y="58"/>
                  <a:pt x="447" y="58"/>
                </a:cubicBezTo>
                <a:cubicBezTo>
                  <a:pt x="448" y="57"/>
                  <a:pt x="451" y="58"/>
                  <a:pt x="453" y="58"/>
                </a:cubicBezTo>
                <a:cubicBezTo>
                  <a:pt x="454" y="58"/>
                  <a:pt x="455" y="57"/>
                  <a:pt x="456" y="57"/>
                </a:cubicBezTo>
                <a:cubicBezTo>
                  <a:pt x="457" y="57"/>
                  <a:pt x="458" y="57"/>
                  <a:pt x="458" y="55"/>
                </a:cubicBezTo>
                <a:cubicBezTo>
                  <a:pt x="457" y="55"/>
                  <a:pt x="457" y="56"/>
                  <a:pt x="456" y="55"/>
                </a:cubicBezTo>
                <a:cubicBezTo>
                  <a:pt x="456" y="55"/>
                  <a:pt x="456" y="55"/>
                  <a:pt x="456" y="55"/>
                </a:cubicBezTo>
                <a:cubicBezTo>
                  <a:pt x="455" y="55"/>
                  <a:pt x="456" y="55"/>
                  <a:pt x="456" y="55"/>
                </a:cubicBezTo>
                <a:cubicBezTo>
                  <a:pt x="457" y="55"/>
                  <a:pt x="458" y="54"/>
                  <a:pt x="458" y="54"/>
                </a:cubicBezTo>
                <a:cubicBezTo>
                  <a:pt x="459" y="54"/>
                  <a:pt x="459" y="55"/>
                  <a:pt x="459" y="55"/>
                </a:cubicBezTo>
                <a:cubicBezTo>
                  <a:pt x="459" y="55"/>
                  <a:pt x="459" y="54"/>
                  <a:pt x="460" y="54"/>
                </a:cubicBezTo>
                <a:cubicBezTo>
                  <a:pt x="460" y="54"/>
                  <a:pt x="461" y="54"/>
                  <a:pt x="461" y="54"/>
                </a:cubicBezTo>
                <a:cubicBezTo>
                  <a:pt x="461" y="54"/>
                  <a:pt x="461" y="53"/>
                  <a:pt x="460" y="53"/>
                </a:cubicBezTo>
                <a:cubicBezTo>
                  <a:pt x="460" y="53"/>
                  <a:pt x="459" y="52"/>
                  <a:pt x="459" y="52"/>
                </a:cubicBezTo>
                <a:cubicBezTo>
                  <a:pt x="461" y="52"/>
                  <a:pt x="462" y="52"/>
                  <a:pt x="463" y="52"/>
                </a:cubicBezTo>
                <a:cubicBezTo>
                  <a:pt x="464" y="52"/>
                  <a:pt x="464" y="51"/>
                  <a:pt x="465" y="51"/>
                </a:cubicBezTo>
                <a:cubicBezTo>
                  <a:pt x="465" y="50"/>
                  <a:pt x="465" y="50"/>
                  <a:pt x="465" y="49"/>
                </a:cubicBezTo>
                <a:cubicBezTo>
                  <a:pt x="463" y="49"/>
                  <a:pt x="462" y="49"/>
                  <a:pt x="461" y="49"/>
                </a:cubicBezTo>
                <a:cubicBezTo>
                  <a:pt x="461" y="48"/>
                  <a:pt x="461" y="48"/>
                  <a:pt x="460" y="48"/>
                </a:cubicBezTo>
                <a:cubicBezTo>
                  <a:pt x="459" y="48"/>
                  <a:pt x="458" y="48"/>
                  <a:pt x="457" y="47"/>
                </a:cubicBezTo>
                <a:cubicBezTo>
                  <a:pt x="457" y="48"/>
                  <a:pt x="456" y="48"/>
                  <a:pt x="455" y="48"/>
                </a:cubicBezTo>
                <a:cubicBezTo>
                  <a:pt x="455" y="48"/>
                  <a:pt x="454" y="48"/>
                  <a:pt x="454" y="48"/>
                </a:cubicBezTo>
                <a:cubicBezTo>
                  <a:pt x="454" y="48"/>
                  <a:pt x="453" y="49"/>
                  <a:pt x="453" y="49"/>
                </a:cubicBezTo>
                <a:cubicBezTo>
                  <a:pt x="453" y="49"/>
                  <a:pt x="452" y="49"/>
                  <a:pt x="452" y="49"/>
                </a:cubicBezTo>
                <a:cubicBezTo>
                  <a:pt x="451" y="49"/>
                  <a:pt x="452" y="49"/>
                  <a:pt x="451" y="49"/>
                </a:cubicBezTo>
                <a:cubicBezTo>
                  <a:pt x="451" y="49"/>
                  <a:pt x="451" y="49"/>
                  <a:pt x="451" y="49"/>
                </a:cubicBezTo>
                <a:cubicBezTo>
                  <a:pt x="451" y="50"/>
                  <a:pt x="449" y="50"/>
                  <a:pt x="449" y="50"/>
                </a:cubicBezTo>
                <a:cubicBezTo>
                  <a:pt x="448" y="50"/>
                  <a:pt x="448" y="50"/>
                  <a:pt x="448" y="50"/>
                </a:cubicBezTo>
                <a:cubicBezTo>
                  <a:pt x="448" y="50"/>
                  <a:pt x="448" y="50"/>
                  <a:pt x="448" y="49"/>
                </a:cubicBezTo>
                <a:cubicBezTo>
                  <a:pt x="448" y="49"/>
                  <a:pt x="448" y="49"/>
                  <a:pt x="449" y="49"/>
                </a:cubicBezTo>
                <a:cubicBezTo>
                  <a:pt x="450" y="48"/>
                  <a:pt x="450" y="48"/>
                  <a:pt x="451" y="47"/>
                </a:cubicBezTo>
                <a:cubicBezTo>
                  <a:pt x="449" y="47"/>
                  <a:pt x="447" y="46"/>
                  <a:pt x="445" y="46"/>
                </a:cubicBezTo>
                <a:cubicBezTo>
                  <a:pt x="445" y="46"/>
                  <a:pt x="446" y="46"/>
                  <a:pt x="446" y="46"/>
                </a:cubicBezTo>
                <a:cubicBezTo>
                  <a:pt x="447" y="46"/>
                  <a:pt x="447" y="46"/>
                  <a:pt x="447" y="46"/>
                </a:cubicBezTo>
                <a:cubicBezTo>
                  <a:pt x="449" y="46"/>
                  <a:pt x="448" y="46"/>
                  <a:pt x="448" y="46"/>
                </a:cubicBezTo>
                <a:cubicBezTo>
                  <a:pt x="448" y="46"/>
                  <a:pt x="449" y="46"/>
                  <a:pt x="449" y="46"/>
                </a:cubicBezTo>
                <a:cubicBezTo>
                  <a:pt x="450" y="46"/>
                  <a:pt x="449" y="46"/>
                  <a:pt x="450" y="46"/>
                </a:cubicBezTo>
                <a:cubicBezTo>
                  <a:pt x="450" y="46"/>
                  <a:pt x="451" y="46"/>
                  <a:pt x="451" y="46"/>
                </a:cubicBezTo>
                <a:cubicBezTo>
                  <a:pt x="452" y="47"/>
                  <a:pt x="452" y="47"/>
                  <a:pt x="452" y="47"/>
                </a:cubicBezTo>
                <a:cubicBezTo>
                  <a:pt x="453" y="48"/>
                  <a:pt x="454" y="46"/>
                  <a:pt x="455" y="46"/>
                </a:cubicBezTo>
                <a:cubicBezTo>
                  <a:pt x="455" y="46"/>
                  <a:pt x="455" y="47"/>
                  <a:pt x="455" y="47"/>
                </a:cubicBezTo>
                <a:cubicBezTo>
                  <a:pt x="456" y="47"/>
                  <a:pt x="457" y="47"/>
                  <a:pt x="458" y="46"/>
                </a:cubicBezTo>
                <a:cubicBezTo>
                  <a:pt x="457" y="45"/>
                  <a:pt x="457" y="45"/>
                  <a:pt x="455" y="45"/>
                </a:cubicBezTo>
                <a:cubicBezTo>
                  <a:pt x="455" y="45"/>
                  <a:pt x="452" y="44"/>
                  <a:pt x="452" y="44"/>
                </a:cubicBezTo>
                <a:cubicBezTo>
                  <a:pt x="453" y="44"/>
                  <a:pt x="455" y="44"/>
                  <a:pt x="456" y="44"/>
                </a:cubicBezTo>
                <a:cubicBezTo>
                  <a:pt x="456" y="44"/>
                  <a:pt x="456" y="44"/>
                  <a:pt x="456" y="44"/>
                </a:cubicBezTo>
                <a:cubicBezTo>
                  <a:pt x="457" y="44"/>
                  <a:pt x="457" y="44"/>
                  <a:pt x="457" y="44"/>
                </a:cubicBezTo>
                <a:cubicBezTo>
                  <a:pt x="458" y="44"/>
                  <a:pt x="459" y="45"/>
                  <a:pt x="459" y="45"/>
                </a:cubicBezTo>
                <a:cubicBezTo>
                  <a:pt x="460" y="45"/>
                  <a:pt x="461" y="45"/>
                  <a:pt x="461" y="44"/>
                </a:cubicBezTo>
                <a:cubicBezTo>
                  <a:pt x="458" y="43"/>
                  <a:pt x="455" y="43"/>
                  <a:pt x="452" y="43"/>
                </a:cubicBezTo>
                <a:cubicBezTo>
                  <a:pt x="452" y="42"/>
                  <a:pt x="452" y="42"/>
                  <a:pt x="452" y="41"/>
                </a:cubicBezTo>
                <a:cubicBezTo>
                  <a:pt x="453" y="41"/>
                  <a:pt x="455" y="42"/>
                  <a:pt x="456" y="42"/>
                </a:cubicBezTo>
                <a:cubicBezTo>
                  <a:pt x="456" y="41"/>
                  <a:pt x="456" y="41"/>
                  <a:pt x="456" y="41"/>
                </a:cubicBezTo>
                <a:cubicBezTo>
                  <a:pt x="457" y="41"/>
                  <a:pt x="457" y="41"/>
                  <a:pt x="457" y="41"/>
                </a:cubicBezTo>
                <a:cubicBezTo>
                  <a:pt x="458" y="42"/>
                  <a:pt x="458" y="42"/>
                  <a:pt x="459" y="43"/>
                </a:cubicBezTo>
                <a:cubicBezTo>
                  <a:pt x="460" y="43"/>
                  <a:pt x="461" y="42"/>
                  <a:pt x="461" y="43"/>
                </a:cubicBezTo>
                <a:cubicBezTo>
                  <a:pt x="461" y="43"/>
                  <a:pt x="461" y="43"/>
                  <a:pt x="462" y="43"/>
                </a:cubicBezTo>
                <a:cubicBezTo>
                  <a:pt x="461" y="42"/>
                  <a:pt x="461" y="42"/>
                  <a:pt x="461" y="42"/>
                </a:cubicBezTo>
                <a:cubicBezTo>
                  <a:pt x="462" y="42"/>
                  <a:pt x="463" y="42"/>
                  <a:pt x="464" y="43"/>
                </a:cubicBezTo>
                <a:cubicBezTo>
                  <a:pt x="465" y="43"/>
                  <a:pt x="466" y="42"/>
                  <a:pt x="466" y="41"/>
                </a:cubicBezTo>
                <a:cubicBezTo>
                  <a:pt x="467" y="42"/>
                  <a:pt x="467" y="42"/>
                  <a:pt x="468" y="42"/>
                </a:cubicBezTo>
                <a:cubicBezTo>
                  <a:pt x="469" y="42"/>
                  <a:pt x="470" y="42"/>
                  <a:pt x="470" y="43"/>
                </a:cubicBezTo>
                <a:cubicBezTo>
                  <a:pt x="471" y="42"/>
                  <a:pt x="471" y="41"/>
                  <a:pt x="472" y="42"/>
                </a:cubicBezTo>
                <a:cubicBezTo>
                  <a:pt x="473" y="43"/>
                  <a:pt x="474" y="42"/>
                  <a:pt x="474" y="42"/>
                </a:cubicBezTo>
                <a:cubicBezTo>
                  <a:pt x="474" y="40"/>
                  <a:pt x="472" y="39"/>
                  <a:pt x="474" y="40"/>
                </a:cubicBezTo>
                <a:cubicBezTo>
                  <a:pt x="476" y="40"/>
                  <a:pt x="476" y="40"/>
                  <a:pt x="477" y="39"/>
                </a:cubicBezTo>
                <a:cubicBezTo>
                  <a:pt x="477" y="38"/>
                  <a:pt x="480" y="38"/>
                  <a:pt x="481" y="38"/>
                </a:cubicBezTo>
                <a:cubicBezTo>
                  <a:pt x="480" y="37"/>
                  <a:pt x="480" y="37"/>
                  <a:pt x="479" y="37"/>
                </a:cubicBezTo>
                <a:cubicBezTo>
                  <a:pt x="477" y="37"/>
                  <a:pt x="478" y="37"/>
                  <a:pt x="479" y="35"/>
                </a:cubicBezTo>
                <a:cubicBezTo>
                  <a:pt x="479" y="35"/>
                  <a:pt x="481" y="36"/>
                  <a:pt x="481" y="36"/>
                </a:cubicBezTo>
                <a:cubicBezTo>
                  <a:pt x="481" y="37"/>
                  <a:pt x="482" y="36"/>
                  <a:pt x="482" y="37"/>
                </a:cubicBezTo>
                <a:cubicBezTo>
                  <a:pt x="483" y="37"/>
                  <a:pt x="484" y="37"/>
                  <a:pt x="484" y="36"/>
                </a:cubicBezTo>
                <a:cubicBezTo>
                  <a:pt x="485" y="35"/>
                  <a:pt x="484" y="35"/>
                  <a:pt x="485" y="35"/>
                </a:cubicBezTo>
                <a:cubicBezTo>
                  <a:pt x="486" y="35"/>
                  <a:pt x="486" y="35"/>
                  <a:pt x="486" y="35"/>
                </a:cubicBezTo>
                <a:cubicBezTo>
                  <a:pt x="487" y="35"/>
                  <a:pt x="486" y="34"/>
                  <a:pt x="486" y="33"/>
                </a:cubicBezTo>
                <a:cubicBezTo>
                  <a:pt x="486" y="33"/>
                  <a:pt x="487" y="32"/>
                  <a:pt x="487" y="32"/>
                </a:cubicBezTo>
                <a:cubicBezTo>
                  <a:pt x="488" y="32"/>
                  <a:pt x="487" y="33"/>
                  <a:pt x="488" y="34"/>
                </a:cubicBezTo>
                <a:cubicBezTo>
                  <a:pt x="488" y="34"/>
                  <a:pt x="488" y="34"/>
                  <a:pt x="489" y="34"/>
                </a:cubicBezTo>
                <a:cubicBezTo>
                  <a:pt x="489" y="34"/>
                  <a:pt x="489" y="33"/>
                  <a:pt x="490" y="34"/>
                </a:cubicBezTo>
                <a:cubicBezTo>
                  <a:pt x="490" y="34"/>
                  <a:pt x="491" y="32"/>
                  <a:pt x="492" y="32"/>
                </a:cubicBezTo>
                <a:cubicBezTo>
                  <a:pt x="492" y="32"/>
                  <a:pt x="492" y="32"/>
                  <a:pt x="493" y="32"/>
                </a:cubicBezTo>
                <a:cubicBezTo>
                  <a:pt x="493" y="32"/>
                  <a:pt x="493" y="31"/>
                  <a:pt x="493" y="31"/>
                </a:cubicBezTo>
                <a:cubicBezTo>
                  <a:pt x="494" y="31"/>
                  <a:pt x="494" y="31"/>
                  <a:pt x="494" y="31"/>
                </a:cubicBezTo>
                <a:cubicBezTo>
                  <a:pt x="495" y="31"/>
                  <a:pt x="495" y="30"/>
                  <a:pt x="495" y="30"/>
                </a:cubicBezTo>
                <a:cubicBezTo>
                  <a:pt x="496" y="30"/>
                  <a:pt x="497" y="29"/>
                  <a:pt x="497" y="29"/>
                </a:cubicBezTo>
                <a:cubicBezTo>
                  <a:pt x="498" y="29"/>
                  <a:pt x="497" y="29"/>
                  <a:pt x="498" y="29"/>
                </a:cubicBezTo>
                <a:cubicBezTo>
                  <a:pt x="499" y="28"/>
                  <a:pt x="502" y="28"/>
                  <a:pt x="503" y="28"/>
                </a:cubicBezTo>
                <a:cubicBezTo>
                  <a:pt x="504" y="28"/>
                  <a:pt x="504" y="28"/>
                  <a:pt x="505" y="28"/>
                </a:cubicBezTo>
                <a:cubicBezTo>
                  <a:pt x="505" y="28"/>
                  <a:pt x="505" y="27"/>
                  <a:pt x="505" y="27"/>
                </a:cubicBezTo>
                <a:cubicBezTo>
                  <a:pt x="505" y="27"/>
                  <a:pt x="506" y="27"/>
                  <a:pt x="506" y="27"/>
                </a:cubicBezTo>
                <a:cubicBezTo>
                  <a:pt x="506" y="27"/>
                  <a:pt x="507" y="27"/>
                  <a:pt x="507" y="27"/>
                </a:cubicBezTo>
                <a:cubicBezTo>
                  <a:pt x="507" y="27"/>
                  <a:pt x="507" y="27"/>
                  <a:pt x="507" y="27"/>
                </a:cubicBezTo>
                <a:cubicBezTo>
                  <a:pt x="509" y="27"/>
                  <a:pt x="510" y="27"/>
                  <a:pt x="511" y="26"/>
                </a:cubicBezTo>
                <a:cubicBezTo>
                  <a:pt x="512" y="25"/>
                  <a:pt x="514" y="24"/>
                  <a:pt x="515" y="24"/>
                </a:cubicBezTo>
                <a:cubicBezTo>
                  <a:pt x="515" y="23"/>
                  <a:pt x="515" y="23"/>
                  <a:pt x="515" y="23"/>
                </a:cubicBezTo>
                <a:cubicBezTo>
                  <a:pt x="513" y="23"/>
                  <a:pt x="512" y="23"/>
                  <a:pt x="510" y="24"/>
                </a:cubicBezTo>
                <a:cubicBezTo>
                  <a:pt x="510" y="24"/>
                  <a:pt x="509" y="24"/>
                  <a:pt x="508" y="24"/>
                </a:cubicBezTo>
                <a:cubicBezTo>
                  <a:pt x="508" y="24"/>
                  <a:pt x="509" y="25"/>
                  <a:pt x="507" y="25"/>
                </a:cubicBezTo>
                <a:cubicBezTo>
                  <a:pt x="507" y="25"/>
                  <a:pt x="503" y="25"/>
                  <a:pt x="503" y="25"/>
                </a:cubicBezTo>
                <a:cubicBezTo>
                  <a:pt x="503" y="25"/>
                  <a:pt x="504" y="24"/>
                  <a:pt x="504" y="24"/>
                </a:cubicBezTo>
                <a:cubicBezTo>
                  <a:pt x="505" y="24"/>
                  <a:pt x="505" y="24"/>
                  <a:pt x="506" y="24"/>
                </a:cubicBezTo>
                <a:cubicBezTo>
                  <a:pt x="507" y="24"/>
                  <a:pt x="506" y="24"/>
                  <a:pt x="507" y="23"/>
                </a:cubicBezTo>
                <a:cubicBezTo>
                  <a:pt x="508" y="23"/>
                  <a:pt x="509" y="23"/>
                  <a:pt x="510" y="23"/>
                </a:cubicBezTo>
                <a:cubicBezTo>
                  <a:pt x="510" y="22"/>
                  <a:pt x="509" y="22"/>
                  <a:pt x="509" y="22"/>
                </a:cubicBezTo>
                <a:cubicBezTo>
                  <a:pt x="510" y="22"/>
                  <a:pt x="510" y="22"/>
                  <a:pt x="510" y="22"/>
                </a:cubicBezTo>
                <a:cubicBezTo>
                  <a:pt x="510" y="22"/>
                  <a:pt x="511" y="23"/>
                  <a:pt x="511" y="23"/>
                </a:cubicBezTo>
                <a:cubicBezTo>
                  <a:pt x="512" y="23"/>
                  <a:pt x="512" y="22"/>
                  <a:pt x="512" y="22"/>
                </a:cubicBezTo>
                <a:cubicBezTo>
                  <a:pt x="514" y="22"/>
                  <a:pt x="514" y="22"/>
                  <a:pt x="515" y="22"/>
                </a:cubicBezTo>
                <a:cubicBezTo>
                  <a:pt x="515" y="22"/>
                  <a:pt x="517" y="20"/>
                  <a:pt x="517" y="20"/>
                </a:cubicBezTo>
                <a:cubicBezTo>
                  <a:pt x="517" y="20"/>
                  <a:pt x="518" y="20"/>
                  <a:pt x="519" y="20"/>
                </a:cubicBezTo>
                <a:cubicBezTo>
                  <a:pt x="519" y="20"/>
                  <a:pt x="520" y="20"/>
                  <a:pt x="520" y="20"/>
                </a:cubicBezTo>
                <a:cubicBezTo>
                  <a:pt x="520" y="18"/>
                  <a:pt x="522" y="19"/>
                  <a:pt x="522" y="18"/>
                </a:cubicBezTo>
                <a:cubicBezTo>
                  <a:pt x="523" y="18"/>
                  <a:pt x="523" y="17"/>
                  <a:pt x="524" y="17"/>
                </a:cubicBezTo>
                <a:cubicBezTo>
                  <a:pt x="524" y="17"/>
                  <a:pt x="525" y="18"/>
                  <a:pt x="525" y="17"/>
                </a:cubicBezTo>
                <a:cubicBezTo>
                  <a:pt x="525" y="17"/>
                  <a:pt x="525" y="17"/>
                  <a:pt x="525" y="17"/>
                </a:cubicBezTo>
                <a:cubicBezTo>
                  <a:pt x="526" y="17"/>
                  <a:pt x="526" y="17"/>
                  <a:pt x="527" y="17"/>
                </a:cubicBezTo>
                <a:cubicBezTo>
                  <a:pt x="527" y="17"/>
                  <a:pt x="527" y="16"/>
                  <a:pt x="528" y="15"/>
                </a:cubicBezTo>
                <a:cubicBezTo>
                  <a:pt x="529" y="14"/>
                  <a:pt x="526" y="14"/>
                  <a:pt x="525" y="14"/>
                </a:cubicBezTo>
                <a:cubicBezTo>
                  <a:pt x="524" y="14"/>
                  <a:pt x="524" y="13"/>
                  <a:pt x="523" y="13"/>
                </a:cubicBezTo>
                <a:cubicBezTo>
                  <a:pt x="522" y="13"/>
                  <a:pt x="522" y="13"/>
                  <a:pt x="522" y="13"/>
                </a:cubicBezTo>
                <a:cubicBezTo>
                  <a:pt x="521" y="13"/>
                  <a:pt x="520" y="13"/>
                  <a:pt x="519" y="13"/>
                </a:cubicBezTo>
                <a:cubicBezTo>
                  <a:pt x="519" y="12"/>
                  <a:pt x="519" y="12"/>
                  <a:pt x="518" y="11"/>
                </a:cubicBezTo>
                <a:cubicBezTo>
                  <a:pt x="518" y="11"/>
                  <a:pt x="517" y="11"/>
                  <a:pt x="517" y="11"/>
                </a:cubicBezTo>
                <a:cubicBezTo>
                  <a:pt x="517" y="10"/>
                  <a:pt x="516" y="10"/>
                  <a:pt x="516" y="10"/>
                </a:cubicBezTo>
                <a:cubicBezTo>
                  <a:pt x="515" y="10"/>
                  <a:pt x="514" y="10"/>
                  <a:pt x="514" y="10"/>
                </a:cubicBezTo>
                <a:cubicBezTo>
                  <a:pt x="513" y="10"/>
                  <a:pt x="513" y="10"/>
                  <a:pt x="512" y="10"/>
                </a:cubicBezTo>
                <a:cubicBezTo>
                  <a:pt x="512" y="10"/>
                  <a:pt x="512" y="9"/>
                  <a:pt x="512" y="9"/>
                </a:cubicBezTo>
                <a:cubicBezTo>
                  <a:pt x="511" y="9"/>
                  <a:pt x="511" y="9"/>
                  <a:pt x="510" y="9"/>
                </a:cubicBezTo>
                <a:cubicBezTo>
                  <a:pt x="509" y="9"/>
                  <a:pt x="508" y="9"/>
                  <a:pt x="507" y="9"/>
                </a:cubicBezTo>
                <a:cubicBezTo>
                  <a:pt x="507" y="9"/>
                  <a:pt x="506" y="8"/>
                  <a:pt x="506" y="8"/>
                </a:cubicBezTo>
                <a:cubicBezTo>
                  <a:pt x="506" y="8"/>
                  <a:pt x="505" y="9"/>
                  <a:pt x="506" y="9"/>
                </a:cubicBezTo>
                <a:cubicBezTo>
                  <a:pt x="505" y="9"/>
                  <a:pt x="504" y="8"/>
                  <a:pt x="503" y="8"/>
                </a:cubicBezTo>
                <a:cubicBezTo>
                  <a:pt x="503" y="9"/>
                  <a:pt x="502" y="10"/>
                  <a:pt x="501" y="10"/>
                </a:cubicBezTo>
                <a:cubicBezTo>
                  <a:pt x="501" y="11"/>
                  <a:pt x="501" y="11"/>
                  <a:pt x="500" y="12"/>
                </a:cubicBezTo>
                <a:cubicBezTo>
                  <a:pt x="499" y="12"/>
                  <a:pt x="499" y="12"/>
                  <a:pt x="499" y="12"/>
                </a:cubicBezTo>
                <a:cubicBezTo>
                  <a:pt x="499" y="12"/>
                  <a:pt x="499" y="12"/>
                  <a:pt x="499" y="12"/>
                </a:cubicBezTo>
                <a:cubicBezTo>
                  <a:pt x="498" y="12"/>
                  <a:pt x="498" y="12"/>
                  <a:pt x="498" y="12"/>
                </a:cubicBezTo>
                <a:cubicBezTo>
                  <a:pt x="497" y="12"/>
                  <a:pt x="498" y="12"/>
                  <a:pt x="497" y="13"/>
                </a:cubicBezTo>
                <a:cubicBezTo>
                  <a:pt x="497" y="13"/>
                  <a:pt x="496" y="13"/>
                  <a:pt x="496" y="14"/>
                </a:cubicBezTo>
                <a:cubicBezTo>
                  <a:pt x="495" y="14"/>
                  <a:pt x="495" y="13"/>
                  <a:pt x="495" y="13"/>
                </a:cubicBezTo>
                <a:cubicBezTo>
                  <a:pt x="495" y="14"/>
                  <a:pt x="492" y="14"/>
                  <a:pt x="491" y="14"/>
                </a:cubicBezTo>
                <a:cubicBezTo>
                  <a:pt x="491" y="14"/>
                  <a:pt x="490" y="15"/>
                  <a:pt x="490" y="15"/>
                </a:cubicBezTo>
                <a:cubicBezTo>
                  <a:pt x="490" y="16"/>
                  <a:pt x="489" y="15"/>
                  <a:pt x="489" y="15"/>
                </a:cubicBezTo>
                <a:cubicBezTo>
                  <a:pt x="489" y="15"/>
                  <a:pt x="490" y="14"/>
                  <a:pt x="490" y="14"/>
                </a:cubicBezTo>
                <a:cubicBezTo>
                  <a:pt x="491" y="13"/>
                  <a:pt x="492" y="13"/>
                  <a:pt x="492" y="13"/>
                </a:cubicBezTo>
                <a:cubicBezTo>
                  <a:pt x="493" y="13"/>
                  <a:pt x="493" y="13"/>
                  <a:pt x="494" y="13"/>
                </a:cubicBezTo>
                <a:cubicBezTo>
                  <a:pt x="494" y="13"/>
                  <a:pt x="495" y="13"/>
                  <a:pt x="495" y="13"/>
                </a:cubicBezTo>
                <a:cubicBezTo>
                  <a:pt x="495" y="13"/>
                  <a:pt x="495" y="12"/>
                  <a:pt x="495" y="12"/>
                </a:cubicBezTo>
                <a:cubicBezTo>
                  <a:pt x="495" y="12"/>
                  <a:pt x="495" y="12"/>
                  <a:pt x="496" y="12"/>
                </a:cubicBezTo>
                <a:cubicBezTo>
                  <a:pt x="496" y="12"/>
                  <a:pt x="495" y="12"/>
                  <a:pt x="496" y="12"/>
                </a:cubicBezTo>
                <a:cubicBezTo>
                  <a:pt x="496" y="12"/>
                  <a:pt x="497" y="12"/>
                  <a:pt x="497" y="12"/>
                </a:cubicBezTo>
                <a:cubicBezTo>
                  <a:pt x="498" y="12"/>
                  <a:pt x="498" y="11"/>
                  <a:pt x="499" y="10"/>
                </a:cubicBezTo>
                <a:cubicBezTo>
                  <a:pt x="500" y="10"/>
                  <a:pt x="500" y="9"/>
                  <a:pt x="500" y="8"/>
                </a:cubicBezTo>
                <a:cubicBezTo>
                  <a:pt x="499" y="8"/>
                  <a:pt x="498" y="8"/>
                  <a:pt x="497" y="7"/>
                </a:cubicBezTo>
                <a:cubicBezTo>
                  <a:pt x="496" y="7"/>
                  <a:pt x="496" y="7"/>
                  <a:pt x="495" y="7"/>
                </a:cubicBezTo>
                <a:cubicBezTo>
                  <a:pt x="493" y="7"/>
                  <a:pt x="495" y="8"/>
                  <a:pt x="495" y="8"/>
                </a:cubicBezTo>
                <a:cubicBezTo>
                  <a:pt x="493" y="8"/>
                  <a:pt x="491" y="8"/>
                  <a:pt x="489" y="8"/>
                </a:cubicBezTo>
                <a:cubicBezTo>
                  <a:pt x="489" y="8"/>
                  <a:pt x="489" y="8"/>
                  <a:pt x="489" y="8"/>
                </a:cubicBezTo>
                <a:cubicBezTo>
                  <a:pt x="489" y="8"/>
                  <a:pt x="488" y="8"/>
                  <a:pt x="487" y="8"/>
                </a:cubicBezTo>
                <a:cubicBezTo>
                  <a:pt x="486" y="8"/>
                  <a:pt x="486" y="8"/>
                  <a:pt x="486" y="7"/>
                </a:cubicBezTo>
                <a:cubicBezTo>
                  <a:pt x="485" y="7"/>
                  <a:pt x="485" y="7"/>
                  <a:pt x="485" y="7"/>
                </a:cubicBezTo>
                <a:cubicBezTo>
                  <a:pt x="483" y="8"/>
                  <a:pt x="482" y="7"/>
                  <a:pt x="481" y="7"/>
                </a:cubicBezTo>
                <a:cubicBezTo>
                  <a:pt x="480" y="7"/>
                  <a:pt x="477" y="8"/>
                  <a:pt x="477" y="9"/>
                </a:cubicBezTo>
                <a:cubicBezTo>
                  <a:pt x="477" y="9"/>
                  <a:pt x="478" y="10"/>
                  <a:pt x="477" y="10"/>
                </a:cubicBezTo>
                <a:cubicBezTo>
                  <a:pt x="477" y="10"/>
                  <a:pt x="476" y="10"/>
                  <a:pt x="477" y="9"/>
                </a:cubicBezTo>
                <a:cubicBezTo>
                  <a:pt x="475" y="9"/>
                  <a:pt x="473" y="10"/>
                  <a:pt x="471" y="11"/>
                </a:cubicBezTo>
                <a:cubicBezTo>
                  <a:pt x="470" y="11"/>
                  <a:pt x="470" y="11"/>
                  <a:pt x="470" y="12"/>
                </a:cubicBezTo>
                <a:cubicBezTo>
                  <a:pt x="470" y="12"/>
                  <a:pt x="471" y="12"/>
                  <a:pt x="471" y="13"/>
                </a:cubicBezTo>
                <a:cubicBezTo>
                  <a:pt x="470" y="13"/>
                  <a:pt x="469" y="12"/>
                  <a:pt x="468" y="12"/>
                </a:cubicBezTo>
                <a:cubicBezTo>
                  <a:pt x="467" y="12"/>
                  <a:pt x="467" y="10"/>
                  <a:pt x="467" y="10"/>
                </a:cubicBezTo>
                <a:cubicBezTo>
                  <a:pt x="466" y="10"/>
                  <a:pt x="466" y="11"/>
                  <a:pt x="466" y="10"/>
                </a:cubicBezTo>
                <a:cubicBezTo>
                  <a:pt x="462" y="11"/>
                  <a:pt x="458" y="10"/>
                  <a:pt x="453" y="10"/>
                </a:cubicBezTo>
                <a:cubicBezTo>
                  <a:pt x="452" y="10"/>
                  <a:pt x="451" y="11"/>
                  <a:pt x="450" y="11"/>
                </a:cubicBezTo>
                <a:cubicBezTo>
                  <a:pt x="449" y="12"/>
                  <a:pt x="451" y="13"/>
                  <a:pt x="451" y="13"/>
                </a:cubicBezTo>
                <a:cubicBezTo>
                  <a:pt x="451" y="14"/>
                  <a:pt x="453" y="13"/>
                  <a:pt x="453" y="14"/>
                </a:cubicBezTo>
                <a:cubicBezTo>
                  <a:pt x="453" y="14"/>
                  <a:pt x="454" y="15"/>
                  <a:pt x="455" y="15"/>
                </a:cubicBezTo>
                <a:cubicBezTo>
                  <a:pt x="455" y="16"/>
                  <a:pt x="456" y="15"/>
                  <a:pt x="456" y="16"/>
                </a:cubicBezTo>
                <a:cubicBezTo>
                  <a:pt x="455" y="17"/>
                  <a:pt x="455" y="16"/>
                  <a:pt x="455" y="17"/>
                </a:cubicBezTo>
                <a:cubicBezTo>
                  <a:pt x="455" y="18"/>
                  <a:pt x="454" y="16"/>
                  <a:pt x="454" y="16"/>
                </a:cubicBezTo>
                <a:cubicBezTo>
                  <a:pt x="454" y="15"/>
                  <a:pt x="454" y="15"/>
                  <a:pt x="453" y="15"/>
                </a:cubicBezTo>
                <a:cubicBezTo>
                  <a:pt x="452" y="15"/>
                  <a:pt x="450" y="15"/>
                  <a:pt x="450" y="14"/>
                </a:cubicBezTo>
                <a:cubicBezTo>
                  <a:pt x="450" y="13"/>
                  <a:pt x="449" y="12"/>
                  <a:pt x="448" y="13"/>
                </a:cubicBezTo>
                <a:cubicBezTo>
                  <a:pt x="448" y="13"/>
                  <a:pt x="447" y="14"/>
                  <a:pt x="447" y="14"/>
                </a:cubicBezTo>
                <a:cubicBezTo>
                  <a:pt x="446" y="14"/>
                  <a:pt x="446" y="14"/>
                  <a:pt x="445" y="14"/>
                </a:cubicBezTo>
                <a:cubicBezTo>
                  <a:pt x="445" y="14"/>
                  <a:pt x="444" y="14"/>
                  <a:pt x="444" y="14"/>
                </a:cubicBezTo>
                <a:cubicBezTo>
                  <a:pt x="444" y="14"/>
                  <a:pt x="443" y="12"/>
                  <a:pt x="443" y="12"/>
                </a:cubicBezTo>
                <a:cubicBezTo>
                  <a:pt x="443" y="12"/>
                  <a:pt x="443" y="12"/>
                  <a:pt x="443" y="13"/>
                </a:cubicBezTo>
                <a:cubicBezTo>
                  <a:pt x="443" y="13"/>
                  <a:pt x="443" y="13"/>
                  <a:pt x="443" y="13"/>
                </a:cubicBezTo>
                <a:cubicBezTo>
                  <a:pt x="443" y="14"/>
                  <a:pt x="442" y="13"/>
                  <a:pt x="442" y="14"/>
                </a:cubicBezTo>
                <a:cubicBezTo>
                  <a:pt x="442" y="14"/>
                  <a:pt x="440" y="17"/>
                  <a:pt x="439" y="16"/>
                </a:cubicBezTo>
                <a:cubicBezTo>
                  <a:pt x="438" y="15"/>
                  <a:pt x="438" y="15"/>
                  <a:pt x="438" y="14"/>
                </a:cubicBezTo>
                <a:cubicBezTo>
                  <a:pt x="438" y="14"/>
                  <a:pt x="437" y="14"/>
                  <a:pt x="436" y="14"/>
                </a:cubicBezTo>
                <a:cubicBezTo>
                  <a:pt x="436" y="15"/>
                  <a:pt x="436" y="16"/>
                  <a:pt x="437" y="16"/>
                </a:cubicBezTo>
                <a:cubicBezTo>
                  <a:pt x="437" y="16"/>
                  <a:pt x="437" y="17"/>
                  <a:pt x="437" y="17"/>
                </a:cubicBezTo>
                <a:cubicBezTo>
                  <a:pt x="438" y="17"/>
                  <a:pt x="438" y="16"/>
                  <a:pt x="439" y="17"/>
                </a:cubicBezTo>
                <a:cubicBezTo>
                  <a:pt x="439" y="18"/>
                  <a:pt x="440" y="17"/>
                  <a:pt x="440" y="17"/>
                </a:cubicBezTo>
                <a:cubicBezTo>
                  <a:pt x="441" y="17"/>
                  <a:pt x="441" y="17"/>
                  <a:pt x="441" y="18"/>
                </a:cubicBezTo>
                <a:cubicBezTo>
                  <a:pt x="441" y="18"/>
                  <a:pt x="442" y="18"/>
                  <a:pt x="442" y="18"/>
                </a:cubicBezTo>
                <a:cubicBezTo>
                  <a:pt x="443" y="18"/>
                  <a:pt x="443" y="18"/>
                  <a:pt x="442" y="18"/>
                </a:cubicBezTo>
                <a:cubicBezTo>
                  <a:pt x="441" y="18"/>
                  <a:pt x="441" y="19"/>
                  <a:pt x="440" y="19"/>
                </a:cubicBezTo>
                <a:cubicBezTo>
                  <a:pt x="440" y="19"/>
                  <a:pt x="441" y="18"/>
                  <a:pt x="440" y="18"/>
                </a:cubicBezTo>
                <a:cubicBezTo>
                  <a:pt x="439" y="18"/>
                  <a:pt x="438" y="17"/>
                  <a:pt x="437" y="17"/>
                </a:cubicBezTo>
                <a:cubicBezTo>
                  <a:pt x="436" y="17"/>
                  <a:pt x="436" y="16"/>
                  <a:pt x="435" y="16"/>
                </a:cubicBezTo>
                <a:cubicBezTo>
                  <a:pt x="435" y="16"/>
                  <a:pt x="434" y="16"/>
                  <a:pt x="434" y="16"/>
                </a:cubicBezTo>
                <a:cubicBezTo>
                  <a:pt x="433" y="16"/>
                  <a:pt x="433" y="15"/>
                  <a:pt x="432" y="15"/>
                </a:cubicBezTo>
                <a:cubicBezTo>
                  <a:pt x="432" y="15"/>
                  <a:pt x="432" y="15"/>
                  <a:pt x="432" y="15"/>
                </a:cubicBezTo>
                <a:cubicBezTo>
                  <a:pt x="431" y="14"/>
                  <a:pt x="432" y="16"/>
                  <a:pt x="431" y="14"/>
                </a:cubicBezTo>
                <a:cubicBezTo>
                  <a:pt x="430" y="14"/>
                  <a:pt x="429" y="14"/>
                  <a:pt x="428" y="14"/>
                </a:cubicBezTo>
                <a:cubicBezTo>
                  <a:pt x="428" y="14"/>
                  <a:pt x="429" y="15"/>
                  <a:pt x="429" y="16"/>
                </a:cubicBezTo>
                <a:cubicBezTo>
                  <a:pt x="428" y="16"/>
                  <a:pt x="428" y="16"/>
                  <a:pt x="428" y="16"/>
                </a:cubicBezTo>
                <a:cubicBezTo>
                  <a:pt x="428" y="17"/>
                  <a:pt x="428" y="18"/>
                  <a:pt x="429" y="19"/>
                </a:cubicBezTo>
                <a:cubicBezTo>
                  <a:pt x="430" y="20"/>
                  <a:pt x="431" y="19"/>
                  <a:pt x="431" y="20"/>
                </a:cubicBezTo>
                <a:cubicBezTo>
                  <a:pt x="430" y="20"/>
                  <a:pt x="427" y="17"/>
                  <a:pt x="427" y="18"/>
                </a:cubicBezTo>
                <a:cubicBezTo>
                  <a:pt x="427" y="18"/>
                  <a:pt x="427" y="20"/>
                  <a:pt x="427" y="20"/>
                </a:cubicBezTo>
                <a:cubicBezTo>
                  <a:pt x="426" y="19"/>
                  <a:pt x="425" y="18"/>
                  <a:pt x="424" y="18"/>
                </a:cubicBezTo>
                <a:cubicBezTo>
                  <a:pt x="424" y="17"/>
                  <a:pt x="424" y="17"/>
                  <a:pt x="424" y="17"/>
                </a:cubicBezTo>
                <a:cubicBezTo>
                  <a:pt x="424" y="16"/>
                  <a:pt x="423" y="17"/>
                  <a:pt x="423" y="17"/>
                </a:cubicBezTo>
                <a:cubicBezTo>
                  <a:pt x="423" y="16"/>
                  <a:pt x="422" y="16"/>
                  <a:pt x="421" y="16"/>
                </a:cubicBezTo>
                <a:cubicBezTo>
                  <a:pt x="421" y="16"/>
                  <a:pt x="421" y="16"/>
                  <a:pt x="421" y="16"/>
                </a:cubicBezTo>
                <a:cubicBezTo>
                  <a:pt x="420" y="16"/>
                  <a:pt x="421" y="15"/>
                  <a:pt x="420" y="15"/>
                </a:cubicBezTo>
                <a:cubicBezTo>
                  <a:pt x="419" y="15"/>
                  <a:pt x="418" y="15"/>
                  <a:pt x="418" y="15"/>
                </a:cubicBezTo>
                <a:cubicBezTo>
                  <a:pt x="417" y="15"/>
                  <a:pt x="417" y="15"/>
                  <a:pt x="416" y="15"/>
                </a:cubicBezTo>
                <a:cubicBezTo>
                  <a:pt x="416" y="15"/>
                  <a:pt x="416" y="15"/>
                  <a:pt x="416" y="15"/>
                </a:cubicBezTo>
                <a:cubicBezTo>
                  <a:pt x="416" y="14"/>
                  <a:pt x="415" y="14"/>
                  <a:pt x="414" y="14"/>
                </a:cubicBezTo>
                <a:cubicBezTo>
                  <a:pt x="414" y="14"/>
                  <a:pt x="414" y="13"/>
                  <a:pt x="413" y="13"/>
                </a:cubicBezTo>
                <a:cubicBezTo>
                  <a:pt x="412" y="12"/>
                  <a:pt x="410" y="13"/>
                  <a:pt x="409" y="13"/>
                </a:cubicBezTo>
                <a:cubicBezTo>
                  <a:pt x="409" y="13"/>
                  <a:pt x="409" y="14"/>
                  <a:pt x="410" y="14"/>
                </a:cubicBezTo>
                <a:cubicBezTo>
                  <a:pt x="410" y="14"/>
                  <a:pt x="410" y="15"/>
                  <a:pt x="410" y="15"/>
                </a:cubicBezTo>
                <a:cubicBezTo>
                  <a:pt x="411" y="15"/>
                  <a:pt x="410" y="15"/>
                  <a:pt x="411" y="16"/>
                </a:cubicBezTo>
                <a:cubicBezTo>
                  <a:pt x="411" y="16"/>
                  <a:pt x="411" y="16"/>
                  <a:pt x="411" y="16"/>
                </a:cubicBezTo>
                <a:cubicBezTo>
                  <a:pt x="410" y="16"/>
                  <a:pt x="409" y="16"/>
                  <a:pt x="409" y="16"/>
                </a:cubicBezTo>
                <a:cubicBezTo>
                  <a:pt x="409" y="16"/>
                  <a:pt x="409" y="16"/>
                  <a:pt x="409" y="16"/>
                </a:cubicBezTo>
                <a:cubicBezTo>
                  <a:pt x="408" y="16"/>
                  <a:pt x="408" y="16"/>
                  <a:pt x="407" y="16"/>
                </a:cubicBezTo>
                <a:cubicBezTo>
                  <a:pt x="407" y="16"/>
                  <a:pt x="406" y="16"/>
                  <a:pt x="406" y="16"/>
                </a:cubicBezTo>
                <a:cubicBezTo>
                  <a:pt x="405" y="16"/>
                  <a:pt x="404" y="16"/>
                  <a:pt x="403" y="16"/>
                </a:cubicBezTo>
                <a:cubicBezTo>
                  <a:pt x="403" y="17"/>
                  <a:pt x="403" y="18"/>
                  <a:pt x="403" y="19"/>
                </a:cubicBezTo>
                <a:cubicBezTo>
                  <a:pt x="404" y="19"/>
                  <a:pt x="405" y="19"/>
                  <a:pt x="406" y="18"/>
                </a:cubicBezTo>
                <a:cubicBezTo>
                  <a:pt x="406" y="19"/>
                  <a:pt x="407" y="19"/>
                  <a:pt x="408" y="19"/>
                </a:cubicBezTo>
                <a:cubicBezTo>
                  <a:pt x="409" y="20"/>
                  <a:pt x="409" y="19"/>
                  <a:pt x="410" y="19"/>
                </a:cubicBezTo>
                <a:cubicBezTo>
                  <a:pt x="410" y="19"/>
                  <a:pt x="409" y="19"/>
                  <a:pt x="411" y="19"/>
                </a:cubicBezTo>
                <a:cubicBezTo>
                  <a:pt x="411" y="19"/>
                  <a:pt x="412" y="19"/>
                  <a:pt x="412" y="19"/>
                </a:cubicBezTo>
                <a:cubicBezTo>
                  <a:pt x="413" y="19"/>
                  <a:pt x="413" y="18"/>
                  <a:pt x="414" y="18"/>
                </a:cubicBezTo>
                <a:cubicBezTo>
                  <a:pt x="415" y="18"/>
                  <a:pt x="415" y="19"/>
                  <a:pt x="416" y="19"/>
                </a:cubicBezTo>
                <a:cubicBezTo>
                  <a:pt x="417" y="20"/>
                  <a:pt x="415" y="20"/>
                  <a:pt x="414" y="20"/>
                </a:cubicBezTo>
                <a:cubicBezTo>
                  <a:pt x="414" y="20"/>
                  <a:pt x="414" y="22"/>
                  <a:pt x="414" y="22"/>
                </a:cubicBezTo>
                <a:cubicBezTo>
                  <a:pt x="415" y="22"/>
                  <a:pt x="414" y="23"/>
                  <a:pt x="414" y="23"/>
                </a:cubicBezTo>
                <a:cubicBezTo>
                  <a:pt x="414" y="23"/>
                  <a:pt x="413" y="21"/>
                  <a:pt x="413" y="21"/>
                </a:cubicBezTo>
                <a:cubicBezTo>
                  <a:pt x="413" y="20"/>
                  <a:pt x="412" y="20"/>
                  <a:pt x="411" y="20"/>
                </a:cubicBezTo>
                <a:cubicBezTo>
                  <a:pt x="410" y="20"/>
                  <a:pt x="410" y="21"/>
                  <a:pt x="410" y="21"/>
                </a:cubicBezTo>
                <a:cubicBezTo>
                  <a:pt x="410" y="22"/>
                  <a:pt x="411" y="22"/>
                  <a:pt x="411" y="24"/>
                </a:cubicBezTo>
                <a:cubicBezTo>
                  <a:pt x="411" y="24"/>
                  <a:pt x="411" y="24"/>
                  <a:pt x="411" y="24"/>
                </a:cubicBezTo>
                <a:cubicBezTo>
                  <a:pt x="411" y="23"/>
                  <a:pt x="410" y="22"/>
                  <a:pt x="410" y="22"/>
                </a:cubicBezTo>
                <a:cubicBezTo>
                  <a:pt x="409" y="21"/>
                  <a:pt x="406" y="19"/>
                  <a:pt x="405" y="20"/>
                </a:cubicBezTo>
                <a:cubicBezTo>
                  <a:pt x="403" y="21"/>
                  <a:pt x="405" y="21"/>
                  <a:pt x="405" y="22"/>
                </a:cubicBezTo>
                <a:cubicBezTo>
                  <a:pt x="404" y="22"/>
                  <a:pt x="404" y="22"/>
                  <a:pt x="403" y="21"/>
                </a:cubicBezTo>
                <a:cubicBezTo>
                  <a:pt x="403" y="21"/>
                  <a:pt x="403" y="21"/>
                  <a:pt x="403" y="21"/>
                </a:cubicBezTo>
                <a:cubicBezTo>
                  <a:pt x="403" y="21"/>
                  <a:pt x="402" y="21"/>
                  <a:pt x="402" y="20"/>
                </a:cubicBezTo>
                <a:cubicBezTo>
                  <a:pt x="402" y="20"/>
                  <a:pt x="402" y="20"/>
                  <a:pt x="401" y="19"/>
                </a:cubicBezTo>
                <a:cubicBezTo>
                  <a:pt x="401" y="19"/>
                  <a:pt x="400" y="19"/>
                  <a:pt x="400" y="18"/>
                </a:cubicBezTo>
                <a:cubicBezTo>
                  <a:pt x="399" y="18"/>
                  <a:pt x="399" y="19"/>
                  <a:pt x="397" y="19"/>
                </a:cubicBezTo>
                <a:cubicBezTo>
                  <a:pt x="397" y="19"/>
                  <a:pt x="396" y="19"/>
                  <a:pt x="396" y="20"/>
                </a:cubicBezTo>
                <a:cubicBezTo>
                  <a:pt x="395" y="20"/>
                  <a:pt x="395" y="21"/>
                  <a:pt x="394" y="21"/>
                </a:cubicBezTo>
                <a:cubicBezTo>
                  <a:pt x="394" y="22"/>
                  <a:pt x="393" y="22"/>
                  <a:pt x="392" y="23"/>
                </a:cubicBezTo>
                <a:cubicBezTo>
                  <a:pt x="392" y="23"/>
                  <a:pt x="391" y="22"/>
                  <a:pt x="390" y="22"/>
                </a:cubicBezTo>
                <a:cubicBezTo>
                  <a:pt x="390" y="22"/>
                  <a:pt x="390" y="21"/>
                  <a:pt x="389" y="21"/>
                </a:cubicBezTo>
                <a:cubicBezTo>
                  <a:pt x="388" y="21"/>
                  <a:pt x="386" y="21"/>
                  <a:pt x="386" y="21"/>
                </a:cubicBezTo>
                <a:cubicBezTo>
                  <a:pt x="385" y="21"/>
                  <a:pt x="386" y="22"/>
                  <a:pt x="385" y="22"/>
                </a:cubicBezTo>
                <a:cubicBezTo>
                  <a:pt x="385" y="22"/>
                  <a:pt x="385" y="22"/>
                  <a:pt x="385" y="22"/>
                </a:cubicBezTo>
                <a:cubicBezTo>
                  <a:pt x="384" y="22"/>
                  <a:pt x="384" y="22"/>
                  <a:pt x="383" y="22"/>
                </a:cubicBezTo>
                <a:cubicBezTo>
                  <a:pt x="382" y="22"/>
                  <a:pt x="382" y="22"/>
                  <a:pt x="382" y="24"/>
                </a:cubicBezTo>
                <a:cubicBezTo>
                  <a:pt x="384" y="23"/>
                  <a:pt x="387" y="22"/>
                  <a:pt x="389" y="24"/>
                </a:cubicBezTo>
                <a:cubicBezTo>
                  <a:pt x="387" y="23"/>
                  <a:pt x="385" y="23"/>
                  <a:pt x="384" y="25"/>
                </a:cubicBezTo>
                <a:cubicBezTo>
                  <a:pt x="386" y="25"/>
                  <a:pt x="388" y="25"/>
                  <a:pt x="390" y="25"/>
                </a:cubicBezTo>
                <a:cubicBezTo>
                  <a:pt x="391" y="25"/>
                  <a:pt x="391" y="24"/>
                  <a:pt x="392" y="24"/>
                </a:cubicBezTo>
                <a:cubicBezTo>
                  <a:pt x="393" y="25"/>
                  <a:pt x="394" y="24"/>
                  <a:pt x="395" y="25"/>
                </a:cubicBezTo>
                <a:cubicBezTo>
                  <a:pt x="394" y="26"/>
                  <a:pt x="392" y="25"/>
                  <a:pt x="390" y="26"/>
                </a:cubicBezTo>
                <a:cubicBezTo>
                  <a:pt x="389" y="26"/>
                  <a:pt x="386" y="26"/>
                  <a:pt x="385" y="27"/>
                </a:cubicBezTo>
                <a:cubicBezTo>
                  <a:pt x="385" y="28"/>
                  <a:pt x="385" y="28"/>
                  <a:pt x="386" y="29"/>
                </a:cubicBezTo>
                <a:cubicBezTo>
                  <a:pt x="387" y="28"/>
                  <a:pt x="388" y="27"/>
                  <a:pt x="389" y="27"/>
                </a:cubicBezTo>
                <a:cubicBezTo>
                  <a:pt x="390" y="27"/>
                  <a:pt x="390" y="27"/>
                  <a:pt x="390" y="27"/>
                </a:cubicBezTo>
                <a:cubicBezTo>
                  <a:pt x="390" y="27"/>
                  <a:pt x="390" y="27"/>
                  <a:pt x="390" y="27"/>
                </a:cubicBezTo>
                <a:cubicBezTo>
                  <a:pt x="391" y="27"/>
                  <a:pt x="391" y="27"/>
                  <a:pt x="391" y="27"/>
                </a:cubicBezTo>
                <a:cubicBezTo>
                  <a:pt x="392" y="27"/>
                  <a:pt x="391" y="27"/>
                  <a:pt x="391" y="27"/>
                </a:cubicBezTo>
                <a:cubicBezTo>
                  <a:pt x="392" y="27"/>
                  <a:pt x="392" y="27"/>
                  <a:pt x="392" y="27"/>
                </a:cubicBezTo>
                <a:cubicBezTo>
                  <a:pt x="392" y="27"/>
                  <a:pt x="392" y="26"/>
                  <a:pt x="392" y="26"/>
                </a:cubicBezTo>
                <a:cubicBezTo>
                  <a:pt x="393" y="26"/>
                  <a:pt x="393" y="26"/>
                  <a:pt x="394" y="26"/>
                </a:cubicBezTo>
                <a:cubicBezTo>
                  <a:pt x="395" y="26"/>
                  <a:pt x="397" y="26"/>
                  <a:pt x="399" y="25"/>
                </a:cubicBezTo>
                <a:cubicBezTo>
                  <a:pt x="399" y="26"/>
                  <a:pt x="396" y="27"/>
                  <a:pt x="396" y="27"/>
                </a:cubicBezTo>
                <a:cubicBezTo>
                  <a:pt x="395" y="27"/>
                  <a:pt x="395" y="27"/>
                  <a:pt x="394" y="27"/>
                </a:cubicBezTo>
                <a:cubicBezTo>
                  <a:pt x="393" y="27"/>
                  <a:pt x="393" y="27"/>
                  <a:pt x="392" y="27"/>
                </a:cubicBezTo>
                <a:cubicBezTo>
                  <a:pt x="392" y="28"/>
                  <a:pt x="392" y="28"/>
                  <a:pt x="392" y="28"/>
                </a:cubicBezTo>
                <a:cubicBezTo>
                  <a:pt x="391" y="28"/>
                  <a:pt x="392" y="28"/>
                  <a:pt x="391" y="28"/>
                </a:cubicBezTo>
                <a:cubicBezTo>
                  <a:pt x="391" y="28"/>
                  <a:pt x="390" y="28"/>
                  <a:pt x="390" y="28"/>
                </a:cubicBezTo>
                <a:cubicBezTo>
                  <a:pt x="389" y="28"/>
                  <a:pt x="389" y="29"/>
                  <a:pt x="388" y="29"/>
                </a:cubicBezTo>
                <a:cubicBezTo>
                  <a:pt x="388" y="29"/>
                  <a:pt x="388" y="30"/>
                  <a:pt x="387" y="30"/>
                </a:cubicBezTo>
                <a:cubicBezTo>
                  <a:pt x="387" y="30"/>
                  <a:pt x="388" y="31"/>
                  <a:pt x="389" y="31"/>
                </a:cubicBezTo>
                <a:cubicBezTo>
                  <a:pt x="390" y="31"/>
                  <a:pt x="389" y="31"/>
                  <a:pt x="390" y="31"/>
                </a:cubicBezTo>
                <a:cubicBezTo>
                  <a:pt x="390" y="31"/>
                  <a:pt x="390" y="31"/>
                  <a:pt x="391" y="31"/>
                </a:cubicBezTo>
                <a:cubicBezTo>
                  <a:pt x="391" y="31"/>
                  <a:pt x="391" y="30"/>
                  <a:pt x="392" y="30"/>
                </a:cubicBezTo>
                <a:cubicBezTo>
                  <a:pt x="393" y="31"/>
                  <a:pt x="397" y="30"/>
                  <a:pt x="396" y="31"/>
                </a:cubicBezTo>
                <a:cubicBezTo>
                  <a:pt x="397" y="31"/>
                  <a:pt x="399" y="31"/>
                  <a:pt x="399" y="30"/>
                </a:cubicBezTo>
                <a:cubicBezTo>
                  <a:pt x="399" y="30"/>
                  <a:pt x="399" y="31"/>
                  <a:pt x="399" y="31"/>
                </a:cubicBezTo>
                <a:cubicBezTo>
                  <a:pt x="400" y="31"/>
                  <a:pt x="400" y="31"/>
                  <a:pt x="400" y="31"/>
                </a:cubicBezTo>
                <a:cubicBezTo>
                  <a:pt x="400" y="31"/>
                  <a:pt x="401" y="29"/>
                  <a:pt x="402" y="30"/>
                </a:cubicBezTo>
                <a:cubicBezTo>
                  <a:pt x="402" y="31"/>
                  <a:pt x="402" y="31"/>
                  <a:pt x="403" y="31"/>
                </a:cubicBezTo>
                <a:cubicBezTo>
                  <a:pt x="404" y="31"/>
                  <a:pt x="405" y="31"/>
                  <a:pt x="405" y="31"/>
                </a:cubicBezTo>
                <a:cubicBezTo>
                  <a:pt x="406" y="29"/>
                  <a:pt x="406" y="31"/>
                  <a:pt x="406" y="30"/>
                </a:cubicBezTo>
                <a:cubicBezTo>
                  <a:pt x="407" y="30"/>
                  <a:pt x="407" y="29"/>
                  <a:pt x="408" y="29"/>
                </a:cubicBezTo>
                <a:cubicBezTo>
                  <a:pt x="407" y="30"/>
                  <a:pt x="407" y="31"/>
                  <a:pt x="408" y="32"/>
                </a:cubicBezTo>
                <a:cubicBezTo>
                  <a:pt x="409" y="32"/>
                  <a:pt x="410" y="31"/>
                  <a:pt x="410" y="32"/>
                </a:cubicBezTo>
                <a:cubicBezTo>
                  <a:pt x="411" y="32"/>
                  <a:pt x="410" y="32"/>
                  <a:pt x="411" y="32"/>
                </a:cubicBezTo>
                <a:cubicBezTo>
                  <a:pt x="411" y="32"/>
                  <a:pt x="412" y="32"/>
                  <a:pt x="413" y="32"/>
                </a:cubicBezTo>
                <a:cubicBezTo>
                  <a:pt x="413" y="32"/>
                  <a:pt x="414" y="32"/>
                  <a:pt x="414" y="32"/>
                </a:cubicBezTo>
                <a:cubicBezTo>
                  <a:pt x="415" y="33"/>
                  <a:pt x="415" y="32"/>
                  <a:pt x="415" y="31"/>
                </a:cubicBezTo>
                <a:cubicBezTo>
                  <a:pt x="416" y="30"/>
                  <a:pt x="418" y="31"/>
                  <a:pt x="417" y="28"/>
                </a:cubicBezTo>
                <a:cubicBezTo>
                  <a:pt x="418" y="28"/>
                  <a:pt x="418" y="28"/>
                  <a:pt x="419" y="28"/>
                </a:cubicBezTo>
                <a:cubicBezTo>
                  <a:pt x="419" y="29"/>
                  <a:pt x="419" y="29"/>
                  <a:pt x="418" y="30"/>
                </a:cubicBezTo>
                <a:cubicBezTo>
                  <a:pt x="418" y="31"/>
                  <a:pt x="419" y="31"/>
                  <a:pt x="420" y="31"/>
                </a:cubicBezTo>
                <a:cubicBezTo>
                  <a:pt x="421" y="31"/>
                  <a:pt x="421" y="30"/>
                  <a:pt x="421" y="30"/>
                </a:cubicBezTo>
                <a:cubicBezTo>
                  <a:pt x="422" y="30"/>
                  <a:pt x="423" y="30"/>
                  <a:pt x="423" y="30"/>
                </a:cubicBezTo>
                <a:cubicBezTo>
                  <a:pt x="423" y="30"/>
                  <a:pt x="424" y="30"/>
                  <a:pt x="424" y="30"/>
                </a:cubicBezTo>
                <a:cubicBezTo>
                  <a:pt x="424" y="30"/>
                  <a:pt x="424" y="30"/>
                  <a:pt x="425" y="30"/>
                </a:cubicBezTo>
                <a:cubicBezTo>
                  <a:pt x="425" y="30"/>
                  <a:pt x="426" y="30"/>
                  <a:pt x="426" y="30"/>
                </a:cubicBezTo>
                <a:cubicBezTo>
                  <a:pt x="426" y="30"/>
                  <a:pt x="426" y="29"/>
                  <a:pt x="427" y="29"/>
                </a:cubicBezTo>
                <a:cubicBezTo>
                  <a:pt x="428" y="29"/>
                  <a:pt x="436" y="28"/>
                  <a:pt x="436" y="29"/>
                </a:cubicBezTo>
                <a:cubicBezTo>
                  <a:pt x="438" y="29"/>
                  <a:pt x="440" y="29"/>
                  <a:pt x="442" y="28"/>
                </a:cubicBezTo>
                <a:cubicBezTo>
                  <a:pt x="442" y="28"/>
                  <a:pt x="445" y="28"/>
                  <a:pt x="445" y="28"/>
                </a:cubicBezTo>
                <a:cubicBezTo>
                  <a:pt x="445" y="28"/>
                  <a:pt x="447" y="27"/>
                  <a:pt x="448" y="27"/>
                </a:cubicBezTo>
                <a:cubicBezTo>
                  <a:pt x="448" y="27"/>
                  <a:pt x="449" y="26"/>
                  <a:pt x="449" y="26"/>
                </a:cubicBezTo>
                <a:cubicBezTo>
                  <a:pt x="449" y="26"/>
                  <a:pt x="449" y="26"/>
                  <a:pt x="450" y="26"/>
                </a:cubicBezTo>
                <a:cubicBezTo>
                  <a:pt x="450" y="26"/>
                  <a:pt x="450" y="26"/>
                  <a:pt x="450" y="26"/>
                </a:cubicBezTo>
                <a:cubicBezTo>
                  <a:pt x="451" y="26"/>
                  <a:pt x="451" y="26"/>
                  <a:pt x="452" y="26"/>
                </a:cubicBezTo>
                <a:cubicBezTo>
                  <a:pt x="452" y="26"/>
                  <a:pt x="452" y="26"/>
                  <a:pt x="452" y="26"/>
                </a:cubicBezTo>
                <a:cubicBezTo>
                  <a:pt x="453" y="26"/>
                  <a:pt x="453" y="26"/>
                  <a:pt x="454" y="26"/>
                </a:cubicBezTo>
                <a:cubicBezTo>
                  <a:pt x="454" y="26"/>
                  <a:pt x="454" y="26"/>
                  <a:pt x="454" y="26"/>
                </a:cubicBezTo>
                <a:cubicBezTo>
                  <a:pt x="454" y="25"/>
                  <a:pt x="456" y="25"/>
                  <a:pt x="457" y="25"/>
                </a:cubicBezTo>
                <a:cubicBezTo>
                  <a:pt x="456" y="26"/>
                  <a:pt x="454" y="26"/>
                  <a:pt x="453" y="26"/>
                </a:cubicBezTo>
                <a:cubicBezTo>
                  <a:pt x="453" y="26"/>
                  <a:pt x="452" y="27"/>
                  <a:pt x="451" y="27"/>
                </a:cubicBezTo>
                <a:cubicBezTo>
                  <a:pt x="450" y="27"/>
                  <a:pt x="450" y="27"/>
                  <a:pt x="450" y="28"/>
                </a:cubicBezTo>
                <a:cubicBezTo>
                  <a:pt x="451" y="28"/>
                  <a:pt x="453" y="28"/>
                  <a:pt x="455" y="28"/>
                </a:cubicBezTo>
                <a:cubicBezTo>
                  <a:pt x="455" y="30"/>
                  <a:pt x="451" y="28"/>
                  <a:pt x="451" y="29"/>
                </a:cubicBezTo>
                <a:cubicBezTo>
                  <a:pt x="451" y="29"/>
                  <a:pt x="450" y="29"/>
                  <a:pt x="450" y="29"/>
                </a:cubicBezTo>
                <a:cubicBezTo>
                  <a:pt x="449" y="28"/>
                  <a:pt x="450" y="29"/>
                  <a:pt x="450" y="29"/>
                </a:cubicBezTo>
                <a:cubicBezTo>
                  <a:pt x="449" y="29"/>
                  <a:pt x="448" y="30"/>
                  <a:pt x="447" y="30"/>
                </a:cubicBezTo>
                <a:cubicBezTo>
                  <a:pt x="446" y="30"/>
                  <a:pt x="444" y="30"/>
                  <a:pt x="443" y="31"/>
                </a:cubicBezTo>
                <a:cubicBezTo>
                  <a:pt x="443" y="32"/>
                  <a:pt x="445" y="31"/>
                  <a:pt x="446" y="31"/>
                </a:cubicBezTo>
                <a:cubicBezTo>
                  <a:pt x="448" y="31"/>
                  <a:pt x="450" y="31"/>
                  <a:pt x="451" y="31"/>
                </a:cubicBezTo>
                <a:cubicBezTo>
                  <a:pt x="452" y="32"/>
                  <a:pt x="450" y="32"/>
                  <a:pt x="449" y="32"/>
                </a:cubicBezTo>
                <a:cubicBezTo>
                  <a:pt x="448" y="32"/>
                  <a:pt x="448" y="33"/>
                  <a:pt x="447" y="33"/>
                </a:cubicBezTo>
                <a:cubicBezTo>
                  <a:pt x="447" y="33"/>
                  <a:pt x="447" y="33"/>
                  <a:pt x="447" y="33"/>
                </a:cubicBezTo>
                <a:cubicBezTo>
                  <a:pt x="446" y="33"/>
                  <a:pt x="445" y="33"/>
                  <a:pt x="445" y="33"/>
                </a:cubicBezTo>
                <a:cubicBezTo>
                  <a:pt x="444" y="33"/>
                  <a:pt x="444" y="33"/>
                  <a:pt x="443" y="33"/>
                </a:cubicBezTo>
                <a:cubicBezTo>
                  <a:pt x="443" y="33"/>
                  <a:pt x="443" y="34"/>
                  <a:pt x="443" y="33"/>
                </a:cubicBezTo>
                <a:cubicBezTo>
                  <a:pt x="443" y="33"/>
                  <a:pt x="441" y="32"/>
                  <a:pt x="441" y="33"/>
                </a:cubicBezTo>
                <a:cubicBezTo>
                  <a:pt x="440" y="34"/>
                  <a:pt x="438" y="33"/>
                  <a:pt x="437" y="33"/>
                </a:cubicBezTo>
                <a:cubicBezTo>
                  <a:pt x="437" y="34"/>
                  <a:pt x="436" y="34"/>
                  <a:pt x="436" y="34"/>
                </a:cubicBezTo>
                <a:cubicBezTo>
                  <a:pt x="435" y="34"/>
                  <a:pt x="435" y="33"/>
                  <a:pt x="434" y="33"/>
                </a:cubicBezTo>
                <a:cubicBezTo>
                  <a:pt x="433" y="34"/>
                  <a:pt x="432" y="34"/>
                  <a:pt x="431" y="34"/>
                </a:cubicBezTo>
                <a:cubicBezTo>
                  <a:pt x="430" y="34"/>
                  <a:pt x="427" y="34"/>
                  <a:pt x="428" y="35"/>
                </a:cubicBezTo>
                <a:cubicBezTo>
                  <a:pt x="428" y="35"/>
                  <a:pt x="429" y="36"/>
                  <a:pt x="429" y="36"/>
                </a:cubicBezTo>
                <a:cubicBezTo>
                  <a:pt x="429" y="36"/>
                  <a:pt x="429" y="37"/>
                  <a:pt x="429" y="37"/>
                </a:cubicBezTo>
                <a:cubicBezTo>
                  <a:pt x="429" y="39"/>
                  <a:pt x="430" y="40"/>
                  <a:pt x="432" y="40"/>
                </a:cubicBezTo>
                <a:cubicBezTo>
                  <a:pt x="432" y="40"/>
                  <a:pt x="432" y="40"/>
                  <a:pt x="432" y="40"/>
                </a:cubicBezTo>
                <a:cubicBezTo>
                  <a:pt x="432" y="40"/>
                  <a:pt x="433" y="40"/>
                  <a:pt x="433" y="40"/>
                </a:cubicBezTo>
                <a:cubicBezTo>
                  <a:pt x="433" y="40"/>
                  <a:pt x="435" y="40"/>
                  <a:pt x="435" y="40"/>
                </a:cubicBezTo>
                <a:cubicBezTo>
                  <a:pt x="435" y="40"/>
                  <a:pt x="437" y="39"/>
                  <a:pt x="437" y="41"/>
                </a:cubicBezTo>
                <a:cubicBezTo>
                  <a:pt x="436" y="41"/>
                  <a:pt x="436" y="40"/>
                  <a:pt x="435" y="40"/>
                </a:cubicBezTo>
                <a:cubicBezTo>
                  <a:pt x="435" y="41"/>
                  <a:pt x="435" y="41"/>
                  <a:pt x="435" y="41"/>
                </a:cubicBezTo>
                <a:cubicBezTo>
                  <a:pt x="434" y="41"/>
                  <a:pt x="435" y="41"/>
                  <a:pt x="435" y="42"/>
                </a:cubicBezTo>
                <a:cubicBezTo>
                  <a:pt x="434" y="42"/>
                  <a:pt x="431" y="40"/>
                  <a:pt x="431" y="41"/>
                </a:cubicBezTo>
                <a:cubicBezTo>
                  <a:pt x="431" y="41"/>
                  <a:pt x="430" y="41"/>
                  <a:pt x="429" y="41"/>
                </a:cubicBezTo>
                <a:cubicBezTo>
                  <a:pt x="429" y="41"/>
                  <a:pt x="429" y="40"/>
                  <a:pt x="428" y="40"/>
                </a:cubicBezTo>
                <a:cubicBezTo>
                  <a:pt x="427" y="39"/>
                  <a:pt x="427" y="38"/>
                  <a:pt x="427" y="37"/>
                </a:cubicBezTo>
                <a:cubicBezTo>
                  <a:pt x="427" y="37"/>
                  <a:pt x="427" y="37"/>
                  <a:pt x="427" y="36"/>
                </a:cubicBezTo>
                <a:cubicBezTo>
                  <a:pt x="426" y="36"/>
                  <a:pt x="426" y="36"/>
                  <a:pt x="425" y="35"/>
                </a:cubicBezTo>
                <a:cubicBezTo>
                  <a:pt x="425" y="34"/>
                  <a:pt x="425" y="34"/>
                  <a:pt x="424" y="34"/>
                </a:cubicBezTo>
                <a:cubicBezTo>
                  <a:pt x="423" y="34"/>
                  <a:pt x="424" y="34"/>
                  <a:pt x="423" y="34"/>
                </a:cubicBezTo>
                <a:cubicBezTo>
                  <a:pt x="423" y="34"/>
                  <a:pt x="423" y="34"/>
                  <a:pt x="423" y="33"/>
                </a:cubicBezTo>
                <a:cubicBezTo>
                  <a:pt x="421" y="33"/>
                  <a:pt x="420" y="34"/>
                  <a:pt x="418" y="34"/>
                </a:cubicBezTo>
                <a:cubicBezTo>
                  <a:pt x="417" y="33"/>
                  <a:pt x="416" y="33"/>
                  <a:pt x="415" y="33"/>
                </a:cubicBezTo>
                <a:cubicBezTo>
                  <a:pt x="414" y="33"/>
                  <a:pt x="412" y="34"/>
                  <a:pt x="411" y="34"/>
                </a:cubicBezTo>
                <a:cubicBezTo>
                  <a:pt x="411" y="34"/>
                  <a:pt x="410" y="34"/>
                  <a:pt x="410" y="34"/>
                </a:cubicBezTo>
                <a:cubicBezTo>
                  <a:pt x="410" y="34"/>
                  <a:pt x="410" y="34"/>
                  <a:pt x="409" y="35"/>
                </a:cubicBezTo>
                <a:cubicBezTo>
                  <a:pt x="409" y="35"/>
                  <a:pt x="409" y="36"/>
                  <a:pt x="410" y="36"/>
                </a:cubicBezTo>
                <a:cubicBezTo>
                  <a:pt x="410" y="37"/>
                  <a:pt x="410" y="37"/>
                  <a:pt x="410" y="37"/>
                </a:cubicBezTo>
                <a:cubicBezTo>
                  <a:pt x="409" y="37"/>
                  <a:pt x="409" y="37"/>
                  <a:pt x="409" y="38"/>
                </a:cubicBezTo>
                <a:cubicBezTo>
                  <a:pt x="409" y="38"/>
                  <a:pt x="408" y="39"/>
                  <a:pt x="407" y="39"/>
                </a:cubicBezTo>
                <a:cubicBezTo>
                  <a:pt x="407" y="38"/>
                  <a:pt x="407" y="39"/>
                  <a:pt x="407" y="39"/>
                </a:cubicBezTo>
                <a:cubicBezTo>
                  <a:pt x="406" y="40"/>
                  <a:pt x="406" y="40"/>
                  <a:pt x="405" y="40"/>
                </a:cubicBezTo>
                <a:cubicBezTo>
                  <a:pt x="406" y="38"/>
                  <a:pt x="407" y="37"/>
                  <a:pt x="405" y="36"/>
                </a:cubicBezTo>
                <a:cubicBezTo>
                  <a:pt x="405" y="36"/>
                  <a:pt x="405" y="36"/>
                  <a:pt x="405" y="35"/>
                </a:cubicBezTo>
                <a:cubicBezTo>
                  <a:pt x="405" y="35"/>
                  <a:pt x="405" y="35"/>
                  <a:pt x="404" y="35"/>
                </a:cubicBezTo>
                <a:cubicBezTo>
                  <a:pt x="404" y="35"/>
                  <a:pt x="404" y="35"/>
                  <a:pt x="405" y="35"/>
                </a:cubicBezTo>
                <a:cubicBezTo>
                  <a:pt x="405" y="34"/>
                  <a:pt x="404" y="33"/>
                  <a:pt x="403" y="33"/>
                </a:cubicBezTo>
                <a:cubicBezTo>
                  <a:pt x="403" y="35"/>
                  <a:pt x="403" y="35"/>
                  <a:pt x="402" y="35"/>
                </a:cubicBezTo>
                <a:cubicBezTo>
                  <a:pt x="401" y="35"/>
                  <a:pt x="401" y="35"/>
                  <a:pt x="401" y="34"/>
                </a:cubicBezTo>
                <a:cubicBezTo>
                  <a:pt x="401" y="33"/>
                  <a:pt x="401" y="33"/>
                  <a:pt x="401" y="33"/>
                </a:cubicBezTo>
                <a:cubicBezTo>
                  <a:pt x="400" y="33"/>
                  <a:pt x="400" y="33"/>
                  <a:pt x="399" y="33"/>
                </a:cubicBezTo>
                <a:cubicBezTo>
                  <a:pt x="399" y="34"/>
                  <a:pt x="399" y="34"/>
                  <a:pt x="398" y="34"/>
                </a:cubicBezTo>
                <a:cubicBezTo>
                  <a:pt x="397" y="34"/>
                  <a:pt x="396" y="34"/>
                  <a:pt x="395" y="34"/>
                </a:cubicBezTo>
                <a:cubicBezTo>
                  <a:pt x="393" y="34"/>
                  <a:pt x="392" y="34"/>
                  <a:pt x="391" y="34"/>
                </a:cubicBezTo>
                <a:cubicBezTo>
                  <a:pt x="390" y="34"/>
                  <a:pt x="389" y="35"/>
                  <a:pt x="388" y="34"/>
                </a:cubicBezTo>
                <a:cubicBezTo>
                  <a:pt x="387" y="34"/>
                  <a:pt x="388" y="34"/>
                  <a:pt x="387" y="34"/>
                </a:cubicBezTo>
                <a:cubicBezTo>
                  <a:pt x="387" y="34"/>
                  <a:pt x="387" y="34"/>
                  <a:pt x="387" y="34"/>
                </a:cubicBezTo>
                <a:cubicBezTo>
                  <a:pt x="386" y="34"/>
                  <a:pt x="386" y="33"/>
                  <a:pt x="385" y="33"/>
                </a:cubicBezTo>
                <a:cubicBezTo>
                  <a:pt x="385" y="33"/>
                  <a:pt x="385" y="33"/>
                  <a:pt x="384" y="33"/>
                </a:cubicBezTo>
                <a:cubicBezTo>
                  <a:pt x="384" y="33"/>
                  <a:pt x="384" y="33"/>
                  <a:pt x="384" y="32"/>
                </a:cubicBezTo>
                <a:cubicBezTo>
                  <a:pt x="384" y="32"/>
                  <a:pt x="383" y="31"/>
                  <a:pt x="384" y="31"/>
                </a:cubicBezTo>
                <a:cubicBezTo>
                  <a:pt x="384" y="29"/>
                  <a:pt x="382" y="28"/>
                  <a:pt x="381" y="27"/>
                </a:cubicBezTo>
                <a:cubicBezTo>
                  <a:pt x="381" y="26"/>
                  <a:pt x="379" y="26"/>
                  <a:pt x="379" y="26"/>
                </a:cubicBezTo>
                <a:cubicBezTo>
                  <a:pt x="379" y="26"/>
                  <a:pt x="379" y="26"/>
                  <a:pt x="378" y="26"/>
                </a:cubicBezTo>
                <a:cubicBezTo>
                  <a:pt x="376" y="26"/>
                  <a:pt x="375" y="25"/>
                  <a:pt x="373" y="25"/>
                </a:cubicBezTo>
                <a:cubicBezTo>
                  <a:pt x="373" y="25"/>
                  <a:pt x="373" y="25"/>
                  <a:pt x="373" y="25"/>
                </a:cubicBezTo>
                <a:cubicBezTo>
                  <a:pt x="372" y="25"/>
                  <a:pt x="372" y="25"/>
                  <a:pt x="372" y="24"/>
                </a:cubicBezTo>
                <a:cubicBezTo>
                  <a:pt x="371" y="24"/>
                  <a:pt x="371" y="24"/>
                  <a:pt x="370" y="24"/>
                </a:cubicBezTo>
                <a:cubicBezTo>
                  <a:pt x="369" y="24"/>
                  <a:pt x="370" y="24"/>
                  <a:pt x="369" y="24"/>
                </a:cubicBezTo>
                <a:cubicBezTo>
                  <a:pt x="369" y="24"/>
                  <a:pt x="365" y="24"/>
                  <a:pt x="365" y="24"/>
                </a:cubicBezTo>
                <a:cubicBezTo>
                  <a:pt x="364" y="24"/>
                  <a:pt x="362" y="24"/>
                  <a:pt x="362" y="24"/>
                </a:cubicBezTo>
                <a:cubicBezTo>
                  <a:pt x="362" y="25"/>
                  <a:pt x="362" y="25"/>
                  <a:pt x="363" y="25"/>
                </a:cubicBezTo>
                <a:cubicBezTo>
                  <a:pt x="364" y="25"/>
                  <a:pt x="365" y="25"/>
                  <a:pt x="366" y="25"/>
                </a:cubicBezTo>
                <a:cubicBezTo>
                  <a:pt x="366" y="25"/>
                  <a:pt x="367" y="26"/>
                  <a:pt x="367" y="25"/>
                </a:cubicBezTo>
                <a:cubicBezTo>
                  <a:pt x="369" y="25"/>
                  <a:pt x="369" y="26"/>
                  <a:pt x="370" y="26"/>
                </a:cubicBezTo>
                <a:cubicBezTo>
                  <a:pt x="369" y="28"/>
                  <a:pt x="370" y="27"/>
                  <a:pt x="370" y="29"/>
                </a:cubicBezTo>
                <a:cubicBezTo>
                  <a:pt x="370" y="29"/>
                  <a:pt x="369" y="29"/>
                  <a:pt x="369" y="29"/>
                </a:cubicBezTo>
                <a:cubicBezTo>
                  <a:pt x="368" y="29"/>
                  <a:pt x="368" y="28"/>
                  <a:pt x="368" y="28"/>
                </a:cubicBezTo>
                <a:cubicBezTo>
                  <a:pt x="367" y="28"/>
                  <a:pt x="367" y="28"/>
                  <a:pt x="366" y="28"/>
                </a:cubicBezTo>
                <a:cubicBezTo>
                  <a:pt x="365" y="28"/>
                  <a:pt x="364" y="28"/>
                  <a:pt x="363" y="27"/>
                </a:cubicBezTo>
                <a:cubicBezTo>
                  <a:pt x="362" y="27"/>
                  <a:pt x="363" y="27"/>
                  <a:pt x="363" y="27"/>
                </a:cubicBezTo>
                <a:close/>
                <a:moveTo>
                  <a:pt x="691" y="126"/>
                </a:moveTo>
                <a:cubicBezTo>
                  <a:pt x="691" y="126"/>
                  <a:pt x="691" y="126"/>
                  <a:pt x="691" y="126"/>
                </a:cubicBezTo>
                <a:cubicBezTo>
                  <a:pt x="689" y="126"/>
                  <a:pt x="689" y="126"/>
                  <a:pt x="688" y="126"/>
                </a:cubicBezTo>
                <a:cubicBezTo>
                  <a:pt x="689" y="125"/>
                  <a:pt x="690" y="125"/>
                  <a:pt x="691" y="125"/>
                </a:cubicBezTo>
                <a:cubicBezTo>
                  <a:pt x="691" y="125"/>
                  <a:pt x="691" y="126"/>
                  <a:pt x="691" y="126"/>
                </a:cubicBezTo>
                <a:close/>
                <a:moveTo>
                  <a:pt x="658" y="10"/>
                </a:moveTo>
                <a:cubicBezTo>
                  <a:pt x="658" y="10"/>
                  <a:pt x="657" y="9"/>
                  <a:pt x="657" y="9"/>
                </a:cubicBezTo>
                <a:cubicBezTo>
                  <a:pt x="656" y="9"/>
                  <a:pt x="657" y="9"/>
                  <a:pt x="657" y="9"/>
                </a:cubicBezTo>
                <a:cubicBezTo>
                  <a:pt x="657" y="8"/>
                  <a:pt x="657" y="7"/>
                  <a:pt x="657" y="6"/>
                </a:cubicBezTo>
                <a:cubicBezTo>
                  <a:pt x="659" y="6"/>
                  <a:pt x="657" y="6"/>
                  <a:pt x="658" y="8"/>
                </a:cubicBezTo>
                <a:cubicBezTo>
                  <a:pt x="659" y="8"/>
                  <a:pt x="659" y="9"/>
                  <a:pt x="660" y="9"/>
                </a:cubicBezTo>
                <a:cubicBezTo>
                  <a:pt x="661" y="9"/>
                  <a:pt x="662" y="8"/>
                  <a:pt x="663" y="8"/>
                </a:cubicBezTo>
                <a:cubicBezTo>
                  <a:pt x="664" y="8"/>
                  <a:pt x="665" y="8"/>
                  <a:pt x="665" y="9"/>
                </a:cubicBezTo>
                <a:cubicBezTo>
                  <a:pt x="665" y="9"/>
                  <a:pt x="667" y="9"/>
                  <a:pt x="666" y="9"/>
                </a:cubicBezTo>
                <a:cubicBezTo>
                  <a:pt x="666" y="9"/>
                  <a:pt x="664" y="10"/>
                  <a:pt x="664" y="9"/>
                </a:cubicBezTo>
                <a:cubicBezTo>
                  <a:pt x="663" y="9"/>
                  <a:pt x="663" y="9"/>
                  <a:pt x="662" y="9"/>
                </a:cubicBezTo>
                <a:cubicBezTo>
                  <a:pt x="662" y="9"/>
                  <a:pt x="661" y="9"/>
                  <a:pt x="660" y="9"/>
                </a:cubicBezTo>
                <a:cubicBezTo>
                  <a:pt x="659" y="9"/>
                  <a:pt x="660" y="10"/>
                  <a:pt x="660" y="10"/>
                </a:cubicBezTo>
                <a:cubicBezTo>
                  <a:pt x="660" y="10"/>
                  <a:pt x="659" y="11"/>
                  <a:pt x="659" y="11"/>
                </a:cubicBezTo>
                <a:cubicBezTo>
                  <a:pt x="659" y="11"/>
                  <a:pt x="658" y="10"/>
                  <a:pt x="658" y="10"/>
                </a:cubicBezTo>
                <a:cubicBezTo>
                  <a:pt x="657" y="9"/>
                  <a:pt x="658" y="10"/>
                  <a:pt x="658" y="10"/>
                </a:cubicBezTo>
                <a:close/>
                <a:moveTo>
                  <a:pt x="654" y="10"/>
                </a:moveTo>
                <a:cubicBezTo>
                  <a:pt x="652" y="10"/>
                  <a:pt x="652" y="10"/>
                  <a:pt x="651" y="11"/>
                </a:cubicBezTo>
                <a:cubicBezTo>
                  <a:pt x="650" y="11"/>
                  <a:pt x="649" y="10"/>
                  <a:pt x="649" y="11"/>
                </a:cubicBezTo>
                <a:cubicBezTo>
                  <a:pt x="649" y="12"/>
                  <a:pt x="648" y="12"/>
                  <a:pt x="648" y="11"/>
                </a:cubicBezTo>
                <a:cubicBezTo>
                  <a:pt x="648" y="10"/>
                  <a:pt x="649" y="10"/>
                  <a:pt x="650" y="10"/>
                </a:cubicBezTo>
                <a:cubicBezTo>
                  <a:pt x="651" y="9"/>
                  <a:pt x="652" y="9"/>
                  <a:pt x="654" y="9"/>
                </a:cubicBezTo>
                <a:cubicBezTo>
                  <a:pt x="654" y="9"/>
                  <a:pt x="654" y="10"/>
                  <a:pt x="654" y="10"/>
                </a:cubicBezTo>
                <a:cubicBezTo>
                  <a:pt x="653" y="10"/>
                  <a:pt x="654" y="10"/>
                  <a:pt x="654" y="10"/>
                </a:cubicBezTo>
                <a:close/>
                <a:moveTo>
                  <a:pt x="642" y="160"/>
                </a:moveTo>
                <a:cubicBezTo>
                  <a:pt x="641" y="160"/>
                  <a:pt x="641" y="161"/>
                  <a:pt x="640" y="161"/>
                </a:cubicBezTo>
                <a:cubicBezTo>
                  <a:pt x="640" y="160"/>
                  <a:pt x="640" y="160"/>
                  <a:pt x="640" y="159"/>
                </a:cubicBezTo>
                <a:cubicBezTo>
                  <a:pt x="640" y="159"/>
                  <a:pt x="640" y="159"/>
                  <a:pt x="641" y="158"/>
                </a:cubicBezTo>
                <a:cubicBezTo>
                  <a:pt x="641" y="158"/>
                  <a:pt x="642" y="158"/>
                  <a:pt x="643" y="159"/>
                </a:cubicBezTo>
                <a:cubicBezTo>
                  <a:pt x="643" y="159"/>
                  <a:pt x="642" y="160"/>
                  <a:pt x="642" y="160"/>
                </a:cubicBezTo>
                <a:cubicBezTo>
                  <a:pt x="641" y="160"/>
                  <a:pt x="642" y="160"/>
                  <a:pt x="642" y="160"/>
                </a:cubicBezTo>
                <a:close/>
                <a:moveTo>
                  <a:pt x="602" y="200"/>
                </a:moveTo>
                <a:cubicBezTo>
                  <a:pt x="602" y="200"/>
                  <a:pt x="603" y="201"/>
                  <a:pt x="602" y="200"/>
                </a:cubicBezTo>
                <a:cubicBezTo>
                  <a:pt x="602" y="199"/>
                  <a:pt x="603" y="199"/>
                  <a:pt x="602" y="200"/>
                </a:cubicBezTo>
                <a:close/>
                <a:moveTo>
                  <a:pt x="582" y="156"/>
                </a:moveTo>
                <a:cubicBezTo>
                  <a:pt x="582" y="156"/>
                  <a:pt x="580" y="156"/>
                  <a:pt x="580" y="157"/>
                </a:cubicBezTo>
                <a:cubicBezTo>
                  <a:pt x="580" y="157"/>
                  <a:pt x="579" y="157"/>
                  <a:pt x="578" y="157"/>
                </a:cubicBezTo>
                <a:cubicBezTo>
                  <a:pt x="578" y="157"/>
                  <a:pt x="578" y="158"/>
                  <a:pt x="578" y="158"/>
                </a:cubicBezTo>
                <a:cubicBezTo>
                  <a:pt x="579" y="156"/>
                  <a:pt x="581" y="155"/>
                  <a:pt x="582" y="154"/>
                </a:cubicBezTo>
                <a:cubicBezTo>
                  <a:pt x="582" y="155"/>
                  <a:pt x="582" y="156"/>
                  <a:pt x="582" y="156"/>
                </a:cubicBezTo>
                <a:close/>
                <a:moveTo>
                  <a:pt x="580" y="149"/>
                </a:moveTo>
                <a:cubicBezTo>
                  <a:pt x="580" y="149"/>
                  <a:pt x="581" y="149"/>
                  <a:pt x="581" y="150"/>
                </a:cubicBezTo>
                <a:cubicBezTo>
                  <a:pt x="580" y="150"/>
                  <a:pt x="580" y="149"/>
                  <a:pt x="580" y="149"/>
                </a:cubicBezTo>
                <a:close/>
                <a:moveTo>
                  <a:pt x="581" y="148"/>
                </a:moveTo>
                <a:cubicBezTo>
                  <a:pt x="581" y="148"/>
                  <a:pt x="581" y="149"/>
                  <a:pt x="580" y="148"/>
                </a:cubicBezTo>
                <a:cubicBezTo>
                  <a:pt x="581" y="148"/>
                  <a:pt x="581" y="148"/>
                  <a:pt x="581" y="148"/>
                </a:cubicBezTo>
                <a:close/>
                <a:moveTo>
                  <a:pt x="570" y="157"/>
                </a:moveTo>
                <a:cubicBezTo>
                  <a:pt x="569" y="157"/>
                  <a:pt x="568" y="157"/>
                  <a:pt x="568" y="156"/>
                </a:cubicBezTo>
                <a:cubicBezTo>
                  <a:pt x="569" y="156"/>
                  <a:pt x="570" y="156"/>
                  <a:pt x="570" y="157"/>
                </a:cubicBezTo>
                <a:cubicBezTo>
                  <a:pt x="569" y="157"/>
                  <a:pt x="570" y="157"/>
                  <a:pt x="570" y="157"/>
                </a:cubicBezTo>
                <a:close/>
                <a:moveTo>
                  <a:pt x="667" y="9"/>
                </a:moveTo>
                <a:cubicBezTo>
                  <a:pt x="668" y="9"/>
                  <a:pt x="670" y="8"/>
                  <a:pt x="671" y="8"/>
                </a:cubicBezTo>
                <a:cubicBezTo>
                  <a:pt x="672" y="8"/>
                  <a:pt x="673" y="8"/>
                  <a:pt x="673" y="8"/>
                </a:cubicBezTo>
                <a:cubicBezTo>
                  <a:pt x="674" y="7"/>
                  <a:pt x="675" y="7"/>
                  <a:pt x="676" y="7"/>
                </a:cubicBezTo>
                <a:cubicBezTo>
                  <a:pt x="679" y="7"/>
                  <a:pt x="682" y="8"/>
                  <a:pt x="684" y="8"/>
                </a:cubicBezTo>
                <a:cubicBezTo>
                  <a:pt x="686" y="8"/>
                  <a:pt x="687" y="8"/>
                  <a:pt x="688" y="8"/>
                </a:cubicBezTo>
                <a:cubicBezTo>
                  <a:pt x="689" y="8"/>
                  <a:pt x="687" y="8"/>
                  <a:pt x="686" y="8"/>
                </a:cubicBezTo>
                <a:cubicBezTo>
                  <a:pt x="682" y="9"/>
                  <a:pt x="677" y="8"/>
                  <a:pt x="672" y="9"/>
                </a:cubicBezTo>
                <a:cubicBezTo>
                  <a:pt x="672" y="9"/>
                  <a:pt x="672" y="9"/>
                  <a:pt x="672" y="9"/>
                </a:cubicBezTo>
                <a:cubicBezTo>
                  <a:pt x="672" y="10"/>
                  <a:pt x="671" y="10"/>
                  <a:pt x="671" y="10"/>
                </a:cubicBezTo>
                <a:cubicBezTo>
                  <a:pt x="670" y="10"/>
                  <a:pt x="669" y="10"/>
                  <a:pt x="669" y="10"/>
                </a:cubicBezTo>
                <a:cubicBezTo>
                  <a:pt x="669" y="10"/>
                  <a:pt x="669" y="10"/>
                  <a:pt x="669" y="9"/>
                </a:cubicBezTo>
                <a:cubicBezTo>
                  <a:pt x="668" y="9"/>
                  <a:pt x="668" y="9"/>
                  <a:pt x="668" y="9"/>
                </a:cubicBezTo>
                <a:cubicBezTo>
                  <a:pt x="668" y="9"/>
                  <a:pt x="667" y="10"/>
                  <a:pt x="667" y="9"/>
                </a:cubicBezTo>
                <a:cubicBezTo>
                  <a:pt x="669" y="9"/>
                  <a:pt x="667" y="9"/>
                  <a:pt x="667" y="9"/>
                </a:cubicBezTo>
                <a:close/>
                <a:moveTo>
                  <a:pt x="669" y="17"/>
                </a:moveTo>
                <a:cubicBezTo>
                  <a:pt x="670" y="18"/>
                  <a:pt x="670" y="17"/>
                  <a:pt x="670" y="18"/>
                </a:cubicBezTo>
                <a:cubicBezTo>
                  <a:pt x="670" y="18"/>
                  <a:pt x="670" y="18"/>
                  <a:pt x="669" y="17"/>
                </a:cubicBezTo>
                <a:cubicBezTo>
                  <a:pt x="670" y="18"/>
                  <a:pt x="669" y="17"/>
                  <a:pt x="669" y="17"/>
                </a:cubicBezTo>
                <a:close/>
                <a:moveTo>
                  <a:pt x="687" y="33"/>
                </a:moveTo>
                <a:cubicBezTo>
                  <a:pt x="687" y="32"/>
                  <a:pt x="689" y="33"/>
                  <a:pt x="689" y="32"/>
                </a:cubicBezTo>
                <a:cubicBezTo>
                  <a:pt x="689" y="33"/>
                  <a:pt x="690" y="32"/>
                  <a:pt x="690" y="32"/>
                </a:cubicBezTo>
                <a:cubicBezTo>
                  <a:pt x="691" y="32"/>
                  <a:pt x="691" y="32"/>
                  <a:pt x="692" y="32"/>
                </a:cubicBezTo>
                <a:cubicBezTo>
                  <a:pt x="693" y="31"/>
                  <a:pt x="694" y="31"/>
                  <a:pt x="695" y="31"/>
                </a:cubicBezTo>
                <a:cubicBezTo>
                  <a:pt x="695" y="32"/>
                  <a:pt x="694" y="31"/>
                  <a:pt x="693" y="31"/>
                </a:cubicBezTo>
                <a:cubicBezTo>
                  <a:pt x="692" y="32"/>
                  <a:pt x="693" y="32"/>
                  <a:pt x="692" y="32"/>
                </a:cubicBezTo>
                <a:cubicBezTo>
                  <a:pt x="691" y="32"/>
                  <a:pt x="692" y="32"/>
                  <a:pt x="691" y="32"/>
                </a:cubicBezTo>
                <a:cubicBezTo>
                  <a:pt x="691" y="32"/>
                  <a:pt x="691" y="32"/>
                  <a:pt x="691" y="32"/>
                </a:cubicBezTo>
                <a:cubicBezTo>
                  <a:pt x="690" y="32"/>
                  <a:pt x="691" y="33"/>
                  <a:pt x="691" y="33"/>
                </a:cubicBezTo>
                <a:cubicBezTo>
                  <a:pt x="690" y="33"/>
                  <a:pt x="690" y="33"/>
                  <a:pt x="690" y="33"/>
                </a:cubicBezTo>
                <a:cubicBezTo>
                  <a:pt x="689" y="33"/>
                  <a:pt x="689" y="33"/>
                  <a:pt x="689" y="33"/>
                </a:cubicBezTo>
                <a:cubicBezTo>
                  <a:pt x="688" y="33"/>
                  <a:pt x="687" y="34"/>
                  <a:pt x="687" y="34"/>
                </a:cubicBezTo>
                <a:cubicBezTo>
                  <a:pt x="687" y="35"/>
                  <a:pt x="687" y="35"/>
                  <a:pt x="686" y="35"/>
                </a:cubicBezTo>
                <a:cubicBezTo>
                  <a:pt x="686" y="34"/>
                  <a:pt x="686" y="34"/>
                  <a:pt x="687" y="33"/>
                </a:cubicBezTo>
                <a:close/>
                <a:moveTo>
                  <a:pt x="696" y="30"/>
                </a:moveTo>
                <a:cubicBezTo>
                  <a:pt x="696" y="30"/>
                  <a:pt x="697" y="30"/>
                  <a:pt x="697" y="30"/>
                </a:cubicBezTo>
                <a:cubicBezTo>
                  <a:pt x="697" y="30"/>
                  <a:pt x="696" y="30"/>
                  <a:pt x="696" y="31"/>
                </a:cubicBezTo>
                <a:cubicBezTo>
                  <a:pt x="696" y="30"/>
                  <a:pt x="696" y="30"/>
                  <a:pt x="696" y="30"/>
                </a:cubicBezTo>
                <a:close/>
                <a:moveTo>
                  <a:pt x="699" y="29"/>
                </a:moveTo>
                <a:cubicBezTo>
                  <a:pt x="699" y="29"/>
                  <a:pt x="699" y="29"/>
                  <a:pt x="699" y="29"/>
                </a:cubicBezTo>
                <a:cubicBezTo>
                  <a:pt x="699" y="29"/>
                  <a:pt x="699" y="29"/>
                  <a:pt x="699" y="29"/>
                </a:cubicBezTo>
                <a:cubicBezTo>
                  <a:pt x="699" y="29"/>
                  <a:pt x="699" y="29"/>
                  <a:pt x="699" y="29"/>
                </a:cubicBezTo>
                <a:close/>
                <a:moveTo>
                  <a:pt x="713" y="82"/>
                </a:moveTo>
                <a:cubicBezTo>
                  <a:pt x="713" y="82"/>
                  <a:pt x="714" y="82"/>
                  <a:pt x="714" y="82"/>
                </a:cubicBezTo>
                <a:cubicBezTo>
                  <a:pt x="714" y="83"/>
                  <a:pt x="714" y="84"/>
                  <a:pt x="714" y="85"/>
                </a:cubicBezTo>
                <a:cubicBezTo>
                  <a:pt x="712" y="85"/>
                  <a:pt x="713" y="84"/>
                  <a:pt x="713" y="82"/>
                </a:cubicBezTo>
                <a:close/>
                <a:moveTo>
                  <a:pt x="706" y="133"/>
                </a:moveTo>
                <a:cubicBezTo>
                  <a:pt x="706" y="132"/>
                  <a:pt x="707" y="133"/>
                  <a:pt x="708" y="133"/>
                </a:cubicBezTo>
                <a:cubicBezTo>
                  <a:pt x="708" y="133"/>
                  <a:pt x="708" y="132"/>
                  <a:pt x="709" y="132"/>
                </a:cubicBezTo>
                <a:cubicBezTo>
                  <a:pt x="709" y="132"/>
                  <a:pt x="709" y="132"/>
                  <a:pt x="709" y="131"/>
                </a:cubicBezTo>
                <a:cubicBezTo>
                  <a:pt x="709" y="131"/>
                  <a:pt x="708" y="131"/>
                  <a:pt x="708" y="131"/>
                </a:cubicBezTo>
                <a:cubicBezTo>
                  <a:pt x="709" y="130"/>
                  <a:pt x="709" y="130"/>
                  <a:pt x="710" y="131"/>
                </a:cubicBezTo>
                <a:cubicBezTo>
                  <a:pt x="711" y="130"/>
                  <a:pt x="711" y="130"/>
                  <a:pt x="710" y="129"/>
                </a:cubicBezTo>
                <a:cubicBezTo>
                  <a:pt x="711" y="128"/>
                  <a:pt x="712" y="127"/>
                  <a:pt x="714" y="127"/>
                </a:cubicBezTo>
                <a:cubicBezTo>
                  <a:pt x="715" y="126"/>
                  <a:pt x="715" y="126"/>
                  <a:pt x="714" y="125"/>
                </a:cubicBezTo>
                <a:cubicBezTo>
                  <a:pt x="713" y="125"/>
                  <a:pt x="712" y="126"/>
                  <a:pt x="710" y="126"/>
                </a:cubicBezTo>
                <a:cubicBezTo>
                  <a:pt x="710" y="125"/>
                  <a:pt x="709" y="125"/>
                  <a:pt x="709" y="125"/>
                </a:cubicBezTo>
                <a:cubicBezTo>
                  <a:pt x="708" y="125"/>
                  <a:pt x="708" y="125"/>
                  <a:pt x="708" y="125"/>
                </a:cubicBezTo>
                <a:cubicBezTo>
                  <a:pt x="707" y="125"/>
                  <a:pt x="707" y="125"/>
                  <a:pt x="707" y="125"/>
                </a:cubicBezTo>
                <a:cubicBezTo>
                  <a:pt x="706" y="124"/>
                  <a:pt x="707" y="125"/>
                  <a:pt x="706" y="124"/>
                </a:cubicBezTo>
                <a:cubicBezTo>
                  <a:pt x="705" y="124"/>
                  <a:pt x="706" y="124"/>
                  <a:pt x="705" y="124"/>
                </a:cubicBezTo>
                <a:cubicBezTo>
                  <a:pt x="705" y="124"/>
                  <a:pt x="705" y="124"/>
                  <a:pt x="705" y="124"/>
                </a:cubicBezTo>
                <a:cubicBezTo>
                  <a:pt x="704" y="124"/>
                  <a:pt x="703" y="124"/>
                  <a:pt x="703" y="124"/>
                </a:cubicBezTo>
                <a:cubicBezTo>
                  <a:pt x="703" y="123"/>
                  <a:pt x="703" y="123"/>
                  <a:pt x="702" y="123"/>
                </a:cubicBezTo>
                <a:cubicBezTo>
                  <a:pt x="702" y="124"/>
                  <a:pt x="702" y="124"/>
                  <a:pt x="702" y="124"/>
                </a:cubicBezTo>
                <a:cubicBezTo>
                  <a:pt x="701" y="124"/>
                  <a:pt x="701" y="124"/>
                  <a:pt x="700" y="124"/>
                </a:cubicBezTo>
                <a:cubicBezTo>
                  <a:pt x="699" y="124"/>
                  <a:pt x="699" y="125"/>
                  <a:pt x="698" y="125"/>
                </a:cubicBezTo>
                <a:cubicBezTo>
                  <a:pt x="698" y="125"/>
                  <a:pt x="699" y="125"/>
                  <a:pt x="698" y="125"/>
                </a:cubicBezTo>
                <a:cubicBezTo>
                  <a:pt x="697" y="125"/>
                  <a:pt x="696" y="125"/>
                  <a:pt x="695" y="125"/>
                </a:cubicBezTo>
                <a:cubicBezTo>
                  <a:pt x="695" y="125"/>
                  <a:pt x="692" y="125"/>
                  <a:pt x="692" y="125"/>
                </a:cubicBezTo>
                <a:cubicBezTo>
                  <a:pt x="692" y="125"/>
                  <a:pt x="694" y="124"/>
                  <a:pt x="694" y="124"/>
                </a:cubicBezTo>
                <a:cubicBezTo>
                  <a:pt x="694" y="124"/>
                  <a:pt x="694" y="122"/>
                  <a:pt x="694" y="122"/>
                </a:cubicBezTo>
                <a:cubicBezTo>
                  <a:pt x="692" y="122"/>
                  <a:pt x="692" y="123"/>
                  <a:pt x="691" y="123"/>
                </a:cubicBezTo>
                <a:cubicBezTo>
                  <a:pt x="690" y="123"/>
                  <a:pt x="689" y="123"/>
                  <a:pt x="688" y="123"/>
                </a:cubicBezTo>
                <a:cubicBezTo>
                  <a:pt x="687" y="123"/>
                  <a:pt x="687" y="123"/>
                  <a:pt x="686" y="123"/>
                </a:cubicBezTo>
                <a:cubicBezTo>
                  <a:pt x="685" y="123"/>
                  <a:pt x="684" y="123"/>
                  <a:pt x="684" y="123"/>
                </a:cubicBezTo>
                <a:cubicBezTo>
                  <a:pt x="684" y="122"/>
                  <a:pt x="684" y="122"/>
                  <a:pt x="683" y="122"/>
                </a:cubicBezTo>
                <a:cubicBezTo>
                  <a:pt x="684" y="121"/>
                  <a:pt x="683" y="120"/>
                  <a:pt x="684" y="120"/>
                </a:cubicBezTo>
                <a:cubicBezTo>
                  <a:pt x="685" y="120"/>
                  <a:pt x="685" y="119"/>
                  <a:pt x="685" y="119"/>
                </a:cubicBezTo>
                <a:cubicBezTo>
                  <a:pt x="686" y="119"/>
                  <a:pt x="687" y="119"/>
                  <a:pt x="687" y="118"/>
                </a:cubicBezTo>
                <a:cubicBezTo>
                  <a:pt x="688" y="118"/>
                  <a:pt x="688" y="118"/>
                  <a:pt x="689" y="118"/>
                </a:cubicBezTo>
                <a:cubicBezTo>
                  <a:pt x="691" y="118"/>
                  <a:pt x="692" y="118"/>
                  <a:pt x="693" y="118"/>
                </a:cubicBezTo>
                <a:cubicBezTo>
                  <a:pt x="693" y="118"/>
                  <a:pt x="694" y="119"/>
                  <a:pt x="694" y="119"/>
                </a:cubicBezTo>
                <a:cubicBezTo>
                  <a:pt x="694" y="119"/>
                  <a:pt x="694" y="118"/>
                  <a:pt x="695" y="118"/>
                </a:cubicBezTo>
                <a:cubicBezTo>
                  <a:pt x="696" y="118"/>
                  <a:pt x="695" y="118"/>
                  <a:pt x="696" y="118"/>
                </a:cubicBezTo>
                <a:cubicBezTo>
                  <a:pt x="697" y="117"/>
                  <a:pt x="698" y="118"/>
                  <a:pt x="699" y="118"/>
                </a:cubicBezTo>
                <a:cubicBezTo>
                  <a:pt x="699" y="117"/>
                  <a:pt x="699" y="116"/>
                  <a:pt x="698" y="116"/>
                </a:cubicBezTo>
                <a:cubicBezTo>
                  <a:pt x="697" y="116"/>
                  <a:pt x="697" y="115"/>
                  <a:pt x="696" y="115"/>
                </a:cubicBezTo>
                <a:cubicBezTo>
                  <a:pt x="695" y="115"/>
                  <a:pt x="695" y="115"/>
                  <a:pt x="695" y="114"/>
                </a:cubicBezTo>
                <a:cubicBezTo>
                  <a:pt x="695" y="114"/>
                  <a:pt x="694" y="114"/>
                  <a:pt x="694" y="114"/>
                </a:cubicBezTo>
                <a:cubicBezTo>
                  <a:pt x="693" y="114"/>
                  <a:pt x="694" y="114"/>
                  <a:pt x="694" y="114"/>
                </a:cubicBezTo>
                <a:cubicBezTo>
                  <a:pt x="692" y="115"/>
                  <a:pt x="691" y="114"/>
                  <a:pt x="690" y="114"/>
                </a:cubicBezTo>
                <a:cubicBezTo>
                  <a:pt x="689" y="114"/>
                  <a:pt x="688" y="114"/>
                  <a:pt x="687" y="114"/>
                </a:cubicBezTo>
                <a:cubicBezTo>
                  <a:pt x="687" y="114"/>
                  <a:pt x="687" y="115"/>
                  <a:pt x="687" y="115"/>
                </a:cubicBezTo>
                <a:cubicBezTo>
                  <a:pt x="686" y="115"/>
                  <a:pt x="687" y="115"/>
                  <a:pt x="686" y="115"/>
                </a:cubicBezTo>
                <a:cubicBezTo>
                  <a:pt x="686" y="115"/>
                  <a:pt x="685" y="115"/>
                  <a:pt x="685" y="115"/>
                </a:cubicBezTo>
                <a:cubicBezTo>
                  <a:pt x="684" y="115"/>
                  <a:pt x="685" y="115"/>
                  <a:pt x="684" y="115"/>
                </a:cubicBezTo>
                <a:cubicBezTo>
                  <a:pt x="684" y="114"/>
                  <a:pt x="684" y="115"/>
                  <a:pt x="684" y="114"/>
                </a:cubicBezTo>
                <a:cubicBezTo>
                  <a:pt x="684" y="114"/>
                  <a:pt x="684" y="114"/>
                  <a:pt x="685" y="114"/>
                </a:cubicBezTo>
                <a:cubicBezTo>
                  <a:pt x="685" y="114"/>
                  <a:pt x="686" y="114"/>
                  <a:pt x="686" y="114"/>
                </a:cubicBezTo>
                <a:cubicBezTo>
                  <a:pt x="686" y="114"/>
                  <a:pt x="687" y="113"/>
                  <a:pt x="686" y="113"/>
                </a:cubicBezTo>
                <a:cubicBezTo>
                  <a:pt x="687" y="113"/>
                  <a:pt x="685" y="112"/>
                  <a:pt x="685" y="112"/>
                </a:cubicBezTo>
                <a:cubicBezTo>
                  <a:pt x="685" y="111"/>
                  <a:pt x="685" y="111"/>
                  <a:pt x="686" y="111"/>
                </a:cubicBezTo>
                <a:cubicBezTo>
                  <a:pt x="687" y="111"/>
                  <a:pt x="688" y="112"/>
                  <a:pt x="688" y="113"/>
                </a:cubicBezTo>
                <a:cubicBezTo>
                  <a:pt x="689" y="113"/>
                  <a:pt x="690" y="113"/>
                  <a:pt x="690" y="112"/>
                </a:cubicBezTo>
                <a:cubicBezTo>
                  <a:pt x="691" y="112"/>
                  <a:pt x="694" y="112"/>
                  <a:pt x="694" y="113"/>
                </a:cubicBezTo>
                <a:cubicBezTo>
                  <a:pt x="694" y="113"/>
                  <a:pt x="695" y="113"/>
                  <a:pt x="695" y="113"/>
                </a:cubicBezTo>
                <a:cubicBezTo>
                  <a:pt x="696" y="113"/>
                  <a:pt x="696" y="113"/>
                  <a:pt x="697" y="113"/>
                </a:cubicBezTo>
                <a:cubicBezTo>
                  <a:pt x="697" y="113"/>
                  <a:pt x="697" y="113"/>
                  <a:pt x="698" y="114"/>
                </a:cubicBezTo>
                <a:cubicBezTo>
                  <a:pt x="698" y="115"/>
                  <a:pt x="699" y="115"/>
                  <a:pt x="700" y="115"/>
                </a:cubicBezTo>
                <a:cubicBezTo>
                  <a:pt x="701" y="115"/>
                  <a:pt x="702" y="115"/>
                  <a:pt x="702" y="115"/>
                </a:cubicBezTo>
                <a:cubicBezTo>
                  <a:pt x="703" y="116"/>
                  <a:pt x="703" y="117"/>
                  <a:pt x="703" y="117"/>
                </a:cubicBezTo>
                <a:cubicBezTo>
                  <a:pt x="704" y="118"/>
                  <a:pt x="704" y="118"/>
                  <a:pt x="705" y="118"/>
                </a:cubicBezTo>
                <a:cubicBezTo>
                  <a:pt x="705" y="120"/>
                  <a:pt x="705" y="120"/>
                  <a:pt x="706" y="121"/>
                </a:cubicBezTo>
                <a:cubicBezTo>
                  <a:pt x="707" y="121"/>
                  <a:pt x="707" y="121"/>
                  <a:pt x="707" y="122"/>
                </a:cubicBezTo>
                <a:cubicBezTo>
                  <a:pt x="708" y="123"/>
                  <a:pt x="708" y="123"/>
                  <a:pt x="709" y="123"/>
                </a:cubicBezTo>
                <a:cubicBezTo>
                  <a:pt x="710" y="123"/>
                  <a:pt x="710" y="124"/>
                  <a:pt x="712" y="124"/>
                </a:cubicBezTo>
                <a:cubicBezTo>
                  <a:pt x="712" y="124"/>
                  <a:pt x="712" y="124"/>
                  <a:pt x="712" y="123"/>
                </a:cubicBezTo>
                <a:cubicBezTo>
                  <a:pt x="713" y="124"/>
                  <a:pt x="715" y="123"/>
                  <a:pt x="715" y="124"/>
                </a:cubicBezTo>
                <a:cubicBezTo>
                  <a:pt x="715" y="125"/>
                  <a:pt x="716" y="124"/>
                  <a:pt x="716" y="124"/>
                </a:cubicBezTo>
                <a:cubicBezTo>
                  <a:pt x="717" y="125"/>
                  <a:pt x="716" y="125"/>
                  <a:pt x="717" y="124"/>
                </a:cubicBezTo>
                <a:cubicBezTo>
                  <a:pt x="717" y="124"/>
                  <a:pt x="718" y="123"/>
                  <a:pt x="717" y="123"/>
                </a:cubicBezTo>
                <a:cubicBezTo>
                  <a:pt x="717" y="122"/>
                  <a:pt x="716" y="123"/>
                  <a:pt x="716" y="123"/>
                </a:cubicBezTo>
                <a:cubicBezTo>
                  <a:pt x="716" y="123"/>
                  <a:pt x="716" y="122"/>
                  <a:pt x="716" y="122"/>
                </a:cubicBezTo>
                <a:cubicBezTo>
                  <a:pt x="717" y="122"/>
                  <a:pt x="717" y="122"/>
                  <a:pt x="717" y="121"/>
                </a:cubicBezTo>
                <a:cubicBezTo>
                  <a:pt x="717" y="121"/>
                  <a:pt x="717" y="119"/>
                  <a:pt x="717" y="118"/>
                </a:cubicBezTo>
                <a:cubicBezTo>
                  <a:pt x="716" y="119"/>
                  <a:pt x="717" y="118"/>
                  <a:pt x="716" y="117"/>
                </a:cubicBezTo>
                <a:cubicBezTo>
                  <a:pt x="716" y="117"/>
                  <a:pt x="716" y="117"/>
                  <a:pt x="716" y="117"/>
                </a:cubicBezTo>
                <a:cubicBezTo>
                  <a:pt x="715" y="117"/>
                  <a:pt x="715" y="116"/>
                  <a:pt x="715" y="115"/>
                </a:cubicBezTo>
                <a:cubicBezTo>
                  <a:pt x="715" y="114"/>
                  <a:pt x="715" y="115"/>
                  <a:pt x="714" y="115"/>
                </a:cubicBezTo>
                <a:cubicBezTo>
                  <a:pt x="714" y="115"/>
                  <a:pt x="714" y="114"/>
                  <a:pt x="714" y="115"/>
                </a:cubicBezTo>
                <a:cubicBezTo>
                  <a:pt x="714" y="115"/>
                  <a:pt x="713" y="116"/>
                  <a:pt x="713" y="116"/>
                </a:cubicBezTo>
                <a:cubicBezTo>
                  <a:pt x="713" y="115"/>
                  <a:pt x="713" y="114"/>
                  <a:pt x="713" y="113"/>
                </a:cubicBezTo>
                <a:cubicBezTo>
                  <a:pt x="713" y="113"/>
                  <a:pt x="712" y="113"/>
                  <a:pt x="712" y="114"/>
                </a:cubicBezTo>
                <a:cubicBezTo>
                  <a:pt x="712" y="113"/>
                  <a:pt x="712" y="112"/>
                  <a:pt x="711" y="112"/>
                </a:cubicBezTo>
                <a:cubicBezTo>
                  <a:pt x="711" y="111"/>
                  <a:pt x="711" y="112"/>
                  <a:pt x="710" y="112"/>
                </a:cubicBezTo>
                <a:cubicBezTo>
                  <a:pt x="710" y="110"/>
                  <a:pt x="709" y="110"/>
                  <a:pt x="708" y="110"/>
                </a:cubicBezTo>
                <a:cubicBezTo>
                  <a:pt x="707" y="110"/>
                  <a:pt x="707" y="109"/>
                  <a:pt x="705" y="108"/>
                </a:cubicBezTo>
                <a:cubicBezTo>
                  <a:pt x="705" y="108"/>
                  <a:pt x="703" y="108"/>
                  <a:pt x="703" y="108"/>
                </a:cubicBezTo>
                <a:cubicBezTo>
                  <a:pt x="702" y="108"/>
                  <a:pt x="702" y="108"/>
                  <a:pt x="701" y="108"/>
                </a:cubicBezTo>
                <a:cubicBezTo>
                  <a:pt x="701" y="109"/>
                  <a:pt x="701" y="108"/>
                  <a:pt x="700" y="108"/>
                </a:cubicBezTo>
                <a:cubicBezTo>
                  <a:pt x="699" y="108"/>
                  <a:pt x="700" y="108"/>
                  <a:pt x="701" y="108"/>
                </a:cubicBezTo>
                <a:cubicBezTo>
                  <a:pt x="702" y="107"/>
                  <a:pt x="703" y="107"/>
                  <a:pt x="702" y="106"/>
                </a:cubicBezTo>
                <a:cubicBezTo>
                  <a:pt x="702" y="105"/>
                  <a:pt x="702" y="105"/>
                  <a:pt x="701" y="105"/>
                </a:cubicBezTo>
                <a:cubicBezTo>
                  <a:pt x="701" y="105"/>
                  <a:pt x="700" y="105"/>
                  <a:pt x="700" y="105"/>
                </a:cubicBezTo>
                <a:cubicBezTo>
                  <a:pt x="699" y="105"/>
                  <a:pt x="699" y="106"/>
                  <a:pt x="698" y="106"/>
                </a:cubicBezTo>
                <a:cubicBezTo>
                  <a:pt x="697" y="106"/>
                  <a:pt x="697" y="106"/>
                  <a:pt x="697" y="106"/>
                </a:cubicBezTo>
                <a:cubicBezTo>
                  <a:pt x="696" y="106"/>
                  <a:pt x="696" y="107"/>
                  <a:pt x="695" y="107"/>
                </a:cubicBezTo>
                <a:cubicBezTo>
                  <a:pt x="695" y="106"/>
                  <a:pt x="694" y="107"/>
                  <a:pt x="694" y="106"/>
                </a:cubicBezTo>
                <a:cubicBezTo>
                  <a:pt x="694" y="106"/>
                  <a:pt x="695" y="106"/>
                  <a:pt x="693" y="105"/>
                </a:cubicBezTo>
                <a:cubicBezTo>
                  <a:pt x="693" y="105"/>
                  <a:pt x="692" y="105"/>
                  <a:pt x="692" y="105"/>
                </a:cubicBezTo>
                <a:cubicBezTo>
                  <a:pt x="692" y="104"/>
                  <a:pt x="692" y="104"/>
                  <a:pt x="691" y="104"/>
                </a:cubicBezTo>
                <a:cubicBezTo>
                  <a:pt x="691" y="103"/>
                  <a:pt x="691" y="103"/>
                  <a:pt x="691" y="103"/>
                </a:cubicBezTo>
                <a:cubicBezTo>
                  <a:pt x="691" y="102"/>
                  <a:pt x="690" y="103"/>
                  <a:pt x="690" y="102"/>
                </a:cubicBezTo>
                <a:cubicBezTo>
                  <a:pt x="690" y="102"/>
                  <a:pt x="693" y="102"/>
                  <a:pt x="693" y="102"/>
                </a:cubicBezTo>
                <a:cubicBezTo>
                  <a:pt x="693" y="101"/>
                  <a:pt x="693" y="101"/>
                  <a:pt x="692" y="101"/>
                </a:cubicBezTo>
                <a:cubicBezTo>
                  <a:pt x="692" y="100"/>
                  <a:pt x="693" y="100"/>
                  <a:pt x="694" y="100"/>
                </a:cubicBezTo>
                <a:cubicBezTo>
                  <a:pt x="694" y="100"/>
                  <a:pt x="697" y="101"/>
                  <a:pt x="697" y="100"/>
                </a:cubicBezTo>
                <a:cubicBezTo>
                  <a:pt x="696" y="100"/>
                  <a:pt x="697" y="100"/>
                  <a:pt x="697" y="100"/>
                </a:cubicBezTo>
                <a:cubicBezTo>
                  <a:pt x="698" y="100"/>
                  <a:pt x="698" y="100"/>
                  <a:pt x="698" y="99"/>
                </a:cubicBezTo>
                <a:cubicBezTo>
                  <a:pt x="699" y="99"/>
                  <a:pt x="700" y="99"/>
                  <a:pt x="700" y="99"/>
                </a:cubicBezTo>
                <a:cubicBezTo>
                  <a:pt x="700" y="99"/>
                  <a:pt x="700" y="98"/>
                  <a:pt x="700" y="98"/>
                </a:cubicBezTo>
                <a:cubicBezTo>
                  <a:pt x="700" y="98"/>
                  <a:pt x="700" y="98"/>
                  <a:pt x="700" y="98"/>
                </a:cubicBezTo>
                <a:cubicBezTo>
                  <a:pt x="701" y="97"/>
                  <a:pt x="701" y="98"/>
                  <a:pt x="702" y="98"/>
                </a:cubicBezTo>
                <a:cubicBezTo>
                  <a:pt x="703" y="98"/>
                  <a:pt x="703" y="98"/>
                  <a:pt x="703" y="97"/>
                </a:cubicBezTo>
                <a:cubicBezTo>
                  <a:pt x="703" y="95"/>
                  <a:pt x="703" y="95"/>
                  <a:pt x="705" y="95"/>
                </a:cubicBezTo>
                <a:cubicBezTo>
                  <a:pt x="704" y="96"/>
                  <a:pt x="705" y="97"/>
                  <a:pt x="704" y="97"/>
                </a:cubicBezTo>
                <a:cubicBezTo>
                  <a:pt x="704" y="98"/>
                  <a:pt x="704" y="98"/>
                  <a:pt x="705" y="98"/>
                </a:cubicBezTo>
                <a:cubicBezTo>
                  <a:pt x="706" y="98"/>
                  <a:pt x="705" y="98"/>
                  <a:pt x="706" y="98"/>
                </a:cubicBezTo>
                <a:cubicBezTo>
                  <a:pt x="707" y="98"/>
                  <a:pt x="707" y="98"/>
                  <a:pt x="708" y="98"/>
                </a:cubicBezTo>
                <a:cubicBezTo>
                  <a:pt x="708" y="98"/>
                  <a:pt x="708" y="99"/>
                  <a:pt x="709" y="99"/>
                </a:cubicBezTo>
                <a:cubicBezTo>
                  <a:pt x="709" y="99"/>
                  <a:pt x="709" y="99"/>
                  <a:pt x="709" y="99"/>
                </a:cubicBezTo>
                <a:cubicBezTo>
                  <a:pt x="710" y="99"/>
                  <a:pt x="711" y="99"/>
                  <a:pt x="711" y="99"/>
                </a:cubicBezTo>
                <a:cubicBezTo>
                  <a:pt x="712" y="99"/>
                  <a:pt x="711" y="99"/>
                  <a:pt x="712" y="99"/>
                </a:cubicBezTo>
                <a:cubicBezTo>
                  <a:pt x="712" y="99"/>
                  <a:pt x="712" y="100"/>
                  <a:pt x="713" y="100"/>
                </a:cubicBezTo>
                <a:cubicBezTo>
                  <a:pt x="713" y="99"/>
                  <a:pt x="714" y="100"/>
                  <a:pt x="715" y="100"/>
                </a:cubicBezTo>
                <a:cubicBezTo>
                  <a:pt x="716" y="99"/>
                  <a:pt x="715" y="99"/>
                  <a:pt x="716" y="99"/>
                </a:cubicBezTo>
                <a:cubicBezTo>
                  <a:pt x="717" y="99"/>
                  <a:pt x="717" y="99"/>
                  <a:pt x="717" y="98"/>
                </a:cubicBezTo>
                <a:cubicBezTo>
                  <a:pt x="718" y="98"/>
                  <a:pt x="718" y="99"/>
                  <a:pt x="718" y="98"/>
                </a:cubicBezTo>
                <a:cubicBezTo>
                  <a:pt x="718" y="97"/>
                  <a:pt x="721" y="97"/>
                  <a:pt x="721" y="97"/>
                </a:cubicBezTo>
                <a:cubicBezTo>
                  <a:pt x="722" y="97"/>
                  <a:pt x="722" y="97"/>
                  <a:pt x="722" y="97"/>
                </a:cubicBezTo>
                <a:cubicBezTo>
                  <a:pt x="722" y="96"/>
                  <a:pt x="722" y="96"/>
                  <a:pt x="721" y="96"/>
                </a:cubicBezTo>
                <a:cubicBezTo>
                  <a:pt x="721" y="95"/>
                  <a:pt x="721" y="94"/>
                  <a:pt x="722" y="94"/>
                </a:cubicBezTo>
                <a:cubicBezTo>
                  <a:pt x="721" y="94"/>
                  <a:pt x="720" y="94"/>
                  <a:pt x="720" y="94"/>
                </a:cubicBezTo>
                <a:cubicBezTo>
                  <a:pt x="719" y="94"/>
                  <a:pt x="719" y="93"/>
                  <a:pt x="718" y="93"/>
                </a:cubicBezTo>
                <a:cubicBezTo>
                  <a:pt x="716" y="92"/>
                  <a:pt x="716" y="95"/>
                  <a:pt x="716" y="95"/>
                </a:cubicBezTo>
                <a:cubicBezTo>
                  <a:pt x="715" y="95"/>
                  <a:pt x="715" y="93"/>
                  <a:pt x="715" y="93"/>
                </a:cubicBezTo>
                <a:cubicBezTo>
                  <a:pt x="714" y="93"/>
                  <a:pt x="714" y="93"/>
                  <a:pt x="713" y="93"/>
                </a:cubicBezTo>
                <a:cubicBezTo>
                  <a:pt x="713" y="92"/>
                  <a:pt x="714" y="89"/>
                  <a:pt x="714" y="88"/>
                </a:cubicBezTo>
                <a:cubicBezTo>
                  <a:pt x="715" y="88"/>
                  <a:pt x="716" y="89"/>
                  <a:pt x="717" y="89"/>
                </a:cubicBezTo>
                <a:cubicBezTo>
                  <a:pt x="717" y="89"/>
                  <a:pt x="717" y="89"/>
                  <a:pt x="717" y="89"/>
                </a:cubicBezTo>
                <a:cubicBezTo>
                  <a:pt x="717" y="89"/>
                  <a:pt x="718" y="90"/>
                  <a:pt x="719" y="90"/>
                </a:cubicBezTo>
                <a:cubicBezTo>
                  <a:pt x="720" y="90"/>
                  <a:pt x="721" y="90"/>
                  <a:pt x="722" y="90"/>
                </a:cubicBezTo>
                <a:cubicBezTo>
                  <a:pt x="724" y="90"/>
                  <a:pt x="723" y="90"/>
                  <a:pt x="724" y="90"/>
                </a:cubicBezTo>
                <a:cubicBezTo>
                  <a:pt x="724" y="90"/>
                  <a:pt x="725" y="92"/>
                  <a:pt x="726" y="92"/>
                </a:cubicBezTo>
                <a:cubicBezTo>
                  <a:pt x="727" y="92"/>
                  <a:pt x="727" y="91"/>
                  <a:pt x="728" y="91"/>
                </a:cubicBezTo>
                <a:cubicBezTo>
                  <a:pt x="729" y="90"/>
                  <a:pt x="729" y="90"/>
                  <a:pt x="728" y="89"/>
                </a:cubicBezTo>
                <a:cubicBezTo>
                  <a:pt x="728" y="88"/>
                  <a:pt x="727" y="88"/>
                  <a:pt x="726" y="88"/>
                </a:cubicBezTo>
                <a:cubicBezTo>
                  <a:pt x="726" y="89"/>
                  <a:pt x="725" y="89"/>
                  <a:pt x="725" y="89"/>
                </a:cubicBezTo>
                <a:cubicBezTo>
                  <a:pt x="725" y="89"/>
                  <a:pt x="725" y="89"/>
                  <a:pt x="724" y="89"/>
                </a:cubicBezTo>
                <a:cubicBezTo>
                  <a:pt x="723" y="89"/>
                  <a:pt x="722" y="89"/>
                  <a:pt x="720" y="89"/>
                </a:cubicBezTo>
                <a:cubicBezTo>
                  <a:pt x="721" y="88"/>
                  <a:pt x="721" y="88"/>
                  <a:pt x="721" y="87"/>
                </a:cubicBezTo>
                <a:cubicBezTo>
                  <a:pt x="721" y="86"/>
                  <a:pt x="720" y="85"/>
                  <a:pt x="719" y="86"/>
                </a:cubicBezTo>
                <a:cubicBezTo>
                  <a:pt x="719" y="86"/>
                  <a:pt x="719" y="87"/>
                  <a:pt x="719" y="87"/>
                </a:cubicBezTo>
                <a:cubicBezTo>
                  <a:pt x="719" y="87"/>
                  <a:pt x="718" y="87"/>
                  <a:pt x="717" y="87"/>
                </a:cubicBezTo>
                <a:cubicBezTo>
                  <a:pt x="717" y="87"/>
                  <a:pt x="716" y="87"/>
                  <a:pt x="716" y="86"/>
                </a:cubicBezTo>
                <a:cubicBezTo>
                  <a:pt x="717" y="86"/>
                  <a:pt x="717" y="87"/>
                  <a:pt x="718" y="87"/>
                </a:cubicBezTo>
                <a:cubicBezTo>
                  <a:pt x="718" y="87"/>
                  <a:pt x="719" y="86"/>
                  <a:pt x="719" y="86"/>
                </a:cubicBezTo>
                <a:cubicBezTo>
                  <a:pt x="720" y="85"/>
                  <a:pt x="721" y="85"/>
                  <a:pt x="720" y="84"/>
                </a:cubicBezTo>
                <a:cubicBezTo>
                  <a:pt x="719" y="83"/>
                  <a:pt x="719" y="82"/>
                  <a:pt x="718" y="82"/>
                </a:cubicBezTo>
                <a:cubicBezTo>
                  <a:pt x="717" y="82"/>
                  <a:pt x="716" y="82"/>
                  <a:pt x="715" y="82"/>
                </a:cubicBezTo>
                <a:cubicBezTo>
                  <a:pt x="715" y="81"/>
                  <a:pt x="715" y="81"/>
                  <a:pt x="716" y="81"/>
                </a:cubicBezTo>
                <a:cubicBezTo>
                  <a:pt x="716" y="81"/>
                  <a:pt x="717" y="81"/>
                  <a:pt x="717" y="81"/>
                </a:cubicBezTo>
                <a:cubicBezTo>
                  <a:pt x="717" y="81"/>
                  <a:pt x="717" y="81"/>
                  <a:pt x="717" y="81"/>
                </a:cubicBezTo>
                <a:cubicBezTo>
                  <a:pt x="718" y="82"/>
                  <a:pt x="718" y="81"/>
                  <a:pt x="718" y="81"/>
                </a:cubicBezTo>
                <a:cubicBezTo>
                  <a:pt x="718" y="82"/>
                  <a:pt x="718" y="82"/>
                  <a:pt x="718" y="82"/>
                </a:cubicBezTo>
                <a:cubicBezTo>
                  <a:pt x="719" y="82"/>
                  <a:pt x="719" y="82"/>
                  <a:pt x="720" y="82"/>
                </a:cubicBezTo>
                <a:cubicBezTo>
                  <a:pt x="721" y="82"/>
                  <a:pt x="722" y="81"/>
                  <a:pt x="722" y="81"/>
                </a:cubicBezTo>
                <a:cubicBezTo>
                  <a:pt x="723" y="82"/>
                  <a:pt x="723" y="83"/>
                  <a:pt x="724" y="83"/>
                </a:cubicBezTo>
                <a:cubicBezTo>
                  <a:pt x="724" y="83"/>
                  <a:pt x="725" y="83"/>
                  <a:pt x="725" y="82"/>
                </a:cubicBezTo>
                <a:cubicBezTo>
                  <a:pt x="725" y="81"/>
                  <a:pt x="725" y="80"/>
                  <a:pt x="725" y="79"/>
                </a:cubicBezTo>
                <a:cubicBezTo>
                  <a:pt x="725" y="78"/>
                  <a:pt x="725" y="77"/>
                  <a:pt x="724" y="76"/>
                </a:cubicBezTo>
                <a:cubicBezTo>
                  <a:pt x="724" y="75"/>
                  <a:pt x="724" y="75"/>
                  <a:pt x="723" y="75"/>
                </a:cubicBezTo>
                <a:cubicBezTo>
                  <a:pt x="723" y="74"/>
                  <a:pt x="724" y="74"/>
                  <a:pt x="723" y="73"/>
                </a:cubicBezTo>
                <a:cubicBezTo>
                  <a:pt x="723" y="72"/>
                  <a:pt x="722" y="73"/>
                  <a:pt x="722" y="73"/>
                </a:cubicBezTo>
                <a:cubicBezTo>
                  <a:pt x="721" y="72"/>
                  <a:pt x="721" y="72"/>
                  <a:pt x="720" y="72"/>
                </a:cubicBezTo>
                <a:cubicBezTo>
                  <a:pt x="720" y="73"/>
                  <a:pt x="719" y="74"/>
                  <a:pt x="718" y="74"/>
                </a:cubicBezTo>
                <a:cubicBezTo>
                  <a:pt x="718" y="74"/>
                  <a:pt x="718" y="73"/>
                  <a:pt x="718" y="73"/>
                </a:cubicBezTo>
                <a:cubicBezTo>
                  <a:pt x="717" y="73"/>
                  <a:pt x="717" y="73"/>
                  <a:pt x="716" y="73"/>
                </a:cubicBezTo>
                <a:cubicBezTo>
                  <a:pt x="716" y="72"/>
                  <a:pt x="716" y="72"/>
                  <a:pt x="717" y="72"/>
                </a:cubicBezTo>
                <a:cubicBezTo>
                  <a:pt x="717" y="72"/>
                  <a:pt x="717" y="72"/>
                  <a:pt x="718" y="72"/>
                </a:cubicBezTo>
                <a:cubicBezTo>
                  <a:pt x="718" y="72"/>
                  <a:pt x="718" y="71"/>
                  <a:pt x="719" y="71"/>
                </a:cubicBezTo>
                <a:cubicBezTo>
                  <a:pt x="720" y="70"/>
                  <a:pt x="720" y="70"/>
                  <a:pt x="719" y="69"/>
                </a:cubicBezTo>
                <a:cubicBezTo>
                  <a:pt x="718" y="69"/>
                  <a:pt x="721" y="68"/>
                  <a:pt x="718" y="68"/>
                </a:cubicBezTo>
                <a:cubicBezTo>
                  <a:pt x="719" y="67"/>
                  <a:pt x="719" y="67"/>
                  <a:pt x="720" y="67"/>
                </a:cubicBezTo>
                <a:cubicBezTo>
                  <a:pt x="721" y="67"/>
                  <a:pt x="722" y="67"/>
                  <a:pt x="722" y="68"/>
                </a:cubicBezTo>
                <a:cubicBezTo>
                  <a:pt x="724" y="68"/>
                  <a:pt x="726" y="68"/>
                  <a:pt x="727" y="68"/>
                </a:cubicBezTo>
                <a:cubicBezTo>
                  <a:pt x="728" y="69"/>
                  <a:pt x="728" y="69"/>
                  <a:pt x="730" y="69"/>
                </a:cubicBezTo>
                <a:cubicBezTo>
                  <a:pt x="731" y="69"/>
                  <a:pt x="731" y="69"/>
                  <a:pt x="732" y="69"/>
                </a:cubicBezTo>
                <a:cubicBezTo>
                  <a:pt x="732" y="68"/>
                  <a:pt x="731" y="68"/>
                  <a:pt x="731" y="67"/>
                </a:cubicBezTo>
                <a:cubicBezTo>
                  <a:pt x="731" y="67"/>
                  <a:pt x="732" y="67"/>
                  <a:pt x="732" y="67"/>
                </a:cubicBezTo>
                <a:cubicBezTo>
                  <a:pt x="732" y="67"/>
                  <a:pt x="731" y="66"/>
                  <a:pt x="731" y="66"/>
                </a:cubicBezTo>
                <a:cubicBezTo>
                  <a:pt x="731" y="66"/>
                  <a:pt x="730" y="65"/>
                  <a:pt x="730" y="65"/>
                </a:cubicBezTo>
                <a:cubicBezTo>
                  <a:pt x="730" y="65"/>
                  <a:pt x="730" y="64"/>
                  <a:pt x="730" y="64"/>
                </a:cubicBezTo>
                <a:cubicBezTo>
                  <a:pt x="730" y="64"/>
                  <a:pt x="730" y="63"/>
                  <a:pt x="729" y="63"/>
                </a:cubicBezTo>
                <a:cubicBezTo>
                  <a:pt x="729" y="63"/>
                  <a:pt x="728" y="63"/>
                  <a:pt x="727" y="62"/>
                </a:cubicBezTo>
                <a:cubicBezTo>
                  <a:pt x="727" y="63"/>
                  <a:pt x="727" y="64"/>
                  <a:pt x="727" y="64"/>
                </a:cubicBezTo>
                <a:cubicBezTo>
                  <a:pt x="726" y="64"/>
                  <a:pt x="724" y="63"/>
                  <a:pt x="724" y="64"/>
                </a:cubicBezTo>
                <a:cubicBezTo>
                  <a:pt x="723" y="64"/>
                  <a:pt x="722" y="64"/>
                  <a:pt x="722" y="63"/>
                </a:cubicBezTo>
                <a:cubicBezTo>
                  <a:pt x="722" y="63"/>
                  <a:pt x="722" y="62"/>
                  <a:pt x="722" y="62"/>
                </a:cubicBezTo>
                <a:cubicBezTo>
                  <a:pt x="722" y="62"/>
                  <a:pt x="723" y="62"/>
                  <a:pt x="722" y="61"/>
                </a:cubicBezTo>
                <a:cubicBezTo>
                  <a:pt x="722" y="61"/>
                  <a:pt x="722" y="61"/>
                  <a:pt x="722" y="60"/>
                </a:cubicBezTo>
                <a:cubicBezTo>
                  <a:pt x="722" y="60"/>
                  <a:pt x="722" y="60"/>
                  <a:pt x="722" y="60"/>
                </a:cubicBezTo>
                <a:cubicBezTo>
                  <a:pt x="723" y="60"/>
                  <a:pt x="723" y="60"/>
                  <a:pt x="724" y="60"/>
                </a:cubicBezTo>
                <a:cubicBezTo>
                  <a:pt x="725" y="61"/>
                  <a:pt x="724" y="61"/>
                  <a:pt x="725" y="61"/>
                </a:cubicBezTo>
                <a:cubicBezTo>
                  <a:pt x="726" y="61"/>
                  <a:pt x="727" y="60"/>
                  <a:pt x="727" y="60"/>
                </a:cubicBezTo>
                <a:cubicBezTo>
                  <a:pt x="726" y="60"/>
                  <a:pt x="725" y="59"/>
                  <a:pt x="724" y="59"/>
                </a:cubicBezTo>
                <a:cubicBezTo>
                  <a:pt x="723" y="58"/>
                  <a:pt x="723" y="57"/>
                  <a:pt x="723" y="58"/>
                </a:cubicBezTo>
                <a:cubicBezTo>
                  <a:pt x="722" y="58"/>
                  <a:pt x="721" y="58"/>
                  <a:pt x="720" y="58"/>
                </a:cubicBezTo>
                <a:cubicBezTo>
                  <a:pt x="720" y="58"/>
                  <a:pt x="718" y="57"/>
                  <a:pt x="718" y="57"/>
                </a:cubicBezTo>
                <a:cubicBezTo>
                  <a:pt x="717" y="57"/>
                  <a:pt x="717" y="57"/>
                  <a:pt x="716" y="58"/>
                </a:cubicBezTo>
                <a:cubicBezTo>
                  <a:pt x="716" y="58"/>
                  <a:pt x="716" y="58"/>
                  <a:pt x="716" y="58"/>
                </a:cubicBezTo>
                <a:cubicBezTo>
                  <a:pt x="715" y="58"/>
                  <a:pt x="715" y="57"/>
                  <a:pt x="715" y="57"/>
                </a:cubicBezTo>
                <a:cubicBezTo>
                  <a:pt x="716" y="56"/>
                  <a:pt x="715" y="54"/>
                  <a:pt x="717" y="54"/>
                </a:cubicBezTo>
                <a:cubicBezTo>
                  <a:pt x="717" y="55"/>
                  <a:pt x="719" y="55"/>
                  <a:pt x="719" y="55"/>
                </a:cubicBezTo>
                <a:cubicBezTo>
                  <a:pt x="719" y="55"/>
                  <a:pt x="720" y="55"/>
                  <a:pt x="720" y="55"/>
                </a:cubicBezTo>
                <a:cubicBezTo>
                  <a:pt x="720" y="56"/>
                  <a:pt x="721" y="55"/>
                  <a:pt x="721" y="55"/>
                </a:cubicBezTo>
                <a:cubicBezTo>
                  <a:pt x="721" y="55"/>
                  <a:pt x="722" y="56"/>
                  <a:pt x="722" y="56"/>
                </a:cubicBezTo>
                <a:cubicBezTo>
                  <a:pt x="722" y="56"/>
                  <a:pt x="722" y="56"/>
                  <a:pt x="723" y="56"/>
                </a:cubicBezTo>
                <a:cubicBezTo>
                  <a:pt x="723" y="56"/>
                  <a:pt x="723" y="55"/>
                  <a:pt x="723" y="54"/>
                </a:cubicBezTo>
                <a:cubicBezTo>
                  <a:pt x="724" y="53"/>
                  <a:pt x="724" y="54"/>
                  <a:pt x="724" y="53"/>
                </a:cubicBezTo>
                <a:cubicBezTo>
                  <a:pt x="725" y="52"/>
                  <a:pt x="726" y="51"/>
                  <a:pt x="727" y="51"/>
                </a:cubicBezTo>
                <a:cubicBezTo>
                  <a:pt x="727" y="51"/>
                  <a:pt x="727" y="51"/>
                  <a:pt x="727" y="50"/>
                </a:cubicBezTo>
                <a:cubicBezTo>
                  <a:pt x="727" y="50"/>
                  <a:pt x="727" y="49"/>
                  <a:pt x="727" y="49"/>
                </a:cubicBezTo>
                <a:cubicBezTo>
                  <a:pt x="726" y="48"/>
                  <a:pt x="727" y="48"/>
                  <a:pt x="728" y="47"/>
                </a:cubicBezTo>
                <a:cubicBezTo>
                  <a:pt x="729" y="46"/>
                  <a:pt x="728" y="45"/>
                  <a:pt x="728" y="45"/>
                </a:cubicBezTo>
                <a:cubicBezTo>
                  <a:pt x="726" y="45"/>
                  <a:pt x="727" y="45"/>
                  <a:pt x="728" y="44"/>
                </a:cubicBezTo>
                <a:cubicBezTo>
                  <a:pt x="730" y="44"/>
                  <a:pt x="732" y="44"/>
                  <a:pt x="733" y="44"/>
                </a:cubicBezTo>
                <a:cubicBezTo>
                  <a:pt x="733" y="42"/>
                  <a:pt x="733" y="42"/>
                  <a:pt x="735" y="42"/>
                </a:cubicBezTo>
                <a:cubicBezTo>
                  <a:pt x="736" y="41"/>
                  <a:pt x="737" y="39"/>
                  <a:pt x="736" y="39"/>
                </a:cubicBezTo>
                <a:cubicBezTo>
                  <a:pt x="734" y="38"/>
                  <a:pt x="732" y="38"/>
                  <a:pt x="730" y="38"/>
                </a:cubicBezTo>
                <a:cubicBezTo>
                  <a:pt x="730" y="38"/>
                  <a:pt x="729" y="38"/>
                  <a:pt x="729" y="38"/>
                </a:cubicBezTo>
                <a:cubicBezTo>
                  <a:pt x="728" y="38"/>
                  <a:pt x="729" y="38"/>
                  <a:pt x="728" y="38"/>
                </a:cubicBezTo>
                <a:cubicBezTo>
                  <a:pt x="728" y="38"/>
                  <a:pt x="728" y="38"/>
                  <a:pt x="728" y="38"/>
                </a:cubicBezTo>
                <a:cubicBezTo>
                  <a:pt x="727" y="39"/>
                  <a:pt x="727" y="39"/>
                  <a:pt x="727" y="39"/>
                </a:cubicBezTo>
                <a:cubicBezTo>
                  <a:pt x="726" y="39"/>
                  <a:pt x="727" y="39"/>
                  <a:pt x="727" y="39"/>
                </a:cubicBezTo>
                <a:cubicBezTo>
                  <a:pt x="726" y="39"/>
                  <a:pt x="726" y="39"/>
                  <a:pt x="725" y="40"/>
                </a:cubicBezTo>
                <a:cubicBezTo>
                  <a:pt x="725" y="40"/>
                  <a:pt x="723" y="41"/>
                  <a:pt x="723" y="41"/>
                </a:cubicBezTo>
                <a:cubicBezTo>
                  <a:pt x="723" y="40"/>
                  <a:pt x="723" y="39"/>
                  <a:pt x="723" y="38"/>
                </a:cubicBezTo>
                <a:cubicBezTo>
                  <a:pt x="723" y="38"/>
                  <a:pt x="722" y="38"/>
                  <a:pt x="722" y="37"/>
                </a:cubicBezTo>
                <a:cubicBezTo>
                  <a:pt x="722" y="37"/>
                  <a:pt x="722" y="36"/>
                  <a:pt x="723" y="36"/>
                </a:cubicBezTo>
                <a:cubicBezTo>
                  <a:pt x="723" y="36"/>
                  <a:pt x="723" y="36"/>
                  <a:pt x="724" y="35"/>
                </a:cubicBezTo>
                <a:cubicBezTo>
                  <a:pt x="724" y="35"/>
                  <a:pt x="725" y="35"/>
                  <a:pt x="726" y="35"/>
                </a:cubicBezTo>
                <a:cubicBezTo>
                  <a:pt x="727" y="35"/>
                  <a:pt x="728" y="36"/>
                  <a:pt x="730" y="36"/>
                </a:cubicBezTo>
                <a:cubicBezTo>
                  <a:pt x="732" y="36"/>
                  <a:pt x="734" y="37"/>
                  <a:pt x="736" y="37"/>
                </a:cubicBezTo>
                <a:cubicBezTo>
                  <a:pt x="738" y="37"/>
                  <a:pt x="739" y="38"/>
                  <a:pt x="740" y="36"/>
                </a:cubicBezTo>
                <a:cubicBezTo>
                  <a:pt x="740" y="36"/>
                  <a:pt x="742" y="35"/>
                  <a:pt x="742" y="35"/>
                </a:cubicBezTo>
                <a:cubicBezTo>
                  <a:pt x="743" y="35"/>
                  <a:pt x="743" y="34"/>
                  <a:pt x="744" y="33"/>
                </a:cubicBezTo>
                <a:cubicBezTo>
                  <a:pt x="745" y="31"/>
                  <a:pt x="743" y="31"/>
                  <a:pt x="742" y="31"/>
                </a:cubicBezTo>
                <a:cubicBezTo>
                  <a:pt x="741" y="31"/>
                  <a:pt x="740" y="31"/>
                  <a:pt x="740" y="31"/>
                </a:cubicBezTo>
                <a:cubicBezTo>
                  <a:pt x="740" y="32"/>
                  <a:pt x="739" y="32"/>
                  <a:pt x="739" y="33"/>
                </a:cubicBezTo>
                <a:cubicBezTo>
                  <a:pt x="738" y="33"/>
                  <a:pt x="737" y="32"/>
                  <a:pt x="737" y="32"/>
                </a:cubicBezTo>
                <a:cubicBezTo>
                  <a:pt x="735" y="32"/>
                  <a:pt x="732" y="34"/>
                  <a:pt x="730" y="33"/>
                </a:cubicBezTo>
                <a:cubicBezTo>
                  <a:pt x="730" y="33"/>
                  <a:pt x="728" y="32"/>
                  <a:pt x="728" y="32"/>
                </a:cubicBezTo>
                <a:cubicBezTo>
                  <a:pt x="728" y="31"/>
                  <a:pt x="731" y="31"/>
                  <a:pt x="731" y="31"/>
                </a:cubicBezTo>
                <a:cubicBezTo>
                  <a:pt x="732" y="31"/>
                  <a:pt x="733" y="31"/>
                  <a:pt x="733" y="31"/>
                </a:cubicBezTo>
                <a:cubicBezTo>
                  <a:pt x="734" y="30"/>
                  <a:pt x="734" y="30"/>
                  <a:pt x="735" y="30"/>
                </a:cubicBezTo>
                <a:cubicBezTo>
                  <a:pt x="736" y="30"/>
                  <a:pt x="739" y="30"/>
                  <a:pt x="739" y="31"/>
                </a:cubicBezTo>
                <a:cubicBezTo>
                  <a:pt x="739" y="31"/>
                  <a:pt x="741" y="31"/>
                  <a:pt x="741" y="30"/>
                </a:cubicBezTo>
                <a:cubicBezTo>
                  <a:pt x="742" y="30"/>
                  <a:pt x="743" y="30"/>
                  <a:pt x="743" y="31"/>
                </a:cubicBezTo>
                <a:cubicBezTo>
                  <a:pt x="744" y="31"/>
                  <a:pt x="745" y="31"/>
                  <a:pt x="746" y="30"/>
                </a:cubicBezTo>
                <a:cubicBezTo>
                  <a:pt x="746" y="29"/>
                  <a:pt x="748" y="29"/>
                  <a:pt x="749" y="29"/>
                </a:cubicBezTo>
                <a:cubicBezTo>
                  <a:pt x="750" y="29"/>
                  <a:pt x="751" y="29"/>
                  <a:pt x="751" y="28"/>
                </a:cubicBezTo>
                <a:cubicBezTo>
                  <a:pt x="751" y="27"/>
                  <a:pt x="751" y="27"/>
                  <a:pt x="751" y="27"/>
                </a:cubicBezTo>
                <a:cubicBezTo>
                  <a:pt x="752" y="27"/>
                  <a:pt x="753" y="27"/>
                  <a:pt x="753" y="27"/>
                </a:cubicBezTo>
                <a:cubicBezTo>
                  <a:pt x="753" y="26"/>
                  <a:pt x="754" y="27"/>
                  <a:pt x="754" y="27"/>
                </a:cubicBezTo>
                <a:cubicBezTo>
                  <a:pt x="754" y="26"/>
                  <a:pt x="754" y="26"/>
                  <a:pt x="755" y="26"/>
                </a:cubicBezTo>
                <a:cubicBezTo>
                  <a:pt x="756" y="26"/>
                  <a:pt x="755" y="25"/>
                  <a:pt x="756" y="25"/>
                </a:cubicBezTo>
                <a:cubicBezTo>
                  <a:pt x="756" y="25"/>
                  <a:pt x="757" y="25"/>
                  <a:pt x="757" y="26"/>
                </a:cubicBezTo>
                <a:cubicBezTo>
                  <a:pt x="758" y="26"/>
                  <a:pt x="759" y="24"/>
                  <a:pt x="759" y="25"/>
                </a:cubicBezTo>
                <a:cubicBezTo>
                  <a:pt x="759" y="24"/>
                  <a:pt x="758" y="23"/>
                  <a:pt x="757" y="23"/>
                </a:cubicBezTo>
                <a:cubicBezTo>
                  <a:pt x="755" y="22"/>
                  <a:pt x="753" y="22"/>
                  <a:pt x="751" y="23"/>
                </a:cubicBezTo>
                <a:cubicBezTo>
                  <a:pt x="751" y="22"/>
                  <a:pt x="748" y="22"/>
                  <a:pt x="748" y="22"/>
                </a:cubicBezTo>
                <a:cubicBezTo>
                  <a:pt x="747" y="22"/>
                  <a:pt x="746" y="22"/>
                  <a:pt x="745" y="22"/>
                </a:cubicBezTo>
                <a:cubicBezTo>
                  <a:pt x="743" y="21"/>
                  <a:pt x="741" y="21"/>
                  <a:pt x="740" y="21"/>
                </a:cubicBezTo>
                <a:cubicBezTo>
                  <a:pt x="739" y="21"/>
                  <a:pt x="739" y="22"/>
                  <a:pt x="738" y="22"/>
                </a:cubicBezTo>
                <a:cubicBezTo>
                  <a:pt x="738" y="21"/>
                  <a:pt x="738" y="21"/>
                  <a:pt x="737" y="21"/>
                </a:cubicBezTo>
                <a:cubicBezTo>
                  <a:pt x="736" y="21"/>
                  <a:pt x="735" y="21"/>
                  <a:pt x="734" y="21"/>
                </a:cubicBezTo>
                <a:cubicBezTo>
                  <a:pt x="734" y="21"/>
                  <a:pt x="734" y="22"/>
                  <a:pt x="734" y="22"/>
                </a:cubicBezTo>
                <a:cubicBezTo>
                  <a:pt x="734" y="23"/>
                  <a:pt x="732" y="23"/>
                  <a:pt x="731" y="23"/>
                </a:cubicBezTo>
                <a:cubicBezTo>
                  <a:pt x="731" y="23"/>
                  <a:pt x="729" y="23"/>
                  <a:pt x="729" y="24"/>
                </a:cubicBezTo>
                <a:cubicBezTo>
                  <a:pt x="729" y="24"/>
                  <a:pt x="729" y="25"/>
                  <a:pt x="729" y="25"/>
                </a:cubicBezTo>
                <a:cubicBezTo>
                  <a:pt x="727" y="25"/>
                  <a:pt x="726" y="24"/>
                  <a:pt x="725" y="23"/>
                </a:cubicBezTo>
                <a:cubicBezTo>
                  <a:pt x="724" y="24"/>
                  <a:pt x="724" y="26"/>
                  <a:pt x="724" y="24"/>
                </a:cubicBezTo>
                <a:cubicBezTo>
                  <a:pt x="724" y="24"/>
                  <a:pt x="723" y="24"/>
                  <a:pt x="723" y="23"/>
                </a:cubicBezTo>
                <a:cubicBezTo>
                  <a:pt x="723" y="22"/>
                  <a:pt x="723" y="23"/>
                  <a:pt x="722" y="22"/>
                </a:cubicBezTo>
                <a:cubicBezTo>
                  <a:pt x="722" y="23"/>
                  <a:pt x="721" y="23"/>
                  <a:pt x="721" y="24"/>
                </a:cubicBezTo>
                <a:cubicBezTo>
                  <a:pt x="720" y="24"/>
                  <a:pt x="720" y="24"/>
                  <a:pt x="719" y="25"/>
                </a:cubicBezTo>
                <a:cubicBezTo>
                  <a:pt x="719" y="25"/>
                  <a:pt x="719" y="25"/>
                  <a:pt x="718" y="25"/>
                </a:cubicBezTo>
                <a:cubicBezTo>
                  <a:pt x="718" y="26"/>
                  <a:pt x="718" y="25"/>
                  <a:pt x="717" y="25"/>
                </a:cubicBezTo>
                <a:cubicBezTo>
                  <a:pt x="717" y="25"/>
                  <a:pt x="718" y="26"/>
                  <a:pt x="717" y="26"/>
                </a:cubicBezTo>
                <a:cubicBezTo>
                  <a:pt x="717" y="26"/>
                  <a:pt x="716" y="26"/>
                  <a:pt x="716" y="26"/>
                </a:cubicBezTo>
                <a:cubicBezTo>
                  <a:pt x="715" y="26"/>
                  <a:pt x="715" y="27"/>
                  <a:pt x="714" y="28"/>
                </a:cubicBezTo>
                <a:cubicBezTo>
                  <a:pt x="712" y="28"/>
                  <a:pt x="710" y="29"/>
                  <a:pt x="708" y="29"/>
                </a:cubicBezTo>
                <a:cubicBezTo>
                  <a:pt x="707" y="29"/>
                  <a:pt x="704" y="28"/>
                  <a:pt x="704" y="29"/>
                </a:cubicBezTo>
                <a:cubicBezTo>
                  <a:pt x="704" y="29"/>
                  <a:pt x="702" y="29"/>
                  <a:pt x="702" y="29"/>
                </a:cubicBezTo>
                <a:cubicBezTo>
                  <a:pt x="702" y="29"/>
                  <a:pt x="701" y="28"/>
                  <a:pt x="702" y="28"/>
                </a:cubicBezTo>
                <a:cubicBezTo>
                  <a:pt x="702" y="28"/>
                  <a:pt x="704" y="27"/>
                  <a:pt x="704" y="26"/>
                </a:cubicBezTo>
                <a:cubicBezTo>
                  <a:pt x="706" y="26"/>
                  <a:pt x="705" y="27"/>
                  <a:pt x="706" y="27"/>
                </a:cubicBezTo>
                <a:cubicBezTo>
                  <a:pt x="707" y="27"/>
                  <a:pt x="708" y="27"/>
                  <a:pt x="708" y="26"/>
                </a:cubicBezTo>
                <a:cubicBezTo>
                  <a:pt x="709" y="25"/>
                  <a:pt x="709" y="25"/>
                  <a:pt x="710" y="25"/>
                </a:cubicBezTo>
                <a:cubicBezTo>
                  <a:pt x="711" y="25"/>
                  <a:pt x="711" y="25"/>
                  <a:pt x="711" y="24"/>
                </a:cubicBezTo>
                <a:cubicBezTo>
                  <a:pt x="712" y="24"/>
                  <a:pt x="713" y="23"/>
                  <a:pt x="713" y="23"/>
                </a:cubicBezTo>
                <a:cubicBezTo>
                  <a:pt x="713" y="23"/>
                  <a:pt x="712" y="22"/>
                  <a:pt x="713" y="22"/>
                </a:cubicBezTo>
                <a:cubicBezTo>
                  <a:pt x="713" y="22"/>
                  <a:pt x="713" y="22"/>
                  <a:pt x="713" y="21"/>
                </a:cubicBezTo>
                <a:cubicBezTo>
                  <a:pt x="713" y="21"/>
                  <a:pt x="713" y="21"/>
                  <a:pt x="714" y="21"/>
                </a:cubicBezTo>
                <a:cubicBezTo>
                  <a:pt x="713" y="20"/>
                  <a:pt x="714" y="19"/>
                  <a:pt x="712" y="19"/>
                </a:cubicBezTo>
                <a:cubicBezTo>
                  <a:pt x="712" y="19"/>
                  <a:pt x="711" y="19"/>
                  <a:pt x="710" y="19"/>
                </a:cubicBezTo>
                <a:cubicBezTo>
                  <a:pt x="708" y="19"/>
                  <a:pt x="707" y="19"/>
                  <a:pt x="705" y="19"/>
                </a:cubicBezTo>
                <a:cubicBezTo>
                  <a:pt x="704" y="20"/>
                  <a:pt x="704" y="20"/>
                  <a:pt x="704" y="22"/>
                </a:cubicBezTo>
                <a:cubicBezTo>
                  <a:pt x="704" y="22"/>
                  <a:pt x="704" y="23"/>
                  <a:pt x="704" y="23"/>
                </a:cubicBezTo>
                <a:cubicBezTo>
                  <a:pt x="704" y="23"/>
                  <a:pt x="703" y="23"/>
                  <a:pt x="703" y="22"/>
                </a:cubicBezTo>
                <a:cubicBezTo>
                  <a:pt x="701" y="22"/>
                  <a:pt x="699" y="22"/>
                  <a:pt x="697" y="23"/>
                </a:cubicBezTo>
                <a:cubicBezTo>
                  <a:pt x="696" y="23"/>
                  <a:pt x="697" y="23"/>
                  <a:pt x="696" y="23"/>
                </a:cubicBezTo>
                <a:cubicBezTo>
                  <a:pt x="696" y="23"/>
                  <a:pt x="696" y="23"/>
                  <a:pt x="695" y="23"/>
                </a:cubicBezTo>
                <a:cubicBezTo>
                  <a:pt x="695" y="23"/>
                  <a:pt x="694" y="23"/>
                  <a:pt x="693" y="23"/>
                </a:cubicBezTo>
                <a:cubicBezTo>
                  <a:pt x="694" y="22"/>
                  <a:pt x="694" y="21"/>
                  <a:pt x="694" y="19"/>
                </a:cubicBezTo>
                <a:cubicBezTo>
                  <a:pt x="692" y="19"/>
                  <a:pt x="690" y="19"/>
                  <a:pt x="688" y="19"/>
                </a:cubicBezTo>
                <a:cubicBezTo>
                  <a:pt x="686" y="19"/>
                  <a:pt x="684" y="19"/>
                  <a:pt x="682" y="19"/>
                </a:cubicBezTo>
                <a:cubicBezTo>
                  <a:pt x="682" y="19"/>
                  <a:pt x="682" y="19"/>
                  <a:pt x="681" y="19"/>
                </a:cubicBezTo>
                <a:cubicBezTo>
                  <a:pt x="681" y="19"/>
                  <a:pt x="681" y="20"/>
                  <a:pt x="681" y="20"/>
                </a:cubicBezTo>
                <a:cubicBezTo>
                  <a:pt x="680" y="20"/>
                  <a:pt x="680" y="20"/>
                  <a:pt x="679" y="20"/>
                </a:cubicBezTo>
                <a:cubicBezTo>
                  <a:pt x="678" y="20"/>
                  <a:pt x="679" y="20"/>
                  <a:pt x="679" y="20"/>
                </a:cubicBezTo>
                <a:cubicBezTo>
                  <a:pt x="678" y="20"/>
                  <a:pt x="677" y="20"/>
                  <a:pt x="676" y="20"/>
                </a:cubicBezTo>
                <a:cubicBezTo>
                  <a:pt x="676" y="20"/>
                  <a:pt x="673" y="19"/>
                  <a:pt x="673" y="20"/>
                </a:cubicBezTo>
                <a:cubicBezTo>
                  <a:pt x="672" y="20"/>
                  <a:pt x="672" y="20"/>
                  <a:pt x="671" y="20"/>
                </a:cubicBezTo>
                <a:cubicBezTo>
                  <a:pt x="671" y="20"/>
                  <a:pt x="670" y="20"/>
                  <a:pt x="670" y="20"/>
                </a:cubicBezTo>
                <a:cubicBezTo>
                  <a:pt x="670" y="20"/>
                  <a:pt x="669" y="20"/>
                  <a:pt x="669" y="20"/>
                </a:cubicBezTo>
                <a:cubicBezTo>
                  <a:pt x="669" y="21"/>
                  <a:pt x="669" y="21"/>
                  <a:pt x="669" y="21"/>
                </a:cubicBezTo>
                <a:cubicBezTo>
                  <a:pt x="668" y="21"/>
                  <a:pt x="668" y="21"/>
                  <a:pt x="668" y="21"/>
                </a:cubicBezTo>
                <a:cubicBezTo>
                  <a:pt x="667" y="22"/>
                  <a:pt x="667" y="22"/>
                  <a:pt x="666" y="22"/>
                </a:cubicBezTo>
                <a:cubicBezTo>
                  <a:pt x="665" y="23"/>
                  <a:pt x="663" y="22"/>
                  <a:pt x="662" y="22"/>
                </a:cubicBezTo>
                <a:cubicBezTo>
                  <a:pt x="661" y="22"/>
                  <a:pt x="661" y="23"/>
                  <a:pt x="661" y="23"/>
                </a:cubicBezTo>
                <a:cubicBezTo>
                  <a:pt x="660" y="23"/>
                  <a:pt x="660" y="24"/>
                  <a:pt x="660" y="24"/>
                </a:cubicBezTo>
                <a:cubicBezTo>
                  <a:pt x="660" y="24"/>
                  <a:pt x="659" y="24"/>
                  <a:pt x="658" y="24"/>
                </a:cubicBezTo>
                <a:cubicBezTo>
                  <a:pt x="659" y="22"/>
                  <a:pt x="661" y="22"/>
                  <a:pt x="663" y="22"/>
                </a:cubicBezTo>
                <a:cubicBezTo>
                  <a:pt x="663" y="22"/>
                  <a:pt x="666" y="21"/>
                  <a:pt x="666" y="21"/>
                </a:cubicBezTo>
                <a:cubicBezTo>
                  <a:pt x="666" y="21"/>
                  <a:pt x="667" y="20"/>
                  <a:pt x="667" y="20"/>
                </a:cubicBezTo>
                <a:cubicBezTo>
                  <a:pt x="668" y="20"/>
                  <a:pt x="670" y="20"/>
                  <a:pt x="671" y="19"/>
                </a:cubicBezTo>
                <a:cubicBezTo>
                  <a:pt x="671" y="19"/>
                  <a:pt x="671" y="19"/>
                  <a:pt x="671" y="19"/>
                </a:cubicBezTo>
                <a:cubicBezTo>
                  <a:pt x="671" y="18"/>
                  <a:pt x="671" y="18"/>
                  <a:pt x="672" y="18"/>
                </a:cubicBezTo>
                <a:cubicBezTo>
                  <a:pt x="672" y="18"/>
                  <a:pt x="673" y="18"/>
                  <a:pt x="673" y="18"/>
                </a:cubicBezTo>
                <a:cubicBezTo>
                  <a:pt x="673" y="17"/>
                  <a:pt x="674" y="18"/>
                  <a:pt x="674" y="17"/>
                </a:cubicBezTo>
                <a:cubicBezTo>
                  <a:pt x="674" y="17"/>
                  <a:pt x="673" y="17"/>
                  <a:pt x="674" y="17"/>
                </a:cubicBezTo>
                <a:cubicBezTo>
                  <a:pt x="675" y="17"/>
                  <a:pt x="676" y="17"/>
                  <a:pt x="676" y="17"/>
                </a:cubicBezTo>
                <a:cubicBezTo>
                  <a:pt x="677" y="17"/>
                  <a:pt x="677" y="17"/>
                  <a:pt x="678" y="17"/>
                </a:cubicBezTo>
                <a:cubicBezTo>
                  <a:pt x="679" y="17"/>
                  <a:pt x="681" y="17"/>
                  <a:pt x="683" y="17"/>
                </a:cubicBezTo>
                <a:cubicBezTo>
                  <a:pt x="683" y="17"/>
                  <a:pt x="684" y="17"/>
                  <a:pt x="685" y="17"/>
                </a:cubicBezTo>
                <a:cubicBezTo>
                  <a:pt x="685" y="17"/>
                  <a:pt x="686" y="17"/>
                  <a:pt x="686" y="17"/>
                </a:cubicBezTo>
                <a:cubicBezTo>
                  <a:pt x="686" y="17"/>
                  <a:pt x="686" y="17"/>
                  <a:pt x="687" y="17"/>
                </a:cubicBezTo>
                <a:cubicBezTo>
                  <a:pt x="687" y="17"/>
                  <a:pt x="688" y="17"/>
                  <a:pt x="688" y="18"/>
                </a:cubicBezTo>
                <a:cubicBezTo>
                  <a:pt x="691" y="17"/>
                  <a:pt x="693" y="18"/>
                  <a:pt x="695" y="18"/>
                </a:cubicBezTo>
                <a:cubicBezTo>
                  <a:pt x="695" y="16"/>
                  <a:pt x="704" y="18"/>
                  <a:pt x="705" y="18"/>
                </a:cubicBezTo>
                <a:cubicBezTo>
                  <a:pt x="705" y="18"/>
                  <a:pt x="707" y="18"/>
                  <a:pt x="707" y="18"/>
                </a:cubicBezTo>
                <a:cubicBezTo>
                  <a:pt x="707" y="17"/>
                  <a:pt x="713" y="17"/>
                  <a:pt x="713" y="17"/>
                </a:cubicBezTo>
                <a:cubicBezTo>
                  <a:pt x="713" y="18"/>
                  <a:pt x="716" y="17"/>
                  <a:pt x="716" y="16"/>
                </a:cubicBezTo>
                <a:cubicBezTo>
                  <a:pt x="717" y="15"/>
                  <a:pt x="717" y="15"/>
                  <a:pt x="719" y="15"/>
                </a:cubicBezTo>
                <a:cubicBezTo>
                  <a:pt x="720" y="15"/>
                  <a:pt x="720" y="14"/>
                  <a:pt x="721" y="14"/>
                </a:cubicBezTo>
                <a:cubicBezTo>
                  <a:pt x="721" y="13"/>
                  <a:pt x="721" y="13"/>
                  <a:pt x="720" y="13"/>
                </a:cubicBezTo>
                <a:cubicBezTo>
                  <a:pt x="719" y="12"/>
                  <a:pt x="719" y="12"/>
                  <a:pt x="718" y="12"/>
                </a:cubicBezTo>
                <a:cubicBezTo>
                  <a:pt x="717" y="12"/>
                  <a:pt x="717" y="12"/>
                  <a:pt x="717" y="11"/>
                </a:cubicBezTo>
                <a:cubicBezTo>
                  <a:pt x="716" y="11"/>
                  <a:pt x="716" y="11"/>
                  <a:pt x="715" y="11"/>
                </a:cubicBezTo>
                <a:cubicBezTo>
                  <a:pt x="714" y="11"/>
                  <a:pt x="713" y="11"/>
                  <a:pt x="712" y="11"/>
                </a:cubicBezTo>
                <a:cubicBezTo>
                  <a:pt x="711" y="11"/>
                  <a:pt x="711" y="12"/>
                  <a:pt x="711" y="11"/>
                </a:cubicBezTo>
                <a:cubicBezTo>
                  <a:pt x="710" y="10"/>
                  <a:pt x="710" y="10"/>
                  <a:pt x="710" y="10"/>
                </a:cubicBezTo>
                <a:cubicBezTo>
                  <a:pt x="710" y="10"/>
                  <a:pt x="710" y="10"/>
                  <a:pt x="709" y="10"/>
                </a:cubicBezTo>
                <a:cubicBezTo>
                  <a:pt x="709" y="10"/>
                  <a:pt x="709" y="10"/>
                  <a:pt x="709" y="9"/>
                </a:cubicBezTo>
                <a:cubicBezTo>
                  <a:pt x="708" y="9"/>
                  <a:pt x="708" y="9"/>
                  <a:pt x="708" y="10"/>
                </a:cubicBezTo>
                <a:cubicBezTo>
                  <a:pt x="707" y="10"/>
                  <a:pt x="707" y="11"/>
                  <a:pt x="707" y="10"/>
                </a:cubicBezTo>
                <a:cubicBezTo>
                  <a:pt x="707" y="9"/>
                  <a:pt x="707" y="9"/>
                  <a:pt x="706" y="9"/>
                </a:cubicBezTo>
                <a:cubicBezTo>
                  <a:pt x="706" y="9"/>
                  <a:pt x="705" y="9"/>
                  <a:pt x="705" y="9"/>
                </a:cubicBezTo>
                <a:cubicBezTo>
                  <a:pt x="703" y="9"/>
                  <a:pt x="703" y="10"/>
                  <a:pt x="702" y="11"/>
                </a:cubicBezTo>
                <a:cubicBezTo>
                  <a:pt x="701" y="11"/>
                  <a:pt x="700" y="11"/>
                  <a:pt x="699" y="11"/>
                </a:cubicBezTo>
                <a:cubicBezTo>
                  <a:pt x="698" y="10"/>
                  <a:pt x="700" y="11"/>
                  <a:pt x="700" y="10"/>
                </a:cubicBezTo>
                <a:cubicBezTo>
                  <a:pt x="700" y="9"/>
                  <a:pt x="703" y="10"/>
                  <a:pt x="703" y="8"/>
                </a:cubicBezTo>
                <a:cubicBezTo>
                  <a:pt x="703" y="8"/>
                  <a:pt x="703" y="7"/>
                  <a:pt x="702" y="6"/>
                </a:cubicBezTo>
                <a:cubicBezTo>
                  <a:pt x="701" y="5"/>
                  <a:pt x="701" y="5"/>
                  <a:pt x="700" y="5"/>
                </a:cubicBezTo>
                <a:cubicBezTo>
                  <a:pt x="699" y="5"/>
                  <a:pt x="699" y="4"/>
                  <a:pt x="698" y="5"/>
                </a:cubicBezTo>
                <a:cubicBezTo>
                  <a:pt x="697" y="5"/>
                  <a:pt x="697" y="6"/>
                  <a:pt x="696" y="6"/>
                </a:cubicBezTo>
                <a:cubicBezTo>
                  <a:pt x="696" y="7"/>
                  <a:pt x="696" y="7"/>
                  <a:pt x="695" y="7"/>
                </a:cubicBezTo>
                <a:cubicBezTo>
                  <a:pt x="694" y="7"/>
                  <a:pt x="694" y="7"/>
                  <a:pt x="694" y="7"/>
                </a:cubicBezTo>
                <a:cubicBezTo>
                  <a:pt x="693" y="7"/>
                  <a:pt x="692" y="8"/>
                  <a:pt x="691" y="8"/>
                </a:cubicBezTo>
                <a:cubicBezTo>
                  <a:pt x="689" y="8"/>
                  <a:pt x="690" y="7"/>
                  <a:pt x="691" y="6"/>
                </a:cubicBezTo>
                <a:cubicBezTo>
                  <a:pt x="692" y="6"/>
                  <a:pt x="692" y="5"/>
                  <a:pt x="693" y="5"/>
                </a:cubicBezTo>
                <a:cubicBezTo>
                  <a:pt x="694" y="5"/>
                  <a:pt x="694" y="5"/>
                  <a:pt x="694" y="4"/>
                </a:cubicBezTo>
                <a:cubicBezTo>
                  <a:pt x="695" y="4"/>
                  <a:pt x="695" y="4"/>
                  <a:pt x="695" y="3"/>
                </a:cubicBezTo>
                <a:cubicBezTo>
                  <a:pt x="695" y="3"/>
                  <a:pt x="694" y="3"/>
                  <a:pt x="694" y="3"/>
                </a:cubicBezTo>
                <a:cubicBezTo>
                  <a:pt x="694" y="3"/>
                  <a:pt x="693" y="2"/>
                  <a:pt x="693" y="3"/>
                </a:cubicBezTo>
                <a:cubicBezTo>
                  <a:pt x="693" y="2"/>
                  <a:pt x="693" y="2"/>
                  <a:pt x="693" y="3"/>
                </a:cubicBezTo>
                <a:cubicBezTo>
                  <a:pt x="693" y="3"/>
                  <a:pt x="691" y="3"/>
                  <a:pt x="691" y="3"/>
                </a:cubicBezTo>
                <a:cubicBezTo>
                  <a:pt x="689" y="3"/>
                  <a:pt x="688" y="3"/>
                  <a:pt x="686" y="3"/>
                </a:cubicBezTo>
                <a:cubicBezTo>
                  <a:pt x="686" y="3"/>
                  <a:pt x="685" y="3"/>
                  <a:pt x="685" y="3"/>
                </a:cubicBezTo>
                <a:cubicBezTo>
                  <a:pt x="685" y="3"/>
                  <a:pt x="685" y="2"/>
                  <a:pt x="685" y="2"/>
                </a:cubicBezTo>
                <a:cubicBezTo>
                  <a:pt x="685" y="2"/>
                  <a:pt x="684" y="2"/>
                  <a:pt x="684" y="2"/>
                </a:cubicBezTo>
                <a:cubicBezTo>
                  <a:pt x="683" y="2"/>
                  <a:pt x="684" y="2"/>
                  <a:pt x="684" y="2"/>
                </a:cubicBezTo>
                <a:cubicBezTo>
                  <a:pt x="683" y="2"/>
                  <a:pt x="682" y="2"/>
                  <a:pt x="682" y="2"/>
                </a:cubicBezTo>
                <a:cubicBezTo>
                  <a:pt x="681" y="2"/>
                  <a:pt x="681" y="2"/>
                  <a:pt x="680" y="1"/>
                </a:cubicBezTo>
                <a:cubicBezTo>
                  <a:pt x="680" y="2"/>
                  <a:pt x="680" y="2"/>
                  <a:pt x="680" y="2"/>
                </a:cubicBezTo>
                <a:cubicBezTo>
                  <a:pt x="679" y="2"/>
                  <a:pt x="678" y="2"/>
                  <a:pt x="678" y="2"/>
                </a:cubicBezTo>
                <a:cubicBezTo>
                  <a:pt x="676" y="2"/>
                  <a:pt x="675" y="3"/>
                  <a:pt x="673" y="3"/>
                </a:cubicBezTo>
                <a:cubicBezTo>
                  <a:pt x="673" y="2"/>
                  <a:pt x="671" y="2"/>
                  <a:pt x="671" y="2"/>
                </a:cubicBezTo>
                <a:cubicBezTo>
                  <a:pt x="669" y="2"/>
                  <a:pt x="669" y="1"/>
                  <a:pt x="668" y="1"/>
                </a:cubicBezTo>
                <a:cubicBezTo>
                  <a:pt x="668" y="1"/>
                  <a:pt x="668" y="1"/>
                  <a:pt x="668" y="0"/>
                </a:cubicBezTo>
                <a:cubicBezTo>
                  <a:pt x="667" y="0"/>
                  <a:pt x="667" y="0"/>
                  <a:pt x="666" y="1"/>
                </a:cubicBezTo>
                <a:cubicBezTo>
                  <a:pt x="664" y="2"/>
                  <a:pt x="663" y="2"/>
                  <a:pt x="661" y="1"/>
                </a:cubicBezTo>
                <a:cubicBezTo>
                  <a:pt x="660" y="1"/>
                  <a:pt x="657" y="0"/>
                  <a:pt x="657" y="1"/>
                </a:cubicBezTo>
                <a:cubicBezTo>
                  <a:pt x="655" y="1"/>
                  <a:pt x="653" y="1"/>
                  <a:pt x="651" y="1"/>
                </a:cubicBezTo>
                <a:cubicBezTo>
                  <a:pt x="650" y="1"/>
                  <a:pt x="649" y="1"/>
                  <a:pt x="648" y="1"/>
                </a:cubicBezTo>
                <a:cubicBezTo>
                  <a:pt x="647" y="1"/>
                  <a:pt x="648" y="1"/>
                  <a:pt x="647" y="1"/>
                </a:cubicBezTo>
                <a:cubicBezTo>
                  <a:pt x="646" y="1"/>
                  <a:pt x="646" y="1"/>
                  <a:pt x="645" y="1"/>
                </a:cubicBezTo>
                <a:cubicBezTo>
                  <a:pt x="644" y="1"/>
                  <a:pt x="644" y="0"/>
                  <a:pt x="643" y="0"/>
                </a:cubicBezTo>
                <a:cubicBezTo>
                  <a:pt x="642" y="1"/>
                  <a:pt x="642" y="1"/>
                  <a:pt x="642" y="2"/>
                </a:cubicBezTo>
                <a:cubicBezTo>
                  <a:pt x="641" y="2"/>
                  <a:pt x="639" y="1"/>
                  <a:pt x="638" y="1"/>
                </a:cubicBezTo>
                <a:cubicBezTo>
                  <a:pt x="638" y="1"/>
                  <a:pt x="638" y="1"/>
                  <a:pt x="638" y="1"/>
                </a:cubicBezTo>
                <a:cubicBezTo>
                  <a:pt x="638" y="2"/>
                  <a:pt x="638" y="2"/>
                  <a:pt x="638" y="3"/>
                </a:cubicBezTo>
                <a:cubicBezTo>
                  <a:pt x="638" y="3"/>
                  <a:pt x="638" y="2"/>
                  <a:pt x="638" y="3"/>
                </a:cubicBezTo>
                <a:cubicBezTo>
                  <a:pt x="637" y="3"/>
                  <a:pt x="638" y="3"/>
                  <a:pt x="637" y="3"/>
                </a:cubicBezTo>
                <a:cubicBezTo>
                  <a:pt x="637" y="3"/>
                  <a:pt x="636" y="3"/>
                  <a:pt x="635" y="3"/>
                </a:cubicBezTo>
                <a:cubicBezTo>
                  <a:pt x="635" y="3"/>
                  <a:pt x="634" y="3"/>
                  <a:pt x="633" y="3"/>
                </a:cubicBezTo>
                <a:cubicBezTo>
                  <a:pt x="633" y="2"/>
                  <a:pt x="633" y="3"/>
                  <a:pt x="632" y="4"/>
                </a:cubicBezTo>
                <a:cubicBezTo>
                  <a:pt x="632" y="4"/>
                  <a:pt x="631" y="4"/>
                  <a:pt x="631" y="5"/>
                </a:cubicBezTo>
                <a:cubicBezTo>
                  <a:pt x="631" y="5"/>
                  <a:pt x="633" y="5"/>
                  <a:pt x="634" y="5"/>
                </a:cubicBezTo>
                <a:cubicBezTo>
                  <a:pt x="633" y="6"/>
                  <a:pt x="632" y="6"/>
                  <a:pt x="631" y="6"/>
                </a:cubicBezTo>
                <a:cubicBezTo>
                  <a:pt x="631" y="5"/>
                  <a:pt x="630" y="5"/>
                  <a:pt x="630" y="5"/>
                </a:cubicBezTo>
                <a:cubicBezTo>
                  <a:pt x="629" y="5"/>
                  <a:pt x="629" y="6"/>
                  <a:pt x="629" y="6"/>
                </a:cubicBezTo>
                <a:cubicBezTo>
                  <a:pt x="629" y="6"/>
                  <a:pt x="628" y="6"/>
                  <a:pt x="628" y="7"/>
                </a:cubicBezTo>
                <a:cubicBezTo>
                  <a:pt x="628" y="7"/>
                  <a:pt x="628" y="8"/>
                  <a:pt x="629" y="8"/>
                </a:cubicBezTo>
                <a:cubicBezTo>
                  <a:pt x="629" y="8"/>
                  <a:pt x="629" y="8"/>
                  <a:pt x="630" y="8"/>
                </a:cubicBezTo>
                <a:cubicBezTo>
                  <a:pt x="630" y="8"/>
                  <a:pt x="630" y="8"/>
                  <a:pt x="630" y="9"/>
                </a:cubicBezTo>
                <a:cubicBezTo>
                  <a:pt x="630" y="9"/>
                  <a:pt x="631" y="10"/>
                  <a:pt x="631" y="10"/>
                </a:cubicBezTo>
                <a:cubicBezTo>
                  <a:pt x="631" y="10"/>
                  <a:pt x="630" y="10"/>
                  <a:pt x="630" y="10"/>
                </a:cubicBezTo>
                <a:cubicBezTo>
                  <a:pt x="630" y="9"/>
                  <a:pt x="629" y="9"/>
                  <a:pt x="629" y="8"/>
                </a:cubicBezTo>
                <a:cubicBezTo>
                  <a:pt x="628" y="8"/>
                  <a:pt x="628" y="8"/>
                  <a:pt x="627" y="7"/>
                </a:cubicBezTo>
                <a:cubicBezTo>
                  <a:pt x="627" y="7"/>
                  <a:pt x="626" y="7"/>
                  <a:pt x="626" y="7"/>
                </a:cubicBezTo>
                <a:cubicBezTo>
                  <a:pt x="626" y="8"/>
                  <a:pt x="627" y="8"/>
                  <a:pt x="627" y="9"/>
                </a:cubicBezTo>
                <a:cubicBezTo>
                  <a:pt x="626" y="9"/>
                  <a:pt x="626" y="8"/>
                  <a:pt x="625" y="8"/>
                </a:cubicBezTo>
                <a:cubicBezTo>
                  <a:pt x="624" y="9"/>
                  <a:pt x="624" y="10"/>
                  <a:pt x="624" y="10"/>
                </a:cubicBezTo>
                <a:cubicBezTo>
                  <a:pt x="623" y="10"/>
                  <a:pt x="621" y="9"/>
                  <a:pt x="620" y="8"/>
                </a:cubicBezTo>
                <a:cubicBezTo>
                  <a:pt x="620" y="7"/>
                  <a:pt x="621" y="6"/>
                  <a:pt x="620" y="6"/>
                </a:cubicBezTo>
                <a:cubicBezTo>
                  <a:pt x="618" y="5"/>
                  <a:pt x="615" y="5"/>
                  <a:pt x="613" y="5"/>
                </a:cubicBezTo>
                <a:cubicBezTo>
                  <a:pt x="614" y="6"/>
                  <a:pt x="614" y="6"/>
                  <a:pt x="614" y="7"/>
                </a:cubicBezTo>
                <a:cubicBezTo>
                  <a:pt x="613" y="7"/>
                  <a:pt x="612" y="7"/>
                  <a:pt x="612" y="6"/>
                </a:cubicBezTo>
                <a:cubicBezTo>
                  <a:pt x="611" y="6"/>
                  <a:pt x="611" y="7"/>
                  <a:pt x="611" y="7"/>
                </a:cubicBezTo>
                <a:cubicBezTo>
                  <a:pt x="610" y="7"/>
                  <a:pt x="610" y="6"/>
                  <a:pt x="609" y="6"/>
                </a:cubicBezTo>
                <a:cubicBezTo>
                  <a:pt x="609" y="7"/>
                  <a:pt x="609" y="7"/>
                  <a:pt x="610" y="8"/>
                </a:cubicBezTo>
                <a:cubicBezTo>
                  <a:pt x="610" y="8"/>
                  <a:pt x="611" y="9"/>
                  <a:pt x="611" y="9"/>
                </a:cubicBezTo>
                <a:cubicBezTo>
                  <a:pt x="609" y="9"/>
                  <a:pt x="609" y="9"/>
                  <a:pt x="609" y="10"/>
                </a:cubicBezTo>
                <a:cubicBezTo>
                  <a:pt x="609" y="11"/>
                  <a:pt x="610" y="11"/>
                  <a:pt x="610" y="11"/>
                </a:cubicBezTo>
                <a:cubicBezTo>
                  <a:pt x="611" y="11"/>
                  <a:pt x="611" y="11"/>
                  <a:pt x="612" y="11"/>
                </a:cubicBezTo>
                <a:cubicBezTo>
                  <a:pt x="612" y="11"/>
                  <a:pt x="612" y="11"/>
                  <a:pt x="612" y="11"/>
                </a:cubicBezTo>
                <a:cubicBezTo>
                  <a:pt x="612" y="12"/>
                  <a:pt x="613" y="12"/>
                  <a:pt x="614" y="12"/>
                </a:cubicBezTo>
                <a:cubicBezTo>
                  <a:pt x="614" y="11"/>
                  <a:pt x="614" y="12"/>
                  <a:pt x="615" y="12"/>
                </a:cubicBezTo>
                <a:cubicBezTo>
                  <a:pt x="615" y="12"/>
                  <a:pt x="615" y="11"/>
                  <a:pt x="616" y="11"/>
                </a:cubicBezTo>
                <a:cubicBezTo>
                  <a:pt x="616" y="11"/>
                  <a:pt x="618" y="12"/>
                  <a:pt x="618" y="12"/>
                </a:cubicBezTo>
                <a:cubicBezTo>
                  <a:pt x="619" y="13"/>
                  <a:pt x="618" y="13"/>
                  <a:pt x="618" y="14"/>
                </a:cubicBezTo>
                <a:cubicBezTo>
                  <a:pt x="619" y="15"/>
                  <a:pt x="620" y="16"/>
                  <a:pt x="621" y="16"/>
                </a:cubicBezTo>
                <a:cubicBezTo>
                  <a:pt x="622" y="16"/>
                  <a:pt x="623" y="17"/>
                  <a:pt x="622" y="17"/>
                </a:cubicBezTo>
                <a:cubicBezTo>
                  <a:pt x="621" y="17"/>
                  <a:pt x="621" y="17"/>
                  <a:pt x="620" y="16"/>
                </a:cubicBezTo>
                <a:cubicBezTo>
                  <a:pt x="620" y="16"/>
                  <a:pt x="619" y="16"/>
                  <a:pt x="619" y="15"/>
                </a:cubicBezTo>
                <a:cubicBezTo>
                  <a:pt x="619" y="14"/>
                  <a:pt x="618" y="15"/>
                  <a:pt x="618" y="14"/>
                </a:cubicBezTo>
                <a:cubicBezTo>
                  <a:pt x="618" y="14"/>
                  <a:pt x="618" y="14"/>
                  <a:pt x="617" y="13"/>
                </a:cubicBezTo>
                <a:cubicBezTo>
                  <a:pt x="616" y="12"/>
                  <a:pt x="615" y="12"/>
                  <a:pt x="614" y="12"/>
                </a:cubicBezTo>
                <a:cubicBezTo>
                  <a:pt x="613" y="12"/>
                  <a:pt x="613" y="12"/>
                  <a:pt x="612" y="12"/>
                </a:cubicBezTo>
                <a:cubicBezTo>
                  <a:pt x="612" y="12"/>
                  <a:pt x="612" y="12"/>
                  <a:pt x="612" y="12"/>
                </a:cubicBezTo>
                <a:cubicBezTo>
                  <a:pt x="611" y="12"/>
                  <a:pt x="611" y="12"/>
                  <a:pt x="609" y="12"/>
                </a:cubicBezTo>
                <a:cubicBezTo>
                  <a:pt x="608" y="12"/>
                  <a:pt x="607" y="12"/>
                  <a:pt x="606" y="12"/>
                </a:cubicBezTo>
                <a:cubicBezTo>
                  <a:pt x="606" y="12"/>
                  <a:pt x="606" y="14"/>
                  <a:pt x="607" y="14"/>
                </a:cubicBezTo>
                <a:cubicBezTo>
                  <a:pt x="607" y="14"/>
                  <a:pt x="608" y="15"/>
                  <a:pt x="608" y="16"/>
                </a:cubicBezTo>
                <a:cubicBezTo>
                  <a:pt x="607" y="15"/>
                  <a:pt x="606" y="15"/>
                  <a:pt x="605" y="13"/>
                </a:cubicBezTo>
                <a:cubicBezTo>
                  <a:pt x="604" y="12"/>
                  <a:pt x="602" y="13"/>
                  <a:pt x="600" y="13"/>
                </a:cubicBezTo>
                <a:cubicBezTo>
                  <a:pt x="601" y="14"/>
                  <a:pt x="598" y="13"/>
                  <a:pt x="598" y="14"/>
                </a:cubicBezTo>
                <a:cubicBezTo>
                  <a:pt x="597" y="13"/>
                  <a:pt x="595" y="13"/>
                  <a:pt x="594" y="13"/>
                </a:cubicBezTo>
                <a:cubicBezTo>
                  <a:pt x="594" y="14"/>
                  <a:pt x="594" y="15"/>
                  <a:pt x="595" y="15"/>
                </a:cubicBezTo>
                <a:cubicBezTo>
                  <a:pt x="596" y="16"/>
                  <a:pt x="596" y="17"/>
                  <a:pt x="597" y="17"/>
                </a:cubicBezTo>
                <a:cubicBezTo>
                  <a:pt x="598" y="17"/>
                  <a:pt x="598" y="18"/>
                  <a:pt x="598" y="18"/>
                </a:cubicBezTo>
                <a:cubicBezTo>
                  <a:pt x="599" y="19"/>
                  <a:pt x="599" y="18"/>
                  <a:pt x="599" y="19"/>
                </a:cubicBezTo>
                <a:cubicBezTo>
                  <a:pt x="600" y="19"/>
                  <a:pt x="600" y="20"/>
                  <a:pt x="601" y="21"/>
                </a:cubicBezTo>
                <a:cubicBezTo>
                  <a:pt x="602" y="21"/>
                  <a:pt x="601" y="20"/>
                  <a:pt x="602" y="21"/>
                </a:cubicBezTo>
                <a:cubicBezTo>
                  <a:pt x="603" y="22"/>
                  <a:pt x="603" y="23"/>
                  <a:pt x="604" y="23"/>
                </a:cubicBezTo>
                <a:cubicBezTo>
                  <a:pt x="605" y="23"/>
                  <a:pt x="605" y="24"/>
                  <a:pt x="606" y="24"/>
                </a:cubicBezTo>
                <a:cubicBezTo>
                  <a:pt x="607" y="24"/>
                  <a:pt x="606" y="24"/>
                  <a:pt x="606" y="24"/>
                </a:cubicBezTo>
                <a:cubicBezTo>
                  <a:pt x="607" y="24"/>
                  <a:pt x="607" y="24"/>
                  <a:pt x="608" y="24"/>
                </a:cubicBezTo>
                <a:cubicBezTo>
                  <a:pt x="608" y="25"/>
                  <a:pt x="608" y="25"/>
                  <a:pt x="609" y="25"/>
                </a:cubicBezTo>
                <a:cubicBezTo>
                  <a:pt x="609" y="25"/>
                  <a:pt x="609" y="25"/>
                  <a:pt x="609" y="25"/>
                </a:cubicBezTo>
                <a:cubicBezTo>
                  <a:pt x="610" y="25"/>
                  <a:pt x="611" y="26"/>
                  <a:pt x="611" y="27"/>
                </a:cubicBezTo>
                <a:cubicBezTo>
                  <a:pt x="610" y="26"/>
                  <a:pt x="610" y="27"/>
                  <a:pt x="609" y="26"/>
                </a:cubicBezTo>
                <a:cubicBezTo>
                  <a:pt x="609" y="26"/>
                  <a:pt x="609" y="26"/>
                  <a:pt x="609" y="26"/>
                </a:cubicBezTo>
                <a:cubicBezTo>
                  <a:pt x="608" y="26"/>
                  <a:pt x="609" y="25"/>
                  <a:pt x="609" y="25"/>
                </a:cubicBezTo>
                <a:cubicBezTo>
                  <a:pt x="608" y="25"/>
                  <a:pt x="608" y="25"/>
                  <a:pt x="608" y="25"/>
                </a:cubicBezTo>
                <a:cubicBezTo>
                  <a:pt x="607" y="26"/>
                  <a:pt x="606" y="25"/>
                  <a:pt x="605" y="25"/>
                </a:cubicBezTo>
                <a:cubicBezTo>
                  <a:pt x="604" y="24"/>
                  <a:pt x="604" y="24"/>
                  <a:pt x="602" y="25"/>
                </a:cubicBezTo>
                <a:cubicBezTo>
                  <a:pt x="602" y="26"/>
                  <a:pt x="602" y="27"/>
                  <a:pt x="600" y="27"/>
                </a:cubicBezTo>
                <a:cubicBezTo>
                  <a:pt x="600" y="27"/>
                  <a:pt x="599" y="26"/>
                  <a:pt x="598" y="25"/>
                </a:cubicBezTo>
                <a:cubicBezTo>
                  <a:pt x="598" y="25"/>
                  <a:pt x="597" y="26"/>
                  <a:pt x="597" y="26"/>
                </a:cubicBezTo>
                <a:cubicBezTo>
                  <a:pt x="596" y="24"/>
                  <a:pt x="596" y="26"/>
                  <a:pt x="596" y="25"/>
                </a:cubicBezTo>
                <a:cubicBezTo>
                  <a:pt x="595" y="24"/>
                  <a:pt x="595" y="24"/>
                  <a:pt x="594" y="23"/>
                </a:cubicBezTo>
                <a:cubicBezTo>
                  <a:pt x="594" y="23"/>
                  <a:pt x="594" y="22"/>
                  <a:pt x="593" y="22"/>
                </a:cubicBezTo>
                <a:cubicBezTo>
                  <a:pt x="592" y="22"/>
                  <a:pt x="592" y="22"/>
                  <a:pt x="592" y="21"/>
                </a:cubicBezTo>
                <a:cubicBezTo>
                  <a:pt x="592" y="21"/>
                  <a:pt x="592" y="20"/>
                  <a:pt x="592" y="20"/>
                </a:cubicBezTo>
                <a:cubicBezTo>
                  <a:pt x="592" y="20"/>
                  <a:pt x="592" y="19"/>
                  <a:pt x="592" y="19"/>
                </a:cubicBezTo>
                <a:cubicBezTo>
                  <a:pt x="591" y="18"/>
                  <a:pt x="590" y="18"/>
                  <a:pt x="590" y="17"/>
                </a:cubicBezTo>
                <a:cubicBezTo>
                  <a:pt x="589" y="17"/>
                  <a:pt x="589" y="16"/>
                  <a:pt x="588" y="16"/>
                </a:cubicBezTo>
                <a:cubicBezTo>
                  <a:pt x="588" y="16"/>
                  <a:pt x="587" y="15"/>
                  <a:pt x="587" y="15"/>
                </a:cubicBezTo>
                <a:cubicBezTo>
                  <a:pt x="586" y="15"/>
                  <a:pt x="586" y="15"/>
                  <a:pt x="586" y="15"/>
                </a:cubicBezTo>
                <a:cubicBezTo>
                  <a:pt x="585" y="15"/>
                  <a:pt x="586" y="14"/>
                  <a:pt x="585" y="14"/>
                </a:cubicBezTo>
                <a:cubicBezTo>
                  <a:pt x="584" y="14"/>
                  <a:pt x="582" y="13"/>
                  <a:pt x="580" y="13"/>
                </a:cubicBezTo>
                <a:cubicBezTo>
                  <a:pt x="580" y="14"/>
                  <a:pt x="580" y="16"/>
                  <a:pt x="580" y="17"/>
                </a:cubicBezTo>
                <a:cubicBezTo>
                  <a:pt x="580" y="17"/>
                  <a:pt x="581" y="18"/>
                  <a:pt x="581" y="19"/>
                </a:cubicBezTo>
                <a:cubicBezTo>
                  <a:pt x="581" y="19"/>
                  <a:pt x="580" y="19"/>
                  <a:pt x="579" y="19"/>
                </a:cubicBezTo>
                <a:cubicBezTo>
                  <a:pt x="579" y="20"/>
                  <a:pt x="579" y="20"/>
                  <a:pt x="579" y="20"/>
                </a:cubicBezTo>
                <a:cubicBezTo>
                  <a:pt x="580" y="20"/>
                  <a:pt x="579" y="21"/>
                  <a:pt x="579" y="22"/>
                </a:cubicBezTo>
                <a:cubicBezTo>
                  <a:pt x="579" y="22"/>
                  <a:pt x="580" y="22"/>
                  <a:pt x="580" y="23"/>
                </a:cubicBezTo>
                <a:cubicBezTo>
                  <a:pt x="580" y="23"/>
                  <a:pt x="580" y="23"/>
                  <a:pt x="580" y="24"/>
                </a:cubicBezTo>
                <a:cubicBezTo>
                  <a:pt x="580" y="24"/>
                  <a:pt x="580" y="24"/>
                  <a:pt x="580" y="24"/>
                </a:cubicBezTo>
                <a:cubicBezTo>
                  <a:pt x="580" y="25"/>
                  <a:pt x="579" y="24"/>
                  <a:pt x="579" y="25"/>
                </a:cubicBezTo>
                <a:cubicBezTo>
                  <a:pt x="578" y="25"/>
                  <a:pt x="578" y="25"/>
                  <a:pt x="577" y="24"/>
                </a:cubicBezTo>
                <a:cubicBezTo>
                  <a:pt x="577" y="24"/>
                  <a:pt x="579" y="24"/>
                  <a:pt x="576" y="24"/>
                </a:cubicBezTo>
                <a:cubicBezTo>
                  <a:pt x="576" y="24"/>
                  <a:pt x="575" y="24"/>
                  <a:pt x="575" y="23"/>
                </a:cubicBezTo>
                <a:cubicBezTo>
                  <a:pt x="575" y="23"/>
                  <a:pt x="573" y="23"/>
                  <a:pt x="573" y="23"/>
                </a:cubicBezTo>
                <a:cubicBezTo>
                  <a:pt x="573" y="22"/>
                  <a:pt x="572" y="23"/>
                  <a:pt x="572" y="22"/>
                </a:cubicBezTo>
                <a:cubicBezTo>
                  <a:pt x="572" y="22"/>
                  <a:pt x="571" y="22"/>
                  <a:pt x="571" y="23"/>
                </a:cubicBezTo>
                <a:cubicBezTo>
                  <a:pt x="571" y="22"/>
                  <a:pt x="569" y="23"/>
                  <a:pt x="568" y="22"/>
                </a:cubicBezTo>
                <a:cubicBezTo>
                  <a:pt x="568" y="21"/>
                  <a:pt x="568" y="21"/>
                  <a:pt x="567" y="21"/>
                </a:cubicBezTo>
                <a:cubicBezTo>
                  <a:pt x="567" y="22"/>
                  <a:pt x="566" y="22"/>
                  <a:pt x="566" y="22"/>
                </a:cubicBezTo>
                <a:cubicBezTo>
                  <a:pt x="565" y="22"/>
                  <a:pt x="565" y="23"/>
                  <a:pt x="564" y="24"/>
                </a:cubicBezTo>
                <a:cubicBezTo>
                  <a:pt x="564" y="24"/>
                  <a:pt x="564" y="24"/>
                  <a:pt x="564" y="24"/>
                </a:cubicBezTo>
                <a:cubicBezTo>
                  <a:pt x="563" y="24"/>
                  <a:pt x="563" y="24"/>
                  <a:pt x="563" y="25"/>
                </a:cubicBezTo>
                <a:cubicBezTo>
                  <a:pt x="564" y="25"/>
                  <a:pt x="564" y="25"/>
                  <a:pt x="563" y="25"/>
                </a:cubicBezTo>
                <a:cubicBezTo>
                  <a:pt x="562" y="25"/>
                  <a:pt x="563" y="23"/>
                  <a:pt x="562" y="23"/>
                </a:cubicBezTo>
                <a:cubicBezTo>
                  <a:pt x="562" y="23"/>
                  <a:pt x="563" y="20"/>
                  <a:pt x="563" y="19"/>
                </a:cubicBezTo>
                <a:cubicBezTo>
                  <a:pt x="563" y="19"/>
                  <a:pt x="562" y="20"/>
                  <a:pt x="562" y="19"/>
                </a:cubicBezTo>
                <a:cubicBezTo>
                  <a:pt x="562" y="18"/>
                  <a:pt x="562" y="19"/>
                  <a:pt x="562" y="19"/>
                </a:cubicBezTo>
                <a:cubicBezTo>
                  <a:pt x="562" y="19"/>
                  <a:pt x="562" y="18"/>
                  <a:pt x="562" y="18"/>
                </a:cubicBezTo>
                <a:cubicBezTo>
                  <a:pt x="562" y="18"/>
                  <a:pt x="562" y="18"/>
                  <a:pt x="562" y="18"/>
                </a:cubicBezTo>
                <a:cubicBezTo>
                  <a:pt x="562" y="18"/>
                  <a:pt x="562" y="17"/>
                  <a:pt x="561" y="17"/>
                </a:cubicBezTo>
                <a:cubicBezTo>
                  <a:pt x="561" y="17"/>
                  <a:pt x="561" y="17"/>
                  <a:pt x="561" y="17"/>
                </a:cubicBezTo>
                <a:cubicBezTo>
                  <a:pt x="561" y="16"/>
                  <a:pt x="561" y="17"/>
                  <a:pt x="561" y="16"/>
                </a:cubicBezTo>
                <a:cubicBezTo>
                  <a:pt x="560" y="15"/>
                  <a:pt x="559" y="16"/>
                  <a:pt x="558" y="16"/>
                </a:cubicBezTo>
                <a:cubicBezTo>
                  <a:pt x="557" y="16"/>
                  <a:pt x="556" y="16"/>
                  <a:pt x="556" y="17"/>
                </a:cubicBezTo>
                <a:cubicBezTo>
                  <a:pt x="556" y="17"/>
                  <a:pt x="556" y="19"/>
                  <a:pt x="556" y="19"/>
                </a:cubicBezTo>
                <a:cubicBezTo>
                  <a:pt x="555" y="19"/>
                  <a:pt x="555" y="18"/>
                  <a:pt x="555" y="18"/>
                </a:cubicBezTo>
                <a:cubicBezTo>
                  <a:pt x="555" y="18"/>
                  <a:pt x="554" y="18"/>
                  <a:pt x="554" y="18"/>
                </a:cubicBezTo>
                <a:cubicBezTo>
                  <a:pt x="554" y="17"/>
                  <a:pt x="554" y="17"/>
                  <a:pt x="553" y="17"/>
                </a:cubicBezTo>
                <a:cubicBezTo>
                  <a:pt x="553" y="17"/>
                  <a:pt x="553" y="17"/>
                  <a:pt x="553" y="17"/>
                </a:cubicBezTo>
                <a:cubicBezTo>
                  <a:pt x="552" y="17"/>
                  <a:pt x="552" y="18"/>
                  <a:pt x="552" y="19"/>
                </a:cubicBezTo>
                <a:cubicBezTo>
                  <a:pt x="550" y="19"/>
                  <a:pt x="551" y="19"/>
                  <a:pt x="550" y="18"/>
                </a:cubicBezTo>
                <a:cubicBezTo>
                  <a:pt x="549" y="18"/>
                  <a:pt x="549" y="17"/>
                  <a:pt x="548" y="17"/>
                </a:cubicBezTo>
                <a:cubicBezTo>
                  <a:pt x="547" y="17"/>
                  <a:pt x="548" y="18"/>
                  <a:pt x="547" y="18"/>
                </a:cubicBezTo>
                <a:cubicBezTo>
                  <a:pt x="546" y="18"/>
                  <a:pt x="546" y="18"/>
                  <a:pt x="545" y="18"/>
                </a:cubicBezTo>
                <a:cubicBezTo>
                  <a:pt x="545" y="18"/>
                  <a:pt x="545" y="18"/>
                  <a:pt x="545" y="18"/>
                </a:cubicBezTo>
                <a:cubicBezTo>
                  <a:pt x="544" y="18"/>
                  <a:pt x="544" y="18"/>
                  <a:pt x="544" y="18"/>
                </a:cubicBezTo>
                <a:cubicBezTo>
                  <a:pt x="543" y="18"/>
                  <a:pt x="544" y="18"/>
                  <a:pt x="543" y="18"/>
                </a:cubicBezTo>
                <a:cubicBezTo>
                  <a:pt x="543" y="18"/>
                  <a:pt x="541" y="18"/>
                  <a:pt x="541" y="19"/>
                </a:cubicBezTo>
                <a:cubicBezTo>
                  <a:pt x="541" y="19"/>
                  <a:pt x="540" y="19"/>
                  <a:pt x="540" y="19"/>
                </a:cubicBezTo>
                <a:cubicBezTo>
                  <a:pt x="539" y="19"/>
                  <a:pt x="539" y="19"/>
                  <a:pt x="539" y="19"/>
                </a:cubicBezTo>
                <a:cubicBezTo>
                  <a:pt x="538" y="19"/>
                  <a:pt x="537" y="19"/>
                  <a:pt x="536" y="19"/>
                </a:cubicBezTo>
                <a:cubicBezTo>
                  <a:pt x="536" y="19"/>
                  <a:pt x="536" y="19"/>
                  <a:pt x="536" y="19"/>
                </a:cubicBezTo>
                <a:cubicBezTo>
                  <a:pt x="536" y="20"/>
                  <a:pt x="535" y="20"/>
                  <a:pt x="534" y="20"/>
                </a:cubicBezTo>
                <a:cubicBezTo>
                  <a:pt x="534" y="21"/>
                  <a:pt x="533" y="21"/>
                  <a:pt x="531" y="21"/>
                </a:cubicBezTo>
                <a:cubicBezTo>
                  <a:pt x="532" y="21"/>
                  <a:pt x="532" y="22"/>
                  <a:pt x="532" y="22"/>
                </a:cubicBezTo>
                <a:cubicBezTo>
                  <a:pt x="532" y="22"/>
                  <a:pt x="533" y="22"/>
                  <a:pt x="533" y="22"/>
                </a:cubicBezTo>
                <a:cubicBezTo>
                  <a:pt x="533" y="23"/>
                  <a:pt x="533" y="23"/>
                  <a:pt x="533" y="24"/>
                </a:cubicBezTo>
                <a:cubicBezTo>
                  <a:pt x="533" y="25"/>
                  <a:pt x="533" y="26"/>
                  <a:pt x="534" y="26"/>
                </a:cubicBezTo>
                <a:cubicBezTo>
                  <a:pt x="534" y="27"/>
                  <a:pt x="533" y="26"/>
                  <a:pt x="533" y="26"/>
                </a:cubicBezTo>
                <a:cubicBezTo>
                  <a:pt x="532" y="25"/>
                  <a:pt x="532" y="25"/>
                  <a:pt x="532" y="24"/>
                </a:cubicBezTo>
                <a:cubicBezTo>
                  <a:pt x="532" y="24"/>
                  <a:pt x="531" y="24"/>
                  <a:pt x="531" y="23"/>
                </a:cubicBezTo>
                <a:cubicBezTo>
                  <a:pt x="531" y="22"/>
                  <a:pt x="531" y="22"/>
                  <a:pt x="530" y="22"/>
                </a:cubicBezTo>
                <a:cubicBezTo>
                  <a:pt x="529" y="21"/>
                  <a:pt x="531" y="21"/>
                  <a:pt x="529" y="21"/>
                </a:cubicBezTo>
                <a:cubicBezTo>
                  <a:pt x="528" y="21"/>
                  <a:pt x="528" y="21"/>
                  <a:pt x="528" y="20"/>
                </a:cubicBezTo>
                <a:cubicBezTo>
                  <a:pt x="526" y="21"/>
                  <a:pt x="526" y="23"/>
                  <a:pt x="525" y="24"/>
                </a:cubicBezTo>
                <a:cubicBezTo>
                  <a:pt x="524" y="25"/>
                  <a:pt x="524" y="25"/>
                  <a:pt x="524" y="26"/>
                </a:cubicBezTo>
                <a:cubicBezTo>
                  <a:pt x="524" y="27"/>
                  <a:pt x="525" y="27"/>
                  <a:pt x="525" y="28"/>
                </a:cubicBezTo>
                <a:cubicBezTo>
                  <a:pt x="525" y="28"/>
                  <a:pt x="526" y="29"/>
                  <a:pt x="525" y="29"/>
                </a:cubicBezTo>
                <a:cubicBezTo>
                  <a:pt x="525" y="29"/>
                  <a:pt x="525" y="29"/>
                  <a:pt x="525" y="29"/>
                </a:cubicBezTo>
                <a:cubicBezTo>
                  <a:pt x="525" y="29"/>
                  <a:pt x="525" y="29"/>
                  <a:pt x="524" y="29"/>
                </a:cubicBezTo>
                <a:cubicBezTo>
                  <a:pt x="524" y="29"/>
                  <a:pt x="524" y="28"/>
                  <a:pt x="523" y="28"/>
                </a:cubicBezTo>
                <a:cubicBezTo>
                  <a:pt x="523" y="28"/>
                  <a:pt x="523" y="28"/>
                  <a:pt x="522" y="27"/>
                </a:cubicBezTo>
                <a:cubicBezTo>
                  <a:pt x="521" y="27"/>
                  <a:pt x="519" y="27"/>
                  <a:pt x="517" y="27"/>
                </a:cubicBezTo>
                <a:cubicBezTo>
                  <a:pt x="517" y="28"/>
                  <a:pt x="516" y="27"/>
                  <a:pt x="516" y="27"/>
                </a:cubicBezTo>
                <a:cubicBezTo>
                  <a:pt x="516" y="28"/>
                  <a:pt x="515" y="28"/>
                  <a:pt x="515" y="28"/>
                </a:cubicBezTo>
                <a:cubicBezTo>
                  <a:pt x="514" y="28"/>
                  <a:pt x="514" y="28"/>
                  <a:pt x="514" y="28"/>
                </a:cubicBezTo>
                <a:cubicBezTo>
                  <a:pt x="514" y="28"/>
                  <a:pt x="513" y="29"/>
                  <a:pt x="513" y="28"/>
                </a:cubicBezTo>
                <a:cubicBezTo>
                  <a:pt x="513" y="28"/>
                  <a:pt x="512" y="28"/>
                  <a:pt x="512" y="29"/>
                </a:cubicBezTo>
                <a:cubicBezTo>
                  <a:pt x="512" y="29"/>
                  <a:pt x="512" y="29"/>
                  <a:pt x="512" y="29"/>
                </a:cubicBezTo>
                <a:cubicBezTo>
                  <a:pt x="511" y="29"/>
                  <a:pt x="512" y="29"/>
                  <a:pt x="511" y="29"/>
                </a:cubicBezTo>
                <a:cubicBezTo>
                  <a:pt x="510" y="29"/>
                  <a:pt x="511" y="29"/>
                  <a:pt x="511" y="29"/>
                </a:cubicBezTo>
                <a:cubicBezTo>
                  <a:pt x="510" y="30"/>
                  <a:pt x="510" y="29"/>
                  <a:pt x="510" y="29"/>
                </a:cubicBezTo>
                <a:cubicBezTo>
                  <a:pt x="510" y="30"/>
                  <a:pt x="510" y="30"/>
                  <a:pt x="509" y="30"/>
                </a:cubicBezTo>
                <a:cubicBezTo>
                  <a:pt x="509" y="30"/>
                  <a:pt x="509" y="30"/>
                  <a:pt x="508" y="30"/>
                </a:cubicBezTo>
                <a:cubicBezTo>
                  <a:pt x="508" y="30"/>
                  <a:pt x="508" y="30"/>
                  <a:pt x="508" y="31"/>
                </a:cubicBezTo>
                <a:cubicBezTo>
                  <a:pt x="507" y="31"/>
                  <a:pt x="507" y="30"/>
                  <a:pt x="507" y="31"/>
                </a:cubicBezTo>
                <a:cubicBezTo>
                  <a:pt x="506" y="31"/>
                  <a:pt x="507" y="31"/>
                  <a:pt x="506" y="31"/>
                </a:cubicBezTo>
                <a:cubicBezTo>
                  <a:pt x="506" y="31"/>
                  <a:pt x="505" y="31"/>
                  <a:pt x="505" y="31"/>
                </a:cubicBezTo>
                <a:cubicBezTo>
                  <a:pt x="505" y="31"/>
                  <a:pt x="504" y="31"/>
                  <a:pt x="504" y="31"/>
                </a:cubicBezTo>
                <a:cubicBezTo>
                  <a:pt x="504" y="31"/>
                  <a:pt x="504" y="31"/>
                  <a:pt x="504" y="31"/>
                </a:cubicBezTo>
                <a:cubicBezTo>
                  <a:pt x="504" y="31"/>
                  <a:pt x="503" y="31"/>
                  <a:pt x="503" y="31"/>
                </a:cubicBezTo>
                <a:cubicBezTo>
                  <a:pt x="502" y="31"/>
                  <a:pt x="503" y="31"/>
                  <a:pt x="503" y="32"/>
                </a:cubicBezTo>
                <a:cubicBezTo>
                  <a:pt x="502" y="32"/>
                  <a:pt x="502" y="31"/>
                  <a:pt x="502" y="32"/>
                </a:cubicBezTo>
                <a:cubicBezTo>
                  <a:pt x="502" y="32"/>
                  <a:pt x="502" y="32"/>
                  <a:pt x="502" y="32"/>
                </a:cubicBezTo>
                <a:cubicBezTo>
                  <a:pt x="501" y="32"/>
                  <a:pt x="501" y="32"/>
                  <a:pt x="500" y="32"/>
                </a:cubicBezTo>
                <a:cubicBezTo>
                  <a:pt x="500" y="32"/>
                  <a:pt x="500" y="33"/>
                  <a:pt x="499" y="33"/>
                </a:cubicBezTo>
                <a:cubicBezTo>
                  <a:pt x="499" y="33"/>
                  <a:pt x="499" y="33"/>
                  <a:pt x="499" y="33"/>
                </a:cubicBezTo>
                <a:cubicBezTo>
                  <a:pt x="498" y="34"/>
                  <a:pt x="498" y="34"/>
                  <a:pt x="498" y="35"/>
                </a:cubicBezTo>
                <a:cubicBezTo>
                  <a:pt x="498" y="35"/>
                  <a:pt x="497" y="35"/>
                  <a:pt x="497" y="36"/>
                </a:cubicBezTo>
                <a:cubicBezTo>
                  <a:pt x="497" y="36"/>
                  <a:pt x="497" y="36"/>
                  <a:pt x="498" y="37"/>
                </a:cubicBezTo>
                <a:cubicBezTo>
                  <a:pt x="498" y="38"/>
                  <a:pt x="499" y="38"/>
                  <a:pt x="500" y="38"/>
                </a:cubicBezTo>
                <a:cubicBezTo>
                  <a:pt x="501" y="37"/>
                  <a:pt x="502" y="37"/>
                  <a:pt x="502" y="37"/>
                </a:cubicBezTo>
                <a:cubicBezTo>
                  <a:pt x="503" y="37"/>
                  <a:pt x="505" y="37"/>
                  <a:pt x="505" y="38"/>
                </a:cubicBezTo>
                <a:cubicBezTo>
                  <a:pt x="506" y="39"/>
                  <a:pt x="508" y="37"/>
                  <a:pt x="509" y="37"/>
                </a:cubicBezTo>
                <a:cubicBezTo>
                  <a:pt x="510" y="37"/>
                  <a:pt x="511" y="38"/>
                  <a:pt x="512" y="37"/>
                </a:cubicBezTo>
                <a:cubicBezTo>
                  <a:pt x="512" y="37"/>
                  <a:pt x="513" y="37"/>
                  <a:pt x="514" y="37"/>
                </a:cubicBezTo>
                <a:cubicBezTo>
                  <a:pt x="514" y="37"/>
                  <a:pt x="513" y="38"/>
                  <a:pt x="513" y="38"/>
                </a:cubicBezTo>
                <a:cubicBezTo>
                  <a:pt x="513" y="39"/>
                  <a:pt x="513" y="39"/>
                  <a:pt x="514" y="39"/>
                </a:cubicBezTo>
                <a:cubicBezTo>
                  <a:pt x="514" y="40"/>
                  <a:pt x="513" y="41"/>
                  <a:pt x="512" y="41"/>
                </a:cubicBezTo>
                <a:cubicBezTo>
                  <a:pt x="513" y="42"/>
                  <a:pt x="514" y="42"/>
                  <a:pt x="512" y="44"/>
                </a:cubicBezTo>
                <a:cubicBezTo>
                  <a:pt x="512" y="44"/>
                  <a:pt x="510" y="46"/>
                  <a:pt x="510" y="46"/>
                </a:cubicBezTo>
                <a:cubicBezTo>
                  <a:pt x="509" y="46"/>
                  <a:pt x="509" y="47"/>
                  <a:pt x="508" y="47"/>
                </a:cubicBezTo>
                <a:cubicBezTo>
                  <a:pt x="507" y="47"/>
                  <a:pt x="506" y="48"/>
                  <a:pt x="506" y="49"/>
                </a:cubicBezTo>
                <a:cubicBezTo>
                  <a:pt x="506" y="48"/>
                  <a:pt x="505" y="48"/>
                  <a:pt x="505" y="48"/>
                </a:cubicBezTo>
                <a:cubicBezTo>
                  <a:pt x="504" y="47"/>
                  <a:pt x="504" y="48"/>
                  <a:pt x="503" y="48"/>
                </a:cubicBezTo>
                <a:cubicBezTo>
                  <a:pt x="503" y="47"/>
                  <a:pt x="501" y="47"/>
                  <a:pt x="501" y="47"/>
                </a:cubicBezTo>
                <a:cubicBezTo>
                  <a:pt x="500" y="47"/>
                  <a:pt x="500" y="47"/>
                  <a:pt x="500" y="47"/>
                </a:cubicBezTo>
                <a:cubicBezTo>
                  <a:pt x="499" y="48"/>
                  <a:pt x="501" y="48"/>
                  <a:pt x="499" y="48"/>
                </a:cubicBezTo>
                <a:cubicBezTo>
                  <a:pt x="499" y="48"/>
                  <a:pt x="498" y="47"/>
                  <a:pt x="498" y="47"/>
                </a:cubicBezTo>
                <a:cubicBezTo>
                  <a:pt x="498" y="48"/>
                  <a:pt x="496" y="48"/>
                  <a:pt x="495" y="48"/>
                </a:cubicBezTo>
                <a:cubicBezTo>
                  <a:pt x="495" y="48"/>
                  <a:pt x="495" y="49"/>
                  <a:pt x="494" y="49"/>
                </a:cubicBezTo>
                <a:cubicBezTo>
                  <a:pt x="494" y="49"/>
                  <a:pt x="494" y="49"/>
                  <a:pt x="494" y="49"/>
                </a:cubicBezTo>
                <a:cubicBezTo>
                  <a:pt x="493" y="49"/>
                  <a:pt x="492" y="49"/>
                  <a:pt x="492" y="50"/>
                </a:cubicBezTo>
                <a:cubicBezTo>
                  <a:pt x="491" y="49"/>
                  <a:pt x="490" y="49"/>
                  <a:pt x="489" y="49"/>
                </a:cubicBezTo>
                <a:cubicBezTo>
                  <a:pt x="490" y="50"/>
                  <a:pt x="487" y="50"/>
                  <a:pt x="486" y="50"/>
                </a:cubicBezTo>
                <a:cubicBezTo>
                  <a:pt x="486" y="50"/>
                  <a:pt x="485" y="50"/>
                  <a:pt x="484" y="50"/>
                </a:cubicBezTo>
                <a:cubicBezTo>
                  <a:pt x="484" y="50"/>
                  <a:pt x="484" y="50"/>
                  <a:pt x="484" y="50"/>
                </a:cubicBezTo>
                <a:cubicBezTo>
                  <a:pt x="483" y="50"/>
                  <a:pt x="482" y="50"/>
                  <a:pt x="482" y="50"/>
                </a:cubicBezTo>
                <a:cubicBezTo>
                  <a:pt x="481" y="50"/>
                  <a:pt x="481" y="50"/>
                  <a:pt x="481" y="50"/>
                </a:cubicBezTo>
                <a:cubicBezTo>
                  <a:pt x="481" y="51"/>
                  <a:pt x="481" y="50"/>
                  <a:pt x="481" y="51"/>
                </a:cubicBezTo>
                <a:cubicBezTo>
                  <a:pt x="480" y="51"/>
                  <a:pt x="482" y="51"/>
                  <a:pt x="480" y="51"/>
                </a:cubicBezTo>
                <a:cubicBezTo>
                  <a:pt x="479" y="51"/>
                  <a:pt x="479" y="51"/>
                  <a:pt x="478" y="51"/>
                </a:cubicBezTo>
                <a:cubicBezTo>
                  <a:pt x="478" y="51"/>
                  <a:pt x="476" y="51"/>
                  <a:pt x="476" y="51"/>
                </a:cubicBezTo>
                <a:cubicBezTo>
                  <a:pt x="475" y="52"/>
                  <a:pt x="475" y="52"/>
                  <a:pt x="475" y="53"/>
                </a:cubicBezTo>
                <a:cubicBezTo>
                  <a:pt x="474" y="53"/>
                  <a:pt x="474" y="53"/>
                  <a:pt x="474" y="54"/>
                </a:cubicBezTo>
                <a:cubicBezTo>
                  <a:pt x="474" y="54"/>
                  <a:pt x="474" y="54"/>
                  <a:pt x="474" y="54"/>
                </a:cubicBezTo>
                <a:cubicBezTo>
                  <a:pt x="475" y="54"/>
                  <a:pt x="474" y="54"/>
                  <a:pt x="474" y="55"/>
                </a:cubicBezTo>
                <a:cubicBezTo>
                  <a:pt x="475" y="55"/>
                  <a:pt x="475" y="56"/>
                  <a:pt x="475" y="56"/>
                </a:cubicBezTo>
                <a:cubicBezTo>
                  <a:pt x="475" y="57"/>
                  <a:pt x="476" y="57"/>
                  <a:pt x="476" y="57"/>
                </a:cubicBezTo>
                <a:cubicBezTo>
                  <a:pt x="477" y="57"/>
                  <a:pt x="477" y="57"/>
                  <a:pt x="477" y="59"/>
                </a:cubicBezTo>
                <a:cubicBezTo>
                  <a:pt x="478" y="59"/>
                  <a:pt x="479" y="59"/>
                  <a:pt x="479" y="59"/>
                </a:cubicBezTo>
                <a:cubicBezTo>
                  <a:pt x="480" y="59"/>
                  <a:pt x="480" y="59"/>
                  <a:pt x="480" y="59"/>
                </a:cubicBezTo>
                <a:cubicBezTo>
                  <a:pt x="480" y="60"/>
                  <a:pt x="480" y="59"/>
                  <a:pt x="481" y="60"/>
                </a:cubicBezTo>
                <a:cubicBezTo>
                  <a:pt x="481" y="60"/>
                  <a:pt x="481" y="61"/>
                  <a:pt x="482" y="61"/>
                </a:cubicBezTo>
                <a:cubicBezTo>
                  <a:pt x="483" y="61"/>
                  <a:pt x="484" y="60"/>
                  <a:pt x="485" y="61"/>
                </a:cubicBezTo>
                <a:cubicBezTo>
                  <a:pt x="488" y="61"/>
                  <a:pt x="489" y="60"/>
                  <a:pt x="489" y="58"/>
                </a:cubicBezTo>
                <a:cubicBezTo>
                  <a:pt x="490" y="58"/>
                  <a:pt x="490" y="58"/>
                  <a:pt x="491" y="59"/>
                </a:cubicBezTo>
                <a:cubicBezTo>
                  <a:pt x="491" y="59"/>
                  <a:pt x="491" y="60"/>
                  <a:pt x="491" y="60"/>
                </a:cubicBezTo>
                <a:cubicBezTo>
                  <a:pt x="492" y="61"/>
                  <a:pt x="494" y="61"/>
                  <a:pt x="495" y="61"/>
                </a:cubicBezTo>
                <a:cubicBezTo>
                  <a:pt x="496" y="61"/>
                  <a:pt x="497" y="61"/>
                  <a:pt x="498" y="60"/>
                </a:cubicBezTo>
                <a:cubicBezTo>
                  <a:pt x="499" y="60"/>
                  <a:pt x="499" y="60"/>
                  <a:pt x="500" y="60"/>
                </a:cubicBezTo>
                <a:cubicBezTo>
                  <a:pt x="501" y="60"/>
                  <a:pt x="503" y="60"/>
                  <a:pt x="505" y="60"/>
                </a:cubicBezTo>
                <a:cubicBezTo>
                  <a:pt x="505" y="60"/>
                  <a:pt x="506" y="61"/>
                  <a:pt x="505" y="62"/>
                </a:cubicBezTo>
                <a:cubicBezTo>
                  <a:pt x="505" y="62"/>
                  <a:pt x="504" y="62"/>
                  <a:pt x="504" y="63"/>
                </a:cubicBezTo>
                <a:cubicBezTo>
                  <a:pt x="503" y="63"/>
                  <a:pt x="503" y="62"/>
                  <a:pt x="501" y="62"/>
                </a:cubicBezTo>
                <a:cubicBezTo>
                  <a:pt x="501" y="62"/>
                  <a:pt x="502" y="62"/>
                  <a:pt x="501" y="62"/>
                </a:cubicBezTo>
                <a:cubicBezTo>
                  <a:pt x="501" y="62"/>
                  <a:pt x="500" y="62"/>
                  <a:pt x="500" y="62"/>
                </a:cubicBezTo>
                <a:cubicBezTo>
                  <a:pt x="499" y="62"/>
                  <a:pt x="498" y="62"/>
                  <a:pt x="497" y="62"/>
                </a:cubicBezTo>
                <a:cubicBezTo>
                  <a:pt x="496" y="62"/>
                  <a:pt x="497" y="62"/>
                  <a:pt x="496" y="62"/>
                </a:cubicBezTo>
                <a:cubicBezTo>
                  <a:pt x="496" y="63"/>
                  <a:pt x="496" y="62"/>
                  <a:pt x="496" y="63"/>
                </a:cubicBezTo>
                <a:cubicBezTo>
                  <a:pt x="494" y="63"/>
                  <a:pt x="493" y="62"/>
                  <a:pt x="492" y="62"/>
                </a:cubicBezTo>
                <a:cubicBezTo>
                  <a:pt x="491" y="63"/>
                  <a:pt x="490" y="63"/>
                  <a:pt x="489" y="64"/>
                </a:cubicBezTo>
                <a:cubicBezTo>
                  <a:pt x="488" y="64"/>
                  <a:pt x="486" y="64"/>
                  <a:pt x="485" y="64"/>
                </a:cubicBezTo>
                <a:cubicBezTo>
                  <a:pt x="485" y="66"/>
                  <a:pt x="486" y="66"/>
                  <a:pt x="487" y="66"/>
                </a:cubicBezTo>
                <a:cubicBezTo>
                  <a:pt x="486" y="67"/>
                  <a:pt x="484" y="66"/>
                  <a:pt x="483" y="66"/>
                </a:cubicBezTo>
                <a:cubicBezTo>
                  <a:pt x="483" y="66"/>
                  <a:pt x="482" y="66"/>
                  <a:pt x="482" y="66"/>
                </a:cubicBezTo>
                <a:cubicBezTo>
                  <a:pt x="481" y="65"/>
                  <a:pt x="481" y="65"/>
                  <a:pt x="480" y="65"/>
                </a:cubicBezTo>
                <a:cubicBezTo>
                  <a:pt x="480" y="65"/>
                  <a:pt x="480" y="64"/>
                  <a:pt x="479" y="65"/>
                </a:cubicBezTo>
                <a:cubicBezTo>
                  <a:pt x="479" y="65"/>
                  <a:pt x="477" y="65"/>
                  <a:pt x="477" y="66"/>
                </a:cubicBezTo>
                <a:cubicBezTo>
                  <a:pt x="477" y="66"/>
                  <a:pt x="478" y="66"/>
                  <a:pt x="478" y="67"/>
                </a:cubicBezTo>
                <a:cubicBezTo>
                  <a:pt x="478" y="68"/>
                  <a:pt x="479" y="68"/>
                  <a:pt x="479" y="69"/>
                </a:cubicBezTo>
                <a:cubicBezTo>
                  <a:pt x="479" y="69"/>
                  <a:pt x="481" y="68"/>
                  <a:pt x="481" y="68"/>
                </a:cubicBezTo>
                <a:cubicBezTo>
                  <a:pt x="481" y="69"/>
                  <a:pt x="482" y="69"/>
                  <a:pt x="482" y="70"/>
                </a:cubicBezTo>
                <a:cubicBezTo>
                  <a:pt x="483" y="70"/>
                  <a:pt x="484" y="70"/>
                  <a:pt x="484" y="70"/>
                </a:cubicBezTo>
                <a:cubicBezTo>
                  <a:pt x="485" y="70"/>
                  <a:pt x="487" y="70"/>
                  <a:pt x="485" y="71"/>
                </a:cubicBezTo>
                <a:cubicBezTo>
                  <a:pt x="483" y="71"/>
                  <a:pt x="484" y="72"/>
                  <a:pt x="485" y="73"/>
                </a:cubicBezTo>
                <a:cubicBezTo>
                  <a:pt x="486" y="73"/>
                  <a:pt x="486" y="74"/>
                  <a:pt x="487" y="75"/>
                </a:cubicBezTo>
                <a:cubicBezTo>
                  <a:pt x="487" y="75"/>
                  <a:pt x="488" y="74"/>
                  <a:pt x="488" y="75"/>
                </a:cubicBezTo>
                <a:cubicBezTo>
                  <a:pt x="489" y="75"/>
                  <a:pt x="490" y="75"/>
                  <a:pt x="491" y="75"/>
                </a:cubicBezTo>
                <a:cubicBezTo>
                  <a:pt x="491" y="75"/>
                  <a:pt x="495" y="76"/>
                  <a:pt x="496" y="76"/>
                </a:cubicBezTo>
                <a:cubicBezTo>
                  <a:pt x="496" y="75"/>
                  <a:pt x="495" y="73"/>
                  <a:pt x="495" y="73"/>
                </a:cubicBezTo>
                <a:cubicBezTo>
                  <a:pt x="495" y="72"/>
                  <a:pt x="496" y="72"/>
                  <a:pt x="496" y="71"/>
                </a:cubicBezTo>
                <a:cubicBezTo>
                  <a:pt x="497" y="71"/>
                  <a:pt x="497" y="71"/>
                  <a:pt x="498" y="72"/>
                </a:cubicBezTo>
                <a:cubicBezTo>
                  <a:pt x="498" y="73"/>
                  <a:pt x="499" y="74"/>
                  <a:pt x="500" y="73"/>
                </a:cubicBezTo>
                <a:cubicBezTo>
                  <a:pt x="500" y="72"/>
                  <a:pt x="500" y="72"/>
                  <a:pt x="501" y="72"/>
                </a:cubicBezTo>
                <a:cubicBezTo>
                  <a:pt x="502" y="71"/>
                  <a:pt x="503" y="71"/>
                  <a:pt x="504" y="71"/>
                </a:cubicBezTo>
                <a:cubicBezTo>
                  <a:pt x="505" y="71"/>
                  <a:pt x="505" y="72"/>
                  <a:pt x="505" y="73"/>
                </a:cubicBezTo>
                <a:cubicBezTo>
                  <a:pt x="505" y="73"/>
                  <a:pt x="506" y="73"/>
                  <a:pt x="506" y="74"/>
                </a:cubicBezTo>
                <a:cubicBezTo>
                  <a:pt x="507" y="75"/>
                  <a:pt x="508" y="73"/>
                  <a:pt x="508" y="72"/>
                </a:cubicBezTo>
                <a:cubicBezTo>
                  <a:pt x="509" y="72"/>
                  <a:pt x="509" y="73"/>
                  <a:pt x="510" y="73"/>
                </a:cubicBezTo>
                <a:cubicBezTo>
                  <a:pt x="511" y="73"/>
                  <a:pt x="510" y="72"/>
                  <a:pt x="511" y="72"/>
                </a:cubicBezTo>
                <a:cubicBezTo>
                  <a:pt x="512" y="72"/>
                  <a:pt x="513" y="72"/>
                  <a:pt x="515" y="72"/>
                </a:cubicBezTo>
                <a:cubicBezTo>
                  <a:pt x="515" y="72"/>
                  <a:pt x="515" y="72"/>
                  <a:pt x="515" y="72"/>
                </a:cubicBezTo>
                <a:cubicBezTo>
                  <a:pt x="515" y="71"/>
                  <a:pt x="515" y="71"/>
                  <a:pt x="516" y="71"/>
                </a:cubicBezTo>
                <a:cubicBezTo>
                  <a:pt x="517" y="70"/>
                  <a:pt x="517" y="70"/>
                  <a:pt x="518" y="71"/>
                </a:cubicBezTo>
                <a:cubicBezTo>
                  <a:pt x="518" y="72"/>
                  <a:pt x="518" y="72"/>
                  <a:pt x="518" y="73"/>
                </a:cubicBezTo>
                <a:cubicBezTo>
                  <a:pt x="519" y="73"/>
                  <a:pt x="520" y="72"/>
                  <a:pt x="521" y="72"/>
                </a:cubicBezTo>
                <a:cubicBezTo>
                  <a:pt x="521" y="71"/>
                  <a:pt x="522" y="70"/>
                  <a:pt x="523" y="71"/>
                </a:cubicBezTo>
                <a:cubicBezTo>
                  <a:pt x="523" y="71"/>
                  <a:pt x="524" y="72"/>
                  <a:pt x="524" y="72"/>
                </a:cubicBezTo>
                <a:cubicBezTo>
                  <a:pt x="525" y="72"/>
                  <a:pt x="525" y="72"/>
                  <a:pt x="526" y="72"/>
                </a:cubicBezTo>
                <a:cubicBezTo>
                  <a:pt x="527" y="72"/>
                  <a:pt x="531" y="73"/>
                  <a:pt x="531" y="74"/>
                </a:cubicBezTo>
                <a:cubicBezTo>
                  <a:pt x="531" y="74"/>
                  <a:pt x="533" y="75"/>
                  <a:pt x="534" y="76"/>
                </a:cubicBezTo>
                <a:cubicBezTo>
                  <a:pt x="535" y="76"/>
                  <a:pt x="535" y="76"/>
                  <a:pt x="535" y="77"/>
                </a:cubicBezTo>
                <a:cubicBezTo>
                  <a:pt x="535" y="77"/>
                  <a:pt x="537" y="76"/>
                  <a:pt x="537" y="77"/>
                </a:cubicBezTo>
                <a:cubicBezTo>
                  <a:pt x="537" y="77"/>
                  <a:pt x="539" y="77"/>
                  <a:pt x="539" y="77"/>
                </a:cubicBezTo>
                <a:cubicBezTo>
                  <a:pt x="539" y="77"/>
                  <a:pt x="542" y="79"/>
                  <a:pt x="542" y="79"/>
                </a:cubicBezTo>
                <a:cubicBezTo>
                  <a:pt x="542" y="81"/>
                  <a:pt x="542" y="81"/>
                  <a:pt x="543" y="81"/>
                </a:cubicBezTo>
                <a:cubicBezTo>
                  <a:pt x="544" y="81"/>
                  <a:pt x="544" y="82"/>
                  <a:pt x="545" y="82"/>
                </a:cubicBezTo>
                <a:cubicBezTo>
                  <a:pt x="546" y="82"/>
                  <a:pt x="545" y="83"/>
                  <a:pt x="546" y="83"/>
                </a:cubicBezTo>
                <a:cubicBezTo>
                  <a:pt x="547" y="83"/>
                  <a:pt x="548" y="84"/>
                  <a:pt x="548" y="85"/>
                </a:cubicBezTo>
                <a:cubicBezTo>
                  <a:pt x="548" y="85"/>
                  <a:pt x="548" y="85"/>
                  <a:pt x="548" y="85"/>
                </a:cubicBezTo>
                <a:cubicBezTo>
                  <a:pt x="548" y="86"/>
                  <a:pt x="548" y="86"/>
                  <a:pt x="549" y="86"/>
                </a:cubicBezTo>
                <a:cubicBezTo>
                  <a:pt x="550" y="86"/>
                  <a:pt x="551" y="86"/>
                  <a:pt x="552" y="87"/>
                </a:cubicBezTo>
                <a:cubicBezTo>
                  <a:pt x="551" y="87"/>
                  <a:pt x="551" y="88"/>
                  <a:pt x="551" y="88"/>
                </a:cubicBezTo>
                <a:cubicBezTo>
                  <a:pt x="551" y="88"/>
                  <a:pt x="551" y="88"/>
                  <a:pt x="551" y="89"/>
                </a:cubicBezTo>
                <a:cubicBezTo>
                  <a:pt x="551" y="89"/>
                  <a:pt x="551" y="89"/>
                  <a:pt x="551" y="90"/>
                </a:cubicBezTo>
                <a:cubicBezTo>
                  <a:pt x="551" y="91"/>
                  <a:pt x="548" y="90"/>
                  <a:pt x="548" y="91"/>
                </a:cubicBezTo>
                <a:cubicBezTo>
                  <a:pt x="549" y="91"/>
                  <a:pt x="550" y="91"/>
                  <a:pt x="552" y="90"/>
                </a:cubicBezTo>
                <a:cubicBezTo>
                  <a:pt x="552" y="91"/>
                  <a:pt x="551" y="91"/>
                  <a:pt x="552" y="92"/>
                </a:cubicBezTo>
                <a:cubicBezTo>
                  <a:pt x="553" y="93"/>
                  <a:pt x="553" y="93"/>
                  <a:pt x="553" y="94"/>
                </a:cubicBezTo>
                <a:cubicBezTo>
                  <a:pt x="553" y="94"/>
                  <a:pt x="555" y="95"/>
                  <a:pt x="555" y="96"/>
                </a:cubicBezTo>
                <a:cubicBezTo>
                  <a:pt x="555" y="96"/>
                  <a:pt x="555" y="96"/>
                  <a:pt x="555" y="96"/>
                </a:cubicBezTo>
                <a:cubicBezTo>
                  <a:pt x="555" y="96"/>
                  <a:pt x="555" y="97"/>
                  <a:pt x="555" y="97"/>
                </a:cubicBezTo>
                <a:cubicBezTo>
                  <a:pt x="555" y="97"/>
                  <a:pt x="556" y="97"/>
                  <a:pt x="556" y="97"/>
                </a:cubicBezTo>
                <a:cubicBezTo>
                  <a:pt x="556" y="98"/>
                  <a:pt x="556" y="99"/>
                  <a:pt x="557" y="99"/>
                </a:cubicBezTo>
                <a:cubicBezTo>
                  <a:pt x="557" y="99"/>
                  <a:pt x="556" y="100"/>
                  <a:pt x="556" y="100"/>
                </a:cubicBezTo>
                <a:cubicBezTo>
                  <a:pt x="557" y="100"/>
                  <a:pt x="558" y="100"/>
                  <a:pt x="558" y="100"/>
                </a:cubicBezTo>
                <a:cubicBezTo>
                  <a:pt x="559" y="100"/>
                  <a:pt x="559" y="101"/>
                  <a:pt x="558" y="101"/>
                </a:cubicBezTo>
                <a:cubicBezTo>
                  <a:pt x="558" y="101"/>
                  <a:pt x="558" y="101"/>
                  <a:pt x="558" y="102"/>
                </a:cubicBezTo>
                <a:cubicBezTo>
                  <a:pt x="558" y="102"/>
                  <a:pt x="558" y="102"/>
                  <a:pt x="558" y="103"/>
                </a:cubicBezTo>
                <a:cubicBezTo>
                  <a:pt x="557" y="103"/>
                  <a:pt x="558" y="104"/>
                  <a:pt x="558" y="105"/>
                </a:cubicBezTo>
                <a:cubicBezTo>
                  <a:pt x="557" y="105"/>
                  <a:pt x="555" y="104"/>
                  <a:pt x="554" y="105"/>
                </a:cubicBezTo>
                <a:cubicBezTo>
                  <a:pt x="553" y="105"/>
                  <a:pt x="555" y="106"/>
                  <a:pt x="555" y="106"/>
                </a:cubicBezTo>
                <a:cubicBezTo>
                  <a:pt x="555" y="107"/>
                  <a:pt x="554" y="108"/>
                  <a:pt x="554" y="109"/>
                </a:cubicBezTo>
                <a:cubicBezTo>
                  <a:pt x="553" y="109"/>
                  <a:pt x="553" y="108"/>
                  <a:pt x="553" y="109"/>
                </a:cubicBezTo>
                <a:cubicBezTo>
                  <a:pt x="553" y="111"/>
                  <a:pt x="554" y="110"/>
                  <a:pt x="555" y="110"/>
                </a:cubicBezTo>
                <a:cubicBezTo>
                  <a:pt x="555" y="111"/>
                  <a:pt x="554" y="111"/>
                  <a:pt x="554" y="112"/>
                </a:cubicBezTo>
                <a:cubicBezTo>
                  <a:pt x="553" y="112"/>
                  <a:pt x="552" y="112"/>
                  <a:pt x="553" y="113"/>
                </a:cubicBezTo>
                <a:cubicBezTo>
                  <a:pt x="553" y="113"/>
                  <a:pt x="554" y="113"/>
                  <a:pt x="554" y="114"/>
                </a:cubicBezTo>
                <a:cubicBezTo>
                  <a:pt x="554" y="114"/>
                  <a:pt x="554" y="114"/>
                  <a:pt x="555" y="114"/>
                </a:cubicBezTo>
                <a:cubicBezTo>
                  <a:pt x="556" y="114"/>
                  <a:pt x="557" y="115"/>
                  <a:pt x="558" y="115"/>
                </a:cubicBezTo>
                <a:cubicBezTo>
                  <a:pt x="560" y="114"/>
                  <a:pt x="559" y="113"/>
                  <a:pt x="560" y="112"/>
                </a:cubicBezTo>
                <a:cubicBezTo>
                  <a:pt x="560" y="112"/>
                  <a:pt x="560" y="110"/>
                  <a:pt x="561" y="110"/>
                </a:cubicBezTo>
                <a:cubicBezTo>
                  <a:pt x="561" y="111"/>
                  <a:pt x="561" y="112"/>
                  <a:pt x="562" y="113"/>
                </a:cubicBezTo>
                <a:cubicBezTo>
                  <a:pt x="562" y="113"/>
                  <a:pt x="563" y="113"/>
                  <a:pt x="563" y="112"/>
                </a:cubicBezTo>
                <a:cubicBezTo>
                  <a:pt x="563" y="112"/>
                  <a:pt x="564" y="112"/>
                  <a:pt x="564" y="112"/>
                </a:cubicBezTo>
                <a:cubicBezTo>
                  <a:pt x="564" y="113"/>
                  <a:pt x="564" y="113"/>
                  <a:pt x="565" y="113"/>
                </a:cubicBezTo>
                <a:cubicBezTo>
                  <a:pt x="566" y="113"/>
                  <a:pt x="567" y="113"/>
                  <a:pt x="567" y="113"/>
                </a:cubicBezTo>
                <a:cubicBezTo>
                  <a:pt x="568" y="113"/>
                  <a:pt x="567" y="113"/>
                  <a:pt x="568" y="113"/>
                </a:cubicBezTo>
                <a:cubicBezTo>
                  <a:pt x="568" y="113"/>
                  <a:pt x="569" y="113"/>
                  <a:pt x="570" y="113"/>
                </a:cubicBezTo>
                <a:cubicBezTo>
                  <a:pt x="569" y="114"/>
                  <a:pt x="569" y="114"/>
                  <a:pt x="569" y="114"/>
                </a:cubicBezTo>
                <a:cubicBezTo>
                  <a:pt x="569" y="115"/>
                  <a:pt x="570" y="115"/>
                  <a:pt x="570" y="115"/>
                </a:cubicBezTo>
                <a:cubicBezTo>
                  <a:pt x="572" y="115"/>
                  <a:pt x="573" y="114"/>
                  <a:pt x="575" y="114"/>
                </a:cubicBezTo>
                <a:cubicBezTo>
                  <a:pt x="575" y="114"/>
                  <a:pt x="575" y="114"/>
                  <a:pt x="574" y="115"/>
                </a:cubicBezTo>
                <a:cubicBezTo>
                  <a:pt x="574" y="115"/>
                  <a:pt x="572" y="115"/>
                  <a:pt x="572" y="116"/>
                </a:cubicBezTo>
                <a:cubicBezTo>
                  <a:pt x="572" y="116"/>
                  <a:pt x="572" y="116"/>
                  <a:pt x="573" y="116"/>
                </a:cubicBezTo>
                <a:cubicBezTo>
                  <a:pt x="573" y="116"/>
                  <a:pt x="574" y="116"/>
                  <a:pt x="574" y="116"/>
                </a:cubicBezTo>
                <a:cubicBezTo>
                  <a:pt x="574" y="115"/>
                  <a:pt x="575" y="116"/>
                  <a:pt x="576" y="116"/>
                </a:cubicBezTo>
                <a:cubicBezTo>
                  <a:pt x="577" y="116"/>
                  <a:pt x="577" y="116"/>
                  <a:pt x="578" y="117"/>
                </a:cubicBezTo>
                <a:cubicBezTo>
                  <a:pt x="577" y="117"/>
                  <a:pt x="575" y="117"/>
                  <a:pt x="574" y="117"/>
                </a:cubicBezTo>
                <a:cubicBezTo>
                  <a:pt x="575" y="118"/>
                  <a:pt x="575" y="118"/>
                  <a:pt x="576" y="118"/>
                </a:cubicBezTo>
                <a:cubicBezTo>
                  <a:pt x="576" y="118"/>
                  <a:pt x="577" y="119"/>
                  <a:pt x="577" y="119"/>
                </a:cubicBezTo>
                <a:cubicBezTo>
                  <a:pt x="576" y="119"/>
                  <a:pt x="575" y="119"/>
                  <a:pt x="575" y="119"/>
                </a:cubicBezTo>
                <a:cubicBezTo>
                  <a:pt x="574" y="120"/>
                  <a:pt x="574" y="120"/>
                  <a:pt x="574" y="121"/>
                </a:cubicBezTo>
                <a:cubicBezTo>
                  <a:pt x="575" y="121"/>
                  <a:pt x="576" y="121"/>
                  <a:pt x="577" y="121"/>
                </a:cubicBezTo>
                <a:cubicBezTo>
                  <a:pt x="577" y="121"/>
                  <a:pt x="577" y="122"/>
                  <a:pt x="577" y="122"/>
                </a:cubicBezTo>
                <a:cubicBezTo>
                  <a:pt x="576" y="122"/>
                  <a:pt x="575" y="122"/>
                  <a:pt x="575" y="122"/>
                </a:cubicBezTo>
                <a:cubicBezTo>
                  <a:pt x="575" y="123"/>
                  <a:pt x="575" y="123"/>
                  <a:pt x="576" y="123"/>
                </a:cubicBezTo>
                <a:cubicBezTo>
                  <a:pt x="577" y="124"/>
                  <a:pt x="577" y="123"/>
                  <a:pt x="577" y="125"/>
                </a:cubicBezTo>
                <a:cubicBezTo>
                  <a:pt x="576" y="125"/>
                  <a:pt x="575" y="124"/>
                  <a:pt x="574" y="124"/>
                </a:cubicBezTo>
                <a:cubicBezTo>
                  <a:pt x="574" y="123"/>
                  <a:pt x="573" y="123"/>
                  <a:pt x="572" y="123"/>
                </a:cubicBezTo>
                <a:cubicBezTo>
                  <a:pt x="571" y="123"/>
                  <a:pt x="572" y="123"/>
                  <a:pt x="571" y="122"/>
                </a:cubicBezTo>
                <a:cubicBezTo>
                  <a:pt x="570" y="122"/>
                  <a:pt x="570" y="121"/>
                  <a:pt x="569" y="121"/>
                </a:cubicBezTo>
                <a:cubicBezTo>
                  <a:pt x="565" y="120"/>
                  <a:pt x="562" y="120"/>
                  <a:pt x="559" y="120"/>
                </a:cubicBezTo>
                <a:cubicBezTo>
                  <a:pt x="559" y="120"/>
                  <a:pt x="558" y="120"/>
                  <a:pt x="558" y="121"/>
                </a:cubicBezTo>
                <a:cubicBezTo>
                  <a:pt x="557" y="121"/>
                  <a:pt x="557" y="122"/>
                  <a:pt x="558" y="123"/>
                </a:cubicBezTo>
                <a:cubicBezTo>
                  <a:pt x="558" y="123"/>
                  <a:pt x="558" y="123"/>
                  <a:pt x="558" y="123"/>
                </a:cubicBezTo>
                <a:cubicBezTo>
                  <a:pt x="559" y="123"/>
                  <a:pt x="559" y="123"/>
                  <a:pt x="559" y="123"/>
                </a:cubicBezTo>
                <a:cubicBezTo>
                  <a:pt x="559" y="123"/>
                  <a:pt x="560" y="123"/>
                  <a:pt x="560" y="123"/>
                </a:cubicBezTo>
                <a:cubicBezTo>
                  <a:pt x="561" y="124"/>
                  <a:pt x="561" y="124"/>
                  <a:pt x="562" y="124"/>
                </a:cubicBezTo>
                <a:cubicBezTo>
                  <a:pt x="562" y="125"/>
                  <a:pt x="562" y="126"/>
                  <a:pt x="561" y="125"/>
                </a:cubicBezTo>
                <a:cubicBezTo>
                  <a:pt x="561" y="125"/>
                  <a:pt x="561" y="125"/>
                  <a:pt x="561" y="125"/>
                </a:cubicBezTo>
                <a:cubicBezTo>
                  <a:pt x="560" y="125"/>
                  <a:pt x="559" y="125"/>
                  <a:pt x="559" y="125"/>
                </a:cubicBezTo>
                <a:cubicBezTo>
                  <a:pt x="558" y="125"/>
                  <a:pt x="556" y="125"/>
                  <a:pt x="556" y="127"/>
                </a:cubicBezTo>
                <a:cubicBezTo>
                  <a:pt x="556" y="127"/>
                  <a:pt x="557" y="128"/>
                  <a:pt x="557" y="128"/>
                </a:cubicBezTo>
                <a:cubicBezTo>
                  <a:pt x="556" y="129"/>
                  <a:pt x="556" y="129"/>
                  <a:pt x="555" y="130"/>
                </a:cubicBezTo>
                <a:cubicBezTo>
                  <a:pt x="555" y="131"/>
                  <a:pt x="555" y="131"/>
                  <a:pt x="554" y="132"/>
                </a:cubicBezTo>
                <a:cubicBezTo>
                  <a:pt x="554" y="132"/>
                  <a:pt x="555" y="133"/>
                  <a:pt x="555" y="133"/>
                </a:cubicBezTo>
                <a:cubicBezTo>
                  <a:pt x="556" y="133"/>
                  <a:pt x="557" y="133"/>
                  <a:pt x="558" y="133"/>
                </a:cubicBezTo>
                <a:cubicBezTo>
                  <a:pt x="559" y="133"/>
                  <a:pt x="560" y="134"/>
                  <a:pt x="560" y="133"/>
                </a:cubicBezTo>
                <a:cubicBezTo>
                  <a:pt x="560" y="133"/>
                  <a:pt x="560" y="133"/>
                  <a:pt x="561" y="133"/>
                </a:cubicBezTo>
                <a:cubicBezTo>
                  <a:pt x="561" y="133"/>
                  <a:pt x="561" y="134"/>
                  <a:pt x="561" y="134"/>
                </a:cubicBezTo>
                <a:cubicBezTo>
                  <a:pt x="561" y="135"/>
                  <a:pt x="561" y="135"/>
                  <a:pt x="560" y="135"/>
                </a:cubicBezTo>
                <a:cubicBezTo>
                  <a:pt x="559" y="135"/>
                  <a:pt x="558" y="135"/>
                  <a:pt x="557" y="135"/>
                </a:cubicBezTo>
                <a:cubicBezTo>
                  <a:pt x="557" y="136"/>
                  <a:pt x="558" y="136"/>
                  <a:pt x="560" y="137"/>
                </a:cubicBezTo>
                <a:cubicBezTo>
                  <a:pt x="561" y="137"/>
                  <a:pt x="562" y="137"/>
                  <a:pt x="563" y="137"/>
                </a:cubicBezTo>
                <a:cubicBezTo>
                  <a:pt x="563" y="136"/>
                  <a:pt x="563" y="136"/>
                  <a:pt x="563" y="136"/>
                </a:cubicBezTo>
                <a:cubicBezTo>
                  <a:pt x="563" y="136"/>
                  <a:pt x="564" y="136"/>
                  <a:pt x="564" y="136"/>
                </a:cubicBezTo>
                <a:cubicBezTo>
                  <a:pt x="564" y="135"/>
                  <a:pt x="565" y="136"/>
                  <a:pt x="566" y="136"/>
                </a:cubicBezTo>
                <a:cubicBezTo>
                  <a:pt x="566" y="136"/>
                  <a:pt x="566" y="135"/>
                  <a:pt x="566" y="135"/>
                </a:cubicBezTo>
                <a:cubicBezTo>
                  <a:pt x="567" y="135"/>
                  <a:pt x="568" y="134"/>
                  <a:pt x="568" y="134"/>
                </a:cubicBezTo>
                <a:cubicBezTo>
                  <a:pt x="569" y="134"/>
                  <a:pt x="569" y="134"/>
                  <a:pt x="570" y="133"/>
                </a:cubicBezTo>
                <a:cubicBezTo>
                  <a:pt x="570" y="133"/>
                  <a:pt x="570" y="133"/>
                  <a:pt x="570" y="133"/>
                </a:cubicBezTo>
                <a:cubicBezTo>
                  <a:pt x="570" y="133"/>
                  <a:pt x="571" y="132"/>
                  <a:pt x="571" y="132"/>
                </a:cubicBezTo>
                <a:cubicBezTo>
                  <a:pt x="569" y="131"/>
                  <a:pt x="568" y="130"/>
                  <a:pt x="567" y="129"/>
                </a:cubicBezTo>
                <a:cubicBezTo>
                  <a:pt x="566" y="127"/>
                  <a:pt x="565" y="126"/>
                  <a:pt x="564" y="126"/>
                </a:cubicBezTo>
                <a:cubicBezTo>
                  <a:pt x="563" y="126"/>
                  <a:pt x="563" y="125"/>
                  <a:pt x="563" y="124"/>
                </a:cubicBezTo>
                <a:cubicBezTo>
                  <a:pt x="563" y="124"/>
                  <a:pt x="564" y="124"/>
                  <a:pt x="565" y="125"/>
                </a:cubicBezTo>
                <a:cubicBezTo>
                  <a:pt x="565" y="125"/>
                  <a:pt x="565" y="125"/>
                  <a:pt x="565" y="125"/>
                </a:cubicBezTo>
                <a:cubicBezTo>
                  <a:pt x="565" y="125"/>
                  <a:pt x="566" y="125"/>
                  <a:pt x="566" y="125"/>
                </a:cubicBezTo>
                <a:cubicBezTo>
                  <a:pt x="567" y="125"/>
                  <a:pt x="567" y="126"/>
                  <a:pt x="568" y="126"/>
                </a:cubicBezTo>
                <a:cubicBezTo>
                  <a:pt x="568" y="126"/>
                  <a:pt x="568" y="127"/>
                  <a:pt x="569" y="127"/>
                </a:cubicBezTo>
                <a:cubicBezTo>
                  <a:pt x="570" y="127"/>
                  <a:pt x="569" y="128"/>
                  <a:pt x="570" y="128"/>
                </a:cubicBezTo>
                <a:cubicBezTo>
                  <a:pt x="571" y="128"/>
                  <a:pt x="572" y="128"/>
                  <a:pt x="573" y="127"/>
                </a:cubicBezTo>
                <a:cubicBezTo>
                  <a:pt x="574" y="127"/>
                  <a:pt x="573" y="128"/>
                  <a:pt x="575" y="128"/>
                </a:cubicBezTo>
                <a:cubicBezTo>
                  <a:pt x="576" y="128"/>
                  <a:pt x="577" y="127"/>
                  <a:pt x="578" y="127"/>
                </a:cubicBezTo>
                <a:cubicBezTo>
                  <a:pt x="577" y="128"/>
                  <a:pt x="577" y="128"/>
                  <a:pt x="577" y="128"/>
                </a:cubicBezTo>
                <a:cubicBezTo>
                  <a:pt x="577" y="129"/>
                  <a:pt x="577" y="130"/>
                  <a:pt x="578" y="130"/>
                </a:cubicBezTo>
                <a:cubicBezTo>
                  <a:pt x="577" y="130"/>
                  <a:pt x="577" y="130"/>
                  <a:pt x="577" y="130"/>
                </a:cubicBezTo>
                <a:cubicBezTo>
                  <a:pt x="576" y="131"/>
                  <a:pt x="576" y="131"/>
                  <a:pt x="576" y="132"/>
                </a:cubicBezTo>
                <a:cubicBezTo>
                  <a:pt x="576" y="132"/>
                  <a:pt x="577" y="132"/>
                  <a:pt x="577" y="132"/>
                </a:cubicBezTo>
                <a:cubicBezTo>
                  <a:pt x="576" y="133"/>
                  <a:pt x="576" y="133"/>
                  <a:pt x="576" y="134"/>
                </a:cubicBezTo>
                <a:cubicBezTo>
                  <a:pt x="577" y="134"/>
                  <a:pt x="578" y="134"/>
                  <a:pt x="578" y="134"/>
                </a:cubicBezTo>
                <a:cubicBezTo>
                  <a:pt x="579" y="134"/>
                  <a:pt x="578" y="134"/>
                  <a:pt x="579" y="134"/>
                </a:cubicBezTo>
                <a:cubicBezTo>
                  <a:pt x="578" y="135"/>
                  <a:pt x="578" y="135"/>
                  <a:pt x="578" y="136"/>
                </a:cubicBezTo>
                <a:cubicBezTo>
                  <a:pt x="578" y="136"/>
                  <a:pt x="579" y="136"/>
                  <a:pt x="579" y="136"/>
                </a:cubicBezTo>
                <a:cubicBezTo>
                  <a:pt x="579" y="137"/>
                  <a:pt x="578" y="138"/>
                  <a:pt x="578" y="139"/>
                </a:cubicBezTo>
                <a:cubicBezTo>
                  <a:pt x="578" y="138"/>
                  <a:pt x="577" y="138"/>
                  <a:pt x="577" y="138"/>
                </a:cubicBezTo>
                <a:cubicBezTo>
                  <a:pt x="577" y="137"/>
                  <a:pt x="577" y="137"/>
                  <a:pt x="577" y="136"/>
                </a:cubicBezTo>
                <a:cubicBezTo>
                  <a:pt x="577" y="136"/>
                  <a:pt x="576" y="136"/>
                  <a:pt x="575" y="136"/>
                </a:cubicBezTo>
                <a:cubicBezTo>
                  <a:pt x="575" y="136"/>
                  <a:pt x="575" y="139"/>
                  <a:pt x="575" y="139"/>
                </a:cubicBezTo>
                <a:cubicBezTo>
                  <a:pt x="576" y="139"/>
                  <a:pt x="576" y="139"/>
                  <a:pt x="576" y="140"/>
                </a:cubicBezTo>
                <a:cubicBezTo>
                  <a:pt x="576" y="140"/>
                  <a:pt x="575" y="140"/>
                  <a:pt x="576" y="140"/>
                </a:cubicBezTo>
                <a:cubicBezTo>
                  <a:pt x="576" y="140"/>
                  <a:pt x="576" y="141"/>
                  <a:pt x="577" y="141"/>
                </a:cubicBezTo>
                <a:cubicBezTo>
                  <a:pt x="576" y="141"/>
                  <a:pt x="576" y="142"/>
                  <a:pt x="576" y="142"/>
                </a:cubicBezTo>
                <a:cubicBezTo>
                  <a:pt x="576" y="142"/>
                  <a:pt x="575" y="143"/>
                  <a:pt x="574" y="143"/>
                </a:cubicBezTo>
                <a:cubicBezTo>
                  <a:pt x="574" y="143"/>
                  <a:pt x="572" y="143"/>
                  <a:pt x="572" y="143"/>
                </a:cubicBezTo>
                <a:cubicBezTo>
                  <a:pt x="572" y="142"/>
                  <a:pt x="571" y="143"/>
                  <a:pt x="571" y="142"/>
                </a:cubicBezTo>
                <a:cubicBezTo>
                  <a:pt x="570" y="143"/>
                  <a:pt x="570" y="143"/>
                  <a:pt x="570" y="144"/>
                </a:cubicBezTo>
                <a:cubicBezTo>
                  <a:pt x="570" y="144"/>
                  <a:pt x="568" y="143"/>
                  <a:pt x="568" y="144"/>
                </a:cubicBezTo>
                <a:cubicBezTo>
                  <a:pt x="568" y="143"/>
                  <a:pt x="566" y="145"/>
                  <a:pt x="567" y="145"/>
                </a:cubicBezTo>
                <a:cubicBezTo>
                  <a:pt x="569" y="145"/>
                  <a:pt x="570" y="145"/>
                  <a:pt x="572" y="145"/>
                </a:cubicBezTo>
                <a:cubicBezTo>
                  <a:pt x="572" y="145"/>
                  <a:pt x="573" y="145"/>
                  <a:pt x="574" y="145"/>
                </a:cubicBezTo>
                <a:cubicBezTo>
                  <a:pt x="575" y="145"/>
                  <a:pt x="574" y="145"/>
                  <a:pt x="575" y="145"/>
                </a:cubicBezTo>
                <a:cubicBezTo>
                  <a:pt x="575" y="144"/>
                  <a:pt x="576" y="144"/>
                  <a:pt x="577" y="144"/>
                </a:cubicBezTo>
                <a:cubicBezTo>
                  <a:pt x="577" y="145"/>
                  <a:pt x="577" y="146"/>
                  <a:pt x="577" y="146"/>
                </a:cubicBezTo>
                <a:cubicBezTo>
                  <a:pt x="576" y="146"/>
                  <a:pt x="575" y="146"/>
                  <a:pt x="574" y="146"/>
                </a:cubicBezTo>
                <a:cubicBezTo>
                  <a:pt x="574" y="146"/>
                  <a:pt x="574" y="146"/>
                  <a:pt x="574" y="146"/>
                </a:cubicBezTo>
                <a:cubicBezTo>
                  <a:pt x="574" y="147"/>
                  <a:pt x="573" y="147"/>
                  <a:pt x="572" y="147"/>
                </a:cubicBezTo>
                <a:cubicBezTo>
                  <a:pt x="571" y="147"/>
                  <a:pt x="571" y="147"/>
                  <a:pt x="570" y="147"/>
                </a:cubicBezTo>
                <a:cubicBezTo>
                  <a:pt x="570" y="147"/>
                  <a:pt x="570" y="146"/>
                  <a:pt x="569" y="146"/>
                </a:cubicBezTo>
                <a:cubicBezTo>
                  <a:pt x="569" y="146"/>
                  <a:pt x="568" y="146"/>
                  <a:pt x="568" y="145"/>
                </a:cubicBezTo>
                <a:cubicBezTo>
                  <a:pt x="568" y="146"/>
                  <a:pt x="566" y="146"/>
                  <a:pt x="568" y="147"/>
                </a:cubicBezTo>
                <a:cubicBezTo>
                  <a:pt x="569" y="147"/>
                  <a:pt x="570" y="148"/>
                  <a:pt x="571" y="148"/>
                </a:cubicBezTo>
                <a:cubicBezTo>
                  <a:pt x="570" y="149"/>
                  <a:pt x="569" y="148"/>
                  <a:pt x="568" y="147"/>
                </a:cubicBezTo>
                <a:cubicBezTo>
                  <a:pt x="567" y="147"/>
                  <a:pt x="566" y="147"/>
                  <a:pt x="565" y="148"/>
                </a:cubicBezTo>
                <a:cubicBezTo>
                  <a:pt x="564" y="149"/>
                  <a:pt x="564" y="149"/>
                  <a:pt x="563" y="150"/>
                </a:cubicBezTo>
                <a:cubicBezTo>
                  <a:pt x="563" y="150"/>
                  <a:pt x="563" y="151"/>
                  <a:pt x="563" y="152"/>
                </a:cubicBezTo>
                <a:cubicBezTo>
                  <a:pt x="564" y="152"/>
                  <a:pt x="564" y="151"/>
                  <a:pt x="565" y="151"/>
                </a:cubicBezTo>
                <a:cubicBezTo>
                  <a:pt x="565" y="151"/>
                  <a:pt x="565" y="151"/>
                  <a:pt x="566" y="150"/>
                </a:cubicBezTo>
                <a:cubicBezTo>
                  <a:pt x="566" y="150"/>
                  <a:pt x="566" y="150"/>
                  <a:pt x="566" y="150"/>
                </a:cubicBezTo>
                <a:cubicBezTo>
                  <a:pt x="567" y="150"/>
                  <a:pt x="567" y="150"/>
                  <a:pt x="568" y="150"/>
                </a:cubicBezTo>
                <a:cubicBezTo>
                  <a:pt x="568" y="149"/>
                  <a:pt x="568" y="150"/>
                  <a:pt x="569" y="150"/>
                </a:cubicBezTo>
                <a:cubicBezTo>
                  <a:pt x="570" y="150"/>
                  <a:pt x="569" y="149"/>
                  <a:pt x="570" y="149"/>
                </a:cubicBezTo>
                <a:cubicBezTo>
                  <a:pt x="571" y="149"/>
                  <a:pt x="571" y="149"/>
                  <a:pt x="572" y="149"/>
                </a:cubicBezTo>
                <a:cubicBezTo>
                  <a:pt x="572" y="149"/>
                  <a:pt x="571" y="149"/>
                  <a:pt x="572" y="149"/>
                </a:cubicBezTo>
                <a:cubicBezTo>
                  <a:pt x="573" y="149"/>
                  <a:pt x="572" y="149"/>
                  <a:pt x="571" y="149"/>
                </a:cubicBezTo>
                <a:cubicBezTo>
                  <a:pt x="572" y="150"/>
                  <a:pt x="572" y="150"/>
                  <a:pt x="573" y="151"/>
                </a:cubicBezTo>
                <a:cubicBezTo>
                  <a:pt x="573" y="151"/>
                  <a:pt x="573" y="151"/>
                  <a:pt x="573" y="151"/>
                </a:cubicBezTo>
                <a:cubicBezTo>
                  <a:pt x="574" y="151"/>
                  <a:pt x="575" y="151"/>
                  <a:pt x="575" y="151"/>
                </a:cubicBezTo>
                <a:cubicBezTo>
                  <a:pt x="576" y="151"/>
                  <a:pt x="576" y="150"/>
                  <a:pt x="575" y="150"/>
                </a:cubicBezTo>
                <a:cubicBezTo>
                  <a:pt x="575" y="149"/>
                  <a:pt x="575" y="149"/>
                  <a:pt x="576" y="148"/>
                </a:cubicBezTo>
                <a:cubicBezTo>
                  <a:pt x="576" y="148"/>
                  <a:pt x="577" y="148"/>
                  <a:pt x="578" y="148"/>
                </a:cubicBezTo>
                <a:cubicBezTo>
                  <a:pt x="577" y="149"/>
                  <a:pt x="577" y="149"/>
                  <a:pt x="577" y="149"/>
                </a:cubicBezTo>
                <a:cubicBezTo>
                  <a:pt x="577" y="150"/>
                  <a:pt x="578" y="150"/>
                  <a:pt x="577" y="150"/>
                </a:cubicBezTo>
                <a:cubicBezTo>
                  <a:pt x="577" y="151"/>
                  <a:pt x="577" y="151"/>
                  <a:pt x="577" y="151"/>
                </a:cubicBezTo>
                <a:cubicBezTo>
                  <a:pt x="577" y="152"/>
                  <a:pt x="576" y="152"/>
                  <a:pt x="576" y="152"/>
                </a:cubicBezTo>
                <a:cubicBezTo>
                  <a:pt x="575" y="152"/>
                  <a:pt x="574" y="152"/>
                  <a:pt x="573" y="152"/>
                </a:cubicBezTo>
                <a:cubicBezTo>
                  <a:pt x="573" y="152"/>
                  <a:pt x="573" y="152"/>
                  <a:pt x="573" y="152"/>
                </a:cubicBezTo>
                <a:cubicBezTo>
                  <a:pt x="573" y="152"/>
                  <a:pt x="571" y="151"/>
                  <a:pt x="571" y="151"/>
                </a:cubicBezTo>
                <a:cubicBezTo>
                  <a:pt x="571" y="150"/>
                  <a:pt x="569" y="151"/>
                  <a:pt x="569" y="150"/>
                </a:cubicBezTo>
                <a:cubicBezTo>
                  <a:pt x="568" y="150"/>
                  <a:pt x="567" y="150"/>
                  <a:pt x="566" y="151"/>
                </a:cubicBezTo>
                <a:cubicBezTo>
                  <a:pt x="566" y="151"/>
                  <a:pt x="566" y="151"/>
                  <a:pt x="565" y="152"/>
                </a:cubicBezTo>
                <a:cubicBezTo>
                  <a:pt x="565" y="152"/>
                  <a:pt x="565" y="153"/>
                  <a:pt x="565" y="153"/>
                </a:cubicBezTo>
                <a:cubicBezTo>
                  <a:pt x="565" y="153"/>
                  <a:pt x="564" y="153"/>
                  <a:pt x="564" y="153"/>
                </a:cubicBezTo>
                <a:cubicBezTo>
                  <a:pt x="563" y="153"/>
                  <a:pt x="563" y="154"/>
                  <a:pt x="563" y="154"/>
                </a:cubicBezTo>
                <a:cubicBezTo>
                  <a:pt x="562" y="154"/>
                  <a:pt x="563" y="154"/>
                  <a:pt x="563" y="154"/>
                </a:cubicBezTo>
                <a:cubicBezTo>
                  <a:pt x="564" y="154"/>
                  <a:pt x="564" y="155"/>
                  <a:pt x="564" y="156"/>
                </a:cubicBezTo>
                <a:cubicBezTo>
                  <a:pt x="564" y="156"/>
                  <a:pt x="563" y="156"/>
                  <a:pt x="563" y="156"/>
                </a:cubicBezTo>
                <a:cubicBezTo>
                  <a:pt x="564" y="156"/>
                  <a:pt x="564" y="156"/>
                  <a:pt x="565" y="156"/>
                </a:cubicBezTo>
                <a:cubicBezTo>
                  <a:pt x="566" y="156"/>
                  <a:pt x="565" y="157"/>
                  <a:pt x="566" y="157"/>
                </a:cubicBezTo>
                <a:cubicBezTo>
                  <a:pt x="566" y="157"/>
                  <a:pt x="566" y="158"/>
                  <a:pt x="566" y="158"/>
                </a:cubicBezTo>
                <a:cubicBezTo>
                  <a:pt x="566" y="158"/>
                  <a:pt x="566" y="158"/>
                  <a:pt x="566" y="158"/>
                </a:cubicBezTo>
                <a:cubicBezTo>
                  <a:pt x="566" y="158"/>
                  <a:pt x="566" y="159"/>
                  <a:pt x="566" y="159"/>
                </a:cubicBezTo>
                <a:cubicBezTo>
                  <a:pt x="565" y="159"/>
                  <a:pt x="564" y="159"/>
                  <a:pt x="564" y="159"/>
                </a:cubicBezTo>
                <a:cubicBezTo>
                  <a:pt x="564" y="160"/>
                  <a:pt x="564" y="160"/>
                  <a:pt x="564" y="160"/>
                </a:cubicBezTo>
                <a:cubicBezTo>
                  <a:pt x="563" y="160"/>
                  <a:pt x="565" y="162"/>
                  <a:pt x="565" y="161"/>
                </a:cubicBezTo>
                <a:cubicBezTo>
                  <a:pt x="565" y="160"/>
                  <a:pt x="566" y="161"/>
                  <a:pt x="566" y="161"/>
                </a:cubicBezTo>
                <a:cubicBezTo>
                  <a:pt x="566" y="162"/>
                  <a:pt x="563" y="162"/>
                  <a:pt x="563" y="162"/>
                </a:cubicBezTo>
                <a:cubicBezTo>
                  <a:pt x="564" y="163"/>
                  <a:pt x="564" y="164"/>
                  <a:pt x="565" y="164"/>
                </a:cubicBezTo>
                <a:cubicBezTo>
                  <a:pt x="566" y="164"/>
                  <a:pt x="566" y="163"/>
                  <a:pt x="566" y="163"/>
                </a:cubicBezTo>
                <a:cubicBezTo>
                  <a:pt x="568" y="163"/>
                  <a:pt x="567" y="164"/>
                  <a:pt x="566" y="164"/>
                </a:cubicBezTo>
                <a:cubicBezTo>
                  <a:pt x="565" y="165"/>
                  <a:pt x="566" y="165"/>
                  <a:pt x="566" y="166"/>
                </a:cubicBezTo>
                <a:cubicBezTo>
                  <a:pt x="566" y="166"/>
                  <a:pt x="567" y="166"/>
                  <a:pt x="568" y="165"/>
                </a:cubicBezTo>
                <a:cubicBezTo>
                  <a:pt x="568" y="165"/>
                  <a:pt x="568" y="166"/>
                  <a:pt x="568" y="166"/>
                </a:cubicBezTo>
                <a:cubicBezTo>
                  <a:pt x="569" y="166"/>
                  <a:pt x="570" y="164"/>
                  <a:pt x="570" y="164"/>
                </a:cubicBezTo>
                <a:cubicBezTo>
                  <a:pt x="571" y="164"/>
                  <a:pt x="572" y="165"/>
                  <a:pt x="571" y="165"/>
                </a:cubicBezTo>
                <a:cubicBezTo>
                  <a:pt x="570" y="166"/>
                  <a:pt x="569" y="166"/>
                  <a:pt x="568" y="167"/>
                </a:cubicBezTo>
                <a:cubicBezTo>
                  <a:pt x="569" y="167"/>
                  <a:pt x="572" y="169"/>
                  <a:pt x="570" y="169"/>
                </a:cubicBezTo>
                <a:cubicBezTo>
                  <a:pt x="569" y="169"/>
                  <a:pt x="569" y="171"/>
                  <a:pt x="570" y="171"/>
                </a:cubicBezTo>
                <a:cubicBezTo>
                  <a:pt x="570" y="171"/>
                  <a:pt x="571" y="171"/>
                  <a:pt x="571" y="171"/>
                </a:cubicBezTo>
                <a:cubicBezTo>
                  <a:pt x="571" y="171"/>
                  <a:pt x="571" y="172"/>
                  <a:pt x="572" y="172"/>
                </a:cubicBezTo>
                <a:cubicBezTo>
                  <a:pt x="573" y="172"/>
                  <a:pt x="571" y="173"/>
                  <a:pt x="571" y="173"/>
                </a:cubicBezTo>
                <a:cubicBezTo>
                  <a:pt x="571" y="174"/>
                  <a:pt x="571" y="175"/>
                  <a:pt x="571" y="175"/>
                </a:cubicBezTo>
                <a:cubicBezTo>
                  <a:pt x="573" y="175"/>
                  <a:pt x="574" y="174"/>
                  <a:pt x="574" y="173"/>
                </a:cubicBezTo>
                <a:cubicBezTo>
                  <a:pt x="575" y="173"/>
                  <a:pt x="575" y="173"/>
                  <a:pt x="576" y="173"/>
                </a:cubicBezTo>
                <a:cubicBezTo>
                  <a:pt x="576" y="173"/>
                  <a:pt x="576" y="172"/>
                  <a:pt x="577" y="172"/>
                </a:cubicBezTo>
                <a:cubicBezTo>
                  <a:pt x="577" y="172"/>
                  <a:pt x="578" y="172"/>
                  <a:pt x="578" y="173"/>
                </a:cubicBezTo>
                <a:cubicBezTo>
                  <a:pt x="578" y="173"/>
                  <a:pt x="578" y="174"/>
                  <a:pt x="578" y="175"/>
                </a:cubicBezTo>
                <a:cubicBezTo>
                  <a:pt x="578" y="174"/>
                  <a:pt x="577" y="174"/>
                  <a:pt x="577" y="174"/>
                </a:cubicBezTo>
                <a:cubicBezTo>
                  <a:pt x="577" y="175"/>
                  <a:pt x="577" y="175"/>
                  <a:pt x="577" y="176"/>
                </a:cubicBezTo>
                <a:cubicBezTo>
                  <a:pt x="575" y="176"/>
                  <a:pt x="574" y="177"/>
                  <a:pt x="572" y="177"/>
                </a:cubicBezTo>
                <a:cubicBezTo>
                  <a:pt x="572" y="177"/>
                  <a:pt x="574" y="177"/>
                  <a:pt x="574" y="177"/>
                </a:cubicBezTo>
                <a:cubicBezTo>
                  <a:pt x="575" y="177"/>
                  <a:pt x="575" y="177"/>
                  <a:pt x="575" y="178"/>
                </a:cubicBezTo>
                <a:cubicBezTo>
                  <a:pt x="575" y="178"/>
                  <a:pt x="574" y="178"/>
                  <a:pt x="574" y="178"/>
                </a:cubicBezTo>
                <a:cubicBezTo>
                  <a:pt x="574" y="178"/>
                  <a:pt x="573" y="178"/>
                  <a:pt x="573" y="178"/>
                </a:cubicBezTo>
                <a:cubicBezTo>
                  <a:pt x="573" y="178"/>
                  <a:pt x="573" y="178"/>
                  <a:pt x="572" y="178"/>
                </a:cubicBezTo>
                <a:cubicBezTo>
                  <a:pt x="573" y="179"/>
                  <a:pt x="573" y="180"/>
                  <a:pt x="574" y="180"/>
                </a:cubicBezTo>
                <a:cubicBezTo>
                  <a:pt x="574" y="180"/>
                  <a:pt x="573" y="181"/>
                  <a:pt x="573" y="181"/>
                </a:cubicBezTo>
                <a:cubicBezTo>
                  <a:pt x="574" y="182"/>
                  <a:pt x="575" y="182"/>
                  <a:pt x="576" y="181"/>
                </a:cubicBezTo>
                <a:cubicBezTo>
                  <a:pt x="576" y="182"/>
                  <a:pt x="576" y="184"/>
                  <a:pt x="575" y="183"/>
                </a:cubicBezTo>
                <a:cubicBezTo>
                  <a:pt x="575" y="183"/>
                  <a:pt x="575" y="184"/>
                  <a:pt x="575" y="184"/>
                </a:cubicBezTo>
                <a:cubicBezTo>
                  <a:pt x="576" y="184"/>
                  <a:pt x="577" y="184"/>
                  <a:pt x="577" y="185"/>
                </a:cubicBezTo>
                <a:cubicBezTo>
                  <a:pt x="577" y="185"/>
                  <a:pt x="576" y="184"/>
                  <a:pt x="576" y="185"/>
                </a:cubicBezTo>
                <a:cubicBezTo>
                  <a:pt x="576" y="185"/>
                  <a:pt x="576" y="185"/>
                  <a:pt x="576" y="186"/>
                </a:cubicBezTo>
                <a:cubicBezTo>
                  <a:pt x="576" y="186"/>
                  <a:pt x="576" y="186"/>
                  <a:pt x="577" y="186"/>
                </a:cubicBezTo>
                <a:cubicBezTo>
                  <a:pt x="578" y="185"/>
                  <a:pt x="578" y="185"/>
                  <a:pt x="579" y="185"/>
                </a:cubicBezTo>
                <a:cubicBezTo>
                  <a:pt x="579" y="186"/>
                  <a:pt x="578" y="187"/>
                  <a:pt x="578" y="188"/>
                </a:cubicBezTo>
                <a:cubicBezTo>
                  <a:pt x="579" y="188"/>
                  <a:pt x="579" y="188"/>
                  <a:pt x="579" y="189"/>
                </a:cubicBezTo>
                <a:cubicBezTo>
                  <a:pt x="580" y="188"/>
                  <a:pt x="581" y="188"/>
                  <a:pt x="582" y="188"/>
                </a:cubicBezTo>
                <a:cubicBezTo>
                  <a:pt x="581" y="189"/>
                  <a:pt x="581" y="190"/>
                  <a:pt x="581" y="191"/>
                </a:cubicBezTo>
                <a:cubicBezTo>
                  <a:pt x="582" y="191"/>
                  <a:pt x="583" y="190"/>
                  <a:pt x="583" y="190"/>
                </a:cubicBezTo>
                <a:cubicBezTo>
                  <a:pt x="584" y="190"/>
                  <a:pt x="584" y="189"/>
                  <a:pt x="585" y="189"/>
                </a:cubicBezTo>
                <a:cubicBezTo>
                  <a:pt x="585" y="189"/>
                  <a:pt x="585" y="189"/>
                  <a:pt x="586" y="189"/>
                </a:cubicBezTo>
                <a:cubicBezTo>
                  <a:pt x="585" y="190"/>
                  <a:pt x="585" y="191"/>
                  <a:pt x="585" y="192"/>
                </a:cubicBezTo>
                <a:cubicBezTo>
                  <a:pt x="586" y="192"/>
                  <a:pt x="585" y="192"/>
                  <a:pt x="586" y="192"/>
                </a:cubicBezTo>
                <a:cubicBezTo>
                  <a:pt x="587" y="192"/>
                  <a:pt x="587" y="191"/>
                  <a:pt x="587" y="191"/>
                </a:cubicBezTo>
                <a:cubicBezTo>
                  <a:pt x="587" y="192"/>
                  <a:pt x="586" y="193"/>
                  <a:pt x="586" y="194"/>
                </a:cubicBezTo>
                <a:cubicBezTo>
                  <a:pt x="587" y="194"/>
                  <a:pt x="587" y="193"/>
                  <a:pt x="587" y="193"/>
                </a:cubicBezTo>
                <a:cubicBezTo>
                  <a:pt x="588" y="194"/>
                  <a:pt x="588" y="195"/>
                  <a:pt x="588" y="195"/>
                </a:cubicBezTo>
                <a:cubicBezTo>
                  <a:pt x="588" y="195"/>
                  <a:pt x="587" y="196"/>
                  <a:pt x="587" y="196"/>
                </a:cubicBezTo>
                <a:cubicBezTo>
                  <a:pt x="588" y="197"/>
                  <a:pt x="590" y="197"/>
                  <a:pt x="589" y="196"/>
                </a:cubicBezTo>
                <a:cubicBezTo>
                  <a:pt x="590" y="196"/>
                  <a:pt x="590" y="196"/>
                  <a:pt x="590" y="196"/>
                </a:cubicBezTo>
                <a:cubicBezTo>
                  <a:pt x="590" y="196"/>
                  <a:pt x="590" y="196"/>
                  <a:pt x="590" y="196"/>
                </a:cubicBezTo>
                <a:cubicBezTo>
                  <a:pt x="590" y="197"/>
                  <a:pt x="588" y="197"/>
                  <a:pt x="588" y="197"/>
                </a:cubicBezTo>
                <a:cubicBezTo>
                  <a:pt x="588" y="198"/>
                  <a:pt x="589" y="198"/>
                  <a:pt x="590" y="198"/>
                </a:cubicBezTo>
                <a:cubicBezTo>
                  <a:pt x="590" y="198"/>
                  <a:pt x="590" y="199"/>
                  <a:pt x="590" y="200"/>
                </a:cubicBezTo>
                <a:cubicBezTo>
                  <a:pt x="590" y="200"/>
                  <a:pt x="591" y="200"/>
                  <a:pt x="592" y="200"/>
                </a:cubicBezTo>
                <a:cubicBezTo>
                  <a:pt x="592" y="201"/>
                  <a:pt x="591" y="200"/>
                  <a:pt x="591" y="201"/>
                </a:cubicBezTo>
                <a:cubicBezTo>
                  <a:pt x="591" y="202"/>
                  <a:pt x="591" y="202"/>
                  <a:pt x="592" y="202"/>
                </a:cubicBezTo>
                <a:cubicBezTo>
                  <a:pt x="593" y="202"/>
                  <a:pt x="592" y="201"/>
                  <a:pt x="593" y="201"/>
                </a:cubicBezTo>
                <a:cubicBezTo>
                  <a:pt x="594" y="201"/>
                  <a:pt x="594" y="199"/>
                  <a:pt x="594" y="200"/>
                </a:cubicBezTo>
                <a:cubicBezTo>
                  <a:pt x="595" y="201"/>
                  <a:pt x="594" y="201"/>
                  <a:pt x="595" y="201"/>
                </a:cubicBezTo>
                <a:cubicBezTo>
                  <a:pt x="596" y="201"/>
                  <a:pt x="596" y="200"/>
                  <a:pt x="596" y="200"/>
                </a:cubicBezTo>
                <a:cubicBezTo>
                  <a:pt x="596" y="200"/>
                  <a:pt x="597" y="200"/>
                  <a:pt x="597" y="200"/>
                </a:cubicBezTo>
                <a:cubicBezTo>
                  <a:pt x="598" y="200"/>
                  <a:pt x="598" y="199"/>
                  <a:pt x="598" y="199"/>
                </a:cubicBezTo>
                <a:cubicBezTo>
                  <a:pt x="598" y="198"/>
                  <a:pt x="599" y="197"/>
                  <a:pt x="600" y="197"/>
                </a:cubicBezTo>
                <a:cubicBezTo>
                  <a:pt x="601" y="198"/>
                  <a:pt x="600" y="199"/>
                  <a:pt x="600" y="200"/>
                </a:cubicBezTo>
                <a:cubicBezTo>
                  <a:pt x="600" y="200"/>
                  <a:pt x="600" y="200"/>
                  <a:pt x="601" y="199"/>
                </a:cubicBezTo>
                <a:cubicBezTo>
                  <a:pt x="601" y="200"/>
                  <a:pt x="600" y="200"/>
                  <a:pt x="600" y="200"/>
                </a:cubicBezTo>
                <a:cubicBezTo>
                  <a:pt x="600" y="201"/>
                  <a:pt x="598" y="201"/>
                  <a:pt x="599" y="201"/>
                </a:cubicBezTo>
                <a:cubicBezTo>
                  <a:pt x="600" y="201"/>
                  <a:pt x="601" y="201"/>
                  <a:pt x="602" y="201"/>
                </a:cubicBezTo>
                <a:cubicBezTo>
                  <a:pt x="602" y="201"/>
                  <a:pt x="602" y="202"/>
                  <a:pt x="602" y="203"/>
                </a:cubicBezTo>
                <a:cubicBezTo>
                  <a:pt x="602" y="202"/>
                  <a:pt x="602" y="203"/>
                  <a:pt x="603" y="203"/>
                </a:cubicBezTo>
                <a:cubicBezTo>
                  <a:pt x="603" y="203"/>
                  <a:pt x="604" y="202"/>
                  <a:pt x="604" y="202"/>
                </a:cubicBezTo>
                <a:cubicBezTo>
                  <a:pt x="604" y="200"/>
                  <a:pt x="605" y="201"/>
                  <a:pt x="605" y="202"/>
                </a:cubicBezTo>
                <a:cubicBezTo>
                  <a:pt x="605" y="202"/>
                  <a:pt x="606" y="202"/>
                  <a:pt x="606" y="202"/>
                </a:cubicBezTo>
                <a:cubicBezTo>
                  <a:pt x="606" y="201"/>
                  <a:pt x="607" y="201"/>
                  <a:pt x="607" y="202"/>
                </a:cubicBezTo>
                <a:cubicBezTo>
                  <a:pt x="607" y="203"/>
                  <a:pt x="606" y="202"/>
                  <a:pt x="606" y="204"/>
                </a:cubicBezTo>
                <a:cubicBezTo>
                  <a:pt x="605" y="204"/>
                  <a:pt x="605" y="205"/>
                  <a:pt x="605" y="205"/>
                </a:cubicBezTo>
                <a:cubicBezTo>
                  <a:pt x="606" y="205"/>
                  <a:pt x="607" y="203"/>
                  <a:pt x="608" y="203"/>
                </a:cubicBezTo>
                <a:cubicBezTo>
                  <a:pt x="607" y="204"/>
                  <a:pt x="607" y="204"/>
                  <a:pt x="607" y="205"/>
                </a:cubicBezTo>
                <a:cubicBezTo>
                  <a:pt x="607" y="205"/>
                  <a:pt x="608" y="205"/>
                  <a:pt x="608" y="206"/>
                </a:cubicBezTo>
                <a:cubicBezTo>
                  <a:pt x="609" y="206"/>
                  <a:pt x="609" y="206"/>
                  <a:pt x="609" y="204"/>
                </a:cubicBezTo>
                <a:cubicBezTo>
                  <a:pt x="609" y="204"/>
                  <a:pt x="609" y="203"/>
                  <a:pt x="609" y="203"/>
                </a:cubicBezTo>
                <a:cubicBezTo>
                  <a:pt x="611" y="203"/>
                  <a:pt x="609" y="205"/>
                  <a:pt x="609" y="205"/>
                </a:cubicBezTo>
                <a:cubicBezTo>
                  <a:pt x="609" y="206"/>
                  <a:pt x="610" y="206"/>
                  <a:pt x="610" y="206"/>
                </a:cubicBezTo>
                <a:cubicBezTo>
                  <a:pt x="611" y="206"/>
                  <a:pt x="611" y="207"/>
                  <a:pt x="612" y="208"/>
                </a:cubicBezTo>
                <a:cubicBezTo>
                  <a:pt x="613" y="207"/>
                  <a:pt x="613" y="207"/>
                  <a:pt x="614" y="207"/>
                </a:cubicBezTo>
                <a:cubicBezTo>
                  <a:pt x="614" y="207"/>
                  <a:pt x="613" y="206"/>
                  <a:pt x="614" y="206"/>
                </a:cubicBezTo>
                <a:cubicBezTo>
                  <a:pt x="614" y="206"/>
                  <a:pt x="615" y="206"/>
                  <a:pt x="615" y="206"/>
                </a:cubicBezTo>
                <a:cubicBezTo>
                  <a:pt x="615" y="205"/>
                  <a:pt x="615" y="205"/>
                  <a:pt x="615" y="205"/>
                </a:cubicBezTo>
                <a:cubicBezTo>
                  <a:pt x="614" y="205"/>
                  <a:pt x="614" y="205"/>
                  <a:pt x="614" y="204"/>
                </a:cubicBezTo>
                <a:cubicBezTo>
                  <a:pt x="614" y="204"/>
                  <a:pt x="614" y="204"/>
                  <a:pt x="614" y="204"/>
                </a:cubicBezTo>
                <a:cubicBezTo>
                  <a:pt x="613" y="203"/>
                  <a:pt x="614" y="203"/>
                  <a:pt x="615" y="203"/>
                </a:cubicBezTo>
                <a:cubicBezTo>
                  <a:pt x="615" y="203"/>
                  <a:pt x="615" y="202"/>
                  <a:pt x="614" y="202"/>
                </a:cubicBezTo>
                <a:cubicBezTo>
                  <a:pt x="614" y="202"/>
                  <a:pt x="614" y="202"/>
                  <a:pt x="614" y="202"/>
                </a:cubicBezTo>
                <a:cubicBezTo>
                  <a:pt x="613" y="202"/>
                  <a:pt x="613" y="202"/>
                  <a:pt x="613" y="201"/>
                </a:cubicBezTo>
                <a:cubicBezTo>
                  <a:pt x="612" y="201"/>
                  <a:pt x="612" y="202"/>
                  <a:pt x="611" y="201"/>
                </a:cubicBezTo>
                <a:cubicBezTo>
                  <a:pt x="612" y="201"/>
                  <a:pt x="612" y="201"/>
                  <a:pt x="612" y="200"/>
                </a:cubicBezTo>
                <a:cubicBezTo>
                  <a:pt x="612" y="201"/>
                  <a:pt x="614" y="201"/>
                  <a:pt x="614" y="200"/>
                </a:cubicBezTo>
                <a:cubicBezTo>
                  <a:pt x="614" y="200"/>
                  <a:pt x="614" y="200"/>
                  <a:pt x="614" y="200"/>
                </a:cubicBezTo>
                <a:cubicBezTo>
                  <a:pt x="615" y="199"/>
                  <a:pt x="615" y="199"/>
                  <a:pt x="615" y="198"/>
                </a:cubicBezTo>
                <a:cubicBezTo>
                  <a:pt x="614" y="197"/>
                  <a:pt x="615" y="197"/>
                  <a:pt x="616" y="197"/>
                </a:cubicBezTo>
                <a:cubicBezTo>
                  <a:pt x="616" y="196"/>
                  <a:pt x="617" y="195"/>
                  <a:pt x="616" y="195"/>
                </a:cubicBezTo>
                <a:cubicBezTo>
                  <a:pt x="616" y="195"/>
                  <a:pt x="616" y="194"/>
                  <a:pt x="616" y="194"/>
                </a:cubicBezTo>
                <a:cubicBezTo>
                  <a:pt x="617" y="194"/>
                  <a:pt x="617" y="194"/>
                  <a:pt x="617" y="193"/>
                </a:cubicBezTo>
                <a:cubicBezTo>
                  <a:pt x="618" y="192"/>
                  <a:pt x="618" y="192"/>
                  <a:pt x="618" y="191"/>
                </a:cubicBezTo>
                <a:cubicBezTo>
                  <a:pt x="618" y="191"/>
                  <a:pt x="618" y="192"/>
                  <a:pt x="618" y="191"/>
                </a:cubicBezTo>
                <a:cubicBezTo>
                  <a:pt x="618" y="191"/>
                  <a:pt x="617" y="190"/>
                  <a:pt x="617" y="190"/>
                </a:cubicBezTo>
                <a:cubicBezTo>
                  <a:pt x="617" y="190"/>
                  <a:pt x="617" y="189"/>
                  <a:pt x="617" y="188"/>
                </a:cubicBezTo>
                <a:cubicBezTo>
                  <a:pt x="618" y="188"/>
                  <a:pt x="619" y="188"/>
                  <a:pt x="619" y="188"/>
                </a:cubicBezTo>
                <a:cubicBezTo>
                  <a:pt x="619" y="188"/>
                  <a:pt x="620" y="187"/>
                  <a:pt x="620" y="186"/>
                </a:cubicBezTo>
                <a:cubicBezTo>
                  <a:pt x="619" y="186"/>
                  <a:pt x="619" y="186"/>
                  <a:pt x="619" y="186"/>
                </a:cubicBezTo>
                <a:cubicBezTo>
                  <a:pt x="619" y="185"/>
                  <a:pt x="619" y="183"/>
                  <a:pt x="620" y="184"/>
                </a:cubicBezTo>
                <a:cubicBezTo>
                  <a:pt x="621" y="184"/>
                  <a:pt x="620" y="184"/>
                  <a:pt x="621" y="185"/>
                </a:cubicBezTo>
                <a:cubicBezTo>
                  <a:pt x="621" y="185"/>
                  <a:pt x="622" y="185"/>
                  <a:pt x="622" y="185"/>
                </a:cubicBezTo>
                <a:cubicBezTo>
                  <a:pt x="622" y="184"/>
                  <a:pt x="621" y="183"/>
                  <a:pt x="622" y="183"/>
                </a:cubicBezTo>
                <a:cubicBezTo>
                  <a:pt x="623" y="183"/>
                  <a:pt x="622" y="182"/>
                  <a:pt x="622" y="182"/>
                </a:cubicBezTo>
                <a:cubicBezTo>
                  <a:pt x="622" y="181"/>
                  <a:pt x="623" y="181"/>
                  <a:pt x="622" y="181"/>
                </a:cubicBezTo>
                <a:cubicBezTo>
                  <a:pt x="622" y="180"/>
                  <a:pt x="621" y="180"/>
                  <a:pt x="621" y="180"/>
                </a:cubicBezTo>
                <a:cubicBezTo>
                  <a:pt x="622" y="180"/>
                  <a:pt x="623" y="181"/>
                  <a:pt x="625" y="181"/>
                </a:cubicBezTo>
                <a:cubicBezTo>
                  <a:pt x="625" y="180"/>
                  <a:pt x="625" y="178"/>
                  <a:pt x="624" y="177"/>
                </a:cubicBezTo>
                <a:cubicBezTo>
                  <a:pt x="625" y="177"/>
                  <a:pt x="626" y="176"/>
                  <a:pt x="626" y="175"/>
                </a:cubicBezTo>
                <a:cubicBezTo>
                  <a:pt x="625" y="175"/>
                  <a:pt x="622" y="175"/>
                  <a:pt x="622" y="174"/>
                </a:cubicBezTo>
                <a:cubicBezTo>
                  <a:pt x="622" y="174"/>
                  <a:pt x="622" y="174"/>
                  <a:pt x="623" y="174"/>
                </a:cubicBezTo>
                <a:cubicBezTo>
                  <a:pt x="623" y="174"/>
                  <a:pt x="623" y="174"/>
                  <a:pt x="623" y="174"/>
                </a:cubicBezTo>
                <a:cubicBezTo>
                  <a:pt x="624" y="174"/>
                  <a:pt x="626" y="174"/>
                  <a:pt x="627" y="174"/>
                </a:cubicBezTo>
                <a:cubicBezTo>
                  <a:pt x="627" y="173"/>
                  <a:pt x="627" y="172"/>
                  <a:pt x="627" y="171"/>
                </a:cubicBezTo>
                <a:cubicBezTo>
                  <a:pt x="627" y="171"/>
                  <a:pt x="627" y="171"/>
                  <a:pt x="627" y="171"/>
                </a:cubicBezTo>
                <a:cubicBezTo>
                  <a:pt x="626" y="171"/>
                  <a:pt x="626" y="170"/>
                  <a:pt x="626" y="170"/>
                </a:cubicBezTo>
                <a:cubicBezTo>
                  <a:pt x="625" y="169"/>
                  <a:pt x="625" y="168"/>
                  <a:pt x="624" y="167"/>
                </a:cubicBezTo>
                <a:cubicBezTo>
                  <a:pt x="625" y="167"/>
                  <a:pt x="625" y="167"/>
                  <a:pt x="626" y="167"/>
                </a:cubicBezTo>
                <a:cubicBezTo>
                  <a:pt x="626" y="167"/>
                  <a:pt x="626" y="168"/>
                  <a:pt x="627" y="167"/>
                </a:cubicBezTo>
                <a:cubicBezTo>
                  <a:pt x="627" y="167"/>
                  <a:pt x="628" y="167"/>
                  <a:pt x="628" y="166"/>
                </a:cubicBezTo>
                <a:cubicBezTo>
                  <a:pt x="628" y="166"/>
                  <a:pt x="629" y="166"/>
                  <a:pt x="629" y="166"/>
                </a:cubicBezTo>
                <a:cubicBezTo>
                  <a:pt x="629" y="165"/>
                  <a:pt x="629" y="164"/>
                  <a:pt x="628" y="164"/>
                </a:cubicBezTo>
                <a:cubicBezTo>
                  <a:pt x="630" y="164"/>
                  <a:pt x="631" y="164"/>
                  <a:pt x="632" y="164"/>
                </a:cubicBezTo>
                <a:cubicBezTo>
                  <a:pt x="632" y="164"/>
                  <a:pt x="633" y="164"/>
                  <a:pt x="632" y="163"/>
                </a:cubicBezTo>
                <a:cubicBezTo>
                  <a:pt x="634" y="164"/>
                  <a:pt x="635" y="164"/>
                  <a:pt x="637" y="164"/>
                </a:cubicBezTo>
                <a:cubicBezTo>
                  <a:pt x="636" y="163"/>
                  <a:pt x="637" y="164"/>
                  <a:pt x="637" y="163"/>
                </a:cubicBezTo>
                <a:cubicBezTo>
                  <a:pt x="638" y="162"/>
                  <a:pt x="639" y="162"/>
                  <a:pt x="640" y="162"/>
                </a:cubicBezTo>
                <a:cubicBezTo>
                  <a:pt x="640" y="162"/>
                  <a:pt x="640" y="163"/>
                  <a:pt x="641" y="164"/>
                </a:cubicBezTo>
                <a:cubicBezTo>
                  <a:pt x="641" y="164"/>
                  <a:pt x="642" y="165"/>
                  <a:pt x="642" y="165"/>
                </a:cubicBezTo>
                <a:cubicBezTo>
                  <a:pt x="642" y="165"/>
                  <a:pt x="643" y="163"/>
                  <a:pt x="643" y="163"/>
                </a:cubicBezTo>
                <a:cubicBezTo>
                  <a:pt x="644" y="163"/>
                  <a:pt x="644" y="163"/>
                  <a:pt x="644" y="163"/>
                </a:cubicBezTo>
                <a:cubicBezTo>
                  <a:pt x="644" y="162"/>
                  <a:pt x="644" y="162"/>
                  <a:pt x="645" y="161"/>
                </a:cubicBezTo>
                <a:cubicBezTo>
                  <a:pt x="646" y="161"/>
                  <a:pt x="647" y="161"/>
                  <a:pt x="647" y="162"/>
                </a:cubicBezTo>
                <a:cubicBezTo>
                  <a:pt x="647" y="163"/>
                  <a:pt x="648" y="163"/>
                  <a:pt x="648" y="162"/>
                </a:cubicBezTo>
                <a:cubicBezTo>
                  <a:pt x="648" y="161"/>
                  <a:pt x="648" y="161"/>
                  <a:pt x="649" y="161"/>
                </a:cubicBezTo>
                <a:cubicBezTo>
                  <a:pt x="649" y="160"/>
                  <a:pt x="649" y="160"/>
                  <a:pt x="649" y="160"/>
                </a:cubicBezTo>
                <a:cubicBezTo>
                  <a:pt x="649" y="160"/>
                  <a:pt x="648" y="160"/>
                  <a:pt x="649" y="160"/>
                </a:cubicBezTo>
                <a:cubicBezTo>
                  <a:pt x="650" y="160"/>
                  <a:pt x="649" y="159"/>
                  <a:pt x="650" y="159"/>
                </a:cubicBezTo>
                <a:cubicBezTo>
                  <a:pt x="651" y="159"/>
                  <a:pt x="651" y="157"/>
                  <a:pt x="652" y="156"/>
                </a:cubicBezTo>
                <a:cubicBezTo>
                  <a:pt x="652" y="156"/>
                  <a:pt x="652" y="156"/>
                  <a:pt x="653" y="156"/>
                </a:cubicBezTo>
                <a:cubicBezTo>
                  <a:pt x="654" y="156"/>
                  <a:pt x="654" y="155"/>
                  <a:pt x="655" y="155"/>
                </a:cubicBezTo>
                <a:cubicBezTo>
                  <a:pt x="656" y="154"/>
                  <a:pt x="655" y="154"/>
                  <a:pt x="656" y="154"/>
                </a:cubicBezTo>
                <a:cubicBezTo>
                  <a:pt x="657" y="154"/>
                  <a:pt x="658" y="153"/>
                  <a:pt x="659" y="152"/>
                </a:cubicBezTo>
                <a:cubicBezTo>
                  <a:pt x="659" y="152"/>
                  <a:pt x="660" y="151"/>
                  <a:pt x="660" y="150"/>
                </a:cubicBezTo>
                <a:cubicBezTo>
                  <a:pt x="660" y="150"/>
                  <a:pt x="661" y="150"/>
                  <a:pt x="662" y="149"/>
                </a:cubicBezTo>
                <a:cubicBezTo>
                  <a:pt x="662" y="149"/>
                  <a:pt x="663" y="148"/>
                  <a:pt x="663" y="149"/>
                </a:cubicBezTo>
                <a:cubicBezTo>
                  <a:pt x="664" y="149"/>
                  <a:pt x="665" y="148"/>
                  <a:pt x="665" y="147"/>
                </a:cubicBezTo>
                <a:cubicBezTo>
                  <a:pt x="665" y="147"/>
                  <a:pt x="665" y="146"/>
                  <a:pt x="665" y="145"/>
                </a:cubicBezTo>
                <a:cubicBezTo>
                  <a:pt x="665" y="144"/>
                  <a:pt x="664" y="145"/>
                  <a:pt x="664" y="145"/>
                </a:cubicBezTo>
                <a:cubicBezTo>
                  <a:pt x="663" y="144"/>
                  <a:pt x="662" y="143"/>
                  <a:pt x="662" y="141"/>
                </a:cubicBezTo>
                <a:cubicBezTo>
                  <a:pt x="662" y="140"/>
                  <a:pt x="663" y="140"/>
                  <a:pt x="663" y="141"/>
                </a:cubicBezTo>
                <a:cubicBezTo>
                  <a:pt x="663" y="142"/>
                  <a:pt x="664" y="143"/>
                  <a:pt x="665" y="144"/>
                </a:cubicBezTo>
                <a:cubicBezTo>
                  <a:pt x="666" y="144"/>
                  <a:pt x="670" y="146"/>
                  <a:pt x="670" y="144"/>
                </a:cubicBezTo>
                <a:cubicBezTo>
                  <a:pt x="671" y="145"/>
                  <a:pt x="671" y="145"/>
                  <a:pt x="671" y="145"/>
                </a:cubicBezTo>
                <a:cubicBezTo>
                  <a:pt x="671" y="144"/>
                  <a:pt x="672" y="144"/>
                  <a:pt x="673" y="144"/>
                </a:cubicBezTo>
                <a:cubicBezTo>
                  <a:pt x="674" y="144"/>
                  <a:pt x="674" y="143"/>
                  <a:pt x="673" y="142"/>
                </a:cubicBezTo>
                <a:cubicBezTo>
                  <a:pt x="675" y="142"/>
                  <a:pt x="675" y="142"/>
                  <a:pt x="675" y="143"/>
                </a:cubicBezTo>
                <a:cubicBezTo>
                  <a:pt x="676" y="143"/>
                  <a:pt x="676" y="143"/>
                  <a:pt x="677" y="143"/>
                </a:cubicBezTo>
                <a:cubicBezTo>
                  <a:pt x="678" y="143"/>
                  <a:pt x="678" y="143"/>
                  <a:pt x="678" y="142"/>
                </a:cubicBezTo>
                <a:cubicBezTo>
                  <a:pt x="678" y="141"/>
                  <a:pt x="678" y="142"/>
                  <a:pt x="678" y="142"/>
                </a:cubicBezTo>
                <a:cubicBezTo>
                  <a:pt x="678" y="141"/>
                  <a:pt x="678" y="141"/>
                  <a:pt x="678" y="141"/>
                </a:cubicBezTo>
                <a:cubicBezTo>
                  <a:pt x="679" y="141"/>
                  <a:pt x="679" y="141"/>
                  <a:pt x="679" y="141"/>
                </a:cubicBezTo>
                <a:cubicBezTo>
                  <a:pt x="679" y="142"/>
                  <a:pt x="681" y="142"/>
                  <a:pt x="681" y="142"/>
                </a:cubicBezTo>
                <a:cubicBezTo>
                  <a:pt x="681" y="141"/>
                  <a:pt x="683" y="141"/>
                  <a:pt x="683" y="142"/>
                </a:cubicBezTo>
                <a:cubicBezTo>
                  <a:pt x="683" y="142"/>
                  <a:pt x="683" y="142"/>
                  <a:pt x="684" y="142"/>
                </a:cubicBezTo>
                <a:cubicBezTo>
                  <a:pt x="684" y="141"/>
                  <a:pt x="683" y="141"/>
                  <a:pt x="685" y="141"/>
                </a:cubicBezTo>
                <a:cubicBezTo>
                  <a:pt x="685" y="141"/>
                  <a:pt x="686" y="141"/>
                  <a:pt x="686" y="141"/>
                </a:cubicBezTo>
                <a:cubicBezTo>
                  <a:pt x="687" y="141"/>
                  <a:pt x="686" y="140"/>
                  <a:pt x="687" y="140"/>
                </a:cubicBezTo>
                <a:cubicBezTo>
                  <a:pt x="688" y="140"/>
                  <a:pt x="689" y="140"/>
                  <a:pt x="690" y="139"/>
                </a:cubicBezTo>
                <a:cubicBezTo>
                  <a:pt x="691" y="139"/>
                  <a:pt x="692" y="138"/>
                  <a:pt x="693" y="138"/>
                </a:cubicBezTo>
                <a:cubicBezTo>
                  <a:pt x="693" y="137"/>
                  <a:pt x="693" y="137"/>
                  <a:pt x="693" y="136"/>
                </a:cubicBezTo>
                <a:cubicBezTo>
                  <a:pt x="694" y="137"/>
                  <a:pt x="694" y="137"/>
                  <a:pt x="696" y="137"/>
                </a:cubicBezTo>
                <a:cubicBezTo>
                  <a:pt x="696" y="137"/>
                  <a:pt x="696" y="137"/>
                  <a:pt x="696" y="136"/>
                </a:cubicBezTo>
                <a:cubicBezTo>
                  <a:pt x="697" y="136"/>
                  <a:pt x="697" y="137"/>
                  <a:pt x="697" y="135"/>
                </a:cubicBezTo>
                <a:cubicBezTo>
                  <a:pt x="697" y="135"/>
                  <a:pt x="697" y="134"/>
                  <a:pt x="699" y="134"/>
                </a:cubicBezTo>
                <a:cubicBezTo>
                  <a:pt x="699" y="134"/>
                  <a:pt x="700" y="135"/>
                  <a:pt x="700" y="135"/>
                </a:cubicBezTo>
                <a:cubicBezTo>
                  <a:pt x="701" y="134"/>
                  <a:pt x="701" y="134"/>
                  <a:pt x="702" y="134"/>
                </a:cubicBezTo>
                <a:cubicBezTo>
                  <a:pt x="702" y="134"/>
                  <a:pt x="702" y="133"/>
                  <a:pt x="703" y="133"/>
                </a:cubicBezTo>
                <a:cubicBezTo>
                  <a:pt x="704" y="133"/>
                  <a:pt x="705" y="133"/>
                  <a:pt x="706" y="133"/>
                </a:cubicBezTo>
                <a:close/>
              </a:path>
            </a:pathLst>
          </a:custGeom>
          <a:solidFill>
            <a:schemeClr val="tx2">
              <a:lumMod val="75000"/>
            </a:schemeClr>
          </a:solidFill>
          <a:ln>
            <a:noFill/>
          </a:ln>
        </p:spPr>
        <p:txBody>
          <a:bodyPr vert="horz" wrap="square" lIns="68565" tIns="34289" rIns="68565" bIns="34289"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Tree>
    <p:extLst>
      <p:ext uri="{BB962C8B-B14F-4D97-AF65-F5344CB8AC3E}">
        <p14:creationId xmlns:p14="http://schemas.microsoft.com/office/powerpoint/2010/main" val="1929517021"/>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CR1">
    <p:spTree>
      <p:nvGrpSpPr>
        <p:cNvPr id="1" name=""/>
        <p:cNvGrpSpPr/>
        <p:nvPr/>
      </p:nvGrpSpPr>
      <p:grpSpPr>
        <a:xfrm>
          <a:off x="0" y="0"/>
          <a:ext cx="0" cy="0"/>
          <a:chOff x="0" y="0"/>
          <a:chExt cx="0" cy="0"/>
        </a:xfrm>
      </p:grpSpPr>
      <p:sp>
        <p:nvSpPr>
          <p:cNvPr id="33" name="Picture Placeholder 32"/>
          <p:cNvSpPr>
            <a:spLocks noGrp="1"/>
          </p:cNvSpPr>
          <p:nvPr userDrawn="1">
            <p:ph type="pic" sz="quarter" idx="10"/>
          </p:nvPr>
        </p:nvSpPr>
        <p:spPr>
          <a:xfrm>
            <a:off x="4777697" y="1"/>
            <a:ext cx="3771900" cy="4929188"/>
          </a:xfrm>
          <a:custGeom>
            <a:avLst/>
            <a:gdLst>
              <a:gd name="connsiteX0" fmla="*/ 1449076 w 5029152"/>
              <a:gd name="connsiteY0" fmla="*/ 1 h 6572250"/>
              <a:gd name="connsiteX1" fmla="*/ 2131000 w 5029152"/>
              <a:gd name="connsiteY1" fmla="*/ 1 h 6572250"/>
              <a:gd name="connsiteX2" fmla="*/ 2131000 w 5029152"/>
              <a:gd name="connsiteY2" fmla="*/ 6309291 h 6572250"/>
              <a:gd name="connsiteX3" fmla="*/ 1449076 w 5029152"/>
              <a:gd name="connsiteY3" fmla="*/ 6309291 h 6572250"/>
              <a:gd name="connsiteX4" fmla="*/ 724538 w 5029152"/>
              <a:gd name="connsiteY4" fmla="*/ 1 h 6572250"/>
              <a:gd name="connsiteX5" fmla="*/ 1406462 w 5029152"/>
              <a:gd name="connsiteY5" fmla="*/ 1 h 6572250"/>
              <a:gd name="connsiteX6" fmla="*/ 1406462 w 5029152"/>
              <a:gd name="connsiteY6" fmla="*/ 5577779 h 6572250"/>
              <a:gd name="connsiteX7" fmla="*/ 724538 w 5029152"/>
              <a:gd name="connsiteY7" fmla="*/ 5577779 h 6572250"/>
              <a:gd name="connsiteX8" fmla="*/ 0 w 5029152"/>
              <a:gd name="connsiteY8" fmla="*/ 1 h 6572250"/>
              <a:gd name="connsiteX9" fmla="*/ 681924 w 5029152"/>
              <a:gd name="connsiteY9" fmla="*/ 1 h 6572250"/>
              <a:gd name="connsiteX10" fmla="*/ 681924 w 5029152"/>
              <a:gd name="connsiteY10" fmla="*/ 6572250 h 6572250"/>
              <a:gd name="connsiteX11" fmla="*/ 0 w 5029152"/>
              <a:gd name="connsiteY11" fmla="*/ 6572250 h 6572250"/>
              <a:gd name="connsiteX12" fmla="*/ 4347229 w 5029152"/>
              <a:gd name="connsiteY12" fmla="*/ 0 h 6572250"/>
              <a:gd name="connsiteX13" fmla="*/ 5029152 w 5029152"/>
              <a:gd name="connsiteY13" fmla="*/ 0 h 6572250"/>
              <a:gd name="connsiteX14" fmla="*/ 5029152 w 5029152"/>
              <a:gd name="connsiteY14" fmla="*/ 6126413 h 6572250"/>
              <a:gd name="connsiteX15" fmla="*/ 4347229 w 5029152"/>
              <a:gd name="connsiteY15" fmla="*/ 6126413 h 6572250"/>
              <a:gd name="connsiteX16" fmla="*/ 3622691 w 5029152"/>
              <a:gd name="connsiteY16" fmla="*/ 0 h 6572250"/>
              <a:gd name="connsiteX17" fmla="*/ 4304615 w 5029152"/>
              <a:gd name="connsiteY17" fmla="*/ 0 h 6572250"/>
              <a:gd name="connsiteX18" fmla="*/ 4304615 w 5029152"/>
              <a:gd name="connsiteY18" fmla="*/ 5394901 h 6572250"/>
              <a:gd name="connsiteX19" fmla="*/ 3622691 w 5029152"/>
              <a:gd name="connsiteY19" fmla="*/ 5394901 h 6572250"/>
              <a:gd name="connsiteX20" fmla="*/ 2898153 w 5029152"/>
              <a:gd name="connsiteY20" fmla="*/ 0 h 6572250"/>
              <a:gd name="connsiteX21" fmla="*/ 3580077 w 5029152"/>
              <a:gd name="connsiteY21" fmla="*/ 0 h 6572250"/>
              <a:gd name="connsiteX22" fmla="*/ 3580077 w 5029152"/>
              <a:gd name="connsiteY22" fmla="*/ 5943535 h 6572250"/>
              <a:gd name="connsiteX23" fmla="*/ 2898153 w 5029152"/>
              <a:gd name="connsiteY23" fmla="*/ 5943535 h 6572250"/>
              <a:gd name="connsiteX24" fmla="*/ 2173615 w 5029152"/>
              <a:gd name="connsiteY24" fmla="*/ 0 h 6572250"/>
              <a:gd name="connsiteX25" fmla="*/ 2855539 w 5029152"/>
              <a:gd name="connsiteY25" fmla="*/ 0 h 6572250"/>
              <a:gd name="connsiteX26" fmla="*/ 2855539 w 5029152"/>
              <a:gd name="connsiteY26" fmla="*/ 5029145 h 6572250"/>
              <a:gd name="connsiteX27" fmla="*/ 2173615 w 5029152"/>
              <a:gd name="connsiteY27" fmla="*/ 5029145 h 65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9152" h="6572250">
                <a:moveTo>
                  <a:pt x="1449076" y="1"/>
                </a:moveTo>
                <a:lnTo>
                  <a:pt x="2131000" y="1"/>
                </a:lnTo>
                <a:lnTo>
                  <a:pt x="2131000" y="6309291"/>
                </a:lnTo>
                <a:lnTo>
                  <a:pt x="1449076" y="6309291"/>
                </a:lnTo>
                <a:close/>
                <a:moveTo>
                  <a:pt x="724538" y="1"/>
                </a:moveTo>
                <a:lnTo>
                  <a:pt x="1406462" y="1"/>
                </a:lnTo>
                <a:lnTo>
                  <a:pt x="1406462" y="5577779"/>
                </a:lnTo>
                <a:lnTo>
                  <a:pt x="724538" y="5577779"/>
                </a:lnTo>
                <a:close/>
                <a:moveTo>
                  <a:pt x="0" y="1"/>
                </a:moveTo>
                <a:lnTo>
                  <a:pt x="681924" y="1"/>
                </a:lnTo>
                <a:lnTo>
                  <a:pt x="681924" y="6572250"/>
                </a:lnTo>
                <a:lnTo>
                  <a:pt x="0" y="6572250"/>
                </a:lnTo>
                <a:close/>
                <a:moveTo>
                  <a:pt x="4347229" y="0"/>
                </a:moveTo>
                <a:lnTo>
                  <a:pt x="5029152" y="0"/>
                </a:lnTo>
                <a:lnTo>
                  <a:pt x="5029152" y="6126413"/>
                </a:lnTo>
                <a:lnTo>
                  <a:pt x="4347229" y="6126413"/>
                </a:lnTo>
                <a:close/>
                <a:moveTo>
                  <a:pt x="3622691" y="0"/>
                </a:moveTo>
                <a:lnTo>
                  <a:pt x="4304615" y="0"/>
                </a:lnTo>
                <a:lnTo>
                  <a:pt x="4304615" y="5394901"/>
                </a:lnTo>
                <a:lnTo>
                  <a:pt x="3622691" y="5394901"/>
                </a:lnTo>
                <a:close/>
                <a:moveTo>
                  <a:pt x="2898153" y="0"/>
                </a:moveTo>
                <a:lnTo>
                  <a:pt x="3580077" y="0"/>
                </a:lnTo>
                <a:lnTo>
                  <a:pt x="3580077" y="5943535"/>
                </a:lnTo>
                <a:lnTo>
                  <a:pt x="2898153" y="5943535"/>
                </a:lnTo>
                <a:close/>
                <a:moveTo>
                  <a:pt x="2173615" y="0"/>
                </a:moveTo>
                <a:lnTo>
                  <a:pt x="2855539" y="0"/>
                </a:lnTo>
                <a:lnTo>
                  <a:pt x="2855539" y="5029145"/>
                </a:lnTo>
                <a:lnTo>
                  <a:pt x="2173615" y="502914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587301097"/>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CR2">
    <p:spTree>
      <p:nvGrpSpPr>
        <p:cNvPr id="1" name=""/>
        <p:cNvGrpSpPr/>
        <p:nvPr/>
      </p:nvGrpSpPr>
      <p:grpSpPr>
        <a:xfrm>
          <a:off x="0" y="0"/>
          <a:ext cx="0" cy="0"/>
          <a:chOff x="0" y="0"/>
          <a:chExt cx="0" cy="0"/>
        </a:xfrm>
      </p:grpSpPr>
      <p:grpSp>
        <p:nvGrpSpPr>
          <p:cNvPr id="11" name="Group 10"/>
          <p:cNvGrpSpPr/>
          <p:nvPr userDrawn="1"/>
        </p:nvGrpSpPr>
        <p:grpSpPr>
          <a:xfrm>
            <a:off x="5331862" y="-30028"/>
            <a:ext cx="1783064" cy="5340714"/>
            <a:chOff x="6743391" y="-40037"/>
            <a:chExt cx="2377418" cy="7120952"/>
          </a:xfrm>
          <a:solidFill>
            <a:schemeClr val="tx2">
              <a:lumMod val="75000"/>
              <a:lumOff val="25000"/>
            </a:schemeClr>
          </a:solidFill>
        </p:grpSpPr>
        <p:sp>
          <p:nvSpPr>
            <p:cNvPr id="12" name="Freeform 11"/>
            <p:cNvSpPr/>
            <p:nvPr/>
          </p:nvSpPr>
          <p:spPr>
            <a:xfrm rot="1200000">
              <a:off x="8197210" y="5091063"/>
              <a:ext cx="365760" cy="1765207"/>
            </a:xfrm>
            <a:custGeom>
              <a:avLst/>
              <a:gdLst>
                <a:gd name="connsiteX0" fmla="*/ 365760 w 365760"/>
                <a:gd name="connsiteY0" fmla="*/ 0 h 1765207"/>
                <a:gd name="connsiteX1" fmla="*/ 365760 w 365760"/>
                <a:gd name="connsiteY1" fmla="*/ 1632082 h 1765207"/>
                <a:gd name="connsiteX2" fmla="*/ 0 w 365760"/>
                <a:gd name="connsiteY2" fmla="*/ 1765207 h 1765207"/>
                <a:gd name="connsiteX3" fmla="*/ 0 w 365760"/>
                <a:gd name="connsiteY3" fmla="*/ 133126 h 1765207"/>
              </a:gdLst>
              <a:ahLst/>
              <a:cxnLst>
                <a:cxn ang="0">
                  <a:pos x="connsiteX0" y="connsiteY0"/>
                </a:cxn>
                <a:cxn ang="0">
                  <a:pos x="connsiteX1" y="connsiteY1"/>
                </a:cxn>
                <a:cxn ang="0">
                  <a:pos x="connsiteX2" y="connsiteY2"/>
                </a:cxn>
                <a:cxn ang="0">
                  <a:pos x="connsiteX3" y="connsiteY3"/>
                </a:cxn>
              </a:cxnLst>
              <a:rect l="l" t="t" r="r" b="b"/>
              <a:pathLst>
                <a:path w="365760" h="1765207">
                  <a:moveTo>
                    <a:pt x="365760" y="0"/>
                  </a:moveTo>
                  <a:lnTo>
                    <a:pt x="365760" y="1632082"/>
                  </a:lnTo>
                  <a:lnTo>
                    <a:pt x="0" y="1765207"/>
                  </a:lnTo>
                  <a:lnTo>
                    <a:pt x="0" y="133126"/>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13" name="Freeform 12"/>
            <p:cNvSpPr/>
            <p:nvPr/>
          </p:nvSpPr>
          <p:spPr>
            <a:xfrm rot="1200000">
              <a:off x="6743391" y="972631"/>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14" name="Freeform 13"/>
            <p:cNvSpPr/>
            <p:nvPr/>
          </p:nvSpPr>
          <p:spPr>
            <a:xfrm rot="1200000">
              <a:off x="7094507" y="2161338"/>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sp>
          <p:nvSpPr>
            <p:cNvPr id="15" name="Freeform 14"/>
            <p:cNvSpPr/>
            <p:nvPr/>
          </p:nvSpPr>
          <p:spPr>
            <a:xfrm rot="1200000">
              <a:off x="8755049" y="-40037"/>
              <a:ext cx="365760" cy="4919577"/>
            </a:xfrm>
            <a:custGeom>
              <a:avLst/>
              <a:gdLst>
                <a:gd name="connsiteX0" fmla="*/ 365760 w 365760"/>
                <a:gd name="connsiteY0" fmla="*/ 0 h 4919577"/>
                <a:gd name="connsiteX1" fmla="*/ 365760 w 365760"/>
                <a:gd name="connsiteY1" fmla="*/ 4786451 h 4919577"/>
                <a:gd name="connsiteX2" fmla="*/ 0 w 365760"/>
                <a:gd name="connsiteY2" fmla="*/ 4919577 h 4919577"/>
                <a:gd name="connsiteX3" fmla="*/ 0 w 365760"/>
                <a:gd name="connsiteY3" fmla="*/ 133126 h 4919577"/>
              </a:gdLst>
              <a:ahLst/>
              <a:cxnLst>
                <a:cxn ang="0">
                  <a:pos x="connsiteX0" y="connsiteY0"/>
                </a:cxn>
                <a:cxn ang="0">
                  <a:pos x="connsiteX1" y="connsiteY1"/>
                </a:cxn>
                <a:cxn ang="0">
                  <a:pos x="connsiteX2" y="connsiteY2"/>
                </a:cxn>
                <a:cxn ang="0">
                  <a:pos x="connsiteX3" y="connsiteY3"/>
                </a:cxn>
              </a:cxnLst>
              <a:rect l="l" t="t" r="r" b="b"/>
              <a:pathLst>
                <a:path w="365760" h="4919577">
                  <a:moveTo>
                    <a:pt x="365760" y="0"/>
                  </a:moveTo>
                  <a:lnTo>
                    <a:pt x="365760" y="4786451"/>
                  </a:lnTo>
                  <a:lnTo>
                    <a:pt x="0" y="4919577"/>
                  </a:lnTo>
                  <a:lnTo>
                    <a:pt x="0" y="13312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5" fontAlgn="auto">
                <a:spcBef>
                  <a:spcPts val="0"/>
                </a:spcBef>
                <a:spcAft>
                  <a:spcPts val="0"/>
                </a:spcAft>
              </a:pPr>
              <a:endParaRPr lang="en-US" sz="2000" dirty="0">
                <a:solidFill>
                  <a:srgbClr val="1F1F1F"/>
                </a:solidFill>
              </a:endParaRPr>
            </a:p>
          </p:txBody>
        </p:sp>
      </p:grpSp>
      <p:sp>
        <p:nvSpPr>
          <p:cNvPr id="23" name="Picture Placeholder 19"/>
          <p:cNvSpPr>
            <a:spLocks noGrp="1"/>
          </p:cNvSpPr>
          <p:nvPr>
            <p:ph type="pic" sz="quarter" idx="10"/>
          </p:nvPr>
        </p:nvSpPr>
        <p:spPr>
          <a:xfrm>
            <a:off x="4800205" y="128154"/>
            <a:ext cx="3475076" cy="4824859"/>
          </a:xfrm>
          <a:custGeom>
            <a:avLst/>
            <a:gdLst>
              <a:gd name="connsiteX0" fmla="*/ 3375866 w 4633435"/>
              <a:gd name="connsiteY0" fmla="*/ 1948335 h 6433145"/>
              <a:gd name="connsiteX1" fmla="*/ 1743529 w 4633435"/>
              <a:gd name="connsiteY1" fmla="*/ 6433145 h 6433145"/>
              <a:gd name="connsiteX2" fmla="*/ 1354296 w 4633435"/>
              <a:gd name="connsiteY2" fmla="*/ 6433145 h 6433145"/>
              <a:gd name="connsiteX3" fmla="*/ 2986632 w 4633435"/>
              <a:gd name="connsiteY3" fmla="*/ 1948336 h 6433145"/>
              <a:gd name="connsiteX4" fmla="*/ 1927309 w 4633435"/>
              <a:gd name="connsiteY4" fmla="*/ 1085245 h 6433145"/>
              <a:gd name="connsiteX5" fmla="*/ 389233 w 4633435"/>
              <a:gd name="connsiteY5" fmla="*/ 5311073 h 6433145"/>
              <a:gd name="connsiteX6" fmla="*/ 0 w 4633435"/>
              <a:gd name="connsiteY6" fmla="*/ 5311073 h 6433145"/>
              <a:gd name="connsiteX7" fmla="*/ 1538076 w 4633435"/>
              <a:gd name="connsiteY7" fmla="*/ 1085245 h 6433145"/>
              <a:gd name="connsiteX8" fmla="*/ 4144614 w 4633435"/>
              <a:gd name="connsiteY8" fmla="*/ 1054143 h 6433145"/>
              <a:gd name="connsiteX9" fmla="*/ 2240188 w 4633435"/>
              <a:gd name="connsiteY9" fmla="*/ 6286513 h 6433145"/>
              <a:gd name="connsiteX10" fmla="*/ 1850955 w 4633435"/>
              <a:gd name="connsiteY10" fmla="*/ 6286512 h 6433145"/>
              <a:gd name="connsiteX11" fmla="*/ 3755381 w 4633435"/>
              <a:gd name="connsiteY11" fmla="*/ 1054144 h 6433145"/>
              <a:gd name="connsiteX12" fmla="*/ 4633435 w 4633435"/>
              <a:gd name="connsiteY12" fmla="*/ 929046 h 6433145"/>
              <a:gd name="connsiteX13" fmla="*/ 2931731 w 4633435"/>
              <a:gd name="connsiteY13" fmla="*/ 5604439 h 6433145"/>
              <a:gd name="connsiteX14" fmla="*/ 2542497 w 4633435"/>
              <a:gd name="connsiteY14" fmla="*/ 5604441 h 6433145"/>
              <a:gd name="connsiteX15" fmla="*/ 4244201 w 4633435"/>
              <a:gd name="connsiteY15" fmla="*/ 929046 h 6433145"/>
              <a:gd name="connsiteX16" fmla="*/ 2556829 w 4633435"/>
              <a:gd name="connsiteY16" fmla="*/ 693359 h 6433145"/>
              <a:gd name="connsiteX17" fmla="*/ 2946062 w 4633435"/>
              <a:gd name="connsiteY17" fmla="*/ 693360 h 6433145"/>
              <a:gd name="connsiteX18" fmla="*/ 1105166 w 4633435"/>
              <a:gd name="connsiteY18" fmla="*/ 5751182 h 6433145"/>
              <a:gd name="connsiteX19" fmla="*/ 715932 w 4633435"/>
              <a:gd name="connsiteY19" fmla="*/ 5751182 h 6433145"/>
              <a:gd name="connsiteX20" fmla="*/ 3117220 w 4633435"/>
              <a:gd name="connsiteY20" fmla="*/ 371622 h 6433145"/>
              <a:gd name="connsiteX21" fmla="*/ 3506455 w 4633435"/>
              <a:gd name="connsiteY21" fmla="*/ 371623 h 6433145"/>
              <a:gd name="connsiteX22" fmla="*/ 1733179 w 4633435"/>
              <a:gd name="connsiteY22" fmla="*/ 5243655 h 6433145"/>
              <a:gd name="connsiteX23" fmla="*/ 1343944 w 4633435"/>
              <a:gd name="connsiteY23" fmla="*/ 5243655 h 6433145"/>
              <a:gd name="connsiteX24" fmla="*/ 2755136 w 4633435"/>
              <a:gd name="connsiteY24" fmla="*/ 0 h 6433145"/>
              <a:gd name="connsiteX25" fmla="*/ 525012 w 4633435"/>
              <a:gd name="connsiteY25" fmla="*/ 6127216 h 6433145"/>
              <a:gd name="connsiteX26" fmla="*/ 135778 w 4633435"/>
              <a:gd name="connsiteY26" fmla="*/ 6127217 h 6433145"/>
              <a:gd name="connsiteX27" fmla="*/ 2365902 w 4633435"/>
              <a:gd name="connsiteY27" fmla="*/ 1 h 643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33435" h="6433145">
                <a:moveTo>
                  <a:pt x="3375866" y="1948335"/>
                </a:moveTo>
                <a:lnTo>
                  <a:pt x="1743529" y="6433145"/>
                </a:lnTo>
                <a:lnTo>
                  <a:pt x="1354296" y="6433145"/>
                </a:lnTo>
                <a:lnTo>
                  <a:pt x="2986632" y="1948336"/>
                </a:lnTo>
                <a:close/>
                <a:moveTo>
                  <a:pt x="1927309" y="1085245"/>
                </a:moveTo>
                <a:lnTo>
                  <a:pt x="389233" y="5311073"/>
                </a:lnTo>
                <a:lnTo>
                  <a:pt x="0" y="5311073"/>
                </a:lnTo>
                <a:lnTo>
                  <a:pt x="1538076" y="1085245"/>
                </a:lnTo>
                <a:close/>
                <a:moveTo>
                  <a:pt x="4144614" y="1054143"/>
                </a:moveTo>
                <a:lnTo>
                  <a:pt x="2240188" y="6286513"/>
                </a:lnTo>
                <a:lnTo>
                  <a:pt x="1850955" y="6286512"/>
                </a:lnTo>
                <a:lnTo>
                  <a:pt x="3755381" y="1054144"/>
                </a:lnTo>
                <a:close/>
                <a:moveTo>
                  <a:pt x="4633435" y="929046"/>
                </a:moveTo>
                <a:lnTo>
                  <a:pt x="2931731" y="5604439"/>
                </a:lnTo>
                <a:lnTo>
                  <a:pt x="2542497" y="5604441"/>
                </a:lnTo>
                <a:lnTo>
                  <a:pt x="4244201" y="929046"/>
                </a:lnTo>
                <a:close/>
                <a:moveTo>
                  <a:pt x="2556829" y="693359"/>
                </a:moveTo>
                <a:lnTo>
                  <a:pt x="2946062" y="693360"/>
                </a:lnTo>
                <a:lnTo>
                  <a:pt x="1105166" y="5751182"/>
                </a:lnTo>
                <a:lnTo>
                  <a:pt x="715932" y="5751182"/>
                </a:lnTo>
                <a:close/>
                <a:moveTo>
                  <a:pt x="3117220" y="371622"/>
                </a:moveTo>
                <a:lnTo>
                  <a:pt x="3506455" y="371623"/>
                </a:lnTo>
                <a:lnTo>
                  <a:pt x="1733179" y="5243655"/>
                </a:lnTo>
                <a:lnTo>
                  <a:pt x="1343944" y="5243655"/>
                </a:lnTo>
                <a:close/>
                <a:moveTo>
                  <a:pt x="2755136" y="0"/>
                </a:moveTo>
                <a:lnTo>
                  <a:pt x="525012" y="6127216"/>
                </a:lnTo>
                <a:lnTo>
                  <a:pt x="135778" y="6127217"/>
                </a:lnTo>
                <a:lnTo>
                  <a:pt x="2365902" y="1"/>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4065646467"/>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CR3">
    <p:spTree>
      <p:nvGrpSpPr>
        <p:cNvPr id="1" name=""/>
        <p:cNvGrpSpPr/>
        <p:nvPr/>
      </p:nvGrpSpPr>
      <p:grpSpPr>
        <a:xfrm>
          <a:off x="0" y="0"/>
          <a:ext cx="0" cy="0"/>
          <a:chOff x="0" y="0"/>
          <a:chExt cx="0" cy="0"/>
        </a:xfrm>
      </p:grpSpPr>
      <p:sp>
        <p:nvSpPr>
          <p:cNvPr id="4" name="Freeform 6"/>
          <p:cNvSpPr>
            <a:spLocks/>
          </p:cNvSpPr>
          <p:nvPr userDrawn="1"/>
        </p:nvSpPr>
        <p:spPr bwMode="auto">
          <a:xfrm>
            <a:off x="2411950" y="10"/>
            <a:ext cx="3623090" cy="5179730"/>
          </a:xfrm>
          <a:custGeom>
            <a:avLst/>
            <a:gdLst>
              <a:gd name="T0" fmla="*/ 3084 w 3859"/>
              <a:gd name="T1" fmla="*/ 0 h 5517"/>
              <a:gd name="T2" fmla="*/ 3859 w 3859"/>
              <a:gd name="T3" fmla="*/ 0 h 5517"/>
              <a:gd name="T4" fmla="*/ 0 w 3859"/>
              <a:gd name="T5" fmla="*/ 5517 h 5517"/>
              <a:gd name="T6" fmla="*/ 3084 w 3859"/>
              <a:gd name="T7" fmla="*/ 0 h 5517"/>
            </a:gdLst>
            <a:ahLst/>
            <a:cxnLst>
              <a:cxn ang="0">
                <a:pos x="T0" y="T1"/>
              </a:cxn>
              <a:cxn ang="0">
                <a:pos x="T2" y="T3"/>
              </a:cxn>
              <a:cxn ang="0">
                <a:pos x="T4" y="T5"/>
              </a:cxn>
              <a:cxn ang="0">
                <a:pos x="T6" y="T7"/>
              </a:cxn>
            </a:cxnLst>
            <a:rect l="0" t="0" r="r" b="b"/>
            <a:pathLst>
              <a:path w="3859" h="5517">
                <a:moveTo>
                  <a:pt x="3084" y="0"/>
                </a:moveTo>
                <a:lnTo>
                  <a:pt x="3859" y="0"/>
                </a:lnTo>
                <a:lnTo>
                  <a:pt x="0" y="5517"/>
                </a:lnTo>
                <a:lnTo>
                  <a:pt x="3084" y="0"/>
                </a:lnTo>
                <a:close/>
              </a:path>
            </a:pathLst>
          </a:custGeom>
          <a:gradFill>
            <a:gsLst>
              <a:gs pos="0">
                <a:schemeClr val="accent1"/>
              </a:gs>
              <a:gs pos="100000">
                <a:schemeClr val="bg2"/>
              </a:gs>
            </a:gsLst>
            <a:lin ang="5400000" scaled="1"/>
          </a:gradFill>
          <a:ln>
            <a:noFill/>
          </a:ln>
        </p:spPr>
        <p:txBody>
          <a:bodyPr vert="horz" wrap="square" lIns="68565" tIns="34289" rIns="68565" bIns="34289"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 name="Picture Placeholder 6"/>
          <p:cNvSpPr>
            <a:spLocks noGrp="1"/>
          </p:cNvSpPr>
          <p:nvPr>
            <p:ph type="pic" sz="quarter" idx="10"/>
          </p:nvPr>
        </p:nvSpPr>
        <p:spPr>
          <a:xfrm>
            <a:off x="3" y="10"/>
            <a:ext cx="5307418" cy="4945952"/>
          </a:xfrm>
          <a:custGeom>
            <a:avLst/>
            <a:gdLst>
              <a:gd name="connsiteX0" fmla="*/ 0 w 7076557"/>
              <a:gd name="connsiteY0" fmla="*/ 0 h 6594602"/>
              <a:gd name="connsiteX1" fmla="*/ 7076557 w 7076557"/>
              <a:gd name="connsiteY1" fmla="*/ 0 h 6594602"/>
              <a:gd name="connsiteX2" fmla="*/ 3169617 w 7076557"/>
              <a:gd name="connsiteY2" fmla="*/ 6594602 h 6594602"/>
              <a:gd name="connsiteX3" fmla="*/ 0 w 7076557"/>
              <a:gd name="connsiteY3" fmla="*/ 4639255 h 6594602"/>
            </a:gdLst>
            <a:ahLst/>
            <a:cxnLst>
              <a:cxn ang="0">
                <a:pos x="connsiteX0" y="connsiteY0"/>
              </a:cxn>
              <a:cxn ang="0">
                <a:pos x="connsiteX1" y="connsiteY1"/>
              </a:cxn>
              <a:cxn ang="0">
                <a:pos x="connsiteX2" y="connsiteY2"/>
              </a:cxn>
              <a:cxn ang="0">
                <a:pos x="connsiteX3" y="connsiteY3"/>
              </a:cxn>
            </a:cxnLst>
            <a:rect l="l" t="t" r="r" b="b"/>
            <a:pathLst>
              <a:path w="7076557" h="6594602">
                <a:moveTo>
                  <a:pt x="0" y="0"/>
                </a:moveTo>
                <a:lnTo>
                  <a:pt x="7076557" y="0"/>
                </a:lnTo>
                <a:lnTo>
                  <a:pt x="3169617" y="6594602"/>
                </a:lnTo>
                <a:lnTo>
                  <a:pt x="0" y="46392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465766272"/>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CR4">
    <p:spTree>
      <p:nvGrpSpPr>
        <p:cNvPr id="1" name=""/>
        <p:cNvGrpSpPr/>
        <p:nvPr/>
      </p:nvGrpSpPr>
      <p:grpSpPr>
        <a:xfrm>
          <a:off x="0" y="0"/>
          <a:ext cx="0" cy="0"/>
          <a:chOff x="0" y="0"/>
          <a:chExt cx="0" cy="0"/>
        </a:xfrm>
      </p:grpSpPr>
      <p:sp>
        <p:nvSpPr>
          <p:cNvPr id="4" name="Freeform 6"/>
          <p:cNvSpPr>
            <a:spLocks/>
          </p:cNvSpPr>
          <p:nvPr userDrawn="1"/>
        </p:nvSpPr>
        <p:spPr bwMode="auto">
          <a:xfrm>
            <a:off x="2411950" y="10"/>
            <a:ext cx="3623090" cy="5179730"/>
          </a:xfrm>
          <a:custGeom>
            <a:avLst/>
            <a:gdLst>
              <a:gd name="T0" fmla="*/ 3084 w 3859"/>
              <a:gd name="T1" fmla="*/ 0 h 5517"/>
              <a:gd name="T2" fmla="*/ 3859 w 3859"/>
              <a:gd name="T3" fmla="*/ 0 h 5517"/>
              <a:gd name="T4" fmla="*/ 0 w 3859"/>
              <a:gd name="T5" fmla="*/ 5517 h 5517"/>
              <a:gd name="T6" fmla="*/ 3084 w 3859"/>
              <a:gd name="T7" fmla="*/ 0 h 5517"/>
            </a:gdLst>
            <a:ahLst/>
            <a:cxnLst>
              <a:cxn ang="0">
                <a:pos x="T0" y="T1"/>
              </a:cxn>
              <a:cxn ang="0">
                <a:pos x="T2" y="T3"/>
              </a:cxn>
              <a:cxn ang="0">
                <a:pos x="T4" y="T5"/>
              </a:cxn>
              <a:cxn ang="0">
                <a:pos x="T6" y="T7"/>
              </a:cxn>
            </a:cxnLst>
            <a:rect l="0" t="0" r="r" b="b"/>
            <a:pathLst>
              <a:path w="3859" h="5517">
                <a:moveTo>
                  <a:pt x="3084" y="0"/>
                </a:moveTo>
                <a:lnTo>
                  <a:pt x="3859" y="0"/>
                </a:lnTo>
                <a:lnTo>
                  <a:pt x="0" y="5517"/>
                </a:lnTo>
                <a:lnTo>
                  <a:pt x="3084" y="0"/>
                </a:lnTo>
                <a:close/>
              </a:path>
            </a:pathLst>
          </a:custGeom>
          <a:gradFill>
            <a:gsLst>
              <a:gs pos="0">
                <a:schemeClr val="accent3"/>
              </a:gs>
              <a:gs pos="100000">
                <a:schemeClr val="bg2"/>
              </a:gs>
            </a:gsLst>
            <a:lin ang="5400000" scaled="1"/>
          </a:gradFill>
          <a:ln>
            <a:noFill/>
          </a:ln>
        </p:spPr>
        <p:txBody>
          <a:bodyPr vert="horz" wrap="square" lIns="68565" tIns="34289" rIns="68565" bIns="34289"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 name="Picture Placeholder 6"/>
          <p:cNvSpPr>
            <a:spLocks noGrp="1"/>
          </p:cNvSpPr>
          <p:nvPr>
            <p:ph type="pic" sz="quarter" idx="10"/>
          </p:nvPr>
        </p:nvSpPr>
        <p:spPr>
          <a:xfrm>
            <a:off x="3" y="10"/>
            <a:ext cx="5307418" cy="4945952"/>
          </a:xfrm>
          <a:custGeom>
            <a:avLst/>
            <a:gdLst>
              <a:gd name="connsiteX0" fmla="*/ 0 w 7076557"/>
              <a:gd name="connsiteY0" fmla="*/ 0 h 6594602"/>
              <a:gd name="connsiteX1" fmla="*/ 7076557 w 7076557"/>
              <a:gd name="connsiteY1" fmla="*/ 0 h 6594602"/>
              <a:gd name="connsiteX2" fmla="*/ 3169617 w 7076557"/>
              <a:gd name="connsiteY2" fmla="*/ 6594602 h 6594602"/>
              <a:gd name="connsiteX3" fmla="*/ 0 w 7076557"/>
              <a:gd name="connsiteY3" fmla="*/ 4639255 h 6594602"/>
            </a:gdLst>
            <a:ahLst/>
            <a:cxnLst>
              <a:cxn ang="0">
                <a:pos x="connsiteX0" y="connsiteY0"/>
              </a:cxn>
              <a:cxn ang="0">
                <a:pos x="connsiteX1" y="connsiteY1"/>
              </a:cxn>
              <a:cxn ang="0">
                <a:pos x="connsiteX2" y="connsiteY2"/>
              </a:cxn>
              <a:cxn ang="0">
                <a:pos x="connsiteX3" y="connsiteY3"/>
              </a:cxn>
            </a:cxnLst>
            <a:rect l="l" t="t" r="r" b="b"/>
            <a:pathLst>
              <a:path w="7076557" h="6594602">
                <a:moveTo>
                  <a:pt x="0" y="0"/>
                </a:moveTo>
                <a:lnTo>
                  <a:pt x="7076557" y="0"/>
                </a:lnTo>
                <a:lnTo>
                  <a:pt x="3169617" y="6594602"/>
                </a:lnTo>
                <a:lnTo>
                  <a:pt x="0" y="46392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5650861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pic>
        <p:nvPicPr>
          <p:cNvPr id="5" name="Picture 3" descr="Microsoft logo and taglin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591425" y="4730361"/>
            <a:ext cx="1403350" cy="235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384675" y="1326357"/>
            <a:ext cx="8423524" cy="2437590"/>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lvl="0"/>
            <a:r>
              <a:rPr lang="en-US"/>
              <a:t>Click to edit Master text styles</a:t>
            </a:r>
          </a:p>
        </p:txBody>
      </p:sp>
      <p:sp>
        <p:nvSpPr>
          <p:cNvPr id="4" name="Text Placeholder 8"/>
          <p:cNvSpPr>
            <a:spLocks noGrp="1"/>
          </p:cNvSpPr>
          <p:nvPr>
            <p:ph type="body" sz="quarter" idx="11"/>
          </p:nvPr>
        </p:nvSpPr>
        <p:spPr>
          <a:xfrm>
            <a:off x="384676" y="2414374"/>
            <a:ext cx="5636696"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4259062403"/>
      </p:ext>
    </p:extLst>
  </p:cSld>
  <p:clrMapOvr>
    <a:masterClrMapping/>
  </p:clrMapOvr>
  <p:transition>
    <p:fade/>
  </p:transition>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CR5">
    <p:spTree>
      <p:nvGrpSpPr>
        <p:cNvPr id="1" name=""/>
        <p:cNvGrpSpPr/>
        <p:nvPr/>
      </p:nvGrpSpPr>
      <p:grpSpPr>
        <a:xfrm>
          <a:off x="0" y="0"/>
          <a:ext cx="0" cy="0"/>
          <a:chOff x="0" y="0"/>
          <a:chExt cx="0" cy="0"/>
        </a:xfrm>
      </p:grpSpPr>
      <p:sp>
        <p:nvSpPr>
          <p:cNvPr id="4" name="Freeform 6"/>
          <p:cNvSpPr>
            <a:spLocks/>
          </p:cNvSpPr>
          <p:nvPr userDrawn="1"/>
        </p:nvSpPr>
        <p:spPr bwMode="auto">
          <a:xfrm>
            <a:off x="2411950" y="10"/>
            <a:ext cx="3623090" cy="5179730"/>
          </a:xfrm>
          <a:custGeom>
            <a:avLst/>
            <a:gdLst>
              <a:gd name="T0" fmla="*/ 3084 w 3859"/>
              <a:gd name="T1" fmla="*/ 0 h 5517"/>
              <a:gd name="T2" fmla="*/ 3859 w 3859"/>
              <a:gd name="T3" fmla="*/ 0 h 5517"/>
              <a:gd name="T4" fmla="*/ 0 w 3859"/>
              <a:gd name="T5" fmla="*/ 5517 h 5517"/>
              <a:gd name="T6" fmla="*/ 3084 w 3859"/>
              <a:gd name="T7" fmla="*/ 0 h 5517"/>
            </a:gdLst>
            <a:ahLst/>
            <a:cxnLst>
              <a:cxn ang="0">
                <a:pos x="T0" y="T1"/>
              </a:cxn>
              <a:cxn ang="0">
                <a:pos x="T2" y="T3"/>
              </a:cxn>
              <a:cxn ang="0">
                <a:pos x="T4" y="T5"/>
              </a:cxn>
              <a:cxn ang="0">
                <a:pos x="T6" y="T7"/>
              </a:cxn>
            </a:cxnLst>
            <a:rect l="0" t="0" r="r" b="b"/>
            <a:pathLst>
              <a:path w="3859" h="5517">
                <a:moveTo>
                  <a:pt x="3084" y="0"/>
                </a:moveTo>
                <a:lnTo>
                  <a:pt x="3859" y="0"/>
                </a:lnTo>
                <a:lnTo>
                  <a:pt x="0" y="5517"/>
                </a:lnTo>
                <a:lnTo>
                  <a:pt x="3084" y="0"/>
                </a:lnTo>
                <a:close/>
              </a:path>
            </a:pathLst>
          </a:custGeom>
          <a:gradFill>
            <a:gsLst>
              <a:gs pos="0">
                <a:schemeClr val="accent4"/>
              </a:gs>
              <a:gs pos="100000">
                <a:schemeClr val="bg2"/>
              </a:gs>
            </a:gsLst>
            <a:lin ang="5400000" scaled="1"/>
          </a:gradFill>
          <a:ln>
            <a:noFill/>
          </a:ln>
        </p:spPr>
        <p:txBody>
          <a:bodyPr vert="horz" wrap="square" lIns="68565" tIns="34289" rIns="68565" bIns="34289"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7" name="Picture Placeholder 6"/>
          <p:cNvSpPr>
            <a:spLocks noGrp="1"/>
          </p:cNvSpPr>
          <p:nvPr>
            <p:ph type="pic" sz="quarter" idx="10"/>
          </p:nvPr>
        </p:nvSpPr>
        <p:spPr>
          <a:xfrm>
            <a:off x="3" y="10"/>
            <a:ext cx="5307418" cy="4945952"/>
          </a:xfrm>
          <a:custGeom>
            <a:avLst/>
            <a:gdLst>
              <a:gd name="connsiteX0" fmla="*/ 0 w 7076557"/>
              <a:gd name="connsiteY0" fmla="*/ 0 h 6594602"/>
              <a:gd name="connsiteX1" fmla="*/ 7076557 w 7076557"/>
              <a:gd name="connsiteY1" fmla="*/ 0 h 6594602"/>
              <a:gd name="connsiteX2" fmla="*/ 3169617 w 7076557"/>
              <a:gd name="connsiteY2" fmla="*/ 6594602 h 6594602"/>
              <a:gd name="connsiteX3" fmla="*/ 0 w 7076557"/>
              <a:gd name="connsiteY3" fmla="*/ 4639255 h 6594602"/>
            </a:gdLst>
            <a:ahLst/>
            <a:cxnLst>
              <a:cxn ang="0">
                <a:pos x="connsiteX0" y="connsiteY0"/>
              </a:cxn>
              <a:cxn ang="0">
                <a:pos x="connsiteX1" y="connsiteY1"/>
              </a:cxn>
              <a:cxn ang="0">
                <a:pos x="connsiteX2" y="connsiteY2"/>
              </a:cxn>
              <a:cxn ang="0">
                <a:pos x="connsiteX3" y="connsiteY3"/>
              </a:cxn>
            </a:cxnLst>
            <a:rect l="l" t="t" r="r" b="b"/>
            <a:pathLst>
              <a:path w="7076557" h="6594602">
                <a:moveTo>
                  <a:pt x="0" y="0"/>
                </a:moveTo>
                <a:lnTo>
                  <a:pt x="7076557" y="0"/>
                </a:lnTo>
                <a:lnTo>
                  <a:pt x="3169617" y="6594602"/>
                </a:lnTo>
                <a:lnTo>
                  <a:pt x="0" y="4639255"/>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1953670776"/>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CR6">
    <p:spTree>
      <p:nvGrpSpPr>
        <p:cNvPr id="1" name=""/>
        <p:cNvGrpSpPr/>
        <p:nvPr/>
      </p:nvGrpSpPr>
      <p:grpSpPr>
        <a:xfrm>
          <a:off x="0" y="0"/>
          <a:ext cx="0" cy="0"/>
          <a:chOff x="0" y="0"/>
          <a:chExt cx="0" cy="0"/>
        </a:xfrm>
      </p:grpSpPr>
      <p:sp>
        <p:nvSpPr>
          <p:cNvPr id="11" name="Freeform 5"/>
          <p:cNvSpPr>
            <a:spLocks/>
          </p:cNvSpPr>
          <p:nvPr userDrawn="1"/>
        </p:nvSpPr>
        <p:spPr bwMode="auto">
          <a:xfrm>
            <a:off x="2944093" y="0"/>
            <a:ext cx="3625945" cy="5177790"/>
          </a:xfrm>
          <a:custGeom>
            <a:avLst/>
            <a:gdLst>
              <a:gd name="T0" fmla="*/ 194 w 972"/>
              <a:gd name="T1" fmla="*/ 0 h 1388"/>
              <a:gd name="T2" fmla="*/ 0 w 972"/>
              <a:gd name="T3" fmla="*/ 0 h 1388"/>
              <a:gd name="T4" fmla="*/ 972 w 972"/>
              <a:gd name="T5" fmla="*/ 1388 h 1388"/>
              <a:gd name="T6" fmla="*/ 194 w 972"/>
              <a:gd name="T7" fmla="*/ 0 h 1388"/>
            </a:gdLst>
            <a:ahLst/>
            <a:cxnLst>
              <a:cxn ang="0">
                <a:pos x="T0" y="T1"/>
              </a:cxn>
              <a:cxn ang="0">
                <a:pos x="T2" y="T3"/>
              </a:cxn>
              <a:cxn ang="0">
                <a:pos x="T4" y="T5"/>
              </a:cxn>
              <a:cxn ang="0">
                <a:pos x="T6" y="T7"/>
              </a:cxn>
            </a:cxnLst>
            <a:rect l="0" t="0" r="r" b="b"/>
            <a:pathLst>
              <a:path w="972" h="1388">
                <a:moveTo>
                  <a:pt x="194" y="0"/>
                </a:moveTo>
                <a:lnTo>
                  <a:pt x="0" y="0"/>
                </a:lnTo>
                <a:lnTo>
                  <a:pt x="972" y="1388"/>
                </a:lnTo>
                <a:lnTo>
                  <a:pt x="194" y="0"/>
                </a:lnTo>
                <a:close/>
              </a:path>
            </a:pathLst>
          </a:custGeom>
          <a:gradFill>
            <a:gsLst>
              <a:gs pos="0">
                <a:schemeClr val="accent1"/>
              </a:gs>
              <a:gs pos="100000">
                <a:schemeClr val="bg2"/>
              </a:gs>
            </a:gsLst>
            <a:lin ang="5400000" scaled="1"/>
          </a:gradFill>
          <a:ln>
            <a:noFill/>
          </a:ln>
        </p:spPr>
        <p:txBody>
          <a:bodyPr vert="horz" wrap="square" lIns="68565" tIns="34289" rIns="68565" bIns="34289"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 name="Picture Placeholder 13"/>
          <p:cNvSpPr>
            <a:spLocks noGrp="1"/>
          </p:cNvSpPr>
          <p:nvPr>
            <p:ph type="pic" sz="quarter" idx="10"/>
          </p:nvPr>
        </p:nvSpPr>
        <p:spPr>
          <a:xfrm>
            <a:off x="3667778" y="0"/>
            <a:ext cx="5476221" cy="4953966"/>
          </a:xfrm>
          <a:custGeom>
            <a:avLst/>
            <a:gdLst>
              <a:gd name="connsiteX0" fmla="*/ 0 w 7301628"/>
              <a:gd name="connsiteY0" fmla="*/ 0 h 6605288"/>
              <a:gd name="connsiteX1" fmla="*/ 7301628 w 7301628"/>
              <a:gd name="connsiteY1" fmla="*/ 0 h 6605288"/>
              <a:gd name="connsiteX2" fmla="*/ 7301628 w 7301628"/>
              <a:gd name="connsiteY2" fmla="*/ 4516267 h 6605288"/>
              <a:gd name="connsiteX3" fmla="*/ 3904481 w 7301628"/>
              <a:gd name="connsiteY3" fmla="*/ 6605288 h 6605288"/>
            </a:gdLst>
            <a:ahLst/>
            <a:cxnLst>
              <a:cxn ang="0">
                <a:pos x="connsiteX0" y="connsiteY0"/>
              </a:cxn>
              <a:cxn ang="0">
                <a:pos x="connsiteX1" y="connsiteY1"/>
              </a:cxn>
              <a:cxn ang="0">
                <a:pos x="connsiteX2" y="connsiteY2"/>
              </a:cxn>
              <a:cxn ang="0">
                <a:pos x="connsiteX3" y="connsiteY3"/>
              </a:cxn>
            </a:cxnLst>
            <a:rect l="l" t="t" r="r" b="b"/>
            <a:pathLst>
              <a:path w="7301628" h="6605288">
                <a:moveTo>
                  <a:pt x="0" y="0"/>
                </a:moveTo>
                <a:lnTo>
                  <a:pt x="7301628" y="0"/>
                </a:lnTo>
                <a:lnTo>
                  <a:pt x="7301628" y="4516267"/>
                </a:lnTo>
                <a:lnTo>
                  <a:pt x="3904481" y="6605288"/>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93901122"/>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CR7">
    <p:spTree>
      <p:nvGrpSpPr>
        <p:cNvPr id="1" name=""/>
        <p:cNvGrpSpPr/>
        <p:nvPr/>
      </p:nvGrpSpPr>
      <p:grpSpPr>
        <a:xfrm>
          <a:off x="0" y="0"/>
          <a:ext cx="0" cy="0"/>
          <a:chOff x="0" y="0"/>
          <a:chExt cx="0" cy="0"/>
        </a:xfrm>
      </p:grpSpPr>
      <p:sp>
        <p:nvSpPr>
          <p:cNvPr id="11" name="Freeform 5"/>
          <p:cNvSpPr>
            <a:spLocks/>
          </p:cNvSpPr>
          <p:nvPr userDrawn="1"/>
        </p:nvSpPr>
        <p:spPr bwMode="auto">
          <a:xfrm>
            <a:off x="2944093" y="0"/>
            <a:ext cx="3625945" cy="5177790"/>
          </a:xfrm>
          <a:custGeom>
            <a:avLst/>
            <a:gdLst>
              <a:gd name="T0" fmla="*/ 194 w 972"/>
              <a:gd name="T1" fmla="*/ 0 h 1388"/>
              <a:gd name="T2" fmla="*/ 0 w 972"/>
              <a:gd name="T3" fmla="*/ 0 h 1388"/>
              <a:gd name="T4" fmla="*/ 972 w 972"/>
              <a:gd name="T5" fmla="*/ 1388 h 1388"/>
              <a:gd name="T6" fmla="*/ 194 w 972"/>
              <a:gd name="T7" fmla="*/ 0 h 1388"/>
            </a:gdLst>
            <a:ahLst/>
            <a:cxnLst>
              <a:cxn ang="0">
                <a:pos x="T0" y="T1"/>
              </a:cxn>
              <a:cxn ang="0">
                <a:pos x="T2" y="T3"/>
              </a:cxn>
              <a:cxn ang="0">
                <a:pos x="T4" y="T5"/>
              </a:cxn>
              <a:cxn ang="0">
                <a:pos x="T6" y="T7"/>
              </a:cxn>
            </a:cxnLst>
            <a:rect l="0" t="0" r="r" b="b"/>
            <a:pathLst>
              <a:path w="972" h="1388">
                <a:moveTo>
                  <a:pt x="194" y="0"/>
                </a:moveTo>
                <a:lnTo>
                  <a:pt x="0" y="0"/>
                </a:lnTo>
                <a:lnTo>
                  <a:pt x="972" y="1388"/>
                </a:lnTo>
                <a:lnTo>
                  <a:pt x="194" y="0"/>
                </a:lnTo>
                <a:close/>
              </a:path>
            </a:pathLst>
          </a:custGeom>
          <a:gradFill>
            <a:gsLst>
              <a:gs pos="0">
                <a:schemeClr val="accent3"/>
              </a:gs>
              <a:gs pos="100000">
                <a:schemeClr val="bg2"/>
              </a:gs>
            </a:gsLst>
            <a:lin ang="5400000" scaled="1"/>
          </a:gradFill>
          <a:ln>
            <a:noFill/>
          </a:ln>
        </p:spPr>
        <p:txBody>
          <a:bodyPr vert="horz" wrap="square" lIns="68565" tIns="34289" rIns="68565" bIns="34289"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 name="Picture Placeholder 13"/>
          <p:cNvSpPr>
            <a:spLocks noGrp="1"/>
          </p:cNvSpPr>
          <p:nvPr>
            <p:ph type="pic" sz="quarter" idx="10"/>
          </p:nvPr>
        </p:nvSpPr>
        <p:spPr>
          <a:xfrm>
            <a:off x="3667778" y="0"/>
            <a:ext cx="5476221" cy="4953966"/>
          </a:xfrm>
          <a:custGeom>
            <a:avLst/>
            <a:gdLst>
              <a:gd name="connsiteX0" fmla="*/ 0 w 7301628"/>
              <a:gd name="connsiteY0" fmla="*/ 0 h 6605288"/>
              <a:gd name="connsiteX1" fmla="*/ 7301628 w 7301628"/>
              <a:gd name="connsiteY1" fmla="*/ 0 h 6605288"/>
              <a:gd name="connsiteX2" fmla="*/ 7301628 w 7301628"/>
              <a:gd name="connsiteY2" fmla="*/ 4516267 h 6605288"/>
              <a:gd name="connsiteX3" fmla="*/ 3904481 w 7301628"/>
              <a:gd name="connsiteY3" fmla="*/ 6605288 h 6605288"/>
            </a:gdLst>
            <a:ahLst/>
            <a:cxnLst>
              <a:cxn ang="0">
                <a:pos x="connsiteX0" y="connsiteY0"/>
              </a:cxn>
              <a:cxn ang="0">
                <a:pos x="connsiteX1" y="connsiteY1"/>
              </a:cxn>
              <a:cxn ang="0">
                <a:pos x="connsiteX2" y="connsiteY2"/>
              </a:cxn>
              <a:cxn ang="0">
                <a:pos x="connsiteX3" y="connsiteY3"/>
              </a:cxn>
            </a:cxnLst>
            <a:rect l="l" t="t" r="r" b="b"/>
            <a:pathLst>
              <a:path w="7301628" h="6605288">
                <a:moveTo>
                  <a:pt x="0" y="0"/>
                </a:moveTo>
                <a:lnTo>
                  <a:pt x="7301628" y="0"/>
                </a:lnTo>
                <a:lnTo>
                  <a:pt x="7301628" y="4516267"/>
                </a:lnTo>
                <a:lnTo>
                  <a:pt x="3904481" y="6605288"/>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2536693557"/>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CR8">
    <p:spTree>
      <p:nvGrpSpPr>
        <p:cNvPr id="1" name=""/>
        <p:cNvGrpSpPr/>
        <p:nvPr/>
      </p:nvGrpSpPr>
      <p:grpSpPr>
        <a:xfrm>
          <a:off x="0" y="0"/>
          <a:ext cx="0" cy="0"/>
          <a:chOff x="0" y="0"/>
          <a:chExt cx="0" cy="0"/>
        </a:xfrm>
      </p:grpSpPr>
      <p:sp>
        <p:nvSpPr>
          <p:cNvPr id="11" name="Freeform 5"/>
          <p:cNvSpPr>
            <a:spLocks/>
          </p:cNvSpPr>
          <p:nvPr userDrawn="1"/>
        </p:nvSpPr>
        <p:spPr bwMode="auto">
          <a:xfrm>
            <a:off x="2944093" y="0"/>
            <a:ext cx="3625945" cy="5177790"/>
          </a:xfrm>
          <a:custGeom>
            <a:avLst/>
            <a:gdLst>
              <a:gd name="T0" fmla="*/ 194 w 972"/>
              <a:gd name="T1" fmla="*/ 0 h 1388"/>
              <a:gd name="T2" fmla="*/ 0 w 972"/>
              <a:gd name="T3" fmla="*/ 0 h 1388"/>
              <a:gd name="T4" fmla="*/ 972 w 972"/>
              <a:gd name="T5" fmla="*/ 1388 h 1388"/>
              <a:gd name="T6" fmla="*/ 194 w 972"/>
              <a:gd name="T7" fmla="*/ 0 h 1388"/>
            </a:gdLst>
            <a:ahLst/>
            <a:cxnLst>
              <a:cxn ang="0">
                <a:pos x="T0" y="T1"/>
              </a:cxn>
              <a:cxn ang="0">
                <a:pos x="T2" y="T3"/>
              </a:cxn>
              <a:cxn ang="0">
                <a:pos x="T4" y="T5"/>
              </a:cxn>
              <a:cxn ang="0">
                <a:pos x="T6" y="T7"/>
              </a:cxn>
            </a:cxnLst>
            <a:rect l="0" t="0" r="r" b="b"/>
            <a:pathLst>
              <a:path w="972" h="1388">
                <a:moveTo>
                  <a:pt x="194" y="0"/>
                </a:moveTo>
                <a:lnTo>
                  <a:pt x="0" y="0"/>
                </a:lnTo>
                <a:lnTo>
                  <a:pt x="972" y="1388"/>
                </a:lnTo>
                <a:lnTo>
                  <a:pt x="194" y="0"/>
                </a:lnTo>
                <a:close/>
              </a:path>
            </a:pathLst>
          </a:custGeom>
          <a:gradFill>
            <a:gsLst>
              <a:gs pos="0">
                <a:schemeClr val="accent4"/>
              </a:gs>
              <a:gs pos="100000">
                <a:schemeClr val="bg2"/>
              </a:gs>
            </a:gsLst>
            <a:lin ang="5400000" scaled="1"/>
          </a:gradFill>
          <a:ln>
            <a:noFill/>
          </a:ln>
        </p:spPr>
        <p:txBody>
          <a:bodyPr vert="horz" wrap="square" lIns="68565" tIns="34289" rIns="68565" bIns="34289" numCol="1" anchor="t" anchorCtr="0" compatLnSpc="1">
            <a:prstTxWarp prst="textNoShape">
              <a:avLst/>
            </a:prstTxWarp>
          </a:bodyPr>
          <a:lstStyle/>
          <a:p>
            <a:pPr defTabSz="685665" fontAlgn="auto">
              <a:spcBef>
                <a:spcPts val="0"/>
              </a:spcBef>
              <a:spcAft>
                <a:spcPts val="0"/>
              </a:spcAft>
            </a:pPr>
            <a:endParaRPr lang="en-US" sz="2000" dirty="0">
              <a:solidFill>
                <a:srgbClr val="4F4F52"/>
              </a:solidFill>
              <a:latin typeface="Roboto Light"/>
              <a:cs typeface="+mn-cs"/>
            </a:endParaRPr>
          </a:p>
        </p:txBody>
      </p:sp>
      <p:sp>
        <p:nvSpPr>
          <p:cNvPr id="14" name="Picture Placeholder 13"/>
          <p:cNvSpPr>
            <a:spLocks noGrp="1"/>
          </p:cNvSpPr>
          <p:nvPr>
            <p:ph type="pic" sz="quarter" idx="10"/>
          </p:nvPr>
        </p:nvSpPr>
        <p:spPr>
          <a:xfrm>
            <a:off x="3667778" y="0"/>
            <a:ext cx="5476221" cy="4953966"/>
          </a:xfrm>
          <a:custGeom>
            <a:avLst/>
            <a:gdLst>
              <a:gd name="connsiteX0" fmla="*/ 0 w 7301628"/>
              <a:gd name="connsiteY0" fmla="*/ 0 h 6605288"/>
              <a:gd name="connsiteX1" fmla="*/ 7301628 w 7301628"/>
              <a:gd name="connsiteY1" fmla="*/ 0 h 6605288"/>
              <a:gd name="connsiteX2" fmla="*/ 7301628 w 7301628"/>
              <a:gd name="connsiteY2" fmla="*/ 4516267 h 6605288"/>
              <a:gd name="connsiteX3" fmla="*/ 3904481 w 7301628"/>
              <a:gd name="connsiteY3" fmla="*/ 6605288 h 6605288"/>
            </a:gdLst>
            <a:ahLst/>
            <a:cxnLst>
              <a:cxn ang="0">
                <a:pos x="connsiteX0" y="connsiteY0"/>
              </a:cxn>
              <a:cxn ang="0">
                <a:pos x="connsiteX1" y="connsiteY1"/>
              </a:cxn>
              <a:cxn ang="0">
                <a:pos x="connsiteX2" y="connsiteY2"/>
              </a:cxn>
              <a:cxn ang="0">
                <a:pos x="connsiteX3" y="connsiteY3"/>
              </a:cxn>
            </a:cxnLst>
            <a:rect l="l" t="t" r="r" b="b"/>
            <a:pathLst>
              <a:path w="7301628" h="6605288">
                <a:moveTo>
                  <a:pt x="0" y="0"/>
                </a:moveTo>
                <a:lnTo>
                  <a:pt x="7301628" y="0"/>
                </a:lnTo>
                <a:lnTo>
                  <a:pt x="7301628" y="4516267"/>
                </a:lnTo>
                <a:lnTo>
                  <a:pt x="3904481" y="6605288"/>
                </a:lnTo>
                <a:close/>
              </a:path>
            </a:pathLst>
          </a:custGeom>
          <a:solidFill>
            <a:schemeClr val="tx2">
              <a:lumMod val="85000"/>
            </a:schemeClr>
          </a:solidFill>
        </p:spPr>
        <p:txBody>
          <a:bodyPr wrap="square" anchor="ctr" anchorCtr="0">
            <a:noAutofit/>
          </a:bodyPr>
          <a:lstStyle>
            <a:lvl1pPr algn="ctr">
              <a:defRPr/>
            </a:lvl1pPr>
          </a:lstStyle>
          <a:p>
            <a:endParaRPr lang="en-US" dirty="0"/>
          </a:p>
        </p:txBody>
      </p:sp>
    </p:spTree>
    <p:extLst>
      <p:ext uri="{BB962C8B-B14F-4D97-AF65-F5344CB8AC3E}">
        <p14:creationId xmlns:p14="http://schemas.microsoft.com/office/powerpoint/2010/main" val="3319818060"/>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Advisors">
    <p:spTree>
      <p:nvGrpSpPr>
        <p:cNvPr id="1" name=""/>
        <p:cNvGrpSpPr/>
        <p:nvPr/>
      </p:nvGrpSpPr>
      <p:grpSpPr>
        <a:xfrm>
          <a:off x="0" y="0"/>
          <a:ext cx="0" cy="0"/>
          <a:chOff x="0" y="0"/>
          <a:chExt cx="0" cy="0"/>
        </a:xfrm>
      </p:grpSpPr>
      <p:sp>
        <p:nvSpPr>
          <p:cNvPr id="19" name="Picture Placeholder 18"/>
          <p:cNvSpPr>
            <a:spLocks noGrp="1"/>
          </p:cNvSpPr>
          <p:nvPr>
            <p:ph type="pic" sz="quarter" idx="13"/>
          </p:nvPr>
        </p:nvSpPr>
        <p:spPr>
          <a:xfrm>
            <a:off x="3543302" y="250316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3"/>
            </a:solidFill>
          </a:ln>
        </p:spPr>
        <p:txBody>
          <a:bodyPr wrap="square" anchor="ctr" anchorCtr="0">
            <a:noAutofit/>
          </a:bodyPr>
          <a:lstStyle>
            <a:lvl1pPr algn="ctr">
              <a:defRPr/>
            </a:lvl1pPr>
          </a:lstStyle>
          <a:p>
            <a:endParaRPr lang="en-US" dirty="0"/>
          </a:p>
        </p:txBody>
      </p:sp>
      <p:sp>
        <p:nvSpPr>
          <p:cNvPr id="20" name="Picture Placeholder 19"/>
          <p:cNvSpPr>
            <a:spLocks noGrp="1"/>
          </p:cNvSpPr>
          <p:nvPr>
            <p:ph type="pic" sz="quarter" idx="14"/>
          </p:nvPr>
        </p:nvSpPr>
        <p:spPr>
          <a:xfrm>
            <a:off x="6423622" y="250316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3"/>
            </a:solidFill>
          </a:ln>
        </p:spPr>
        <p:txBody>
          <a:bodyPr wrap="square" anchor="ctr" anchorCtr="0">
            <a:noAutofit/>
          </a:bodyPr>
          <a:lstStyle>
            <a:lvl1pPr algn="ctr">
              <a:defRPr/>
            </a:lvl1pPr>
          </a:lstStyle>
          <a:p>
            <a:endParaRPr lang="en-US" dirty="0"/>
          </a:p>
        </p:txBody>
      </p:sp>
      <p:sp>
        <p:nvSpPr>
          <p:cNvPr id="21" name="Picture Placeholder 20"/>
          <p:cNvSpPr>
            <a:spLocks noGrp="1"/>
          </p:cNvSpPr>
          <p:nvPr>
            <p:ph type="pic" sz="quarter" idx="15"/>
          </p:nvPr>
        </p:nvSpPr>
        <p:spPr>
          <a:xfrm>
            <a:off x="662983" y="2503162"/>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3"/>
            </a:solidFill>
          </a:ln>
        </p:spPr>
        <p:txBody>
          <a:bodyPr wrap="square" anchor="ctr" anchorCtr="0">
            <a:noAutofit/>
          </a:bodyPr>
          <a:lstStyle>
            <a:lvl1pPr algn="ctr">
              <a:defRPr/>
            </a:lvl1pPr>
          </a:lstStyle>
          <a:p>
            <a:endParaRPr lang="en-US" dirty="0"/>
          </a:p>
        </p:txBody>
      </p:sp>
      <p:sp>
        <p:nvSpPr>
          <p:cNvPr id="22" name="Picture Placeholder 21"/>
          <p:cNvSpPr>
            <a:spLocks noGrp="1"/>
          </p:cNvSpPr>
          <p:nvPr>
            <p:ph type="pic" sz="quarter" idx="16"/>
          </p:nvPr>
        </p:nvSpPr>
        <p:spPr>
          <a:xfrm>
            <a:off x="3543302" y="3737579"/>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4"/>
            </a:solidFill>
          </a:ln>
        </p:spPr>
        <p:txBody>
          <a:bodyPr wrap="square" anchor="ctr" anchorCtr="0">
            <a:noAutofit/>
          </a:bodyPr>
          <a:lstStyle>
            <a:lvl1pPr algn="ctr">
              <a:defRPr/>
            </a:lvl1pPr>
          </a:lstStyle>
          <a:p>
            <a:endParaRPr lang="en-US" dirty="0"/>
          </a:p>
        </p:txBody>
      </p:sp>
      <p:sp>
        <p:nvSpPr>
          <p:cNvPr id="23" name="Picture Placeholder 22"/>
          <p:cNvSpPr>
            <a:spLocks noGrp="1"/>
          </p:cNvSpPr>
          <p:nvPr>
            <p:ph type="pic" sz="quarter" idx="17"/>
          </p:nvPr>
        </p:nvSpPr>
        <p:spPr>
          <a:xfrm>
            <a:off x="6423622" y="3737579"/>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4"/>
            </a:solidFill>
          </a:ln>
        </p:spPr>
        <p:txBody>
          <a:bodyPr wrap="square" anchor="ctr" anchorCtr="0">
            <a:noAutofit/>
          </a:bodyPr>
          <a:lstStyle>
            <a:lvl1pPr algn="ctr">
              <a:defRPr/>
            </a:lvl1pPr>
          </a:lstStyle>
          <a:p>
            <a:endParaRPr lang="en-US" dirty="0"/>
          </a:p>
        </p:txBody>
      </p:sp>
      <p:sp>
        <p:nvSpPr>
          <p:cNvPr id="24" name="Picture Placeholder 23"/>
          <p:cNvSpPr>
            <a:spLocks noGrp="1"/>
          </p:cNvSpPr>
          <p:nvPr>
            <p:ph type="pic" sz="quarter" idx="18"/>
          </p:nvPr>
        </p:nvSpPr>
        <p:spPr>
          <a:xfrm>
            <a:off x="662983" y="3737579"/>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4"/>
            </a:solidFill>
          </a:ln>
        </p:spPr>
        <p:txBody>
          <a:bodyPr wrap="square" anchor="ctr" anchorCtr="0">
            <a:noAutofit/>
          </a:bodyPr>
          <a:lstStyle>
            <a:lvl1pPr algn="ctr">
              <a:defRPr/>
            </a:lvl1pPr>
          </a:lstStyle>
          <a:p>
            <a:endParaRPr lang="en-US" dirty="0"/>
          </a:p>
        </p:txBody>
      </p:sp>
      <p:sp>
        <p:nvSpPr>
          <p:cNvPr id="17" name="Picture Placeholder 16"/>
          <p:cNvSpPr>
            <a:spLocks noGrp="1"/>
          </p:cNvSpPr>
          <p:nvPr>
            <p:ph type="pic" sz="quarter" idx="11"/>
          </p:nvPr>
        </p:nvSpPr>
        <p:spPr>
          <a:xfrm>
            <a:off x="3543302" y="1268744"/>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1"/>
            </a:solidFill>
          </a:ln>
        </p:spPr>
        <p:txBody>
          <a:bodyPr wrap="square" anchor="ctr" anchorCtr="0">
            <a:noAutofit/>
          </a:bodyPr>
          <a:lstStyle>
            <a:lvl1pPr algn="ctr">
              <a:defRPr/>
            </a:lvl1pPr>
          </a:lstStyle>
          <a:p>
            <a:endParaRPr lang="en-US" dirty="0"/>
          </a:p>
        </p:txBody>
      </p:sp>
      <p:sp>
        <p:nvSpPr>
          <p:cNvPr id="18" name="Picture Placeholder 17"/>
          <p:cNvSpPr>
            <a:spLocks noGrp="1"/>
          </p:cNvSpPr>
          <p:nvPr>
            <p:ph type="pic" sz="quarter" idx="12"/>
          </p:nvPr>
        </p:nvSpPr>
        <p:spPr>
          <a:xfrm>
            <a:off x="6423622" y="1268744"/>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1"/>
            </a:solidFill>
          </a:ln>
        </p:spPr>
        <p:txBody>
          <a:bodyPr wrap="square" anchor="ctr" anchorCtr="0">
            <a:noAutofit/>
          </a:bodyPr>
          <a:lstStyle>
            <a:lvl1pPr algn="ctr">
              <a:defRPr/>
            </a:lvl1pPr>
          </a:lstStyle>
          <a:p>
            <a:endParaRPr lang="en-US" dirty="0"/>
          </a:p>
        </p:txBody>
      </p:sp>
      <p:sp>
        <p:nvSpPr>
          <p:cNvPr id="16" name="Picture Placeholder 15"/>
          <p:cNvSpPr>
            <a:spLocks noGrp="1"/>
          </p:cNvSpPr>
          <p:nvPr>
            <p:ph type="pic" sz="quarter" idx="10"/>
          </p:nvPr>
        </p:nvSpPr>
        <p:spPr>
          <a:xfrm>
            <a:off x="662983" y="1268744"/>
            <a:ext cx="822960" cy="822960"/>
          </a:xfrm>
          <a:custGeom>
            <a:avLst/>
            <a:gdLst>
              <a:gd name="connsiteX0" fmla="*/ 548640 w 1097280"/>
              <a:gd name="connsiteY0" fmla="*/ 0 h 1097280"/>
              <a:gd name="connsiteX1" fmla="*/ 1097280 w 1097280"/>
              <a:gd name="connsiteY1" fmla="*/ 548640 h 1097280"/>
              <a:gd name="connsiteX2" fmla="*/ 548640 w 1097280"/>
              <a:gd name="connsiteY2" fmla="*/ 1097280 h 1097280"/>
              <a:gd name="connsiteX3" fmla="*/ 0 w 1097280"/>
              <a:gd name="connsiteY3" fmla="*/ 548640 h 1097280"/>
              <a:gd name="connsiteX4" fmla="*/ 548640 w 1097280"/>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548640" y="0"/>
                </a:moveTo>
                <a:cubicBezTo>
                  <a:pt x="851646" y="0"/>
                  <a:pt x="1097280" y="245634"/>
                  <a:pt x="1097280" y="548640"/>
                </a:cubicBezTo>
                <a:cubicBezTo>
                  <a:pt x="1097280" y="851646"/>
                  <a:pt x="851646" y="1097280"/>
                  <a:pt x="548640" y="1097280"/>
                </a:cubicBezTo>
                <a:cubicBezTo>
                  <a:pt x="245634" y="1097280"/>
                  <a:pt x="0" y="851646"/>
                  <a:pt x="0" y="548640"/>
                </a:cubicBezTo>
                <a:cubicBezTo>
                  <a:pt x="0" y="245634"/>
                  <a:pt x="245634" y="0"/>
                  <a:pt x="548640" y="0"/>
                </a:cubicBezTo>
                <a:close/>
              </a:path>
            </a:pathLst>
          </a:custGeom>
          <a:solidFill>
            <a:schemeClr val="tx2">
              <a:lumMod val="85000"/>
            </a:schemeClr>
          </a:solidFill>
          <a:ln w="28575">
            <a:solidFill>
              <a:schemeClr val="accent1"/>
            </a:solidFill>
          </a:ln>
        </p:spPr>
        <p:txBody>
          <a:bodyPr wrap="square" anchor="ctr" anchorCtr="0">
            <a:noAutofit/>
          </a:bodyPr>
          <a:lstStyle>
            <a:lvl1pPr algn="ctr">
              <a:defRPr/>
            </a:lvl1pPr>
          </a:lstStyle>
          <a:p>
            <a:endParaRPr lang="en-US" dirty="0"/>
          </a:p>
        </p:txBody>
      </p:sp>
      <p:sp>
        <p:nvSpPr>
          <p:cNvPr id="2" name="Title 1"/>
          <p:cNvSpPr>
            <a:spLocks noGrp="1"/>
          </p:cNvSpPr>
          <p:nvPr>
            <p:ph type="title"/>
          </p:nvPr>
        </p:nvSpPr>
        <p:spPr/>
        <p:txBody>
          <a:bodyPr/>
          <a:lstStyle/>
          <a:p>
            <a:r>
              <a:rPr lang="en-US"/>
              <a:t>Click to edit Master title style</a:t>
            </a:r>
          </a:p>
        </p:txBody>
      </p:sp>
      <p:grpSp>
        <p:nvGrpSpPr>
          <p:cNvPr id="25" name="Group 24"/>
          <p:cNvGrpSpPr/>
          <p:nvPr userDrawn="1"/>
        </p:nvGrpSpPr>
        <p:grpSpPr>
          <a:xfrm>
            <a:off x="615835" y="695412"/>
            <a:ext cx="377186" cy="68580"/>
            <a:chOff x="792538" y="868707"/>
            <a:chExt cx="502914" cy="91440"/>
          </a:xfrm>
        </p:grpSpPr>
        <p:sp>
          <p:nvSpPr>
            <p:cNvPr id="26" name="Oval 25"/>
            <p:cNvSpPr>
              <a:spLocks noChangeAspect="1"/>
            </p:cNvSpPr>
            <p:nvPr/>
          </p:nvSpPr>
          <p:spPr>
            <a:xfrm>
              <a:off x="792538" y="868707"/>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7" name="Oval 26"/>
            <p:cNvSpPr>
              <a:spLocks noChangeAspect="1"/>
            </p:cNvSpPr>
            <p:nvPr/>
          </p:nvSpPr>
          <p:spPr>
            <a:xfrm>
              <a:off x="929696" y="868707"/>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8" name="Oval 27"/>
            <p:cNvSpPr>
              <a:spLocks noChangeAspect="1"/>
            </p:cNvSpPr>
            <p:nvPr/>
          </p:nvSpPr>
          <p:spPr>
            <a:xfrm>
              <a:off x="1066854" y="868707"/>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sp>
          <p:nvSpPr>
            <p:cNvPr id="29" name="Oval 28"/>
            <p:cNvSpPr>
              <a:spLocks noChangeAspect="1"/>
            </p:cNvSpPr>
            <p:nvPr/>
          </p:nvSpPr>
          <p:spPr>
            <a:xfrm>
              <a:off x="1204012" y="868707"/>
              <a:ext cx="91440"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85665" fontAlgn="auto">
                <a:spcBef>
                  <a:spcPts val="0"/>
                </a:spcBef>
                <a:spcAft>
                  <a:spcPts val="0"/>
                </a:spcAft>
              </a:pPr>
              <a:endParaRPr lang="en-US" sz="900" dirty="0">
                <a:solidFill>
                  <a:srgbClr val="1F1F1F"/>
                </a:solidFill>
              </a:endParaRPr>
            </a:p>
          </p:txBody>
        </p:sp>
      </p:grpSp>
    </p:spTree>
    <p:extLst>
      <p:ext uri="{BB962C8B-B14F-4D97-AF65-F5344CB8AC3E}">
        <p14:creationId xmlns:p14="http://schemas.microsoft.com/office/powerpoint/2010/main" val="3690055019"/>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1" name="Rectangle 10"/>
          <p:cNvSpPr/>
          <p:nvPr userDrawn="1"/>
        </p:nvSpPr>
        <p:spPr>
          <a:xfrm>
            <a:off x="4572000" y="0"/>
            <a:ext cx="54864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65" fontAlgn="auto">
              <a:spcBef>
                <a:spcPts val="0"/>
              </a:spcBef>
              <a:spcAft>
                <a:spcPts val="0"/>
              </a:spcAft>
            </a:pPr>
            <a:endParaRPr lang="en-US" sz="2000" dirty="0">
              <a:solidFill>
                <a:srgbClr val="1F1F1F"/>
              </a:solidFill>
            </a:endParaRPr>
          </a:p>
        </p:txBody>
      </p:sp>
      <p:sp>
        <p:nvSpPr>
          <p:cNvPr id="12" name="Picture Placeholder 3"/>
          <p:cNvSpPr>
            <a:spLocks noGrp="1"/>
          </p:cNvSpPr>
          <p:nvPr>
            <p:ph type="pic" sz="quarter" idx="10"/>
          </p:nvPr>
        </p:nvSpPr>
        <p:spPr>
          <a:xfrm>
            <a:off x="0" y="0"/>
            <a:ext cx="4572000" cy="5143500"/>
          </a:xfrm>
          <a:solidFill>
            <a:schemeClr val="tx2">
              <a:lumMod val="85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4280672157"/>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Cover-1">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9144000" cy="5143500"/>
          </a:xfrm>
          <a:prstGeom prst="rect">
            <a:avLst/>
          </a:prstGeom>
          <a:solidFill>
            <a:schemeClr val="accent5"/>
          </a:solidFill>
        </p:spPr>
        <p:txBody>
          <a:bodyPr>
            <a:normAutofit/>
          </a:bodyPr>
          <a:lstStyle>
            <a:lvl1pPr marL="0" indent="0" algn="ctr">
              <a:buNone/>
              <a:defRPr sz="1100">
                <a:solidFill>
                  <a:schemeClr val="bg1"/>
                </a:solidFill>
              </a:defRPr>
            </a:lvl1pPr>
          </a:lstStyle>
          <a:p>
            <a:endParaRPr lang="en-US"/>
          </a:p>
        </p:txBody>
      </p:sp>
      <p:sp>
        <p:nvSpPr>
          <p:cNvPr id="2" name="Title 1"/>
          <p:cNvSpPr>
            <a:spLocks noGrp="1"/>
          </p:cNvSpPr>
          <p:nvPr>
            <p:ph type="ctrTitle" hasCustomPrompt="1"/>
          </p:nvPr>
        </p:nvSpPr>
        <p:spPr>
          <a:xfrm>
            <a:off x="1" y="3822352"/>
            <a:ext cx="3243917" cy="692498"/>
          </a:xfrm>
          <a:solidFill>
            <a:schemeClr val="accent1"/>
          </a:solidFill>
        </p:spPr>
        <p:txBody>
          <a:bodyPr wrap="none" lIns="205740" tIns="137160" rIns="274320" bIns="137160" anchor="ctr" anchorCtr="0">
            <a:spAutoFit/>
          </a:bodyPr>
          <a:lstStyle>
            <a:lvl1pPr algn="l">
              <a:defRPr sz="3000">
                <a:solidFill>
                  <a:schemeClr val="bg1"/>
                </a:solidFill>
              </a:defRPr>
            </a:lvl1pPr>
          </a:lstStyle>
          <a:p>
            <a:r>
              <a:rPr lang="en-GB" dirty="0"/>
              <a:t>Add the first line</a:t>
            </a:r>
            <a:endParaRPr lang="en-US" dirty="0"/>
          </a:p>
        </p:txBody>
      </p:sp>
      <p:sp>
        <p:nvSpPr>
          <p:cNvPr id="4" name="Picture Placeholder 3"/>
          <p:cNvSpPr>
            <a:spLocks noGrp="1"/>
          </p:cNvSpPr>
          <p:nvPr>
            <p:ph type="pic" sz="quarter" idx="14" hasCustomPrompt="1"/>
          </p:nvPr>
        </p:nvSpPr>
        <p:spPr>
          <a:xfrm>
            <a:off x="171450" y="171450"/>
            <a:ext cx="2200275" cy="771525"/>
          </a:xfrm>
        </p:spPr>
        <p:txBody>
          <a:bodyPr>
            <a:normAutofit/>
          </a:bodyPr>
          <a:lstStyle>
            <a:lvl1pPr marL="0" indent="0">
              <a:buNone/>
              <a:defRPr sz="1100">
                <a:solidFill>
                  <a:schemeClr val="bg1"/>
                </a:solidFill>
              </a:defRPr>
            </a:lvl1pPr>
          </a:lstStyle>
          <a:p>
            <a:r>
              <a:rPr lang="en-US"/>
              <a:t>LEWIS logo</a:t>
            </a:r>
          </a:p>
        </p:txBody>
      </p:sp>
      <p:sp>
        <p:nvSpPr>
          <p:cNvPr id="7" name="Text Placeholder 4"/>
          <p:cNvSpPr>
            <a:spLocks noGrp="1"/>
          </p:cNvSpPr>
          <p:nvPr>
            <p:ph type="body" sz="quarter" idx="16" hasCustomPrompt="1"/>
          </p:nvPr>
        </p:nvSpPr>
        <p:spPr>
          <a:xfrm>
            <a:off x="228600" y="3371850"/>
            <a:ext cx="3600450" cy="342900"/>
          </a:xfrm>
        </p:spPr>
        <p:txBody>
          <a:bodyPr lIns="0" tIns="0" rIns="0" bIns="0" anchor="ctr" anchorCtr="0"/>
          <a:lstStyle>
            <a:lvl1pPr marL="0" indent="0">
              <a:buNone/>
              <a:defRPr baseline="0">
                <a:solidFill>
                  <a:schemeClr val="bg1"/>
                </a:solidFill>
              </a:defRPr>
            </a:lvl1pPr>
          </a:lstStyle>
          <a:p>
            <a:pPr lvl="0"/>
            <a:r>
              <a:rPr lang="en-GB" dirty="0"/>
              <a:t>Click to add subtitle</a:t>
            </a:r>
            <a:endParaRPr lang="en-US" dirty="0"/>
          </a:p>
        </p:txBody>
      </p:sp>
      <p:sp>
        <p:nvSpPr>
          <p:cNvPr id="5" name="Text Placeholder 4"/>
          <p:cNvSpPr>
            <a:spLocks noGrp="1"/>
          </p:cNvSpPr>
          <p:nvPr>
            <p:ph type="body" sz="quarter" idx="17" hasCustomPrompt="1"/>
          </p:nvPr>
        </p:nvSpPr>
        <p:spPr>
          <a:xfrm>
            <a:off x="0" y="4452121"/>
            <a:ext cx="3927998" cy="692498"/>
          </a:xfrm>
          <a:solidFill>
            <a:schemeClr val="accent1"/>
          </a:solidFill>
        </p:spPr>
        <p:txBody>
          <a:bodyPr wrap="none" lIns="205740" tIns="137160" rIns="274320" bIns="137160" anchor="ctr" anchorCtr="0">
            <a:spAutoFit/>
          </a:bodyPr>
          <a:lstStyle>
            <a:lvl1pPr marL="0" indent="0">
              <a:buNone/>
              <a:defRPr sz="3000" baseline="0">
                <a:solidFill>
                  <a:schemeClr val="bg1"/>
                </a:solidFill>
              </a:defRPr>
            </a:lvl1pPr>
          </a:lstStyle>
          <a:p>
            <a:pPr lvl="0"/>
            <a:r>
              <a:rPr lang="en-GB" dirty="0"/>
              <a:t>Add second title line</a:t>
            </a:r>
            <a:endParaRPr lang="en-US" dirty="0"/>
          </a:p>
        </p:txBody>
      </p:sp>
    </p:spTree>
    <p:extLst>
      <p:ext uri="{BB962C8B-B14F-4D97-AF65-F5344CB8AC3E}">
        <p14:creationId xmlns:p14="http://schemas.microsoft.com/office/powerpoint/2010/main" val="119337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9144000" cy="4457700"/>
          </a:xfrm>
          <a:prstGeom prst="rect">
            <a:avLst/>
          </a:prstGeom>
          <a:solidFill>
            <a:schemeClr val="accent5"/>
          </a:solidFill>
        </p:spPr>
        <p:txBody>
          <a:bodyPr>
            <a:normAutofit/>
          </a:bodyPr>
          <a:lstStyle>
            <a:lvl1pPr marL="0" indent="0" algn="ctr">
              <a:buNone/>
              <a:defRPr sz="1100">
                <a:solidFill>
                  <a:schemeClr val="tx1"/>
                </a:solidFill>
              </a:defRPr>
            </a:lvl1pPr>
          </a:lstStyle>
          <a:p>
            <a:endParaRPr lang="en-US"/>
          </a:p>
        </p:txBody>
      </p:sp>
      <p:sp>
        <p:nvSpPr>
          <p:cNvPr id="14" name="Rectangle 13"/>
          <p:cNvSpPr/>
          <p:nvPr userDrawn="1"/>
        </p:nvSpPr>
        <p:spPr>
          <a:xfrm>
            <a:off x="0" y="4457700"/>
            <a:ext cx="9144000" cy="6858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400">
              <a:solidFill>
                <a:srgbClr val="FFFFFF"/>
              </a:solidFill>
            </a:endParaRPr>
          </a:p>
        </p:txBody>
      </p:sp>
      <p:sp>
        <p:nvSpPr>
          <p:cNvPr id="2" name="Title 1"/>
          <p:cNvSpPr>
            <a:spLocks noGrp="1"/>
          </p:cNvSpPr>
          <p:nvPr>
            <p:ph type="ctrTitle" hasCustomPrompt="1"/>
          </p:nvPr>
        </p:nvSpPr>
        <p:spPr>
          <a:xfrm>
            <a:off x="171450" y="2821049"/>
            <a:ext cx="6131860" cy="1066446"/>
          </a:xfrm>
        </p:spPr>
        <p:txBody>
          <a:bodyPr wrap="square" anchor="b">
            <a:spAutoFit/>
          </a:bodyPr>
          <a:lstStyle>
            <a:lvl1pPr algn="l">
              <a:defRPr sz="3600">
                <a:solidFill>
                  <a:schemeClr val="bg2"/>
                </a:solidFill>
              </a:defRPr>
            </a:lvl1pPr>
          </a:lstStyle>
          <a:p>
            <a:r>
              <a:rPr lang="en-GB" dirty="0"/>
              <a:t>Click Here To Add The Master Title</a:t>
            </a:r>
            <a:endParaRPr lang="en-US" dirty="0"/>
          </a:p>
        </p:txBody>
      </p:sp>
      <p:sp>
        <p:nvSpPr>
          <p:cNvPr id="6" name="Picture Placeholder 5"/>
          <p:cNvSpPr>
            <a:spLocks noGrp="1"/>
          </p:cNvSpPr>
          <p:nvPr>
            <p:ph type="pic" sz="quarter" idx="15" hasCustomPrompt="1"/>
          </p:nvPr>
        </p:nvSpPr>
        <p:spPr>
          <a:xfrm>
            <a:off x="171450" y="171451"/>
            <a:ext cx="2200275" cy="771525"/>
          </a:xfrm>
          <a:noFill/>
        </p:spPr>
        <p:txBody>
          <a:bodyPr>
            <a:normAutofit/>
          </a:bodyPr>
          <a:lstStyle>
            <a:lvl1pPr marL="0" indent="0">
              <a:buNone/>
              <a:defRPr sz="1100"/>
            </a:lvl1pPr>
          </a:lstStyle>
          <a:p>
            <a:r>
              <a:rPr lang="en-US"/>
              <a:t>LEWIS Logo</a:t>
            </a:r>
          </a:p>
        </p:txBody>
      </p:sp>
      <p:sp>
        <p:nvSpPr>
          <p:cNvPr id="5" name="Text Placeholder 4"/>
          <p:cNvSpPr>
            <a:spLocks noGrp="1"/>
          </p:cNvSpPr>
          <p:nvPr>
            <p:ph type="body" sz="quarter" idx="16" hasCustomPrompt="1"/>
          </p:nvPr>
        </p:nvSpPr>
        <p:spPr>
          <a:xfrm>
            <a:off x="171450" y="4629150"/>
            <a:ext cx="6131719" cy="342900"/>
          </a:xfrm>
        </p:spPr>
        <p:txBody>
          <a:bodyPr/>
          <a:lstStyle>
            <a:lvl1pPr marL="0" indent="0">
              <a:buNone/>
              <a:defRPr baseline="0"/>
            </a:lvl1pPr>
          </a:lstStyle>
          <a:p>
            <a:pPr lvl="0"/>
            <a:r>
              <a:rPr lang="en-GB" dirty="0"/>
              <a:t>Click to add subtitle</a:t>
            </a:r>
            <a:endParaRPr lang="en-US" dirty="0"/>
          </a:p>
        </p:txBody>
      </p:sp>
    </p:spTree>
    <p:extLst>
      <p:ext uri="{BB962C8B-B14F-4D97-AF65-F5344CB8AC3E}">
        <p14:creationId xmlns:p14="http://schemas.microsoft.com/office/powerpoint/2010/main" val="717839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8.xml><?xml version="1.0" encoding="utf-8"?>
<p:sldLayout xmlns:a="http://schemas.openxmlformats.org/drawingml/2006/main" xmlns:r="http://schemas.openxmlformats.org/officeDocument/2006/relationships" xmlns:p="http://schemas.openxmlformats.org/presentationml/2006/main" showMasterSp="0" preserve="1" userDrawn="1">
  <p:cSld name="2_Section_Image">
    <p:bg>
      <p:bgPr>
        <a:solidFill>
          <a:schemeClr val="accent5"/>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7"/>
          </p:nvPr>
        </p:nvSpPr>
        <p:spPr>
          <a:xfrm>
            <a:off x="0" y="0"/>
            <a:ext cx="9144000" cy="5143500"/>
          </a:xfrm>
        </p:spPr>
        <p:txBody>
          <a:bodyPr/>
          <a:lstStyle>
            <a:lvl1pPr marL="0" indent="0" algn="ctr">
              <a:buNone/>
              <a:defRPr/>
            </a:lvl1pPr>
          </a:lstStyle>
          <a:p>
            <a:endParaRPr lang="en-US"/>
          </a:p>
        </p:txBody>
      </p:sp>
      <p:pic>
        <p:nvPicPr>
          <p:cNvPr id="8" name="Picture Placeholder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286750" y="114300"/>
            <a:ext cx="782441" cy="457200"/>
          </a:xfrm>
          <a:prstGeom prst="rect">
            <a:avLst/>
          </a:prstGeom>
        </p:spPr>
      </p:pic>
      <p:sp>
        <p:nvSpPr>
          <p:cNvPr id="6" name="Title 1"/>
          <p:cNvSpPr>
            <a:spLocks noGrp="1"/>
          </p:cNvSpPr>
          <p:nvPr>
            <p:ph type="ctrTitle" hasCustomPrompt="1"/>
          </p:nvPr>
        </p:nvSpPr>
        <p:spPr>
          <a:xfrm>
            <a:off x="1" y="3822352"/>
            <a:ext cx="3243917" cy="692498"/>
          </a:xfrm>
          <a:solidFill>
            <a:schemeClr val="accent2"/>
          </a:solidFill>
        </p:spPr>
        <p:txBody>
          <a:bodyPr wrap="none" lIns="205740" tIns="137160" rIns="274320" bIns="137160" anchor="ctr" anchorCtr="0">
            <a:spAutoFit/>
          </a:bodyPr>
          <a:lstStyle>
            <a:lvl1pPr algn="l">
              <a:defRPr sz="3000">
                <a:solidFill>
                  <a:schemeClr val="bg1"/>
                </a:solidFill>
              </a:defRPr>
            </a:lvl1pPr>
          </a:lstStyle>
          <a:p>
            <a:r>
              <a:rPr lang="en-GB" dirty="0"/>
              <a:t>Add the first line</a:t>
            </a:r>
            <a:endParaRPr lang="en-US" dirty="0"/>
          </a:p>
        </p:txBody>
      </p:sp>
      <p:sp>
        <p:nvSpPr>
          <p:cNvPr id="7" name="Text Placeholder 4"/>
          <p:cNvSpPr>
            <a:spLocks noGrp="1"/>
          </p:cNvSpPr>
          <p:nvPr>
            <p:ph type="body" sz="quarter" idx="18" hasCustomPrompt="1"/>
          </p:nvPr>
        </p:nvSpPr>
        <p:spPr>
          <a:xfrm>
            <a:off x="0" y="4452121"/>
            <a:ext cx="3927998" cy="692498"/>
          </a:xfrm>
          <a:solidFill>
            <a:schemeClr val="accent2"/>
          </a:solidFill>
        </p:spPr>
        <p:txBody>
          <a:bodyPr wrap="none" lIns="205740" tIns="137160" rIns="274320" bIns="137160" anchor="ctr" anchorCtr="0">
            <a:spAutoFit/>
          </a:bodyPr>
          <a:lstStyle>
            <a:lvl1pPr marL="0" indent="0">
              <a:buNone/>
              <a:defRPr sz="3000" baseline="0">
                <a:solidFill>
                  <a:schemeClr val="bg1"/>
                </a:solidFill>
              </a:defRPr>
            </a:lvl1pPr>
          </a:lstStyle>
          <a:p>
            <a:pPr lvl="0"/>
            <a:r>
              <a:rPr lang="en-GB" dirty="0"/>
              <a:t>Add second title line</a:t>
            </a:r>
            <a:endParaRPr lang="en-US" dirty="0"/>
          </a:p>
        </p:txBody>
      </p:sp>
    </p:spTree>
    <p:extLst>
      <p:ext uri="{BB962C8B-B14F-4D97-AF65-F5344CB8AC3E}">
        <p14:creationId xmlns:p14="http://schemas.microsoft.com/office/powerpoint/2010/main" val="286909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9.xml><?xml version="1.0" encoding="utf-8"?>
<p:sldLayout xmlns:a="http://schemas.openxmlformats.org/drawingml/2006/main" xmlns:r="http://schemas.openxmlformats.org/officeDocument/2006/relationships" xmlns:p="http://schemas.openxmlformats.org/presentationml/2006/main" showMasterSp="0" preserve="1" userDrawn="1">
  <p:cSld name="4_Section_Blank">
    <p:bg>
      <p:bgPr>
        <a:solidFill>
          <a:schemeClr val="accent5"/>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1" y="3822352"/>
            <a:ext cx="3243917" cy="692498"/>
          </a:xfrm>
          <a:solidFill>
            <a:schemeClr val="accent2"/>
          </a:solidFill>
        </p:spPr>
        <p:txBody>
          <a:bodyPr wrap="none" lIns="205740" tIns="137160" rIns="274320" bIns="137160" anchor="ctr" anchorCtr="0">
            <a:spAutoFit/>
          </a:bodyPr>
          <a:lstStyle>
            <a:lvl1pPr algn="l">
              <a:defRPr sz="3000">
                <a:solidFill>
                  <a:schemeClr val="bg1"/>
                </a:solidFill>
              </a:defRPr>
            </a:lvl1pPr>
          </a:lstStyle>
          <a:p>
            <a:r>
              <a:rPr lang="en-GB" dirty="0"/>
              <a:t>Add the first line</a:t>
            </a:r>
            <a:endParaRPr lang="en-US" dirty="0"/>
          </a:p>
        </p:txBody>
      </p:sp>
      <p:sp>
        <p:nvSpPr>
          <p:cNvPr id="6" name="Text Placeholder 4"/>
          <p:cNvSpPr>
            <a:spLocks noGrp="1"/>
          </p:cNvSpPr>
          <p:nvPr>
            <p:ph type="body" sz="quarter" idx="17" hasCustomPrompt="1"/>
          </p:nvPr>
        </p:nvSpPr>
        <p:spPr>
          <a:xfrm>
            <a:off x="0" y="4452121"/>
            <a:ext cx="3927998" cy="692498"/>
          </a:xfrm>
          <a:solidFill>
            <a:schemeClr val="accent2"/>
          </a:solidFill>
        </p:spPr>
        <p:txBody>
          <a:bodyPr wrap="none" lIns="205740" tIns="137160" rIns="274320" bIns="137160" anchor="ctr" anchorCtr="0">
            <a:spAutoFit/>
          </a:bodyPr>
          <a:lstStyle>
            <a:lvl1pPr marL="0" indent="0">
              <a:buNone/>
              <a:defRPr sz="3000" baseline="0">
                <a:solidFill>
                  <a:schemeClr val="bg1"/>
                </a:solidFill>
              </a:defRPr>
            </a:lvl1pPr>
          </a:lstStyle>
          <a:p>
            <a:pPr lvl="0"/>
            <a:r>
              <a:rPr lang="en-GB" dirty="0"/>
              <a:t>Add second title line</a:t>
            </a:r>
            <a:endParaRPr lang="en-US" dirty="0"/>
          </a:p>
        </p:txBody>
      </p:sp>
      <p:pic>
        <p:nvPicPr>
          <p:cNvPr id="7" name="Picture Placeholder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286750" y="114300"/>
            <a:ext cx="782441" cy="457200"/>
          </a:xfrm>
          <a:prstGeom prst="rect">
            <a:avLst/>
          </a:prstGeom>
        </p:spPr>
      </p:pic>
    </p:spTree>
    <p:extLst>
      <p:ext uri="{BB962C8B-B14F-4D97-AF65-F5344CB8AC3E}">
        <p14:creationId xmlns:p14="http://schemas.microsoft.com/office/powerpoint/2010/main" val="292125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4047019"/>
      </p:ext>
    </p:extLst>
  </p:cSld>
  <p:clrMapOvr>
    <a:masterClrMapping/>
  </p:clrMapOvr>
  <p:transition>
    <p:fade/>
  </p:transition>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Basic 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1"/>
          </p:nvPr>
        </p:nvSpPr>
        <p:spPr/>
        <p:txBody>
          <a:bodyPr/>
          <a:lstStyle/>
          <a:p>
            <a:fld id="{D842CEBD-3D97-1444-92B6-DB2DBE1B8E7B}" type="slidenum">
              <a:rPr lang="en-US" smtClean="0">
                <a:solidFill>
                  <a:srgbClr val="000000">
                    <a:tint val="75000"/>
                  </a:srgbClr>
                </a:solidFill>
              </a:rPr>
              <a:pPr/>
              <a:t>‹#›</a:t>
            </a:fld>
            <a:endParaRPr lang="en-US">
              <a:solidFill>
                <a:srgbClr val="000000">
                  <a:tint val="75000"/>
                </a:srgbClr>
              </a:solidFill>
            </a:endParaRPr>
          </a:p>
        </p:txBody>
      </p:sp>
      <p:sp>
        <p:nvSpPr>
          <p:cNvPr id="6" name="Content Placeholder 5"/>
          <p:cNvSpPr>
            <a:spLocks noGrp="1"/>
          </p:cNvSpPr>
          <p:nvPr>
            <p:ph sz="quarter" idx="12"/>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97175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Basic text and visual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1"/>
          </p:nvPr>
        </p:nvSpPr>
        <p:spPr/>
        <p:txBody>
          <a:bodyPr/>
          <a:lstStyle/>
          <a:p>
            <a:fld id="{D842CEBD-3D97-1444-92B6-DB2DBE1B8E7B}" type="slidenum">
              <a:rPr lang="en-US" smtClean="0">
                <a:solidFill>
                  <a:srgbClr val="000000">
                    <a:tint val="75000"/>
                  </a:srgbClr>
                </a:solidFill>
              </a:rPr>
              <a:pPr/>
              <a:t>‹#›</a:t>
            </a:fld>
            <a:endParaRPr lang="en-US">
              <a:solidFill>
                <a:srgbClr val="000000">
                  <a:tint val="75000"/>
                </a:srgbClr>
              </a:solidFill>
            </a:endParaRPr>
          </a:p>
        </p:txBody>
      </p:sp>
      <p:sp>
        <p:nvSpPr>
          <p:cNvPr id="6" name="Content Placeholder 5"/>
          <p:cNvSpPr>
            <a:spLocks noGrp="1"/>
          </p:cNvSpPr>
          <p:nvPr>
            <p:ph sz="quarter" idx="12"/>
          </p:nvPr>
        </p:nvSpPr>
        <p:spPr>
          <a:xfrm>
            <a:off x="171450" y="942975"/>
            <a:ext cx="4229101" cy="37719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Picture Placeholder 6"/>
          <p:cNvSpPr>
            <a:spLocks noGrp="1"/>
          </p:cNvSpPr>
          <p:nvPr>
            <p:ph type="pic" sz="quarter" idx="13"/>
          </p:nvPr>
        </p:nvSpPr>
        <p:spPr>
          <a:xfrm>
            <a:off x="4743450" y="942975"/>
            <a:ext cx="4229100" cy="3771900"/>
          </a:xfrm>
        </p:spPr>
        <p:txBody>
          <a:bodyPr>
            <a:normAutofit/>
          </a:bodyPr>
          <a:lstStyle>
            <a:lvl1pPr marL="0" indent="0" algn="ctr">
              <a:buNone/>
              <a:defRPr sz="1100"/>
            </a:lvl1pPr>
          </a:lstStyle>
          <a:p>
            <a:endParaRPr lang="en-US"/>
          </a:p>
        </p:txBody>
      </p:sp>
    </p:spTree>
    <p:extLst>
      <p:ext uri="{BB962C8B-B14F-4D97-AF65-F5344CB8AC3E}">
        <p14:creationId xmlns:p14="http://schemas.microsoft.com/office/powerpoint/2010/main" val="407005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Basic text and 2 visual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1"/>
          </p:nvPr>
        </p:nvSpPr>
        <p:spPr/>
        <p:txBody>
          <a:bodyPr/>
          <a:lstStyle/>
          <a:p>
            <a:fld id="{D842CEBD-3D97-1444-92B6-DB2DBE1B8E7B}" type="slidenum">
              <a:rPr lang="en-US" smtClean="0">
                <a:solidFill>
                  <a:srgbClr val="000000">
                    <a:tint val="75000"/>
                  </a:srgbClr>
                </a:solidFill>
              </a:rPr>
              <a:pPr/>
              <a:t>‹#›</a:t>
            </a:fld>
            <a:endParaRPr lang="en-US">
              <a:solidFill>
                <a:srgbClr val="000000">
                  <a:tint val="75000"/>
                </a:srgbClr>
              </a:solidFill>
            </a:endParaRPr>
          </a:p>
        </p:txBody>
      </p:sp>
      <p:sp>
        <p:nvSpPr>
          <p:cNvPr id="6" name="Content Placeholder 5"/>
          <p:cNvSpPr>
            <a:spLocks noGrp="1"/>
          </p:cNvSpPr>
          <p:nvPr>
            <p:ph sz="quarter" idx="12"/>
          </p:nvPr>
        </p:nvSpPr>
        <p:spPr>
          <a:xfrm>
            <a:off x="171450" y="942975"/>
            <a:ext cx="4229101" cy="37719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Picture Placeholder 6"/>
          <p:cNvSpPr>
            <a:spLocks noGrp="1"/>
          </p:cNvSpPr>
          <p:nvPr>
            <p:ph type="pic" sz="quarter" idx="13"/>
          </p:nvPr>
        </p:nvSpPr>
        <p:spPr>
          <a:xfrm>
            <a:off x="4743450" y="942975"/>
            <a:ext cx="4229100" cy="1771650"/>
          </a:xfrm>
        </p:spPr>
        <p:txBody>
          <a:bodyPr>
            <a:normAutofit/>
          </a:bodyPr>
          <a:lstStyle>
            <a:lvl1pPr marL="0" indent="0" algn="ctr">
              <a:buNone/>
              <a:defRPr sz="1100"/>
            </a:lvl1pPr>
          </a:lstStyle>
          <a:p>
            <a:endParaRPr lang="en-US"/>
          </a:p>
        </p:txBody>
      </p:sp>
      <p:sp>
        <p:nvSpPr>
          <p:cNvPr id="8" name="Picture Placeholder 6"/>
          <p:cNvSpPr>
            <a:spLocks noGrp="1"/>
          </p:cNvSpPr>
          <p:nvPr>
            <p:ph type="pic" sz="quarter" idx="14"/>
          </p:nvPr>
        </p:nvSpPr>
        <p:spPr>
          <a:xfrm>
            <a:off x="4743450" y="2943225"/>
            <a:ext cx="4229100" cy="1771650"/>
          </a:xfrm>
        </p:spPr>
        <p:txBody>
          <a:bodyPr>
            <a:normAutofit/>
          </a:bodyPr>
          <a:lstStyle>
            <a:lvl1pPr marL="0" indent="0" algn="ctr">
              <a:buNone/>
              <a:defRPr sz="1100"/>
            </a:lvl1pPr>
          </a:lstStyle>
          <a:p>
            <a:endParaRPr lang="en-US"/>
          </a:p>
        </p:txBody>
      </p:sp>
    </p:spTree>
    <p:extLst>
      <p:ext uri="{BB962C8B-B14F-4D97-AF65-F5344CB8AC3E}">
        <p14:creationId xmlns:p14="http://schemas.microsoft.com/office/powerpoint/2010/main" val="2566722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1_Basic text and 2 visual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1"/>
          </p:nvPr>
        </p:nvSpPr>
        <p:spPr/>
        <p:txBody>
          <a:bodyPr/>
          <a:lstStyle/>
          <a:p>
            <a:fld id="{D842CEBD-3D97-1444-92B6-DB2DBE1B8E7B}" type="slidenum">
              <a:rPr lang="en-US" smtClean="0">
                <a:solidFill>
                  <a:srgbClr val="000000">
                    <a:tint val="75000"/>
                  </a:srgbClr>
                </a:solidFill>
              </a:rPr>
              <a:pPr/>
              <a:t>‹#›</a:t>
            </a:fld>
            <a:endParaRPr lang="en-US">
              <a:solidFill>
                <a:srgbClr val="000000">
                  <a:tint val="75000"/>
                </a:srgbClr>
              </a:solidFill>
            </a:endParaRPr>
          </a:p>
        </p:txBody>
      </p:sp>
      <p:sp>
        <p:nvSpPr>
          <p:cNvPr id="6" name="Content Placeholder 5"/>
          <p:cNvSpPr>
            <a:spLocks noGrp="1"/>
          </p:cNvSpPr>
          <p:nvPr>
            <p:ph sz="quarter" idx="12"/>
          </p:nvPr>
        </p:nvSpPr>
        <p:spPr>
          <a:xfrm>
            <a:off x="171450" y="942975"/>
            <a:ext cx="4229101" cy="37719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Picture Placeholder 6"/>
          <p:cNvSpPr>
            <a:spLocks noGrp="1"/>
          </p:cNvSpPr>
          <p:nvPr>
            <p:ph type="pic" sz="quarter" idx="13"/>
          </p:nvPr>
        </p:nvSpPr>
        <p:spPr>
          <a:xfrm>
            <a:off x="4743450" y="942975"/>
            <a:ext cx="2028825" cy="3771900"/>
          </a:xfrm>
        </p:spPr>
        <p:txBody>
          <a:bodyPr>
            <a:normAutofit/>
          </a:bodyPr>
          <a:lstStyle>
            <a:lvl1pPr marL="0" indent="0" algn="ctr">
              <a:buNone/>
              <a:defRPr sz="1100"/>
            </a:lvl1pPr>
          </a:lstStyle>
          <a:p>
            <a:endParaRPr lang="en-US"/>
          </a:p>
        </p:txBody>
      </p:sp>
      <p:sp>
        <p:nvSpPr>
          <p:cNvPr id="9" name="Picture Placeholder 6"/>
          <p:cNvSpPr>
            <a:spLocks noGrp="1"/>
          </p:cNvSpPr>
          <p:nvPr>
            <p:ph type="pic" sz="quarter" idx="14"/>
          </p:nvPr>
        </p:nvSpPr>
        <p:spPr>
          <a:xfrm>
            <a:off x="6943725" y="942975"/>
            <a:ext cx="2028825" cy="3771900"/>
          </a:xfrm>
        </p:spPr>
        <p:txBody>
          <a:bodyPr>
            <a:normAutofit/>
          </a:bodyPr>
          <a:lstStyle>
            <a:lvl1pPr marL="0" indent="0" algn="ctr">
              <a:buNone/>
              <a:defRPr sz="1100"/>
            </a:lvl1pPr>
          </a:lstStyle>
          <a:p>
            <a:endParaRPr lang="en-US"/>
          </a:p>
        </p:txBody>
      </p:sp>
    </p:spTree>
    <p:extLst>
      <p:ext uri="{BB962C8B-B14F-4D97-AF65-F5344CB8AC3E}">
        <p14:creationId xmlns:p14="http://schemas.microsoft.com/office/powerpoint/2010/main" val="2825368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Basic text and 3 visual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1"/>
          </p:nvPr>
        </p:nvSpPr>
        <p:spPr/>
        <p:txBody>
          <a:bodyPr/>
          <a:lstStyle/>
          <a:p>
            <a:fld id="{D842CEBD-3D97-1444-92B6-DB2DBE1B8E7B}" type="slidenum">
              <a:rPr lang="en-US" smtClean="0">
                <a:solidFill>
                  <a:srgbClr val="000000">
                    <a:tint val="75000"/>
                  </a:srgbClr>
                </a:solidFill>
              </a:rPr>
              <a:pPr/>
              <a:t>‹#›</a:t>
            </a:fld>
            <a:endParaRPr lang="en-US">
              <a:solidFill>
                <a:srgbClr val="000000">
                  <a:tint val="75000"/>
                </a:srgbClr>
              </a:solidFill>
            </a:endParaRPr>
          </a:p>
        </p:txBody>
      </p:sp>
      <p:sp>
        <p:nvSpPr>
          <p:cNvPr id="6" name="Content Placeholder 5"/>
          <p:cNvSpPr>
            <a:spLocks noGrp="1"/>
          </p:cNvSpPr>
          <p:nvPr>
            <p:ph sz="quarter" idx="12"/>
          </p:nvPr>
        </p:nvSpPr>
        <p:spPr>
          <a:xfrm>
            <a:off x="171450" y="942975"/>
            <a:ext cx="4229101" cy="37719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Picture Placeholder 6"/>
          <p:cNvSpPr>
            <a:spLocks noGrp="1"/>
          </p:cNvSpPr>
          <p:nvPr>
            <p:ph type="pic" sz="quarter" idx="13"/>
          </p:nvPr>
        </p:nvSpPr>
        <p:spPr>
          <a:xfrm>
            <a:off x="4743450" y="942975"/>
            <a:ext cx="2028825" cy="1771650"/>
          </a:xfrm>
        </p:spPr>
        <p:txBody>
          <a:bodyPr>
            <a:normAutofit/>
          </a:bodyPr>
          <a:lstStyle>
            <a:lvl1pPr marL="0" indent="0" algn="ctr">
              <a:buNone/>
              <a:defRPr sz="1100"/>
            </a:lvl1pPr>
          </a:lstStyle>
          <a:p>
            <a:endParaRPr lang="en-US"/>
          </a:p>
        </p:txBody>
      </p:sp>
      <p:sp>
        <p:nvSpPr>
          <p:cNvPr id="9" name="Picture Placeholder 6"/>
          <p:cNvSpPr>
            <a:spLocks noGrp="1"/>
          </p:cNvSpPr>
          <p:nvPr>
            <p:ph type="pic" sz="quarter" idx="14"/>
          </p:nvPr>
        </p:nvSpPr>
        <p:spPr>
          <a:xfrm>
            <a:off x="6943725" y="942975"/>
            <a:ext cx="2028825" cy="3771900"/>
          </a:xfrm>
        </p:spPr>
        <p:txBody>
          <a:bodyPr>
            <a:normAutofit/>
          </a:bodyPr>
          <a:lstStyle>
            <a:lvl1pPr marL="0" indent="0" algn="ctr">
              <a:buNone/>
              <a:defRPr sz="1100"/>
            </a:lvl1pPr>
          </a:lstStyle>
          <a:p>
            <a:endParaRPr lang="en-US"/>
          </a:p>
        </p:txBody>
      </p:sp>
      <p:sp>
        <p:nvSpPr>
          <p:cNvPr id="8" name="Picture Placeholder 6"/>
          <p:cNvSpPr>
            <a:spLocks noGrp="1"/>
          </p:cNvSpPr>
          <p:nvPr>
            <p:ph type="pic" sz="quarter" idx="15"/>
          </p:nvPr>
        </p:nvSpPr>
        <p:spPr>
          <a:xfrm>
            <a:off x="4743450" y="2914650"/>
            <a:ext cx="2028825" cy="1800225"/>
          </a:xfrm>
        </p:spPr>
        <p:txBody>
          <a:bodyPr>
            <a:normAutofit/>
          </a:bodyPr>
          <a:lstStyle>
            <a:lvl1pPr marL="0" indent="0" algn="ctr">
              <a:buNone/>
              <a:defRPr sz="1100"/>
            </a:lvl1pPr>
          </a:lstStyle>
          <a:p>
            <a:endParaRPr lang="en-US"/>
          </a:p>
        </p:txBody>
      </p:sp>
    </p:spTree>
    <p:extLst>
      <p:ext uri="{BB962C8B-B14F-4D97-AF65-F5344CB8AC3E}">
        <p14:creationId xmlns:p14="http://schemas.microsoft.com/office/powerpoint/2010/main" val="65797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Client Logo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Footer Placeholder 2"/>
          <p:cNvSpPr>
            <a:spLocks noGrp="1"/>
          </p:cNvSpPr>
          <p:nvPr>
            <p:ph type="ftr" sz="quarter" idx="10"/>
          </p:nvPr>
        </p:nvSpPr>
        <p:spPr>
          <a:xfrm>
            <a:off x="5479676" y="4852035"/>
            <a:ext cx="3086100" cy="112378"/>
          </a:xfrm>
        </p:spPr>
        <p:txBody>
          <a:bodyPr/>
          <a:lstStyle/>
          <a:p>
            <a:endParaRPr lang="en-US">
              <a:solidFill>
                <a:srgbClr val="000000">
                  <a:tint val="75000"/>
                </a:srgbClr>
              </a:solidFill>
            </a:endParaRPr>
          </a:p>
        </p:txBody>
      </p:sp>
      <p:sp>
        <p:nvSpPr>
          <p:cNvPr id="4" name="Slide Number Placeholder 3"/>
          <p:cNvSpPr>
            <a:spLocks noGrp="1"/>
          </p:cNvSpPr>
          <p:nvPr>
            <p:ph type="sldNum" sz="quarter" idx="11"/>
          </p:nvPr>
        </p:nvSpPr>
        <p:spPr>
          <a:xfrm>
            <a:off x="8687826" y="4854417"/>
            <a:ext cx="372129" cy="109997"/>
          </a:xfrm>
        </p:spPr>
        <p:txBody>
          <a:bodyPr/>
          <a:lstStyle/>
          <a:p>
            <a:fld id="{D842CEBD-3D97-1444-92B6-DB2DBE1B8E7B}" type="slidenum">
              <a:rPr lang="en-US" smtClean="0">
                <a:solidFill>
                  <a:srgbClr val="000000">
                    <a:tint val="75000"/>
                  </a:srgbClr>
                </a:solidFill>
              </a:rPr>
              <a:pPr/>
              <a:t>‹#›</a:t>
            </a:fld>
            <a:endParaRPr lang="en-US">
              <a:solidFill>
                <a:srgbClr val="000000">
                  <a:tint val="75000"/>
                </a:srgbClr>
              </a:solidFill>
            </a:endParaRPr>
          </a:p>
        </p:txBody>
      </p:sp>
      <p:sp>
        <p:nvSpPr>
          <p:cNvPr id="7" name="Picture Placeholder 6"/>
          <p:cNvSpPr>
            <a:spLocks noGrp="1"/>
          </p:cNvSpPr>
          <p:nvPr>
            <p:ph type="pic" sz="quarter" idx="13" hasCustomPrompt="1"/>
          </p:nvPr>
        </p:nvSpPr>
        <p:spPr>
          <a:xfrm>
            <a:off x="684416" y="1148835"/>
            <a:ext cx="1086876" cy="451485"/>
          </a:xfrm>
        </p:spPr>
        <p:txBody>
          <a:bodyPr>
            <a:normAutofit/>
          </a:bodyPr>
          <a:lstStyle>
            <a:lvl1pPr marL="0" indent="0" algn="ctr">
              <a:buNone/>
              <a:defRPr sz="1100"/>
            </a:lvl1pPr>
          </a:lstStyle>
          <a:p>
            <a:r>
              <a:rPr lang="en-US"/>
              <a:t>Client logo</a:t>
            </a:r>
          </a:p>
        </p:txBody>
      </p:sp>
      <p:sp>
        <p:nvSpPr>
          <p:cNvPr id="10" name="Picture Placeholder 6"/>
          <p:cNvSpPr>
            <a:spLocks noGrp="1"/>
          </p:cNvSpPr>
          <p:nvPr>
            <p:ph type="pic" sz="quarter" idx="16" hasCustomPrompt="1"/>
          </p:nvPr>
        </p:nvSpPr>
        <p:spPr>
          <a:xfrm>
            <a:off x="2356400" y="1148835"/>
            <a:ext cx="1086876" cy="451485"/>
          </a:xfrm>
        </p:spPr>
        <p:txBody>
          <a:bodyPr>
            <a:normAutofit/>
          </a:bodyPr>
          <a:lstStyle>
            <a:lvl1pPr marL="0" indent="0" algn="ctr">
              <a:buNone/>
              <a:defRPr sz="1100"/>
            </a:lvl1pPr>
          </a:lstStyle>
          <a:p>
            <a:r>
              <a:rPr lang="en-US"/>
              <a:t>Client logo</a:t>
            </a:r>
          </a:p>
        </p:txBody>
      </p:sp>
      <p:sp>
        <p:nvSpPr>
          <p:cNvPr id="11" name="Picture Placeholder 6"/>
          <p:cNvSpPr>
            <a:spLocks noGrp="1"/>
          </p:cNvSpPr>
          <p:nvPr>
            <p:ph type="pic" sz="quarter" idx="17" hasCustomPrompt="1"/>
          </p:nvPr>
        </p:nvSpPr>
        <p:spPr>
          <a:xfrm>
            <a:off x="4028383" y="1148835"/>
            <a:ext cx="1086876" cy="451485"/>
          </a:xfrm>
        </p:spPr>
        <p:txBody>
          <a:bodyPr>
            <a:normAutofit/>
          </a:bodyPr>
          <a:lstStyle>
            <a:lvl1pPr marL="0" indent="0" algn="ctr">
              <a:buNone/>
              <a:defRPr sz="1100"/>
            </a:lvl1pPr>
          </a:lstStyle>
          <a:p>
            <a:r>
              <a:rPr lang="en-US"/>
              <a:t>Client logo</a:t>
            </a:r>
          </a:p>
        </p:txBody>
      </p:sp>
      <p:sp>
        <p:nvSpPr>
          <p:cNvPr id="12" name="Picture Placeholder 6"/>
          <p:cNvSpPr>
            <a:spLocks noGrp="1"/>
          </p:cNvSpPr>
          <p:nvPr>
            <p:ph type="pic" sz="quarter" idx="18" hasCustomPrompt="1"/>
          </p:nvPr>
        </p:nvSpPr>
        <p:spPr>
          <a:xfrm>
            <a:off x="5700366" y="1148835"/>
            <a:ext cx="1086876" cy="451485"/>
          </a:xfrm>
        </p:spPr>
        <p:txBody>
          <a:bodyPr>
            <a:normAutofit/>
          </a:bodyPr>
          <a:lstStyle>
            <a:lvl1pPr marL="0" indent="0" algn="ctr">
              <a:buNone/>
              <a:defRPr sz="1100"/>
            </a:lvl1pPr>
          </a:lstStyle>
          <a:p>
            <a:r>
              <a:rPr lang="en-US"/>
              <a:t>Client logo</a:t>
            </a:r>
          </a:p>
        </p:txBody>
      </p:sp>
      <p:sp>
        <p:nvSpPr>
          <p:cNvPr id="13" name="Picture Placeholder 6"/>
          <p:cNvSpPr>
            <a:spLocks noGrp="1"/>
          </p:cNvSpPr>
          <p:nvPr>
            <p:ph type="pic" sz="quarter" idx="19" hasCustomPrompt="1"/>
          </p:nvPr>
        </p:nvSpPr>
        <p:spPr>
          <a:xfrm>
            <a:off x="7372350" y="1148835"/>
            <a:ext cx="1086876" cy="451485"/>
          </a:xfrm>
        </p:spPr>
        <p:txBody>
          <a:bodyPr anchor="t" anchorCtr="0">
            <a:normAutofit/>
          </a:bodyPr>
          <a:lstStyle>
            <a:lvl1pPr marL="0" indent="0" algn="ctr">
              <a:buNone/>
              <a:defRPr sz="1100"/>
            </a:lvl1pPr>
          </a:lstStyle>
          <a:p>
            <a:r>
              <a:rPr lang="en-US"/>
              <a:t>Client logo</a:t>
            </a:r>
          </a:p>
        </p:txBody>
      </p:sp>
      <p:sp>
        <p:nvSpPr>
          <p:cNvPr id="28" name="Picture Placeholder 6"/>
          <p:cNvSpPr>
            <a:spLocks noGrp="1"/>
          </p:cNvSpPr>
          <p:nvPr>
            <p:ph type="pic" sz="quarter" idx="20" hasCustomPrompt="1"/>
          </p:nvPr>
        </p:nvSpPr>
        <p:spPr>
          <a:xfrm>
            <a:off x="1500388" y="1814756"/>
            <a:ext cx="1086876" cy="451485"/>
          </a:xfrm>
        </p:spPr>
        <p:txBody>
          <a:bodyPr>
            <a:normAutofit/>
          </a:bodyPr>
          <a:lstStyle>
            <a:lvl1pPr marL="0" indent="0" algn="ctr">
              <a:buNone/>
              <a:defRPr sz="1100"/>
            </a:lvl1pPr>
          </a:lstStyle>
          <a:p>
            <a:r>
              <a:rPr lang="en-US"/>
              <a:t>Client logo</a:t>
            </a:r>
          </a:p>
        </p:txBody>
      </p:sp>
      <p:sp>
        <p:nvSpPr>
          <p:cNvPr id="29" name="Picture Placeholder 6"/>
          <p:cNvSpPr>
            <a:spLocks noGrp="1"/>
          </p:cNvSpPr>
          <p:nvPr>
            <p:ph type="pic" sz="quarter" idx="21" hasCustomPrompt="1"/>
          </p:nvPr>
        </p:nvSpPr>
        <p:spPr>
          <a:xfrm>
            <a:off x="3174474" y="1814756"/>
            <a:ext cx="1086876" cy="451485"/>
          </a:xfrm>
        </p:spPr>
        <p:txBody>
          <a:bodyPr>
            <a:normAutofit/>
          </a:bodyPr>
          <a:lstStyle>
            <a:lvl1pPr marL="0" indent="0" algn="ctr">
              <a:buNone/>
              <a:defRPr sz="1100"/>
            </a:lvl1pPr>
          </a:lstStyle>
          <a:p>
            <a:r>
              <a:rPr lang="en-US"/>
              <a:t>Client logo</a:t>
            </a:r>
          </a:p>
        </p:txBody>
      </p:sp>
      <p:sp>
        <p:nvSpPr>
          <p:cNvPr id="30" name="Picture Placeholder 6"/>
          <p:cNvSpPr>
            <a:spLocks noGrp="1"/>
          </p:cNvSpPr>
          <p:nvPr>
            <p:ph type="pic" sz="quarter" idx="22" hasCustomPrompt="1"/>
          </p:nvPr>
        </p:nvSpPr>
        <p:spPr>
          <a:xfrm>
            <a:off x="4848560" y="1814756"/>
            <a:ext cx="1086876" cy="451485"/>
          </a:xfrm>
        </p:spPr>
        <p:txBody>
          <a:bodyPr>
            <a:normAutofit/>
          </a:bodyPr>
          <a:lstStyle>
            <a:lvl1pPr marL="0" indent="0" algn="ctr">
              <a:buNone/>
              <a:defRPr sz="1100"/>
            </a:lvl1pPr>
          </a:lstStyle>
          <a:p>
            <a:r>
              <a:rPr lang="en-US"/>
              <a:t>Client logo</a:t>
            </a:r>
          </a:p>
        </p:txBody>
      </p:sp>
      <p:sp>
        <p:nvSpPr>
          <p:cNvPr id="31" name="Picture Placeholder 6"/>
          <p:cNvSpPr>
            <a:spLocks noGrp="1"/>
          </p:cNvSpPr>
          <p:nvPr>
            <p:ph type="pic" sz="quarter" idx="23" hasCustomPrompt="1"/>
          </p:nvPr>
        </p:nvSpPr>
        <p:spPr>
          <a:xfrm>
            <a:off x="6522647" y="1814756"/>
            <a:ext cx="1086876" cy="451485"/>
          </a:xfrm>
        </p:spPr>
        <p:txBody>
          <a:bodyPr>
            <a:normAutofit/>
          </a:bodyPr>
          <a:lstStyle>
            <a:lvl1pPr marL="0" indent="0" algn="ctr">
              <a:buNone/>
              <a:defRPr sz="1100"/>
            </a:lvl1pPr>
          </a:lstStyle>
          <a:p>
            <a:r>
              <a:rPr lang="en-US"/>
              <a:t>Client logo</a:t>
            </a:r>
          </a:p>
        </p:txBody>
      </p:sp>
      <p:sp>
        <p:nvSpPr>
          <p:cNvPr id="33" name="Picture Placeholder 6"/>
          <p:cNvSpPr>
            <a:spLocks noGrp="1"/>
          </p:cNvSpPr>
          <p:nvPr>
            <p:ph type="pic" sz="quarter" idx="24" hasCustomPrompt="1"/>
          </p:nvPr>
        </p:nvSpPr>
        <p:spPr>
          <a:xfrm>
            <a:off x="684416" y="2528046"/>
            <a:ext cx="1086876" cy="451485"/>
          </a:xfrm>
        </p:spPr>
        <p:txBody>
          <a:bodyPr>
            <a:normAutofit/>
          </a:bodyPr>
          <a:lstStyle>
            <a:lvl1pPr marL="0" indent="0" algn="ctr">
              <a:buNone/>
              <a:defRPr sz="1100"/>
            </a:lvl1pPr>
          </a:lstStyle>
          <a:p>
            <a:r>
              <a:rPr lang="en-US"/>
              <a:t>Client logo</a:t>
            </a:r>
          </a:p>
        </p:txBody>
      </p:sp>
      <p:sp>
        <p:nvSpPr>
          <p:cNvPr id="34" name="Picture Placeholder 6"/>
          <p:cNvSpPr>
            <a:spLocks noGrp="1"/>
          </p:cNvSpPr>
          <p:nvPr>
            <p:ph type="pic" sz="quarter" idx="25" hasCustomPrompt="1"/>
          </p:nvPr>
        </p:nvSpPr>
        <p:spPr>
          <a:xfrm>
            <a:off x="2356400" y="2528046"/>
            <a:ext cx="1086876" cy="451485"/>
          </a:xfrm>
        </p:spPr>
        <p:txBody>
          <a:bodyPr>
            <a:normAutofit/>
          </a:bodyPr>
          <a:lstStyle>
            <a:lvl1pPr marL="0" indent="0" algn="ctr">
              <a:buNone/>
              <a:defRPr sz="1100"/>
            </a:lvl1pPr>
          </a:lstStyle>
          <a:p>
            <a:r>
              <a:rPr lang="en-US"/>
              <a:t>Client logo</a:t>
            </a:r>
          </a:p>
        </p:txBody>
      </p:sp>
      <p:sp>
        <p:nvSpPr>
          <p:cNvPr id="35" name="Picture Placeholder 6"/>
          <p:cNvSpPr>
            <a:spLocks noGrp="1"/>
          </p:cNvSpPr>
          <p:nvPr>
            <p:ph type="pic" sz="quarter" idx="26" hasCustomPrompt="1"/>
          </p:nvPr>
        </p:nvSpPr>
        <p:spPr>
          <a:xfrm>
            <a:off x="4028383" y="2528046"/>
            <a:ext cx="1086876" cy="451485"/>
          </a:xfrm>
        </p:spPr>
        <p:txBody>
          <a:bodyPr>
            <a:normAutofit/>
          </a:bodyPr>
          <a:lstStyle>
            <a:lvl1pPr marL="0" indent="0" algn="ctr">
              <a:buNone/>
              <a:defRPr sz="1100"/>
            </a:lvl1pPr>
          </a:lstStyle>
          <a:p>
            <a:r>
              <a:rPr lang="en-US"/>
              <a:t>Client logo</a:t>
            </a:r>
          </a:p>
        </p:txBody>
      </p:sp>
      <p:sp>
        <p:nvSpPr>
          <p:cNvPr id="36" name="Picture Placeholder 6"/>
          <p:cNvSpPr>
            <a:spLocks noGrp="1"/>
          </p:cNvSpPr>
          <p:nvPr>
            <p:ph type="pic" sz="quarter" idx="27" hasCustomPrompt="1"/>
          </p:nvPr>
        </p:nvSpPr>
        <p:spPr>
          <a:xfrm>
            <a:off x="5700366" y="2528046"/>
            <a:ext cx="1086876" cy="451485"/>
          </a:xfrm>
        </p:spPr>
        <p:txBody>
          <a:bodyPr>
            <a:normAutofit/>
          </a:bodyPr>
          <a:lstStyle>
            <a:lvl1pPr marL="0" indent="0" algn="ctr">
              <a:buNone/>
              <a:defRPr sz="1100"/>
            </a:lvl1pPr>
          </a:lstStyle>
          <a:p>
            <a:r>
              <a:rPr lang="en-US"/>
              <a:t>Client logo</a:t>
            </a:r>
          </a:p>
        </p:txBody>
      </p:sp>
      <p:sp>
        <p:nvSpPr>
          <p:cNvPr id="37" name="Picture Placeholder 6"/>
          <p:cNvSpPr>
            <a:spLocks noGrp="1"/>
          </p:cNvSpPr>
          <p:nvPr>
            <p:ph type="pic" sz="quarter" idx="28" hasCustomPrompt="1"/>
          </p:nvPr>
        </p:nvSpPr>
        <p:spPr>
          <a:xfrm>
            <a:off x="7372350" y="2528046"/>
            <a:ext cx="1086876" cy="451485"/>
          </a:xfrm>
        </p:spPr>
        <p:txBody>
          <a:bodyPr>
            <a:normAutofit/>
          </a:bodyPr>
          <a:lstStyle>
            <a:lvl1pPr marL="0" indent="0" algn="ctr">
              <a:buNone/>
              <a:defRPr sz="1100"/>
            </a:lvl1pPr>
          </a:lstStyle>
          <a:p>
            <a:r>
              <a:rPr lang="en-US"/>
              <a:t>Client logo</a:t>
            </a:r>
          </a:p>
        </p:txBody>
      </p:sp>
      <p:sp>
        <p:nvSpPr>
          <p:cNvPr id="38" name="Picture Placeholder 6"/>
          <p:cNvSpPr>
            <a:spLocks noGrp="1"/>
          </p:cNvSpPr>
          <p:nvPr>
            <p:ph type="pic" sz="quarter" idx="29" hasCustomPrompt="1"/>
          </p:nvPr>
        </p:nvSpPr>
        <p:spPr>
          <a:xfrm>
            <a:off x="1500388" y="3227061"/>
            <a:ext cx="1086876" cy="451485"/>
          </a:xfrm>
        </p:spPr>
        <p:txBody>
          <a:bodyPr>
            <a:normAutofit/>
          </a:bodyPr>
          <a:lstStyle>
            <a:lvl1pPr marL="0" indent="0" algn="ctr">
              <a:buNone/>
              <a:defRPr sz="1100"/>
            </a:lvl1pPr>
          </a:lstStyle>
          <a:p>
            <a:r>
              <a:rPr lang="en-US"/>
              <a:t>Client logo</a:t>
            </a:r>
          </a:p>
        </p:txBody>
      </p:sp>
      <p:sp>
        <p:nvSpPr>
          <p:cNvPr id="39" name="Picture Placeholder 6"/>
          <p:cNvSpPr>
            <a:spLocks noGrp="1"/>
          </p:cNvSpPr>
          <p:nvPr>
            <p:ph type="pic" sz="quarter" idx="30" hasCustomPrompt="1"/>
          </p:nvPr>
        </p:nvSpPr>
        <p:spPr>
          <a:xfrm>
            <a:off x="3174474" y="3227061"/>
            <a:ext cx="1086876" cy="451485"/>
          </a:xfrm>
        </p:spPr>
        <p:txBody>
          <a:bodyPr>
            <a:normAutofit/>
          </a:bodyPr>
          <a:lstStyle>
            <a:lvl1pPr marL="0" indent="0" algn="ctr">
              <a:buNone/>
              <a:defRPr sz="1100"/>
            </a:lvl1pPr>
          </a:lstStyle>
          <a:p>
            <a:r>
              <a:rPr lang="en-US"/>
              <a:t>Client logo</a:t>
            </a:r>
          </a:p>
        </p:txBody>
      </p:sp>
      <p:sp>
        <p:nvSpPr>
          <p:cNvPr id="40" name="Picture Placeholder 6"/>
          <p:cNvSpPr>
            <a:spLocks noGrp="1"/>
          </p:cNvSpPr>
          <p:nvPr>
            <p:ph type="pic" sz="quarter" idx="31" hasCustomPrompt="1"/>
          </p:nvPr>
        </p:nvSpPr>
        <p:spPr>
          <a:xfrm>
            <a:off x="4848560" y="3227061"/>
            <a:ext cx="1086876" cy="451485"/>
          </a:xfrm>
        </p:spPr>
        <p:txBody>
          <a:bodyPr>
            <a:normAutofit/>
          </a:bodyPr>
          <a:lstStyle>
            <a:lvl1pPr marL="0" indent="0" algn="ctr">
              <a:buNone/>
              <a:defRPr sz="1100"/>
            </a:lvl1pPr>
          </a:lstStyle>
          <a:p>
            <a:r>
              <a:rPr lang="en-US"/>
              <a:t>Client logo</a:t>
            </a:r>
          </a:p>
        </p:txBody>
      </p:sp>
      <p:sp>
        <p:nvSpPr>
          <p:cNvPr id="41" name="Picture Placeholder 6"/>
          <p:cNvSpPr>
            <a:spLocks noGrp="1"/>
          </p:cNvSpPr>
          <p:nvPr>
            <p:ph type="pic" sz="quarter" idx="32" hasCustomPrompt="1"/>
          </p:nvPr>
        </p:nvSpPr>
        <p:spPr>
          <a:xfrm>
            <a:off x="6522647" y="3227061"/>
            <a:ext cx="1086876" cy="451485"/>
          </a:xfrm>
        </p:spPr>
        <p:txBody>
          <a:bodyPr>
            <a:normAutofit/>
          </a:bodyPr>
          <a:lstStyle>
            <a:lvl1pPr marL="0" indent="0" algn="ctr">
              <a:buNone/>
              <a:defRPr sz="1100"/>
            </a:lvl1pPr>
          </a:lstStyle>
          <a:p>
            <a:r>
              <a:rPr lang="en-US"/>
              <a:t>Client logo</a:t>
            </a:r>
          </a:p>
        </p:txBody>
      </p:sp>
      <p:sp>
        <p:nvSpPr>
          <p:cNvPr id="42" name="Picture Placeholder 6"/>
          <p:cNvSpPr>
            <a:spLocks noGrp="1"/>
          </p:cNvSpPr>
          <p:nvPr>
            <p:ph type="pic" sz="quarter" idx="33" hasCustomPrompt="1"/>
          </p:nvPr>
        </p:nvSpPr>
        <p:spPr>
          <a:xfrm>
            <a:off x="684416" y="3943350"/>
            <a:ext cx="1086876" cy="451485"/>
          </a:xfrm>
        </p:spPr>
        <p:txBody>
          <a:bodyPr>
            <a:normAutofit/>
          </a:bodyPr>
          <a:lstStyle>
            <a:lvl1pPr marL="0" indent="0" algn="ctr">
              <a:buNone/>
              <a:defRPr sz="1100"/>
            </a:lvl1pPr>
          </a:lstStyle>
          <a:p>
            <a:r>
              <a:rPr lang="en-US"/>
              <a:t>Client logo</a:t>
            </a:r>
          </a:p>
        </p:txBody>
      </p:sp>
      <p:sp>
        <p:nvSpPr>
          <p:cNvPr id="43" name="Picture Placeholder 6"/>
          <p:cNvSpPr>
            <a:spLocks noGrp="1"/>
          </p:cNvSpPr>
          <p:nvPr>
            <p:ph type="pic" sz="quarter" idx="34" hasCustomPrompt="1"/>
          </p:nvPr>
        </p:nvSpPr>
        <p:spPr>
          <a:xfrm>
            <a:off x="2356400" y="3943350"/>
            <a:ext cx="1086876" cy="451485"/>
          </a:xfrm>
        </p:spPr>
        <p:txBody>
          <a:bodyPr>
            <a:normAutofit/>
          </a:bodyPr>
          <a:lstStyle>
            <a:lvl1pPr marL="0" indent="0" algn="ctr">
              <a:buNone/>
              <a:defRPr sz="1100"/>
            </a:lvl1pPr>
          </a:lstStyle>
          <a:p>
            <a:r>
              <a:rPr lang="en-US"/>
              <a:t>Client logo</a:t>
            </a:r>
          </a:p>
        </p:txBody>
      </p:sp>
      <p:sp>
        <p:nvSpPr>
          <p:cNvPr id="44" name="Picture Placeholder 6"/>
          <p:cNvSpPr>
            <a:spLocks noGrp="1"/>
          </p:cNvSpPr>
          <p:nvPr>
            <p:ph type="pic" sz="quarter" idx="35" hasCustomPrompt="1"/>
          </p:nvPr>
        </p:nvSpPr>
        <p:spPr>
          <a:xfrm>
            <a:off x="4028383" y="3943350"/>
            <a:ext cx="1086876" cy="451485"/>
          </a:xfrm>
        </p:spPr>
        <p:txBody>
          <a:bodyPr>
            <a:normAutofit/>
          </a:bodyPr>
          <a:lstStyle>
            <a:lvl1pPr marL="0" indent="0" algn="ctr">
              <a:buNone/>
              <a:defRPr sz="1100"/>
            </a:lvl1pPr>
          </a:lstStyle>
          <a:p>
            <a:r>
              <a:rPr lang="en-US"/>
              <a:t>Client logo</a:t>
            </a:r>
          </a:p>
        </p:txBody>
      </p:sp>
      <p:sp>
        <p:nvSpPr>
          <p:cNvPr id="45" name="Picture Placeholder 6"/>
          <p:cNvSpPr>
            <a:spLocks noGrp="1"/>
          </p:cNvSpPr>
          <p:nvPr>
            <p:ph type="pic" sz="quarter" idx="36" hasCustomPrompt="1"/>
          </p:nvPr>
        </p:nvSpPr>
        <p:spPr>
          <a:xfrm>
            <a:off x="5700366" y="3943350"/>
            <a:ext cx="1086876" cy="451485"/>
          </a:xfrm>
        </p:spPr>
        <p:txBody>
          <a:bodyPr>
            <a:normAutofit/>
          </a:bodyPr>
          <a:lstStyle>
            <a:lvl1pPr marL="0" indent="0" algn="ctr">
              <a:buNone/>
              <a:defRPr sz="1100"/>
            </a:lvl1pPr>
          </a:lstStyle>
          <a:p>
            <a:r>
              <a:rPr lang="en-US"/>
              <a:t>Client logo</a:t>
            </a:r>
          </a:p>
        </p:txBody>
      </p:sp>
      <p:sp>
        <p:nvSpPr>
          <p:cNvPr id="46" name="Picture Placeholder 6"/>
          <p:cNvSpPr>
            <a:spLocks noGrp="1"/>
          </p:cNvSpPr>
          <p:nvPr>
            <p:ph type="pic" sz="quarter" idx="37" hasCustomPrompt="1"/>
          </p:nvPr>
        </p:nvSpPr>
        <p:spPr>
          <a:xfrm>
            <a:off x="7372350" y="3943350"/>
            <a:ext cx="1086876" cy="451485"/>
          </a:xfrm>
        </p:spPr>
        <p:txBody>
          <a:bodyPr>
            <a:normAutofit/>
          </a:bodyPr>
          <a:lstStyle>
            <a:lvl1pPr marL="0" indent="0" algn="ctr">
              <a:buNone/>
              <a:defRPr sz="1100"/>
            </a:lvl1pPr>
          </a:lstStyle>
          <a:p>
            <a:r>
              <a:rPr lang="en-US"/>
              <a:t>Client logo</a:t>
            </a:r>
          </a:p>
        </p:txBody>
      </p:sp>
    </p:spTree>
    <p:extLst>
      <p:ext uri="{BB962C8B-B14F-4D97-AF65-F5344CB8AC3E}">
        <p14:creationId xmlns:p14="http://schemas.microsoft.com/office/powerpoint/2010/main" val="167631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1_Basic text layou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2"/>
                </a:solidFill>
              </a:defRPr>
            </a:lvl1p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p>
            <a:endParaRPr lang="en-US">
              <a:solidFill>
                <a:srgbClr val="FFFFFF">
                  <a:tint val="75000"/>
                </a:srgbClr>
              </a:solidFill>
            </a:endParaRPr>
          </a:p>
        </p:txBody>
      </p:sp>
      <p:sp>
        <p:nvSpPr>
          <p:cNvPr id="4" name="Slide Number Placeholder 3"/>
          <p:cNvSpPr>
            <a:spLocks noGrp="1"/>
          </p:cNvSpPr>
          <p:nvPr>
            <p:ph type="sldNum" sz="quarter" idx="11"/>
          </p:nvPr>
        </p:nvSpPr>
        <p:spPr/>
        <p:txBody>
          <a:bodyPr/>
          <a:lstStyle/>
          <a:p>
            <a:fld id="{D842CEBD-3D97-1444-92B6-DB2DBE1B8E7B}" type="slidenum">
              <a:rPr lang="en-US" smtClean="0">
                <a:solidFill>
                  <a:srgbClr val="FFFFFF">
                    <a:tint val="75000"/>
                  </a:srgbClr>
                </a:solidFill>
              </a:rPr>
              <a:pPr/>
              <a:t>‹#›</a:t>
            </a:fld>
            <a:endParaRPr lang="en-US">
              <a:solidFill>
                <a:srgbClr val="FFFFFF">
                  <a:tint val="75000"/>
                </a:srgbClr>
              </a:solidFill>
            </a:endParaRPr>
          </a:p>
        </p:txBody>
      </p:sp>
      <p:sp>
        <p:nvSpPr>
          <p:cNvPr id="6" name="Content Placeholder 5"/>
          <p:cNvSpPr>
            <a:spLocks noGrp="1"/>
          </p:cNvSpPr>
          <p:nvPr>
            <p:ph sz="quarter" idx="12"/>
          </p:nvPr>
        </p:nvSpPr>
        <p:spPr/>
        <p:txBody>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839963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2_Basic text layou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2"/>
                </a:solidFill>
              </a:defRPr>
            </a:lvl1p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p>
            <a:endParaRPr lang="en-US">
              <a:solidFill>
                <a:srgbClr val="FFFFFF">
                  <a:tint val="75000"/>
                </a:srgbClr>
              </a:solidFill>
            </a:endParaRPr>
          </a:p>
        </p:txBody>
      </p:sp>
      <p:sp>
        <p:nvSpPr>
          <p:cNvPr id="4" name="Slide Number Placeholder 3"/>
          <p:cNvSpPr>
            <a:spLocks noGrp="1"/>
          </p:cNvSpPr>
          <p:nvPr>
            <p:ph type="sldNum" sz="quarter" idx="11"/>
          </p:nvPr>
        </p:nvSpPr>
        <p:spPr/>
        <p:txBody>
          <a:bodyPr/>
          <a:lstStyle/>
          <a:p>
            <a:fld id="{D842CEBD-3D97-1444-92B6-DB2DBE1B8E7B}"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3127776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5_Basic tex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2"/>
                </a:solidFill>
              </a:defRPr>
            </a:lvl1p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p>
            <a:endParaRPr lang="en-US">
              <a:solidFill>
                <a:srgbClr val="FFFFFF">
                  <a:tint val="75000"/>
                </a:srgbClr>
              </a:solidFill>
            </a:endParaRPr>
          </a:p>
        </p:txBody>
      </p:sp>
      <p:sp>
        <p:nvSpPr>
          <p:cNvPr id="4" name="Slide Number Placeholder 3"/>
          <p:cNvSpPr>
            <a:spLocks noGrp="1"/>
          </p:cNvSpPr>
          <p:nvPr>
            <p:ph type="sldNum" sz="quarter" idx="11"/>
          </p:nvPr>
        </p:nvSpPr>
        <p:spPr/>
        <p:txBody>
          <a:bodyPr/>
          <a:lstStyle/>
          <a:p>
            <a:fld id="{D842CEBD-3D97-1444-92B6-DB2DBE1B8E7B}"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578581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3_Basic text layout">
    <p:bg>
      <p:bgPr>
        <a:solidFill>
          <a:schemeClr val="accent5"/>
        </a:solidFill>
        <a:effectLst/>
      </p:bgPr>
    </p:bg>
    <p:spTree>
      <p:nvGrpSpPr>
        <p:cNvPr id="1" name=""/>
        <p:cNvGrpSpPr/>
        <p:nvPr/>
      </p:nvGrpSpPr>
      <p:grpSpPr>
        <a:xfrm>
          <a:off x="0" y="0"/>
          <a:ext cx="0" cy="0"/>
          <a:chOff x="0" y="0"/>
          <a:chExt cx="0" cy="0"/>
        </a:xfrm>
      </p:grpSpPr>
      <p:sp>
        <p:nvSpPr>
          <p:cNvPr id="7" name="Rectangle 6"/>
          <p:cNvSpPr/>
          <p:nvPr userDrawn="1"/>
        </p:nvSpPr>
        <p:spPr>
          <a:xfrm>
            <a:off x="514350" y="925998"/>
            <a:ext cx="3886200" cy="1771650"/>
          </a:xfrm>
          <a:prstGeom prst="rect">
            <a:avLst/>
          </a:prstGeom>
          <a:solidFill>
            <a:schemeClr val="bg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14" name="Rectangle 13"/>
          <p:cNvSpPr/>
          <p:nvPr userDrawn="1"/>
        </p:nvSpPr>
        <p:spPr>
          <a:xfrm>
            <a:off x="514350" y="925999"/>
            <a:ext cx="3886200" cy="52397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 name="Title 1"/>
          <p:cNvSpPr>
            <a:spLocks noGrp="1"/>
          </p:cNvSpPr>
          <p:nvPr>
            <p:ph type="title" hasCustomPrompt="1"/>
          </p:nvPr>
        </p:nvSpPr>
        <p:spPr/>
        <p:txBody>
          <a:bodyPr/>
          <a:lstStyle>
            <a:lvl1pPr>
              <a:defRPr>
                <a:solidFill>
                  <a:schemeClr val="bg2"/>
                </a:solidFill>
              </a:defRPr>
            </a:lvl1pPr>
          </a:lstStyle>
          <a:p>
            <a:r>
              <a:rPr lang="en-GB" dirty="0"/>
              <a:t>Click To Edit Team Slide</a:t>
            </a:r>
            <a:endParaRPr lang="en-US" dirty="0"/>
          </a:p>
        </p:txBody>
      </p:sp>
      <p:sp>
        <p:nvSpPr>
          <p:cNvPr id="3" name="Footer Placeholder 2"/>
          <p:cNvSpPr>
            <a:spLocks noGrp="1"/>
          </p:cNvSpPr>
          <p:nvPr>
            <p:ph type="ftr" sz="quarter" idx="10"/>
          </p:nvPr>
        </p:nvSpPr>
        <p:spPr/>
        <p:txBody>
          <a:bodyPr/>
          <a:lstStyle/>
          <a:p>
            <a:endParaRPr lang="en-US">
              <a:solidFill>
                <a:srgbClr val="FFFFFF">
                  <a:tint val="75000"/>
                </a:srgbClr>
              </a:solidFill>
            </a:endParaRPr>
          </a:p>
        </p:txBody>
      </p:sp>
      <p:sp>
        <p:nvSpPr>
          <p:cNvPr id="4" name="Slide Number Placeholder 3"/>
          <p:cNvSpPr>
            <a:spLocks noGrp="1"/>
          </p:cNvSpPr>
          <p:nvPr>
            <p:ph type="sldNum" sz="quarter" idx="11"/>
          </p:nvPr>
        </p:nvSpPr>
        <p:spPr/>
        <p:txBody>
          <a:bodyPr/>
          <a:lstStyle/>
          <a:p>
            <a:fld id="{D842CEBD-3D97-1444-92B6-DB2DBE1B8E7B}" type="slidenum">
              <a:rPr lang="en-US" smtClean="0">
                <a:solidFill>
                  <a:srgbClr val="FFFFFF">
                    <a:tint val="75000"/>
                  </a:srgbClr>
                </a:solidFill>
              </a:rPr>
              <a:pPr/>
              <a:t>‹#›</a:t>
            </a:fld>
            <a:endParaRPr lang="en-US">
              <a:solidFill>
                <a:srgbClr val="FFFFFF">
                  <a:tint val="75000"/>
                </a:srgbClr>
              </a:solidFill>
            </a:endParaRPr>
          </a:p>
        </p:txBody>
      </p:sp>
      <p:sp>
        <p:nvSpPr>
          <p:cNvPr id="6" name="Picture Placeholder 5"/>
          <p:cNvSpPr>
            <a:spLocks noGrp="1"/>
          </p:cNvSpPr>
          <p:nvPr>
            <p:ph type="pic" sz="quarter" idx="12"/>
          </p:nvPr>
        </p:nvSpPr>
        <p:spPr>
          <a:xfrm>
            <a:off x="514350" y="925998"/>
            <a:ext cx="1314450" cy="1771650"/>
          </a:xfrm>
          <a:solidFill>
            <a:schemeClr val="tx2">
              <a:lumMod val="75000"/>
            </a:schemeClr>
          </a:solidFill>
          <a:ln>
            <a:noFill/>
          </a:ln>
        </p:spPr>
        <p:txBody>
          <a:bodyPr>
            <a:normAutofit/>
          </a:bodyPr>
          <a:lstStyle>
            <a:lvl1pPr marL="0" indent="0" algn="ctr">
              <a:buNone/>
              <a:defRPr sz="1100"/>
            </a:lvl1pPr>
          </a:lstStyle>
          <a:p>
            <a:endParaRPr lang="en-US"/>
          </a:p>
        </p:txBody>
      </p:sp>
      <p:sp>
        <p:nvSpPr>
          <p:cNvPr id="11" name="Text Placeholder 10"/>
          <p:cNvSpPr>
            <a:spLocks noGrp="1"/>
          </p:cNvSpPr>
          <p:nvPr>
            <p:ph type="body" sz="quarter" idx="13" hasCustomPrompt="1"/>
          </p:nvPr>
        </p:nvSpPr>
        <p:spPr>
          <a:xfrm>
            <a:off x="1885950" y="995630"/>
            <a:ext cx="2457450" cy="228600"/>
          </a:xfrm>
        </p:spPr>
        <p:txBody>
          <a:bodyPr>
            <a:normAutofit/>
          </a:bodyPr>
          <a:lstStyle>
            <a:lvl1pPr marL="0" indent="0">
              <a:buNone/>
              <a:defRPr sz="1200" b="1" baseline="0">
                <a:solidFill>
                  <a:schemeClr val="accent1"/>
                </a:solidFill>
              </a:defRPr>
            </a:lvl1pPr>
          </a:lstStyle>
          <a:p>
            <a:pPr lvl="0"/>
            <a:r>
              <a:rPr lang="en-US" dirty="0"/>
              <a:t>Enter Name</a:t>
            </a:r>
          </a:p>
        </p:txBody>
      </p:sp>
      <p:sp>
        <p:nvSpPr>
          <p:cNvPr id="12" name="Text Placeholder 10"/>
          <p:cNvSpPr>
            <a:spLocks noGrp="1"/>
          </p:cNvSpPr>
          <p:nvPr>
            <p:ph type="body" sz="quarter" idx="14" hasCustomPrompt="1"/>
          </p:nvPr>
        </p:nvSpPr>
        <p:spPr>
          <a:xfrm>
            <a:off x="1885950" y="1221373"/>
            <a:ext cx="2457450" cy="161825"/>
          </a:xfrm>
        </p:spPr>
        <p:txBody>
          <a:bodyPr>
            <a:normAutofit/>
          </a:bodyPr>
          <a:lstStyle>
            <a:lvl1pPr marL="0" indent="0">
              <a:buNone/>
              <a:defRPr sz="900" baseline="0">
                <a:solidFill>
                  <a:schemeClr val="bg1"/>
                </a:solidFill>
              </a:defRPr>
            </a:lvl1pPr>
          </a:lstStyle>
          <a:p>
            <a:pPr lvl="0"/>
            <a:r>
              <a:rPr lang="en-US" dirty="0"/>
              <a:t>Job Title</a:t>
            </a:r>
          </a:p>
        </p:txBody>
      </p:sp>
      <p:sp>
        <p:nvSpPr>
          <p:cNvPr id="13" name="Text Placeholder 10"/>
          <p:cNvSpPr>
            <a:spLocks noGrp="1"/>
          </p:cNvSpPr>
          <p:nvPr>
            <p:ph type="body" sz="quarter" idx="15" hasCustomPrompt="1"/>
          </p:nvPr>
        </p:nvSpPr>
        <p:spPr>
          <a:xfrm>
            <a:off x="1885950" y="1520808"/>
            <a:ext cx="2457450" cy="1119690"/>
          </a:xfrm>
        </p:spPr>
        <p:txBody>
          <a:bodyPr>
            <a:normAutofit/>
          </a:bodyPr>
          <a:lstStyle>
            <a:lvl1pPr marL="0" indent="0">
              <a:buNone/>
              <a:defRPr sz="800" baseline="0"/>
            </a:lvl1pPr>
          </a:lstStyle>
          <a:p>
            <a:pPr lvl="0"/>
            <a:r>
              <a:rPr lang="en-US" dirty="0"/>
              <a:t>Background/Client experience</a:t>
            </a:r>
          </a:p>
        </p:txBody>
      </p:sp>
      <p:sp>
        <p:nvSpPr>
          <p:cNvPr id="21" name="Rectangle 20"/>
          <p:cNvSpPr/>
          <p:nvPr userDrawn="1"/>
        </p:nvSpPr>
        <p:spPr>
          <a:xfrm>
            <a:off x="514350" y="2971800"/>
            <a:ext cx="3886200" cy="1771650"/>
          </a:xfrm>
          <a:prstGeom prst="rect">
            <a:avLst/>
          </a:prstGeom>
          <a:solidFill>
            <a:schemeClr val="bg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2" name="Rectangle 21"/>
          <p:cNvSpPr/>
          <p:nvPr userDrawn="1"/>
        </p:nvSpPr>
        <p:spPr>
          <a:xfrm>
            <a:off x="514350" y="2971801"/>
            <a:ext cx="3886200" cy="52397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3" name="Picture Placeholder 5"/>
          <p:cNvSpPr>
            <a:spLocks noGrp="1"/>
          </p:cNvSpPr>
          <p:nvPr>
            <p:ph type="pic" sz="quarter" idx="20"/>
          </p:nvPr>
        </p:nvSpPr>
        <p:spPr>
          <a:xfrm>
            <a:off x="514350" y="2971800"/>
            <a:ext cx="1314450" cy="1771650"/>
          </a:xfrm>
          <a:solidFill>
            <a:schemeClr val="tx2">
              <a:lumMod val="75000"/>
            </a:schemeClr>
          </a:solidFill>
          <a:ln>
            <a:noFill/>
          </a:ln>
        </p:spPr>
        <p:txBody>
          <a:bodyPr>
            <a:normAutofit/>
          </a:bodyPr>
          <a:lstStyle>
            <a:lvl1pPr marL="0" indent="0" algn="ctr">
              <a:buNone/>
              <a:defRPr sz="1100"/>
            </a:lvl1pPr>
          </a:lstStyle>
          <a:p>
            <a:endParaRPr lang="en-US"/>
          </a:p>
        </p:txBody>
      </p:sp>
      <p:sp>
        <p:nvSpPr>
          <p:cNvPr id="24" name="Text Placeholder 10"/>
          <p:cNvSpPr>
            <a:spLocks noGrp="1"/>
          </p:cNvSpPr>
          <p:nvPr>
            <p:ph type="body" sz="quarter" idx="21" hasCustomPrompt="1"/>
          </p:nvPr>
        </p:nvSpPr>
        <p:spPr>
          <a:xfrm>
            <a:off x="1885950" y="3041432"/>
            <a:ext cx="2457450" cy="228600"/>
          </a:xfrm>
        </p:spPr>
        <p:txBody>
          <a:bodyPr>
            <a:normAutofit/>
          </a:bodyPr>
          <a:lstStyle>
            <a:lvl1pPr marL="0" indent="0">
              <a:buNone/>
              <a:defRPr sz="1200" b="1" baseline="0">
                <a:solidFill>
                  <a:schemeClr val="accent1"/>
                </a:solidFill>
              </a:defRPr>
            </a:lvl1pPr>
          </a:lstStyle>
          <a:p>
            <a:pPr lvl="0"/>
            <a:r>
              <a:rPr lang="en-US" dirty="0"/>
              <a:t>Enter Name</a:t>
            </a:r>
          </a:p>
        </p:txBody>
      </p:sp>
      <p:sp>
        <p:nvSpPr>
          <p:cNvPr id="25" name="Text Placeholder 10"/>
          <p:cNvSpPr>
            <a:spLocks noGrp="1"/>
          </p:cNvSpPr>
          <p:nvPr>
            <p:ph type="body" sz="quarter" idx="22" hasCustomPrompt="1"/>
          </p:nvPr>
        </p:nvSpPr>
        <p:spPr>
          <a:xfrm>
            <a:off x="1885950" y="3267175"/>
            <a:ext cx="2457450" cy="161825"/>
          </a:xfrm>
        </p:spPr>
        <p:txBody>
          <a:bodyPr>
            <a:normAutofit/>
          </a:bodyPr>
          <a:lstStyle>
            <a:lvl1pPr marL="0" indent="0">
              <a:buNone/>
              <a:defRPr sz="900" baseline="0">
                <a:solidFill>
                  <a:schemeClr val="bg1"/>
                </a:solidFill>
              </a:defRPr>
            </a:lvl1pPr>
          </a:lstStyle>
          <a:p>
            <a:pPr lvl="0"/>
            <a:r>
              <a:rPr lang="en-US" dirty="0"/>
              <a:t>Job Title</a:t>
            </a:r>
          </a:p>
        </p:txBody>
      </p:sp>
      <p:sp>
        <p:nvSpPr>
          <p:cNvPr id="26" name="Text Placeholder 10"/>
          <p:cNvSpPr>
            <a:spLocks noGrp="1"/>
          </p:cNvSpPr>
          <p:nvPr>
            <p:ph type="body" sz="quarter" idx="23" hasCustomPrompt="1"/>
          </p:nvPr>
        </p:nvSpPr>
        <p:spPr>
          <a:xfrm>
            <a:off x="1885950" y="3566610"/>
            <a:ext cx="2457450" cy="1119690"/>
          </a:xfrm>
        </p:spPr>
        <p:txBody>
          <a:bodyPr>
            <a:normAutofit/>
          </a:bodyPr>
          <a:lstStyle>
            <a:lvl1pPr marL="0" indent="0">
              <a:buNone/>
              <a:defRPr sz="800" baseline="0"/>
            </a:lvl1pPr>
          </a:lstStyle>
          <a:p>
            <a:pPr lvl="0"/>
            <a:r>
              <a:rPr lang="en-US" dirty="0"/>
              <a:t>Background/Client experience</a:t>
            </a:r>
          </a:p>
        </p:txBody>
      </p:sp>
      <p:sp>
        <p:nvSpPr>
          <p:cNvPr id="33" name="Rectangle 32"/>
          <p:cNvSpPr/>
          <p:nvPr userDrawn="1"/>
        </p:nvSpPr>
        <p:spPr>
          <a:xfrm>
            <a:off x="4686194" y="925998"/>
            <a:ext cx="3886200" cy="1771650"/>
          </a:xfrm>
          <a:prstGeom prst="rect">
            <a:avLst/>
          </a:prstGeom>
          <a:solidFill>
            <a:schemeClr val="bg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34" name="Rectangle 33"/>
          <p:cNvSpPr/>
          <p:nvPr userDrawn="1"/>
        </p:nvSpPr>
        <p:spPr>
          <a:xfrm>
            <a:off x="4686194" y="925999"/>
            <a:ext cx="3886200" cy="52397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35" name="Picture Placeholder 5"/>
          <p:cNvSpPr>
            <a:spLocks noGrp="1"/>
          </p:cNvSpPr>
          <p:nvPr>
            <p:ph type="pic" sz="quarter" idx="24"/>
          </p:nvPr>
        </p:nvSpPr>
        <p:spPr>
          <a:xfrm>
            <a:off x="4686194" y="925998"/>
            <a:ext cx="1314450" cy="1771650"/>
          </a:xfrm>
          <a:solidFill>
            <a:schemeClr val="tx2">
              <a:lumMod val="75000"/>
            </a:schemeClr>
          </a:solidFill>
          <a:ln>
            <a:noFill/>
          </a:ln>
        </p:spPr>
        <p:txBody>
          <a:bodyPr>
            <a:normAutofit/>
          </a:bodyPr>
          <a:lstStyle>
            <a:lvl1pPr marL="0" indent="0" algn="ctr">
              <a:buNone/>
              <a:defRPr sz="1100"/>
            </a:lvl1pPr>
          </a:lstStyle>
          <a:p>
            <a:endParaRPr lang="en-US"/>
          </a:p>
        </p:txBody>
      </p:sp>
      <p:sp>
        <p:nvSpPr>
          <p:cNvPr id="36" name="Text Placeholder 10"/>
          <p:cNvSpPr>
            <a:spLocks noGrp="1"/>
          </p:cNvSpPr>
          <p:nvPr>
            <p:ph type="body" sz="quarter" idx="25" hasCustomPrompt="1"/>
          </p:nvPr>
        </p:nvSpPr>
        <p:spPr>
          <a:xfrm>
            <a:off x="6057794" y="995630"/>
            <a:ext cx="2457450" cy="228600"/>
          </a:xfrm>
        </p:spPr>
        <p:txBody>
          <a:bodyPr>
            <a:normAutofit/>
          </a:bodyPr>
          <a:lstStyle>
            <a:lvl1pPr marL="0" indent="0">
              <a:buNone/>
              <a:defRPr sz="1200" b="1" baseline="0">
                <a:solidFill>
                  <a:schemeClr val="accent1"/>
                </a:solidFill>
              </a:defRPr>
            </a:lvl1pPr>
          </a:lstStyle>
          <a:p>
            <a:pPr lvl="0"/>
            <a:r>
              <a:rPr lang="en-US" dirty="0"/>
              <a:t>Enter Name</a:t>
            </a:r>
          </a:p>
        </p:txBody>
      </p:sp>
      <p:sp>
        <p:nvSpPr>
          <p:cNvPr id="37" name="Text Placeholder 10"/>
          <p:cNvSpPr>
            <a:spLocks noGrp="1"/>
          </p:cNvSpPr>
          <p:nvPr>
            <p:ph type="body" sz="quarter" idx="26" hasCustomPrompt="1"/>
          </p:nvPr>
        </p:nvSpPr>
        <p:spPr>
          <a:xfrm>
            <a:off x="6057794" y="1221373"/>
            <a:ext cx="2457450" cy="161825"/>
          </a:xfrm>
        </p:spPr>
        <p:txBody>
          <a:bodyPr>
            <a:normAutofit/>
          </a:bodyPr>
          <a:lstStyle>
            <a:lvl1pPr marL="0" indent="0">
              <a:buNone/>
              <a:defRPr sz="900" baseline="0">
                <a:solidFill>
                  <a:schemeClr val="bg1"/>
                </a:solidFill>
              </a:defRPr>
            </a:lvl1pPr>
          </a:lstStyle>
          <a:p>
            <a:pPr lvl="0"/>
            <a:r>
              <a:rPr lang="en-US" dirty="0"/>
              <a:t>Job Title</a:t>
            </a:r>
          </a:p>
        </p:txBody>
      </p:sp>
      <p:sp>
        <p:nvSpPr>
          <p:cNvPr id="38" name="Text Placeholder 10"/>
          <p:cNvSpPr>
            <a:spLocks noGrp="1"/>
          </p:cNvSpPr>
          <p:nvPr>
            <p:ph type="body" sz="quarter" idx="27" hasCustomPrompt="1"/>
          </p:nvPr>
        </p:nvSpPr>
        <p:spPr>
          <a:xfrm>
            <a:off x="6057794" y="1520808"/>
            <a:ext cx="2457450" cy="1119690"/>
          </a:xfrm>
        </p:spPr>
        <p:txBody>
          <a:bodyPr>
            <a:normAutofit/>
          </a:bodyPr>
          <a:lstStyle>
            <a:lvl1pPr marL="0" indent="0">
              <a:buNone/>
              <a:defRPr sz="800" baseline="0"/>
            </a:lvl1pPr>
          </a:lstStyle>
          <a:p>
            <a:pPr lvl="0"/>
            <a:r>
              <a:rPr lang="en-US" dirty="0"/>
              <a:t>Background/Client experience</a:t>
            </a:r>
          </a:p>
        </p:txBody>
      </p:sp>
      <p:sp>
        <p:nvSpPr>
          <p:cNvPr id="39" name="Rectangle 38"/>
          <p:cNvSpPr/>
          <p:nvPr userDrawn="1"/>
        </p:nvSpPr>
        <p:spPr>
          <a:xfrm>
            <a:off x="4686194" y="2971800"/>
            <a:ext cx="3886200" cy="1771650"/>
          </a:xfrm>
          <a:prstGeom prst="rect">
            <a:avLst/>
          </a:prstGeom>
          <a:solidFill>
            <a:schemeClr val="bg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40" name="Rectangle 39"/>
          <p:cNvSpPr/>
          <p:nvPr userDrawn="1"/>
        </p:nvSpPr>
        <p:spPr>
          <a:xfrm>
            <a:off x="4686194" y="2971801"/>
            <a:ext cx="3886200" cy="52397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41" name="Picture Placeholder 5"/>
          <p:cNvSpPr>
            <a:spLocks noGrp="1"/>
          </p:cNvSpPr>
          <p:nvPr>
            <p:ph type="pic" sz="quarter" idx="28"/>
          </p:nvPr>
        </p:nvSpPr>
        <p:spPr>
          <a:xfrm>
            <a:off x="4686194" y="2971800"/>
            <a:ext cx="1314450" cy="1771650"/>
          </a:xfrm>
          <a:solidFill>
            <a:schemeClr val="tx2">
              <a:lumMod val="75000"/>
            </a:schemeClr>
          </a:solidFill>
          <a:ln>
            <a:noFill/>
          </a:ln>
        </p:spPr>
        <p:txBody>
          <a:bodyPr>
            <a:normAutofit/>
          </a:bodyPr>
          <a:lstStyle>
            <a:lvl1pPr marL="0" indent="0" algn="ctr">
              <a:buNone/>
              <a:defRPr sz="1100"/>
            </a:lvl1pPr>
          </a:lstStyle>
          <a:p>
            <a:endParaRPr lang="en-US"/>
          </a:p>
        </p:txBody>
      </p:sp>
      <p:sp>
        <p:nvSpPr>
          <p:cNvPr id="42" name="Text Placeholder 10"/>
          <p:cNvSpPr>
            <a:spLocks noGrp="1"/>
          </p:cNvSpPr>
          <p:nvPr>
            <p:ph type="body" sz="quarter" idx="29" hasCustomPrompt="1"/>
          </p:nvPr>
        </p:nvSpPr>
        <p:spPr>
          <a:xfrm>
            <a:off x="6057794" y="3041432"/>
            <a:ext cx="2457450" cy="228600"/>
          </a:xfrm>
        </p:spPr>
        <p:txBody>
          <a:bodyPr>
            <a:normAutofit/>
          </a:bodyPr>
          <a:lstStyle>
            <a:lvl1pPr marL="0" indent="0">
              <a:buNone/>
              <a:defRPr sz="1200" b="1" baseline="0">
                <a:solidFill>
                  <a:schemeClr val="accent1"/>
                </a:solidFill>
              </a:defRPr>
            </a:lvl1pPr>
          </a:lstStyle>
          <a:p>
            <a:pPr lvl="0"/>
            <a:r>
              <a:rPr lang="en-US" dirty="0"/>
              <a:t>Enter Name</a:t>
            </a:r>
          </a:p>
        </p:txBody>
      </p:sp>
      <p:sp>
        <p:nvSpPr>
          <p:cNvPr id="43" name="Text Placeholder 10"/>
          <p:cNvSpPr>
            <a:spLocks noGrp="1"/>
          </p:cNvSpPr>
          <p:nvPr>
            <p:ph type="body" sz="quarter" idx="30" hasCustomPrompt="1"/>
          </p:nvPr>
        </p:nvSpPr>
        <p:spPr>
          <a:xfrm>
            <a:off x="6057794" y="3267175"/>
            <a:ext cx="2457450" cy="161825"/>
          </a:xfrm>
        </p:spPr>
        <p:txBody>
          <a:bodyPr>
            <a:normAutofit/>
          </a:bodyPr>
          <a:lstStyle>
            <a:lvl1pPr marL="0" indent="0">
              <a:buNone/>
              <a:defRPr sz="900" baseline="0">
                <a:solidFill>
                  <a:schemeClr val="bg1"/>
                </a:solidFill>
              </a:defRPr>
            </a:lvl1pPr>
          </a:lstStyle>
          <a:p>
            <a:pPr lvl="0"/>
            <a:r>
              <a:rPr lang="en-US" dirty="0"/>
              <a:t>Job Title</a:t>
            </a:r>
          </a:p>
        </p:txBody>
      </p:sp>
      <p:sp>
        <p:nvSpPr>
          <p:cNvPr id="44" name="Text Placeholder 10"/>
          <p:cNvSpPr>
            <a:spLocks noGrp="1"/>
          </p:cNvSpPr>
          <p:nvPr>
            <p:ph type="body" sz="quarter" idx="31" hasCustomPrompt="1"/>
          </p:nvPr>
        </p:nvSpPr>
        <p:spPr>
          <a:xfrm>
            <a:off x="6057794" y="3566610"/>
            <a:ext cx="2457450" cy="1119690"/>
          </a:xfrm>
        </p:spPr>
        <p:txBody>
          <a:bodyPr>
            <a:normAutofit/>
          </a:bodyPr>
          <a:lstStyle>
            <a:lvl1pPr marL="0" indent="0">
              <a:buNone/>
              <a:defRPr sz="800" baseline="0"/>
            </a:lvl1pPr>
          </a:lstStyle>
          <a:p>
            <a:pPr lvl="0"/>
            <a:r>
              <a:rPr lang="en-US" dirty="0"/>
              <a:t>Background/Client experience</a:t>
            </a:r>
          </a:p>
        </p:txBody>
      </p:sp>
    </p:spTree>
    <p:extLst>
      <p:ext uri="{BB962C8B-B14F-4D97-AF65-F5344CB8AC3E}">
        <p14:creationId xmlns:p14="http://schemas.microsoft.com/office/powerpoint/2010/main" val="2630763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434163"/>
      </p:ext>
    </p:extLst>
  </p:cSld>
  <p:clrMapOvr>
    <a:masterClrMapping/>
  </p:clrMapOvr>
  <p:transition>
    <p:fade/>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4_Basic text layout">
    <p:bg>
      <p:bgPr>
        <a:solidFill>
          <a:schemeClr val="accent5"/>
        </a:solidFill>
        <a:effectLst/>
      </p:bgPr>
    </p:bg>
    <p:spTree>
      <p:nvGrpSpPr>
        <p:cNvPr id="1" name=""/>
        <p:cNvGrpSpPr/>
        <p:nvPr/>
      </p:nvGrpSpPr>
      <p:grpSpPr>
        <a:xfrm>
          <a:off x="0" y="0"/>
          <a:ext cx="0" cy="0"/>
          <a:chOff x="0" y="0"/>
          <a:chExt cx="0" cy="0"/>
        </a:xfrm>
      </p:grpSpPr>
      <p:sp>
        <p:nvSpPr>
          <p:cNvPr id="7" name="Rectangle 6"/>
          <p:cNvSpPr/>
          <p:nvPr userDrawn="1"/>
        </p:nvSpPr>
        <p:spPr>
          <a:xfrm>
            <a:off x="171450" y="925998"/>
            <a:ext cx="1314450" cy="3874602"/>
          </a:xfrm>
          <a:prstGeom prst="rect">
            <a:avLst/>
          </a:prstGeom>
          <a:solidFill>
            <a:schemeClr val="bg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14" name="Rectangle 13"/>
          <p:cNvSpPr/>
          <p:nvPr userDrawn="1"/>
        </p:nvSpPr>
        <p:spPr>
          <a:xfrm>
            <a:off x="171450" y="2697648"/>
            <a:ext cx="1314450" cy="52397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 name="Title 1"/>
          <p:cNvSpPr>
            <a:spLocks noGrp="1"/>
          </p:cNvSpPr>
          <p:nvPr>
            <p:ph type="title" hasCustomPrompt="1"/>
          </p:nvPr>
        </p:nvSpPr>
        <p:spPr/>
        <p:txBody>
          <a:bodyPr/>
          <a:lstStyle>
            <a:lvl1pPr>
              <a:defRPr>
                <a:solidFill>
                  <a:schemeClr val="bg2"/>
                </a:solidFill>
              </a:defRPr>
            </a:lvl1pPr>
          </a:lstStyle>
          <a:p>
            <a:r>
              <a:rPr lang="en-GB" dirty="0"/>
              <a:t>Click To Edit Team Slide</a:t>
            </a:r>
            <a:endParaRPr lang="en-US" dirty="0"/>
          </a:p>
        </p:txBody>
      </p:sp>
      <p:sp>
        <p:nvSpPr>
          <p:cNvPr id="3" name="Footer Placeholder 2"/>
          <p:cNvSpPr>
            <a:spLocks noGrp="1"/>
          </p:cNvSpPr>
          <p:nvPr>
            <p:ph type="ftr" sz="quarter" idx="10"/>
          </p:nvPr>
        </p:nvSpPr>
        <p:spPr/>
        <p:txBody>
          <a:bodyPr/>
          <a:lstStyle/>
          <a:p>
            <a:endParaRPr lang="en-US">
              <a:solidFill>
                <a:srgbClr val="FFFFFF">
                  <a:tint val="75000"/>
                </a:srgbClr>
              </a:solidFill>
            </a:endParaRPr>
          </a:p>
        </p:txBody>
      </p:sp>
      <p:sp>
        <p:nvSpPr>
          <p:cNvPr id="4" name="Slide Number Placeholder 3"/>
          <p:cNvSpPr>
            <a:spLocks noGrp="1"/>
          </p:cNvSpPr>
          <p:nvPr>
            <p:ph type="sldNum" sz="quarter" idx="11"/>
          </p:nvPr>
        </p:nvSpPr>
        <p:spPr/>
        <p:txBody>
          <a:bodyPr/>
          <a:lstStyle/>
          <a:p>
            <a:fld id="{D842CEBD-3D97-1444-92B6-DB2DBE1B8E7B}" type="slidenum">
              <a:rPr lang="en-US" smtClean="0">
                <a:solidFill>
                  <a:srgbClr val="FFFFFF">
                    <a:tint val="75000"/>
                  </a:srgbClr>
                </a:solidFill>
              </a:rPr>
              <a:pPr/>
              <a:t>‹#›</a:t>
            </a:fld>
            <a:endParaRPr lang="en-US">
              <a:solidFill>
                <a:srgbClr val="FFFFFF">
                  <a:tint val="75000"/>
                </a:srgbClr>
              </a:solidFill>
            </a:endParaRPr>
          </a:p>
        </p:txBody>
      </p:sp>
      <p:sp>
        <p:nvSpPr>
          <p:cNvPr id="6" name="Picture Placeholder 5"/>
          <p:cNvSpPr>
            <a:spLocks noGrp="1"/>
          </p:cNvSpPr>
          <p:nvPr>
            <p:ph type="pic" sz="quarter" idx="12"/>
          </p:nvPr>
        </p:nvSpPr>
        <p:spPr>
          <a:xfrm>
            <a:off x="171450" y="925998"/>
            <a:ext cx="1314450" cy="1771650"/>
          </a:xfrm>
          <a:solidFill>
            <a:schemeClr val="tx2">
              <a:lumMod val="75000"/>
            </a:schemeClr>
          </a:solidFill>
          <a:ln>
            <a:noFill/>
          </a:ln>
        </p:spPr>
        <p:txBody>
          <a:bodyPr>
            <a:normAutofit/>
          </a:bodyPr>
          <a:lstStyle>
            <a:lvl1pPr marL="0" indent="0" algn="ctr">
              <a:buNone/>
              <a:defRPr sz="1100"/>
            </a:lvl1pPr>
          </a:lstStyle>
          <a:p>
            <a:endParaRPr lang="en-US"/>
          </a:p>
        </p:txBody>
      </p:sp>
      <p:sp>
        <p:nvSpPr>
          <p:cNvPr id="11" name="Text Placeholder 10"/>
          <p:cNvSpPr>
            <a:spLocks noGrp="1"/>
          </p:cNvSpPr>
          <p:nvPr>
            <p:ph type="body" sz="quarter" idx="13" hasCustomPrompt="1"/>
          </p:nvPr>
        </p:nvSpPr>
        <p:spPr>
          <a:xfrm>
            <a:off x="228600" y="2770287"/>
            <a:ext cx="1200150" cy="228600"/>
          </a:xfrm>
        </p:spPr>
        <p:txBody>
          <a:bodyPr>
            <a:normAutofit/>
          </a:bodyPr>
          <a:lstStyle>
            <a:lvl1pPr marL="0" indent="0">
              <a:buNone/>
              <a:defRPr sz="900" b="1" baseline="0">
                <a:solidFill>
                  <a:schemeClr val="accent1"/>
                </a:solidFill>
              </a:defRPr>
            </a:lvl1pPr>
          </a:lstStyle>
          <a:p>
            <a:pPr lvl="0"/>
            <a:r>
              <a:rPr lang="en-US" dirty="0"/>
              <a:t>Enter Name</a:t>
            </a:r>
          </a:p>
        </p:txBody>
      </p:sp>
      <p:sp>
        <p:nvSpPr>
          <p:cNvPr id="12" name="Text Placeholder 10"/>
          <p:cNvSpPr>
            <a:spLocks noGrp="1"/>
          </p:cNvSpPr>
          <p:nvPr>
            <p:ph type="body" sz="quarter" idx="14" hasCustomPrompt="1"/>
          </p:nvPr>
        </p:nvSpPr>
        <p:spPr>
          <a:xfrm>
            <a:off x="228600" y="2996030"/>
            <a:ext cx="1200150" cy="161825"/>
          </a:xfrm>
        </p:spPr>
        <p:txBody>
          <a:bodyPr>
            <a:noAutofit/>
          </a:bodyPr>
          <a:lstStyle>
            <a:lvl1pPr marL="0" indent="0">
              <a:buNone/>
              <a:defRPr sz="800" baseline="0">
                <a:solidFill>
                  <a:schemeClr val="bg1"/>
                </a:solidFill>
              </a:defRPr>
            </a:lvl1pPr>
          </a:lstStyle>
          <a:p>
            <a:pPr lvl="0"/>
            <a:r>
              <a:rPr lang="en-US" dirty="0"/>
              <a:t>Job Title</a:t>
            </a:r>
          </a:p>
        </p:txBody>
      </p:sp>
      <p:sp>
        <p:nvSpPr>
          <p:cNvPr id="13" name="Text Placeholder 10"/>
          <p:cNvSpPr>
            <a:spLocks noGrp="1"/>
          </p:cNvSpPr>
          <p:nvPr>
            <p:ph type="body" sz="quarter" idx="15" hasCustomPrompt="1"/>
          </p:nvPr>
        </p:nvSpPr>
        <p:spPr>
          <a:xfrm>
            <a:off x="228600" y="3294262"/>
            <a:ext cx="1200150" cy="1449188"/>
          </a:xfrm>
        </p:spPr>
        <p:txBody>
          <a:bodyPr>
            <a:normAutofit/>
          </a:bodyPr>
          <a:lstStyle>
            <a:lvl1pPr marL="0" indent="0">
              <a:buNone/>
              <a:defRPr sz="800" baseline="0"/>
            </a:lvl1pPr>
          </a:lstStyle>
          <a:p>
            <a:pPr lvl="0"/>
            <a:r>
              <a:rPr lang="en-US" dirty="0"/>
              <a:t>Background/Client experience</a:t>
            </a:r>
          </a:p>
        </p:txBody>
      </p:sp>
      <p:sp>
        <p:nvSpPr>
          <p:cNvPr id="29" name="Rectangle 28"/>
          <p:cNvSpPr/>
          <p:nvPr userDrawn="1"/>
        </p:nvSpPr>
        <p:spPr>
          <a:xfrm>
            <a:off x="1657350" y="925998"/>
            <a:ext cx="1314450" cy="3874602"/>
          </a:xfrm>
          <a:prstGeom prst="rect">
            <a:avLst/>
          </a:prstGeom>
          <a:solidFill>
            <a:schemeClr val="bg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30" name="Rectangle 29"/>
          <p:cNvSpPr/>
          <p:nvPr userDrawn="1"/>
        </p:nvSpPr>
        <p:spPr>
          <a:xfrm>
            <a:off x="1657350" y="2697648"/>
            <a:ext cx="1314450" cy="52397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31" name="Picture Placeholder 5"/>
          <p:cNvSpPr>
            <a:spLocks noGrp="1"/>
          </p:cNvSpPr>
          <p:nvPr>
            <p:ph type="pic" sz="quarter" idx="16"/>
          </p:nvPr>
        </p:nvSpPr>
        <p:spPr>
          <a:xfrm>
            <a:off x="1657350" y="925998"/>
            <a:ext cx="1314450" cy="1771650"/>
          </a:xfrm>
          <a:solidFill>
            <a:schemeClr val="tx2">
              <a:lumMod val="75000"/>
            </a:schemeClr>
          </a:solidFill>
          <a:ln>
            <a:noFill/>
          </a:ln>
        </p:spPr>
        <p:txBody>
          <a:bodyPr>
            <a:normAutofit/>
          </a:bodyPr>
          <a:lstStyle>
            <a:lvl1pPr marL="0" indent="0" algn="ctr">
              <a:buNone/>
              <a:defRPr sz="1100"/>
            </a:lvl1pPr>
          </a:lstStyle>
          <a:p>
            <a:endParaRPr lang="en-US"/>
          </a:p>
        </p:txBody>
      </p:sp>
      <p:sp>
        <p:nvSpPr>
          <p:cNvPr id="32" name="Text Placeholder 10"/>
          <p:cNvSpPr>
            <a:spLocks noGrp="1"/>
          </p:cNvSpPr>
          <p:nvPr>
            <p:ph type="body" sz="quarter" idx="17" hasCustomPrompt="1"/>
          </p:nvPr>
        </p:nvSpPr>
        <p:spPr>
          <a:xfrm>
            <a:off x="1714500" y="2770287"/>
            <a:ext cx="1200150" cy="228600"/>
          </a:xfrm>
        </p:spPr>
        <p:txBody>
          <a:bodyPr>
            <a:normAutofit/>
          </a:bodyPr>
          <a:lstStyle>
            <a:lvl1pPr marL="0" indent="0">
              <a:buNone/>
              <a:defRPr sz="900" b="1" baseline="0">
                <a:solidFill>
                  <a:schemeClr val="accent1"/>
                </a:solidFill>
              </a:defRPr>
            </a:lvl1pPr>
          </a:lstStyle>
          <a:p>
            <a:pPr lvl="0"/>
            <a:r>
              <a:rPr lang="en-US" dirty="0"/>
              <a:t>Enter Name</a:t>
            </a:r>
          </a:p>
        </p:txBody>
      </p:sp>
      <p:sp>
        <p:nvSpPr>
          <p:cNvPr id="45" name="Text Placeholder 10"/>
          <p:cNvSpPr>
            <a:spLocks noGrp="1"/>
          </p:cNvSpPr>
          <p:nvPr>
            <p:ph type="body" sz="quarter" idx="18" hasCustomPrompt="1"/>
          </p:nvPr>
        </p:nvSpPr>
        <p:spPr>
          <a:xfrm>
            <a:off x="1714500" y="2996030"/>
            <a:ext cx="1200150" cy="161825"/>
          </a:xfrm>
        </p:spPr>
        <p:txBody>
          <a:bodyPr>
            <a:noAutofit/>
          </a:bodyPr>
          <a:lstStyle>
            <a:lvl1pPr marL="0" indent="0">
              <a:buNone/>
              <a:defRPr sz="800" baseline="0">
                <a:solidFill>
                  <a:schemeClr val="bg1"/>
                </a:solidFill>
              </a:defRPr>
            </a:lvl1pPr>
          </a:lstStyle>
          <a:p>
            <a:pPr lvl="0"/>
            <a:r>
              <a:rPr lang="en-US" dirty="0"/>
              <a:t>Job Title</a:t>
            </a:r>
          </a:p>
        </p:txBody>
      </p:sp>
      <p:sp>
        <p:nvSpPr>
          <p:cNvPr id="46" name="Text Placeholder 10"/>
          <p:cNvSpPr>
            <a:spLocks noGrp="1"/>
          </p:cNvSpPr>
          <p:nvPr>
            <p:ph type="body" sz="quarter" idx="19" hasCustomPrompt="1"/>
          </p:nvPr>
        </p:nvSpPr>
        <p:spPr>
          <a:xfrm>
            <a:off x="1714500" y="3294262"/>
            <a:ext cx="1200150" cy="1449188"/>
          </a:xfrm>
        </p:spPr>
        <p:txBody>
          <a:bodyPr>
            <a:normAutofit/>
          </a:bodyPr>
          <a:lstStyle>
            <a:lvl1pPr marL="0" indent="0">
              <a:buNone/>
              <a:defRPr sz="800" baseline="0"/>
            </a:lvl1pPr>
          </a:lstStyle>
          <a:p>
            <a:pPr lvl="0"/>
            <a:r>
              <a:rPr lang="en-US" dirty="0"/>
              <a:t>Background/Client experience</a:t>
            </a:r>
          </a:p>
        </p:txBody>
      </p:sp>
      <p:sp>
        <p:nvSpPr>
          <p:cNvPr id="47" name="Rectangle 46"/>
          <p:cNvSpPr/>
          <p:nvPr userDrawn="1"/>
        </p:nvSpPr>
        <p:spPr>
          <a:xfrm>
            <a:off x="3141446" y="925998"/>
            <a:ext cx="1314450" cy="3874602"/>
          </a:xfrm>
          <a:prstGeom prst="rect">
            <a:avLst/>
          </a:prstGeom>
          <a:solidFill>
            <a:schemeClr val="bg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48" name="Rectangle 47"/>
          <p:cNvSpPr/>
          <p:nvPr userDrawn="1"/>
        </p:nvSpPr>
        <p:spPr>
          <a:xfrm>
            <a:off x="3141446" y="2697648"/>
            <a:ext cx="1314450" cy="52397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49" name="Picture Placeholder 5"/>
          <p:cNvSpPr>
            <a:spLocks noGrp="1"/>
          </p:cNvSpPr>
          <p:nvPr>
            <p:ph type="pic" sz="quarter" idx="20"/>
          </p:nvPr>
        </p:nvSpPr>
        <p:spPr>
          <a:xfrm>
            <a:off x="3141446" y="925998"/>
            <a:ext cx="1314450" cy="1771650"/>
          </a:xfrm>
          <a:solidFill>
            <a:schemeClr val="tx2">
              <a:lumMod val="75000"/>
            </a:schemeClr>
          </a:solidFill>
          <a:ln>
            <a:noFill/>
          </a:ln>
        </p:spPr>
        <p:txBody>
          <a:bodyPr>
            <a:normAutofit/>
          </a:bodyPr>
          <a:lstStyle>
            <a:lvl1pPr marL="0" indent="0" algn="ctr">
              <a:buNone/>
              <a:defRPr sz="1100"/>
            </a:lvl1pPr>
          </a:lstStyle>
          <a:p>
            <a:endParaRPr lang="en-US"/>
          </a:p>
        </p:txBody>
      </p:sp>
      <p:sp>
        <p:nvSpPr>
          <p:cNvPr id="50" name="Text Placeholder 10"/>
          <p:cNvSpPr>
            <a:spLocks noGrp="1"/>
          </p:cNvSpPr>
          <p:nvPr>
            <p:ph type="body" sz="quarter" idx="21" hasCustomPrompt="1"/>
          </p:nvPr>
        </p:nvSpPr>
        <p:spPr>
          <a:xfrm>
            <a:off x="3198596" y="2770287"/>
            <a:ext cx="1200150" cy="228600"/>
          </a:xfrm>
        </p:spPr>
        <p:txBody>
          <a:bodyPr>
            <a:normAutofit/>
          </a:bodyPr>
          <a:lstStyle>
            <a:lvl1pPr marL="0" indent="0">
              <a:buNone/>
              <a:defRPr sz="900" b="1" baseline="0">
                <a:solidFill>
                  <a:schemeClr val="accent1"/>
                </a:solidFill>
              </a:defRPr>
            </a:lvl1pPr>
          </a:lstStyle>
          <a:p>
            <a:pPr lvl="0"/>
            <a:r>
              <a:rPr lang="en-US" dirty="0"/>
              <a:t>Enter Name</a:t>
            </a:r>
          </a:p>
        </p:txBody>
      </p:sp>
      <p:sp>
        <p:nvSpPr>
          <p:cNvPr id="51" name="Text Placeholder 10"/>
          <p:cNvSpPr>
            <a:spLocks noGrp="1"/>
          </p:cNvSpPr>
          <p:nvPr>
            <p:ph type="body" sz="quarter" idx="22" hasCustomPrompt="1"/>
          </p:nvPr>
        </p:nvSpPr>
        <p:spPr>
          <a:xfrm>
            <a:off x="3198596" y="2996030"/>
            <a:ext cx="1200150" cy="161825"/>
          </a:xfrm>
        </p:spPr>
        <p:txBody>
          <a:bodyPr>
            <a:noAutofit/>
          </a:bodyPr>
          <a:lstStyle>
            <a:lvl1pPr marL="0" indent="0">
              <a:buNone/>
              <a:defRPr sz="800" baseline="0">
                <a:solidFill>
                  <a:schemeClr val="bg1"/>
                </a:solidFill>
              </a:defRPr>
            </a:lvl1pPr>
          </a:lstStyle>
          <a:p>
            <a:pPr lvl="0"/>
            <a:r>
              <a:rPr lang="en-US" dirty="0"/>
              <a:t>Job Title</a:t>
            </a:r>
          </a:p>
        </p:txBody>
      </p:sp>
      <p:sp>
        <p:nvSpPr>
          <p:cNvPr id="52" name="Text Placeholder 10"/>
          <p:cNvSpPr>
            <a:spLocks noGrp="1"/>
          </p:cNvSpPr>
          <p:nvPr>
            <p:ph type="body" sz="quarter" idx="23" hasCustomPrompt="1"/>
          </p:nvPr>
        </p:nvSpPr>
        <p:spPr>
          <a:xfrm>
            <a:off x="3198596" y="3294262"/>
            <a:ext cx="1200150" cy="1449188"/>
          </a:xfrm>
        </p:spPr>
        <p:txBody>
          <a:bodyPr>
            <a:normAutofit/>
          </a:bodyPr>
          <a:lstStyle>
            <a:lvl1pPr marL="0" indent="0">
              <a:buNone/>
              <a:defRPr sz="800" baseline="0"/>
            </a:lvl1pPr>
          </a:lstStyle>
          <a:p>
            <a:pPr lvl="0"/>
            <a:r>
              <a:rPr lang="en-US" dirty="0"/>
              <a:t>Background/Client experience</a:t>
            </a:r>
          </a:p>
        </p:txBody>
      </p:sp>
      <p:sp>
        <p:nvSpPr>
          <p:cNvPr id="53" name="Rectangle 52"/>
          <p:cNvSpPr/>
          <p:nvPr userDrawn="1"/>
        </p:nvSpPr>
        <p:spPr>
          <a:xfrm>
            <a:off x="4622533" y="925998"/>
            <a:ext cx="1314450" cy="3874602"/>
          </a:xfrm>
          <a:prstGeom prst="rect">
            <a:avLst/>
          </a:prstGeom>
          <a:solidFill>
            <a:schemeClr val="bg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54" name="Rectangle 53"/>
          <p:cNvSpPr/>
          <p:nvPr userDrawn="1"/>
        </p:nvSpPr>
        <p:spPr>
          <a:xfrm>
            <a:off x="4622533" y="2697648"/>
            <a:ext cx="1314450" cy="52397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55" name="Picture Placeholder 5"/>
          <p:cNvSpPr>
            <a:spLocks noGrp="1"/>
          </p:cNvSpPr>
          <p:nvPr>
            <p:ph type="pic" sz="quarter" idx="24"/>
          </p:nvPr>
        </p:nvSpPr>
        <p:spPr>
          <a:xfrm>
            <a:off x="4622533" y="925998"/>
            <a:ext cx="1314450" cy="1771650"/>
          </a:xfrm>
          <a:solidFill>
            <a:schemeClr val="tx2">
              <a:lumMod val="75000"/>
            </a:schemeClr>
          </a:solidFill>
          <a:ln>
            <a:noFill/>
          </a:ln>
        </p:spPr>
        <p:txBody>
          <a:bodyPr>
            <a:normAutofit/>
          </a:bodyPr>
          <a:lstStyle>
            <a:lvl1pPr marL="0" indent="0" algn="ctr">
              <a:buNone/>
              <a:defRPr sz="1100"/>
            </a:lvl1pPr>
          </a:lstStyle>
          <a:p>
            <a:endParaRPr lang="en-US"/>
          </a:p>
        </p:txBody>
      </p:sp>
      <p:sp>
        <p:nvSpPr>
          <p:cNvPr id="56" name="Text Placeholder 10"/>
          <p:cNvSpPr>
            <a:spLocks noGrp="1"/>
          </p:cNvSpPr>
          <p:nvPr>
            <p:ph type="body" sz="quarter" idx="25" hasCustomPrompt="1"/>
          </p:nvPr>
        </p:nvSpPr>
        <p:spPr>
          <a:xfrm>
            <a:off x="4679683" y="2770287"/>
            <a:ext cx="1200150" cy="228600"/>
          </a:xfrm>
        </p:spPr>
        <p:txBody>
          <a:bodyPr>
            <a:normAutofit/>
          </a:bodyPr>
          <a:lstStyle>
            <a:lvl1pPr marL="0" indent="0">
              <a:buNone/>
              <a:defRPr sz="900" b="1" baseline="0">
                <a:solidFill>
                  <a:schemeClr val="accent1"/>
                </a:solidFill>
              </a:defRPr>
            </a:lvl1pPr>
          </a:lstStyle>
          <a:p>
            <a:pPr lvl="0"/>
            <a:r>
              <a:rPr lang="en-US" dirty="0"/>
              <a:t>Enter Name</a:t>
            </a:r>
          </a:p>
        </p:txBody>
      </p:sp>
      <p:sp>
        <p:nvSpPr>
          <p:cNvPr id="57" name="Text Placeholder 10"/>
          <p:cNvSpPr>
            <a:spLocks noGrp="1"/>
          </p:cNvSpPr>
          <p:nvPr>
            <p:ph type="body" sz="quarter" idx="26" hasCustomPrompt="1"/>
          </p:nvPr>
        </p:nvSpPr>
        <p:spPr>
          <a:xfrm>
            <a:off x="4679683" y="2996030"/>
            <a:ext cx="1200150" cy="161825"/>
          </a:xfrm>
        </p:spPr>
        <p:txBody>
          <a:bodyPr>
            <a:noAutofit/>
          </a:bodyPr>
          <a:lstStyle>
            <a:lvl1pPr marL="0" indent="0">
              <a:buNone/>
              <a:defRPr sz="800" baseline="0">
                <a:solidFill>
                  <a:schemeClr val="bg1"/>
                </a:solidFill>
              </a:defRPr>
            </a:lvl1pPr>
          </a:lstStyle>
          <a:p>
            <a:pPr lvl="0"/>
            <a:r>
              <a:rPr lang="en-US" dirty="0"/>
              <a:t>Job Title</a:t>
            </a:r>
          </a:p>
        </p:txBody>
      </p:sp>
      <p:sp>
        <p:nvSpPr>
          <p:cNvPr id="58" name="Text Placeholder 10"/>
          <p:cNvSpPr>
            <a:spLocks noGrp="1"/>
          </p:cNvSpPr>
          <p:nvPr>
            <p:ph type="body" sz="quarter" idx="27" hasCustomPrompt="1"/>
          </p:nvPr>
        </p:nvSpPr>
        <p:spPr>
          <a:xfrm>
            <a:off x="4679683" y="3294262"/>
            <a:ext cx="1200150" cy="1449188"/>
          </a:xfrm>
        </p:spPr>
        <p:txBody>
          <a:bodyPr>
            <a:normAutofit/>
          </a:bodyPr>
          <a:lstStyle>
            <a:lvl1pPr marL="0" indent="0">
              <a:buNone/>
              <a:defRPr sz="800" baseline="0"/>
            </a:lvl1pPr>
          </a:lstStyle>
          <a:p>
            <a:pPr lvl="0"/>
            <a:r>
              <a:rPr lang="en-US" dirty="0"/>
              <a:t>Background/Client experience</a:t>
            </a:r>
          </a:p>
        </p:txBody>
      </p:sp>
      <p:sp>
        <p:nvSpPr>
          <p:cNvPr id="59" name="Rectangle 58"/>
          <p:cNvSpPr/>
          <p:nvPr userDrawn="1"/>
        </p:nvSpPr>
        <p:spPr>
          <a:xfrm>
            <a:off x="6103620" y="925998"/>
            <a:ext cx="1314450" cy="3874602"/>
          </a:xfrm>
          <a:prstGeom prst="rect">
            <a:avLst/>
          </a:prstGeom>
          <a:solidFill>
            <a:schemeClr val="bg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60" name="Rectangle 59"/>
          <p:cNvSpPr/>
          <p:nvPr userDrawn="1"/>
        </p:nvSpPr>
        <p:spPr>
          <a:xfrm>
            <a:off x="6103620" y="2697648"/>
            <a:ext cx="1314450" cy="52397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61" name="Picture Placeholder 5"/>
          <p:cNvSpPr>
            <a:spLocks noGrp="1"/>
          </p:cNvSpPr>
          <p:nvPr>
            <p:ph type="pic" sz="quarter" idx="28"/>
          </p:nvPr>
        </p:nvSpPr>
        <p:spPr>
          <a:xfrm>
            <a:off x="6103620" y="925998"/>
            <a:ext cx="1314450" cy="1771650"/>
          </a:xfrm>
          <a:solidFill>
            <a:schemeClr val="tx2">
              <a:lumMod val="75000"/>
            </a:schemeClr>
          </a:solidFill>
          <a:ln>
            <a:noFill/>
          </a:ln>
        </p:spPr>
        <p:txBody>
          <a:bodyPr>
            <a:normAutofit/>
          </a:bodyPr>
          <a:lstStyle>
            <a:lvl1pPr marL="0" indent="0" algn="ctr">
              <a:buNone/>
              <a:defRPr sz="1100"/>
            </a:lvl1pPr>
          </a:lstStyle>
          <a:p>
            <a:endParaRPr lang="en-US"/>
          </a:p>
        </p:txBody>
      </p:sp>
      <p:sp>
        <p:nvSpPr>
          <p:cNvPr id="62" name="Text Placeholder 10"/>
          <p:cNvSpPr>
            <a:spLocks noGrp="1"/>
          </p:cNvSpPr>
          <p:nvPr>
            <p:ph type="body" sz="quarter" idx="29" hasCustomPrompt="1"/>
          </p:nvPr>
        </p:nvSpPr>
        <p:spPr>
          <a:xfrm>
            <a:off x="6160770" y="2770287"/>
            <a:ext cx="1200150" cy="228600"/>
          </a:xfrm>
        </p:spPr>
        <p:txBody>
          <a:bodyPr>
            <a:normAutofit/>
          </a:bodyPr>
          <a:lstStyle>
            <a:lvl1pPr marL="0" indent="0">
              <a:buNone/>
              <a:defRPr sz="900" b="1" baseline="0">
                <a:solidFill>
                  <a:schemeClr val="accent1"/>
                </a:solidFill>
              </a:defRPr>
            </a:lvl1pPr>
          </a:lstStyle>
          <a:p>
            <a:pPr lvl="0"/>
            <a:r>
              <a:rPr lang="en-US" dirty="0"/>
              <a:t>Enter Name</a:t>
            </a:r>
          </a:p>
        </p:txBody>
      </p:sp>
      <p:sp>
        <p:nvSpPr>
          <p:cNvPr id="63" name="Text Placeholder 10"/>
          <p:cNvSpPr>
            <a:spLocks noGrp="1"/>
          </p:cNvSpPr>
          <p:nvPr>
            <p:ph type="body" sz="quarter" idx="30" hasCustomPrompt="1"/>
          </p:nvPr>
        </p:nvSpPr>
        <p:spPr>
          <a:xfrm>
            <a:off x="6160770" y="2996030"/>
            <a:ext cx="1200150" cy="161825"/>
          </a:xfrm>
        </p:spPr>
        <p:txBody>
          <a:bodyPr>
            <a:noAutofit/>
          </a:bodyPr>
          <a:lstStyle>
            <a:lvl1pPr marL="0" indent="0">
              <a:buNone/>
              <a:defRPr sz="800" baseline="0">
                <a:solidFill>
                  <a:schemeClr val="bg1"/>
                </a:solidFill>
              </a:defRPr>
            </a:lvl1pPr>
          </a:lstStyle>
          <a:p>
            <a:pPr lvl="0"/>
            <a:r>
              <a:rPr lang="en-US" dirty="0"/>
              <a:t>Job Title</a:t>
            </a:r>
          </a:p>
        </p:txBody>
      </p:sp>
      <p:sp>
        <p:nvSpPr>
          <p:cNvPr id="64" name="Text Placeholder 10"/>
          <p:cNvSpPr>
            <a:spLocks noGrp="1"/>
          </p:cNvSpPr>
          <p:nvPr>
            <p:ph type="body" sz="quarter" idx="31" hasCustomPrompt="1"/>
          </p:nvPr>
        </p:nvSpPr>
        <p:spPr>
          <a:xfrm>
            <a:off x="6160770" y="3294262"/>
            <a:ext cx="1200150" cy="1449188"/>
          </a:xfrm>
        </p:spPr>
        <p:txBody>
          <a:bodyPr>
            <a:normAutofit/>
          </a:bodyPr>
          <a:lstStyle>
            <a:lvl1pPr marL="0" indent="0">
              <a:buNone/>
              <a:defRPr sz="800" baseline="0"/>
            </a:lvl1pPr>
          </a:lstStyle>
          <a:p>
            <a:pPr lvl="0"/>
            <a:r>
              <a:rPr lang="en-US" dirty="0"/>
              <a:t>Background/Client experience</a:t>
            </a:r>
          </a:p>
        </p:txBody>
      </p:sp>
      <p:sp>
        <p:nvSpPr>
          <p:cNvPr id="65" name="Rectangle 64"/>
          <p:cNvSpPr/>
          <p:nvPr userDrawn="1"/>
        </p:nvSpPr>
        <p:spPr>
          <a:xfrm>
            <a:off x="7600950" y="925998"/>
            <a:ext cx="1314450" cy="3874602"/>
          </a:xfrm>
          <a:prstGeom prst="rect">
            <a:avLst/>
          </a:prstGeom>
          <a:solidFill>
            <a:schemeClr val="bg2">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66" name="Rectangle 65"/>
          <p:cNvSpPr/>
          <p:nvPr userDrawn="1"/>
        </p:nvSpPr>
        <p:spPr>
          <a:xfrm>
            <a:off x="7600950" y="2697648"/>
            <a:ext cx="1314450" cy="52397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67" name="Picture Placeholder 5"/>
          <p:cNvSpPr>
            <a:spLocks noGrp="1"/>
          </p:cNvSpPr>
          <p:nvPr>
            <p:ph type="pic" sz="quarter" idx="32"/>
          </p:nvPr>
        </p:nvSpPr>
        <p:spPr>
          <a:xfrm>
            <a:off x="7600950" y="925998"/>
            <a:ext cx="1314450" cy="1771650"/>
          </a:xfrm>
          <a:solidFill>
            <a:schemeClr val="tx2">
              <a:lumMod val="75000"/>
            </a:schemeClr>
          </a:solidFill>
          <a:ln>
            <a:noFill/>
          </a:ln>
        </p:spPr>
        <p:txBody>
          <a:bodyPr>
            <a:normAutofit/>
          </a:bodyPr>
          <a:lstStyle>
            <a:lvl1pPr marL="0" indent="0" algn="ctr">
              <a:buNone/>
              <a:defRPr sz="1100"/>
            </a:lvl1pPr>
          </a:lstStyle>
          <a:p>
            <a:endParaRPr lang="en-US"/>
          </a:p>
        </p:txBody>
      </p:sp>
      <p:sp>
        <p:nvSpPr>
          <p:cNvPr id="68" name="Text Placeholder 10"/>
          <p:cNvSpPr>
            <a:spLocks noGrp="1"/>
          </p:cNvSpPr>
          <p:nvPr>
            <p:ph type="body" sz="quarter" idx="33" hasCustomPrompt="1"/>
          </p:nvPr>
        </p:nvSpPr>
        <p:spPr>
          <a:xfrm>
            <a:off x="7658100" y="2770287"/>
            <a:ext cx="1200150" cy="228600"/>
          </a:xfrm>
        </p:spPr>
        <p:txBody>
          <a:bodyPr>
            <a:normAutofit/>
          </a:bodyPr>
          <a:lstStyle>
            <a:lvl1pPr marL="0" indent="0">
              <a:buNone/>
              <a:defRPr sz="900" b="1" baseline="0">
                <a:solidFill>
                  <a:schemeClr val="accent1"/>
                </a:solidFill>
              </a:defRPr>
            </a:lvl1pPr>
          </a:lstStyle>
          <a:p>
            <a:pPr lvl="0"/>
            <a:r>
              <a:rPr lang="en-US" dirty="0"/>
              <a:t>Enter Name</a:t>
            </a:r>
          </a:p>
        </p:txBody>
      </p:sp>
      <p:sp>
        <p:nvSpPr>
          <p:cNvPr id="69" name="Text Placeholder 10"/>
          <p:cNvSpPr>
            <a:spLocks noGrp="1"/>
          </p:cNvSpPr>
          <p:nvPr>
            <p:ph type="body" sz="quarter" idx="34" hasCustomPrompt="1"/>
          </p:nvPr>
        </p:nvSpPr>
        <p:spPr>
          <a:xfrm>
            <a:off x="7658100" y="2996030"/>
            <a:ext cx="1200150" cy="161825"/>
          </a:xfrm>
        </p:spPr>
        <p:txBody>
          <a:bodyPr>
            <a:noAutofit/>
          </a:bodyPr>
          <a:lstStyle>
            <a:lvl1pPr marL="0" indent="0">
              <a:buNone/>
              <a:defRPr sz="800" baseline="0">
                <a:solidFill>
                  <a:schemeClr val="bg1"/>
                </a:solidFill>
              </a:defRPr>
            </a:lvl1pPr>
          </a:lstStyle>
          <a:p>
            <a:pPr lvl="0"/>
            <a:r>
              <a:rPr lang="en-US" dirty="0"/>
              <a:t>Job Title</a:t>
            </a:r>
          </a:p>
        </p:txBody>
      </p:sp>
      <p:sp>
        <p:nvSpPr>
          <p:cNvPr id="70" name="Text Placeholder 10"/>
          <p:cNvSpPr>
            <a:spLocks noGrp="1"/>
          </p:cNvSpPr>
          <p:nvPr>
            <p:ph type="body" sz="quarter" idx="35" hasCustomPrompt="1"/>
          </p:nvPr>
        </p:nvSpPr>
        <p:spPr>
          <a:xfrm>
            <a:off x="7658100" y="3294262"/>
            <a:ext cx="1200150" cy="1449188"/>
          </a:xfrm>
        </p:spPr>
        <p:txBody>
          <a:bodyPr>
            <a:normAutofit/>
          </a:bodyPr>
          <a:lstStyle>
            <a:lvl1pPr marL="0" indent="0">
              <a:buNone/>
              <a:defRPr sz="800" baseline="0"/>
            </a:lvl1pPr>
          </a:lstStyle>
          <a:p>
            <a:pPr lvl="0"/>
            <a:r>
              <a:rPr lang="en-US" dirty="0"/>
              <a:t>Background/Client experience</a:t>
            </a:r>
          </a:p>
        </p:txBody>
      </p:sp>
    </p:spTree>
    <p:extLst>
      <p:ext uri="{BB962C8B-B14F-4D97-AF65-F5344CB8AC3E}">
        <p14:creationId xmlns:p14="http://schemas.microsoft.com/office/powerpoint/2010/main" val="2330978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1_Basic text and visual layou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D842CEBD-3D97-1444-92B6-DB2DBE1B8E7B}" type="slidenum">
              <a:rPr lang="en-US" smtClean="0">
                <a:solidFill>
                  <a:srgbClr val="FFFFFF"/>
                </a:solidFill>
              </a:rPr>
              <a:pPr/>
              <a:t>‹#›</a:t>
            </a:fld>
            <a:endParaRPr lang="en-US">
              <a:solidFill>
                <a:srgbClr val="FFFFFF"/>
              </a:solidFill>
            </a:endParaRPr>
          </a:p>
        </p:txBody>
      </p:sp>
      <p:sp>
        <p:nvSpPr>
          <p:cNvPr id="6" name="Content Placeholder 5"/>
          <p:cNvSpPr>
            <a:spLocks noGrp="1"/>
          </p:cNvSpPr>
          <p:nvPr>
            <p:ph sz="quarter" idx="12"/>
          </p:nvPr>
        </p:nvSpPr>
        <p:spPr>
          <a:xfrm>
            <a:off x="4572000" y="942975"/>
            <a:ext cx="4229101" cy="37719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Picture Placeholder 6"/>
          <p:cNvSpPr>
            <a:spLocks noGrp="1"/>
          </p:cNvSpPr>
          <p:nvPr>
            <p:ph type="pic" sz="quarter" idx="13"/>
          </p:nvPr>
        </p:nvSpPr>
        <p:spPr>
          <a:xfrm>
            <a:off x="0" y="685800"/>
            <a:ext cx="4229100" cy="4457700"/>
          </a:xfrm>
          <a:solidFill>
            <a:schemeClr val="bg1"/>
          </a:solidFill>
        </p:spPr>
        <p:txBody>
          <a:bodyPr>
            <a:normAutofit/>
          </a:bodyPr>
          <a:lstStyle>
            <a:lvl1pPr marL="0" indent="0" algn="ctr">
              <a:buNone/>
              <a:defRPr sz="1100">
                <a:solidFill>
                  <a:schemeClr val="accent1"/>
                </a:solidFill>
              </a:defRPr>
            </a:lvl1pPr>
          </a:lstStyle>
          <a:p>
            <a:endParaRPr lang="en-US"/>
          </a:p>
        </p:txBody>
      </p:sp>
    </p:spTree>
    <p:extLst>
      <p:ext uri="{BB962C8B-B14F-4D97-AF65-F5344CB8AC3E}">
        <p14:creationId xmlns:p14="http://schemas.microsoft.com/office/powerpoint/2010/main" val="26703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2_Basic text and 2 visual layou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D842CEBD-3D97-1444-92B6-DB2DBE1B8E7B}" type="slidenum">
              <a:rPr lang="en-US" smtClean="0">
                <a:solidFill>
                  <a:srgbClr val="FFFFFF"/>
                </a:solidFill>
              </a:rPr>
              <a:pPr/>
              <a:t>‹#›</a:t>
            </a:fld>
            <a:endParaRPr lang="en-US">
              <a:solidFill>
                <a:srgbClr val="FFFFFF"/>
              </a:solidFill>
            </a:endParaRPr>
          </a:p>
        </p:txBody>
      </p:sp>
      <p:sp>
        <p:nvSpPr>
          <p:cNvPr id="6" name="Content Placeholder 5"/>
          <p:cNvSpPr>
            <a:spLocks noGrp="1"/>
          </p:cNvSpPr>
          <p:nvPr>
            <p:ph sz="quarter" idx="12"/>
          </p:nvPr>
        </p:nvSpPr>
        <p:spPr>
          <a:xfrm>
            <a:off x="171450" y="942975"/>
            <a:ext cx="4229101" cy="37719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Picture Placeholder 6"/>
          <p:cNvSpPr>
            <a:spLocks noGrp="1"/>
          </p:cNvSpPr>
          <p:nvPr>
            <p:ph type="pic" sz="quarter" idx="13"/>
          </p:nvPr>
        </p:nvSpPr>
        <p:spPr>
          <a:xfrm>
            <a:off x="4743450" y="942975"/>
            <a:ext cx="4229100" cy="1771650"/>
          </a:xfrm>
          <a:solidFill>
            <a:schemeClr val="bg1"/>
          </a:solidFill>
        </p:spPr>
        <p:txBody>
          <a:bodyPr>
            <a:normAutofit/>
          </a:bodyPr>
          <a:lstStyle>
            <a:lvl1pPr marL="0" indent="0" algn="ctr">
              <a:buNone/>
              <a:defRPr sz="1100">
                <a:solidFill>
                  <a:schemeClr val="accent1"/>
                </a:solidFill>
              </a:defRPr>
            </a:lvl1pPr>
          </a:lstStyle>
          <a:p>
            <a:endParaRPr lang="en-US"/>
          </a:p>
        </p:txBody>
      </p:sp>
      <p:sp>
        <p:nvSpPr>
          <p:cNvPr id="8" name="Picture Placeholder 6"/>
          <p:cNvSpPr>
            <a:spLocks noGrp="1"/>
          </p:cNvSpPr>
          <p:nvPr>
            <p:ph type="pic" sz="quarter" idx="14"/>
          </p:nvPr>
        </p:nvSpPr>
        <p:spPr>
          <a:xfrm>
            <a:off x="4743450" y="2943225"/>
            <a:ext cx="4229100" cy="1771650"/>
          </a:xfrm>
          <a:solidFill>
            <a:schemeClr val="bg1"/>
          </a:solidFill>
        </p:spPr>
        <p:txBody>
          <a:bodyPr>
            <a:normAutofit/>
          </a:bodyPr>
          <a:lstStyle>
            <a:lvl1pPr marL="0" indent="0" algn="ctr">
              <a:buNone/>
              <a:defRPr sz="1100">
                <a:solidFill>
                  <a:schemeClr val="accent1"/>
                </a:solidFill>
              </a:defRPr>
            </a:lvl1pPr>
          </a:lstStyle>
          <a:p>
            <a:endParaRPr lang="en-US"/>
          </a:p>
        </p:txBody>
      </p:sp>
    </p:spTree>
    <p:extLst>
      <p:ext uri="{BB962C8B-B14F-4D97-AF65-F5344CB8AC3E}">
        <p14:creationId xmlns:p14="http://schemas.microsoft.com/office/powerpoint/2010/main" val="1026632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3_Basic text and 2 visual layou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D842CEBD-3D97-1444-92B6-DB2DBE1B8E7B}" type="slidenum">
              <a:rPr lang="en-US" smtClean="0">
                <a:solidFill>
                  <a:srgbClr val="FFFFFF"/>
                </a:solidFill>
              </a:rPr>
              <a:pPr/>
              <a:t>‹#›</a:t>
            </a:fld>
            <a:endParaRPr lang="en-US">
              <a:solidFill>
                <a:srgbClr val="FFFFFF"/>
              </a:solidFill>
            </a:endParaRPr>
          </a:p>
        </p:txBody>
      </p:sp>
      <p:sp>
        <p:nvSpPr>
          <p:cNvPr id="6" name="Content Placeholder 5"/>
          <p:cNvSpPr>
            <a:spLocks noGrp="1"/>
          </p:cNvSpPr>
          <p:nvPr>
            <p:ph sz="quarter" idx="12"/>
          </p:nvPr>
        </p:nvSpPr>
        <p:spPr>
          <a:xfrm>
            <a:off x="171450" y="942975"/>
            <a:ext cx="4229101" cy="37719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Picture Placeholder 6"/>
          <p:cNvSpPr>
            <a:spLocks noGrp="1"/>
          </p:cNvSpPr>
          <p:nvPr>
            <p:ph type="pic" sz="quarter" idx="13"/>
          </p:nvPr>
        </p:nvSpPr>
        <p:spPr>
          <a:xfrm>
            <a:off x="4743450" y="942975"/>
            <a:ext cx="2028825" cy="3771900"/>
          </a:xfrm>
          <a:solidFill>
            <a:schemeClr val="bg1"/>
          </a:solidFill>
        </p:spPr>
        <p:txBody>
          <a:bodyPr>
            <a:normAutofit/>
          </a:bodyPr>
          <a:lstStyle>
            <a:lvl1pPr marL="0" indent="0" algn="ctr">
              <a:buNone/>
              <a:defRPr sz="1100">
                <a:solidFill>
                  <a:schemeClr val="accent1"/>
                </a:solidFill>
              </a:defRPr>
            </a:lvl1pPr>
          </a:lstStyle>
          <a:p>
            <a:endParaRPr lang="en-US"/>
          </a:p>
        </p:txBody>
      </p:sp>
      <p:sp>
        <p:nvSpPr>
          <p:cNvPr id="9" name="Picture Placeholder 6"/>
          <p:cNvSpPr>
            <a:spLocks noGrp="1"/>
          </p:cNvSpPr>
          <p:nvPr>
            <p:ph type="pic" sz="quarter" idx="14"/>
          </p:nvPr>
        </p:nvSpPr>
        <p:spPr>
          <a:xfrm>
            <a:off x="6943725" y="942975"/>
            <a:ext cx="2028825" cy="3771900"/>
          </a:xfrm>
          <a:solidFill>
            <a:schemeClr val="bg1"/>
          </a:solidFill>
        </p:spPr>
        <p:txBody>
          <a:bodyPr>
            <a:normAutofit/>
          </a:bodyPr>
          <a:lstStyle>
            <a:lvl1pPr marL="0" indent="0" algn="ctr">
              <a:buNone/>
              <a:defRPr sz="1100">
                <a:solidFill>
                  <a:schemeClr val="accent1"/>
                </a:solidFill>
              </a:defRPr>
            </a:lvl1pPr>
          </a:lstStyle>
          <a:p>
            <a:endParaRPr lang="en-US"/>
          </a:p>
        </p:txBody>
      </p:sp>
    </p:spTree>
    <p:extLst>
      <p:ext uri="{BB962C8B-B14F-4D97-AF65-F5344CB8AC3E}">
        <p14:creationId xmlns:p14="http://schemas.microsoft.com/office/powerpoint/2010/main" val="12981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1_Basic text and 3 visual layou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D842CEBD-3D97-1444-92B6-DB2DBE1B8E7B}" type="slidenum">
              <a:rPr lang="en-US" smtClean="0">
                <a:solidFill>
                  <a:srgbClr val="FFFFFF"/>
                </a:solidFill>
              </a:rPr>
              <a:pPr/>
              <a:t>‹#›</a:t>
            </a:fld>
            <a:endParaRPr lang="en-US">
              <a:solidFill>
                <a:srgbClr val="FFFFFF"/>
              </a:solidFill>
            </a:endParaRPr>
          </a:p>
        </p:txBody>
      </p:sp>
      <p:sp>
        <p:nvSpPr>
          <p:cNvPr id="6" name="Content Placeholder 5"/>
          <p:cNvSpPr>
            <a:spLocks noGrp="1"/>
          </p:cNvSpPr>
          <p:nvPr>
            <p:ph sz="quarter" idx="12"/>
          </p:nvPr>
        </p:nvSpPr>
        <p:spPr>
          <a:xfrm>
            <a:off x="171450" y="942975"/>
            <a:ext cx="4229101" cy="37719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Picture Placeholder 6"/>
          <p:cNvSpPr>
            <a:spLocks noGrp="1"/>
          </p:cNvSpPr>
          <p:nvPr>
            <p:ph type="pic" sz="quarter" idx="13"/>
          </p:nvPr>
        </p:nvSpPr>
        <p:spPr>
          <a:xfrm>
            <a:off x="4743450" y="942975"/>
            <a:ext cx="2028825" cy="1771650"/>
          </a:xfrm>
          <a:solidFill>
            <a:schemeClr val="bg1"/>
          </a:solidFill>
        </p:spPr>
        <p:txBody>
          <a:bodyPr>
            <a:normAutofit/>
          </a:bodyPr>
          <a:lstStyle>
            <a:lvl1pPr marL="0" indent="0" algn="ctr">
              <a:buNone/>
              <a:defRPr sz="1100">
                <a:solidFill>
                  <a:schemeClr val="accent1"/>
                </a:solidFill>
              </a:defRPr>
            </a:lvl1pPr>
          </a:lstStyle>
          <a:p>
            <a:endParaRPr lang="en-US"/>
          </a:p>
        </p:txBody>
      </p:sp>
      <p:sp>
        <p:nvSpPr>
          <p:cNvPr id="9" name="Picture Placeholder 6"/>
          <p:cNvSpPr>
            <a:spLocks noGrp="1"/>
          </p:cNvSpPr>
          <p:nvPr>
            <p:ph type="pic" sz="quarter" idx="14"/>
          </p:nvPr>
        </p:nvSpPr>
        <p:spPr>
          <a:xfrm>
            <a:off x="6943725" y="942975"/>
            <a:ext cx="2028825" cy="3771900"/>
          </a:xfrm>
          <a:solidFill>
            <a:schemeClr val="bg1"/>
          </a:solidFill>
        </p:spPr>
        <p:txBody>
          <a:bodyPr>
            <a:normAutofit/>
          </a:bodyPr>
          <a:lstStyle>
            <a:lvl1pPr marL="0" indent="0" algn="ctr">
              <a:buNone/>
              <a:defRPr sz="1100">
                <a:solidFill>
                  <a:schemeClr val="accent1"/>
                </a:solidFill>
              </a:defRPr>
            </a:lvl1pPr>
          </a:lstStyle>
          <a:p>
            <a:endParaRPr lang="en-US"/>
          </a:p>
        </p:txBody>
      </p:sp>
      <p:sp>
        <p:nvSpPr>
          <p:cNvPr id="8" name="Picture Placeholder 6"/>
          <p:cNvSpPr>
            <a:spLocks noGrp="1"/>
          </p:cNvSpPr>
          <p:nvPr>
            <p:ph type="pic" sz="quarter" idx="15"/>
          </p:nvPr>
        </p:nvSpPr>
        <p:spPr>
          <a:xfrm>
            <a:off x="4743450" y="2914650"/>
            <a:ext cx="2028825" cy="1800225"/>
          </a:xfrm>
          <a:solidFill>
            <a:schemeClr val="bg1"/>
          </a:solidFill>
        </p:spPr>
        <p:txBody>
          <a:bodyPr>
            <a:normAutofit/>
          </a:bodyPr>
          <a:lstStyle>
            <a:lvl1pPr marL="0" indent="0" algn="ctr">
              <a:buNone/>
              <a:defRPr sz="1100">
                <a:solidFill>
                  <a:schemeClr val="accent1"/>
                </a:solidFill>
              </a:defRPr>
            </a:lvl1pPr>
          </a:lstStyle>
          <a:p>
            <a:endParaRPr lang="en-US"/>
          </a:p>
        </p:txBody>
      </p:sp>
    </p:spTree>
    <p:extLst>
      <p:ext uri="{BB962C8B-B14F-4D97-AF65-F5344CB8AC3E}">
        <p14:creationId xmlns:p14="http://schemas.microsoft.com/office/powerpoint/2010/main" val="143167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6_Basic text and 3 visual layout">
    <p:bg>
      <p:bgPr>
        <a:solidFill>
          <a:schemeClr val="accent5"/>
        </a:solidFill>
        <a:effectLst/>
      </p:bgPr>
    </p:bg>
    <p:spTree>
      <p:nvGrpSpPr>
        <p:cNvPr id="1" name=""/>
        <p:cNvGrpSpPr/>
        <p:nvPr/>
      </p:nvGrpSpPr>
      <p:grpSpPr>
        <a:xfrm>
          <a:off x="0" y="0"/>
          <a:ext cx="0" cy="0"/>
          <a:chOff x="0" y="0"/>
          <a:chExt cx="0" cy="0"/>
        </a:xfrm>
      </p:grpSpPr>
      <p:sp>
        <p:nvSpPr>
          <p:cNvPr id="9" name="Picture Placeholder 6"/>
          <p:cNvSpPr>
            <a:spLocks noGrp="1"/>
          </p:cNvSpPr>
          <p:nvPr>
            <p:ph type="pic" sz="quarter" idx="14"/>
          </p:nvPr>
        </p:nvSpPr>
        <p:spPr>
          <a:xfrm>
            <a:off x="0" y="0"/>
            <a:ext cx="9144000" cy="5143500"/>
          </a:xfrm>
          <a:solidFill>
            <a:schemeClr val="accent5"/>
          </a:solidFill>
        </p:spPr>
        <p:txBody>
          <a:bodyPr>
            <a:normAutofit/>
          </a:bodyPr>
          <a:lstStyle>
            <a:lvl1pPr marL="0" indent="0" algn="ctr">
              <a:buNone/>
              <a:defRPr sz="1100">
                <a:solidFill>
                  <a:schemeClr val="tx1"/>
                </a:solidFill>
              </a:defRPr>
            </a:lvl1pPr>
          </a:lstStyle>
          <a:p>
            <a:endParaRPr lang="en-US"/>
          </a:p>
        </p:txBody>
      </p:sp>
      <p:sp>
        <p:nvSpPr>
          <p:cNvPr id="2" name="Title 1"/>
          <p:cNvSpPr>
            <a:spLocks noGrp="1"/>
          </p:cNvSpPr>
          <p:nvPr>
            <p:ph type="title" hasCustomPrompt="1"/>
          </p:nvPr>
        </p:nvSpPr>
        <p:spPr/>
        <p:txBody>
          <a:bodyPr/>
          <a:lstStyle>
            <a:lvl1pPr>
              <a:defRPr>
                <a:solidFill>
                  <a:schemeClr val="bg1"/>
                </a:solidFill>
              </a:defRPr>
            </a:lvl1pPr>
          </a:lstStyle>
          <a:p>
            <a:r>
              <a:rPr lang="en-GB" dirty="0"/>
              <a:t>Click To Edit Master Title Style</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D842CEBD-3D97-1444-92B6-DB2DBE1B8E7B}"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940357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2_Basic text and 3 visual layout">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1" y="0"/>
            <a:ext cx="1514474" cy="6858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3" name="Rectangle 22"/>
          <p:cNvSpPr/>
          <p:nvPr userDrawn="1"/>
        </p:nvSpPr>
        <p:spPr>
          <a:xfrm>
            <a:off x="1" y="342901"/>
            <a:ext cx="1514474" cy="344090"/>
          </a:xfrm>
          <a:prstGeom prst="rect">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 name="Title 1"/>
          <p:cNvSpPr>
            <a:spLocks noGrp="1"/>
          </p:cNvSpPr>
          <p:nvPr>
            <p:ph type="title" hasCustomPrompt="1"/>
          </p:nvPr>
        </p:nvSpPr>
        <p:spPr>
          <a:xfrm>
            <a:off x="3371850" y="171450"/>
            <a:ext cx="4800600" cy="342900"/>
          </a:xfrm>
        </p:spPr>
        <p:txBody>
          <a:bodyPr>
            <a:noAutofit/>
          </a:bodyPr>
          <a:lstStyle>
            <a:lvl1pPr>
              <a:defRPr sz="2400" b="0">
                <a:solidFill>
                  <a:schemeClr val="accent2"/>
                </a:solidFill>
              </a:defRPr>
            </a:lvl1pPr>
          </a:lstStyle>
          <a:p>
            <a:r>
              <a:rPr lang="en-GB" dirty="0"/>
              <a:t>Case Study Title</a:t>
            </a:r>
            <a:endParaRPr lang="en-US" dirty="0"/>
          </a:p>
        </p:txBody>
      </p:sp>
      <p:sp>
        <p:nvSpPr>
          <p:cNvPr id="6" name="Content Placeholder 5"/>
          <p:cNvSpPr>
            <a:spLocks noGrp="1"/>
          </p:cNvSpPr>
          <p:nvPr>
            <p:ph sz="quarter" idx="12" hasCustomPrompt="1"/>
          </p:nvPr>
        </p:nvSpPr>
        <p:spPr>
          <a:xfrm>
            <a:off x="171451" y="1314450"/>
            <a:ext cx="1942312" cy="3400425"/>
          </a:xfrm>
        </p:spPr>
        <p:txBody>
          <a:bodyPr>
            <a:normAutofit/>
          </a:bodyPr>
          <a:lstStyle>
            <a:lvl1pPr>
              <a:buClr>
                <a:schemeClr val="bg1"/>
              </a:buClr>
              <a:defRPr sz="1200">
                <a:solidFill>
                  <a:schemeClr val="bg1"/>
                </a:solidFill>
              </a:defRPr>
            </a:lvl1pPr>
            <a:lvl2pPr>
              <a:buClr>
                <a:schemeClr val="bg1"/>
              </a:buClr>
              <a:defRPr sz="1100">
                <a:solidFill>
                  <a:schemeClr val="bg1"/>
                </a:solidFill>
              </a:defRPr>
            </a:lvl2pPr>
          </a:lstStyle>
          <a:p>
            <a:pPr lvl="0"/>
            <a:r>
              <a:rPr lang="en-GB" dirty="0"/>
              <a:t>Enter objectives</a:t>
            </a:r>
          </a:p>
        </p:txBody>
      </p:sp>
      <p:sp>
        <p:nvSpPr>
          <p:cNvPr id="8" name="Picture Placeholder 6"/>
          <p:cNvSpPr>
            <a:spLocks noGrp="1"/>
          </p:cNvSpPr>
          <p:nvPr>
            <p:ph type="pic" sz="quarter" idx="15"/>
          </p:nvPr>
        </p:nvSpPr>
        <p:spPr>
          <a:xfrm>
            <a:off x="6381286" y="685800"/>
            <a:ext cx="2762714" cy="4457700"/>
          </a:xfrm>
          <a:solidFill>
            <a:schemeClr val="bg1"/>
          </a:solidFill>
        </p:spPr>
        <p:txBody>
          <a:bodyPr>
            <a:normAutofit/>
          </a:bodyPr>
          <a:lstStyle>
            <a:lvl1pPr marL="0" indent="0" algn="ctr">
              <a:buNone/>
              <a:defRPr sz="1100">
                <a:solidFill>
                  <a:schemeClr val="tx1"/>
                </a:solidFill>
              </a:defRPr>
            </a:lvl1pPr>
          </a:lstStyle>
          <a:p>
            <a:endParaRPr lang="en-US"/>
          </a:p>
        </p:txBody>
      </p:sp>
      <p:sp>
        <p:nvSpPr>
          <p:cNvPr id="11" name="Rectangle 10"/>
          <p:cNvSpPr/>
          <p:nvPr userDrawn="1"/>
        </p:nvSpPr>
        <p:spPr>
          <a:xfrm>
            <a:off x="1514475" y="0"/>
            <a:ext cx="1685926" cy="6858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13" name="Picture Placeholder 12"/>
          <p:cNvSpPr>
            <a:spLocks noGrp="1"/>
          </p:cNvSpPr>
          <p:nvPr>
            <p:ph type="pic" sz="quarter" idx="16" hasCustomPrompt="1"/>
          </p:nvPr>
        </p:nvSpPr>
        <p:spPr>
          <a:xfrm>
            <a:off x="1628775" y="114300"/>
            <a:ext cx="1428750" cy="457200"/>
          </a:xfrm>
          <a:solidFill>
            <a:schemeClr val="bg1"/>
          </a:solidFill>
        </p:spPr>
        <p:txBody>
          <a:bodyPr>
            <a:normAutofit/>
          </a:bodyPr>
          <a:lstStyle>
            <a:lvl1pPr marL="0" indent="0" algn="ctr">
              <a:buNone/>
              <a:defRPr sz="800"/>
            </a:lvl1pPr>
          </a:lstStyle>
          <a:p>
            <a:r>
              <a:rPr lang="en-US"/>
              <a:t>Client logo</a:t>
            </a:r>
          </a:p>
        </p:txBody>
      </p:sp>
      <p:sp>
        <p:nvSpPr>
          <p:cNvPr id="16" name="Text Placeholder 15"/>
          <p:cNvSpPr>
            <a:spLocks noGrp="1"/>
          </p:cNvSpPr>
          <p:nvPr>
            <p:ph type="body" sz="quarter" idx="17" hasCustomPrompt="1"/>
          </p:nvPr>
        </p:nvSpPr>
        <p:spPr>
          <a:xfrm>
            <a:off x="171450" y="942975"/>
            <a:ext cx="1942312" cy="257175"/>
          </a:xfrm>
          <a:solidFill>
            <a:schemeClr val="bg1">
              <a:alpha val="30000"/>
            </a:schemeClr>
          </a:solidFill>
          <a:ln>
            <a:noFill/>
          </a:ln>
        </p:spPr>
        <p:txBody>
          <a:bodyPr lIns="137160" tIns="0" rIns="0" bIns="0" anchor="ctr" anchorCtr="0"/>
          <a:lstStyle>
            <a:lvl1pPr marL="0" indent="0">
              <a:buNone/>
              <a:defRPr sz="1200" b="1">
                <a:solidFill>
                  <a:schemeClr val="bg1"/>
                </a:solidFill>
              </a:defRPr>
            </a:lvl1pPr>
          </a:lstStyle>
          <a:p>
            <a:pPr lvl="0"/>
            <a:r>
              <a:rPr lang="en-US" dirty="0"/>
              <a:t>Objectives</a:t>
            </a:r>
          </a:p>
        </p:txBody>
      </p:sp>
      <p:sp>
        <p:nvSpPr>
          <p:cNvPr id="17" name="Content Placeholder 5"/>
          <p:cNvSpPr>
            <a:spLocks noGrp="1"/>
          </p:cNvSpPr>
          <p:nvPr>
            <p:ph sz="quarter" idx="18" hasCustomPrompt="1"/>
          </p:nvPr>
        </p:nvSpPr>
        <p:spPr>
          <a:xfrm>
            <a:off x="2241395" y="1314450"/>
            <a:ext cx="1948248" cy="3400425"/>
          </a:xfrm>
        </p:spPr>
        <p:txBody>
          <a:bodyPr>
            <a:normAutofit/>
          </a:bodyPr>
          <a:lstStyle>
            <a:lvl1pPr>
              <a:buClr>
                <a:schemeClr val="bg1"/>
              </a:buClr>
              <a:defRPr sz="1200">
                <a:solidFill>
                  <a:schemeClr val="bg1"/>
                </a:solidFill>
              </a:defRPr>
            </a:lvl1pPr>
            <a:lvl2pPr>
              <a:buClr>
                <a:schemeClr val="bg1"/>
              </a:buClr>
              <a:defRPr sz="1100">
                <a:solidFill>
                  <a:schemeClr val="bg1"/>
                </a:solidFill>
              </a:defRPr>
            </a:lvl2pPr>
          </a:lstStyle>
          <a:p>
            <a:pPr lvl="0"/>
            <a:r>
              <a:rPr lang="en-GB" dirty="0"/>
              <a:t>Enter Execution</a:t>
            </a:r>
          </a:p>
        </p:txBody>
      </p:sp>
      <p:sp>
        <p:nvSpPr>
          <p:cNvPr id="18" name="Text Placeholder 15"/>
          <p:cNvSpPr>
            <a:spLocks noGrp="1"/>
          </p:cNvSpPr>
          <p:nvPr>
            <p:ph type="body" sz="quarter" idx="19" hasCustomPrompt="1"/>
          </p:nvPr>
        </p:nvSpPr>
        <p:spPr>
          <a:xfrm>
            <a:off x="2241396" y="942975"/>
            <a:ext cx="1942312" cy="257175"/>
          </a:xfrm>
          <a:solidFill>
            <a:schemeClr val="bg1">
              <a:alpha val="30000"/>
            </a:schemeClr>
          </a:solidFill>
          <a:ln>
            <a:noFill/>
          </a:ln>
        </p:spPr>
        <p:txBody>
          <a:bodyPr lIns="137160" tIns="0" rIns="0" bIns="0" anchor="ctr" anchorCtr="0"/>
          <a:lstStyle>
            <a:lvl1pPr marL="0" indent="0">
              <a:buNone/>
              <a:defRPr sz="1200" b="1">
                <a:solidFill>
                  <a:schemeClr val="bg1"/>
                </a:solidFill>
              </a:defRPr>
            </a:lvl1pPr>
          </a:lstStyle>
          <a:p>
            <a:pPr lvl="0"/>
            <a:r>
              <a:rPr lang="en-US" dirty="0"/>
              <a:t>Execution</a:t>
            </a:r>
          </a:p>
        </p:txBody>
      </p:sp>
      <p:sp>
        <p:nvSpPr>
          <p:cNvPr id="19" name="Content Placeholder 5"/>
          <p:cNvSpPr>
            <a:spLocks noGrp="1"/>
          </p:cNvSpPr>
          <p:nvPr>
            <p:ph sz="quarter" idx="20" hasCustomPrompt="1"/>
          </p:nvPr>
        </p:nvSpPr>
        <p:spPr>
          <a:xfrm>
            <a:off x="4318065" y="1314450"/>
            <a:ext cx="1936376" cy="3400425"/>
          </a:xfrm>
        </p:spPr>
        <p:txBody>
          <a:bodyPr>
            <a:normAutofit/>
          </a:bodyPr>
          <a:lstStyle>
            <a:lvl1pPr>
              <a:buClr>
                <a:schemeClr val="bg1"/>
              </a:buClr>
              <a:defRPr sz="1200">
                <a:solidFill>
                  <a:schemeClr val="bg1"/>
                </a:solidFill>
              </a:defRPr>
            </a:lvl1pPr>
            <a:lvl2pPr>
              <a:buClr>
                <a:schemeClr val="bg1"/>
              </a:buClr>
              <a:defRPr sz="1100">
                <a:solidFill>
                  <a:schemeClr val="bg1"/>
                </a:solidFill>
              </a:defRPr>
            </a:lvl2pPr>
          </a:lstStyle>
          <a:p>
            <a:pPr lvl="0"/>
            <a:r>
              <a:rPr lang="en-GB" dirty="0"/>
              <a:t>Enter Results</a:t>
            </a:r>
          </a:p>
        </p:txBody>
      </p:sp>
      <p:sp>
        <p:nvSpPr>
          <p:cNvPr id="20" name="Text Placeholder 15"/>
          <p:cNvSpPr>
            <a:spLocks noGrp="1"/>
          </p:cNvSpPr>
          <p:nvPr>
            <p:ph type="body" sz="quarter" idx="21" hasCustomPrompt="1"/>
          </p:nvPr>
        </p:nvSpPr>
        <p:spPr>
          <a:xfrm>
            <a:off x="4311341" y="942975"/>
            <a:ext cx="1942312" cy="257175"/>
          </a:xfrm>
          <a:solidFill>
            <a:schemeClr val="bg1">
              <a:alpha val="30000"/>
            </a:schemeClr>
          </a:solidFill>
          <a:ln>
            <a:noFill/>
          </a:ln>
        </p:spPr>
        <p:txBody>
          <a:bodyPr lIns="137160" tIns="0" rIns="0" bIns="0" anchor="ctr" anchorCtr="0">
            <a:normAutofit/>
          </a:bodyPr>
          <a:lstStyle>
            <a:lvl1pPr marL="0" indent="0">
              <a:buNone/>
              <a:defRPr sz="1200" b="1">
                <a:solidFill>
                  <a:schemeClr val="bg1"/>
                </a:solidFill>
              </a:defRPr>
            </a:lvl1pPr>
          </a:lstStyle>
          <a:p>
            <a:pPr lvl="0"/>
            <a:r>
              <a:rPr lang="en-US" dirty="0"/>
              <a:t>Results</a:t>
            </a:r>
          </a:p>
        </p:txBody>
      </p:sp>
      <p:sp>
        <p:nvSpPr>
          <p:cNvPr id="21" name="Title 1"/>
          <p:cNvSpPr txBox="1">
            <a:spLocks/>
          </p:cNvSpPr>
          <p:nvPr userDrawn="1"/>
        </p:nvSpPr>
        <p:spPr>
          <a:xfrm>
            <a:off x="26752" y="88106"/>
            <a:ext cx="1171575" cy="166688"/>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3200" kern="1200">
                <a:solidFill>
                  <a:schemeClr val="accent1"/>
                </a:solidFill>
                <a:latin typeface="+mj-lt"/>
                <a:ea typeface="+mj-ea"/>
                <a:cs typeface="+mj-cs"/>
              </a:defRPr>
            </a:lvl1pPr>
          </a:lstStyle>
          <a:p>
            <a:pPr algn="ctr" fontAlgn="auto">
              <a:spcAft>
                <a:spcPts val="0"/>
              </a:spcAft>
            </a:pPr>
            <a:r>
              <a:rPr lang="en-GB" sz="1200" b="1">
                <a:solidFill>
                  <a:srgbClr val="FFFFFF"/>
                </a:solidFill>
              </a:rPr>
              <a:t>CASE STUDY</a:t>
            </a:r>
            <a:endParaRPr lang="en-US" sz="1200" b="1">
              <a:solidFill>
                <a:srgbClr val="FFFFFF"/>
              </a:solidFill>
            </a:endParaRPr>
          </a:p>
        </p:txBody>
      </p:sp>
      <p:sp>
        <p:nvSpPr>
          <p:cNvPr id="22" name="Text Placeholder 8"/>
          <p:cNvSpPr>
            <a:spLocks noGrp="1"/>
          </p:cNvSpPr>
          <p:nvPr>
            <p:ph type="body" sz="quarter" idx="22" hasCustomPrompt="1"/>
          </p:nvPr>
        </p:nvSpPr>
        <p:spPr>
          <a:xfrm>
            <a:off x="54058" y="431007"/>
            <a:ext cx="1374692" cy="197644"/>
          </a:xfrm>
        </p:spPr>
        <p:txBody>
          <a:bodyPr>
            <a:noAutofit/>
          </a:bodyPr>
          <a:lstStyle>
            <a:lvl1pPr marL="0" indent="0" algn="l">
              <a:buNone/>
              <a:defRPr sz="1100" b="1">
                <a:solidFill>
                  <a:schemeClr val="bg2"/>
                </a:solidFill>
              </a:defRPr>
            </a:lvl1pPr>
          </a:lstStyle>
          <a:p>
            <a:pPr lvl="0"/>
            <a:r>
              <a:rPr lang="en-US" dirty="0"/>
              <a:t>SECTOR</a:t>
            </a:r>
          </a:p>
        </p:txBody>
      </p:sp>
    </p:spTree>
    <p:extLst>
      <p:ext uri="{BB962C8B-B14F-4D97-AF65-F5344CB8AC3E}">
        <p14:creationId xmlns:p14="http://schemas.microsoft.com/office/powerpoint/2010/main" val="169959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3_Basic text and 3 visual layout">
    <p:bg>
      <p:bgPr>
        <a:solidFill>
          <a:schemeClr val="accent5"/>
        </a:solidFill>
        <a:effectLst/>
      </p:bgPr>
    </p:bg>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171451" y="1314450"/>
            <a:ext cx="1942312" cy="3400425"/>
          </a:xfrm>
        </p:spPr>
        <p:txBody>
          <a:bodyPr>
            <a:normAutofit/>
          </a:bodyPr>
          <a:lstStyle>
            <a:lvl1pPr>
              <a:buClr>
                <a:schemeClr val="bg1"/>
              </a:buClr>
              <a:defRPr sz="1200">
                <a:solidFill>
                  <a:schemeClr val="bg1"/>
                </a:solidFill>
              </a:defRPr>
            </a:lvl1pPr>
            <a:lvl2pPr>
              <a:buClr>
                <a:schemeClr val="bg1"/>
              </a:buClr>
              <a:defRPr sz="1100">
                <a:solidFill>
                  <a:schemeClr val="bg1"/>
                </a:solidFill>
              </a:defRPr>
            </a:lvl2pPr>
          </a:lstStyle>
          <a:p>
            <a:pPr lvl="0"/>
            <a:r>
              <a:rPr lang="en-GB" dirty="0"/>
              <a:t>Enter objectives</a:t>
            </a:r>
          </a:p>
        </p:txBody>
      </p:sp>
      <p:sp>
        <p:nvSpPr>
          <p:cNvPr id="8" name="Picture Placeholder 6"/>
          <p:cNvSpPr>
            <a:spLocks noGrp="1"/>
          </p:cNvSpPr>
          <p:nvPr>
            <p:ph type="pic" sz="quarter" idx="15"/>
          </p:nvPr>
        </p:nvSpPr>
        <p:spPr>
          <a:xfrm>
            <a:off x="6381286" y="685800"/>
            <a:ext cx="2762714" cy="2228850"/>
          </a:xfrm>
          <a:solidFill>
            <a:schemeClr val="bg1"/>
          </a:solidFill>
        </p:spPr>
        <p:txBody>
          <a:bodyPr>
            <a:normAutofit/>
          </a:bodyPr>
          <a:lstStyle>
            <a:lvl1pPr marL="0" indent="0" algn="ctr">
              <a:buNone/>
              <a:defRPr sz="1100">
                <a:solidFill>
                  <a:schemeClr val="tx1"/>
                </a:solidFill>
              </a:defRPr>
            </a:lvl1pPr>
          </a:lstStyle>
          <a:p>
            <a:endParaRPr lang="en-US"/>
          </a:p>
        </p:txBody>
      </p:sp>
      <p:sp>
        <p:nvSpPr>
          <p:cNvPr id="16" name="Text Placeholder 15"/>
          <p:cNvSpPr>
            <a:spLocks noGrp="1"/>
          </p:cNvSpPr>
          <p:nvPr>
            <p:ph type="body" sz="quarter" idx="17" hasCustomPrompt="1"/>
          </p:nvPr>
        </p:nvSpPr>
        <p:spPr>
          <a:xfrm>
            <a:off x="171450" y="942975"/>
            <a:ext cx="1942312" cy="257175"/>
          </a:xfrm>
          <a:solidFill>
            <a:schemeClr val="bg1">
              <a:alpha val="30000"/>
            </a:schemeClr>
          </a:solidFill>
          <a:ln>
            <a:noFill/>
          </a:ln>
        </p:spPr>
        <p:txBody>
          <a:bodyPr lIns="137160" tIns="0" rIns="0" bIns="0" anchor="ctr" anchorCtr="0"/>
          <a:lstStyle>
            <a:lvl1pPr marL="0" indent="0">
              <a:buNone/>
              <a:defRPr sz="1200" b="1">
                <a:solidFill>
                  <a:schemeClr val="bg1"/>
                </a:solidFill>
              </a:defRPr>
            </a:lvl1pPr>
          </a:lstStyle>
          <a:p>
            <a:pPr lvl="0"/>
            <a:r>
              <a:rPr lang="en-US" dirty="0"/>
              <a:t>Objectives</a:t>
            </a:r>
          </a:p>
        </p:txBody>
      </p:sp>
      <p:sp>
        <p:nvSpPr>
          <p:cNvPr id="17" name="Content Placeholder 5"/>
          <p:cNvSpPr>
            <a:spLocks noGrp="1"/>
          </p:cNvSpPr>
          <p:nvPr>
            <p:ph sz="quarter" idx="18" hasCustomPrompt="1"/>
          </p:nvPr>
        </p:nvSpPr>
        <p:spPr>
          <a:xfrm>
            <a:off x="2241395" y="1314450"/>
            <a:ext cx="1948248" cy="3400425"/>
          </a:xfrm>
        </p:spPr>
        <p:txBody>
          <a:bodyPr>
            <a:normAutofit/>
          </a:bodyPr>
          <a:lstStyle>
            <a:lvl1pPr>
              <a:buClr>
                <a:schemeClr val="bg1"/>
              </a:buClr>
              <a:defRPr sz="1200">
                <a:solidFill>
                  <a:schemeClr val="bg1"/>
                </a:solidFill>
              </a:defRPr>
            </a:lvl1pPr>
            <a:lvl2pPr>
              <a:buClr>
                <a:schemeClr val="bg1"/>
              </a:buClr>
              <a:defRPr sz="1100">
                <a:solidFill>
                  <a:schemeClr val="bg1"/>
                </a:solidFill>
              </a:defRPr>
            </a:lvl2pPr>
          </a:lstStyle>
          <a:p>
            <a:pPr lvl="0"/>
            <a:r>
              <a:rPr lang="en-GB" dirty="0"/>
              <a:t>Enter Execution</a:t>
            </a:r>
          </a:p>
        </p:txBody>
      </p:sp>
      <p:sp>
        <p:nvSpPr>
          <p:cNvPr id="18" name="Text Placeholder 15"/>
          <p:cNvSpPr>
            <a:spLocks noGrp="1"/>
          </p:cNvSpPr>
          <p:nvPr>
            <p:ph type="body" sz="quarter" idx="19" hasCustomPrompt="1"/>
          </p:nvPr>
        </p:nvSpPr>
        <p:spPr>
          <a:xfrm>
            <a:off x="2241396" y="942975"/>
            <a:ext cx="1942312" cy="257175"/>
          </a:xfrm>
          <a:solidFill>
            <a:schemeClr val="bg1">
              <a:alpha val="30000"/>
            </a:schemeClr>
          </a:solidFill>
          <a:ln>
            <a:noFill/>
          </a:ln>
        </p:spPr>
        <p:txBody>
          <a:bodyPr lIns="137160" tIns="0" rIns="0" bIns="0" anchor="ctr" anchorCtr="0"/>
          <a:lstStyle>
            <a:lvl1pPr marL="0" indent="0">
              <a:buNone/>
              <a:defRPr sz="1200" b="1">
                <a:solidFill>
                  <a:schemeClr val="bg1"/>
                </a:solidFill>
              </a:defRPr>
            </a:lvl1pPr>
          </a:lstStyle>
          <a:p>
            <a:pPr lvl="0"/>
            <a:r>
              <a:rPr lang="en-US" dirty="0"/>
              <a:t>Execution</a:t>
            </a:r>
          </a:p>
        </p:txBody>
      </p:sp>
      <p:sp>
        <p:nvSpPr>
          <p:cNvPr id="19" name="Content Placeholder 5"/>
          <p:cNvSpPr>
            <a:spLocks noGrp="1"/>
          </p:cNvSpPr>
          <p:nvPr>
            <p:ph sz="quarter" idx="20" hasCustomPrompt="1"/>
          </p:nvPr>
        </p:nvSpPr>
        <p:spPr>
          <a:xfrm>
            <a:off x="4318065" y="1314450"/>
            <a:ext cx="1936376" cy="3400425"/>
          </a:xfrm>
        </p:spPr>
        <p:txBody>
          <a:bodyPr>
            <a:normAutofit/>
          </a:bodyPr>
          <a:lstStyle>
            <a:lvl1pPr>
              <a:buClr>
                <a:schemeClr val="bg1"/>
              </a:buClr>
              <a:defRPr sz="1200">
                <a:solidFill>
                  <a:schemeClr val="bg1"/>
                </a:solidFill>
              </a:defRPr>
            </a:lvl1pPr>
            <a:lvl2pPr>
              <a:buClr>
                <a:schemeClr val="bg1"/>
              </a:buClr>
              <a:defRPr sz="1100">
                <a:solidFill>
                  <a:schemeClr val="bg1"/>
                </a:solidFill>
              </a:defRPr>
            </a:lvl2pPr>
          </a:lstStyle>
          <a:p>
            <a:pPr lvl="0"/>
            <a:r>
              <a:rPr lang="en-GB" dirty="0"/>
              <a:t>Enter Results</a:t>
            </a:r>
          </a:p>
        </p:txBody>
      </p:sp>
      <p:sp>
        <p:nvSpPr>
          <p:cNvPr id="20" name="Text Placeholder 15"/>
          <p:cNvSpPr>
            <a:spLocks noGrp="1"/>
          </p:cNvSpPr>
          <p:nvPr>
            <p:ph type="body" sz="quarter" idx="21" hasCustomPrompt="1"/>
          </p:nvPr>
        </p:nvSpPr>
        <p:spPr>
          <a:xfrm>
            <a:off x="4311341" y="942975"/>
            <a:ext cx="1942312" cy="257175"/>
          </a:xfrm>
          <a:solidFill>
            <a:schemeClr val="bg1">
              <a:alpha val="30000"/>
            </a:schemeClr>
          </a:solidFill>
          <a:ln>
            <a:noFill/>
          </a:ln>
        </p:spPr>
        <p:txBody>
          <a:bodyPr lIns="137160" tIns="0" rIns="0" bIns="0" anchor="ctr" anchorCtr="0">
            <a:normAutofit/>
          </a:bodyPr>
          <a:lstStyle>
            <a:lvl1pPr marL="0" indent="0">
              <a:buNone/>
              <a:defRPr sz="1200" b="1">
                <a:solidFill>
                  <a:schemeClr val="bg1"/>
                </a:solidFill>
              </a:defRPr>
            </a:lvl1pPr>
          </a:lstStyle>
          <a:p>
            <a:pPr lvl="0"/>
            <a:r>
              <a:rPr lang="en-US" dirty="0"/>
              <a:t>Results</a:t>
            </a:r>
          </a:p>
        </p:txBody>
      </p:sp>
      <p:sp>
        <p:nvSpPr>
          <p:cNvPr id="21" name="Picture Placeholder 6"/>
          <p:cNvSpPr>
            <a:spLocks noGrp="1"/>
          </p:cNvSpPr>
          <p:nvPr>
            <p:ph type="pic" sz="quarter" idx="22"/>
          </p:nvPr>
        </p:nvSpPr>
        <p:spPr>
          <a:xfrm>
            <a:off x="6381286" y="2914650"/>
            <a:ext cx="2762714" cy="2228850"/>
          </a:xfrm>
          <a:solidFill>
            <a:schemeClr val="bg1"/>
          </a:solidFill>
        </p:spPr>
        <p:txBody>
          <a:bodyPr>
            <a:normAutofit/>
          </a:bodyPr>
          <a:lstStyle>
            <a:lvl1pPr marL="0" indent="0" algn="ctr">
              <a:buNone/>
              <a:defRPr sz="1100">
                <a:solidFill>
                  <a:schemeClr val="tx1"/>
                </a:solidFill>
              </a:defRPr>
            </a:lvl1pPr>
          </a:lstStyle>
          <a:p>
            <a:endParaRPr lang="en-US"/>
          </a:p>
        </p:txBody>
      </p:sp>
      <p:sp>
        <p:nvSpPr>
          <p:cNvPr id="22" name="Rectangle 21"/>
          <p:cNvSpPr/>
          <p:nvPr userDrawn="1"/>
        </p:nvSpPr>
        <p:spPr>
          <a:xfrm>
            <a:off x="1" y="0"/>
            <a:ext cx="1514474" cy="6858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3" name="Rectangle 22"/>
          <p:cNvSpPr/>
          <p:nvPr userDrawn="1"/>
        </p:nvSpPr>
        <p:spPr>
          <a:xfrm>
            <a:off x="1" y="342901"/>
            <a:ext cx="1514474" cy="344090"/>
          </a:xfrm>
          <a:prstGeom prst="rect">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4" name="Title 1"/>
          <p:cNvSpPr>
            <a:spLocks noGrp="1"/>
          </p:cNvSpPr>
          <p:nvPr>
            <p:ph type="title" hasCustomPrompt="1"/>
          </p:nvPr>
        </p:nvSpPr>
        <p:spPr>
          <a:xfrm>
            <a:off x="3371850" y="171450"/>
            <a:ext cx="4800600" cy="342900"/>
          </a:xfrm>
        </p:spPr>
        <p:txBody>
          <a:bodyPr>
            <a:noAutofit/>
          </a:bodyPr>
          <a:lstStyle>
            <a:lvl1pPr>
              <a:defRPr sz="2400" b="0">
                <a:solidFill>
                  <a:schemeClr val="accent2"/>
                </a:solidFill>
              </a:defRPr>
            </a:lvl1pPr>
          </a:lstStyle>
          <a:p>
            <a:r>
              <a:rPr lang="en-GB" dirty="0"/>
              <a:t>Case Study Title</a:t>
            </a:r>
            <a:endParaRPr lang="en-US" dirty="0"/>
          </a:p>
        </p:txBody>
      </p:sp>
      <p:sp>
        <p:nvSpPr>
          <p:cNvPr id="25" name="Rectangle 24"/>
          <p:cNvSpPr/>
          <p:nvPr userDrawn="1"/>
        </p:nvSpPr>
        <p:spPr>
          <a:xfrm>
            <a:off x="1514475" y="0"/>
            <a:ext cx="1685926" cy="6858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6" name="Picture Placeholder 12"/>
          <p:cNvSpPr>
            <a:spLocks noGrp="1"/>
          </p:cNvSpPr>
          <p:nvPr>
            <p:ph type="pic" sz="quarter" idx="16" hasCustomPrompt="1"/>
          </p:nvPr>
        </p:nvSpPr>
        <p:spPr>
          <a:xfrm>
            <a:off x="1628775" y="114300"/>
            <a:ext cx="1428750" cy="457200"/>
          </a:xfrm>
          <a:solidFill>
            <a:schemeClr val="bg1"/>
          </a:solidFill>
        </p:spPr>
        <p:txBody>
          <a:bodyPr>
            <a:normAutofit/>
          </a:bodyPr>
          <a:lstStyle>
            <a:lvl1pPr marL="0" indent="0" algn="ctr">
              <a:buNone/>
              <a:defRPr sz="800"/>
            </a:lvl1pPr>
          </a:lstStyle>
          <a:p>
            <a:r>
              <a:rPr lang="en-US"/>
              <a:t>Client logo</a:t>
            </a:r>
          </a:p>
        </p:txBody>
      </p:sp>
      <p:sp>
        <p:nvSpPr>
          <p:cNvPr id="27" name="Title 1"/>
          <p:cNvSpPr txBox="1">
            <a:spLocks/>
          </p:cNvSpPr>
          <p:nvPr userDrawn="1"/>
        </p:nvSpPr>
        <p:spPr>
          <a:xfrm>
            <a:off x="26752" y="88106"/>
            <a:ext cx="1171575" cy="166688"/>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3200" kern="1200">
                <a:solidFill>
                  <a:schemeClr val="accent1"/>
                </a:solidFill>
                <a:latin typeface="+mj-lt"/>
                <a:ea typeface="+mj-ea"/>
                <a:cs typeface="+mj-cs"/>
              </a:defRPr>
            </a:lvl1pPr>
          </a:lstStyle>
          <a:p>
            <a:pPr algn="ctr" fontAlgn="auto">
              <a:spcAft>
                <a:spcPts val="0"/>
              </a:spcAft>
            </a:pPr>
            <a:r>
              <a:rPr lang="en-GB" sz="1200" b="1">
                <a:solidFill>
                  <a:srgbClr val="FFFFFF"/>
                </a:solidFill>
              </a:rPr>
              <a:t>CASE STUDY</a:t>
            </a:r>
            <a:endParaRPr lang="en-US" sz="1200" b="1">
              <a:solidFill>
                <a:srgbClr val="FFFFFF"/>
              </a:solidFill>
            </a:endParaRPr>
          </a:p>
        </p:txBody>
      </p:sp>
      <p:sp>
        <p:nvSpPr>
          <p:cNvPr id="28" name="Text Placeholder 8"/>
          <p:cNvSpPr>
            <a:spLocks noGrp="1"/>
          </p:cNvSpPr>
          <p:nvPr>
            <p:ph type="body" sz="quarter" idx="23" hasCustomPrompt="1"/>
          </p:nvPr>
        </p:nvSpPr>
        <p:spPr>
          <a:xfrm>
            <a:off x="54058" y="431007"/>
            <a:ext cx="1374692" cy="197644"/>
          </a:xfrm>
        </p:spPr>
        <p:txBody>
          <a:bodyPr>
            <a:noAutofit/>
          </a:bodyPr>
          <a:lstStyle>
            <a:lvl1pPr marL="0" indent="0" algn="l">
              <a:buNone/>
              <a:defRPr sz="1100" b="1">
                <a:solidFill>
                  <a:schemeClr val="bg2"/>
                </a:solidFill>
              </a:defRPr>
            </a:lvl1pPr>
          </a:lstStyle>
          <a:p>
            <a:pPr lvl="0"/>
            <a:r>
              <a:rPr lang="en-US" dirty="0"/>
              <a:t>SECTOR</a:t>
            </a:r>
          </a:p>
        </p:txBody>
      </p:sp>
    </p:spTree>
    <p:extLst>
      <p:ext uri="{BB962C8B-B14F-4D97-AF65-F5344CB8AC3E}">
        <p14:creationId xmlns:p14="http://schemas.microsoft.com/office/powerpoint/2010/main" val="1782331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4_Basic text and 3 visual layout">
    <p:bg>
      <p:bgPr>
        <a:solidFill>
          <a:schemeClr val="accent5"/>
        </a:solidFill>
        <a:effectLst/>
      </p:bgPr>
    </p:bg>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171451" y="1314451"/>
            <a:ext cx="1942312" cy="1744469"/>
          </a:xfrm>
        </p:spPr>
        <p:txBody>
          <a:bodyPr>
            <a:normAutofit/>
          </a:bodyPr>
          <a:lstStyle>
            <a:lvl1pPr>
              <a:buClr>
                <a:schemeClr val="bg1"/>
              </a:buClr>
              <a:defRPr sz="1200">
                <a:solidFill>
                  <a:schemeClr val="bg1"/>
                </a:solidFill>
              </a:defRPr>
            </a:lvl1pPr>
            <a:lvl2pPr>
              <a:buClr>
                <a:schemeClr val="bg1"/>
              </a:buClr>
              <a:defRPr sz="1100">
                <a:solidFill>
                  <a:schemeClr val="bg1"/>
                </a:solidFill>
              </a:defRPr>
            </a:lvl2pPr>
          </a:lstStyle>
          <a:p>
            <a:pPr lvl="0"/>
            <a:r>
              <a:rPr lang="en-GB" dirty="0"/>
              <a:t>Enter objectives</a:t>
            </a:r>
          </a:p>
        </p:txBody>
      </p:sp>
      <p:sp>
        <p:nvSpPr>
          <p:cNvPr id="8" name="Picture Placeholder 6"/>
          <p:cNvSpPr>
            <a:spLocks noGrp="1"/>
          </p:cNvSpPr>
          <p:nvPr>
            <p:ph type="pic" sz="quarter" idx="15"/>
          </p:nvPr>
        </p:nvSpPr>
        <p:spPr>
          <a:xfrm>
            <a:off x="4317276" y="685800"/>
            <a:ext cx="4826724" cy="4457700"/>
          </a:xfrm>
          <a:solidFill>
            <a:schemeClr val="bg1"/>
          </a:solidFill>
        </p:spPr>
        <p:txBody>
          <a:bodyPr>
            <a:normAutofit/>
          </a:bodyPr>
          <a:lstStyle>
            <a:lvl1pPr marL="0" indent="0" algn="ctr">
              <a:buNone/>
              <a:defRPr sz="1100">
                <a:solidFill>
                  <a:schemeClr val="tx1"/>
                </a:solidFill>
              </a:defRPr>
            </a:lvl1pPr>
          </a:lstStyle>
          <a:p>
            <a:endParaRPr lang="en-US"/>
          </a:p>
        </p:txBody>
      </p:sp>
      <p:sp>
        <p:nvSpPr>
          <p:cNvPr id="16" name="Text Placeholder 15"/>
          <p:cNvSpPr>
            <a:spLocks noGrp="1"/>
          </p:cNvSpPr>
          <p:nvPr>
            <p:ph type="body" sz="quarter" idx="17" hasCustomPrompt="1"/>
          </p:nvPr>
        </p:nvSpPr>
        <p:spPr>
          <a:xfrm>
            <a:off x="171450" y="942975"/>
            <a:ext cx="1942312" cy="257175"/>
          </a:xfrm>
          <a:solidFill>
            <a:schemeClr val="bg1">
              <a:alpha val="30000"/>
            </a:schemeClr>
          </a:solidFill>
          <a:ln>
            <a:noFill/>
          </a:ln>
        </p:spPr>
        <p:txBody>
          <a:bodyPr lIns="137160" tIns="0" rIns="0" bIns="0" anchor="ctr" anchorCtr="0"/>
          <a:lstStyle>
            <a:lvl1pPr marL="0" indent="0">
              <a:buNone/>
              <a:defRPr sz="1200" b="1">
                <a:solidFill>
                  <a:schemeClr val="bg1"/>
                </a:solidFill>
              </a:defRPr>
            </a:lvl1pPr>
          </a:lstStyle>
          <a:p>
            <a:pPr lvl="0"/>
            <a:r>
              <a:rPr lang="en-US" dirty="0"/>
              <a:t>Objectives</a:t>
            </a:r>
          </a:p>
        </p:txBody>
      </p:sp>
      <p:sp>
        <p:nvSpPr>
          <p:cNvPr id="17" name="Content Placeholder 5"/>
          <p:cNvSpPr>
            <a:spLocks noGrp="1"/>
          </p:cNvSpPr>
          <p:nvPr>
            <p:ph sz="quarter" idx="18" hasCustomPrompt="1"/>
          </p:nvPr>
        </p:nvSpPr>
        <p:spPr>
          <a:xfrm>
            <a:off x="2241395" y="1314451"/>
            <a:ext cx="1948248" cy="1744469"/>
          </a:xfrm>
        </p:spPr>
        <p:txBody>
          <a:bodyPr>
            <a:normAutofit/>
          </a:bodyPr>
          <a:lstStyle>
            <a:lvl1pPr>
              <a:buClr>
                <a:schemeClr val="bg1"/>
              </a:buClr>
              <a:defRPr sz="1200">
                <a:solidFill>
                  <a:schemeClr val="bg1"/>
                </a:solidFill>
              </a:defRPr>
            </a:lvl1pPr>
            <a:lvl2pPr>
              <a:buClr>
                <a:schemeClr val="bg1"/>
              </a:buClr>
              <a:defRPr sz="1100">
                <a:solidFill>
                  <a:schemeClr val="bg1"/>
                </a:solidFill>
              </a:defRPr>
            </a:lvl2pPr>
          </a:lstStyle>
          <a:p>
            <a:pPr lvl="0"/>
            <a:r>
              <a:rPr lang="en-GB" dirty="0"/>
              <a:t>Enter Execution</a:t>
            </a:r>
          </a:p>
        </p:txBody>
      </p:sp>
      <p:sp>
        <p:nvSpPr>
          <p:cNvPr id="18" name="Text Placeholder 15"/>
          <p:cNvSpPr>
            <a:spLocks noGrp="1"/>
          </p:cNvSpPr>
          <p:nvPr>
            <p:ph type="body" sz="quarter" idx="19" hasCustomPrompt="1"/>
          </p:nvPr>
        </p:nvSpPr>
        <p:spPr>
          <a:xfrm>
            <a:off x="2241396" y="942975"/>
            <a:ext cx="1942312" cy="257175"/>
          </a:xfrm>
          <a:solidFill>
            <a:schemeClr val="bg1">
              <a:alpha val="30000"/>
            </a:schemeClr>
          </a:solidFill>
          <a:ln>
            <a:noFill/>
          </a:ln>
        </p:spPr>
        <p:txBody>
          <a:bodyPr lIns="137160" tIns="0" rIns="0" bIns="0" anchor="ctr" anchorCtr="0"/>
          <a:lstStyle>
            <a:lvl1pPr marL="0" indent="0">
              <a:buNone/>
              <a:defRPr sz="1200" b="1">
                <a:solidFill>
                  <a:schemeClr val="bg1"/>
                </a:solidFill>
              </a:defRPr>
            </a:lvl1pPr>
          </a:lstStyle>
          <a:p>
            <a:pPr lvl="0"/>
            <a:r>
              <a:rPr lang="en-US" dirty="0"/>
              <a:t>Execution</a:t>
            </a:r>
          </a:p>
        </p:txBody>
      </p:sp>
      <p:sp>
        <p:nvSpPr>
          <p:cNvPr id="19" name="Content Placeholder 5"/>
          <p:cNvSpPr>
            <a:spLocks noGrp="1"/>
          </p:cNvSpPr>
          <p:nvPr>
            <p:ph sz="quarter" idx="20" hasCustomPrompt="1"/>
          </p:nvPr>
        </p:nvSpPr>
        <p:spPr>
          <a:xfrm>
            <a:off x="171451" y="3544695"/>
            <a:ext cx="4018193" cy="1170181"/>
          </a:xfrm>
        </p:spPr>
        <p:txBody>
          <a:bodyPr>
            <a:normAutofit/>
          </a:bodyPr>
          <a:lstStyle>
            <a:lvl1pPr>
              <a:buClr>
                <a:schemeClr val="bg1"/>
              </a:buClr>
              <a:defRPr sz="1200">
                <a:solidFill>
                  <a:schemeClr val="bg1"/>
                </a:solidFill>
              </a:defRPr>
            </a:lvl1pPr>
            <a:lvl2pPr>
              <a:buClr>
                <a:schemeClr val="bg1"/>
              </a:buClr>
              <a:defRPr sz="1100">
                <a:solidFill>
                  <a:schemeClr val="bg1"/>
                </a:solidFill>
              </a:defRPr>
            </a:lvl2pPr>
          </a:lstStyle>
          <a:p>
            <a:pPr lvl="0"/>
            <a:r>
              <a:rPr lang="en-GB" dirty="0"/>
              <a:t>Enter Results</a:t>
            </a:r>
          </a:p>
        </p:txBody>
      </p:sp>
      <p:sp>
        <p:nvSpPr>
          <p:cNvPr id="20" name="Text Placeholder 15"/>
          <p:cNvSpPr>
            <a:spLocks noGrp="1"/>
          </p:cNvSpPr>
          <p:nvPr>
            <p:ph type="body" sz="quarter" idx="21" hasCustomPrompt="1"/>
          </p:nvPr>
        </p:nvSpPr>
        <p:spPr>
          <a:xfrm>
            <a:off x="171451" y="3173219"/>
            <a:ext cx="4018193" cy="257175"/>
          </a:xfrm>
          <a:solidFill>
            <a:schemeClr val="bg1">
              <a:alpha val="30000"/>
            </a:schemeClr>
          </a:solidFill>
          <a:ln>
            <a:noFill/>
          </a:ln>
        </p:spPr>
        <p:txBody>
          <a:bodyPr lIns="137160" tIns="0" rIns="0" bIns="0" anchor="ctr" anchorCtr="0">
            <a:normAutofit/>
          </a:bodyPr>
          <a:lstStyle>
            <a:lvl1pPr marL="0" indent="0">
              <a:buNone/>
              <a:defRPr sz="1200" b="1">
                <a:solidFill>
                  <a:schemeClr val="bg1"/>
                </a:solidFill>
              </a:defRPr>
            </a:lvl1pPr>
          </a:lstStyle>
          <a:p>
            <a:pPr lvl="0"/>
            <a:r>
              <a:rPr lang="en-US" dirty="0"/>
              <a:t>Results</a:t>
            </a:r>
          </a:p>
        </p:txBody>
      </p:sp>
      <p:sp>
        <p:nvSpPr>
          <p:cNvPr id="21" name="Rectangle 20"/>
          <p:cNvSpPr/>
          <p:nvPr userDrawn="1"/>
        </p:nvSpPr>
        <p:spPr>
          <a:xfrm>
            <a:off x="1" y="0"/>
            <a:ext cx="1514474" cy="6858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2" name="Rectangle 21"/>
          <p:cNvSpPr/>
          <p:nvPr userDrawn="1"/>
        </p:nvSpPr>
        <p:spPr>
          <a:xfrm>
            <a:off x="1" y="342901"/>
            <a:ext cx="1514474" cy="344090"/>
          </a:xfrm>
          <a:prstGeom prst="rect">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3" name="Title 1"/>
          <p:cNvSpPr>
            <a:spLocks noGrp="1"/>
          </p:cNvSpPr>
          <p:nvPr>
            <p:ph type="title" hasCustomPrompt="1"/>
          </p:nvPr>
        </p:nvSpPr>
        <p:spPr>
          <a:xfrm>
            <a:off x="3371850" y="171450"/>
            <a:ext cx="4800600" cy="342900"/>
          </a:xfrm>
        </p:spPr>
        <p:txBody>
          <a:bodyPr>
            <a:noAutofit/>
          </a:bodyPr>
          <a:lstStyle>
            <a:lvl1pPr>
              <a:defRPr sz="2400" b="0">
                <a:solidFill>
                  <a:schemeClr val="accent2"/>
                </a:solidFill>
              </a:defRPr>
            </a:lvl1pPr>
          </a:lstStyle>
          <a:p>
            <a:r>
              <a:rPr lang="en-GB" dirty="0"/>
              <a:t>Case Study Title</a:t>
            </a:r>
            <a:endParaRPr lang="en-US" dirty="0"/>
          </a:p>
        </p:txBody>
      </p:sp>
      <p:sp>
        <p:nvSpPr>
          <p:cNvPr id="24" name="Rectangle 23"/>
          <p:cNvSpPr/>
          <p:nvPr userDrawn="1"/>
        </p:nvSpPr>
        <p:spPr>
          <a:xfrm>
            <a:off x="1514475" y="0"/>
            <a:ext cx="1685926" cy="6858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25" name="Picture Placeholder 12"/>
          <p:cNvSpPr>
            <a:spLocks noGrp="1"/>
          </p:cNvSpPr>
          <p:nvPr>
            <p:ph type="pic" sz="quarter" idx="16" hasCustomPrompt="1"/>
          </p:nvPr>
        </p:nvSpPr>
        <p:spPr>
          <a:xfrm>
            <a:off x="1628775" y="114300"/>
            <a:ext cx="1428750" cy="457200"/>
          </a:xfrm>
          <a:solidFill>
            <a:schemeClr val="bg1"/>
          </a:solidFill>
        </p:spPr>
        <p:txBody>
          <a:bodyPr>
            <a:normAutofit/>
          </a:bodyPr>
          <a:lstStyle>
            <a:lvl1pPr marL="0" indent="0" algn="ctr">
              <a:buNone/>
              <a:defRPr sz="800"/>
            </a:lvl1pPr>
          </a:lstStyle>
          <a:p>
            <a:r>
              <a:rPr lang="en-US"/>
              <a:t>Client logo</a:t>
            </a:r>
          </a:p>
        </p:txBody>
      </p:sp>
      <p:sp>
        <p:nvSpPr>
          <p:cNvPr id="26" name="Title 1"/>
          <p:cNvSpPr txBox="1">
            <a:spLocks/>
          </p:cNvSpPr>
          <p:nvPr userDrawn="1"/>
        </p:nvSpPr>
        <p:spPr>
          <a:xfrm>
            <a:off x="26752" y="88106"/>
            <a:ext cx="1171575" cy="166688"/>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3200" kern="1200">
                <a:solidFill>
                  <a:schemeClr val="accent1"/>
                </a:solidFill>
                <a:latin typeface="+mj-lt"/>
                <a:ea typeface="+mj-ea"/>
                <a:cs typeface="+mj-cs"/>
              </a:defRPr>
            </a:lvl1pPr>
          </a:lstStyle>
          <a:p>
            <a:pPr algn="ctr" fontAlgn="auto">
              <a:spcAft>
                <a:spcPts val="0"/>
              </a:spcAft>
            </a:pPr>
            <a:r>
              <a:rPr lang="en-GB" sz="1200" b="1">
                <a:solidFill>
                  <a:srgbClr val="FFFFFF"/>
                </a:solidFill>
              </a:rPr>
              <a:t>CASE STUDY</a:t>
            </a:r>
            <a:endParaRPr lang="en-US" sz="1200" b="1">
              <a:solidFill>
                <a:srgbClr val="FFFFFF"/>
              </a:solidFill>
            </a:endParaRPr>
          </a:p>
        </p:txBody>
      </p:sp>
      <p:sp>
        <p:nvSpPr>
          <p:cNvPr id="27" name="Text Placeholder 8"/>
          <p:cNvSpPr>
            <a:spLocks noGrp="1"/>
          </p:cNvSpPr>
          <p:nvPr>
            <p:ph type="body" sz="quarter" idx="22" hasCustomPrompt="1"/>
          </p:nvPr>
        </p:nvSpPr>
        <p:spPr>
          <a:xfrm>
            <a:off x="54058" y="431007"/>
            <a:ext cx="1374692" cy="197644"/>
          </a:xfrm>
        </p:spPr>
        <p:txBody>
          <a:bodyPr>
            <a:noAutofit/>
          </a:bodyPr>
          <a:lstStyle>
            <a:lvl1pPr marL="0" indent="0" algn="l">
              <a:buNone/>
              <a:defRPr sz="1100" b="1">
                <a:solidFill>
                  <a:schemeClr val="bg2"/>
                </a:solidFill>
              </a:defRPr>
            </a:lvl1pPr>
          </a:lstStyle>
          <a:p>
            <a:pPr lvl="0"/>
            <a:r>
              <a:rPr lang="en-US" dirty="0"/>
              <a:t>SECTOR</a:t>
            </a:r>
          </a:p>
        </p:txBody>
      </p:sp>
    </p:spTree>
    <p:extLst>
      <p:ext uri="{BB962C8B-B14F-4D97-AF65-F5344CB8AC3E}">
        <p14:creationId xmlns:p14="http://schemas.microsoft.com/office/powerpoint/2010/main" val="211817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5_Basic text and 3 visual layout">
    <p:bg>
      <p:bgPr>
        <a:solidFill>
          <a:schemeClr val="accent5"/>
        </a:solidFill>
        <a:effectLst/>
      </p:bgPr>
    </p:bg>
    <p:spTree>
      <p:nvGrpSpPr>
        <p:cNvPr id="1" name=""/>
        <p:cNvGrpSpPr/>
        <p:nvPr/>
      </p:nvGrpSpPr>
      <p:grpSpPr>
        <a:xfrm>
          <a:off x="0" y="0"/>
          <a:ext cx="0" cy="0"/>
          <a:chOff x="0" y="0"/>
          <a:chExt cx="0" cy="0"/>
        </a:xfrm>
      </p:grpSpPr>
      <p:sp>
        <p:nvSpPr>
          <p:cNvPr id="8" name="Picture Placeholder 6"/>
          <p:cNvSpPr>
            <a:spLocks noGrp="1"/>
          </p:cNvSpPr>
          <p:nvPr>
            <p:ph type="pic" sz="quarter" idx="15"/>
          </p:nvPr>
        </p:nvSpPr>
        <p:spPr>
          <a:xfrm>
            <a:off x="1" y="685800"/>
            <a:ext cx="9143999" cy="4457700"/>
          </a:xfrm>
          <a:solidFill>
            <a:schemeClr val="bg1"/>
          </a:solidFill>
        </p:spPr>
        <p:txBody>
          <a:bodyPr>
            <a:normAutofit/>
          </a:bodyPr>
          <a:lstStyle>
            <a:lvl1pPr marL="0" indent="0" algn="ctr">
              <a:buNone/>
              <a:defRPr sz="1100">
                <a:solidFill>
                  <a:schemeClr val="tx1"/>
                </a:solidFill>
              </a:defRPr>
            </a:lvl1pPr>
          </a:lstStyle>
          <a:p>
            <a:endParaRPr lang="en-US"/>
          </a:p>
        </p:txBody>
      </p:sp>
      <p:sp>
        <p:nvSpPr>
          <p:cNvPr id="12" name="Rectangle 11"/>
          <p:cNvSpPr/>
          <p:nvPr userDrawn="1"/>
        </p:nvSpPr>
        <p:spPr>
          <a:xfrm>
            <a:off x="1" y="0"/>
            <a:ext cx="1514474" cy="6858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14" name="Rectangle 13"/>
          <p:cNvSpPr/>
          <p:nvPr userDrawn="1"/>
        </p:nvSpPr>
        <p:spPr>
          <a:xfrm>
            <a:off x="1" y="342901"/>
            <a:ext cx="1514474" cy="344090"/>
          </a:xfrm>
          <a:prstGeom prst="rect">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15" name="Title 1"/>
          <p:cNvSpPr>
            <a:spLocks noGrp="1"/>
          </p:cNvSpPr>
          <p:nvPr>
            <p:ph type="title" hasCustomPrompt="1"/>
          </p:nvPr>
        </p:nvSpPr>
        <p:spPr>
          <a:xfrm>
            <a:off x="3371850" y="171450"/>
            <a:ext cx="4800600" cy="342900"/>
          </a:xfrm>
        </p:spPr>
        <p:txBody>
          <a:bodyPr>
            <a:noAutofit/>
          </a:bodyPr>
          <a:lstStyle>
            <a:lvl1pPr>
              <a:defRPr sz="2400" b="0">
                <a:solidFill>
                  <a:schemeClr val="accent2"/>
                </a:solidFill>
              </a:defRPr>
            </a:lvl1pPr>
          </a:lstStyle>
          <a:p>
            <a:r>
              <a:rPr lang="en-GB" dirty="0"/>
              <a:t>Case Study Title</a:t>
            </a:r>
            <a:endParaRPr lang="en-US" dirty="0"/>
          </a:p>
        </p:txBody>
      </p:sp>
      <p:sp>
        <p:nvSpPr>
          <p:cNvPr id="16" name="Rectangle 15"/>
          <p:cNvSpPr/>
          <p:nvPr userDrawn="1"/>
        </p:nvSpPr>
        <p:spPr>
          <a:xfrm>
            <a:off x="1514475" y="0"/>
            <a:ext cx="1685926" cy="6858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pPr>
            <a:endParaRPr lang="en-US" sz="1400">
              <a:solidFill>
                <a:srgbClr val="FFFFFF"/>
              </a:solidFill>
            </a:endParaRPr>
          </a:p>
        </p:txBody>
      </p:sp>
      <p:sp>
        <p:nvSpPr>
          <p:cNvPr id="17" name="Picture Placeholder 12"/>
          <p:cNvSpPr>
            <a:spLocks noGrp="1"/>
          </p:cNvSpPr>
          <p:nvPr>
            <p:ph type="pic" sz="quarter" idx="16" hasCustomPrompt="1"/>
          </p:nvPr>
        </p:nvSpPr>
        <p:spPr>
          <a:xfrm>
            <a:off x="1628775" y="114300"/>
            <a:ext cx="1428750" cy="457200"/>
          </a:xfrm>
          <a:solidFill>
            <a:schemeClr val="bg1"/>
          </a:solidFill>
        </p:spPr>
        <p:txBody>
          <a:bodyPr>
            <a:normAutofit/>
          </a:bodyPr>
          <a:lstStyle>
            <a:lvl1pPr marL="0" indent="0" algn="ctr">
              <a:buNone/>
              <a:defRPr sz="800"/>
            </a:lvl1pPr>
          </a:lstStyle>
          <a:p>
            <a:r>
              <a:rPr lang="en-US"/>
              <a:t>Client logo</a:t>
            </a:r>
          </a:p>
        </p:txBody>
      </p:sp>
      <p:sp>
        <p:nvSpPr>
          <p:cNvPr id="18" name="Title 1"/>
          <p:cNvSpPr txBox="1">
            <a:spLocks/>
          </p:cNvSpPr>
          <p:nvPr userDrawn="1"/>
        </p:nvSpPr>
        <p:spPr>
          <a:xfrm>
            <a:off x="26752" y="88106"/>
            <a:ext cx="1171575" cy="166688"/>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3200" kern="1200">
                <a:solidFill>
                  <a:schemeClr val="accent1"/>
                </a:solidFill>
                <a:latin typeface="+mj-lt"/>
                <a:ea typeface="+mj-ea"/>
                <a:cs typeface="+mj-cs"/>
              </a:defRPr>
            </a:lvl1pPr>
          </a:lstStyle>
          <a:p>
            <a:pPr algn="ctr" fontAlgn="auto">
              <a:spcAft>
                <a:spcPts val="0"/>
              </a:spcAft>
            </a:pPr>
            <a:r>
              <a:rPr lang="en-GB" sz="1200" b="1">
                <a:solidFill>
                  <a:srgbClr val="FFFFFF"/>
                </a:solidFill>
              </a:rPr>
              <a:t>CASE STUDY</a:t>
            </a:r>
            <a:endParaRPr lang="en-US" sz="1200" b="1">
              <a:solidFill>
                <a:srgbClr val="FFFFFF"/>
              </a:solidFill>
            </a:endParaRPr>
          </a:p>
        </p:txBody>
      </p:sp>
      <p:sp>
        <p:nvSpPr>
          <p:cNvPr id="19" name="Text Placeholder 8"/>
          <p:cNvSpPr>
            <a:spLocks noGrp="1"/>
          </p:cNvSpPr>
          <p:nvPr>
            <p:ph type="body" sz="quarter" idx="22" hasCustomPrompt="1"/>
          </p:nvPr>
        </p:nvSpPr>
        <p:spPr>
          <a:xfrm>
            <a:off x="54058" y="431007"/>
            <a:ext cx="1374692" cy="197644"/>
          </a:xfrm>
        </p:spPr>
        <p:txBody>
          <a:bodyPr>
            <a:noAutofit/>
          </a:bodyPr>
          <a:lstStyle>
            <a:lvl1pPr marL="0" indent="0" algn="l">
              <a:buNone/>
              <a:defRPr sz="1100" b="1">
                <a:solidFill>
                  <a:schemeClr val="bg2"/>
                </a:solidFill>
              </a:defRPr>
            </a:lvl1pPr>
          </a:lstStyle>
          <a:p>
            <a:pPr lvl="0"/>
            <a:r>
              <a:rPr lang="en-US" dirty="0"/>
              <a:t>SECTOR</a:t>
            </a:r>
          </a:p>
        </p:txBody>
      </p:sp>
    </p:spTree>
    <p:extLst>
      <p:ext uri="{BB962C8B-B14F-4D97-AF65-F5344CB8AC3E}">
        <p14:creationId xmlns:p14="http://schemas.microsoft.com/office/powerpoint/2010/main" val="1383720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3" y="20483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GB"/>
              <a:t>Click to edit Master text styles</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994451"/>
      </p:ext>
    </p:extLst>
  </p:cSld>
  <p:clrMapOvr>
    <a:masterClrMapping/>
  </p:clrMapOvr>
  <p:transition>
    <p:fade/>
  </p:transition>
</p:sldLayout>
</file>

<file path=ppt/slideLayouts/slideLayout800.xml><?xml version="1.0" encoding="utf-8"?>
<p:sldLayout xmlns:a="http://schemas.openxmlformats.org/drawingml/2006/main" xmlns:r="http://schemas.openxmlformats.org/officeDocument/2006/relationships" xmlns:p="http://schemas.openxmlformats.org/presentationml/2006/main" showMasterSp="0" userDrawn="1">
  <p:cSld name="2_Cover-2">
    <p:bg>
      <p:bgPr>
        <a:solidFill>
          <a:schemeClr val="accent5"/>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7"/>
          </p:nvPr>
        </p:nvSpPr>
        <p:spPr>
          <a:xfrm>
            <a:off x="0" y="0"/>
            <a:ext cx="9144000" cy="5143500"/>
          </a:xfrm>
        </p:spPr>
        <p:txBody>
          <a:bodyPr/>
          <a:lstStyle>
            <a:lvl1pPr marL="0" indent="0" algn="ctr">
              <a:buNone/>
              <a:defRPr/>
            </a:lvl1pPr>
          </a:lstStyle>
          <a:p>
            <a:endParaRPr lang="en-US"/>
          </a:p>
        </p:txBody>
      </p:sp>
      <p:sp>
        <p:nvSpPr>
          <p:cNvPr id="2" name="Title 1"/>
          <p:cNvSpPr>
            <a:spLocks noGrp="1"/>
          </p:cNvSpPr>
          <p:nvPr>
            <p:ph type="ctrTitle" hasCustomPrompt="1"/>
          </p:nvPr>
        </p:nvSpPr>
        <p:spPr>
          <a:xfrm>
            <a:off x="171520" y="3486150"/>
            <a:ext cx="6131860" cy="567848"/>
          </a:xfrm>
        </p:spPr>
        <p:txBody>
          <a:bodyPr wrap="square" anchor="b">
            <a:spAutoFit/>
          </a:bodyPr>
          <a:lstStyle>
            <a:lvl1pPr algn="l">
              <a:defRPr sz="3600">
                <a:solidFill>
                  <a:schemeClr val="bg1"/>
                </a:solidFill>
              </a:defRPr>
            </a:lvl1pPr>
          </a:lstStyle>
          <a:p>
            <a:r>
              <a:rPr lang="en-GB" dirty="0"/>
              <a:t>Section Title</a:t>
            </a:r>
            <a:endParaRPr lang="en-US" dirty="0"/>
          </a:p>
        </p:txBody>
      </p:sp>
      <p:sp>
        <p:nvSpPr>
          <p:cNvPr id="5" name="Text Placeholder 4"/>
          <p:cNvSpPr>
            <a:spLocks noGrp="1"/>
          </p:cNvSpPr>
          <p:nvPr>
            <p:ph type="body" sz="quarter" idx="16" hasCustomPrompt="1"/>
          </p:nvPr>
        </p:nvSpPr>
        <p:spPr>
          <a:xfrm>
            <a:off x="171450" y="4137025"/>
            <a:ext cx="6131719" cy="342900"/>
          </a:xfrm>
        </p:spPr>
        <p:txBody>
          <a:bodyPr/>
          <a:lstStyle>
            <a:lvl1pPr marL="0" indent="0">
              <a:buNone/>
              <a:defRPr baseline="0">
                <a:solidFill>
                  <a:schemeClr val="bg1"/>
                </a:solidFill>
              </a:defRPr>
            </a:lvl1pPr>
          </a:lstStyle>
          <a:p>
            <a:pPr lvl="0"/>
            <a:r>
              <a:rPr lang="en-GB" dirty="0"/>
              <a:t>Click To Add Subtitle</a:t>
            </a:r>
            <a:endParaRPr lang="en-US" dirty="0"/>
          </a:p>
        </p:txBody>
      </p:sp>
    </p:spTree>
    <p:extLst>
      <p:ext uri="{BB962C8B-B14F-4D97-AF65-F5344CB8AC3E}">
        <p14:creationId xmlns:p14="http://schemas.microsoft.com/office/powerpoint/2010/main" val="1288766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23837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908885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Presentation Title">
    <p:bg>
      <p:bgPr>
        <a:solidFill>
          <a:srgbClr val="000000"/>
        </a:solidFill>
        <a:effectLst/>
      </p:bgPr>
    </p:bg>
    <p:spTree>
      <p:nvGrpSpPr>
        <p:cNvPr id="1" name=""/>
        <p:cNvGrpSpPr/>
        <p:nvPr/>
      </p:nvGrpSpPr>
      <p:grpSpPr>
        <a:xfrm>
          <a:off x="0" y="0"/>
          <a:ext cx="0" cy="0"/>
          <a:chOff x="0" y="0"/>
          <a:chExt cx="0" cy="0"/>
        </a:xfrm>
      </p:grpSpPr>
      <p:sp>
        <p:nvSpPr>
          <p:cNvPr id="89091" name="Rectangle 3"/>
          <p:cNvSpPr>
            <a:spLocks noGrp="1" noChangeArrowheads="1"/>
          </p:cNvSpPr>
          <p:nvPr>
            <p:ph type="ctrTitle"/>
          </p:nvPr>
        </p:nvSpPr>
        <p:spPr>
          <a:xfrm>
            <a:off x="560449" y="1378767"/>
            <a:ext cx="5222875" cy="307181"/>
          </a:xfrm>
        </p:spPr>
        <p:txBody>
          <a:bodyPr anchor="b"/>
          <a:lstStyle>
            <a:lvl1pPr>
              <a:lnSpc>
                <a:spcPts val="2600"/>
              </a:lnSpc>
              <a:defRPr>
                <a:solidFill>
                  <a:schemeClr val="bg1"/>
                </a:solidFill>
              </a:defRPr>
            </a:lvl1pPr>
          </a:lstStyle>
          <a:p>
            <a:r>
              <a:rPr lang="en-US"/>
              <a:t>Click to edit Master title style</a:t>
            </a:r>
            <a:endParaRPr lang="en-GB" dirty="0"/>
          </a:p>
        </p:txBody>
      </p:sp>
      <p:sp>
        <p:nvSpPr>
          <p:cNvPr id="89092" name="Rectangle 4"/>
          <p:cNvSpPr>
            <a:spLocks noGrp="1" noChangeArrowheads="1"/>
          </p:cNvSpPr>
          <p:nvPr>
            <p:ph type="subTitle" idx="1"/>
          </p:nvPr>
        </p:nvSpPr>
        <p:spPr>
          <a:xfrm>
            <a:off x="550863" y="1688392"/>
            <a:ext cx="5232400" cy="603647"/>
          </a:xfrm>
        </p:spPr>
        <p:txBody>
          <a:bodyPr/>
          <a:lstStyle>
            <a:lvl1pPr marL="0" indent="12700">
              <a:lnSpc>
                <a:spcPts val="2600"/>
              </a:lnSpc>
              <a:defRPr sz="2000">
                <a:solidFill>
                  <a:schemeClr val="bg2"/>
                </a:solidFill>
              </a:defRPr>
            </a:lvl1pPr>
          </a:lstStyle>
          <a:p>
            <a:r>
              <a:rPr lang="en-US"/>
              <a:t>Click to edit Master subtitle style</a:t>
            </a:r>
            <a:endParaRPr lang="en-GB" dirty="0"/>
          </a:p>
        </p:txBody>
      </p:sp>
      <p:sp>
        <p:nvSpPr>
          <p:cNvPr id="8" name="Rectangle 18"/>
          <p:cNvSpPr>
            <a:spLocks noGrp="1" noChangeArrowheads="1"/>
          </p:cNvSpPr>
          <p:nvPr>
            <p:ph type="dt" sz="half" idx="10"/>
          </p:nvPr>
        </p:nvSpPr>
        <p:spPr bwMode="auto">
          <a:xfrm>
            <a:off x="563613" y="4950619"/>
            <a:ext cx="1292225" cy="86916"/>
          </a:xfrm>
          <a:prstGeom prst="rect">
            <a:avLst/>
          </a:prstGeom>
          <a:ln>
            <a:miter lim="800000"/>
            <a:headEnd/>
            <a:tailEnd/>
          </a:ln>
        </p:spPr>
        <p:txBody>
          <a:bodyPr vert="horz" wrap="square" lIns="0" tIns="0" rIns="0" bIns="0" numCol="1" anchor="t" anchorCtr="0" compatLnSpc="1">
            <a:prstTxWarp prst="textNoShape">
              <a:avLst/>
            </a:prstTxWarp>
          </a:bodyPr>
          <a:lstStyle>
            <a:lvl1pPr>
              <a:defRPr sz="800" u="none">
                <a:solidFill>
                  <a:schemeClr val="bg2"/>
                </a:solidFill>
                <a:cs typeface="Arial" charset="0"/>
              </a:defRPr>
            </a:lvl1pPr>
          </a:lstStyle>
          <a:p>
            <a:pPr defTabSz="912644">
              <a:defRPr/>
            </a:pPr>
            <a:r>
              <a:rPr lang="en-US">
                <a:solidFill>
                  <a:srgbClr val="C0C0C0"/>
                </a:solidFill>
              </a:rPr>
              <a:t>Date of the presentation</a:t>
            </a:r>
            <a:endParaRPr lang="en-GB">
              <a:solidFill>
                <a:srgbClr val="C0C0C0"/>
              </a:solidFill>
            </a:endParaRPr>
          </a:p>
        </p:txBody>
      </p:sp>
      <p:pic>
        <p:nvPicPr>
          <p:cNvPr id="10" name="Picture 14" descr="Fluidity_003"/>
          <p:cNvPicPr>
            <a:picLocks noChangeAspect="1" noChangeArrowheads="1"/>
          </p:cNvPicPr>
          <p:nvPr userDrawn="1"/>
        </p:nvPicPr>
        <p:blipFill>
          <a:blip r:embed="rId2" cstate="email"/>
          <a:srcRect/>
          <a:stretch>
            <a:fillRect/>
          </a:stretch>
        </p:blipFill>
        <p:spPr bwMode="auto">
          <a:xfrm>
            <a:off x="0" y="1164438"/>
            <a:ext cx="9144000" cy="3918347"/>
          </a:xfrm>
          <a:prstGeom prst="rect">
            <a:avLst/>
          </a:prstGeom>
          <a:noFill/>
          <a:ln w="9525">
            <a:noFill/>
            <a:miter lim="800000"/>
            <a:headEnd/>
            <a:tailEnd/>
          </a:ln>
        </p:spPr>
      </p:pic>
      <p:pic>
        <p:nvPicPr>
          <p:cNvPr id="11" name="Picture 6" descr="C:\Users\Thomas\AppData\Roaming\Microsoft\Windows Photo Gallery\Desktop\KANTAR_MEDIA_logo_CMYK.jpg"/>
          <p:cNvPicPr>
            <a:picLocks noChangeAspect="1" noChangeArrowheads="1"/>
          </p:cNvPicPr>
          <p:nvPr userDrawn="1"/>
        </p:nvPicPr>
        <p:blipFill>
          <a:blip r:embed="rId3" cstate="print"/>
          <a:srcRect/>
          <a:stretch>
            <a:fillRect/>
          </a:stretch>
        </p:blipFill>
        <p:spPr bwMode="auto">
          <a:xfrm>
            <a:off x="403487" y="237803"/>
            <a:ext cx="2620137" cy="660539"/>
          </a:xfrm>
          <a:prstGeom prst="rect">
            <a:avLst/>
          </a:prstGeom>
          <a:noFill/>
        </p:spPr>
      </p:pic>
    </p:spTree>
    <p:extLst>
      <p:ext uri="{BB962C8B-B14F-4D97-AF65-F5344CB8AC3E}">
        <p14:creationId xmlns:p14="http://schemas.microsoft.com/office/powerpoint/2010/main" val="2347780328"/>
      </p:ext>
    </p:extLst>
  </p:cSld>
  <p:clrMapOvr>
    <a:masterClrMapping/>
  </p:clrMapOvr>
  <p:transition spd="slow">
    <p:fade/>
  </p:transition>
  <p:hf sldNum="0" hdr="0" ftr="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Section Divider Title">
    <p:bg>
      <p:bgPr>
        <a:solidFill>
          <a:srgbClr val="000000"/>
        </a:solidFill>
        <a:effectLst/>
      </p:bgPr>
    </p:bg>
    <p:spTree>
      <p:nvGrpSpPr>
        <p:cNvPr id="1" name=""/>
        <p:cNvGrpSpPr/>
        <p:nvPr/>
      </p:nvGrpSpPr>
      <p:grpSpPr>
        <a:xfrm>
          <a:off x="0" y="0"/>
          <a:ext cx="0" cy="0"/>
          <a:chOff x="0" y="0"/>
          <a:chExt cx="0" cy="0"/>
        </a:xfrm>
      </p:grpSpPr>
      <p:pic>
        <p:nvPicPr>
          <p:cNvPr id="12" name="Picture 14" descr="Fluidity_003"/>
          <p:cNvPicPr>
            <a:picLocks noChangeAspect="1" noChangeArrowheads="1"/>
          </p:cNvPicPr>
          <p:nvPr userDrawn="1"/>
        </p:nvPicPr>
        <p:blipFill>
          <a:blip r:embed="rId2" cstate="email"/>
          <a:srcRect/>
          <a:stretch>
            <a:fillRect/>
          </a:stretch>
        </p:blipFill>
        <p:spPr bwMode="auto">
          <a:xfrm>
            <a:off x="0" y="1164438"/>
            <a:ext cx="9144000" cy="3918347"/>
          </a:xfrm>
          <a:prstGeom prst="rect">
            <a:avLst/>
          </a:prstGeom>
          <a:noFill/>
          <a:ln w="9525">
            <a:noFill/>
            <a:miter lim="800000"/>
            <a:headEnd/>
            <a:tailEnd/>
          </a:ln>
        </p:spPr>
      </p:pic>
      <p:sp>
        <p:nvSpPr>
          <p:cNvPr id="9" name="Line 11"/>
          <p:cNvSpPr>
            <a:spLocks noChangeShapeType="1"/>
          </p:cNvSpPr>
          <p:nvPr userDrawn="1"/>
        </p:nvSpPr>
        <p:spPr bwMode="auto">
          <a:xfrm>
            <a:off x="561998" y="2571750"/>
            <a:ext cx="4556125" cy="0"/>
          </a:xfrm>
          <a:prstGeom prst="line">
            <a:avLst/>
          </a:prstGeom>
          <a:noFill/>
          <a:ln w="25400">
            <a:solidFill>
              <a:schemeClr val="accent1"/>
            </a:solidFill>
            <a:round/>
            <a:headEnd/>
            <a:tailEnd/>
          </a:ln>
          <a:effectLst/>
        </p:spPr>
        <p:txBody>
          <a:bodyPr lIns="91284" tIns="45642" rIns="91284" bIns="45642"/>
          <a:lstStyle/>
          <a:p>
            <a:pPr defTabSz="912644">
              <a:defRPr/>
            </a:pPr>
            <a:endParaRPr lang="fr-FR" sz="1800" u="sng">
              <a:solidFill>
                <a:srgbClr val="000000"/>
              </a:solidFill>
              <a:cs typeface="+mn-cs"/>
            </a:endParaRPr>
          </a:p>
        </p:txBody>
      </p:sp>
      <p:sp>
        <p:nvSpPr>
          <p:cNvPr id="89091" name="Rectangle 3"/>
          <p:cNvSpPr>
            <a:spLocks noGrp="1" noChangeArrowheads="1"/>
          </p:cNvSpPr>
          <p:nvPr>
            <p:ph type="ctrTitle"/>
          </p:nvPr>
        </p:nvSpPr>
        <p:spPr>
          <a:xfrm>
            <a:off x="560388" y="1273696"/>
            <a:ext cx="4557712" cy="1126711"/>
          </a:xfrm>
        </p:spPr>
        <p:txBody>
          <a:bodyPr anchor="b"/>
          <a:lstStyle>
            <a:lvl1pPr>
              <a:lnSpc>
                <a:spcPct val="100000"/>
              </a:lnSpc>
              <a:defRPr kumimoji="0" lang="en-GB" sz="4800" b="0" i="0" u="none" strike="noStrike" kern="0" cap="none" spc="0" normalizeH="0" baseline="0" noProof="0" dirty="0" smtClean="0">
                <a:ln>
                  <a:noFill/>
                </a:ln>
                <a:solidFill>
                  <a:schemeClr val="accent1"/>
                </a:solidFill>
                <a:effectLst/>
                <a:uLnTx/>
                <a:uFillTx/>
                <a:latin typeface="+mj-lt"/>
                <a:ea typeface="+mj-ea"/>
                <a:cs typeface="+mj-cs"/>
              </a:defRPr>
            </a:lvl1pPr>
          </a:lstStyle>
          <a:p>
            <a:pPr lvl="0"/>
            <a:r>
              <a:rPr lang="en-US"/>
              <a:t>Click to edit Master title style</a:t>
            </a:r>
            <a:endParaRPr lang="en-GB" dirty="0"/>
          </a:p>
        </p:txBody>
      </p:sp>
      <p:sp>
        <p:nvSpPr>
          <p:cNvPr id="89092" name="Rectangle 4"/>
          <p:cNvSpPr>
            <a:spLocks noGrp="1" noChangeArrowheads="1"/>
          </p:cNvSpPr>
          <p:nvPr>
            <p:ph type="subTitle" idx="1"/>
          </p:nvPr>
        </p:nvSpPr>
        <p:spPr>
          <a:xfrm>
            <a:off x="550886" y="2678909"/>
            <a:ext cx="4567237" cy="741627"/>
          </a:xfrm>
        </p:spPr>
        <p:txBody>
          <a:bodyPr/>
          <a:lstStyle>
            <a:lvl1pPr marL="0" indent="12700">
              <a:lnSpc>
                <a:spcPts val="2600"/>
              </a:lnSpc>
              <a:defRPr kumimoji="0" lang="en-GB" sz="2200" b="0" i="0" u="none" strike="noStrike" kern="0" cap="none" spc="0" normalizeH="0" baseline="0" noProof="0" dirty="0" smtClean="0">
                <a:ln>
                  <a:noFill/>
                </a:ln>
                <a:solidFill>
                  <a:schemeClr val="bg1"/>
                </a:solidFill>
                <a:effectLst/>
                <a:uLnTx/>
                <a:uFillTx/>
                <a:latin typeface="+mn-lt"/>
                <a:ea typeface="+mn-ea"/>
                <a:cs typeface="+mn-cs"/>
              </a:defRPr>
            </a:lvl1pPr>
          </a:lstStyle>
          <a:p>
            <a:pPr lvl="0"/>
            <a:r>
              <a:rPr lang="en-US"/>
              <a:t>Click to edit Master subtitle style</a:t>
            </a:r>
            <a:endParaRPr lang="en-GB" dirty="0"/>
          </a:p>
        </p:txBody>
      </p:sp>
      <p:sp>
        <p:nvSpPr>
          <p:cNvPr id="10" name="Rectangle 18"/>
          <p:cNvSpPr>
            <a:spLocks noGrp="1" noChangeArrowheads="1"/>
          </p:cNvSpPr>
          <p:nvPr>
            <p:ph type="dt" sz="half" idx="10"/>
          </p:nvPr>
        </p:nvSpPr>
        <p:spPr bwMode="auto">
          <a:xfrm>
            <a:off x="563613" y="4950619"/>
            <a:ext cx="1292225" cy="86916"/>
          </a:xfrm>
          <a:prstGeom prst="rect">
            <a:avLst/>
          </a:prstGeom>
          <a:ln>
            <a:miter lim="800000"/>
            <a:headEnd/>
            <a:tailEnd/>
          </a:ln>
        </p:spPr>
        <p:txBody>
          <a:bodyPr vert="horz" wrap="square" lIns="0" tIns="0" rIns="0" bIns="0" numCol="1" anchor="t" anchorCtr="0" compatLnSpc="1">
            <a:prstTxWarp prst="textNoShape">
              <a:avLst/>
            </a:prstTxWarp>
          </a:bodyPr>
          <a:lstStyle>
            <a:lvl1pPr>
              <a:defRPr sz="800" u="none">
                <a:solidFill>
                  <a:schemeClr val="bg2"/>
                </a:solidFill>
                <a:cs typeface="Arial" charset="0"/>
              </a:defRPr>
            </a:lvl1pPr>
          </a:lstStyle>
          <a:p>
            <a:pPr defTabSz="912644">
              <a:defRPr/>
            </a:pPr>
            <a:r>
              <a:rPr lang="en-US">
                <a:solidFill>
                  <a:srgbClr val="C0C0C0"/>
                </a:solidFill>
              </a:rPr>
              <a:t>Date of the presentation</a:t>
            </a:r>
            <a:endParaRPr lang="en-GB">
              <a:solidFill>
                <a:srgbClr val="C0C0C0"/>
              </a:solidFill>
            </a:endParaRPr>
          </a:p>
        </p:txBody>
      </p:sp>
      <p:pic>
        <p:nvPicPr>
          <p:cNvPr id="13" name="Picture 6" descr="C:\Users\Thomas\AppData\Roaming\Microsoft\Windows Photo Gallery\Desktop\KANTAR_MEDIA_logo_CMYK.jpg"/>
          <p:cNvPicPr>
            <a:picLocks noChangeAspect="1" noChangeArrowheads="1"/>
          </p:cNvPicPr>
          <p:nvPr userDrawn="1"/>
        </p:nvPicPr>
        <p:blipFill>
          <a:blip r:embed="rId3" cstate="print"/>
          <a:srcRect/>
          <a:stretch>
            <a:fillRect/>
          </a:stretch>
        </p:blipFill>
        <p:spPr bwMode="auto">
          <a:xfrm>
            <a:off x="403487" y="237803"/>
            <a:ext cx="2620137" cy="660539"/>
          </a:xfrm>
          <a:prstGeom prst="rect">
            <a:avLst/>
          </a:prstGeom>
          <a:noFill/>
        </p:spPr>
      </p:pic>
    </p:spTree>
    <p:extLst>
      <p:ext uri="{BB962C8B-B14F-4D97-AF65-F5344CB8AC3E}">
        <p14:creationId xmlns:p14="http://schemas.microsoft.com/office/powerpoint/2010/main" val="2516960293"/>
      </p:ext>
    </p:extLst>
  </p:cSld>
  <p:clrMapOvr>
    <a:masterClrMapping/>
  </p:clrMapOvr>
  <p:transition spd="slow">
    <p:fade/>
  </p:transition>
  <p:hf sldNum="0" hdr="0" ftr="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ain text slid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dirty="0"/>
          </a:p>
        </p:txBody>
      </p:sp>
      <p:sp>
        <p:nvSpPr>
          <p:cNvPr id="3" name="Espace réservé du contenu 2"/>
          <p:cNvSpPr>
            <a:spLocks noGrp="1"/>
          </p:cNvSpPr>
          <p:nvPr>
            <p:ph idx="1"/>
          </p:nvPr>
        </p:nvSpPr>
        <p:spPr/>
        <p:txBody>
          <a:bodyPr/>
          <a:lstStyle>
            <a:lvl1pPr marL="0" indent="1588">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Espace réservé du texte 6"/>
          <p:cNvSpPr>
            <a:spLocks noGrp="1"/>
          </p:cNvSpPr>
          <p:nvPr>
            <p:ph type="body" sz="quarter" idx="12"/>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5" name="Rectangle 1029"/>
          <p:cNvSpPr>
            <a:spLocks noGrp="1" noChangeArrowheads="1"/>
          </p:cNvSpPr>
          <p:nvPr>
            <p:ph type="sldNum" sz="quarter" idx="13"/>
          </p:nvPr>
        </p:nvSpPr>
        <p:spPr>
          <a:ln/>
        </p:spPr>
        <p:txBody>
          <a:bodyPr/>
          <a:lstStyle>
            <a:lvl1pPr>
              <a:defRPr/>
            </a:lvl1pPr>
          </a:lstStyle>
          <a:p>
            <a:pPr>
              <a:defRPr/>
            </a:pPr>
            <a:fld id="{2C67A3B7-0B50-4723-A998-D2662F21F5A2}" type="slidenum">
              <a:rPr lang="en-GB">
                <a:solidFill>
                  <a:srgbClr val="C0C0C0"/>
                </a:solidFill>
              </a:rPr>
              <a:pPr>
                <a:defRPr/>
              </a:pPr>
              <a:t>‹#›</a:t>
            </a:fld>
            <a:endParaRPr lang="en-GB">
              <a:solidFill>
                <a:srgbClr val="C0C0C0"/>
              </a:solidFill>
            </a:endParaRPr>
          </a:p>
        </p:txBody>
      </p:sp>
      <p:sp>
        <p:nvSpPr>
          <p:cNvPr id="6" name="Rectangle 1030"/>
          <p:cNvSpPr>
            <a:spLocks noGrp="1" noChangeArrowheads="1"/>
          </p:cNvSpPr>
          <p:nvPr>
            <p:ph type="ftr" sz="quarter" idx="14"/>
          </p:nvPr>
        </p:nvSpPr>
        <p:spPr>
          <a:xfrm>
            <a:off x="6163373" y="4943104"/>
            <a:ext cx="1961531" cy="93240"/>
          </a:xfrm>
          <a:ln/>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1801206651"/>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re 1"/>
          <p:cNvSpPr>
            <a:spLocks noGrp="1"/>
          </p:cNvSpPr>
          <p:nvPr>
            <p:ph type="title"/>
          </p:nvPr>
        </p:nvSpPr>
        <p:spPr>
          <a:xfrm>
            <a:off x="542928" y="350044"/>
            <a:ext cx="8039100" cy="223838"/>
          </a:xfrm>
        </p:spPr>
        <p:txBody>
          <a:bodyPr/>
          <a:lstStyle/>
          <a:p>
            <a:r>
              <a:rPr lang="en-US"/>
              <a:t>Click to edit Master title style</a:t>
            </a:r>
            <a:endParaRPr lang="fr-FR" dirty="0"/>
          </a:p>
        </p:txBody>
      </p:sp>
      <p:sp>
        <p:nvSpPr>
          <p:cNvPr id="3" name="Espace réservé du contenu 2"/>
          <p:cNvSpPr>
            <a:spLocks noGrp="1"/>
          </p:cNvSpPr>
          <p:nvPr>
            <p:ph idx="1"/>
          </p:nvPr>
        </p:nvSpPr>
        <p:spPr>
          <a:xfrm>
            <a:off x="557214" y="1214156"/>
            <a:ext cx="2520000" cy="3194100"/>
          </a:xfrm>
        </p:spPr>
        <p:txBody>
          <a:bodyPr/>
          <a:lstStyle>
            <a:lvl1pPr marL="0" indent="1588">
              <a:lnSpc>
                <a:spcPts val="2000"/>
              </a:lnSpc>
              <a:defRPr sz="1400" b="0"/>
            </a:lvl1pPr>
            <a:lvl2pPr marL="3175" indent="-3175">
              <a:lnSpc>
                <a:spcPts val="2000"/>
              </a:lnSpc>
              <a:spcBef>
                <a:spcPts val="2000"/>
              </a:spcBef>
              <a:buNone/>
              <a:defRPr sz="1400"/>
            </a:lvl2pPr>
            <a:lvl3pPr marL="175864" indent="-175864">
              <a:lnSpc>
                <a:spcPts val="2000"/>
              </a:lnSpc>
              <a:buFont typeface="Arial" pitchFamily="34" charset="0"/>
              <a:buChar char="–"/>
              <a:defRPr/>
            </a:lvl3pPr>
            <a:lvl4pPr marL="175864" indent="0">
              <a:lnSpc>
                <a:spcPts val="1500"/>
              </a:lnSpc>
              <a:buFontTx/>
              <a:buNone/>
              <a:defRPr sz="1100" b="1"/>
            </a:lvl4pPr>
            <a:lvl5pPr marL="175864" indent="0">
              <a:lnSpc>
                <a:spcPts val="1500"/>
              </a:lnSpc>
              <a:defRPr sz="11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Espace réservé du texte 6"/>
          <p:cNvSpPr>
            <a:spLocks noGrp="1"/>
          </p:cNvSpPr>
          <p:nvPr>
            <p:ph type="body" sz="quarter" idx="12"/>
          </p:nvPr>
        </p:nvSpPr>
        <p:spPr>
          <a:xfrm>
            <a:off x="541343" y="618199"/>
            <a:ext cx="8040687" cy="270272"/>
          </a:xfrm>
        </p:spPr>
        <p:txBody>
          <a:bodyPr/>
          <a:lstStyle>
            <a:lvl1pPr>
              <a:defRPr sz="2000">
                <a:solidFill>
                  <a:schemeClr val="accent1"/>
                </a:solidFill>
              </a:defRPr>
            </a:lvl1pPr>
          </a:lstStyle>
          <a:p>
            <a:pPr lvl="0"/>
            <a:r>
              <a:rPr lang="en-US"/>
              <a:t>Click to edit Master text styles</a:t>
            </a:r>
          </a:p>
        </p:txBody>
      </p:sp>
      <p:sp>
        <p:nvSpPr>
          <p:cNvPr id="10" name="Rectangle 1029"/>
          <p:cNvSpPr>
            <a:spLocks noGrp="1" noChangeArrowheads="1"/>
          </p:cNvSpPr>
          <p:nvPr>
            <p:ph type="sldNum" sz="quarter" idx="15"/>
          </p:nvPr>
        </p:nvSpPr>
        <p:spPr>
          <a:ln/>
        </p:spPr>
        <p:txBody>
          <a:bodyPr/>
          <a:lstStyle>
            <a:lvl1pPr>
              <a:defRPr/>
            </a:lvl1pPr>
          </a:lstStyle>
          <a:p>
            <a:pPr>
              <a:defRPr/>
            </a:pPr>
            <a:fld id="{3E6D3903-C361-4AEA-9598-8E8CD2917B90}" type="slidenum">
              <a:rPr lang="en-GB">
                <a:solidFill>
                  <a:srgbClr val="C0C0C0"/>
                </a:solidFill>
              </a:rPr>
              <a:pPr>
                <a:defRPr/>
              </a:pPr>
              <a:t>‹#›</a:t>
            </a:fld>
            <a:endParaRPr lang="en-GB">
              <a:solidFill>
                <a:srgbClr val="C0C0C0"/>
              </a:solidFill>
            </a:endParaRPr>
          </a:p>
        </p:txBody>
      </p:sp>
      <p:sp>
        <p:nvSpPr>
          <p:cNvPr id="11" name="Rectangle 1030"/>
          <p:cNvSpPr>
            <a:spLocks noGrp="1" noChangeArrowheads="1"/>
          </p:cNvSpPr>
          <p:nvPr>
            <p:ph type="ftr" sz="quarter" idx="16"/>
          </p:nvPr>
        </p:nvSpPr>
        <p:spPr>
          <a:ln/>
        </p:spPr>
        <p:txBody>
          <a:bodyPr/>
          <a:lstStyle>
            <a:lvl1pPr>
              <a:defRPr/>
            </a:lvl1pPr>
          </a:lstStyle>
          <a:p>
            <a:pPr>
              <a:defRPr/>
            </a:pPr>
            <a:r>
              <a:rPr lang="en-GB">
                <a:solidFill>
                  <a:srgbClr val="C0C0C0"/>
                </a:solidFill>
              </a:rPr>
              <a:t>Title of the presentation</a:t>
            </a:r>
          </a:p>
        </p:txBody>
      </p:sp>
      <p:sp>
        <p:nvSpPr>
          <p:cNvPr id="12" name="Espace réservé du contenu 2"/>
          <p:cNvSpPr>
            <a:spLocks noGrp="1"/>
          </p:cNvSpPr>
          <p:nvPr>
            <p:ph idx="17"/>
          </p:nvPr>
        </p:nvSpPr>
        <p:spPr>
          <a:xfrm>
            <a:off x="3307387" y="1214156"/>
            <a:ext cx="2520000" cy="3194100"/>
          </a:xfrm>
        </p:spPr>
        <p:txBody>
          <a:bodyPr/>
          <a:lstStyle>
            <a:lvl1pPr marL="0" indent="1588">
              <a:lnSpc>
                <a:spcPts val="2000"/>
              </a:lnSpc>
              <a:defRPr sz="1400" b="0"/>
            </a:lvl1pPr>
            <a:lvl2pPr marL="3175" indent="-3175">
              <a:lnSpc>
                <a:spcPts val="2000"/>
              </a:lnSpc>
              <a:spcBef>
                <a:spcPts val="2000"/>
              </a:spcBef>
              <a:buNone/>
              <a:defRPr sz="1400"/>
            </a:lvl2pPr>
            <a:lvl3pPr marL="175864" indent="-175864">
              <a:lnSpc>
                <a:spcPts val="2000"/>
              </a:lnSpc>
              <a:buFont typeface="Arial" pitchFamily="34" charset="0"/>
              <a:buChar char="–"/>
              <a:defRPr/>
            </a:lvl3pPr>
            <a:lvl4pPr marL="175864" indent="0">
              <a:lnSpc>
                <a:spcPts val="1500"/>
              </a:lnSpc>
              <a:buFontTx/>
              <a:buNone/>
              <a:defRPr sz="1100" b="1"/>
            </a:lvl4pPr>
            <a:lvl5pPr marL="175864" indent="0">
              <a:lnSpc>
                <a:spcPts val="1500"/>
              </a:lnSpc>
              <a:defRPr sz="11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3" name="Espace réservé du contenu 2"/>
          <p:cNvSpPr>
            <a:spLocks noGrp="1"/>
          </p:cNvSpPr>
          <p:nvPr>
            <p:ph idx="18"/>
          </p:nvPr>
        </p:nvSpPr>
        <p:spPr>
          <a:xfrm>
            <a:off x="6049920" y="1214156"/>
            <a:ext cx="2520000" cy="3194100"/>
          </a:xfrm>
        </p:spPr>
        <p:txBody>
          <a:bodyPr/>
          <a:lstStyle>
            <a:lvl1pPr marL="0" indent="1588">
              <a:lnSpc>
                <a:spcPts val="2000"/>
              </a:lnSpc>
              <a:defRPr sz="1400" b="0"/>
            </a:lvl1pPr>
            <a:lvl2pPr marL="3175" indent="-3175">
              <a:lnSpc>
                <a:spcPts val="2000"/>
              </a:lnSpc>
              <a:spcBef>
                <a:spcPts val="2000"/>
              </a:spcBef>
              <a:buNone/>
              <a:defRPr sz="1400"/>
            </a:lvl2pPr>
            <a:lvl3pPr marL="175864" indent="-175864">
              <a:lnSpc>
                <a:spcPts val="2000"/>
              </a:lnSpc>
              <a:buFont typeface="Arial" pitchFamily="34" charset="0"/>
              <a:buChar char="–"/>
              <a:defRPr/>
            </a:lvl3pPr>
            <a:lvl4pPr marL="175864" indent="0">
              <a:lnSpc>
                <a:spcPts val="1600"/>
              </a:lnSpc>
              <a:buFontTx/>
              <a:buNone/>
              <a:defRPr sz="1100" b="1"/>
            </a:lvl4pPr>
            <a:lvl5pPr marL="175864" indent="0">
              <a:lnSpc>
                <a:spcPts val="1600"/>
              </a:lnSpc>
              <a:defRPr sz="11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3536102088"/>
      </p:ext>
    </p:extLst>
  </p:cSld>
  <p:clrMapOvr>
    <a:masterClrMapping/>
  </p:clrMapOvr>
  <p:transition spd="slow">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cus text">
    <p:spTree>
      <p:nvGrpSpPr>
        <p:cNvPr id="1" name=""/>
        <p:cNvGrpSpPr/>
        <p:nvPr/>
      </p:nvGrpSpPr>
      <p:grpSpPr>
        <a:xfrm>
          <a:off x="0" y="0"/>
          <a:ext cx="0" cy="0"/>
          <a:chOff x="0" y="0"/>
          <a:chExt cx="0" cy="0"/>
        </a:xfrm>
      </p:grpSpPr>
      <p:sp>
        <p:nvSpPr>
          <p:cNvPr id="9" name="Line 12"/>
          <p:cNvSpPr>
            <a:spLocks noChangeShapeType="1"/>
          </p:cNvSpPr>
          <p:nvPr userDrawn="1"/>
        </p:nvSpPr>
        <p:spPr bwMode="auto">
          <a:xfrm>
            <a:off x="561975" y="1085850"/>
            <a:ext cx="8020050" cy="0"/>
          </a:xfrm>
          <a:prstGeom prst="line">
            <a:avLst/>
          </a:prstGeom>
          <a:noFill/>
          <a:ln w="25400">
            <a:solidFill>
              <a:schemeClr val="tx1"/>
            </a:solidFill>
            <a:round/>
            <a:headEnd/>
            <a:tailEnd/>
          </a:ln>
        </p:spPr>
        <p:txBody>
          <a:bodyPr lIns="91284" tIns="45642" rIns="91284" bIns="45642"/>
          <a:lstStyle/>
          <a:p>
            <a:pPr defTabSz="912644">
              <a:defRPr/>
            </a:pPr>
            <a:endParaRPr lang="fr-FR" sz="1800" u="sng">
              <a:solidFill>
                <a:srgbClr val="000000"/>
              </a:solidFill>
              <a:cs typeface="+mn-cs"/>
            </a:endParaRPr>
          </a:p>
        </p:txBody>
      </p:sp>
      <p:sp>
        <p:nvSpPr>
          <p:cNvPr id="2" name="Titre 1"/>
          <p:cNvSpPr>
            <a:spLocks noGrp="1"/>
          </p:cNvSpPr>
          <p:nvPr>
            <p:ph type="title"/>
          </p:nvPr>
        </p:nvSpPr>
        <p:spPr/>
        <p:txBody>
          <a:bodyPr/>
          <a:lstStyle/>
          <a:p>
            <a:r>
              <a:rPr lang="en-US"/>
              <a:t>Click to edit Master title style</a:t>
            </a:r>
            <a:endParaRPr lang="fr-FR" dirty="0"/>
          </a:p>
        </p:txBody>
      </p:sp>
      <p:sp>
        <p:nvSpPr>
          <p:cNvPr id="3" name="Espace réservé du contenu 2"/>
          <p:cNvSpPr>
            <a:spLocks noGrp="1"/>
          </p:cNvSpPr>
          <p:nvPr>
            <p:ph idx="1"/>
          </p:nvPr>
        </p:nvSpPr>
        <p:spPr>
          <a:xfrm>
            <a:off x="557272" y="1499443"/>
            <a:ext cx="8023225" cy="1412978"/>
          </a:xfrm>
        </p:spPr>
        <p:txBody>
          <a:bodyPr/>
          <a:lstStyle>
            <a:lvl1pPr marL="0" indent="1588">
              <a:lnSpc>
                <a:spcPts val="2900"/>
              </a:lnSpc>
              <a:defRPr sz="2800" b="1">
                <a:solidFill>
                  <a:schemeClr val="accent1"/>
                </a:solidFill>
              </a:defRPr>
            </a:lvl1pPr>
          </a:lstStyle>
          <a:p>
            <a:pPr lvl="0"/>
            <a:r>
              <a:rPr lang="en-US"/>
              <a:t>Click to edit Master text styles</a:t>
            </a:r>
          </a:p>
        </p:txBody>
      </p:sp>
      <p:sp>
        <p:nvSpPr>
          <p:cNvPr id="7" name="Espace réservé du texte 6"/>
          <p:cNvSpPr>
            <a:spLocks noGrp="1"/>
          </p:cNvSpPr>
          <p:nvPr>
            <p:ph type="body" sz="quarter" idx="12"/>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pic>
        <p:nvPicPr>
          <p:cNvPr id="12" name="Picture 14" descr="Fluidity_003"/>
          <p:cNvPicPr>
            <a:picLocks noChangeAspect="1" noChangeArrowheads="1"/>
          </p:cNvPicPr>
          <p:nvPr userDrawn="1"/>
        </p:nvPicPr>
        <p:blipFill>
          <a:blip r:embed="rId2" cstate="email"/>
          <a:srcRect/>
          <a:stretch>
            <a:fillRect/>
          </a:stretch>
        </p:blipFill>
        <p:spPr bwMode="auto">
          <a:xfrm>
            <a:off x="0" y="2296732"/>
            <a:ext cx="9144000" cy="2846851"/>
          </a:xfrm>
          <a:prstGeom prst="rect">
            <a:avLst/>
          </a:prstGeom>
          <a:noFill/>
          <a:ln w="9525">
            <a:noFill/>
            <a:miter lim="800000"/>
            <a:headEnd/>
            <a:tailEnd/>
          </a:ln>
        </p:spPr>
      </p:pic>
      <p:sp>
        <p:nvSpPr>
          <p:cNvPr id="10" name="Rectangle 1029"/>
          <p:cNvSpPr>
            <a:spLocks noGrp="1" noChangeArrowheads="1"/>
          </p:cNvSpPr>
          <p:nvPr>
            <p:ph type="sldNum" sz="quarter" idx="13"/>
          </p:nvPr>
        </p:nvSpPr>
        <p:spPr>
          <a:solidFill>
            <a:schemeClr val="tx1">
              <a:alpha val="67000"/>
            </a:schemeClr>
          </a:solidFill>
        </p:spPr>
        <p:txBody>
          <a:bodyPr/>
          <a:lstStyle>
            <a:lvl1pPr>
              <a:defRPr/>
            </a:lvl1pPr>
          </a:lstStyle>
          <a:p>
            <a:pPr>
              <a:defRPr/>
            </a:pPr>
            <a:fld id="{BEB804CA-36F9-498D-8CAB-16793DD9AA7D}" type="slidenum">
              <a:rPr lang="en-GB">
                <a:solidFill>
                  <a:srgbClr val="C0C0C0"/>
                </a:solidFill>
              </a:rPr>
              <a:pPr>
                <a:defRPr/>
              </a:pPr>
              <a:t>‹#›</a:t>
            </a:fld>
            <a:endParaRPr lang="en-GB">
              <a:solidFill>
                <a:srgbClr val="C0C0C0"/>
              </a:solidFill>
            </a:endParaRPr>
          </a:p>
        </p:txBody>
      </p:sp>
      <p:sp>
        <p:nvSpPr>
          <p:cNvPr id="11" name="Rectangle 1030"/>
          <p:cNvSpPr>
            <a:spLocks noGrp="1" noChangeArrowheads="1"/>
          </p:cNvSpPr>
          <p:nvPr>
            <p:ph type="ftr" sz="quarter" idx="14"/>
          </p:nvPr>
        </p:nvSpPr>
        <p:spPr>
          <a:xfrm>
            <a:off x="2001330" y="4955884"/>
            <a:ext cx="6123497" cy="80468"/>
          </a:xfrm>
          <a:solidFill>
            <a:schemeClr val="tx1">
              <a:alpha val="67000"/>
            </a:schemeClr>
          </a:solidFill>
        </p:spPr>
        <p:txBody>
          <a:bodyPr/>
          <a:lstStyle>
            <a:lvl1pPr>
              <a:defRPr/>
            </a:lvl1pPr>
          </a:lstStyle>
          <a:p>
            <a:pPr>
              <a:defRPr/>
            </a:pPr>
            <a:r>
              <a:rPr lang="en-GB" dirty="0">
                <a:solidFill>
                  <a:srgbClr val="C0C0C0"/>
                </a:solidFill>
              </a:rPr>
              <a:t>Title of the presentation</a:t>
            </a:r>
          </a:p>
        </p:txBody>
      </p:sp>
    </p:spTree>
    <p:extLst>
      <p:ext uri="{BB962C8B-B14F-4D97-AF65-F5344CB8AC3E}">
        <p14:creationId xmlns:p14="http://schemas.microsoft.com/office/powerpoint/2010/main" val="2041808630"/>
      </p:ext>
    </p:extLst>
  </p:cSld>
  <p:clrMapOvr>
    <a:masterClrMapping/>
  </p:clrMapOvr>
  <p:transition spd="slow">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ne  large graph">
    <p:spTree>
      <p:nvGrpSpPr>
        <p:cNvPr id="1" name=""/>
        <p:cNvGrpSpPr/>
        <p:nvPr/>
      </p:nvGrpSpPr>
      <p:grpSpPr>
        <a:xfrm>
          <a:off x="0" y="0"/>
          <a:ext cx="0" cy="0"/>
          <a:chOff x="0" y="0"/>
          <a:chExt cx="0" cy="0"/>
        </a:xfrm>
      </p:grpSpPr>
      <p:sp>
        <p:nvSpPr>
          <p:cNvPr id="5" name="Line 12"/>
          <p:cNvSpPr>
            <a:spLocks noChangeShapeType="1"/>
          </p:cNvSpPr>
          <p:nvPr userDrawn="1"/>
        </p:nvSpPr>
        <p:spPr bwMode="auto">
          <a:xfrm>
            <a:off x="561975" y="1085850"/>
            <a:ext cx="8020050" cy="0"/>
          </a:xfrm>
          <a:prstGeom prst="line">
            <a:avLst/>
          </a:prstGeom>
          <a:noFill/>
          <a:ln w="25400">
            <a:solidFill>
              <a:schemeClr val="tx1"/>
            </a:solidFill>
            <a:round/>
            <a:headEnd/>
            <a:tailEnd/>
          </a:ln>
        </p:spPr>
        <p:txBody>
          <a:bodyPr lIns="91284" tIns="45642" rIns="91284" bIns="45642"/>
          <a:lstStyle/>
          <a:p>
            <a:pPr defTabSz="912644">
              <a:defRPr/>
            </a:pPr>
            <a:endParaRPr lang="fr-FR" sz="1800" u="sng">
              <a:solidFill>
                <a:srgbClr val="000000"/>
              </a:solidFill>
              <a:cs typeface="+mn-cs"/>
            </a:endParaRPr>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graphique 2"/>
          <p:cNvSpPr>
            <a:spLocks noGrp="1"/>
          </p:cNvSpPr>
          <p:nvPr>
            <p:ph type="chart" idx="1"/>
          </p:nvPr>
        </p:nvSpPr>
        <p:spPr>
          <a:xfrm>
            <a:off x="557272" y="1214441"/>
            <a:ext cx="8023225" cy="3201591"/>
          </a:xfrm>
        </p:spPr>
        <p:txBody>
          <a:bodyPr/>
          <a:lstStyle/>
          <a:p>
            <a:pPr lvl="0"/>
            <a:r>
              <a:rPr lang="en-US" noProof="0"/>
              <a:t>Click icon to add chart</a:t>
            </a:r>
            <a:endParaRPr lang="fr-FR" noProof="0"/>
          </a:p>
        </p:txBody>
      </p:sp>
      <p:sp>
        <p:nvSpPr>
          <p:cNvPr id="6" name="Espace réservé du texte 6"/>
          <p:cNvSpPr>
            <a:spLocks noGrp="1"/>
          </p:cNvSpPr>
          <p:nvPr>
            <p:ph type="body" sz="quarter" idx="12"/>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7" name="Rectangle 1029"/>
          <p:cNvSpPr>
            <a:spLocks noGrp="1" noChangeArrowheads="1"/>
          </p:cNvSpPr>
          <p:nvPr>
            <p:ph type="sldNum" sz="quarter" idx="13"/>
          </p:nvPr>
        </p:nvSpPr>
        <p:spPr/>
        <p:txBody>
          <a:bodyPr/>
          <a:lstStyle>
            <a:lvl1pPr>
              <a:defRPr/>
            </a:lvl1pPr>
          </a:lstStyle>
          <a:p>
            <a:pPr>
              <a:defRPr/>
            </a:pPr>
            <a:fld id="{78CD9BE7-8D06-46E1-804E-61286ABEB768}" type="slidenum">
              <a:rPr lang="en-GB">
                <a:solidFill>
                  <a:srgbClr val="C0C0C0"/>
                </a:solidFill>
              </a:rPr>
              <a:pPr>
                <a:defRPr/>
              </a:pPr>
              <a:t>‹#›</a:t>
            </a:fld>
            <a:endParaRPr lang="en-GB">
              <a:solidFill>
                <a:srgbClr val="C0C0C0"/>
              </a:solidFill>
            </a:endParaRPr>
          </a:p>
        </p:txBody>
      </p:sp>
      <p:sp>
        <p:nvSpPr>
          <p:cNvPr id="8" name="Rectangle 1030"/>
          <p:cNvSpPr>
            <a:spLocks noGrp="1" noChangeArrowheads="1"/>
          </p:cNvSpPr>
          <p:nvPr>
            <p:ph type="ftr" sz="quarter" idx="14"/>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1869553446"/>
      </p:ext>
    </p:extLst>
  </p:cSld>
  <p:clrMapOvr>
    <a:masterClrMapping/>
  </p:clrMapOvr>
  <p:transition spd="slow">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graphs">
    <p:spTree>
      <p:nvGrpSpPr>
        <p:cNvPr id="1" name=""/>
        <p:cNvGrpSpPr/>
        <p:nvPr/>
      </p:nvGrpSpPr>
      <p:grpSpPr>
        <a:xfrm>
          <a:off x="0" y="0"/>
          <a:ext cx="0" cy="0"/>
          <a:chOff x="0" y="0"/>
          <a:chExt cx="0" cy="0"/>
        </a:xfrm>
      </p:grpSpPr>
      <p:sp>
        <p:nvSpPr>
          <p:cNvPr id="6" name="Line 12"/>
          <p:cNvSpPr>
            <a:spLocks noChangeShapeType="1"/>
          </p:cNvSpPr>
          <p:nvPr userDrawn="1"/>
        </p:nvSpPr>
        <p:spPr bwMode="auto">
          <a:xfrm>
            <a:off x="561975" y="1085850"/>
            <a:ext cx="8020050" cy="0"/>
          </a:xfrm>
          <a:prstGeom prst="line">
            <a:avLst/>
          </a:prstGeom>
          <a:noFill/>
          <a:ln w="25400">
            <a:solidFill>
              <a:schemeClr val="tx1"/>
            </a:solidFill>
            <a:round/>
            <a:headEnd/>
            <a:tailEnd/>
          </a:ln>
        </p:spPr>
        <p:txBody>
          <a:bodyPr lIns="91284" tIns="45642" rIns="91284" bIns="45642"/>
          <a:lstStyle/>
          <a:p>
            <a:pPr defTabSz="912644">
              <a:defRPr/>
            </a:pPr>
            <a:endParaRPr lang="fr-FR" sz="1800" u="sng">
              <a:solidFill>
                <a:srgbClr val="000000"/>
              </a:solidFill>
              <a:cs typeface="+mn-cs"/>
            </a:endParaRPr>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8" name="Espace réservé du graphique 7"/>
          <p:cNvSpPr>
            <a:spLocks noGrp="1"/>
          </p:cNvSpPr>
          <p:nvPr>
            <p:ph type="chart" sz="quarter" idx="12"/>
          </p:nvPr>
        </p:nvSpPr>
        <p:spPr>
          <a:xfrm>
            <a:off x="4686308" y="1650208"/>
            <a:ext cx="3895725" cy="2562566"/>
          </a:xfrm>
        </p:spPr>
        <p:txBody>
          <a:bodyPr/>
          <a:lstStyle/>
          <a:p>
            <a:pPr lvl="0"/>
            <a:r>
              <a:rPr lang="en-US" noProof="0"/>
              <a:t>Click icon to add chart</a:t>
            </a:r>
            <a:endParaRPr lang="fr-FR" noProof="0"/>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11" name="Espace réservé du graphique 7"/>
          <p:cNvSpPr>
            <a:spLocks noGrp="1"/>
          </p:cNvSpPr>
          <p:nvPr>
            <p:ph type="chart" sz="quarter" idx="14"/>
          </p:nvPr>
        </p:nvSpPr>
        <p:spPr>
          <a:xfrm>
            <a:off x="526358" y="1650208"/>
            <a:ext cx="3895725" cy="2562566"/>
          </a:xfrm>
        </p:spPr>
        <p:txBody>
          <a:bodyPr/>
          <a:lstStyle/>
          <a:p>
            <a:pPr lvl="0"/>
            <a:r>
              <a:rPr lang="en-US" noProof="0"/>
              <a:t>Click icon to add chart</a:t>
            </a:r>
            <a:endParaRPr lang="fr-FR" noProof="0"/>
          </a:p>
        </p:txBody>
      </p:sp>
      <p:sp>
        <p:nvSpPr>
          <p:cNvPr id="7" name="Rectangle 1029"/>
          <p:cNvSpPr>
            <a:spLocks noGrp="1" noChangeArrowheads="1"/>
          </p:cNvSpPr>
          <p:nvPr>
            <p:ph type="sldNum" sz="quarter" idx="15"/>
          </p:nvPr>
        </p:nvSpPr>
        <p:spPr/>
        <p:txBody>
          <a:bodyPr/>
          <a:lstStyle>
            <a:lvl1pPr>
              <a:defRPr/>
            </a:lvl1pPr>
          </a:lstStyle>
          <a:p>
            <a:pPr>
              <a:defRPr/>
            </a:pPr>
            <a:fld id="{B16C3B68-31BC-4688-A6C1-E0F09ED34F38}" type="slidenum">
              <a:rPr lang="en-GB">
                <a:solidFill>
                  <a:srgbClr val="C0C0C0"/>
                </a:solidFill>
              </a:rPr>
              <a:pPr>
                <a:defRPr/>
              </a:pPr>
              <a:t>‹#›</a:t>
            </a:fld>
            <a:endParaRPr lang="en-GB">
              <a:solidFill>
                <a:srgbClr val="C0C0C0"/>
              </a:solidFill>
            </a:endParaRPr>
          </a:p>
        </p:txBody>
      </p:sp>
      <p:sp>
        <p:nvSpPr>
          <p:cNvPr id="10" name="Rectangle 1030"/>
          <p:cNvSpPr>
            <a:spLocks noGrp="1" noChangeArrowheads="1"/>
          </p:cNvSpPr>
          <p:nvPr>
            <p:ph type="ftr" sz="quarter" idx="16"/>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936201693"/>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269" indent="0">
              <a:buNone/>
              <a:defRPr sz="2800"/>
            </a:lvl2pPr>
            <a:lvl3pPr marL="912644" indent="0">
              <a:buNone/>
              <a:defRPr sz="2400"/>
            </a:lvl3pPr>
            <a:lvl4pPr marL="1368948" indent="0">
              <a:buNone/>
              <a:defRPr sz="2000"/>
            </a:lvl4pPr>
            <a:lvl5pPr marL="1825286" indent="0">
              <a:buNone/>
              <a:defRPr sz="2000"/>
            </a:lvl5pPr>
            <a:lvl6pPr marL="2281554" indent="0">
              <a:buNone/>
              <a:defRPr sz="2000"/>
            </a:lvl6pPr>
            <a:lvl7pPr marL="2737820" indent="0">
              <a:buNone/>
              <a:defRPr sz="2000"/>
            </a:lvl7pPr>
            <a:lvl8pPr marL="3194165" indent="0">
              <a:buNone/>
              <a:defRPr sz="2000"/>
            </a:lvl8pPr>
            <a:lvl9pPr marL="3650488" indent="0">
              <a:buNone/>
              <a:defRPr sz="2000"/>
            </a:lvl9pPr>
          </a:lstStyle>
          <a:p>
            <a:pPr lvl="0"/>
            <a:endParaRPr lang="en-US" noProof="0"/>
          </a:p>
        </p:txBody>
      </p:sp>
      <p:sp>
        <p:nvSpPr>
          <p:cNvPr id="4" name="Text Placeholder 3"/>
          <p:cNvSpPr>
            <a:spLocks noGrp="1"/>
          </p:cNvSpPr>
          <p:nvPr>
            <p:ph type="body" sz="half" idx="2"/>
          </p:nvPr>
        </p:nvSpPr>
        <p:spPr>
          <a:xfrm>
            <a:off x="1792288" y="4025581"/>
            <a:ext cx="5486400" cy="603647"/>
          </a:xfrm>
        </p:spPr>
        <p:txBody>
          <a:bodyPr/>
          <a:lstStyle>
            <a:lvl1pPr marL="0" indent="0">
              <a:buNone/>
              <a:defRPr sz="1400"/>
            </a:lvl1pPr>
            <a:lvl2pPr marL="456269" indent="0">
              <a:buNone/>
              <a:defRPr sz="1200"/>
            </a:lvl2pPr>
            <a:lvl3pPr marL="912644" indent="0">
              <a:buNone/>
              <a:defRPr sz="1000"/>
            </a:lvl3pPr>
            <a:lvl4pPr marL="1368948" indent="0">
              <a:buNone/>
              <a:defRPr sz="900"/>
            </a:lvl4pPr>
            <a:lvl5pPr marL="1825286" indent="0">
              <a:buNone/>
              <a:defRPr sz="900"/>
            </a:lvl5pPr>
            <a:lvl6pPr marL="2281554" indent="0">
              <a:buNone/>
              <a:defRPr sz="900"/>
            </a:lvl6pPr>
            <a:lvl7pPr marL="2737820" indent="0">
              <a:buNone/>
              <a:defRPr sz="900"/>
            </a:lvl7pPr>
            <a:lvl8pPr marL="3194165" indent="0">
              <a:buNone/>
              <a:defRPr sz="900"/>
            </a:lvl8pPr>
            <a:lvl9pPr marL="3650488" indent="0">
              <a:buNone/>
              <a:defRPr sz="900"/>
            </a:lvl9pPr>
          </a:lstStyle>
          <a:p>
            <a:pPr lvl="0"/>
            <a:r>
              <a:rPr lang="en-GB"/>
              <a:t>Click to edit Master text styles</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6" name="Line 12"/>
          <p:cNvSpPr>
            <a:spLocks noChangeShapeType="1"/>
          </p:cNvSpPr>
          <p:nvPr userDrawn="1"/>
        </p:nvSpPr>
        <p:spPr bwMode="auto">
          <a:xfrm>
            <a:off x="561975" y="1085850"/>
            <a:ext cx="8020050" cy="0"/>
          </a:xfrm>
          <a:prstGeom prst="line">
            <a:avLst/>
          </a:prstGeom>
          <a:noFill/>
          <a:ln w="25400">
            <a:solidFill>
              <a:schemeClr val="tx1"/>
            </a:solidFill>
            <a:round/>
            <a:headEnd/>
            <a:tailEnd/>
          </a:ln>
        </p:spPr>
        <p:txBody>
          <a:bodyPr lIns="91284" tIns="45642" rIns="91284" bIns="45642"/>
          <a:lstStyle/>
          <a:p>
            <a:pPr defTabSz="912644">
              <a:defRPr/>
            </a:pPr>
            <a:endParaRPr lang="fr-FR" sz="1800" u="sng">
              <a:solidFill>
                <a:srgbClr val="000000"/>
              </a:solidFill>
              <a:cs typeface="+mn-cs"/>
            </a:endParaRPr>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650212"/>
            <a:ext cx="3935412" cy="2765822"/>
          </a:xfrm>
        </p:spPr>
        <p:txBody>
          <a:bodyPr/>
          <a:lstStyle>
            <a:lvl1pPr marL="0" indent="1588">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8" name="Espace réservé du graphique 7"/>
          <p:cNvSpPr>
            <a:spLocks noGrp="1"/>
          </p:cNvSpPr>
          <p:nvPr>
            <p:ph type="chart" sz="quarter" idx="12"/>
          </p:nvPr>
        </p:nvSpPr>
        <p:spPr>
          <a:xfrm>
            <a:off x="4686308" y="1650208"/>
            <a:ext cx="3895725" cy="2562566"/>
          </a:xfrm>
        </p:spPr>
        <p:txBody>
          <a:bodyPr/>
          <a:lstStyle/>
          <a:p>
            <a:pPr lvl="0"/>
            <a:r>
              <a:rPr lang="en-US" noProof="0"/>
              <a:t>Click icon to add chart</a:t>
            </a:r>
            <a:endParaRPr lang="fr-FR" noProof="0"/>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7" name="Rectangle 1029"/>
          <p:cNvSpPr>
            <a:spLocks noGrp="1" noChangeArrowheads="1"/>
          </p:cNvSpPr>
          <p:nvPr>
            <p:ph type="sldNum" sz="quarter" idx="14"/>
          </p:nvPr>
        </p:nvSpPr>
        <p:spPr/>
        <p:txBody>
          <a:bodyPr/>
          <a:lstStyle>
            <a:lvl1pPr>
              <a:defRPr/>
            </a:lvl1pPr>
          </a:lstStyle>
          <a:p>
            <a:pPr>
              <a:defRPr/>
            </a:pPr>
            <a:fld id="{7CF0DC19-3256-4E21-AA54-B85BDD72283E}" type="slidenum">
              <a:rPr lang="en-GB">
                <a:solidFill>
                  <a:srgbClr val="C0C0C0"/>
                </a:solidFill>
              </a:rPr>
              <a:pPr>
                <a:defRPr/>
              </a:pPr>
              <a:t>‹#›</a:t>
            </a:fld>
            <a:endParaRPr lang="en-GB">
              <a:solidFill>
                <a:srgbClr val="C0C0C0"/>
              </a:solidFill>
            </a:endParaRPr>
          </a:p>
        </p:txBody>
      </p:sp>
      <p:sp>
        <p:nvSpPr>
          <p:cNvPr id="10" name="Rectangle 1030"/>
          <p:cNvSpPr>
            <a:spLocks noGrp="1" noChangeArrowheads="1"/>
          </p:cNvSpPr>
          <p:nvPr>
            <p:ph type="ftr" sz="quarter" idx="15"/>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2784463679"/>
      </p:ext>
    </p:extLst>
  </p:cSld>
  <p:clrMapOvr>
    <a:masterClrMapping/>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with header and graph">
    <p:spTree>
      <p:nvGrpSpPr>
        <p:cNvPr id="1" name=""/>
        <p:cNvGrpSpPr/>
        <p:nvPr/>
      </p:nvGrpSpPr>
      <p:grpSpPr>
        <a:xfrm>
          <a:off x="0" y="0"/>
          <a:ext cx="0" cy="0"/>
          <a:chOff x="0" y="0"/>
          <a:chExt cx="0" cy="0"/>
        </a:xfrm>
      </p:grpSpPr>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97"/>
            <a:ext cx="3935412" cy="3194447"/>
          </a:xfrm>
        </p:spPr>
        <p:txBody>
          <a:bodyPr/>
          <a:lstStyle>
            <a:lvl1pPr marL="0" indent="1588">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8" name="Espace réservé du graphique 7"/>
          <p:cNvSpPr>
            <a:spLocks noGrp="1"/>
          </p:cNvSpPr>
          <p:nvPr>
            <p:ph type="chart" sz="quarter" idx="12"/>
          </p:nvPr>
        </p:nvSpPr>
        <p:spPr>
          <a:xfrm>
            <a:off x="4686308" y="1221594"/>
            <a:ext cx="3895725" cy="2991191"/>
          </a:xfrm>
        </p:spPr>
        <p:txBody>
          <a:bodyPr/>
          <a:lstStyle/>
          <a:p>
            <a:pPr lvl="0"/>
            <a:r>
              <a:rPr lang="en-US" noProof="0"/>
              <a:t>Click icon to add chart</a:t>
            </a:r>
            <a:endParaRPr lang="fr-FR" noProof="0"/>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7" name="Rectangle 1029"/>
          <p:cNvSpPr>
            <a:spLocks noGrp="1" noChangeArrowheads="1"/>
          </p:cNvSpPr>
          <p:nvPr>
            <p:ph type="sldNum" sz="quarter" idx="14"/>
          </p:nvPr>
        </p:nvSpPr>
        <p:spPr/>
        <p:txBody>
          <a:bodyPr/>
          <a:lstStyle>
            <a:lvl1pPr>
              <a:defRPr/>
            </a:lvl1pPr>
          </a:lstStyle>
          <a:p>
            <a:pPr>
              <a:defRPr/>
            </a:pPr>
            <a:fld id="{7CF0DC19-3256-4E21-AA54-B85BDD72283E}" type="slidenum">
              <a:rPr lang="en-GB">
                <a:solidFill>
                  <a:srgbClr val="C0C0C0"/>
                </a:solidFill>
              </a:rPr>
              <a:pPr>
                <a:defRPr/>
              </a:pPr>
              <a:t>‹#›</a:t>
            </a:fld>
            <a:endParaRPr lang="en-GB">
              <a:solidFill>
                <a:srgbClr val="C0C0C0"/>
              </a:solidFill>
            </a:endParaRPr>
          </a:p>
        </p:txBody>
      </p:sp>
      <p:sp>
        <p:nvSpPr>
          <p:cNvPr id="10" name="Rectangle 1030"/>
          <p:cNvSpPr>
            <a:spLocks noGrp="1" noChangeArrowheads="1"/>
          </p:cNvSpPr>
          <p:nvPr>
            <p:ph type="ftr" sz="quarter" idx="15"/>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617863681"/>
      </p:ext>
    </p:extLst>
  </p:cSld>
  <p:clrMapOvr>
    <a:masterClrMapping/>
  </p:clrMapOvr>
  <p:transition spd="slow">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with header and picture">
    <p:spTree>
      <p:nvGrpSpPr>
        <p:cNvPr id="1" name=""/>
        <p:cNvGrpSpPr/>
        <p:nvPr/>
      </p:nvGrpSpPr>
      <p:grpSpPr>
        <a:xfrm>
          <a:off x="0" y="0"/>
          <a:ext cx="0" cy="0"/>
          <a:chOff x="0" y="0"/>
          <a:chExt cx="0" cy="0"/>
        </a:xfrm>
      </p:grpSpPr>
      <p:sp>
        <p:nvSpPr>
          <p:cNvPr id="3078" name="Freeform 6"/>
          <p:cNvSpPr>
            <a:spLocks noEditPoints="1"/>
          </p:cNvSpPr>
          <p:nvPr userDrawn="1"/>
        </p:nvSpPr>
        <p:spPr bwMode="auto">
          <a:xfrm>
            <a:off x="5434999" y="735296"/>
            <a:ext cx="3379787" cy="2792016"/>
          </a:xfrm>
          <a:custGeom>
            <a:avLst/>
            <a:gdLst/>
            <a:ahLst/>
            <a:cxnLst>
              <a:cxn ang="0">
                <a:pos x="8675" y="1568"/>
              </a:cxn>
              <a:cxn ang="0">
                <a:pos x="5553" y="1003"/>
              </a:cxn>
              <a:cxn ang="0">
                <a:pos x="5270" y="707"/>
              </a:cxn>
              <a:cxn ang="0">
                <a:pos x="6160" y="325"/>
              </a:cxn>
              <a:cxn ang="0">
                <a:pos x="6005" y="481"/>
              </a:cxn>
              <a:cxn ang="0">
                <a:pos x="2402" y="410"/>
              </a:cxn>
              <a:cxn ang="0">
                <a:pos x="2699" y="452"/>
              </a:cxn>
              <a:cxn ang="0">
                <a:pos x="2558" y="311"/>
              </a:cxn>
              <a:cxn ang="0">
                <a:pos x="3038" y="99"/>
              </a:cxn>
              <a:cxn ang="0">
                <a:pos x="2939" y="198"/>
              </a:cxn>
              <a:cxn ang="0">
                <a:pos x="4154" y="650"/>
              </a:cxn>
              <a:cxn ang="0">
                <a:pos x="4479" y="608"/>
              </a:cxn>
              <a:cxn ang="0">
                <a:pos x="4366" y="509"/>
              </a:cxn>
              <a:cxn ang="0">
                <a:pos x="8420" y="2641"/>
              </a:cxn>
              <a:cxn ang="0">
                <a:pos x="8548" y="2514"/>
              </a:cxn>
              <a:cxn ang="0">
                <a:pos x="1554" y="509"/>
              </a:cxn>
              <a:cxn ang="0">
                <a:pos x="1766" y="523"/>
              </a:cxn>
              <a:cxn ang="0">
                <a:pos x="1682" y="438"/>
              </a:cxn>
              <a:cxn ang="0">
                <a:pos x="8406" y="1173"/>
              </a:cxn>
              <a:cxn ang="0">
                <a:pos x="8322" y="1271"/>
              </a:cxn>
              <a:cxn ang="0">
                <a:pos x="3829" y="99"/>
              </a:cxn>
              <a:cxn ang="0">
                <a:pos x="6753" y="947"/>
              </a:cxn>
              <a:cxn ang="0">
                <a:pos x="6612" y="791"/>
              </a:cxn>
              <a:cxn ang="0">
                <a:pos x="8081" y="834"/>
              </a:cxn>
              <a:cxn ang="0">
                <a:pos x="7912" y="1003"/>
              </a:cxn>
              <a:cxn ang="0">
                <a:pos x="8110" y="551"/>
              </a:cxn>
              <a:cxn ang="0">
                <a:pos x="8562" y="1893"/>
              </a:cxn>
              <a:cxn ang="0">
                <a:pos x="8011" y="1314"/>
              </a:cxn>
              <a:cxn ang="0">
                <a:pos x="7601" y="1568"/>
              </a:cxn>
              <a:cxn ang="0">
                <a:pos x="7544" y="1469"/>
              </a:cxn>
              <a:cxn ang="0">
                <a:pos x="7248" y="1173"/>
              </a:cxn>
              <a:cxn ang="0">
                <a:pos x="6697" y="1215"/>
              </a:cxn>
              <a:cxn ang="0">
                <a:pos x="6188" y="989"/>
              </a:cxn>
              <a:cxn ang="0">
                <a:pos x="5835" y="1173"/>
              </a:cxn>
              <a:cxn ang="0">
                <a:pos x="5383" y="1187"/>
              </a:cxn>
              <a:cxn ang="0">
                <a:pos x="4776" y="848"/>
              </a:cxn>
              <a:cxn ang="0">
                <a:pos x="4507" y="1045"/>
              </a:cxn>
              <a:cxn ang="0">
                <a:pos x="3984" y="1257"/>
              </a:cxn>
              <a:cxn ang="0">
                <a:pos x="3363" y="1003"/>
              </a:cxn>
              <a:cxn ang="0">
                <a:pos x="3448" y="848"/>
              </a:cxn>
              <a:cxn ang="0">
                <a:pos x="3744" y="834"/>
              </a:cxn>
              <a:cxn ang="0">
                <a:pos x="3448" y="297"/>
              </a:cxn>
              <a:cxn ang="0">
                <a:pos x="2967" y="594"/>
              </a:cxn>
              <a:cxn ang="0">
                <a:pos x="2374" y="1017"/>
              </a:cxn>
              <a:cxn ang="0">
                <a:pos x="2063" y="678"/>
              </a:cxn>
              <a:cxn ang="0">
                <a:pos x="1922" y="1300"/>
              </a:cxn>
              <a:cxn ang="0">
                <a:pos x="1526" y="1017"/>
              </a:cxn>
              <a:cxn ang="0">
                <a:pos x="947" y="1045"/>
              </a:cxn>
              <a:cxn ang="0">
                <a:pos x="509" y="1596"/>
              </a:cxn>
              <a:cxn ang="0">
                <a:pos x="679" y="9772"/>
              </a:cxn>
              <a:cxn ang="0">
                <a:pos x="8279" y="3093"/>
              </a:cxn>
              <a:cxn ang="0">
                <a:pos x="8307" y="2599"/>
              </a:cxn>
              <a:cxn ang="0">
                <a:pos x="8420" y="2133"/>
              </a:cxn>
              <a:cxn ang="0">
                <a:pos x="8675" y="2034"/>
              </a:cxn>
              <a:cxn ang="0">
                <a:pos x="5849" y="1130"/>
              </a:cxn>
              <a:cxn ang="0">
                <a:pos x="5736" y="1017"/>
              </a:cxn>
            </a:cxnLst>
            <a:rect l="0" t="0" r="r" b="b"/>
            <a:pathLst>
              <a:path w="8872" h="9772">
                <a:moveTo>
                  <a:pt x="8675" y="1158"/>
                </a:moveTo>
                <a:cubicBezTo>
                  <a:pt x="8562" y="1158"/>
                  <a:pt x="8463" y="1243"/>
                  <a:pt x="8463" y="1356"/>
                </a:cubicBezTo>
                <a:cubicBezTo>
                  <a:pt x="8463" y="1469"/>
                  <a:pt x="8562" y="1568"/>
                  <a:pt x="8675" y="1568"/>
                </a:cubicBezTo>
                <a:cubicBezTo>
                  <a:pt x="8788" y="1568"/>
                  <a:pt x="8872" y="1469"/>
                  <a:pt x="8872" y="1356"/>
                </a:cubicBezTo>
                <a:cubicBezTo>
                  <a:pt x="8872" y="1243"/>
                  <a:pt x="8788" y="1158"/>
                  <a:pt x="8675" y="1158"/>
                </a:cubicBezTo>
                <a:close/>
                <a:moveTo>
                  <a:pt x="5553" y="1003"/>
                </a:moveTo>
                <a:cubicBezTo>
                  <a:pt x="5722" y="1003"/>
                  <a:pt x="5849" y="862"/>
                  <a:pt x="5849" y="707"/>
                </a:cubicBezTo>
                <a:cubicBezTo>
                  <a:pt x="5849" y="537"/>
                  <a:pt x="5722" y="410"/>
                  <a:pt x="5553" y="410"/>
                </a:cubicBezTo>
                <a:cubicBezTo>
                  <a:pt x="5397" y="410"/>
                  <a:pt x="5270" y="537"/>
                  <a:pt x="5270" y="707"/>
                </a:cubicBezTo>
                <a:cubicBezTo>
                  <a:pt x="5270" y="862"/>
                  <a:pt x="5397" y="1003"/>
                  <a:pt x="5553" y="1003"/>
                </a:cubicBezTo>
                <a:close/>
                <a:moveTo>
                  <a:pt x="6005" y="481"/>
                </a:moveTo>
                <a:cubicBezTo>
                  <a:pt x="6089" y="481"/>
                  <a:pt x="6160" y="410"/>
                  <a:pt x="6160" y="325"/>
                </a:cubicBezTo>
                <a:cubicBezTo>
                  <a:pt x="6160" y="241"/>
                  <a:pt x="6089" y="184"/>
                  <a:pt x="6005" y="184"/>
                </a:cubicBezTo>
                <a:cubicBezTo>
                  <a:pt x="5920" y="184"/>
                  <a:pt x="5849" y="241"/>
                  <a:pt x="5849" y="325"/>
                </a:cubicBezTo>
                <a:cubicBezTo>
                  <a:pt x="5849" y="410"/>
                  <a:pt x="5920" y="481"/>
                  <a:pt x="6005" y="481"/>
                </a:cubicBezTo>
                <a:close/>
                <a:moveTo>
                  <a:pt x="2402" y="777"/>
                </a:moveTo>
                <a:cubicBezTo>
                  <a:pt x="2501" y="777"/>
                  <a:pt x="2586" y="692"/>
                  <a:pt x="2586" y="594"/>
                </a:cubicBezTo>
                <a:cubicBezTo>
                  <a:pt x="2586" y="495"/>
                  <a:pt x="2501" y="410"/>
                  <a:pt x="2402" y="410"/>
                </a:cubicBezTo>
                <a:cubicBezTo>
                  <a:pt x="2303" y="410"/>
                  <a:pt x="2218" y="495"/>
                  <a:pt x="2218" y="594"/>
                </a:cubicBezTo>
                <a:cubicBezTo>
                  <a:pt x="2218" y="692"/>
                  <a:pt x="2303" y="777"/>
                  <a:pt x="2402" y="777"/>
                </a:cubicBezTo>
                <a:close/>
                <a:moveTo>
                  <a:pt x="2699" y="452"/>
                </a:moveTo>
                <a:cubicBezTo>
                  <a:pt x="2784" y="452"/>
                  <a:pt x="2840" y="396"/>
                  <a:pt x="2840" y="311"/>
                </a:cubicBezTo>
                <a:cubicBezTo>
                  <a:pt x="2840" y="241"/>
                  <a:pt x="2784" y="170"/>
                  <a:pt x="2699" y="170"/>
                </a:cubicBezTo>
                <a:cubicBezTo>
                  <a:pt x="2628" y="170"/>
                  <a:pt x="2558" y="241"/>
                  <a:pt x="2558" y="311"/>
                </a:cubicBezTo>
                <a:cubicBezTo>
                  <a:pt x="2558" y="396"/>
                  <a:pt x="2628" y="452"/>
                  <a:pt x="2699" y="452"/>
                </a:cubicBezTo>
                <a:close/>
                <a:moveTo>
                  <a:pt x="2939" y="198"/>
                </a:moveTo>
                <a:cubicBezTo>
                  <a:pt x="2995" y="198"/>
                  <a:pt x="3038" y="156"/>
                  <a:pt x="3038" y="99"/>
                </a:cubicBezTo>
                <a:cubicBezTo>
                  <a:pt x="3038" y="43"/>
                  <a:pt x="2995" y="0"/>
                  <a:pt x="2939" y="0"/>
                </a:cubicBezTo>
                <a:cubicBezTo>
                  <a:pt x="2882" y="0"/>
                  <a:pt x="2840" y="43"/>
                  <a:pt x="2840" y="99"/>
                </a:cubicBezTo>
                <a:cubicBezTo>
                  <a:pt x="2840" y="156"/>
                  <a:pt x="2882" y="198"/>
                  <a:pt x="2939" y="198"/>
                </a:cubicBezTo>
                <a:close/>
                <a:moveTo>
                  <a:pt x="4154" y="1031"/>
                </a:moveTo>
                <a:cubicBezTo>
                  <a:pt x="4253" y="1031"/>
                  <a:pt x="4338" y="947"/>
                  <a:pt x="4338" y="848"/>
                </a:cubicBezTo>
                <a:cubicBezTo>
                  <a:pt x="4338" y="735"/>
                  <a:pt x="4253" y="650"/>
                  <a:pt x="4154" y="650"/>
                </a:cubicBezTo>
                <a:cubicBezTo>
                  <a:pt x="4041" y="650"/>
                  <a:pt x="3956" y="735"/>
                  <a:pt x="3956" y="848"/>
                </a:cubicBezTo>
                <a:cubicBezTo>
                  <a:pt x="3956" y="947"/>
                  <a:pt x="4041" y="1031"/>
                  <a:pt x="4154" y="1031"/>
                </a:cubicBezTo>
                <a:close/>
                <a:moveTo>
                  <a:pt x="4479" y="608"/>
                </a:moveTo>
                <a:cubicBezTo>
                  <a:pt x="4535" y="608"/>
                  <a:pt x="4578" y="565"/>
                  <a:pt x="4578" y="509"/>
                </a:cubicBezTo>
                <a:cubicBezTo>
                  <a:pt x="4578" y="452"/>
                  <a:pt x="4535" y="396"/>
                  <a:pt x="4479" y="396"/>
                </a:cubicBezTo>
                <a:cubicBezTo>
                  <a:pt x="4408" y="396"/>
                  <a:pt x="4366" y="452"/>
                  <a:pt x="4366" y="509"/>
                </a:cubicBezTo>
                <a:cubicBezTo>
                  <a:pt x="4366" y="565"/>
                  <a:pt x="4408" y="608"/>
                  <a:pt x="4479" y="608"/>
                </a:cubicBezTo>
                <a:close/>
                <a:moveTo>
                  <a:pt x="8548" y="2514"/>
                </a:moveTo>
                <a:cubicBezTo>
                  <a:pt x="8477" y="2514"/>
                  <a:pt x="8420" y="2571"/>
                  <a:pt x="8420" y="2641"/>
                </a:cubicBezTo>
                <a:cubicBezTo>
                  <a:pt x="8420" y="2712"/>
                  <a:pt x="8477" y="2768"/>
                  <a:pt x="8548" y="2768"/>
                </a:cubicBezTo>
                <a:cubicBezTo>
                  <a:pt x="8618" y="2768"/>
                  <a:pt x="8675" y="2712"/>
                  <a:pt x="8675" y="2641"/>
                </a:cubicBezTo>
                <a:cubicBezTo>
                  <a:pt x="8675" y="2571"/>
                  <a:pt x="8618" y="2514"/>
                  <a:pt x="8548" y="2514"/>
                </a:cubicBezTo>
                <a:close/>
                <a:moveTo>
                  <a:pt x="1554" y="820"/>
                </a:moveTo>
                <a:cubicBezTo>
                  <a:pt x="1639" y="820"/>
                  <a:pt x="1710" y="749"/>
                  <a:pt x="1710" y="664"/>
                </a:cubicBezTo>
                <a:cubicBezTo>
                  <a:pt x="1710" y="579"/>
                  <a:pt x="1639" y="509"/>
                  <a:pt x="1554" y="509"/>
                </a:cubicBezTo>
                <a:cubicBezTo>
                  <a:pt x="1470" y="509"/>
                  <a:pt x="1399" y="579"/>
                  <a:pt x="1399" y="664"/>
                </a:cubicBezTo>
                <a:cubicBezTo>
                  <a:pt x="1399" y="749"/>
                  <a:pt x="1470" y="820"/>
                  <a:pt x="1554" y="820"/>
                </a:cubicBezTo>
                <a:close/>
                <a:moveTo>
                  <a:pt x="1766" y="523"/>
                </a:moveTo>
                <a:cubicBezTo>
                  <a:pt x="1823" y="523"/>
                  <a:pt x="1851" y="481"/>
                  <a:pt x="1851" y="438"/>
                </a:cubicBezTo>
                <a:cubicBezTo>
                  <a:pt x="1851" y="382"/>
                  <a:pt x="1823" y="339"/>
                  <a:pt x="1766" y="339"/>
                </a:cubicBezTo>
                <a:cubicBezTo>
                  <a:pt x="1724" y="339"/>
                  <a:pt x="1682" y="382"/>
                  <a:pt x="1682" y="438"/>
                </a:cubicBezTo>
                <a:cubicBezTo>
                  <a:pt x="1682" y="481"/>
                  <a:pt x="1724" y="523"/>
                  <a:pt x="1766" y="523"/>
                </a:cubicBezTo>
                <a:close/>
                <a:moveTo>
                  <a:pt x="8322" y="1271"/>
                </a:moveTo>
                <a:cubicBezTo>
                  <a:pt x="8364" y="1271"/>
                  <a:pt x="8406" y="1229"/>
                  <a:pt x="8406" y="1173"/>
                </a:cubicBezTo>
                <a:cubicBezTo>
                  <a:pt x="8406" y="1130"/>
                  <a:pt x="8364" y="1088"/>
                  <a:pt x="8322" y="1088"/>
                </a:cubicBezTo>
                <a:cubicBezTo>
                  <a:pt x="8265" y="1088"/>
                  <a:pt x="8223" y="1130"/>
                  <a:pt x="8223" y="1173"/>
                </a:cubicBezTo>
                <a:cubicBezTo>
                  <a:pt x="8223" y="1229"/>
                  <a:pt x="8265" y="1271"/>
                  <a:pt x="8322" y="1271"/>
                </a:cubicBezTo>
                <a:close/>
                <a:moveTo>
                  <a:pt x="3829" y="396"/>
                </a:moveTo>
                <a:cubicBezTo>
                  <a:pt x="3914" y="396"/>
                  <a:pt x="3984" y="325"/>
                  <a:pt x="3984" y="241"/>
                </a:cubicBezTo>
                <a:cubicBezTo>
                  <a:pt x="3984" y="156"/>
                  <a:pt x="3914" y="99"/>
                  <a:pt x="3829" y="99"/>
                </a:cubicBezTo>
                <a:cubicBezTo>
                  <a:pt x="3744" y="99"/>
                  <a:pt x="3674" y="156"/>
                  <a:pt x="3674" y="241"/>
                </a:cubicBezTo>
                <a:cubicBezTo>
                  <a:pt x="3674" y="325"/>
                  <a:pt x="3744" y="396"/>
                  <a:pt x="3829" y="396"/>
                </a:cubicBezTo>
                <a:close/>
                <a:moveTo>
                  <a:pt x="6753" y="947"/>
                </a:moveTo>
                <a:cubicBezTo>
                  <a:pt x="6838" y="947"/>
                  <a:pt x="6909" y="876"/>
                  <a:pt x="6909" y="791"/>
                </a:cubicBezTo>
                <a:cubicBezTo>
                  <a:pt x="6909" y="707"/>
                  <a:pt x="6838" y="650"/>
                  <a:pt x="6753" y="650"/>
                </a:cubicBezTo>
                <a:cubicBezTo>
                  <a:pt x="6669" y="650"/>
                  <a:pt x="6612" y="707"/>
                  <a:pt x="6612" y="791"/>
                </a:cubicBezTo>
                <a:cubicBezTo>
                  <a:pt x="6612" y="876"/>
                  <a:pt x="6669" y="947"/>
                  <a:pt x="6753" y="947"/>
                </a:cubicBezTo>
                <a:close/>
                <a:moveTo>
                  <a:pt x="7912" y="1003"/>
                </a:moveTo>
                <a:cubicBezTo>
                  <a:pt x="8011" y="1003"/>
                  <a:pt x="8081" y="932"/>
                  <a:pt x="8081" y="834"/>
                </a:cubicBezTo>
                <a:cubicBezTo>
                  <a:pt x="8081" y="749"/>
                  <a:pt x="8011" y="678"/>
                  <a:pt x="7912" y="678"/>
                </a:cubicBezTo>
                <a:cubicBezTo>
                  <a:pt x="7827" y="678"/>
                  <a:pt x="7756" y="749"/>
                  <a:pt x="7756" y="834"/>
                </a:cubicBezTo>
                <a:cubicBezTo>
                  <a:pt x="7756" y="932"/>
                  <a:pt x="7827" y="1003"/>
                  <a:pt x="7912" y="1003"/>
                </a:cubicBezTo>
                <a:close/>
                <a:moveTo>
                  <a:pt x="8110" y="721"/>
                </a:moveTo>
                <a:cubicBezTo>
                  <a:pt x="8166" y="721"/>
                  <a:pt x="8194" y="692"/>
                  <a:pt x="8194" y="636"/>
                </a:cubicBezTo>
                <a:cubicBezTo>
                  <a:pt x="8194" y="594"/>
                  <a:pt x="8166" y="551"/>
                  <a:pt x="8110" y="551"/>
                </a:cubicBezTo>
                <a:cubicBezTo>
                  <a:pt x="8067" y="551"/>
                  <a:pt x="8039" y="594"/>
                  <a:pt x="8039" y="636"/>
                </a:cubicBezTo>
                <a:cubicBezTo>
                  <a:pt x="8039" y="692"/>
                  <a:pt x="8067" y="721"/>
                  <a:pt x="8110" y="721"/>
                </a:cubicBezTo>
                <a:close/>
                <a:moveTo>
                  <a:pt x="8562" y="1893"/>
                </a:moveTo>
                <a:cubicBezTo>
                  <a:pt x="8562" y="1879"/>
                  <a:pt x="8576" y="1850"/>
                  <a:pt x="8576" y="1836"/>
                </a:cubicBezTo>
                <a:cubicBezTo>
                  <a:pt x="8576" y="1639"/>
                  <a:pt x="8420" y="1469"/>
                  <a:pt x="8223" y="1455"/>
                </a:cubicBezTo>
                <a:cubicBezTo>
                  <a:pt x="8194" y="1370"/>
                  <a:pt x="8110" y="1314"/>
                  <a:pt x="8011" y="1314"/>
                </a:cubicBezTo>
                <a:cubicBezTo>
                  <a:pt x="7884" y="1314"/>
                  <a:pt x="7771" y="1427"/>
                  <a:pt x="7771" y="1554"/>
                </a:cubicBezTo>
                <a:cubicBezTo>
                  <a:pt x="7771" y="1568"/>
                  <a:pt x="7771" y="1582"/>
                  <a:pt x="7785" y="1596"/>
                </a:cubicBezTo>
                <a:cubicBezTo>
                  <a:pt x="7714" y="1582"/>
                  <a:pt x="7658" y="1568"/>
                  <a:pt x="7601" y="1568"/>
                </a:cubicBezTo>
                <a:cubicBezTo>
                  <a:pt x="7516" y="1568"/>
                  <a:pt x="7516" y="1568"/>
                  <a:pt x="7516" y="1568"/>
                </a:cubicBezTo>
                <a:cubicBezTo>
                  <a:pt x="7516" y="1540"/>
                  <a:pt x="7502" y="1497"/>
                  <a:pt x="7488" y="1469"/>
                </a:cubicBezTo>
                <a:cubicBezTo>
                  <a:pt x="7516" y="1469"/>
                  <a:pt x="7530" y="1469"/>
                  <a:pt x="7544" y="1469"/>
                </a:cubicBezTo>
                <a:cubicBezTo>
                  <a:pt x="7714" y="1469"/>
                  <a:pt x="7841" y="1342"/>
                  <a:pt x="7841" y="1173"/>
                </a:cubicBezTo>
                <a:cubicBezTo>
                  <a:pt x="7841" y="1003"/>
                  <a:pt x="7714" y="876"/>
                  <a:pt x="7544" y="876"/>
                </a:cubicBezTo>
                <a:cubicBezTo>
                  <a:pt x="7375" y="876"/>
                  <a:pt x="7248" y="1003"/>
                  <a:pt x="7248" y="1173"/>
                </a:cubicBezTo>
                <a:cubicBezTo>
                  <a:pt x="7248" y="1173"/>
                  <a:pt x="7248" y="1173"/>
                  <a:pt x="7248" y="1173"/>
                </a:cubicBezTo>
                <a:cubicBezTo>
                  <a:pt x="7177" y="1130"/>
                  <a:pt x="7092" y="1116"/>
                  <a:pt x="6994" y="1116"/>
                </a:cubicBezTo>
                <a:cubicBezTo>
                  <a:pt x="6881" y="1116"/>
                  <a:pt x="6782" y="1144"/>
                  <a:pt x="6697" y="1215"/>
                </a:cubicBezTo>
                <a:cubicBezTo>
                  <a:pt x="6697" y="1187"/>
                  <a:pt x="6697" y="1158"/>
                  <a:pt x="6697" y="1144"/>
                </a:cubicBezTo>
                <a:cubicBezTo>
                  <a:pt x="6697" y="989"/>
                  <a:pt x="6584" y="862"/>
                  <a:pt x="6428" y="862"/>
                </a:cubicBezTo>
                <a:cubicBezTo>
                  <a:pt x="6330" y="862"/>
                  <a:pt x="6245" y="918"/>
                  <a:pt x="6188" y="989"/>
                </a:cubicBezTo>
                <a:cubicBezTo>
                  <a:pt x="6188" y="989"/>
                  <a:pt x="6188" y="989"/>
                  <a:pt x="6188" y="989"/>
                </a:cubicBezTo>
                <a:cubicBezTo>
                  <a:pt x="6061" y="989"/>
                  <a:pt x="5934" y="1074"/>
                  <a:pt x="5877" y="1173"/>
                </a:cubicBezTo>
                <a:cubicBezTo>
                  <a:pt x="5863" y="1173"/>
                  <a:pt x="5849" y="1173"/>
                  <a:pt x="5835" y="1173"/>
                </a:cubicBezTo>
                <a:cubicBezTo>
                  <a:pt x="5779" y="1173"/>
                  <a:pt x="5736" y="1201"/>
                  <a:pt x="5694" y="1257"/>
                </a:cubicBezTo>
                <a:cubicBezTo>
                  <a:pt x="5666" y="1187"/>
                  <a:pt x="5595" y="1144"/>
                  <a:pt x="5510" y="1144"/>
                </a:cubicBezTo>
                <a:cubicBezTo>
                  <a:pt x="5468" y="1144"/>
                  <a:pt x="5411" y="1158"/>
                  <a:pt x="5383" y="1187"/>
                </a:cubicBezTo>
                <a:cubicBezTo>
                  <a:pt x="5355" y="1003"/>
                  <a:pt x="5213" y="862"/>
                  <a:pt x="5044" y="820"/>
                </a:cubicBezTo>
                <a:cubicBezTo>
                  <a:pt x="5030" y="763"/>
                  <a:pt x="4973" y="707"/>
                  <a:pt x="4917" y="707"/>
                </a:cubicBezTo>
                <a:cubicBezTo>
                  <a:pt x="4832" y="707"/>
                  <a:pt x="4776" y="777"/>
                  <a:pt x="4776" y="848"/>
                </a:cubicBezTo>
                <a:cubicBezTo>
                  <a:pt x="4776" y="848"/>
                  <a:pt x="4776" y="848"/>
                  <a:pt x="4776" y="848"/>
                </a:cubicBezTo>
                <a:cubicBezTo>
                  <a:pt x="4691" y="890"/>
                  <a:pt x="4606" y="961"/>
                  <a:pt x="4564" y="1045"/>
                </a:cubicBezTo>
                <a:cubicBezTo>
                  <a:pt x="4535" y="1045"/>
                  <a:pt x="4521" y="1045"/>
                  <a:pt x="4507" y="1045"/>
                </a:cubicBezTo>
                <a:cubicBezTo>
                  <a:pt x="4380" y="1045"/>
                  <a:pt x="4281" y="1130"/>
                  <a:pt x="4253" y="1243"/>
                </a:cubicBezTo>
                <a:cubicBezTo>
                  <a:pt x="4225" y="1243"/>
                  <a:pt x="4196" y="1229"/>
                  <a:pt x="4168" y="1229"/>
                </a:cubicBezTo>
                <a:cubicBezTo>
                  <a:pt x="4112" y="1229"/>
                  <a:pt x="4041" y="1243"/>
                  <a:pt x="3984" y="1257"/>
                </a:cubicBezTo>
                <a:cubicBezTo>
                  <a:pt x="3956" y="1102"/>
                  <a:pt x="3829" y="989"/>
                  <a:pt x="3659" y="989"/>
                </a:cubicBezTo>
                <a:cubicBezTo>
                  <a:pt x="3589" y="989"/>
                  <a:pt x="3504" y="1017"/>
                  <a:pt x="3462" y="1074"/>
                </a:cubicBezTo>
                <a:cubicBezTo>
                  <a:pt x="3433" y="1031"/>
                  <a:pt x="3391" y="1017"/>
                  <a:pt x="3363" y="1003"/>
                </a:cubicBezTo>
                <a:cubicBezTo>
                  <a:pt x="3363" y="1003"/>
                  <a:pt x="3363" y="989"/>
                  <a:pt x="3363" y="989"/>
                </a:cubicBezTo>
                <a:cubicBezTo>
                  <a:pt x="3363" y="918"/>
                  <a:pt x="3349" y="862"/>
                  <a:pt x="3320" y="805"/>
                </a:cubicBezTo>
                <a:cubicBezTo>
                  <a:pt x="3349" y="834"/>
                  <a:pt x="3391" y="848"/>
                  <a:pt x="3448" y="848"/>
                </a:cubicBezTo>
                <a:cubicBezTo>
                  <a:pt x="3476" y="848"/>
                  <a:pt x="3490" y="834"/>
                  <a:pt x="3518" y="834"/>
                </a:cubicBezTo>
                <a:cubicBezTo>
                  <a:pt x="3518" y="890"/>
                  <a:pt x="3575" y="947"/>
                  <a:pt x="3631" y="947"/>
                </a:cubicBezTo>
                <a:cubicBezTo>
                  <a:pt x="3702" y="947"/>
                  <a:pt x="3744" y="890"/>
                  <a:pt x="3744" y="834"/>
                </a:cubicBezTo>
                <a:cubicBezTo>
                  <a:pt x="3744" y="777"/>
                  <a:pt x="3716" y="735"/>
                  <a:pt x="3674" y="721"/>
                </a:cubicBezTo>
                <a:cubicBezTo>
                  <a:pt x="3702" y="678"/>
                  <a:pt x="3716" y="622"/>
                  <a:pt x="3716" y="565"/>
                </a:cubicBezTo>
                <a:cubicBezTo>
                  <a:pt x="3716" y="424"/>
                  <a:pt x="3589" y="297"/>
                  <a:pt x="3448" y="297"/>
                </a:cubicBezTo>
                <a:cubicBezTo>
                  <a:pt x="3292" y="297"/>
                  <a:pt x="3179" y="424"/>
                  <a:pt x="3179" y="565"/>
                </a:cubicBezTo>
                <a:cubicBezTo>
                  <a:pt x="3179" y="608"/>
                  <a:pt x="3179" y="636"/>
                  <a:pt x="3193" y="664"/>
                </a:cubicBezTo>
                <a:cubicBezTo>
                  <a:pt x="3123" y="622"/>
                  <a:pt x="3052" y="594"/>
                  <a:pt x="2967" y="594"/>
                </a:cubicBezTo>
                <a:cubicBezTo>
                  <a:pt x="2755" y="594"/>
                  <a:pt x="2586" y="777"/>
                  <a:pt x="2586" y="989"/>
                </a:cubicBezTo>
                <a:cubicBezTo>
                  <a:pt x="2586" y="1017"/>
                  <a:pt x="2586" y="1045"/>
                  <a:pt x="2600" y="1074"/>
                </a:cubicBezTo>
                <a:cubicBezTo>
                  <a:pt x="2529" y="1045"/>
                  <a:pt x="2459" y="1017"/>
                  <a:pt x="2374" y="1017"/>
                </a:cubicBezTo>
                <a:cubicBezTo>
                  <a:pt x="2346" y="1017"/>
                  <a:pt x="2317" y="1031"/>
                  <a:pt x="2289" y="1031"/>
                </a:cubicBezTo>
                <a:cubicBezTo>
                  <a:pt x="2303" y="1003"/>
                  <a:pt x="2317" y="961"/>
                  <a:pt x="2317" y="918"/>
                </a:cubicBezTo>
                <a:cubicBezTo>
                  <a:pt x="2317" y="791"/>
                  <a:pt x="2204" y="678"/>
                  <a:pt x="2063" y="678"/>
                </a:cubicBezTo>
                <a:cubicBezTo>
                  <a:pt x="1922" y="678"/>
                  <a:pt x="1809" y="791"/>
                  <a:pt x="1809" y="918"/>
                </a:cubicBezTo>
                <a:cubicBezTo>
                  <a:pt x="1809" y="1045"/>
                  <a:pt x="1908" y="1158"/>
                  <a:pt x="2021" y="1173"/>
                </a:cubicBezTo>
                <a:cubicBezTo>
                  <a:pt x="1978" y="1215"/>
                  <a:pt x="1950" y="1257"/>
                  <a:pt x="1922" y="1300"/>
                </a:cubicBezTo>
                <a:cubicBezTo>
                  <a:pt x="1908" y="1158"/>
                  <a:pt x="1781" y="1045"/>
                  <a:pt x="1639" y="1045"/>
                </a:cubicBezTo>
                <a:cubicBezTo>
                  <a:pt x="1597" y="1045"/>
                  <a:pt x="1554" y="1045"/>
                  <a:pt x="1526" y="1060"/>
                </a:cubicBezTo>
                <a:cubicBezTo>
                  <a:pt x="1526" y="1045"/>
                  <a:pt x="1526" y="1031"/>
                  <a:pt x="1526" y="1017"/>
                </a:cubicBezTo>
                <a:cubicBezTo>
                  <a:pt x="1526" y="862"/>
                  <a:pt x="1399" y="735"/>
                  <a:pt x="1230" y="735"/>
                </a:cubicBezTo>
                <a:cubicBezTo>
                  <a:pt x="1074" y="735"/>
                  <a:pt x="947" y="862"/>
                  <a:pt x="947" y="1017"/>
                </a:cubicBezTo>
                <a:cubicBezTo>
                  <a:pt x="947" y="1031"/>
                  <a:pt x="947" y="1045"/>
                  <a:pt x="947" y="1045"/>
                </a:cubicBezTo>
                <a:cubicBezTo>
                  <a:pt x="919" y="1045"/>
                  <a:pt x="890" y="1031"/>
                  <a:pt x="848" y="1031"/>
                </a:cubicBezTo>
                <a:cubicBezTo>
                  <a:pt x="636" y="1031"/>
                  <a:pt x="467" y="1215"/>
                  <a:pt x="467" y="1427"/>
                </a:cubicBezTo>
                <a:cubicBezTo>
                  <a:pt x="467" y="1483"/>
                  <a:pt x="481" y="1540"/>
                  <a:pt x="509" y="1596"/>
                </a:cubicBezTo>
                <a:cubicBezTo>
                  <a:pt x="212" y="1667"/>
                  <a:pt x="0" y="1935"/>
                  <a:pt x="0" y="2246"/>
                </a:cubicBezTo>
                <a:cubicBezTo>
                  <a:pt x="0" y="9095"/>
                  <a:pt x="0" y="9095"/>
                  <a:pt x="0" y="9095"/>
                </a:cubicBezTo>
                <a:cubicBezTo>
                  <a:pt x="0" y="9476"/>
                  <a:pt x="311" y="9772"/>
                  <a:pt x="679" y="9772"/>
                </a:cubicBezTo>
                <a:cubicBezTo>
                  <a:pt x="7601" y="9772"/>
                  <a:pt x="7601" y="9772"/>
                  <a:pt x="7601" y="9772"/>
                </a:cubicBezTo>
                <a:cubicBezTo>
                  <a:pt x="7968" y="9772"/>
                  <a:pt x="8279" y="9476"/>
                  <a:pt x="8279" y="9095"/>
                </a:cubicBezTo>
                <a:cubicBezTo>
                  <a:pt x="8279" y="3093"/>
                  <a:pt x="8279" y="3093"/>
                  <a:pt x="8279" y="3093"/>
                </a:cubicBezTo>
                <a:cubicBezTo>
                  <a:pt x="8378" y="3065"/>
                  <a:pt x="8449" y="2980"/>
                  <a:pt x="8449" y="2881"/>
                </a:cubicBezTo>
                <a:cubicBezTo>
                  <a:pt x="8449" y="2782"/>
                  <a:pt x="8378" y="2698"/>
                  <a:pt x="8293" y="2669"/>
                </a:cubicBezTo>
                <a:cubicBezTo>
                  <a:pt x="8293" y="2655"/>
                  <a:pt x="8307" y="2627"/>
                  <a:pt x="8307" y="2599"/>
                </a:cubicBezTo>
                <a:cubicBezTo>
                  <a:pt x="8307" y="2571"/>
                  <a:pt x="8293" y="2542"/>
                  <a:pt x="8293" y="2514"/>
                </a:cubicBezTo>
                <a:cubicBezTo>
                  <a:pt x="8406" y="2514"/>
                  <a:pt x="8491" y="2415"/>
                  <a:pt x="8491" y="2302"/>
                </a:cubicBezTo>
                <a:cubicBezTo>
                  <a:pt x="8491" y="2232"/>
                  <a:pt x="8463" y="2175"/>
                  <a:pt x="8420" y="2133"/>
                </a:cubicBezTo>
                <a:cubicBezTo>
                  <a:pt x="8420" y="2133"/>
                  <a:pt x="8435" y="2119"/>
                  <a:pt x="8435" y="2119"/>
                </a:cubicBezTo>
                <a:cubicBezTo>
                  <a:pt x="8463" y="2147"/>
                  <a:pt x="8505" y="2175"/>
                  <a:pt x="8548" y="2175"/>
                </a:cubicBezTo>
                <a:cubicBezTo>
                  <a:pt x="8618" y="2175"/>
                  <a:pt x="8675" y="2105"/>
                  <a:pt x="8675" y="2034"/>
                </a:cubicBezTo>
                <a:cubicBezTo>
                  <a:pt x="8675" y="1963"/>
                  <a:pt x="8632" y="1907"/>
                  <a:pt x="8562" y="1893"/>
                </a:cubicBezTo>
                <a:close/>
                <a:moveTo>
                  <a:pt x="5736" y="1017"/>
                </a:moveTo>
                <a:cubicBezTo>
                  <a:pt x="5736" y="1088"/>
                  <a:pt x="5779" y="1130"/>
                  <a:pt x="5849" y="1130"/>
                </a:cubicBezTo>
                <a:cubicBezTo>
                  <a:pt x="5906" y="1130"/>
                  <a:pt x="5962" y="1088"/>
                  <a:pt x="5962" y="1017"/>
                </a:cubicBezTo>
                <a:cubicBezTo>
                  <a:pt x="5962" y="961"/>
                  <a:pt x="5906" y="904"/>
                  <a:pt x="5849" y="904"/>
                </a:cubicBezTo>
                <a:cubicBezTo>
                  <a:pt x="5779" y="904"/>
                  <a:pt x="5736" y="961"/>
                  <a:pt x="5736" y="1017"/>
                </a:cubicBezTo>
                <a:close/>
              </a:path>
            </a:pathLst>
          </a:custGeom>
          <a:solidFill>
            <a:srgbClr val="C0C0C0"/>
          </a:solidFill>
          <a:ln w="0">
            <a:noFill/>
            <a:prstDash val="solid"/>
            <a:round/>
            <a:headEnd/>
            <a:tailEnd/>
          </a:ln>
        </p:spPr>
        <p:txBody>
          <a:bodyPr vert="horz" wrap="square" lIns="91284" tIns="45642" rIns="91284" bIns="45642" numCol="1" anchor="t" anchorCtr="0" compatLnSpc="1">
            <a:prstTxWarp prst="textNoShape">
              <a:avLst/>
            </a:prstTxWarp>
          </a:bodyPr>
          <a:lstStyle/>
          <a:p>
            <a:pPr defTabSz="912644"/>
            <a:endParaRPr lang="fr-FR" sz="1800" u="sng">
              <a:solidFill>
                <a:srgbClr val="000000"/>
              </a:solidFill>
              <a:cs typeface="+mn-cs"/>
            </a:endParaRPr>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83"/>
            <a:ext cx="3935412" cy="3347450"/>
          </a:xfrm>
        </p:spPr>
        <p:txBody>
          <a:bodyPr/>
          <a:lstStyle>
            <a:lvl1pPr marL="0" indent="1588">
              <a:spcAft>
                <a:spcPts val="1000"/>
              </a:spcAft>
              <a:defRPr sz="1800" b="0"/>
            </a:lvl1pPr>
            <a:lvl2pPr marL="3175" indent="-3175">
              <a:buNone/>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16" name="Espace réservé pour une image  15"/>
          <p:cNvSpPr>
            <a:spLocks noGrp="1"/>
          </p:cNvSpPr>
          <p:nvPr>
            <p:ph type="pic" sz="quarter" idx="14"/>
          </p:nvPr>
        </p:nvSpPr>
        <p:spPr>
          <a:xfrm>
            <a:off x="5065945" y="1373141"/>
            <a:ext cx="3500462" cy="2950381"/>
          </a:xfrm>
          <a:prstGeom prst="roundRect">
            <a:avLst>
              <a:gd name="adj" fmla="val 6361"/>
            </a:avLst>
          </a:prstGeom>
          <a:solidFill>
            <a:schemeClr val="bg1"/>
          </a:solidFill>
          <a:ln w="76200">
            <a:solidFill>
              <a:schemeClr val="bg2"/>
            </a:solidFill>
          </a:ln>
        </p:spPr>
        <p:txBody>
          <a:bodyPr/>
          <a:lstStyle/>
          <a:p>
            <a:pPr lvl="0"/>
            <a:r>
              <a:rPr lang="en-US" noProof="0"/>
              <a:t>Click icon to add picture</a:t>
            </a:r>
            <a:endParaRPr lang="fr-FR" noProof="0"/>
          </a:p>
        </p:txBody>
      </p:sp>
      <p:sp>
        <p:nvSpPr>
          <p:cNvPr id="8" name="Rectangle 1029"/>
          <p:cNvSpPr>
            <a:spLocks noGrp="1" noChangeArrowheads="1"/>
          </p:cNvSpPr>
          <p:nvPr>
            <p:ph type="sldNum" sz="quarter" idx="15"/>
          </p:nvPr>
        </p:nvSpPr>
        <p:spPr/>
        <p:txBody>
          <a:bodyPr/>
          <a:lstStyle>
            <a:lvl1pPr>
              <a:defRPr/>
            </a:lvl1pPr>
          </a:lstStyle>
          <a:p>
            <a:pPr>
              <a:defRPr/>
            </a:pPr>
            <a:fld id="{35EF3CC6-EBF3-42B2-A9D3-A319C888AA9E}" type="slidenum">
              <a:rPr lang="en-GB">
                <a:solidFill>
                  <a:srgbClr val="C0C0C0"/>
                </a:solidFill>
              </a:rPr>
              <a:pPr>
                <a:defRPr/>
              </a:pPr>
              <a:t>‹#›</a:t>
            </a:fld>
            <a:endParaRPr lang="en-GB">
              <a:solidFill>
                <a:srgbClr val="C0C0C0"/>
              </a:solidFill>
            </a:endParaRPr>
          </a:p>
        </p:txBody>
      </p:sp>
      <p:sp>
        <p:nvSpPr>
          <p:cNvPr id="10" name="Rectangle 1030"/>
          <p:cNvSpPr>
            <a:spLocks noGrp="1" noChangeArrowheads="1"/>
          </p:cNvSpPr>
          <p:nvPr>
            <p:ph type="ftr" sz="quarter" idx="16"/>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3338805451"/>
      </p:ext>
    </p:extLst>
  </p:cSld>
  <p:clrMapOvr>
    <a:masterClrMapping/>
  </p:clrMapOvr>
  <p:transition spd="slow">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and picture with legend">
    <p:spTree>
      <p:nvGrpSpPr>
        <p:cNvPr id="1" name=""/>
        <p:cNvGrpSpPr/>
        <p:nvPr/>
      </p:nvGrpSpPr>
      <p:grpSpPr>
        <a:xfrm>
          <a:off x="0" y="0"/>
          <a:ext cx="0" cy="0"/>
          <a:chOff x="0" y="0"/>
          <a:chExt cx="0" cy="0"/>
        </a:xfrm>
      </p:grpSpPr>
      <p:sp>
        <p:nvSpPr>
          <p:cNvPr id="12" name="Freeform 6"/>
          <p:cNvSpPr>
            <a:spLocks noEditPoints="1"/>
          </p:cNvSpPr>
          <p:nvPr userDrawn="1"/>
        </p:nvSpPr>
        <p:spPr bwMode="auto">
          <a:xfrm>
            <a:off x="5434999" y="735296"/>
            <a:ext cx="3379787" cy="2792016"/>
          </a:xfrm>
          <a:custGeom>
            <a:avLst/>
            <a:gdLst/>
            <a:ahLst/>
            <a:cxnLst>
              <a:cxn ang="0">
                <a:pos x="8675" y="1568"/>
              </a:cxn>
              <a:cxn ang="0">
                <a:pos x="5553" y="1003"/>
              </a:cxn>
              <a:cxn ang="0">
                <a:pos x="5270" y="707"/>
              </a:cxn>
              <a:cxn ang="0">
                <a:pos x="6160" y="325"/>
              </a:cxn>
              <a:cxn ang="0">
                <a:pos x="6005" y="481"/>
              </a:cxn>
              <a:cxn ang="0">
                <a:pos x="2402" y="410"/>
              </a:cxn>
              <a:cxn ang="0">
                <a:pos x="2699" y="452"/>
              </a:cxn>
              <a:cxn ang="0">
                <a:pos x="2558" y="311"/>
              </a:cxn>
              <a:cxn ang="0">
                <a:pos x="3038" y="99"/>
              </a:cxn>
              <a:cxn ang="0">
                <a:pos x="2939" y="198"/>
              </a:cxn>
              <a:cxn ang="0">
                <a:pos x="4154" y="650"/>
              </a:cxn>
              <a:cxn ang="0">
                <a:pos x="4479" y="608"/>
              </a:cxn>
              <a:cxn ang="0">
                <a:pos x="4366" y="509"/>
              </a:cxn>
              <a:cxn ang="0">
                <a:pos x="8420" y="2641"/>
              </a:cxn>
              <a:cxn ang="0">
                <a:pos x="8548" y="2514"/>
              </a:cxn>
              <a:cxn ang="0">
                <a:pos x="1554" y="509"/>
              </a:cxn>
              <a:cxn ang="0">
                <a:pos x="1766" y="523"/>
              </a:cxn>
              <a:cxn ang="0">
                <a:pos x="1682" y="438"/>
              </a:cxn>
              <a:cxn ang="0">
                <a:pos x="8406" y="1173"/>
              </a:cxn>
              <a:cxn ang="0">
                <a:pos x="8322" y="1271"/>
              </a:cxn>
              <a:cxn ang="0">
                <a:pos x="3829" y="99"/>
              </a:cxn>
              <a:cxn ang="0">
                <a:pos x="6753" y="947"/>
              </a:cxn>
              <a:cxn ang="0">
                <a:pos x="6612" y="791"/>
              </a:cxn>
              <a:cxn ang="0">
                <a:pos x="8081" y="834"/>
              </a:cxn>
              <a:cxn ang="0">
                <a:pos x="7912" y="1003"/>
              </a:cxn>
              <a:cxn ang="0">
                <a:pos x="8110" y="551"/>
              </a:cxn>
              <a:cxn ang="0">
                <a:pos x="8562" y="1893"/>
              </a:cxn>
              <a:cxn ang="0">
                <a:pos x="8011" y="1314"/>
              </a:cxn>
              <a:cxn ang="0">
                <a:pos x="7601" y="1568"/>
              </a:cxn>
              <a:cxn ang="0">
                <a:pos x="7544" y="1469"/>
              </a:cxn>
              <a:cxn ang="0">
                <a:pos x="7248" y="1173"/>
              </a:cxn>
              <a:cxn ang="0">
                <a:pos x="6697" y="1215"/>
              </a:cxn>
              <a:cxn ang="0">
                <a:pos x="6188" y="989"/>
              </a:cxn>
              <a:cxn ang="0">
                <a:pos x="5835" y="1173"/>
              </a:cxn>
              <a:cxn ang="0">
                <a:pos x="5383" y="1187"/>
              </a:cxn>
              <a:cxn ang="0">
                <a:pos x="4776" y="848"/>
              </a:cxn>
              <a:cxn ang="0">
                <a:pos x="4507" y="1045"/>
              </a:cxn>
              <a:cxn ang="0">
                <a:pos x="3984" y="1257"/>
              </a:cxn>
              <a:cxn ang="0">
                <a:pos x="3363" y="1003"/>
              </a:cxn>
              <a:cxn ang="0">
                <a:pos x="3448" y="848"/>
              </a:cxn>
              <a:cxn ang="0">
                <a:pos x="3744" y="834"/>
              </a:cxn>
              <a:cxn ang="0">
                <a:pos x="3448" y="297"/>
              </a:cxn>
              <a:cxn ang="0">
                <a:pos x="2967" y="594"/>
              </a:cxn>
              <a:cxn ang="0">
                <a:pos x="2374" y="1017"/>
              </a:cxn>
              <a:cxn ang="0">
                <a:pos x="2063" y="678"/>
              </a:cxn>
              <a:cxn ang="0">
                <a:pos x="1922" y="1300"/>
              </a:cxn>
              <a:cxn ang="0">
                <a:pos x="1526" y="1017"/>
              </a:cxn>
              <a:cxn ang="0">
                <a:pos x="947" y="1045"/>
              </a:cxn>
              <a:cxn ang="0">
                <a:pos x="509" y="1596"/>
              </a:cxn>
              <a:cxn ang="0">
                <a:pos x="679" y="9772"/>
              </a:cxn>
              <a:cxn ang="0">
                <a:pos x="8279" y="3093"/>
              </a:cxn>
              <a:cxn ang="0">
                <a:pos x="8307" y="2599"/>
              </a:cxn>
              <a:cxn ang="0">
                <a:pos x="8420" y="2133"/>
              </a:cxn>
              <a:cxn ang="0">
                <a:pos x="8675" y="2034"/>
              </a:cxn>
              <a:cxn ang="0">
                <a:pos x="5849" y="1130"/>
              </a:cxn>
              <a:cxn ang="0">
                <a:pos x="5736" y="1017"/>
              </a:cxn>
            </a:cxnLst>
            <a:rect l="0" t="0" r="r" b="b"/>
            <a:pathLst>
              <a:path w="8872" h="9772">
                <a:moveTo>
                  <a:pt x="8675" y="1158"/>
                </a:moveTo>
                <a:cubicBezTo>
                  <a:pt x="8562" y="1158"/>
                  <a:pt x="8463" y="1243"/>
                  <a:pt x="8463" y="1356"/>
                </a:cubicBezTo>
                <a:cubicBezTo>
                  <a:pt x="8463" y="1469"/>
                  <a:pt x="8562" y="1568"/>
                  <a:pt x="8675" y="1568"/>
                </a:cubicBezTo>
                <a:cubicBezTo>
                  <a:pt x="8788" y="1568"/>
                  <a:pt x="8872" y="1469"/>
                  <a:pt x="8872" y="1356"/>
                </a:cubicBezTo>
                <a:cubicBezTo>
                  <a:pt x="8872" y="1243"/>
                  <a:pt x="8788" y="1158"/>
                  <a:pt x="8675" y="1158"/>
                </a:cubicBezTo>
                <a:close/>
                <a:moveTo>
                  <a:pt x="5553" y="1003"/>
                </a:moveTo>
                <a:cubicBezTo>
                  <a:pt x="5722" y="1003"/>
                  <a:pt x="5849" y="862"/>
                  <a:pt x="5849" y="707"/>
                </a:cubicBezTo>
                <a:cubicBezTo>
                  <a:pt x="5849" y="537"/>
                  <a:pt x="5722" y="410"/>
                  <a:pt x="5553" y="410"/>
                </a:cubicBezTo>
                <a:cubicBezTo>
                  <a:pt x="5397" y="410"/>
                  <a:pt x="5270" y="537"/>
                  <a:pt x="5270" y="707"/>
                </a:cubicBezTo>
                <a:cubicBezTo>
                  <a:pt x="5270" y="862"/>
                  <a:pt x="5397" y="1003"/>
                  <a:pt x="5553" y="1003"/>
                </a:cubicBezTo>
                <a:close/>
                <a:moveTo>
                  <a:pt x="6005" y="481"/>
                </a:moveTo>
                <a:cubicBezTo>
                  <a:pt x="6089" y="481"/>
                  <a:pt x="6160" y="410"/>
                  <a:pt x="6160" y="325"/>
                </a:cubicBezTo>
                <a:cubicBezTo>
                  <a:pt x="6160" y="241"/>
                  <a:pt x="6089" y="184"/>
                  <a:pt x="6005" y="184"/>
                </a:cubicBezTo>
                <a:cubicBezTo>
                  <a:pt x="5920" y="184"/>
                  <a:pt x="5849" y="241"/>
                  <a:pt x="5849" y="325"/>
                </a:cubicBezTo>
                <a:cubicBezTo>
                  <a:pt x="5849" y="410"/>
                  <a:pt x="5920" y="481"/>
                  <a:pt x="6005" y="481"/>
                </a:cubicBezTo>
                <a:close/>
                <a:moveTo>
                  <a:pt x="2402" y="777"/>
                </a:moveTo>
                <a:cubicBezTo>
                  <a:pt x="2501" y="777"/>
                  <a:pt x="2586" y="692"/>
                  <a:pt x="2586" y="594"/>
                </a:cubicBezTo>
                <a:cubicBezTo>
                  <a:pt x="2586" y="495"/>
                  <a:pt x="2501" y="410"/>
                  <a:pt x="2402" y="410"/>
                </a:cubicBezTo>
                <a:cubicBezTo>
                  <a:pt x="2303" y="410"/>
                  <a:pt x="2218" y="495"/>
                  <a:pt x="2218" y="594"/>
                </a:cubicBezTo>
                <a:cubicBezTo>
                  <a:pt x="2218" y="692"/>
                  <a:pt x="2303" y="777"/>
                  <a:pt x="2402" y="777"/>
                </a:cubicBezTo>
                <a:close/>
                <a:moveTo>
                  <a:pt x="2699" y="452"/>
                </a:moveTo>
                <a:cubicBezTo>
                  <a:pt x="2784" y="452"/>
                  <a:pt x="2840" y="396"/>
                  <a:pt x="2840" y="311"/>
                </a:cubicBezTo>
                <a:cubicBezTo>
                  <a:pt x="2840" y="241"/>
                  <a:pt x="2784" y="170"/>
                  <a:pt x="2699" y="170"/>
                </a:cubicBezTo>
                <a:cubicBezTo>
                  <a:pt x="2628" y="170"/>
                  <a:pt x="2558" y="241"/>
                  <a:pt x="2558" y="311"/>
                </a:cubicBezTo>
                <a:cubicBezTo>
                  <a:pt x="2558" y="396"/>
                  <a:pt x="2628" y="452"/>
                  <a:pt x="2699" y="452"/>
                </a:cubicBezTo>
                <a:close/>
                <a:moveTo>
                  <a:pt x="2939" y="198"/>
                </a:moveTo>
                <a:cubicBezTo>
                  <a:pt x="2995" y="198"/>
                  <a:pt x="3038" y="156"/>
                  <a:pt x="3038" y="99"/>
                </a:cubicBezTo>
                <a:cubicBezTo>
                  <a:pt x="3038" y="43"/>
                  <a:pt x="2995" y="0"/>
                  <a:pt x="2939" y="0"/>
                </a:cubicBezTo>
                <a:cubicBezTo>
                  <a:pt x="2882" y="0"/>
                  <a:pt x="2840" y="43"/>
                  <a:pt x="2840" y="99"/>
                </a:cubicBezTo>
                <a:cubicBezTo>
                  <a:pt x="2840" y="156"/>
                  <a:pt x="2882" y="198"/>
                  <a:pt x="2939" y="198"/>
                </a:cubicBezTo>
                <a:close/>
                <a:moveTo>
                  <a:pt x="4154" y="1031"/>
                </a:moveTo>
                <a:cubicBezTo>
                  <a:pt x="4253" y="1031"/>
                  <a:pt x="4338" y="947"/>
                  <a:pt x="4338" y="848"/>
                </a:cubicBezTo>
                <a:cubicBezTo>
                  <a:pt x="4338" y="735"/>
                  <a:pt x="4253" y="650"/>
                  <a:pt x="4154" y="650"/>
                </a:cubicBezTo>
                <a:cubicBezTo>
                  <a:pt x="4041" y="650"/>
                  <a:pt x="3956" y="735"/>
                  <a:pt x="3956" y="848"/>
                </a:cubicBezTo>
                <a:cubicBezTo>
                  <a:pt x="3956" y="947"/>
                  <a:pt x="4041" y="1031"/>
                  <a:pt x="4154" y="1031"/>
                </a:cubicBezTo>
                <a:close/>
                <a:moveTo>
                  <a:pt x="4479" y="608"/>
                </a:moveTo>
                <a:cubicBezTo>
                  <a:pt x="4535" y="608"/>
                  <a:pt x="4578" y="565"/>
                  <a:pt x="4578" y="509"/>
                </a:cubicBezTo>
                <a:cubicBezTo>
                  <a:pt x="4578" y="452"/>
                  <a:pt x="4535" y="396"/>
                  <a:pt x="4479" y="396"/>
                </a:cubicBezTo>
                <a:cubicBezTo>
                  <a:pt x="4408" y="396"/>
                  <a:pt x="4366" y="452"/>
                  <a:pt x="4366" y="509"/>
                </a:cubicBezTo>
                <a:cubicBezTo>
                  <a:pt x="4366" y="565"/>
                  <a:pt x="4408" y="608"/>
                  <a:pt x="4479" y="608"/>
                </a:cubicBezTo>
                <a:close/>
                <a:moveTo>
                  <a:pt x="8548" y="2514"/>
                </a:moveTo>
                <a:cubicBezTo>
                  <a:pt x="8477" y="2514"/>
                  <a:pt x="8420" y="2571"/>
                  <a:pt x="8420" y="2641"/>
                </a:cubicBezTo>
                <a:cubicBezTo>
                  <a:pt x="8420" y="2712"/>
                  <a:pt x="8477" y="2768"/>
                  <a:pt x="8548" y="2768"/>
                </a:cubicBezTo>
                <a:cubicBezTo>
                  <a:pt x="8618" y="2768"/>
                  <a:pt x="8675" y="2712"/>
                  <a:pt x="8675" y="2641"/>
                </a:cubicBezTo>
                <a:cubicBezTo>
                  <a:pt x="8675" y="2571"/>
                  <a:pt x="8618" y="2514"/>
                  <a:pt x="8548" y="2514"/>
                </a:cubicBezTo>
                <a:close/>
                <a:moveTo>
                  <a:pt x="1554" y="820"/>
                </a:moveTo>
                <a:cubicBezTo>
                  <a:pt x="1639" y="820"/>
                  <a:pt x="1710" y="749"/>
                  <a:pt x="1710" y="664"/>
                </a:cubicBezTo>
                <a:cubicBezTo>
                  <a:pt x="1710" y="579"/>
                  <a:pt x="1639" y="509"/>
                  <a:pt x="1554" y="509"/>
                </a:cubicBezTo>
                <a:cubicBezTo>
                  <a:pt x="1470" y="509"/>
                  <a:pt x="1399" y="579"/>
                  <a:pt x="1399" y="664"/>
                </a:cubicBezTo>
                <a:cubicBezTo>
                  <a:pt x="1399" y="749"/>
                  <a:pt x="1470" y="820"/>
                  <a:pt x="1554" y="820"/>
                </a:cubicBezTo>
                <a:close/>
                <a:moveTo>
                  <a:pt x="1766" y="523"/>
                </a:moveTo>
                <a:cubicBezTo>
                  <a:pt x="1823" y="523"/>
                  <a:pt x="1851" y="481"/>
                  <a:pt x="1851" y="438"/>
                </a:cubicBezTo>
                <a:cubicBezTo>
                  <a:pt x="1851" y="382"/>
                  <a:pt x="1823" y="339"/>
                  <a:pt x="1766" y="339"/>
                </a:cubicBezTo>
                <a:cubicBezTo>
                  <a:pt x="1724" y="339"/>
                  <a:pt x="1682" y="382"/>
                  <a:pt x="1682" y="438"/>
                </a:cubicBezTo>
                <a:cubicBezTo>
                  <a:pt x="1682" y="481"/>
                  <a:pt x="1724" y="523"/>
                  <a:pt x="1766" y="523"/>
                </a:cubicBezTo>
                <a:close/>
                <a:moveTo>
                  <a:pt x="8322" y="1271"/>
                </a:moveTo>
                <a:cubicBezTo>
                  <a:pt x="8364" y="1271"/>
                  <a:pt x="8406" y="1229"/>
                  <a:pt x="8406" y="1173"/>
                </a:cubicBezTo>
                <a:cubicBezTo>
                  <a:pt x="8406" y="1130"/>
                  <a:pt x="8364" y="1088"/>
                  <a:pt x="8322" y="1088"/>
                </a:cubicBezTo>
                <a:cubicBezTo>
                  <a:pt x="8265" y="1088"/>
                  <a:pt x="8223" y="1130"/>
                  <a:pt x="8223" y="1173"/>
                </a:cubicBezTo>
                <a:cubicBezTo>
                  <a:pt x="8223" y="1229"/>
                  <a:pt x="8265" y="1271"/>
                  <a:pt x="8322" y="1271"/>
                </a:cubicBezTo>
                <a:close/>
                <a:moveTo>
                  <a:pt x="3829" y="396"/>
                </a:moveTo>
                <a:cubicBezTo>
                  <a:pt x="3914" y="396"/>
                  <a:pt x="3984" y="325"/>
                  <a:pt x="3984" y="241"/>
                </a:cubicBezTo>
                <a:cubicBezTo>
                  <a:pt x="3984" y="156"/>
                  <a:pt x="3914" y="99"/>
                  <a:pt x="3829" y="99"/>
                </a:cubicBezTo>
                <a:cubicBezTo>
                  <a:pt x="3744" y="99"/>
                  <a:pt x="3674" y="156"/>
                  <a:pt x="3674" y="241"/>
                </a:cubicBezTo>
                <a:cubicBezTo>
                  <a:pt x="3674" y="325"/>
                  <a:pt x="3744" y="396"/>
                  <a:pt x="3829" y="396"/>
                </a:cubicBezTo>
                <a:close/>
                <a:moveTo>
                  <a:pt x="6753" y="947"/>
                </a:moveTo>
                <a:cubicBezTo>
                  <a:pt x="6838" y="947"/>
                  <a:pt x="6909" y="876"/>
                  <a:pt x="6909" y="791"/>
                </a:cubicBezTo>
                <a:cubicBezTo>
                  <a:pt x="6909" y="707"/>
                  <a:pt x="6838" y="650"/>
                  <a:pt x="6753" y="650"/>
                </a:cubicBezTo>
                <a:cubicBezTo>
                  <a:pt x="6669" y="650"/>
                  <a:pt x="6612" y="707"/>
                  <a:pt x="6612" y="791"/>
                </a:cubicBezTo>
                <a:cubicBezTo>
                  <a:pt x="6612" y="876"/>
                  <a:pt x="6669" y="947"/>
                  <a:pt x="6753" y="947"/>
                </a:cubicBezTo>
                <a:close/>
                <a:moveTo>
                  <a:pt x="7912" y="1003"/>
                </a:moveTo>
                <a:cubicBezTo>
                  <a:pt x="8011" y="1003"/>
                  <a:pt x="8081" y="932"/>
                  <a:pt x="8081" y="834"/>
                </a:cubicBezTo>
                <a:cubicBezTo>
                  <a:pt x="8081" y="749"/>
                  <a:pt x="8011" y="678"/>
                  <a:pt x="7912" y="678"/>
                </a:cubicBezTo>
                <a:cubicBezTo>
                  <a:pt x="7827" y="678"/>
                  <a:pt x="7756" y="749"/>
                  <a:pt x="7756" y="834"/>
                </a:cubicBezTo>
                <a:cubicBezTo>
                  <a:pt x="7756" y="932"/>
                  <a:pt x="7827" y="1003"/>
                  <a:pt x="7912" y="1003"/>
                </a:cubicBezTo>
                <a:close/>
                <a:moveTo>
                  <a:pt x="8110" y="721"/>
                </a:moveTo>
                <a:cubicBezTo>
                  <a:pt x="8166" y="721"/>
                  <a:pt x="8194" y="692"/>
                  <a:pt x="8194" y="636"/>
                </a:cubicBezTo>
                <a:cubicBezTo>
                  <a:pt x="8194" y="594"/>
                  <a:pt x="8166" y="551"/>
                  <a:pt x="8110" y="551"/>
                </a:cubicBezTo>
                <a:cubicBezTo>
                  <a:pt x="8067" y="551"/>
                  <a:pt x="8039" y="594"/>
                  <a:pt x="8039" y="636"/>
                </a:cubicBezTo>
                <a:cubicBezTo>
                  <a:pt x="8039" y="692"/>
                  <a:pt x="8067" y="721"/>
                  <a:pt x="8110" y="721"/>
                </a:cubicBezTo>
                <a:close/>
                <a:moveTo>
                  <a:pt x="8562" y="1893"/>
                </a:moveTo>
                <a:cubicBezTo>
                  <a:pt x="8562" y="1879"/>
                  <a:pt x="8576" y="1850"/>
                  <a:pt x="8576" y="1836"/>
                </a:cubicBezTo>
                <a:cubicBezTo>
                  <a:pt x="8576" y="1639"/>
                  <a:pt x="8420" y="1469"/>
                  <a:pt x="8223" y="1455"/>
                </a:cubicBezTo>
                <a:cubicBezTo>
                  <a:pt x="8194" y="1370"/>
                  <a:pt x="8110" y="1314"/>
                  <a:pt x="8011" y="1314"/>
                </a:cubicBezTo>
                <a:cubicBezTo>
                  <a:pt x="7884" y="1314"/>
                  <a:pt x="7771" y="1427"/>
                  <a:pt x="7771" y="1554"/>
                </a:cubicBezTo>
                <a:cubicBezTo>
                  <a:pt x="7771" y="1568"/>
                  <a:pt x="7771" y="1582"/>
                  <a:pt x="7785" y="1596"/>
                </a:cubicBezTo>
                <a:cubicBezTo>
                  <a:pt x="7714" y="1582"/>
                  <a:pt x="7658" y="1568"/>
                  <a:pt x="7601" y="1568"/>
                </a:cubicBezTo>
                <a:cubicBezTo>
                  <a:pt x="7516" y="1568"/>
                  <a:pt x="7516" y="1568"/>
                  <a:pt x="7516" y="1568"/>
                </a:cubicBezTo>
                <a:cubicBezTo>
                  <a:pt x="7516" y="1540"/>
                  <a:pt x="7502" y="1497"/>
                  <a:pt x="7488" y="1469"/>
                </a:cubicBezTo>
                <a:cubicBezTo>
                  <a:pt x="7516" y="1469"/>
                  <a:pt x="7530" y="1469"/>
                  <a:pt x="7544" y="1469"/>
                </a:cubicBezTo>
                <a:cubicBezTo>
                  <a:pt x="7714" y="1469"/>
                  <a:pt x="7841" y="1342"/>
                  <a:pt x="7841" y="1173"/>
                </a:cubicBezTo>
                <a:cubicBezTo>
                  <a:pt x="7841" y="1003"/>
                  <a:pt x="7714" y="876"/>
                  <a:pt x="7544" y="876"/>
                </a:cubicBezTo>
                <a:cubicBezTo>
                  <a:pt x="7375" y="876"/>
                  <a:pt x="7248" y="1003"/>
                  <a:pt x="7248" y="1173"/>
                </a:cubicBezTo>
                <a:cubicBezTo>
                  <a:pt x="7248" y="1173"/>
                  <a:pt x="7248" y="1173"/>
                  <a:pt x="7248" y="1173"/>
                </a:cubicBezTo>
                <a:cubicBezTo>
                  <a:pt x="7177" y="1130"/>
                  <a:pt x="7092" y="1116"/>
                  <a:pt x="6994" y="1116"/>
                </a:cubicBezTo>
                <a:cubicBezTo>
                  <a:pt x="6881" y="1116"/>
                  <a:pt x="6782" y="1144"/>
                  <a:pt x="6697" y="1215"/>
                </a:cubicBezTo>
                <a:cubicBezTo>
                  <a:pt x="6697" y="1187"/>
                  <a:pt x="6697" y="1158"/>
                  <a:pt x="6697" y="1144"/>
                </a:cubicBezTo>
                <a:cubicBezTo>
                  <a:pt x="6697" y="989"/>
                  <a:pt x="6584" y="862"/>
                  <a:pt x="6428" y="862"/>
                </a:cubicBezTo>
                <a:cubicBezTo>
                  <a:pt x="6330" y="862"/>
                  <a:pt x="6245" y="918"/>
                  <a:pt x="6188" y="989"/>
                </a:cubicBezTo>
                <a:cubicBezTo>
                  <a:pt x="6188" y="989"/>
                  <a:pt x="6188" y="989"/>
                  <a:pt x="6188" y="989"/>
                </a:cubicBezTo>
                <a:cubicBezTo>
                  <a:pt x="6061" y="989"/>
                  <a:pt x="5934" y="1074"/>
                  <a:pt x="5877" y="1173"/>
                </a:cubicBezTo>
                <a:cubicBezTo>
                  <a:pt x="5863" y="1173"/>
                  <a:pt x="5849" y="1173"/>
                  <a:pt x="5835" y="1173"/>
                </a:cubicBezTo>
                <a:cubicBezTo>
                  <a:pt x="5779" y="1173"/>
                  <a:pt x="5736" y="1201"/>
                  <a:pt x="5694" y="1257"/>
                </a:cubicBezTo>
                <a:cubicBezTo>
                  <a:pt x="5666" y="1187"/>
                  <a:pt x="5595" y="1144"/>
                  <a:pt x="5510" y="1144"/>
                </a:cubicBezTo>
                <a:cubicBezTo>
                  <a:pt x="5468" y="1144"/>
                  <a:pt x="5411" y="1158"/>
                  <a:pt x="5383" y="1187"/>
                </a:cubicBezTo>
                <a:cubicBezTo>
                  <a:pt x="5355" y="1003"/>
                  <a:pt x="5213" y="862"/>
                  <a:pt x="5044" y="820"/>
                </a:cubicBezTo>
                <a:cubicBezTo>
                  <a:pt x="5030" y="763"/>
                  <a:pt x="4973" y="707"/>
                  <a:pt x="4917" y="707"/>
                </a:cubicBezTo>
                <a:cubicBezTo>
                  <a:pt x="4832" y="707"/>
                  <a:pt x="4776" y="777"/>
                  <a:pt x="4776" y="848"/>
                </a:cubicBezTo>
                <a:cubicBezTo>
                  <a:pt x="4776" y="848"/>
                  <a:pt x="4776" y="848"/>
                  <a:pt x="4776" y="848"/>
                </a:cubicBezTo>
                <a:cubicBezTo>
                  <a:pt x="4691" y="890"/>
                  <a:pt x="4606" y="961"/>
                  <a:pt x="4564" y="1045"/>
                </a:cubicBezTo>
                <a:cubicBezTo>
                  <a:pt x="4535" y="1045"/>
                  <a:pt x="4521" y="1045"/>
                  <a:pt x="4507" y="1045"/>
                </a:cubicBezTo>
                <a:cubicBezTo>
                  <a:pt x="4380" y="1045"/>
                  <a:pt x="4281" y="1130"/>
                  <a:pt x="4253" y="1243"/>
                </a:cubicBezTo>
                <a:cubicBezTo>
                  <a:pt x="4225" y="1243"/>
                  <a:pt x="4196" y="1229"/>
                  <a:pt x="4168" y="1229"/>
                </a:cubicBezTo>
                <a:cubicBezTo>
                  <a:pt x="4112" y="1229"/>
                  <a:pt x="4041" y="1243"/>
                  <a:pt x="3984" y="1257"/>
                </a:cubicBezTo>
                <a:cubicBezTo>
                  <a:pt x="3956" y="1102"/>
                  <a:pt x="3829" y="989"/>
                  <a:pt x="3659" y="989"/>
                </a:cubicBezTo>
                <a:cubicBezTo>
                  <a:pt x="3589" y="989"/>
                  <a:pt x="3504" y="1017"/>
                  <a:pt x="3462" y="1074"/>
                </a:cubicBezTo>
                <a:cubicBezTo>
                  <a:pt x="3433" y="1031"/>
                  <a:pt x="3391" y="1017"/>
                  <a:pt x="3363" y="1003"/>
                </a:cubicBezTo>
                <a:cubicBezTo>
                  <a:pt x="3363" y="1003"/>
                  <a:pt x="3363" y="989"/>
                  <a:pt x="3363" y="989"/>
                </a:cubicBezTo>
                <a:cubicBezTo>
                  <a:pt x="3363" y="918"/>
                  <a:pt x="3349" y="862"/>
                  <a:pt x="3320" y="805"/>
                </a:cubicBezTo>
                <a:cubicBezTo>
                  <a:pt x="3349" y="834"/>
                  <a:pt x="3391" y="848"/>
                  <a:pt x="3448" y="848"/>
                </a:cubicBezTo>
                <a:cubicBezTo>
                  <a:pt x="3476" y="848"/>
                  <a:pt x="3490" y="834"/>
                  <a:pt x="3518" y="834"/>
                </a:cubicBezTo>
                <a:cubicBezTo>
                  <a:pt x="3518" y="890"/>
                  <a:pt x="3575" y="947"/>
                  <a:pt x="3631" y="947"/>
                </a:cubicBezTo>
                <a:cubicBezTo>
                  <a:pt x="3702" y="947"/>
                  <a:pt x="3744" y="890"/>
                  <a:pt x="3744" y="834"/>
                </a:cubicBezTo>
                <a:cubicBezTo>
                  <a:pt x="3744" y="777"/>
                  <a:pt x="3716" y="735"/>
                  <a:pt x="3674" y="721"/>
                </a:cubicBezTo>
                <a:cubicBezTo>
                  <a:pt x="3702" y="678"/>
                  <a:pt x="3716" y="622"/>
                  <a:pt x="3716" y="565"/>
                </a:cubicBezTo>
                <a:cubicBezTo>
                  <a:pt x="3716" y="424"/>
                  <a:pt x="3589" y="297"/>
                  <a:pt x="3448" y="297"/>
                </a:cubicBezTo>
                <a:cubicBezTo>
                  <a:pt x="3292" y="297"/>
                  <a:pt x="3179" y="424"/>
                  <a:pt x="3179" y="565"/>
                </a:cubicBezTo>
                <a:cubicBezTo>
                  <a:pt x="3179" y="608"/>
                  <a:pt x="3179" y="636"/>
                  <a:pt x="3193" y="664"/>
                </a:cubicBezTo>
                <a:cubicBezTo>
                  <a:pt x="3123" y="622"/>
                  <a:pt x="3052" y="594"/>
                  <a:pt x="2967" y="594"/>
                </a:cubicBezTo>
                <a:cubicBezTo>
                  <a:pt x="2755" y="594"/>
                  <a:pt x="2586" y="777"/>
                  <a:pt x="2586" y="989"/>
                </a:cubicBezTo>
                <a:cubicBezTo>
                  <a:pt x="2586" y="1017"/>
                  <a:pt x="2586" y="1045"/>
                  <a:pt x="2600" y="1074"/>
                </a:cubicBezTo>
                <a:cubicBezTo>
                  <a:pt x="2529" y="1045"/>
                  <a:pt x="2459" y="1017"/>
                  <a:pt x="2374" y="1017"/>
                </a:cubicBezTo>
                <a:cubicBezTo>
                  <a:pt x="2346" y="1017"/>
                  <a:pt x="2317" y="1031"/>
                  <a:pt x="2289" y="1031"/>
                </a:cubicBezTo>
                <a:cubicBezTo>
                  <a:pt x="2303" y="1003"/>
                  <a:pt x="2317" y="961"/>
                  <a:pt x="2317" y="918"/>
                </a:cubicBezTo>
                <a:cubicBezTo>
                  <a:pt x="2317" y="791"/>
                  <a:pt x="2204" y="678"/>
                  <a:pt x="2063" y="678"/>
                </a:cubicBezTo>
                <a:cubicBezTo>
                  <a:pt x="1922" y="678"/>
                  <a:pt x="1809" y="791"/>
                  <a:pt x="1809" y="918"/>
                </a:cubicBezTo>
                <a:cubicBezTo>
                  <a:pt x="1809" y="1045"/>
                  <a:pt x="1908" y="1158"/>
                  <a:pt x="2021" y="1173"/>
                </a:cubicBezTo>
                <a:cubicBezTo>
                  <a:pt x="1978" y="1215"/>
                  <a:pt x="1950" y="1257"/>
                  <a:pt x="1922" y="1300"/>
                </a:cubicBezTo>
                <a:cubicBezTo>
                  <a:pt x="1908" y="1158"/>
                  <a:pt x="1781" y="1045"/>
                  <a:pt x="1639" y="1045"/>
                </a:cubicBezTo>
                <a:cubicBezTo>
                  <a:pt x="1597" y="1045"/>
                  <a:pt x="1554" y="1045"/>
                  <a:pt x="1526" y="1060"/>
                </a:cubicBezTo>
                <a:cubicBezTo>
                  <a:pt x="1526" y="1045"/>
                  <a:pt x="1526" y="1031"/>
                  <a:pt x="1526" y="1017"/>
                </a:cubicBezTo>
                <a:cubicBezTo>
                  <a:pt x="1526" y="862"/>
                  <a:pt x="1399" y="735"/>
                  <a:pt x="1230" y="735"/>
                </a:cubicBezTo>
                <a:cubicBezTo>
                  <a:pt x="1074" y="735"/>
                  <a:pt x="947" y="862"/>
                  <a:pt x="947" y="1017"/>
                </a:cubicBezTo>
                <a:cubicBezTo>
                  <a:pt x="947" y="1031"/>
                  <a:pt x="947" y="1045"/>
                  <a:pt x="947" y="1045"/>
                </a:cubicBezTo>
                <a:cubicBezTo>
                  <a:pt x="919" y="1045"/>
                  <a:pt x="890" y="1031"/>
                  <a:pt x="848" y="1031"/>
                </a:cubicBezTo>
                <a:cubicBezTo>
                  <a:pt x="636" y="1031"/>
                  <a:pt x="467" y="1215"/>
                  <a:pt x="467" y="1427"/>
                </a:cubicBezTo>
                <a:cubicBezTo>
                  <a:pt x="467" y="1483"/>
                  <a:pt x="481" y="1540"/>
                  <a:pt x="509" y="1596"/>
                </a:cubicBezTo>
                <a:cubicBezTo>
                  <a:pt x="212" y="1667"/>
                  <a:pt x="0" y="1935"/>
                  <a:pt x="0" y="2246"/>
                </a:cubicBezTo>
                <a:cubicBezTo>
                  <a:pt x="0" y="9095"/>
                  <a:pt x="0" y="9095"/>
                  <a:pt x="0" y="9095"/>
                </a:cubicBezTo>
                <a:cubicBezTo>
                  <a:pt x="0" y="9476"/>
                  <a:pt x="311" y="9772"/>
                  <a:pt x="679" y="9772"/>
                </a:cubicBezTo>
                <a:cubicBezTo>
                  <a:pt x="7601" y="9772"/>
                  <a:pt x="7601" y="9772"/>
                  <a:pt x="7601" y="9772"/>
                </a:cubicBezTo>
                <a:cubicBezTo>
                  <a:pt x="7968" y="9772"/>
                  <a:pt x="8279" y="9476"/>
                  <a:pt x="8279" y="9095"/>
                </a:cubicBezTo>
                <a:cubicBezTo>
                  <a:pt x="8279" y="3093"/>
                  <a:pt x="8279" y="3093"/>
                  <a:pt x="8279" y="3093"/>
                </a:cubicBezTo>
                <a:cubicBezTo>
                  <a:pt x="8378" y="3065"/>
                  <a:pt x="8449" y="2980"/>
                  <a:pt x="8449" y="2881"/>
                </a:cubicBezTo>
                <a:cubicBezTo>
                  <a:pt x="8449" y="2782"/>
                  <a:pt x="8378" y="2698"/>
                  <a:pt x="8293" y="2669"/>
                </a:cubicBezTo>
                <a:cubicBezTo>
                  <a:pt x="8293" y="2655"/>
                  <a:pt x="8307" y="2627"/>
                  <a:pt x="8307" y="2599"/>
                </a:cubicBezTo>
                <a:cubicBezTo>
                  <a:pt x="8307" y="2571"/>
                  <a:pt x="8293" y="2542"/>
                  <a:pt x="8293" y="2514"/>
                </a:cubicBezTo>
                <a:cubicBezTo>
                  <a:pt x="8406" y="2514"/>
                  <a:pt x="8491" y="2415"/>
                  <a:pt x="8491" y="2302"/>
                </a:cubicBezTo>
                <a:cubicBezTo>
                  <a:pt x="8491" y="2232"/>
                  <a:pt x="8463" y="2175"/>
                  <a:pt x="8420" y="2133"/>
                </a:cubicBezTo>
                <a:cubicBezTo>
                  <a:pt x="8420" y="2133"/>
                  <a:pt x="8435" y="2119"/>
                  <a:pt x="8435" y="2119"/>
                </a:cubicBezTo>
                <a:cubicBezTo>
                  <a:pt x="8463" y="2147"/>
                  <a:pt x="8505" y="2175"/>
                  <a:pt x="8548" y="2175"/>
                </a:cubicBezTo>
                <a:cubicBezTo>
                  <a:pt x="8618" y="2175"/>
                  <a:pt x="8675" y="2105"/>
                  <a:pt x="8675" y="2034"/>
                </a:cubicBezTo>
                <a:cubicBezTo>
                  <a:pt x="8675" y="1963"/>
                  <a:pt x="8632" y="1907"/>
                  <a:pt x="8562" y="1893"/>
                </a:cubicBezTo>
                <a:close/>
                <a:moveTo>
                  <a:pt x="5736" y="1017"/>
                </a:moveTo>
                <a:cubicBezTo>
                  <a:pt x="5736" y="1088"/>
                  <a:pt x="5779" y="1130"/>
                  <a:pt x="5849" y="1130"/>
                </a:cubicBezTo>
                <a:cubicBezTo>
                  <a:pt x="5906" y="1130"/>
                  <a:pt x="5962" y="1088"/>
                  <a:pt x="5962" y="1017"/>
                </a:cubicBezTo>
                <a:cubicBezTo>
                  <a:pt x="5962" y="961"/>
                  <a:pt x="5906" y="904"/>
                  <a:pt x="5849" y="904"/>
                </a:cubicBezTo>
                <a:cubicBezTo>
                  <a:pt x="5779" y="904"/>
                  <a:pt x="5736" y="961"/>
                  <a:pt x="5736" y="1017"/>
                </a:cubicBezTo>
                <a:close/>
              </a:path>
            </a:pathLst>
          </a:custGeom>
          <a:solidFill>
            <a:srgbClr val="C0C0C0"/>
          </a:solidFill>
          <a:ln w="0">
            <a:noFill/>
            <a:prstDash val="solid"/>
            <a:round/>
            <a:headEnd/>
            <a:tailEnd/>
          </a:ln>
        </p:spPr>
        <p:txBody>
          <a:bodyPr vert="horz" wrap="square" lIns="91284" tIns="45642" rIns="91284" bIns="45642" numCol="1" anchor="t" anchorCtr="0" compatLnSpc="1">
            <a:prstTxWarp prst="textNoShape">
              <a:avLst/>
            </a:prstTxWarp>
          </a:bodyPr>
          <a:lstStyle/>
          <a:p>
            <a:pPr defTabSz="912644"/>
            <a:endParaRPr lang="fr-FR" sz="1800" u="sng">
              <a:solidFill>
                <a:srgbClr val="000000"/>
              </a:solidFill>
              <a:cs typeface="+mn-cs"/>
            </a:endParaRPr>
          </a:p>
        </p:txBody>
      </p:sp>
      <p:sp>
        <p:nvSpPr>
          <p:cNvPr id="7" name="AutoShape 6"/>
          <p:cNvSpPr>
            <a:spLocks noChangeArrowheads="1"/>
          </p:cNvSpPr>
          <p:nvPr userDrawn="1"/>
        </p:nvSpPr>
        <p:spPr bwMode="auto">
          <a:xfrm>
            <a:off x="4935545" y="1366838"/>
            <a:ext cx="3648075" cy="3055144"/>
          </a:xfrm>
          <a:prstGeom prst="roundRect">
            <a:avLst>
              <a:gd name="adj" fmla="val 6125"/>
            </a:avLst>
          </a:prstGeom>
          <a:solidFill>
            <a:schemeClr val="bg2"/>
          </a:solidFill>
          <a:ln w="76200">
            <a:noFill/>
            <a:round/>
            <a:headEnd/>
            <a:tailEnd/>
          </a:ln>
        </p:spPr>
        <p:txBody>
          <a:bodyPr wrap="none" lIns="91284" tIns="45642" rIns="91284" bIns="45642" anchor="ctr"/>
          <a:lstStyle/>
          <a:p>
            <a:pPr defTabSz="912644">
              <a:defRPr/>
            </a:pPr>
            <a:endParaRPr lang="fr-FR" sz="1800" u="sng">
              <a:solidFill>
                <a:srgbClr val="000000"/>
              </a:solidFill>
              <a:cs typeface="+mn-cs"/>
            </a:endParaRPr>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83"/>
            <a:ext cx="3935412" cy="3391982"/>
          </a:xfrm>
        </p:spPr>
        <p:txBody>
          <a:bodyPr/>
          <a:lstStyle>
            <a:lvl1pPr marL="0" indent="1588">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13" name="Espace réservé pour une image  15"/>
          <p:cNvSpPr>
            <a:spLocks noGrp="1"/>
          </p:cNvSpPr>
          <p:nvPr>
            <p:ph type="pic" sz="quarter" idx="16"/>
          </p:nvPr>
        </p:nvSpPr>
        <p:spPr>
          <a:xfrm>
            <a:off x="5000629" y="1422118"/>
            <a:ext cx="3500462" cy="2468174"/>
          </a:xfrm>
          <a:prstGeom prst="roundRect">
            <a:avLst>
              <a:gd name="adj" fmla="val 6361"/>
            </a:avLst>
          </a:prstGeom>
          <a:solidFill>
            <a:schemeClr val="bg1"/>
          </a:solidFill>
        </p:spPr>
        <p:txBody>
          <a:bodyPr/>
          <a:lstStyle/>
          <a:p>
            <a:pPr lvl="0"/>
            <a:r>
              <a:rPr lang="en-US" noProof="0"/>
              <a:t>Click icon to add picture</a:t>
            </a:r>
            <a:endParaRPr lang="fr-FR" noProof="0"/>
          </a:p>
        </p:txBody>
      </p:sp>
      <p:sp>
        <p:nvSpPr>
          <p:cNvPr id="15" name="Espace réservé du texte 14"/>
          <p:cNvSpPr>
            <a:spLocks noGrp="1"/>
          </p:cNvSpPr>
          <p:nvPr>
            <p:ph type="body" sz="quarter" idx="17"/>
          </p:nvPr>
        </p:nvSpPr>
        <p:spPr>
          <a:xfrm>
            <a:off x="5154613" y="3943352"/>
            <a:ext cx="3276600" cy="450069"/>
          </a:xfrm>
        </p:spPr>
        <p:txBody>
          <a:bodyPr/>
          <a:lstStyle>
            <a:lvl1pPr marL="0" indent="0">
              <a:lnSpc>
                <a:spcPts val="1200"/>
              </a:lnSpc>
              <a:spcBef>
                <a:spcPts val="1400"/>
              </a:spcBef>
              <a:defRPr sz="1100">
                <a:solidFill>
                  <a:schemeClr val="bg1"/>
                </a:solidFill>
              </a:defRPr>
            </a:lvl1pPr>
          </a:lstStyle>
          <a:p>
            <a:pPr lvl="0"/>
            <a:r>
              <a:rPr lang="en-US"/>
              <a:t>Click to edit Master text styles</a:t>
            </a:r>
          </a:p>
        </p:txBody>
      </p:sp>
      <p:sp>
        <p:nvSpPr>
          <p:cNvPr id="10" name="Rectangle 1029"/>
          <p:cNvSpPr>
            <a:spLocks noGrp="1" noChangeArrowheads="1"/>
          </p:cNvSpPr>
          <p:nvPr>
            <p:ph type="sldNum" sz="quarter" idx="18"/>
          </p:nvPr>
        </p:nvSpPr>
        <p:spPr/>
        <p:txBody>
          <a:bodyPr/>
          <a:lstStyle>
            <a:lvl1pPr>
              <a:defRPr/>
            </a:lvl1pPr>
          </a:lstStyle>
          <a:p>
            <a:pPr>
              <a:defRPr/>
            </a:pPr>
            <a:fld id="{E0362FA9-9908-4318-B162-5007B8E1BD64}" type="slidenum">
              <a:rPr lang="en-GB">
                <a:solidFill>
                  <a:srgbClr val="C0C0C0"/>
                </a:solidFill>
              </a:rPr>
              <a:pPr>
                <a:defRPr/>
              </a:pPr>
              <a:t>‹#›</a:t>
            </a:fld>
            <a:endParaRPr lang="en-GB">
              <a:solidFill>
                <a:srgbClr val="C0C0C0"/>
              </a:solidFill>
            </a:endParaRPr>
          </a:p>
        </p:txBody>
      </p:sp>
      <p:sp>
        <p:nvSpPr>
          <p:cNvPr id="11" name="Rectangle 1030"/>
          <p:cNvSpPr>
            <a:spLocks noGrp="1" noChangeArrowheads="1"/>
          </p:cNvSpPr>
          <p:nvPr>
            <p:ph type="ftr" sz="quarter" idx="19"/>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1499265297"/>
      </p:ext>
    </p:extLst>
  </p:cSld>
  <p:clrMapOvr>
    <a:masterClrMapping/>
  </p:clrMapOvr>
  <p:transition spd="slow">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and large picture">
    <p:spTree>
      <p:nvGrpSpPr>
        <p:cNvPr id="1" name=""/>
        <p:cNvGrpSpPr/>
        <p:nvPr/>
      </p:nvGrpSpPr>
      <p:grpSpPr>
        <a:xfrm>
          <a:off x="0" y="0"/>
          <a:ext cx="0" cy="0"/>
          <a:chOff x="0" y="0"/>
          <a:chExt cx="0" cy="0"/>
        </a:xfrm>
      </p:grpSpPr>
      <p:sp>
        <p:nvSpPr>
          <p:cNvPr id="11" name="Freeform 6"/>
          <p:cNvSpPr>
            <a:spLocks noEditPoints="1"/>
          </p:cNvSpPr>
          <p:nvPr userDrawn="1"/>
        </p:nvSpPr>
        <p:spPr bwMode="auto">
          <a:xfrm>
            <a:off x="5369687" y="1404760"/>
            <a:ext cx="3379787" cy="2792016"/>
          </a:xfrm>
          <a:custGeom>
            <a:avLst/>
            <a:gdLst/>
            <a:ahLst/>
            <a:cxnLst>
              <a:cxn ang="0">
                <a:pos x="8675" y="1568"/>
              </a:cxn>
              <a:cxn ang="0">
                <a:pos x="5553" y="1003"/>
              </a:cxn>
              <a:cxn ang="0">
                <a:pos x="5270" y="707"/>
              </a:cxn>
              <a:cxn ang="0">
                <a:pos x="6160" y="325"/>
              </a:cxn>
              <a:cxn ang="0">
                <a:pos x="6005" y="481"/>
              </a:cxn>
              <a:cxn ang="0">
                <a:pos x="2402" y="410"/>
              </a:cxn>
              <a:cxn ang="0">
                <a:pos x="2699" y="452"/>
              </a:cxn>
              <a:cxn ang="0">
                <a:pos x="2558" y="311"/>
              </a:cxn>
              <a:cxn ang="0">
                <a:pos x="3038" y="99"/>
              </a:cxn>
              <a:cxn ang="0">
                <a:pos x="2939" y="198"/>
              </a:cxn>
              <a:cxn ang="0">
                <a:pos x="4154" y="650"/>
              </a:cxn>
              <a:cxn ang="0">
                <a:pos x="4479" y="608"/>
              </a:cxn>
              <a:cxn ang="0">
                <a:pos x="4366" y="509"/>
              </a:cxn>
              <a:cxn ang="0">
                <a:pos x="8420" y="2641"/>
              </a:cxn>
              <a:cxn ang="0">
                <a:pos x="8548" y="2514"/>
              </a:cxn>
              <a:cxn ang="0">
                <a:pos x="1554" y="509"/>
              </a:cxn>
              <a:cxn ang="0">
                <a:pos x="1766" y="523"/>
              </a:cxn>
              <a:cxn ang="0">
                <a:pos x="1682" y="438"/>
              </a:cxn>
              <a:cxn ang="0">
                <a:pos x="8406" y="1173"/>
              </a:cxn>
              <a:cxn ang="0">
                <a:pos x="8322" y="1271"/>
              </a:cxn>
              <a:cxn ang="0">
                <a:pos x="3829" y="99"/>
              </a:cxn>
              <a:cxn ang="0">
                <a:pos x="6753" y="947"/>
              </a:cxn>
              <a:cxn ang="0">
                <a:pos x="6612" y="791"/>
              </a:cxn>
              <a:cxn ang="0">
                <a:pos x="8081" y="834"/>
              </a:cxn>
              <a:cxn ang="0">
                <a:pos x="7912" y="1003"/>
              </a:cxn>
              <a:cxn ang="0">
                <a:pos x="8110" y="551"/>
              </a:cxn>
              <a:cxn ang="0">
                <a:pos x="8562" y="1893"/>
              </a:cxn>
              <a:cxn ang="0">
                <a:pos x="8011" y="1314"/>
              </a:cxn>
              <a:cxn ang="0">
                <a:pos x="7601" y="1568"/>
              </a:cxn>
              <a:cxn ang="0">
                <a:pos x="7544" y="1469"/>
              </a:cxn>
              <a:cxn ang="0">
                <a:pos x="7248" y="1173"/>
              </a:cxn>
              <a:cxn ang="0">
                <a:pos x="6697" y="1215"/>
              </a:cxn>
              <a:cxn ang="0">
                <a:pos x="6188" y="989"/>
              </a:cxn>
              <a:cxn ang="0">
                <a:pos x="5835" y="1173"/>
              </a:cxn>
              <a:cxn ang="0">
                <a:pos x="5383" y="1187"/>
              </a:cxn>
              <a:cxn ang="0">
                <a:pos x="4776" y="848"/>
              </a:cxn>
              <a:cxn ang="0">
                <a:pos x="4507" y="1045"/>
              </a:cxn>
              <a:cxn ang="0">
                <a:pos x="3984" y="1257"/>
              </a:cxn>
              <a:cxn ang="0">
                <a:pos x="3363" y="1003"/>
              </a:cxn>
              <a:cxn ang="0">
                <a:pos x="3448" y="848"/>
              </a:cxn>
              <a:cxn ang="0">
                <a:pos x="3744" y="834"/>
              </a:cxn>
              <a:cxn ang="0">
                <a:pos x="3448" y="297"/>
              </a:cxn>
              <a:cxn ang="0">
                <a:pos x="2967" y="594"/>
              </a:cxn>
              <a:cxn ang="0">
                <a:pos x="2374" y="1017"/>
              </a:cxn>
              <a:cxn ang="0">
                <a:pos x="2063" y="678"/>
              </a:cxn>
              <a:cxn ang="0">
                <a:pos x="1922" y="1300"/>
              </a:cxn>
              <a:cxn ang="0">
                <a:pos x="1526" y="1017"/>
              </a:cxn>
              <a:cxn ang="0">
                <a:pos x="947" y="1045"/>
              </a:cxn>
              <a:cxn ang="0">
                <a:pos x="509" y="1596"/>
              </a:cxn>
              <a:cxn ang="0">
                <a:pos x="679" y="9772"/>
              </a:cxn>
              <a:cxn ang="0">
                <a:pos x="8279" y="3093"/>
              </a:cxn>
              <a:cxn ang="0">
                <a:pos x="8307" y="2599"/>
              </a:cxn>
              <a:cxn ang="0">
                <a:pos x="8420" y="2133"/>
              </a:cxn>
              <a:cxn ang="0">
                <a:pos x="8675" y="2034"/>
              </a:cxn>
              <a:cxn ang="0">
                <a:pos x="5849" y="1130"/>
              </a:cxn>
              <a:cxn ang="0">
                <a:pos x="5736" y="1017"/>
              </a:cxn>
            </a:cxnLst>
            <a:rect l="0" t="0" r="r" b="b"/>
            <a:pathLst>
              <a:path w="8872" h="9772">
                <a:moveTo>
                  <a:pt x="8675" y="1158"/>
                </a:moveTo>
                <a:cubicBezTo>
                  <a:pt x="8562" y="1158"/>
                  <a:pt x="8463" y="1243"/>
                  <a:pt x="8463" y="1356"/>
                </a:cubicBezTo>
                <a:cubicBezTo>
                  <a:pt x="8463" y="1469"/>
                  <a:pt x="8562" y="1568"/>
                  <a:pt x="8675" y="1568"/>
                </a:cubicBezTo>
                <a:cubicBezTo>
                  <a:pt x="8788" y="1568"/>
                  <a:pt x="8872" y="1469"/>
                  <a:pt x="8872" y="1356"/>
                </a:cubicBezTo>
                <a:cubicBezTo>
                  <a:pt x="8872" y="1243"/>
                  <a:pt x="8788" y="1158"/>
                  <a:pt x="8675" y="1158"/>
                </a:cubicBezTo>
                <a:close/>
                <a:moveTo>
                  <a:pt x="5553" y="1003"/>
                </a:moveTo>
                <a:cubicBezTo>
                  <a:pt x="5722" y="1003"/>
                  <a:pt x="5849" y="862"/>
                  <a:pt x="5849" y="707"/>
                </a:cubicBezTo>
                <a:cubicBezTo>
                  <a:pt x="5849" y="537"/>
                  <a:pt x="5722" y="410"/>
                  <a:pt x="5553" y="410"/>
                </a:cubicBezTo>
                <a:cubicBezTo>
                  <a:pt x="5397" y="410"/>
                  <a:pt x="5270" y="537"/>
                  <a:pt x="5270" y="707"/>
                </a:cubicBezTo>
                <a:cubicBezTo>
                  <a:pt x="5270" y="862"/>
                  <a:pt x="5397" y="1003"/>
                  <a:pt x="5553" y="1003"/>
                </a:cubicBezTo>
                <a:close/>
                <a:moveTo>
                  <a:pt x="6005" y="481"/>
                </a:moveTo>
                <a:cubicBezTo>
                  <a:pt x="6089" y="481"/>
                  <a:pt x="6160" y="410"/>
                  <a:pt x="6160" y="325"/>
                </a:cubicBezTo>
                <a:cubicBezTo>
                  <a:pt x="6160" y="241"/>
                  <a:pt x="6089" y="184"/>
                  <a:pt x="6005" y="184"/>
                </a:cubicBezTo>
                <a:cubicBezTo>
                  <a:pt x="5920" y="184"/>
                  <a:pt x="5849" y="241"/>
                  <a:pt x="5849" y="325"/>
                </a:cubicBezTo>
                <a:cubicBezTo>
                  <a:pt x="5849" y="410"/>
                  <a:pt x="5920" y="481"/>
                  <a:pt x="6005" y="481"/>
                </a:cubicBezTo>
                <a:close/>
                <a:moveTo>
                  <a:pt x="2402" y="777"/>
                </a:moveTo>
                <a:cubicBezTo>
                  <a:pt x="2501" y="777"/>
                  <a:pt x="2586" y="692"/>
                  <a:pt x="2586" y="594"/>
                </a:cubicBezTo>
                <a:cubicBezTo>
                  <a:pt x="2586" y="495"/>
                  <a:pt x="2501" y="410"/>
                  <a:pt x="2402" y="410"/>
                </a:cubicBezTo>
                <a:cubicBezTo>
                  <a:pt x="2303" y="410"/>
                  <a:pt x="2218" y="495"/>
                  <a:pt x="2218" y="594"/>
                </a:cubicBezTo>
                <a:cubicBezTo>
                  <a:pt x="2218" y="692"/>
                  <a:pt x="2303" y="777"/>
                  <a:pt x="2402" y="777"/>
                </a:cubicBezTo>
                <a:close/>
                <a:moveTo>
                  <a:pt x="2699" y="452"/>
                </a:moveTo>
                <a:cubicBezTo>
                  <a:pt x="2784" y="452"/>
                  <a:pt x="2840" y="396"/>
                  <a:pt x="2840" y="311"/>
                </a:cubicBezTo>
                <a:cubicBezTo>
                  <a:pt x="2840" y="241"/>
                  <a:pt x="2784" y="170"/>
                  <a:pt x="2699" y="170"/>
                </a:cubicBezTo>
                <a:cubicBezTo>
                  <a:pt x="2628" y="170"/>
                  <a:pt x="2558" y="241"/>
                  <a:pt x="2558" y="311"/>
                </a:cubicBezTo>
                <a:cubicBezTo>
                  <a:pt x="2558" y="396"/>
                  <a:pt x="2628" y="452"/>
                  <a:pt x="2699" y="452"/>
                </a:cubicBezTo>
                <a:close/>
                <a:moveTo>
                  <a:pt x="2939" y="198"/>
                </a:moveTo>
                <a:cubicBezTo>
                  <a:pt x="2995" y="198"/>
                  <a:pt x="3038" y="156"/>
                  <a:pt x="3038" y="99"/>
                </a:cubicBezTo>
                <a:cubicBezTo>
                  <a:pt x="3038" y="43"/>
                  <a:pt x="2995" y="0"/>
                  <a:pt x="2939" y="0"/>
                </a:cubicBezTo>
                <a:cubicBezTo>
                  <a:pt x="2882" y="0"/>
                  <a:pt x="2840" y="43"/>
                  <a:pt x="2840" y="99"/>
                </a:cubicBezTo>
                <a:cubicBezTo>
                  <a:pt x="2840" y="156"/>
                  <a:pt x="2882" y="198"/>
                  <a:pt x="2939" y="198"/>
                </a:cubicBezTo>
                <a:close/>
                <a:moveTo>
                  <a:pt x="4154" y="1031"/>
                </a:moveTo>
                <a:cubicBezTo>
                  <a:pt x="4253" y="1031"/>
                  <a:pt x="4338" y="947"/>
                  <a:pt x="4338" y="848"/>
                </a:cubicBezTo>
                <a:cubicBezTo>
                  <a:pt x="4338" y="735"/>
                  <a:pt x="4253" y="650"/>
                  <a:pt x="4154" y="650"/>
                </a:cubicBezTo>
                <a:cubicBezTo>
                  <a:pt x="4041" y="650"/>
                  <a:pt x="3956" y="735"/>
                  <a:pt x="3956" y="848"/>
                </a:cubicBezTo>
                <a:cubicBezTo>
                  <a:pt x="3956" y="947"/>
                  <a:pt x="4041" y="1031"/>
                  <a:pt x="4154" y="1031"/>
                </a:cubicBezTo>
                <a:close/>
                <a:moveTo>
                  <a:pt x="4479" y="608"/>
                </a:moveTo>
                <a:cubicBezTo>
                  <a:pt x="4535" y="608"/>
                  <a:pt x="4578" y="565"/>
                  <a:pt x="4578" y="509"/>
                </a:cubicBezTo>
                <a:cubicBezTo>
                  <a:pt x="4578" y="452"/>
                  <a:pt x="4535" y="396"/>
                  <a:pt x="4479" y="396"/>
                </a:cubicBezTo>
                <a:cubicBezTo>
                  <a:pt x="4408" y="396"/>
                  <a:pt x="4366" y="452"/>
                  <a:pt x="4366" y="509"/>
                </a:cubicBezTo>
                <a:cubicBezTo>
                  <a:pt x="4366" y="565"/>
                  <a:pt x="4408" y="608"/>
                  <a:pt x="4479" y="608"/>
                </a:cubicBezTo>
                <a:close/>
                <a:moveTo>
                  <a:pt x="8548" y="2514"/>
                </a:moveTo>
                <a:cubicBezTo>
                  <a:pt x="8477" y="2514"/>
                  <a:pt x="8420" y="2571"/>
                  <a:pt x="8420" y="2641"/>
                </a:cubicBezTo>
                <a:cubicBezTo>
                  <a:pt x="8420" y="2712"/>
                  <a:pt x="8477" y="2768"/>
                  <a:pt x="8548" y="2768"/>
                </a:cubicBezTo>
                <a:cubicBezTo>
                  <a:pt x="8618" y="2768"/>
                  <a:pt x="8675" y="2712"/>
                  <a:pt x="8675" y="2641"/>
                </a:cubicBezTo>
                <a:cubicBezTo>
                  <a:pt x="8675" y="2571"/>
                  <a:pt x="8618" y="2514"/>
                  <a:pt x="8548" y="2514"/>
                </a:cubicBezTo>
                <a:close/>
                <a:moveTo>
                  <a:pt x="1554" y="820"/>
                </a:moveTo>
                <a:cubicBezTo>
                  <a:pt x="1639" y="820"/>
                  <a:pt x="1710" y="749"/>
                  <a:pt x="1710" y="664"/>
                </a:cubicBezTo>
                <a:cubicBezTo>
                  <a:pt x="1710" y="579"/>
                  <a:pt x="1639" y="509"/>
                  <a:pt x="1554" y="509"/>
                </a:cubicBezTo>
                <a:cubicBezTo>
                  <a:pt x="1470" y="509"/>
                  <a:pt x="1399" y="579"/>
                  <a:pt x="1399" y="664"/>
                </a:cubicBezTo>
                <a:cubicBezTo>
                  <a:pt x="1399" y="749"/>
                  <a:pt x="1470" y="820"/>
                  <a:pt x="1554" y="820"/>
                </a:cubicBezTo>
                <a:close/>
                <a:moveTo>
                  <a:pt x="1766" y="523"/>
                </a:moveTo>
                <a:cubicBezTo>
                  <a:pt x="1823" y="523"/>
                  <a:pt x="1851" y="481"/>
                  <a:pt x="1851" y="438"/>
                </a:cubicBezTo>
                <a:cubicBezTo>
                  <a:pt x="1851" y="382"/>
                  <a:pt x="1823" y="339"/>
                  <a:pt x="1766" y="339"/>
                </a:cubicBezTo>
                <a:cubicBezTo>
                  <a:pt x="1724" y="339"/>
                  <a:pt x="1682" y="382"/>
                  <a:pt x="1682" y="438"/>
                </a:cubicBezTo>
                <a:cubicBezTo>
                  <a:pt x="1682" y="481"/>
                  <a:pt x="1724" y="523"/>
                  <a:pt x="1766" y="523"/>
                </a:cubicBezTo>
                <a:close/>
                <a:moveTo>
                  <a:pt x="8322" y="1271"/>
                </a:moveTo>
                <a:cubicBezTo>
                  <a:pt x="8364" y="1271"/>
                  <a:pt x="8406" y="1229"/>
                  <a:pt x="8406" y="1173"/>
                </a:cubicBezTo>
                <a:cubicBezTo>
                  <a:pt x="8406" y="1130"/>
                  <a:pt x="8364" y="1088"/>
                  <a:pt x="8322" y="1088"/>
                </a:cubicBezTo>
                <a:cubicBezTo>
                  <a:pt x="8265" y="1088"/>
                  <a:pt x="8223" y="1130"/>
                  <a:pt x="8223" y="1173"/>
                </a:cubicBezTo>
                <a:cubicBezTo>
                  <a:pt x="8223" y="1229"/>
                  <a:pt x="8265" y="1271"/>
                  <a:pt x="8322" y="1271"/>
                </a:cubicBezTo>
                <a:close/>
                <a:moveTo>
                  <a:pt x="3829" y="396"/>
                </a:moveTo>
                <a:cubicBezTo>
                  <a:pt x="3914" y="396"/>
                  <a:pt x="3984" y="325"/>
                  <a:pt x="3984" y="241"/>
                </a:cubicBezTo>
                <a:cubicBezTo>
                  <a:pt x="3984" y="156"/>
                  <a:pt x="3914" y="99"/>
                  <a:pt x="3829" y="99"/>
                </a:cubicBezTo>
                <a:cubicBezTo>
                  <a:pt x="3744" y="99"/>
                  <a:pt x="3674" y="156"/>
                  <a:pt x="3674" y="241"/>
                </a:cubicBezTo>
                <a:cubicBezTo>
                  <a:pt x="3674" y="325"/>
                  <a:pt x="3744" y="396"/>
                  <a:pt x="3829" y="396"/>
                </a:cubicBezTo>
                <a:close/>
                <a:moveTo>
                  <a:pt x="6753" y="947"/>
                </a:moveTo>
                <a:cubicBezTo>
                  <a:pt x="6838" y="947"/>
                  <a:pt x="6909" y="876"/>
                  <a:pt x="6909" y="791"/>
                </a:cubicBezTo>
                <a:cubicBezTo>
                  <a:pt x="6909" y="707"/>
                  <a:pt x="6838" y="650"/>
                  <a:pt x="6753" y="650"/>
                </a:cubicBezTo>
                <a:cubicBezTo>
                  <a:pt x="6669" y="650"/>
                  <a:pt x="6612" y="707"/>
                  <a:pt x="6612" y="791"/>
                </a:cubicBezTo>
                <a:cubicBezTo>
                  <a:pt x="6612" y="876"/>
                  <a:pt x="6669" y="947"/>
                  <a:pt x="6753" y="947"/>
                </a:cubicBezTo>
                <a:close/>
                <a:moveTo>
                  <a:pt x="7912" y="1003"/>
                </a:moveTo>
                <a:cubicBezTo>
                  <a:pt x="8011" y="1003"/>
                  <a:pt x="8081" y="932"/>
                  <a:pt x="8081" y="834"/>
                </a:cubicBezTo>
                <a:cubicBezTo>
                  <a:pt x="8081" y="749"/>
                  <a:pt x="8011" y="678"/>
                  <a:pt x="7912" y="678"/>
                </a:cubicBezTo>
                <a:cubicBezTo>
                  <a:pt x="7827" y="678"/>
                  <a:pt x="7756" y="749"/>
                  <a:pt x="7756" y="834"/>
                </a:cubicBezTo>
                <a:cubicBezTo>
                  <a:pt x="7756" y="932"/>
                  <a:pt x="7827" y="1003"/>
                  <a:pt x="7912" y="1003"/>
                </a:cubicBezTo>
                <a:close/>
                <a:moveTo>
                  <a:pt x="8110" y="721"/>
                </a:moveTo>
                <a:cubicBezTo>
                  <a:pt x="8166" y="721"/>
                  <a:pt x="8194" y="692"/>
                  <a:pt x="8194" y="636"/>
                </a:cubicBezTo>
                <a:cubicBezTo>
                  <a:pt x="8194" y="594"/>
                  <a:pt x="8166" y="551"/>
                  <a:pt x="8110" y="551"/>
                </a:cubicBezTo>
                <a:cubicBezTo>
                  <a:pt x="8067" y="551"/>
                  <a:pt x="8039" y="594"/>
                  <a:pt x="8039" y="636"/>
                </a:cubicBezTo>
                <a:cubicBezTo>
                  <a:pt x="8039" y="692"/>
                  <a:pt x="8067" y="721"/>
                  <a:pt x="8110" y="721"/>
                </a:cubicBezTo>
                <a:close/>
                <a:moveTo>
                  <a:pt x="8562" y="1893"/>
                </a:moveTo>
                <a:cubicBezTo>
                  <a:pt x="8562" y="1879"/>
                  <a:pt x="8576" y="1850"/>
                  <a:pt x="8576" y="1836"/>
                </a:cubicBezTo>
                <a:cubicBezTo>
                  <a:pt x="8576" y="1639"/>
                  <a:pt x="8420" y="1469"/>
                  <a:pt x="8223" y="1455"/>
                </a:cubicBezTo>
                <a:cubicBezTo>
                  <a:pt x="8194" y="1370"/>
                  <a:pt x="8110" y="1314"/>
                  <a:pt x="8011" y="1314"/>
                </a:cubicBezTo>
                <a:cubicBezTo>
                  <a:pt x="7884" y="1314"/>
                  <a:pt x="7771" y="1427"/>
                  <a:pt x="7771" y="1554"/>
                </a:cubicBezTo>
                <a:cubicBezTo>
                  <a:pt x="7771" y="1568"/>
                  <a:pt x="7771" y="1582"/>
                  <a:pt x="7785" y="1596"/>
                </a:cubicBezTo>
                <a:cubicBezTo>
                  <a:pt x="7714" y="1582"/>
                  <a:pt x="7658" y="1568"/>
                  <a:pt x="7601" y="1568"/>
                </a:cubicBezTo>
                <a:cubicBezTo>
                  <a:pt x="7516" y="1568"/>
                  <a:pt x="7516" y="1568"/>
                  <a:pt x="7516" y="1568"/>
                </a:cubicBezTo>
                <a:cubicBezTo>
                  <a:pt x="7516" y="1540"/>
                  <a:pt x="7502" y="1497"/>
                  <a:pt x="7488" y="1469"/>
                </a:cubicBezTo>
                <a:cubicBezTo>
                  <a:pt x="7516" y="1469"/>
                  <a:pt x="7530" y="1469"/>
                  <a:pt x="7544" y="1469"/>
                </a:cubicBezTo>
                <a:cubicBezTo>
                  <a:pt x="7714" y="1469"/>
                  <a:pt x="7841" y="1342"/>
                  <a:pt x="7841" y="1173"/>
                </a:cubicBezTo>
                <a:cubicBezTo>
                  <a:pt x="7841" y="1003"/>
                  <a:pt x="7714" y="876"/>
                  <a:pt x="7544" y="876"/>
                </a:cubicBezTo>
                <a:cubicBezTo>
                  <a:pt x="7375" y="876"/>
                  <a:pt x="7248" y="1003"/>
                  <a:pt x="7248" y="1173"/>
                </a:cubicBezTo>
                <a:cubicBezTo>
                  <a:pt x="7248" y="1173"/>
                  <a:pt x="7248" y="1173"/>
                  <a:pt x="7248" y="1173"/>
                </a:cubicBezTo>
                <a:cubicBezTo>
                  <a:pt x="7177" y="1130"/>
                  <a:pt x="7092" y="1116"/>
                  <a:pt x="6994" y="1116"/>
                </a:cubicBezTo>
                <a:cubicBezTo>
                  <a:pt x="6881" y="1116"/>
                  <a:pt x="6782" y="1144"/>
                  <a:pt x="6697" y="1215"/>
                </a:cubicBezTo>
                <a:cubicBezTo>
                  <a:pt x="6697" y="1187"/>
                  <a:pt x="6697" y="1158"/>
                  <a:pt x="6697" y="1144"/>
                </a:cubicBezTo>
                <a:cubicBezTo>
                  <a:pt x="6697" y="989"/>
                  <a:pt x="6584" y="862"/>
                  <a:pt x="6428" y="862"/>
                </a:cubicBezTo>
                <a:cubicBezTo>
                  <a:pt x="6330" y="862"/>
                  <a:pt x="6245" y="918"/>
                  <a:pt x="6188" y="989"/>
                </a:cubicBezTo>
                <a:cubicBezTo>
                  <a:pt x="6188" y="989"/>
                  <a:pt x="6188" y="989"/>
                  <a:pt x="6188" y="989"/>
                </a:cubicBezTo>
                <a:cubicBezTo>
                  <a:pt x="6061" y="989"/>
                  <a:pt x="5934" y="1074"/>
                  <a:pt x="5877" y="1173"/>
                </a:cubicBezTo>
                <a:cubicBezTo>
                  <a:pt x="5863" y="1173"/>
                  <a:pt x="5849" y="1173"/>
                  <a:pt x="5835" y="1173"/>
                </a:cubicBezTo>
                <a:cubicBezTo>
                  <a:pt x="5779" y="1173"/>
                  <a:pt x="5736" y="1201"/>
                  <a:pt x="5694" y="1257"/>
                </a:cubicBezTo>
                <a:cubicBezTo>
                  <a:pt x="5666" y="1187"/>
                  <a:pt x="5595" y="1144"/>
                  <a:pt x="5510" y="1144"/>
                </a:cubicBezTo>
                <a:cubicBezTo>
                  <a:pt x="5468" y="1144"/>
                  <a:pt x="5411" y="1158"/>
                  <a:pt x="5383" y="1187"/>
                </a:cubicBezTo>
                <a:cubicBezTo>
                  <a:pt x="5355" y="1003"/>
                  <a:pt x="5213" y="862"/>
                  <a:pt x="5044" y="820"/>
                </a:cubicBezTo>
                <a:cubicBezTo>
                  <a:pt x="5030" y="763"/>
                  <a:pt x="4973" y="707"/>
                  <a:pt x="4917" y="707"/>
                </a:cubicBezTo>
                <a:cubicBezTo>
                  <a:pt x="4832" y="707"/>
                  <a:pt x="4776" y="777"/>
                  <a:pt x="4776" y="848"/>
                </a:cubicBezTo>
                <a:cubicBezTo>
                  <a:pt x="4776" y="848"/>
                  <a:pt x="4776" y="848"/>
                  <a:pt x="4776" y="848"/>
                </a:cubicBezTo>
                <a:cubicBezTo>
                  <a:pt x="4691" y="890"/>
                  <a:pt x="4606" y="961"/>
                  <a:pt x="4564" y="1045"/>
                </a:cubicBezTo>
                <a:cubicBezTo>
                  <a:pt x="4535" y="1045"/>
                  <a:pt x="4521" y="1045"/>
                  <a:pt x="4507" y="1045"/>
                </a:cubicBezTo>
                <a:cubicBezTo>
                  <a:pt x="4380" y="1045"/>
                  <a:pt x="4281" y="1130"/>
                  <a:pt x="4253" y="1243"/>
                </a:cubicBezTo>
                <a:cubicBezTo>
                  <a:pt x="4225" y="1243"/>
                  <a:pt x="4196" y="1229"/>
                  <a:pt x="4168" y="1229"/>
                </a:cubicBezTo>
                <a:cubicBezTo>
                  <a:pt x="4112" y="1229"/>
                  <a:pt x="4041" y="1243"/>
                  <a:pt x="3984" y="1257"/>
                </a:cubicBezTo>
                <a:cubicBezTo>
                  <a:pt x="3956" y="1102"/>
                  <a:pt x="3829" y="989"/>
                  <a:pt x="3659" y="989"/>
                </a:cubicBezTo>
                <a:cubicBezTo>
                  <a:pt x="3589" y="989"/>
                  <a:pt x="3504" y="1017"/>
                  <a:pt x="3462" y="1074"/>
                </a:cubicBezTo>
                <a:cubicBezTo>
                  <a:pt x="3433" y="1031"/>
                  <a:pt x="3391" y="1017"/>
                  <a:pt x="3363" y="1003"/>
                </a:cubicBezTo>
                <a:cubicBezTo>
                  <a:pt x="3363" y="1003"/>
                  <a:pt x="3363" y="989"/>
                  <a:pt x="3363" y="989"/>
                </a:cubicBezTo>
                <a:cubicBezTo>
                  <a:pt x="3363" y="918"/>
                  <a:pt x="3349" y="862"/>
                  <a:pt x="3320" y="805"/>
                </a:cubicBezTo>
                <a:cubicBezTo>
                  <a:pt x="3349" y="834"/>
                  <a:pt x="3391" y="848"/>
                  <a:pt x="3448" y="848"/>
                </a:cubicBezTo>
                <a:cubicBezTo>
                  <a:pt x="3476" y="848"/>
                  <a:pt x="3490" y="834"/>
                  <a:pt x="3518" y="834"/>
                </a:cubicBezTo>
                <a:cubicBezTo>
                  <a:pt x="3518" y="890"/>
                  <a:pt x="3575" y="947"/>
                  <a:pt x="3631" y="947"/>
                </a:cubicBezTo>
                <a:cubicBezTo>
                  <a:pt x="3702" y="947"/>
                  <a:pt x="3744" y="890"/>
                  <a:pt x="3744" y="834"/>
                </a:cubicBezTo>
                <a:cubicBezTo>
                  <a:pt x="3744" y="777"/>
                  <a:pt x="3716" y="735"/>
                  <a:pt x="3674" y="721"/>
                </a:cubicBezTo>
                <a:cubicBezTo>
                  <a:pt x="3702" y="678"/>
                  <a:pt x="3716" y="622"/>
                  <a:pt x="3716" y="565"/>
                </a:cubicBezTo>
                <a:cubicBezTo>
                  <a:pt x="3716" y="424"/>
                  <a:pt x="3589" y="297"/>
                  <a:pt x="3448" y="297"/>
                </a:cubicBezTo>
                <a:cubicBezTo>
                  <a:pt x="3292" y="297"/>
                  <a:pt x="3179" y="424"/>
                  <a:pt x="3179" y="565"/>
                </a:cubicBezTo>
                <a:cubicBezTo>
                  <a:pt x="3179" y="608"/>
                  <a:pt x="3179" y="636"/>
                  <a:pt x="3193" y="664"/>
                </a:cubicBezTo>
                <a:cubicBezTo>
                  <a:pt x="3123" y="622"/>
                  <a:pt x="3052" y="594"/>
                  <a:pt x="2967" y="594"/>
                </a:cubicBezTo>
                <a:cubicBezTo>
                  <a:pt x="2755" y="594"/>
                  <a:pt x="2586" y="777"/>
                  <a:pt x="2586" y="989"/>
                </a:cubicBezTo>
                <a:cubicBezTo>
                  <a:pt x="2586" y="1017"/>
                  <a:pt x="2586" y="1045"/>
                  <a:pt x="2600" y="1074"/>
                </a:cubicBezTo>
                <a:cubicBezTo>
                  <a:pt x="2529" y="1045"/>
                  <a:pt x="2459" y="1017"/>
                  <a:pt x="2374" y="1017"/>
                </a:cubicBezTo>
                <a:cubicBezTo>
                  <a:pt x="2346" y="1017"/>
                  <a:pt x="2317" y="1031"/>
                  <a:pt x="2289" y="1031"/>
                </a:cubicBezTo>
                <a:cubicBezTo>
                  <a:pt x="2303" y="1003"/>
                  <a:pt x="2317" y="961"/>
                  <a:pt x="2317" y="918"/>
                </a:cubicBezTo>
                <a:cubicBezTo>
                  <a:pt x="2317" y="791"/>
                  <a:pt x="2204" y="678"/>
                  <a:pt x="2063" y="678"/>
                </a:cubicBezTo>
                <a:cubicBezTo>
                  <a:pt x="1922" y="678"/>
                  <a:pt x="1809" y="791"/>
                  <a:pt x="1809" y="918"/>
                </a:cubicBezTo>
                <a:cubicBezTo>
                  <a:pt x="1809" y="1045"/>
                  <a:pt x="1908" y="1158"/>
                  <a:pt x="2021" y="1173"/>
                </a:cubicBezTo>
                <a:cubicBezTo>
                  <a:pt x="1978" y="1215"/>
                  <a:pt x="1950" y="1257"/>
                  <a:pt x="1922" y="1300"/>
                </a:cubicBezTo>
                <a:cubicBezTo>
                  <a:pt x="1908" y="1158"/>
                  <a:pt x="1781" y="1045"/>
                  <a:pt x="1639" y="1045"/>
                </a:cubicBezTo>
                <a:cubicBezTo>
                  <a:pt x="1597" y="1045"/>
                  <a:pt x="1554" y="1045"/>
                  <a:pt x="1526" y="1060"/>
                </a:cubicBezTo>
                <a:cubicBezTo>
                  <a:pt x="1526" y="1045"/>
                  <a:pt x="1526" y="1031"/>
                  <a:pt x="1526" y="1017"/>
                </a:cubicBezTo>
                <a:cubicBezTo>
                  <a:pt x="1526" y="862"/>
                  <a:pt x="1399" y="735"/>
                  <a:pt x="1230" y="735"/>
                </a:cubicBezTo>
                <a:cubicBezTo>
                  <a:pt x="1074" y="735"/>
                  <a:pt x="947" y="862"/>
                  <a:pt x="947" y="1017"/>
                </a:cubicBezTo>
                <a:cubicBezTo>
                  <a:pt x="947" y="1031"/>
                  <a:pt x="947" y="1045"/>
                  <a:pt x="947" y="1045"/>
                </a:cubicBezTo>
                <a:cubicBezTo>
                  <a:pt x="919" y="1045"/>
                  <a:pt x="890" y="1031"/>
                  <a:pt x="848" y="1031"/>
                </a:cubicBezTo>
                <a:cubicBezTo>
                  <a:pt x="636" y="1031"/>
                  <a:pt x="467" y="1215"/>
                  <a:pt x="467" y="1427"/>
                </a:cubicBezTo>
                <a:cubicBezTo>
                  <a:pt x="467" y="1483"/>
                  <a:pt x="481" y="1540"/>
                  <a:pt x="509" y="1596"/>
                </a:cubicBezTo>
                <a:cubicBezTo>
                  <a:pt x="212" y="1667"/>
                  <a:pt x="0" y="1935"/>
                  <a:pt x="0" y="2246"/>
                </a:cubicBezTo>
                <a:cubicBezTo>
                  <a:pt x="0" y="9095"/>
                  <a:pt x="0" y="9095"/>
                  <a:pt x="0" y="9095"/>
                </a:cubicBezTo>
                <a:cubicBezTo>
                  <a:pt x="0" y="9476"/>
                  <a:pt x="311" y="9772"/>
                  <a:pt x="679" y="9772"/>
                </a:cubicBezTo>
                <a:cubicBezTo>
                  <a:pt x="7601" y="9772"/>
                  <a:pt x="7601" y="9772"/>
                  <a:pt x="7601" y="9772"/>
                </a:cubicBezTo>
                <a:cubicBezTo>
                  <a:pt x="7968" y="9772"/>
                  <a:pt x="8279" y="9476"/>
                  <a:pt x="8279" y="9095"/>
                </a:cubicBezTo>
                <a:cubicBezTo>
                  <a:pt x="8279" y="3093"/>
                  <a:pt x="8279" y="3093"/>
                  <a:pt x="8279" y="3093"/>
                </a:cubicBezTo>
                <a:cubicBezTo>
                  <a:pt x="8378" y="3065"/>
                  <a:pt x="8449" y="2980"/>
                  <a:pt x="8449" y="2881"/>
                </a:cubicBezTo>
                <a:cubicBezTo>
                  <a:pt x="8449" y="2782"/>
                  <a:pt x="8378" y="2698"/>
                  <a:pt x="8293" y="2669"/>
                </a:cubicBezTo>
                <a:cubicBezTo>
                  <a:pt x="8293" y="2655"/>
                  <a:pt x="8307" y="2627"/>
                  <a:pt x="8307" y="2599"/>
                </a:cubicBezTo>
                <a:cubicBezTo>
                  <a:pt x="8307" y="2571"/>
                  <a:pt x="8293" y="2542"/>
                  <a:pt x="8293" y="2514"/>
                </a:cubicBezTo>
                <a:cubicBezTo>
                  <a:pt x="8406" y="2514"/>
                  <a:pt x="8491" y="2415"/>
                  <a:pt x="8491" y="2302"/>
                </a:cubicBezTo>
                <a:cubicBezTo>
                  <a:pt x="8491" y="2232"/>
                  <a:pt x="8463" y="2175"/>
                  <a:pt x="8420" y="2133"/>
                </a:cubicBezTo>
                <a:cubicBezTo>
                  <a:pt x="8420" y="2133"/>
                  <a:pt x="8435" y="2119"/>
                  <a:pt x="8435" y="2119"/>
                </a:cubicBezTo>
                <a:cubicBezTo>
                  <a:pt x="8463" y="2147"/>
                  <a:pt x="8505" y="2175"/>
                  <a:pt x="8548" y="2175"/>
                </a:cubicBezTo>
                <a:cubicBezTo>
                  <a:pt x="8618" y="2175"/>
                  <a:pt x="8675" y="2105"/>
                  <a:pt x="8675" y="2034"/>
                </a:cubicBezTo>
                <a:cubicBezTo>
                  <a:pt x="8675" y="1963"/>
                  <a:pt x="8632" y="1907"/>
                  <a:pt x="8562" y="1893"/>
                </a:cubicBezTo>
                <a:close/>
                <a:moveTo>
                  <a:pt x="5736" y="1017"/>
                </a:moveTo>
                <a:cubicBezTo>
                  <a:pt x="5736" y="1088"/>
                  <a:pt x="5779" y="1130"/>
                  <a:pt x="5849" y="1130"/>
                </a:cubicBezTo>
                <a:cubicBezTo>
                  <a:pt x="5906" y="1130"/>
                  <a:pt x="5962" y="1088"/>
                  <a:pt x="5962" y="1017"/>
                </a:cubicBezTo>
                <a:cubicBezTo>
                  <a:pt x="5962" y="961"/>
                  <a:pt x="5906" y="904"/>
                  <a:pt x="5849" y="904"/>
                </a:cubicBezTo>
                <a:cubicBezTo>
                  <a:pt x="5779" y="904"/>
                  <a:pt x="5736" y="961"/>
                  <a:pt x="5736" y="1017"/>
                </a:cubicBezTo>
                <a:close/>
              </a:path>
            </a:pathLst>
          </a:custGeom>
          <a:solidFill>
            <a:srgbClr val="C0C0C0"/>
          </a:solidFill>
          <a:ln w="0">
            <a:noFill/>
            <a:prstDash val="solid"/>
            <a:round/>
            <a:headEnd/>
            <a:tailEnd/>
          </a:ln>
        </p:spPr>
        <p:txBody>
          <a:bodyPr vert="horz" wrap="square" lIns="91284" tIns="45642" rIns="91284" bIns="45642" numCol="1" anchor="t" anchorCtr="0" compatLnSpc="1">
            <a:prstTxWarp prst="textNoShape">
              <a:avLst/>
            </a:prstTxWarp>
          </a:bodyPr>
          <a:lstStyle/>
          <a:p>
            <a:pPr defTabSz="912644"/>
            <a:endParaRPr lang="fr-FR" sz="1800" u="sng">
              <a:solidFill>
                <a:srgbClr val="000000"/>
              </a:solidFill>
              <a:cs typeface="+mn-cs"/>
            </a:endParaRPr>
          </a:p>
        </p:txBody>
      </p:sp>
      <p:sp>
        <p:nvSpPr>
          <p:cNvPr id="12" name="Espace réservé pour une image  15"/>
          <p:cNvSpPr>
            <a:spLocks noGrp="1"/>
          </p:cNvSpPr>
          <p:nvPr>
            <p:ph type="pic" sz="quarter" idx="14"/>
          </p:nvPr>
        </p:nvSpPr>
        <p:spPr>
          <a:xfrm>
            <a:off x="551548" y="1970315"/>
            <a:ext cx="7935032" cy="2418510"/>
          </a:xfrm>
          <a:prstGeom prst="roundRect">
            <a:avLst>
              <a:gd name="adj" fmla="val 6361"/>
            </a:avLst>
          </a:prstGeom>
          <a:solidFill>
            <a:schemeClr val="bg1"/>
          </a:solidFill>
          <a:ln w="76200">
            <a:solidFill>
              <a:schemeClr val="bg2"/>
            </a:solidFill>
          </a:ln>
        </p:spPr>
        <p:txBody>
          <a:bodyPr/>
          <a:lstStyle/>
          <a:p>
            <a:pPr lvl="0"/>
            <a:r>
              <a:rPr lang="en-US" noProof="0"/>
              <a:t>Click icon to add picture</a:t>
            </a:r>
            <a:endParaRPr lang="fr-FR" noProof="0"/>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82"/>
            <a:ext cx="3935412" cy="684408"/>
          </a:xfrm>
        </p:spPr>
        <p:txBody>
          <a:bodyPr/>
          <a:lstStyle>
            <a:lvl1pPr marL="0" indent="1588">
              <a:defRPr/>
            </a:lvl1pPr>
          </a:lstStyle>
          <a:p>
            <a:pPr lvl="0"/>
            <a:r>
              <a:rPr lang="en-US"/>
              <a:t>Click to edit Master text styles</a:t>
            </a:r>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8" name="Rectangle 1029"/>
          <p:cNvSpPr>
            <a:spLocks noGrp="1" noChangeArrowheads="1"/>
          </p:cNvSpPr>
          <p:nvPr>
            <p:ph type="sldNum" sz="quarter" idx="17"/>
          </p:nvPr>
        </p:nvSpPr>
        <p:spPr/>
        <p:txBody>
          <a:bodyPr/>
          <a:lstStyle>
            <a:lvl1pPr>
              <a:defRPr/>
            </a:lvl1pPr>
          </a:lstStyle>
          <a:p>
            <a:pPr>
              <a:defRPr/>
            </a:pPr>
            <a:fld id="{0D2F39D7-6ECE-4DF4-8B05-C313C1685402}" type="slidenum">
              <a:rPr lang="en-GB">
                <a:solidFill>
                  <a:srgbClr val="C0C0C0"/>
                </a:solidFill>
              </a:rPr>
              <a:pPr>
                <a:defRPr/>
              </a:pPr>
              <a:t>‹#›</a:t>
            </a:fld>
            <a:endParaRPr lang="en-GB">
              <a:solidFill>
                <a:srgbClr val="C0C0C0"/>
              </a:solidFill>
            </a:endParaRPr>
          </a:p>
        </p:txBody>
      </p:sp>
      <p:sp>
        <p:nvSpPr>
          <p:cNvPr id="10" name="Rectangle 1030"/>
          <p:cNvSpPr>
            <a:spLocks noGrp="1" noChangeArrowheads="1"/>
          </p:cNvSpPr>
          <p:nvPr>
            <p:ph type="ftr" sz="quarter" idx="18"/>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3269075287"/>
      </p:ext>
    </p:extLst>
  </p:cSld>
  <p:clrMapOvr>
    <a:masterClrMapping/>
  </p:clrMapOvr>
  <p:transition spd="slow">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and 3 pictures">
    <p:spTree>
      <p:nvGrpSpPr>
        <p:cNvPr id="1" name=""/>
        <p:cNvGrpSpPr/>
        <p:nvPr/>
      </p:nvGrpSpPr>
      <p:grpSpPr>
        <a:xfrm>
          <a:off x="0" y="0"/>
          <a:ext cx="0" cy="0"/>
          <a:chOff x="0" y="0"/>
          <a:chExt cx="0" cy="0"/>
        </a:xfrm>
      </p:grpSpPr>
      <p:sp>
        <p:nvSpPr>
          <p:cNvPr id="16" name="Freeform 6"/>
          <p:cNvSpPr>
            <a:spLocks noEditPoints="1"/>
          </p:cNvSpPr>
          <p:nvPr userDrawn="1"/>
        </p:nvSpPr>
        <p:spPr bwMode="auto">
          <a:xfrm>
            <a:off x="5413217" y="1404767"/>
            <a:ext cx="3379787" cy="2792016"/>
          </a:xfrm>
          <a:custGeom>
            <a:avLst/>
            <a:gdLst/>
            <a:ahLst/>
            <a:cxnLst>
              <a:cxn ang="0">
                <a:pos x="8675" y="1568"/>
              </a:cxn>
              <a:cxn ang="0">
                <a:pos x="5553" y="1003"/>
              </a:cxn>
              <a:cxn ang="0">
                <a:pos x="5270" y="707"/>
              </a:cxn>
              <a:cxn ang="0">
                <a:pos x="6160" y="325"/>
              </a:cxn>
              <a:cxn ang="0">
                <a:pos x="6005" y="481"/>
              </a:cxn>
              <a:cxn ang="0">
                <a:pos x="2402" y="410"/>
              </a:cxn>
              <a:cxn ang="0">
                <a:pos x="2699" y="452"/>
              </a:cxn>
              <a:cxn ang="0">
                <a:pos x="2558" y="311"/>
              </a:cxn>
              <a:cxn ang="0">
                <a:pos x="3038" y="99"/>
              </a:cxn>
              <a:cxn ang="0">
                <a:pos x="2939" y="198"/>
              </a:cxn>
              <a:cxn ang="0">
                <a:pos x="4154" y="650"/>
              </a:cxn>
              <a:cxn ang="0">
                <a:pos x="4479" y="608"/>
              </a:cxn>
              <a:cxn ang="0">
                <a:pos x="4366" y="509"/>
              </a:cxn>
              <a:cxn ang="0">
                <a:pos x="8420" y="2641"/>
              </a:cxn>
              <a:cxn ang="0">
                <a:pos x="8548" y="2514"/>
              </a:cxn>
              <a:cxn ang="0">
                <a:pos x="1554" y="509"/>
              </a:cxn>
              <a:cxn ang="0">
                <a:pos x="1766" y="523"/>
              </a:cxn>
              <a:cxn ang="0">
                <a:pos x="1682" y="438"/>
              </a:cxn>
              <a:cxn ang="0">
                <a:pos x="8406" y="1173"/>
              </a:cxn>
              <a:cxn ang="0">
                <a:pos x="8322" y="1271"/>
              </a:cxn>
              <a:cxn ang="0">
                <a:pos x="3829" y="99"/>
              </a:cxn>
              <a:cxn ang="0">
                <a:pos x="6753" y="947"/>
              </a:cxn>
              <a:cxn ang="0">
                <a:pos x="6612" y="791"/>
              </a:cxn>
              <a:cxn ang="0">
                <a:pos x="8081" y="834"/>
              </a:cxn>
              <a:cxn ang="0">
                <a:pos x="7912" y="1003"/>
              </a:cxn>
              <a:cxn ang="0">
                <a:pos x="8110" y="551"/>
              </a:cxn>
              <a:cxn ang="0">
                <a:pos x="8562" y="1893"/>
              </a:cxn>
              <a:cxn ang="0">
                <a:pos x="8011" y="1314"/>
              </a:cxn>
              <a:cxn ang="0">
                <a:pos x="7601" y="1568"/>
              </a:cxn>
              <a:cxn ang="0">
                <a:pos x="7544" y="1469"/>
              </a:cxn>
              <a:cxn ang="0">
                <a:pos x="7248" y="1173"/>
              </a:cxn>
              <a:cxn ang="0">
                <a:pos x="6697" y="1215"/>
              </a:cxn>
              <a:cxn ang="0">
                <a:pos x="6188" y="989"/>
              </a:cxn>
              <a:cxn ang="0">
                <a:pos x="5835" y="1173"/>
              </a:cxn>
              <a:cxn ang="0">
                <a:pos x="5383" y="1187"/>
              </a:cxn>
              <a:cxn ang="0">
                <a:pos x="4776" y="848"/>
              </a:cxn>
              <a:cxn ang="0">
                <a:pos x="4507" y="1045"/>
              </a:cxn>
              <a:cxn ang="0">
                <a:pos x="3984" y="1257"/>
              </a:cxn>
              <a:cxn ang="0">
                <a:pos x="3363" y="1003"/>
              </a:cxn>
              <a:cxn ang="0">
                <a:pos x="3448" y="848"/>
              </a:cxn>
              <a:cxn ang="0">
                <a:pos x="3744" y="834"/>
              </a:cxn>
              <a:cxn ang="0">
                <a:pos x="3448" y="297"/>
              </a:cxn>
              <a:cxn ang="0">
                <a:pos x="2967" y="594"/>
              </a:cxn>
              <a:cxn ang="0">
                <a:pos x="2374" y="1017"/>
              </a:cxn>
              <a:cxn ang="0">
                <a:pos x="2063" y="678"/>
              </a:cxn>
              <a:cxn ang="0">
                <a:pos x="1922" y="1300"/>
              </a:cxn>
              <a:cxn ang="0">
                <a:pos x="1526" y="1017"/>
              </a:cxn>
              <a:cxn ang="0">
                <a:pos x="947" y="1045"/>
              </a:cxn>
              <a:cxn ang="0">
                <a:pos x="509" y="1596"/>
              </a:cxn>
              <a:cxn ang="0">
                <a:pos x="679" y="9772"/>
              </a:cxn>
              <a:cxn ang="0">
                <a:pos x="8279" y="3093"/>
              </a:cxn>
              <a:cxn ang="0">
                <a:pos x="8307" y="2599"/>
              </a:cxn>
              <a:cxn ang="0">
                <a:pos x="8420" y="2133"/>
              </a:cxn>
              <a:cxn ang="0">
                <a:pos x="8675" y="2034"/>
              </a:cxn>
              <a:cxn ang="0">
                <a:pos x="5849" y="1130"/>
              </a:cxn>
              <a:cxn ang="0">
                <a:pos x="5736" y="1017"/>
              </a:cxn>
            </a:cxnLst>
            <a:rect l="0" t="0" r="r" b="b"/>
            <a:pathLst>
              <a:path w="8872" h="9772">
                <a:moveTo>
                  <a:pt x="8675" y="1158"/>
                </a:moveTo>
                <a:cubicBezTo>
                  <a:pt x="8562" y="1158"/>
                  <a:pt x="8463" y="1243"/>
                  <a:pt x="8463" y="1356"/>
                </a:cubicBezTo>
                <a:cubicBezTo>
                  <a:pt x="8463" y="1469"/>
                  <a:pt x="8562" y="1568"/>
                  <a:pt x="8675" y="1568"/>
                </a:cubicBezTo>
                <a:cubicBezTo>
                  <a:pt x="8788" y="1568"/>
                  <a:pt x="8872" y="1469"/>
                  <a:pt x="8872" y="1356"/>
                </a:cubicBezTo>
                <a:cubicBezTo>
                  <a:pt x="8872" y="1243"/>
                  <a:pt x="8788" y="1158"/>
                  <a:pt x="8675" y="1158"/>
                </a:cubicBezTo>
                <a:close/>
                <a:moveTo>
                  <a:pt x="5553" y="1003"/>
                </a:moveTo>
                <a:cubicBezTo>
                  <a:pt x="5722" y="1003"/>
                  <a:pt x="5849" y="862"/>
                  <a:pt x="5849" y="707"/>
                </a:cubicBezTo>
                <a:cubicBezTo>
                  <a:pt x="5849" y="537"/>
                  <a:pt x="5722" y="410"/>
                  <a:pt x="5553" y="410"/>
                </a:cubicBezTo>
                <a:cubicBezTo>
                  <a:pt x="5397" y="410"/>
                  <a:pt x="5270" y="537"/>
                  <a:pt x="5270" y="707"/>
                </a:cubicBezTo>
                <a:cubicBezTo>
                  <a:pt x="5270" y="862"/>
                  <a:pt x="5397" y="1003"/>
                  <a:pt x="5553" y="1003"/>
                </a:cubicBezTo>
                <a:close/>
                <a:moveTo>
                  <a:pt x="6005" y="481"/>
                </a:moveTo>
                <a:cubicBezTo>
                  <a:pt x="6089" y="481"/>
                  <a:pt x="6160" y="410"/>
                  <a:pt x="6160" y="325"/>
                </a:cubicBezTo>
                <a:cubicBezTo>
                  <a:pt x="6160" y="241"/>
                  <a:pt x="6089" y="184"/>
                  <a:pt x="6005" y="184"/>
                </a:cubicBezTo>
                <a:cubicBezTo>
                  <a:pt x="5920" y="184"/>
                  <a:pt x="5849" y="241"/>
                  <a:pt x="5849" y="325"/>
                </a:cubicBezTo>
                <a:cubicBezTo>
                  <a:pt x="5849" y="410"/>
                  <a:pt x="5920" y="481"/>
                  <a:pt x="6005" y="481"/>
                </a:cubicBezTo>
                <a:close/>
                <a:moveTo>
                  <a:pt x="2402" y="777"/>
                </a:moveTo>
                <a:cubicBezTo>
                  <a:pt x="2501" y="777"/>
                  <a:pt x="2586" y="692"/>
                  <a:pt x="2586" y="594"/>
                </a:cubicBezTo>
                <a:cubicBezTo>
                  <a:pt x="2586" y="495"/>
                  <a:pt x="2501" y="410"/>
                  <a:pt x="2402" y="410"/>
                </a:cubicBezTo>
                <a:cubicBezTo>
                  <a:pt x="2303" y="410"/>
                  <a:pt x="2218" y="495"/>
                  <a:pt x="2218" y="594"/>
                </a:cubicBezTo>
                <a:cubicBezTo>
                  <a:pt x="2218" y="692"/>
                  <a:pt x="2303" y="777"/>
                  <a:pt x="2402" y="777"/>
                </a:cubicBezTo>
                <a:close/>
                <a:moveTo>
                  <a:pt x="2699" y="452"/>
                </a:moveTo>
                <a:cubicBezTo>
                  <a:pt x="2784" y="452"/>
                  <a:pt x="2840" y="396"/>
                  <a:pt x="2840" y="311"/>
                </a:cubicBezTo>
                <a:cubicBezTo>
                  <a:pt x="2840" y="241"/>
                  <a:pt x="2784" y="170"/>
                  <a:pt x="2699" y="170"/>
                </a:cubicBezTo>
                <a:cubicBezTo>
                  <a:pt x="2628" y="170"/>
                  <a:pt x="2558" y="241"/>
                  <a:pt x="2558" y="311"/>
                </a:cubicBezTo>
                <a:cubicBezTo>
                  <a:pt x="2558" y="396"/>
                  <a:pt x="2628" y="452"/>
                  <a:pt x="2699" y="452"/>
                </a:cubicBezTo>
                <a:close/>
                <a:moveTo>
                  <a:pt x="2939" y="198"/>
                </a:moveTo>
                <a:cubicBezTo>
                  <a:pt x="2995" y="198"/>
                  <a:pt x="3038" y="156"/>
                  <a:pt x="3038" y="99"/>
                </a:cubicBezTo>
                <a:cubicBezTo>
                  <a:pt x="3038" y="43"/>
                  <a:pt x="2995" y="0"/>
                  <a:pt x="2939" y="0"/>
                </a:cubicBezTo>
                <a:cubicBezTo>
                  <a:pt x="2882" y="0"/>
                  <a:pt x="2840" y="43"/>
                  <a:pt x="2840" y="99"/>
                </a:cubicBezTo>
                <a:cubicBezTo>
                  <a:pt x="2840" y="156"/>
                  <a:pt x="2882" y="198"/>
                  <a:pt x="2939" y="198"/>
                </a:cubicBezTo>
                <a:close/>
                <a:moveTo>
                  <a:pt x="4154" y="1031"/>
                </a:moveTo>
                <a:cubicBezTo>
                  <a:pt x="4253" y="1031"/>
                  <a:pt x="4338" y="947"/>
                  <a:pt x="4338" y="848"/>
                </a:cubicBezTo>
                <a:cubicBezTo>
                  <a:pt x="4338" y="735"/>
                  <a:pt x="4253" y="650"/>
                  <a:pt x="4154" y="650"/>
                </a:cubicBezTo>
                <a:cubicBezTo>
                  <a:pt x="4041" y="650"/>
                  <a:pt x="3956" y="735"/>
                  <a:pt x="3956" y="848"/>
                </a:cubicBezTo>
                <a:cubicBezTo>
                  <a:pt x="3956" y="947"/>
                  <a:pt x="4041" y="1031"/>
                  <a:pt x="4154" y="1031"/>
                </a:cubicBezTo>
                <a:close/>
                <a:moveTo>
                  <a:pt x="4479" y="608"/>
                </a:moveTo>
                <a:cubicBezTo>
                  <a:pt x="4535" y="608"/>
                  <a:pt x="4578" y="565"/>
                  <a:pt x="4578" y="509"/>
                </a:cubicBezTo>
                <a:cubicBezTo>
                  <a:pt x="4578" y="452"/>
                  <a:pt x="4535" y="396"/>
                  <a:pt x="4479" y="396"/>
                </a:cubicBezTo>
                <a:cubicBezTo>
                  <a:pt x="4408" y="396"/>
                  <a:pt x="4366" y="452"/>
                  <a:pt x="4366" y="509"/>
                </a:cubicBezTo>
                <a:cubicBezTo>
                  <a:pt x="4366" y="565"/>
                  <a:pt x="4408" y="608"/>
                  <a:pt x="4479" y="608"/>
                </a:cubicBezTo>
                <a:close/>
                <a:moveTo>
                  <a:pt x="8548" y="2514"/>
                </a:moveTo>
                <a:cubicBezTo>
                  <a:pt x="8477" y="2514"/>
                  <a:pt x="8420" y="2571"/>
                  <a:pt x="8420" y="2641"/>
                </a:cubicBezTo>
                <a:cubicBezTo>
                  <a:pt x="8420" y="2712"/>
                  <a:pt x="8477" y="2768"/>
                  <a:pt x="8548" y="2768"/>
                </a:cubicBezTo>
                <a:cubicBezTo>
                  <a:pt x="8618" y="2768"/>
                  <a:pt x="8675" y="2712"/>
                  <a:pt x="8675" y="2641"/>
                </a:cubicBezTo>
                <a:cubicBezTo>
                  <a:pt x="8675" y="2571"/>
                  <a:pt x="8618" y="2514"/>
                  <a:pt x="8548" y="2514"/>
                </a:cubicBezTo>
                <a:close/>
                <a:moveTo>
                  <a:pt x="1554" y="820"/>
                </a:moveTo>
                <a:cubicBezTo>
                  <a:pt x="1639" y="820"/>
                  <a:pt x="1710" y="749"/>
                  <a:pt x="1710" y="664"/>
                </a:cubicBezTo>
                <a:cubicBezTo>
                  <a:pt x="1710" y="579"/>
                  <a:pt x="1639" y="509"/>
                  <a:pt x="1554" y="509"/>
                </a:cubicBezTo>
                <a:cubicBezTo>
                  <a:pt x="1470" y="509"/>
                  <a:pt x="1399" y="579"/>
                  <a:pt x="1399" y="664"/>
                </a:cubicBezTo>
                <a:cubicBezTo>
                  <a:pt x="1399" y="749"/>
                  <a:pt x="1470" y="820"/>
                  <a:pt x="1554" y="820"/>
                </a:cubicBezTo>
                <a:close/>
                <a:moveTo>
                  <a:pt x="1766" y="523"/>
                </a:moveTo>
                <a:cubicBezTo>
                  <a:pt x="1823" y="523"/>
                  <a:pt x="1851" y="481"/>
                  <a:pt x="1851" y="438"/>
                </a:cubicBezTo>
                <a:cubicBezTo>
                  <a:pt x="1851" y="382"/>
                  <a:pt x="1823" y="339"/>
                  <a:pt x="1766" y="339"/>
                </a:cubicBezTo>
                <a:cubicBezTo>
                  <a:pt x="1724" y="339"/>
                  <a:pt x="1682" y="382"/>
                  <a:pt x="1682" y="438"/>
                </a:cubicBezTo>
                <a:cubicBezTo>
                  <a:pt x="1682" y="481"/>
                  <a:pt x="1724" y="523"/>
                  <a:pt x="1766" y="523"/>
                </a:cubicBezTo>
                <a:close/>
                <a:moveTo>
                  <a:pt x="8322" y="1271"/>
                </a:moveTo>
                <a:cubicBezTo>
                  <a:pt x="8364" y="1271"/>
                  <a:pt x="8406" y="1229"/>
                  <a:pt x="8406" y="1173"/>
                </a:cubicBezTo>
                <a:cubicBezTo>
                  <a:pt x="8406" y="1130"/>
                  <a:pt x="8364" y="1088"/>
                  <a:pt x="8322" y="1088"/>
                </a:cubicBezTo>
                <a:cubicBezTo>
                  <a:pt x="8265" y="1088"/>
                  <a:pt x="8223" y="1130"/>
                  <a:pt x="8223" y="1173"/>
                </a:cubicBezTo>
                <a:cubicBezTo>
                  <a:pt x="8223" y="1229"/>
                  <a:pt x="8265" y="1271"/>
                  <a:pt x="8322" y="1271"/>
                </a:cubicBezTo>
                <a:close/>
                <a:moveTo>
                  <a:pt x="3829" y="396"/>
                </a:moveTo>
                <a:cubicBezTo>
                  <a:pt x="3914" y="396"/>
                  <a:pt x="3984" y="325"/>
                  <a:pt x="3984" y="241"/>
                </a:cubicBezTo>
                <a:cubicBezTo>
                  <a:pt x="3984" y="156"/>
                  <a:pt x="3914" y="99"/>
                  <a:pt x="3829" y="99"/>
                </a:cubicBezTo>
                <a:cubicBezTo>
                  <a:pt x="3744" y="99"/>
                  <a:pt x="3674" y="156"/>
                  <a:pt x="3674" y="241"/>
                </a:cubicBezTo>
                <a:cubicBezTo>
                  <a:pt x="3674" y="325"/>
                  <a:pt x="3744" y="396"/>
                  <a:pt x="3829" y="396"/>
                </a:cubicBezTo>
                <a:close/>
                <a:moveTo>
                  <a:pt x="6753" y="947"/>
                </a:moveTo>
                <a:cubicBezTo>
                  <a:pt x="6838" y="947"/>
                  <a:pt x="6909" y="876"/>
                  <a:pt x="6909" y="791"/>
                </a:cubicBezTo>
                <a:cubicBezTo>
                  <a:pt x="6909" y="707"/>
                  <a:pt x="6838" y="650"/>
                  <a:pt x="6753" y="650"/>
                </a:cubicBezTo>
                <a:cubicBezTo>
                  <a:pt x="6669" y="650"/>
                  <a:pt x="6612" y="707"/>
                  <a:pt x="6612" y="791"/>
                </a:cubicBezTo>
                <a:cubicBezTo>
                  <a:pt x="6612" y="876"/>
                  <a:pt x="6669" y="947"/>
                  <a:pt x="6753" y="947"/>
                </a:cubicBezTo>
                <a:close/>
                <a:moveTo>
                  <a:pt x="7912" y="1003"/>
                </a:moveTo>
                <a:cubicBezTo>
                  <a:pt x="8011" y="1003"/>
                  <a:pt x="8081" y="932"/>
                  <a:pt x="8081" y="834"/>
                </a:cubicBezTo>
                <a:cubicBezTo>
                  <a:pt x="8081" y="749"/>
                  <a:pt x="8011" y="678"/>
                  <a:pt x="7912" y="678"/>
                </a:cubicBezTo>
                <a:cubicBezTo>
                  <a:pt x="7827" y="678"/>
                  <a:pt x="7756" y="749"/>
                  <a:pt x="7756" y="834"/>
                </a:cubicBezTo>
                <a:cubicBezTo>
                  <a:pt x="7756" y="932"/>
                  <a:pt x="7827" y="1003"/>
                  <a:pt x="7912" y="1003"/>
                </a:cubicBezTo>
                <a:close/>
                <a:moveTo>
                  <a:pt x="8110" y="721"/>
                </a:moveTo>
                <a:cubicBezTo>
                  <a:pt x="8166" y="721"/>
                  <a:pt x="8194" y="692"/>
                  <a:pt x="8194" y="636"/>
                </a:cubicBezTo>
                <a:cubicBezTo>
                  <a:pt x="8194" y="594"/>
                  <a:pt x="8166" y="551"/>
                  <a:pt x="8110" y="551"/>
                </a:cubicBezTo>
                <a:cubicBezTo>
                  <a:pt x="8067" y="551"/>
                  <a:pt x="8039" y="594"/>
                  <a:pt x="8039" y="636"/>
                </a:cubicBezTo>
                <a:cubicBezTo>
                  <a:pt x="8039" y="692"/>
                  <a:pt x="8067" y="721"/>
                  <a:pt x="8110" y="721"/>
                </a:cubicBezTo>
                <a:close/>
                <a:moveTo>
                  <a:pt x="8562" y="1893"/>
                </a:moveTo>
                <a:cubicBezTo>
                  <a:pt x="8562" y="1879"/>
                  <a:pt x="8576" y="1850"/>
                  <a:pt x="8576" y="1836"/>
                </a:cubicBezTo>
                <a:cubicBezTo>
                  <a:pt x="8576" y="1639"/>
                  <a:pt x="8420" y="1469"/>
                  <a:pt x="8223" y="1455"/>
                </a:cubicBezTo>
                <a:cubicBezTo>
                  <a:pt x="8194" y="1370"/>
                  <a:pt x="8110" y="1314"/>
                  <a:pt x="8011" y="1314"/>
                </a:cubicBezTo>
                <a:cubicBezTo>
                  <a:pt x="7884" y="1314"/>
                  <a:pt x="7771" y="1427"/>
                  <a:pt x="7771" y="1554"/>
                </a:cubicBezTo>
                <a:cubicBezTo>
                  <a:pt x="7771" y="1568"/>
                  <a:pt x="7771" y="1582"/>
                  <a:pt x="7785" y="1596"/>
                </a:cubicBezTo>
                <a:cubicBezTo>
                  <a:pt x="7714" y="1582"/>
                  <a:pt x="7658" y="1568"/>
                  <a:pt x="7601" y="1568"/>
                </a:cubicBezTo>
                <a:cubicBezTo>
                  <a:pt x="7516" y="1568"/>
                  <a:pt x="7516" y="1568"/>
                  <a:pt x="7516" y="1568"/>
                </a:cubicBezTo>
                <a:cubicBezTo>
                  <a:pt x="7516" y="1540"/>
                  <a:pt x="7502" y="1497"/>
                  <a:pt x="7488" y="1469"/>
                </a:cubicBezTo>
                <a:cubicBezTo>
                  <a:pt x="7516" y="1469"/>
                  <a:pt x="7530" y="1469"/>
                  <a:pt x="7544" y="1469"/>
                </a:cubicBezTo>
                <a:cubicBezTo>
                  <a:pt x="7714" y="1469"/>
                  <a:pt x="7841" y="1342"/>
                  <a:pt x="7841" y="1173"/>
                </a:cubicBezTo>
                <a:cubicBezTo>
                  <a:pt x="7841" y="1003"/>
                  <a:pt x="7714" y="876"/>
                  <a:pt x="7544" y="876"/>
                </a:cubicBezTo>
                <a:cubicBezTo>
                  <a:pt x="7375" y="876"/>
                  <a:pt x="7248" y="1003"/>
                  <a:pt x="7248" y="1173"/>
                </a:cubicBezTo>
                <a:cubicBezTo>
                  <a:pt x="7248" y="1173"/>
                  <a:pt x="7248" y="1173"/>
                  <a:pt x="7248" y="1173"/>
                </a:cubicBezTo>
                <a:cubicBezTo>
                  <a:pt x="7177" y="1130"/>
                  <a:pt x="7092" y="1116"/>
                  <a:pt x="6994" y="1116"/>
                </a:cubicBezTo>
                <a:cubicBezTo>
                  <a:pt x="6881" y="1116"/>
                  <a:pt x="6782" y="1144"/>
                  <a:pt x="6697" y="1215"/>
                </a:cubicBezTo>
                <a:cubicBezTo>
                  <a:pt x="6697" y="1187"/>
                  <a:pt x="6697" y="1158"/>
                  <a:pt x="6697" y="1144"/>
                </a:cubicBezTo>
                <a:cubicBezTo>
                  <a:pt x="6697" y="989"/>
                  <a:pt x="6584" y="862"/>
                  <a:pt x="6428" y="862"/>
                </a:cubicBezTo>
                <a:cubicBezTo>
                  <a:pt x="6330" y="862"/>
                  <a:pt x="6245" y="918"/>
                  <a:pt x="6188" y="989"/>
                </a:cubicBezTo>
                <a:cubicBezTo>
                  <a:pt x="6188" y="989"/>
                  <a:pt x="6188" y="989"/>
                  <a:pt x="6188" y="989"/>
                </a:cubicBezTo>
                <a:cubicBezTo>
                  <a:pt x="6061" y="989"/>
                  <a:pt x="5934" y="1074"/>
                  <a:pt x="5877" y="1173"/>
                </a:cubicBezTo>
                <a:cubicBezTo>
                  <a:pt x="5863" y="1173"/>
                  <a:pt x="5849" y="1173"/>
                  <a:pt x="5835" y="1173"/>
                </a:cubicBezTo>
                <a:cubicBezTo>
                  <a:pt x="5779" y="1173"/>
                  <a:pt x="5736" y="1201"/>
                  <a:pt x="5694" y="1257"/>
                </a:cubicBezTo>
                <a:cubicBezTo>
                  <a:pt x="5666" y="1187"/>
                  <a:pt x="5595" y="1144"/>
                  <a:pt x="5510" y="1144"/>
                </a:cubicBezTo>
                <a:cubicBezTo>
                  <a:pt x="5468" y="1144"/>
                  <a:pt x="5411" y="1158"/>
                  <a:pt x="5383" y="1187"/>
                </a:cubicBezTo>
                <a:cubicBezTo>
                  <a:pt x="5355" y="1003"/>
                  <a:pt x="5213" y="862"/>
                  <a:pt x="5044" y="820"/>
                </a:cubicBezTo>
                <a:cubicBezTo>
                  <a:pt x="5030" y="763"/>
                  <a:pt x="4973" y="707"/>
                  <a:pt x="4917" y="707"/>
                </a:cubicBezTo>
                <a:cubicBezTo>
                  <a:pt x="4832" y="707"/>
                  <a:pt x="4776" y="777"/>
                  <a:pt x="4776" y="848"/>
                </a:cubicBezTo>
                <a:cubicBezTo>
                  <a:pt x="4776" y="848"/>
                  <a:pt x="4776" y="848"/>
                  <a:pt x="4776" y="848"/>
                </a:cubicBezTo>
                <a:cubicBezTo>
                  <a:pt x="4691" y="890"/>
                  <a:pt x="4606" y="961"/>
                  <a:pt x="4564" y="1045"/>
                </a:cubicBezTo>
                <a:cubicBezTo>
                  <a:pt x="4535" y="1045"/>
                  <a:pt x="4521" y="1045"/>
                  <a:pt x="4507" y="1045"/>
                </a:cubicBezTo>
                <a:cubicBezTo>
                  <a:pt x="4380" y="1045"/>
                  <a:pt x="4281" y="1130"/>
                  <a:pt x="4253" y="1243"/>
                </a:cubicBezTo>
                <a:cubicBezTo>
                  <a:pt x="4225" y="1243"/>
                  <a:pt x="4196" y="1229"/>
                  <a:pt x="4168" y="1229"/>
                </a:cubicBezTo>
                <a:cubicBezTo>
                  <a:pt x="4112" y="1229"/>
                  <a:pt x="4041" y="1243"/>
                  <a:pt x="3984" y="1257"/>
                </a:cubicBezTo>
                <a:cubicBezTo>
                  <a:pt x="3956" y="1102"/>
                  <a:pt x="3829" y="989"/>
                  <a:pt x="3659" y="989"/>
                </a:cubicBezTo>
                <a:cubicBezTo>
                  <a:pt x="3589" y="989"/>
                  <a:pt x="3504" y="1017"/>
                  <a:pt x="3462" y="1074"/>
                </a:cubicBezTo>
                <a:cubicBezTo>
                  <a:pt x="3433" y="1031"/>
                  <a:pt x="3391" y="1017"/>
                  <a:pt x="3363" y="1003"/>
                </a:cubicBezTo>
                <a:cubicBezTo>
                  <a:pt x="3363" y="1003"/>
                  <a:pt x="3363" y="989"/>
                  <a:pt x="3363" y="989"/>
                </a:cubicBezTo>
                <a:cubicBezTo>
                  <a:pt x="3363" y="918"/>
                  <a:pt x="3349" y="862"/>
                  <a:pt x="3320" y="805"/>
                </a:cubicBezTo>
                <a:cubicBezTo>
                  <a:pt x="3349" y="834"/>
                  <a:pt x="3391" y="848"/>
                  <a:pt x="3448" y="848"/>
                </a:cubicBezTo>
                <a:cubicBezTo>
                  <a:pt x="3476" y="848"/>
                  <a:pt x="3490" y="834"/>
                  <a:pt x="3518" y="834"/>
                </a:cubicBezTo>
                <a:cubicBezTo>
                  <a:pt x="3518" y="890"/>
                  <a:pt x="3575" y="947"/>
                  <a:pt x="3631" y="947"/>
                </a:cubicBezTo>
                <a:cubicBezTo>
                  <a:pt x="3702" y="947"/>
                  <a:pt x="3744" y="890"/>
                  <a:pt x="3744" y="834"/>
                </a:cubicBezTo>
                <a:cubicBezTo>
                  <a:pt x="3744" y="777"/>
                  <a:pt x="3716" y="735"/>
                  <a:pt x="3674" y="721"/>
                </a:cubicBezTo>
                <a:cubicBezTo>
                  <a:pt x="3702" y="678"/>
                  <a:pt x="3716" y="622"/>
                  <a:pt x="3716" y="565"/>
                </a:cubicBezTo>
                <a:cubicBezTo>
                  <a:pt x="3716" y="424"/>
                  <a:pt x="3589" y="297"/>
                  <a:pt x="3448" y="297"/>
                </a:cubicBezTo>
                <a:cubicBezTo>
                  <a:pt x="3292" y="297"/>
                  <a:pt x="3179" y="424"/>
                  <a:pt x="3179" y="565"/>
                </a:cubicBezTo>
                <a:cubicBezTo>
                  <a:pt x="3179" y="608"/>
                  <a:pt x="3179" y="636"/>
                  <a:pt x="3193" y="664"/>
                </a:cubicBezTo>
                <a:cubicBezTo>
                  <a:pt x="3123" y="622"/>
                  <a:pt x="3052" y="594"/>
                  <a:pt x="2967" y="594"/>
                </a:cubicBezTo>
                <a:cubicBezTo>
                  <a:pt x="2755" y="594"/>
                  <a:pt x="2586" y="777"/>
                  <a:pt x="2586" y="989"/>
                </a:cubicBezTo>
                <a:cubicBezTo>
                  <a:pt x="2586" y="1017"/>
                  <a:pt x="2586" y="1045"/>
                  <a:pt x="2600" y="1074"/>
                </a:cubicBezTo>
                <a:cubicBezTo>
                  <a:pt x="2529" y="1045"/>
                  <a:pt x="2459" y="1017"/>
                  <a:pt x="2374" y="1017"/>
                </a:cubicBezTo>
                <a:cubicBezTo>
                  <a:pt x="2346" y="1017"/>
                  <a:pt x="2317" y="1031"/>
                  <a:pt x="2289" y="1031"/>
                </a:cubicBezTo>
                <a:cubicBezTo>
                  <a:pt x="2303" y="1003"/>
                  <a:pt x="2317" y="961"/>
                  <a:pt x="2317" y="918"/>
                </a:cubicBezTo>
                <a:cubicBezTo>
                  <a:pt x="2317" y="791"/>
                  <a:pt x="2204" y="678"/>
                  <a:pt x="2063" y="678"/>
                </a:cubicBezTo>
                <a:cubicBezTo>
                  <a:pt x="1922" y="678"/>
                  <a:pt x="1809" y="791"/>
                  <a:pt x="1809" y="918"/>
                </a:cubicBezTo>
                <a:cubicBezTo>
                  <a:pt x="1809" y="1045"/>
                  <a:pt x="1908" y="1158"/>
                  <a:pt x="2021" y="1173"/>
                </a:cubicBezTo>
                <a:cubicBezTo>
                  <a:pt x="1978" y="1215"/>
                  <a:pt x="1950" y="1257"/>
                  <a:pt x="1922" y="1300"/>
                </a:cubicBezTo>
                <a:cubicBezTo>
                  <a:pt x="1908" y="1158"/>
                  <a:pt x="1781" y="1045"/>
                  <a:pt x="1639" y="1045"/>
                </a:cubicBezTo>
                <a:cubicBezTo>
                  <a:pt x="1597" y="1045"/>
                  <a:pt x="1554" y="1045"/>
                  <a:pt x="1526" y="1060"/>
                </a:cubicBezTo>
                <a:cubicBezTo>
                  <a:pt x="1526" y="1045"/>
                  <a:pt x="1526" y="1031"/>
                  <a:pt x="1526" y="1017"/>
                </a:cubicBezTo>
                <a:cubicBezTo>
                  <a:pt x="1526" y="862"/>
                  <a:pt x="1399" y="735"/>
                  <a:pt x="1230" y="735"/>
                </a:cubicBezTo>
                <a:cubicBezTo>
                  <a:pt x="1074" y="735"/>
                  <a:pt x="947" y="862"/>
                  <a:pt x="947" y="1017"/>
                </a:cubicBezTo>
                <a:cubicBezTo>
                  <a:pt x="947" y="1031"/>
                  <a:pt x="947" y="1045"/>
                  <a:pt x="947" y="1045"/>
                </a:cubicBezTo>
                <a:cubicBezTo>
                  <a:pt x="919" y="1045"/>
                  <a:pt x="890" y="1031"/>
                  <a:pt x="848" y="1031"/>
                </a:cubicBezTo>
                <a:cubicBezTo>
                  <a:pt x="636" y="1031"/>
                  <a:pt x="467" y="1215"/>
                  <a:pt x="467" y="1427"/>
                </a:cubicBezTo>
                <a:cubicBezTo>
                  <a:pt x="467" y="1483"/>
                  <a:pt x="481" y="1540"/>
                  <a:pt x="509" y="1596"/>
                </a:cubicBezTo>
                <a:cubicBezTo>
                  <a:pt x="212" y="1667"/>
                  <a:pt x="0" y="1935"/>
                  <a:pt x="0" y="2246"/>
                </a:cubicBezTo>
                <a:cubicBezTo>
                  <a:pt x="0" y="9095"/>
                  <a:pt x="0" y="9095"/>
                  <a:pt x="0" y="9095"/>
                </a:cubicBezTo>
                <a:cubicBezTo>
                  <a:pt x="0" y="9476"/>
                  <a:pt x="311" y="9772"/>
                  <a:pt x="679" y="9772"/>
                </a:cubicBezTo>
                <a:cubicBezTo>
                  <a:pt x="7601" y="9772"/>
                  <a:pt x="7601" y="9772"/>
                  <a:pt x="7601" y="9772"/>
                </a:cubicBezTo>
                <a:cubicBezTo>
                  <a:pt x="7968" y="9772"/>
                  <a:pt x="8279" y="9476"/>
                  <a:pt x="8279" y="9095"/>
                </a:cubicBezTo>
                <a:cubicBezTo>
                  <a:pt x="8279" y="3093"/>
                  <a:pt x="8279" y="3093"/>
                  <a:pt x="8279" y="3093"/>
                </a:cubicBezTo>
                <a:cubicBezTo>
                  <a:pt x="8378" y="3065"/>
                  <a:pt x="8449" y="2980"/>
                  <a:pt x="8449" y="2881"/>
                </a:cubicBezTo>
                <a:cubicBezTo>
                  <a:pt x="8449" y="2782"/>
                  <a:pt x="8378" y="2698"/>
                  <a:pt x="8293" y="2669"/>
                </a:cubicBezTo>
                <a:cubicBezTo>
                  <a:pt x="8293" y="2655"/>
                  <a:pt x="8307" y="2627"/>
                  <a:pt x="8307" y="2599"/>
                </a:cubicBezTo>
                <a:cubicBezTo>
                  <a:pt x="8307" y="2571"/>
                  <a:pt x="8293" y="2542"/>
                  <a:pt x="8293" y="2514"/>
                </a:cubicBezTo>
                <a:cubicBezTo>
                  <a:pt x="8406" y="2514"/>
                  <a:pt x="8491" y="2415"/>
                  <a:pt x="8491" y="2302"/>
                </a:cubicBezTo>
                <a:cubicBezTo>
                  <a:pt x="8491" y="2232"/>
                  <a:pt x="8463" y="2175"/>
                  <a:pt x="8420" y="2133"/>
                </a:cubicBezTo>
                <a:cubicBezTo>
                  <a:pt x="8420" y="2133"/>
                  <a:pt x="8435" y="2119"/>
                  <a:pt x="8435" y="2119"/>
                </a:cubicBezTo>
                <a:cubicBezTo>
                  <a:pt x="8463" y="2147"/>
                  <a:pt x="8505" y="2175"/>
                  <a:pt x="8548" y="2175"/>
                </a:cubicBezTo>
                <a:cubicBezTo>
                  <a:pt x="8618" y="2175"/>
                  <a:pt x="8675" y="2105"/>
                  <a:pt x="8675" y="2034"/>
                </a:cubicBezTo>
                <a:cubicBezTo>
                  <a:pt x="8675" y="1963"/>
                  <a:pt x="8632" y="1907"/>
                  <a:pt x="8562" y="1893"/>
                </a:cubicBezTo>
                <a:close/>
                <a:moveTo>
                  <a:pt x="5736" y="1017"/>
                </a:moveTo>
                <a:cubicBezTo>
                  <a:pt x="5736" y="1088"/>
                  <a:pt x="5779" y="1130"/>
                  <a:pt x="5849" y="1130"/>
                </a:cubicBezTo>
                <a:cubicBezTo>
                  <a:pt x="5906" y="1130"/>
                  <a:pt x="5962" y="1088"/>
                  <a:pt x="5962" y="1017"/>
                </a:cubicBezTo>
                <a:cubicBezTo>
                  <a:pt x="5962" y="961"/>
                  <a:pt x="5906" y="904"/>
                  <a:pt x="5849" y="904"/>
                </a:cubicBezTo>
                <a:cubicBezTo>
                  <a:pt x="5779" y="904"/>
                  <a:pt x="5736" y="961"/>
                  <a:pt x="5736" y="1017"/>
                </a:cubicBezTo>
                <a:close/>
              </a:path>
            </a:pathLst>
          </a:custGeom>
          <a:solidFill>
            <a:srgbClr val="C0C0C0"/>
          </a:solidFill>
          <a:ln w="0">
            <a:noFill/>
            <a:prstDash val="solid"/>
            <a:round/>
            <a:headEnd/>
            <a:tailEnd/>
          </a:ln>
        </p:spPr>
        <p:txBody>
          <a:bodyPr vert="horz" wrap="square" lIns="91284" tIns="45642" rIns="91284" bIns="45642" numCol="1" anchor="t" anchorCtr="0" compatLnSpc="1">
            <a:prstTxWarp prst="textNoShape">
              <a:avLst/>
            </a:prstTxWarp>
          </a:bodyPr>
          <a:lstStyle/>
          <a:p>
            <a:pPr defTabSz="912644"/>
            <a:endParaRPr lang="fr-FR" sz="1800" u="sng">
              <a:solidFill>
                <a:srgbClr val="000000"/>
              </a:solidFill>
              <a:cs typeface="+mn-cs"/>
            </a:endParaRPr>
          </a:p>
        </p:txBody>
      </p:sp>
      <p:sp>
        <p:nvSpPr>
          <p:cNvPr id="8" name="AutoShape 2"/>
          <p:cNvSpPr>
            <a:spLocks noChangeArrowheads="1"/>
          </p:cNvSpPr>
          <p:nvPr userDrawn="1"/>
        </p:nvSpPr>
        <p:spPr bwMode="auto">
          <a:xfrm>
            <a:off x="561975" y="1950244"/>
            <a:ext cx="8020050" cy="2471738"/>
          </a:xfrm>
          <a:prstGeom prst="roundRect">
            <a:avLst>
              <a:gd name="adj" fmla="val 6125"/>
            </a:avLst>
          </a:prstGeom>
          <a:solidFill>
            <a:schemeClr val="bg2"/>
          </a:solidFill>
          <a:ln w="76200">
            <a:noFill/>
            <a:round/>
            <a:headEnd/>
            <a:tailEnd/>
          </a:ln>
        </p:spPr>
        <p:txBody>
          <a:bodyPr wrap="none" lIns="91284" tIns="45642" rIns="91284" bIns="45642" anchor="ctr"/>
          <a:lstStyle/>
          <a:p>
            <a:pPr defTabSz="912644">
              <a:defRPr/>
            </a:pPr>
            <a:endParaRPr lang="fr-FR" sz="1800" u="sng">
              <a:solidFill>
                <a:srgbClr val="000000"/>
              </a:solidFill>
              <a:cs typeface="+mn-cs"/>
            </a:endParaRPr>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82"/>
            <a:ext cx="3935412" cy="684408"/>
          </a:xfrm>
        </p:spPr>
        <p:txBody>
          <a:bodyPr/>
          <a:lstStyle>
            <a:lvl1pPr marL="0" indent="1588">
              <a:defRPr/>
            </a:lvl1pPr>
          </a:lstStyle>
          <a:p>
            <a:pPr lvl="0"/>
            <a:r>
              <a:rPr lang="en-US"/>
              <a:t>Click to edit Master text styles</a:t>
            </a:r>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13" name="Espace réservé pour une image  15"/>
          <p:cNvSpPr>
            <a:spLocks noGrp="1"/>
          </p:cNvSpPr>
          <p:nvPr>
            <p:ph type="pic" sz="quarter" idx="16"/>
          </p:nvPr>
        </p:nvSpPr>
        <p:spPr>
          <a:xfrm>
            <a:off x="609480" y="1982386"/>
            <a:ext cx="2608738" cy="2395064"/>
          </a:xfrm>
          <a:prstGeom prst="roundRect">
            <a:avLst>
              <a:gd name="adj" fmla="val 5451"/>
            </a:avLst>
          </a:prstGeom>
          <a:solidFill>
            <a:schemeClr val="bg1"/>
          </a:solidFill>
        </p:spPr>
        <p:txBody>
          <a:bodyPr/>
          <a:lstStyle/>
          <a:p>
            <a:pPr lvl="0"/>
            <a:r>
              <a:rPr lang="en-US" noProof="0"/>
              <a:t>Click icon to add picture</a:t>
            </a:r>
            <a:endParaRPr lang="fr-FR" noProof="0" dirty="0"/>
          </a:p>
        </p:txBody>
      </p:sp>
      <p:sp>
        <p:nvSpPr>
          <p:cNvPr id="12" name="Espace réservé pour une image  15"/>
          <p:cNvSpPr>
            <a:spLocks noGrp="1"/>
          </p:cNvSpPr>
          <p:nvPr>
            <p:ph type="pic" sz="quarter" idx="17"/>
          </p:nvPr>
        </p:nvSpPr>
        <p:spPr>
          <a:xfrm>
            <a:off x="3261699" y="1982386"/>
            <a:ext cx="2608738" cy="2395064"/>
          </a:xfrm>
          <a:prstGeom prst="roundRect">
            <a:avLst>
              <a:gd name="adj" fmla="val 5451"/>
            </a:avLst>
          </a:prstGeom>
          <a:solidFill>
            <a:schemeClr val="bg1"/>
          </a:solidFill>
        </p:spPr>
        <p:txBody>
          <a:bodyPr/>
          <a:lstStyle/>
          <a:p>
            <a:pPr lvl="0"/>
            <a:r>
              <a:rPr lang="en-US" noProof="0"/>
              <a:t>Click icon to add picture</a:t>
            </a:r>
            <a:endParaRPr lang="fr-FR" noProof="0" dirty="0"/>
          </a:p>
        </p:txBody>
      </p:sp>
      <p:sp>
        <p:nvSpPr>
          <p:cNvPr id="15" name="Espace réservé pour une image  15"/>
          <p:cNvSpPr>
            <a:spLocks noGrp="1"/>
          </p:cNvSpPr>
          <p:nvPr>
            <p:ph type="pic" sz="quarter" idx="18"/>
          </p:nvPr>
        </p:nvSpPr>
        <p:spPr>
          <a:xfrm>
            <a:off x="5913915" y="1982386"/>
            <a:ext cx="2608738" cy="2395064"/>
          </a:xfrm>
          <a:prstGeom prst="roundRect">
            <a:avLst>
              <a:gd name="adj" fmla="val 5451"/>
            </a:avLst>
          </a:prstGeom>
          <a:solidFill>
            <a:schemeClr val="bg1"/>
          </a:solidFill>
        </p:spPr>
        <p:txBody>
          <a:bodyPr/>
          <a:lstStyle/>
          <a:p>
            <a:pPr lvl="0"/>
            <a:r>
              <a:rPr lang="en-US" noProof="0"/>
              <a:t>Click icon to add picture</a:t>
            </a:r>
            <a:endParaRPr lang="fr-FR" noProof="0" dirty="0"/>
          </a:p>
        </p:txBody>
      </p:sp>
      <p:sp>
        <p:nvSpPr>
          <p:cNvPr id="11" name="Rectangle 1029"/>
          <p:cNvSpPr>
            <a:spLocks noGrp="1" noChangeArrowheads="1"/>
          </p:cNvSpPr>
          <p:nvPr>
            <p:ph type="sldNum" sz="quarter" idx="19"/>
          </p:nvPr>
        </p:nvSpPr>
        <p:spPr/>
        <p:txBody>
          <a:bodyPr/>
          <a:lstStyle>
            <a:lvl1pPr>
              <a:defRPr/>
            </a:lvl1pPr>
          </a:lstStyle>
          <a:p>
            <a:pPr>
              <a:defRPr/>
            </a:pPr>
            <a:fld id="{6486DF53-0323-493C-B82C-BC7C6A42923A}" type="slidenum">
              <a:rPr lang="en-GB">
                <a:solidFill>
                  <a:srgbClr val="C0C0C0"/>
                </a:solidFill>
              </a:rPr>
              <a:pPr>
                <a:defRPr/>
              </a:pPr>
              <a:t>‹#›</a:t>
            </a:fld>
            <a:endParaRPr lang="en-GB">
              <a:solidFill>
                <a:srgbClr val="C0C0C0"/>
              </a:solidFill>
            </a:endParaRPr>
          </a:p>
        </p:txBody>
      </p:sp>
      <p:sp>
        <p:nvSpPr>
          <p:cNvPr id="14" name="Rectangle 1030"/>
          <p:cNvSpPr>
            <a:spLocks noGrp="1" noChangeArrowheads="1"/>
          </p:cNvSpPr>
          <p:nvPr>
            <p:ph type="ftr" sz="quarter" idx="20"/>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84019111"/>
      </p:ext>
    </p:extLst>
  </p:cSld>
  <p:clrMapOvr>
    <a:masterClrMapping/>
  </p:clrMapOvr>
  <p:transition spd="slow">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and large picture with legend">
    <p:spTree>
      <p:nvGrpSpPr>
        <p:cNvPr id="1" name=""/>
        <p:cNvGrpSpPr/>
        <p:nvPr/>
      </p:nvGrpSpPr>
      <p:grpSpPr>
        <a:xfrm>
          <a:off x="0" y="0"/>
          <a:ext cx="0" cy="0"/>
          <a:chOff x="0" y="0"/>
          <a:chExt cx="0" cy="0"/>
        </a:xfrm>
      </p:grpSpPr>
      <p:sp>
        <p:nvSpPr>
          <p:cNvPr id="15" name="Freeform 6"/>
          <p:cNvSpPr>
            <a:spLocks noEditPoints="1"/>
          </p:cNvSpPr>
          <p:nvPr userDrawn="1"/>
        </p:nvSpPr>
        <p:spPr bwMode="auto">
          <a:xfrm>
            <a:off x="5413217" y="1404767"/>
            <a:ext cx="3379787" cy="2792016"/>
          </a:xfrm>
          <a:custGeom>
            <a:avLst/>
            <a:gdLst/>
            <a:ahLst/>
            <a:cxnLst>
              <a:cxn ang="0">
                <a:pos x="8675" y="1568"/>
              </a:cxn>
              <a:cxn ang="0">
                <a:pos x="5553" y="1003"/>
              </a:cxn>
              <a:cxn ang="0">
                <a:pos x="5270" y="707"/>
              </a:cxn>
              <a:cxn ang="0">
                <a:pos x="6160" y="325"/>
              </a:cxn>
              <a:cxn ang="0">
                <a:pos x="6005" y="481"/>
              </a:cxn>
              <a:cxn ang="0">
                <a:pos x="2402" y="410"/>
              </a:cxn>
              <a:cxn ang="0">
                <a:pos x="2699" y="452"/>
              </a:cxn>
              <a:cxn ang="0">
                <a:pos x="2558" y="311"/>
              </a:cxn>
              <a:cxn ang="0">
                <a:pos x="3038" y="99"/>
              </a:cxn>
              <a:cxn ang="0">
                <a:pos x="2939" y="198"/>
              </a:cxn>
              <a:cxn ang="0">
                <a:pos x="4154" y="650"/>
              </a:cxn>
              <a:cxn ang="0">
                <a:pos x="4479" y="608"/>
              </a:cxn>
              <a:cxn ang="0">
                <a:pos x="4366" y="509"/>
              </a:cxn>
              <a:cxn ang="0">
                <a:pos x="8420" y="2641"/>
              </a:cxn>
              <a:cxn ang="0">
                <a:pos x="8548" y="2514"/>
              </a:cxn>
              <a:cxn ang="0">
                <a:pos x="1554" y="509"/>
              </a:cxn>
              <a:cxn ang="0">
                <a:pos x="1766" y="523"/>
              </a:cxn>
              <a:cxn ang="0">
                <a:pos x="1682" y="438"/>
              </a:cxn>
              <a:cxn ang="0">
                <a:pos x="8406" y="1173"/>
              </a:cxn>
              <a:cxn ang="0">
                <a:pos x="8322" y="1271"/>
              </a:cxn>
              <a:cxn ang="0">
                <a:pos x="3829" y="99"/>
              </a:cxn>
              <a:cxn ang="0">
                <a:pos x="6753" y="947"/>
              </a:cxn>
              <a:cxn ang="0">
                <a:pos x="6612" y="791"/>
              </a:cxn>
              <a:cxn ang="0">
                <a:pos x="8081" y="834"/>
              </a:cxn>
              <a:cxn ang="0">
                <a:pos x="7912" y="1003"/>
              </a:cxn>
              <a:cxn ang="0">
                <a:pos x="8110" y="551"/>
              </a:cxn>
              <a:cxn ang="0">
                <a:pos x="8562" y="1893"/>
              </a:cxn>
              <a:cxn ang="0">
                <a:pos x="8011" y="1314"/>
              </a:cxn>
              <a:cxn ang="0">
                <a:pos x="7601" y="1568"/>
              </a:cxn>
              <a:cxn ang="0">
                <a:pos x="7544" y="1469"/>
              </a:cxn>
              <a:cxn ang="0">
                <a:pos x="7248" y="1173"/>
              </a:cxn>
              <a:cxn ang="0">
                <a:pos x="6697" y="1215"/>
              </a:cxn>
              <a:cxn ang="0">
                <a:pos x="6188" y="989"/>
              </a:cxn>
              <a:cxn ang="0">
                <a:pos x="5835" y="1173"/>
              </a:cxn>
              <a:cxn ang="0">
                <a:pos x="5383" y="1187"/>
              </a:cxn>
              <a:cxn ang="0">
                <a:pos x="4776" y="848"/>
              </a:cxn>
              <a:cxn ang="0">
                <a:pos x="4507" y="1045"/>
              </a:cxn>
              <a:cxn ang="0">
                <a:pos x="3984" y="1257"/>
              </a:cxn>
              <a:cxn ang="0">
                <a:pos x="3363" y="1003"/>
              </a:cxn>
              <a:cxn ang="0">
                <a:pos x="3448" y="848"/>
              </a:cxn>
              <a:cxn ang="0">
                <a:pos x="3744" y="834"/>
              </a:cxn>
              <a:cxn ang="0">
                <a:pos x="3448" y="297"/>
              </a:cxn>
              <a:cxn ang="0">
                <a:pos x="2967" y="594"/>
              </a:cxn>
              <a:cxn ang="0">
                <a:pos x="2374" y="1017"/>
              </a:cxn>
              <a:cxn ang="0">
                <a:pos x="2063" y="678"/>
              </a:cxn>
              <a:cxn ang="0">
                <a:pos x="1922" y="1300"/>
              </a:cxn>
              <a:cxn ang="0">
                <a:pos x="1526" y="1017"/>
              </a:cxn>
              <a:cxn ang="0">
                <a:pos x="947" y="1045"/>
              </a:cxn>
              <a:cxn ang="0">
                <a:pos x="509" y="1596"/>
              </a:cxn>
              <a:cxn ang="0">
                <a:pos x="679" y="9772"/>
              </a:cxn>
              <a:cxn ang="0">
                <a:pos x="8279" y="3093"/>
              </a:cxn>
              <a:cxn ang="0">
                <a:pos x="8307" y="2599"/>
              </a:cxn>
              <a:cxn ang="0">
                <a:pos x="8420" y="2133"/>
              </a:cxn>
              <a:cxn ang="0">
                <a:pos x="8675" y="2034"/>
              </a:cxn>
              <a:cxn ang="0">
                <a:pos x="5849" y="1130"/>
              </a:cxn>
              <a:cxn ang="0">
                <a:pos x="5736" y="1017"/>
              </a:cxn>
            </a:cxnLst>
            <a:rect l="0" t="0" r="r" b="b"/>
            <a:pathLst>
              <a:path w="8872" h="9772">
                <a:moveTo>
                  <a:pt x="8675" y="1158"/>
                </a:moveTo>
                <a:cubicBezTo>
                  <a:pt x="8562" y="1158"/>
                  <a:pt x="8463" y="1243"/>
                  <a:pt x="8463" y="1356"/>
                </a:cubicBezTo>
                <a:cubicBezTo>
                  <a:pt x="8463" y="1469"/>
                  <a:pt x="8562" y="1568"/>
                  <a:pt x="8675" y="1568"/>
                </a:cubicBezTo>
                <a:cubicBezTo>
                  <a:pt x="8788" y="1568"/>
                  <a:pt x="8872" y="1469"/>
                  <a:pt x="8872" y="1356"/>
                </a:cubicBezTo>
                <a:cubicBezTo>
                  <a:pt x="8872" y="1243"/>
                  <a:pt x="8788" y="1158"/>
                  <a:pt x="8675" y="1158"/>
                </a:cubicBezTo>
                <a:close/>
                <a:moveTo>
                  <a:pt x="5553" y="1003"/>
                </a:moveTo>
                <a:cubicBezTo>
                  <a:pt x="5722" y="1003"/>
                  <a:pt x="5849" y="862"/>
                  <a:pt x="5849" y="707"/>
                </a:cubicBezTo>
                <a:cubicBezTo>
                  <a:pt x="5849" y="537"/>
                  <a:pt x="5722" y="410"/>
                  <a:pt x="5553" y="410"/>
                </a:cubicBezTo>
                <a:cubicBezTo>
                  <a:pt x="5397" y="410"/>
                  <a:pt x="5270" y="537"/>
                  <a:pt x="5270" y="707"/>
                </a:cubicBezTo>
                <a:cubicBezTo>
                  <a:pt x="5270" y="862"/>
                  <a:pt x="5397" y="1003"/>
                  <a:pt x="5553" y="1003"/>
                </a:cubicBezTo>
                <a:close/>
                <a:moveTo>
                  <a:pt x="6005" y="481"/>
                </a:moveTo>
                <a:cubicBezTo>
                  <a:pt x="6089" y="481"/>
                  <a:pt x="6160" y="410"/>
                  <a:pt x="6160" y="325"/>
                </a:cubicBezTo>
                <a:cubicBezTo>
                  <a:pt x="6160" y="241"/>
                  <a:pt x="6089" y="184"/>
                  <a:pt x="6005" y="184"/>
                </a:cubicBezTo>
                <a:cubicBezTo>
                  <a:pt x="5920" y="184"/>
                  <a:pt x="5849" y="241"/>
                  <a:pt x="5849" y="325"/>
                </a:cubicBezTo>
                <a:cubicBezTo>
                  <a:pt x="5849" y="410"/>
                  <a:pt x="5920" y="481"/>
                  <a:pt x="6005" y="481"/>
                </a:cubicBezTo>
                <a:close/>
                <a:moveTo>
                  <a:pt x="2402" y="777"/>
                </a:moveTo>
                <a:cubicBezTo>
                  <a:pt x="2501" y="777"/>
                  <a:pt x="2586" y="692"/>
                  <a:pt x="2586" y="594"/>
                </a:cubicBezTo>
                <a:cubicBezTo>
                  <a:pt x="2586" y="495"/>
                  <a:pt x="2501" y="410"/>
                  <a:pt x="2402" y="410"/>
                </a:cubicBezTo>
                <a:cubicBezTo>
                  <a:pt x="2303" y="410"/>
                  <a:pt x="2218" y="495"/>
                  <a:pt x="2218" y="594"/>
                </a:cubicBezTo>
                <a:cubicBezTo>
                  <a:pt x="2218" y="692"/>
                  <a:pt x="2303" y="777"/>
                  <a:pt x="2402" y="777"/>
                </a:cubicBezTo>
                <a:close/>
                <a:moveTo>
                  <a:pt x="2699" y="452"/>
                </a:moveTo>
                <a:cubicBezTo>
                  <a:pt x="2784" y="452"/>
                  <a:pt x="2840" y="396"/>
                  <a:pt x="2840" y="311"/>
                </a:cubicBezTo>
                <a:cubicBezTo>
                  <a:pt x="2840" y="241"/>
                  <a:pt x="2784" y="170"/>
                  <a:pt x="2699" y="170"/>
                </a:cubicBezTo>
                <a:cubicBezTo>
                  <a:pt x="2628" y="170"/>
                  <a:pt x="2558" y="241"/>
                  <a:pt x="2558" y="311"/>
                </a:cubicBezTo>
                <a:cubicBezTo>
                  <a:pt x="2558" y="396"/>
                  <a:pt x="2628" y="452"/>
                  <a:pt x="2699" y="452"/>
                </a:cubicBezTo>
                <a:close/>
                <a:moveTo>
                  <a:pt x="2939" y="198"/>
                </a:moveTo>
                <a:cubicBezTo>
                  <a:pt x="2995" y="198"/>
                  <a:pt x="3038" y="156"/>
                  <a:pt x="3038" y="99"/>
                </a:cubicBezTo>
                <a:cubicBezTo>
                  <a:pt x="3038" y="43"/>
                  <a:pt x="2995" y="0"/>
                  <a:pt x="2939" y="0"/>
                </a:cubicBezTo>
                <a:cubicBezTo>
                  <a:pt x="2882" y="0"/>
                  <a:pt x="2840" y="43"/>
                  <a:pt x="2840" y="99"/>
                </a:cubicBezTo>
                <a:cubicBezTo>
                  <a:pt x="2840" y="156"/>
                  <a:pt x="2882" y="198"/>
                  <a:pt x="2939" y="198"/>
                </a:cubicBezTo>
                <a:close/>
                <a:moveTo>
                  <a:pt x="4154" y="1031"/>
                </a:moveTo>
                <a:cubicBezTo>
                  <a:pt x="4253" y="1031"/>
                  <a:pt x="4338" y="947"/>
                  <a:pt x="4338" y="848"/>
                </a:cubicBezTo>
                <a:cubicBezTo>
                  <a:pt x="4338" y="735"/>
                  <a:pt x="4253" y="650"/>
                  <a:pt x="4154" y="650"/>
                </a:cubicBezTo>
                <a:cubicBezTo>
                  <a:pt x="4041" y="650"/>
                  <a:pt x="3956" y="735"/>
                  <a:pt x="3956" y="848"/>
                </a:cubicBezTo>
                <a:cubicBezTo>
                  <a:pt x="3956" y="947"/>
                  <a:pt x="4041" y="1031"/>
                  <a:pt x="4154" y="1031"/>
                </a:cubicBezTo>
                <a:close/>
                <a:moveTo>
                  <a:pt x="4479" y="608"/>
                </a:moveTo>
                <a:cubicBezTo>
                  <a:pt x="4535" y="608"/>
                  <a:pt x="4578" y="565"/>
                  <a:pt x="4578" y="509"/>
                </a:cubicBezTo>
                <a:cubicBezTo>
                  <a:pt x="4578" y="452"/>
                  <a:pt x="4535" y="396"/>
                  <a:pt x="4479" y="396"/>
                </a:cubicBezTo>
                <a:cubicBezTo>
                  <a:pt x="4408" y="396"/>
                  <a:pt x="4366" y="452"/>
                  <a:pt x="4366" y="509"/>
                </a:cubicBezTo>
                <a:cubicBezTo>
                  <a:pt x="4366" y="565"/>
                  <a:pt x="4408" y="608"/>
                  <a:pt x="4479" y="608"/>
                </a:cubicBezTo>
                <a:close/>
                <a:moveTo>
                  <a:pt x="8548" y="2514"/>
                </a:moveTo>
                <a:cubicBezTo>
                  <a:pt x="8477" y="2514"/>
                  <a:pt x="8420" y="2571"/>
                  <a:pt x="8420" y="2641"/>
                </a:cubicBezTo>
                <a:cubicBezTo>
                  <a:pt x="8420" y="2712"/>
                  <a:pt x="8477" y="2768"/>
                  <a:pt x="8548" y="2768"/>
                </a:cubicBezTo>
                <a:cubicBezTo>
                  <a:pt x="8618" y="2768"/>
                  <a:pt x="8675" y="2712"/>
                  <a:pt x="8675" y="2641"/>
                </a:cubicBezTo>
                <a:cubicBezTo>
                  <a:pt x="8675" y="2571"/>
                  <a:pt x="8618" y="2514"/>
                  <a:pt x="8548" y="2514"/>
                </a:cubicBezTo>
                <a:close/>
                <a:moveTo>
                  <a:pt x="1554" y="820"/>
                </a:moveTo>
                <a:cubicBezTo>
                  <a:pt x="1639" y="820"/>
                  <a:pt x="1710" y="749"/>
                  <a:pt x="1710" y="664"/>
                </a:cubicBezTo>
                <a:cubicBezTo>
                  <a:pt x="1710" y="579"/>
                  <a:pt x="1639" y="509"/>
                  <a:pt x="1554" y="509"/>
                </a:cubicBezTo>
                <a:cubicBezTo>
                  <a:pt x="1470" y="509"/>
                  <a:pt x="1399" y="579"/>
                  <a:pt x="1399" y="664"/>
                </a:cubicBezTo>
                <a:cubicBezTo>
                  <a:pt x="1399" y="749"/>
                  <a:pt x="1470" y="820"/>
                  <a:pt x="1554" y="820"/>
                </a:cubicBezTo>
                <a:close/>
                <a:moveTo>
                  <a:pt x="1766" y="523"/>
                </a:moveTo>
                <a:cubicBezTo>
                  <a:pt x="1823" y="523"/>
                  <a:pt x="1851" y="481"/>
                  <a:pt x="1851" y="438"/>
                </a:cubicBezTo>
                <a:cubicBezTo>
                  <a:pt x="1851" y="382"/>
                  <a:pt x="1823" y="339"/>
                  <a:pt x="1766" y="339"/>
                </a:cubicBezTo>
                <a:cubicBezTo>
                  <a:pt x="1724" y="339"/>
                  <a:pt x="1682" y="382"/>
                  <a:pt x="1682" y="438"/>
                </a:cubicBezTo>
                <a:cubicBezTo>
                  <a:pt x="1682" y="481"/>
                  <a:pt x="1724" y="523"/>
                  <a:pt x="1766" y="523"/>
                </a:cubicBezTo>
                <a:close/>
                <a:moveTo>
                  <a:pt x="8322" y="1271"/>
                </a:moveTo>
                <a:cubicBezTo>
                  <a:pt x="8364" y="1271"/>
                  <a:pt x="8406" y="1229"/>
                  <a:pt x="8406" y="1173"/>
                </a:cubicBezTo>
                <a:cubicBezTo>
                  <a:pt x="8406" y="1130"/>
                  <a:pt x="8364" y="1088"/>
                  <a:pt x="8322" y="1088"/>
                </a:cubicBezTo>
                <a:cubicBezTo>
                  <a:pt x="8265" y="1088"/>
                  <a:pt x="8223" y="1130"/>
                  <a:pt x="8223" y="1173"/>
                </a:cubicBezTo>
                <a:cubicBezTo>
                  <a:pt x="8223" y="1229"/>
                  <a:pt x="8265" y="1271"/>
                  <a:pt x="8322" y="1271"/>
                </a:cubicBezTo>
                <a:close/>
                <a:moveTo>
                  <a:pt x="3829" y="396"/>
                </a:moveTo>
                <a:cubicBezTo>
                  <a:pt x="3914" y="396"/>
                  <a:pt x="3984" y="325"/>
                  <a:pt x="3984" y="241"/>
                </a:cubicBezTo>
                <a:cubicBezTo>
                  <a:pt x="3984" y="156"/>
                  <a:pt x="3914" y="99"/>
                  <a:pt x="3829" y="99"/>
                </a:cubicBezTo>
                <a:cubicBezTo>
                  <a:pt x="3744" y="99"/>
                  <a:pt x="3674" y="156"/>
                  <a:pt x="3674" y="241"/>
                </a:cubicBezTo>
                <a:cubicBezTo>
                  <a:pt x="3674" y="325"/>
                  <a:pt x="3744" y="396"/>
                  <a:pt x="3829" y="396"/>
                </a:cubicBezTo>
                <a:close/>
                <a:moveTo>
                  <a:pt x="6753" y="947"/>
                </a:moveTo>
                <a:cubicBezTo>
                  <a:pt x="6838" y="947"/>
                  <a:pt x="6909" y="876"/>
                  <a:pt x="6909" y="791"/>
                </a:cubicBezTo>
                <a:cubicBezTo>
                  <a:pt x="6909" y="707"/>
                  <a:pt x="6838" y="650"/>
                  <a:pt x="6753" y="650"/>
                </a:cubicBezTo>
                <a:cubicBezTo>
                  <a:pt x="6669" y="650"/>
                  <a:pt x="6612" y="707"/>
                  <a:pt x="6612" y="791"/>
                </a:cubicBezTo>
                <a:cubicBezTo>
                  <a:pt x="6612" y="876"/>
                  <a:pt x="6669" y="947"/>
                  <a:pt x="6753" y="947"/>
                </a:cubicBezTo>
                <a:close/>
                <a:moveTo>
                  <a:pt x="7912" y="1003"/>
                </a:moveTo>
                <a:cubicBezTo>
                  <a:pt x="8011" y="1003"/>
                  <a:pt x="8081" y="932"/>
                  <a:pt x="8081" y="834"/>
                </a:cubicBezTo>
                <a:cubicBezTo>
                  <a:pt x="8081" y="749"/>
                  <a:pt x="8011" y="678"/>
                  <a:pt x="7912" y="678"/>
                </a:cubicBezTo>
                <a:cubicBezTo>
                  <a:pt x="7827" y="678"/>
                  <a:pt x="7756" y="749"/>
                  <a:pt x="7756" y="834"/>
                </a:cubicBezTo>
                <a:cubicBezTo>
                  <a:pt x="7756" y="932"/>
                  <a:pt x="7827" y="1003"/>
                  <a:pt x="7912" y="1003"/>
                </a:cubicBezTo>
                <a:close/>
                <a:moveTo>
                  <a:pt x="8110" y="721"/>
                </a:moveTo>
                <a:cubicBezTo>
                  <a:pt x="8166" y="721"/>
                  <a:pt x="8194" y="692"/>
                  <a:pt x="8194" y="636"/>
                </a:cubicBezTo>
                <a:cubicBezTo>
                  <a:pt x="8194" y="594"/>
                  <a:pt x="8166" y="551"/>
                  <a:pt x="8110" y="551"/>
                </a:cubicBezTo>
                <a:cubicBezTo>
                  <a:pt x="8067" y="551"/>
                  <a:pt x="8039" y="594"/>
                  <a:pt x="8039" y="636"/>
                </a:cubicBezTo>
                <a:cubicBezTo>
                  <a:pt x="8039" y="692"/>
                  <a:pt x="8067" y="721"/>
                  <a:pt x="8110" y="721"/>
                </a:cubicBezTo>
                <a:close/>
                <a:moveTo>
                  <a:pt x="8562" y="1893"/>
                </a:moveTo>
                <a:cubicBezTo>
                  <a:pt x="8562" y="1879"/>
                  <a:pt x="8576" y="1850"/>
                  <a:pt x="8576" y="1836"/>
                </a:cubicBezTo>
                <a:cubicBezTo>
                  <a:pt x="8576" y="1639"/>
                  <a:pt x="8420" y="1469"/>
                  <a:pt x="8223" y="1455"/>
                </a:cubicBezTo>
                <a:cubicBezTo>
                  <a:pt x="8194" y="1370"/>
                  <a:pt x="8110" y="1314"/>
                  <a:pt x="8011" y="1314"/>
                </a:cubicBezTo>
                <a:cubicBezTo>
                  <a:pt x="7884" y="1314"/>
                  <a:pt x="7771" y="1427"/>
                  <a:pt x="7771" y="1554"/>
                </a:cubicBezTo>
                <a:cubicBezTo>
                  <a:pt x="7771" y="1568"/>
                  <a:pt x="7771" y="1582"/>
                  <a:pt x="7785" y="1596"/>
                </a:cubicBezTo>
                <a:cubicBezTo>
                  <a:pt x="7714" y="1582"/>
                  <a:pt x="7658" y="1568"/>
                  <a:pt x="7601" y="1568"/>
                </a:cubicBezTo>
                <a:cubicBezTo>
                  <a:pt x="7516" y="1568"/>
                  <a:pt x="7516" y="1568"/>
                  <a:pt x="7516" y="1568"/>
                </a:cubicBezTo>
                <a:cubicBezTo>
                  <a:pt x="7516" y="1540"/>
                  <a:pt x="7502" y="1497"/>
                  <a:pt x="7488" y="1469"/>
                </a:cubicBezTo>
                <a:cubicBezTo>
                  <a:pt x="7516" y="1469"/>
                  <a:pt x="7530" y="1469"/>
                  <a:pt x="7544" y="1469"/>
                </a:cubicBezTo>
                <a:cubicBezTo>
                  <a:pt x="7714" y="1469"/>
                  <a:pt x="7841" y="1342"/>
                  <a:pt x="7841" y="1173"/>
                </a:cubicBezTo>
                <a:cubicBezTo>
                  <a:pt x="7841" y="1003"/>
                  <a:pt x="7714" y="876"/>
                  <a:pt x="7544" y="876"/>
                </a:cubicBezTo>
                <a:cubicBezTo>
                  <a:pt x="7375" y="876"/>
                  <a:pt x="7248" y="1003"/>
                  <a:pt x="7248" y="1173"/>
                </a:cubicBezTo>
                <a:cubicBezTo>
                  <a:pt x="7248" y="1173"/>
                  <a:pt x="7248" y="1173"/>
                  <a:pt x="7248" y="1173"/>
                </a:cubicBezTo>
                <a:cubicBezTo>
                  <a:pt x="7177" y="1130"/>
                  <a:pt x="7092" y="1116"/>
                  <a:pt x="6994" y="1116"/>
                </a:cubicBezTo>
                <a:cubicBezTo>
                  <a:pt x="6881" y="1116"/>
                  <a:pt x="6782" y="1144"/>
                  <a:pt x="6697" y="1215"/>
                </a:cubicBezTo>
                <a:cubicBezTo>
                  <a:pt x="6697" y="1187"/>
                  <a:pt x="6697" y="1158"/>
                  <a:pt x="6697" y="1144"/>
                </a:cubicBezTo>
                <a:cubicBezTo>
                  <a:pt x="6697" y="989"/>
                  <a:pt x="6584" y="862"/>
                  <a:pt x="6428" y="862"/>
                </a:cubicBezTo>
                <a:cubicBezTo>
                  <a:pt x="6330" y="862"/>
                  <a:pt x="6245" y="918"/>
                  <a:pt x="6188" y="989"/>
                </a:cubicBezTo>
                <a:cubicBezTo>
                  <a:pt x="6188" y="989"/>
                  <a:pt x="6188" y="989"/>
                  <a:pt x="6188" y="989"/>
                </a:cubicBezTo>
                <a:cubicBezTo>
                  <a:pt x="6061" y="989"/>
                  <a:pt x="5934" y="1074"/>
                  <a:pt x="5877" y="1173"/>
                </a:cubicBezTo>
                <a:cubicBezTo>
                  <a:pt x="5863" y="1173"/>
                  <a:pt x="5849" y="1173"/>
                  <a:pt x="5835" y="1173"/>
                </a:cubicBezTo>
                <a:cubicBezTo>
                  <a:pt x="5779" y="1173"/>
                  <a:pt x="5736" y="1201"/>
                  <a:pt x="5694" y="1257"/>
                </a:cubicBezTo>
                <a:cubicBezTo>
                  <a:pt x="5666" y="1187"/>
                  <a:pt x="5595" y="1144"/>
                  <a:pt x="5510" y="1144"/>
                </a:cubicBezTo>
                <a:cubicBezTo>
                  <a:pt x="5468" y="1144"/>
                  <a:pt x="5411" y="1158"/>
                  <a:pt x="5383" y="1187"/>
                </a:cubicBezTo>
                <a:cubicBezTo>
                  <a:pt x="5355" y="1003"/>
                  <a:pt x="5213" y="862"/>
                  <a:pt x="5044" y="820"/>
                </a:cubicBezTo>
                <a:cubicBezTo>
                  <a:pt x="5030" y="763"/>
                  <a:pt x="4973" y="707"/>
                  <a:pt x="4917" y="707"/>
                </a:cubicBezTo>
                <a:cubicBezTo>
                  <a:pt x="4832" y="707"/>
                  <a:pt x="4776" y="777"/>
                  <a:pt x="4776" y="848"/>
                </a:cubicBezTo>
                <a:cubicBezTo>
                  <a:pt x="4776" y="848"/>
                  <a:pt x="4776" y="848"/>
                  <a:pt x="4776" y="848"/>
                </a:cubicBezTo>
                <a:cubicBezTo>
                  <a:pt x="4691" y="890"/>
                  <a:pt x="4606" y="961"/>
                  <a:pt x="4564" y="1045"/>
                </a:cubicBezTo>
                <a:cubicBezTo>
                  <a:pt x="4535" y="1045"/>
                  <a:pt x="4521" y="1045"/>
                  <a:pt x="4507" y="1045"/>
                </a:cubicBezTo>
                <a:cubicBezTo>
                  <a:pt x="4380" y="1045"/>
                  <a:pt x="4281" y="1130"/>
                  <a:pt x="4253" y="1243"/>
                </a:cubicBezTo>
                <a:cubicBezTo>
                  <a:pt x="4225" y="1243"/>
                  <a:pt x="4196" y="1229"/>
                  <a:pt x="4168" y="1229"/>
                </a:cubicBezTo>
                <a:cubicBezTo>
                  <a:pt x="4112" y="1229"/>
                  <a:pt x="4041" y="1243"/>
                  <a:pt x="3984" y="1257"/>
                </a:cubicBezTo>
                <a:cubicBezTo>
                  <a:pt x="3956" y="1102"/>
                  <a:pt x="3829" y="989"/>
                  <a:pt x="3659" y="989"/>
                </a:cubicBezTo>
                <a:cubicBezTo>
                  <a:pt x="3589" y="989"/>
                  <a:pt x="3504" y="1017"/>
                  <a:pt x="3462" y="1074"/>
                </a:cubicBezTo>
                <a:cubicBezTo>
                  <a:pt x="3433" y="1031"/>
                  <a:pt x="3391" y="1017"/>
                  <a:pt x="3363" y="1003"/>
                </a:cubicBezTo>
                <a:cubicBezTo>
                  <a:pt x="3363" y="1003"/>
                  <a:pt x="3363" y="989"/>
                  <a:pt x="3363" y="989"/>
                </a:cubicBezTo>
                <a:cubicBezTo>
                  <a:pt x="3363" y="918"/>
                  <a:pt x="3349" y="862"/>
                  <a:pt x="3320" y="805"/>
                </a:cubicBezTo>
                <a:cubicBezTo>
                  <a:pt x="3349" y="834"/>
                  <a:pt x="3391" y="848"/>
                  <a:pt x="3448" y="848"/>
                </a:cubicBezTo>
                <a:cubicBezTo>
                  <a:pt x="3476" y="848"/>
                  <a:pt x="3490" y="834"/>
                  <a:pt x="3518" y="834"/>
                </a:cubicBezTo>
                <a:cubicBezTo>
                  <a:pt x="3518" y="890"/>
                  <a:pt x="3575" y="947"/>
                  <a:pt x="3631" y="947"/>
                </a:cubicBezTo>
                <a:cubicBezTo>
                  <a:pt x="3702" y="947"/>
                  <a:pt x="3744" y="890"/>
                  <a:pt x="3744" y="834"/>
                </a:cubicBezTo>
                <a:cubicBezTo>
                  <a:pt x="3744" y="777"/>
                  <a:pt x="3716" y="735"/>
                  <a:pt x="3674" y="721"/>
                </a:cubicBezTo>
                <a:cubicBezTo>
                  <a:pt x="3702" y="678"/>
                  <a:pt x="3716" y="622"/>
                  <a:pt x="3716" y="565"/>
                </a:cubicBezTo>
                <a:cubicBezTo>
                  <a:pt x="3716" y="424"/>
                  <a:pt x="3589" y="297"/>
                  <a:pt x="3448" y="297"/>
                </a:cubicBezTo>
                <a:cubicBezTo>
                  <a:pt x="3292" y="297"/>
                  <a:pt x="3179" y="424"/>
                  <a:pt x="3179" y="565"/>
                </a:cubicBezTo>
                <a:cubicBezTo>
                  <a:pt x="3179" y="608"/>
                  <a:pt x="3179" y="636"/>
                  <a:pt x="3193" y="664"/>
                </a:cubicBezTo>
                <a:cubicBezTo>
                  <a:pt x="3123" y="622"/>
                  <a:pt x="3052" y="594"/>
                  <a:pt x="2967" y="594"/>
                </a:cubicBezTo>
                <a:cubicBezTo>
                  <a:pt x="2755" y="594"/>
                  <a:pt x="2586" y="777"/>
                  <a:pt x="2586" y="989"/>
                </a:cubicBezTo>
                <a:cubicBezTo>
                  <a:pt x="2586" y="1017"/>
                  <a:pt x="2586" y="1045"/>
                  <a:pt x="2600" y="1074"/>
                </a:cubicBezTo>
                <a:cubicBezTo>
                  <a:pt x="2529" y="1045"/>
                  <a:pt x="2459" y="1017"/>
                  <a:pt x="2374" y="1017"/>
                </a:cubicBezTo>
                <a:cubicBezTo>
                  <a:pt x="2346" y="1017"/>
                  <a:pt x="2317" y="1031"/>
                  <a:pt x="2289" y="1031"/>
                </a:cubicBezTo>
                <a:cubicBezTo>
                  <a:pt x="2303" y="1003"/>
                  <a:pt x="2317" y="961"/>
                  <a:pt x="2317" y="918"/>
                </a:cubicBezTo>
                <a:cubicBezTo>
                  <a:pt x="2317" y="791"/>
                  <a:pt x="2204" y="678"/>
                  <a:pt x="2063" y="678"/>
                </a:cubicBezTo>
                <a:cubicBezTo>
                  <a:pt x="1922" y="678"/>
                  <a:pt x="1809" y="791"/>
                  <a:pt x="1809" y="918"/>
                </a:cubicBezTo>
                <a:cubicBezTo>
                  <a:pt x="1809" y="1045"/>
                  <a:pt x="1908" y="1158"/>
                  <a:pt x="2021" y="1173"/>
                </a:cubicBezTo>
                <a:cubicBezTo>
                  <a:pt x="1978" y="1215"/>
                  <a:pt x="1950" y="1257"/>
                  <a:pt x="1922" y="1300"/>
                </a:cubicBezTo>
                <a:cubicBezTo>
                  <a:pt x="1908" y="1158"/>
                  <a:pt x="1781" y="1045"/>
                  <a:pt x="1639" y="1045"/>
                </a:cubicBezTo>
                <a:cubicBezTo>
                  <a:pt x="1597" y="1045"/>
                  <a:pt x="1554" y="1045"/>
                  <a:pt x="1526" y="1060"/>
                </a:cubicBezTo>
                <a:cubicBezTo>
                  <a:pt x="1526" y="1045"/>
                  <a:pt x="1526" y="1031"/>
                  <a:pt x="1526" y="1017"/>
                </a:cubicBezTo>
                <a:cubicBezTo>
                  <a:pt x="1526" y="862"/>
                  <a:pt x="1399" y="735"/>
                  <a:pt x="1230" y="735"/>
                </a:cubicBezTo>
                <a:cubicBezTo>
                  <a:pt x="1074" y="735"/>
                  <a:pt x="947" y="862"/>
                  <a:pt x="947" y="1017"/>
                </a:cubicBezTo>
                <a:cubicBezTo>
                  <a:pt x="947" y="1031"/>
                  <a:pt x="947" y="1045"/>
                  <a:pt x="947" y="1045"/>
                </a:cubicBezTo>
                <a:cubicBezTo>
                  <a:pt x="919" y="1045"/>
                  <a:pt x="890" y="1031"/>
                  <a:pt x="848" y="1031"/>
                </a:cubicBezTo>
                <a:cubicBezTo>
                  <a:pt x="636" y="1031"/>
                  <a:pt x="467" y="1215"/>
                  <a:pt x="467" y="1427"/>
                </a:cubicBezTo>
                <a:cubicBezTo>
                  <a:pt x="467" y="1483"/>
                  <a:pt x="481" y="1540"/>
                  <a:pt x="509" y="1596"/>
                </a:cubicBezTo>
                <a:cubicBezTo>
                  <a:pt x="212" y="1667"/>
                  <a:pt x="0" y="1935"/>
                  <a:pt x="0" y="2246"/>
                </a:cubicBezTo>
                <a:cubicBezTo>
                  <a:pt x="0" y="9095"/>
                  <a:pt x="0" y="9095"/>
                  <a:pt x="0" y="9095"/>
                </a:cubicBezTo>
                <a:cubicBezTo>
                  <a:pt x="0" y="9476"/>
                  <a:pt x="311" y="9772"/>
                  <a:pt x="679" y="9772"/>
                </a:cubicBezTo>
                <a:cubicBezTo>
                  <a:pt x="7601" y="9772"/>
                  <a:pt x="7601" y="9772"/>
                  <a:pt x="7601" y="9772"/>
                </a:cubicBezTo>
                <a:cubicBezTo>
                  <a:pt x="7968" y="9772"/>
                  <a:pt x="8279" y="9476"/>
                  <a:pt x="8279" y="9095"/>
                </a:cubicBezTo>
                <a:cubicBezTo>
                  <a:pt x="8279" y="3093"/>
                  <a:pt x="8279" y="3093"/>
                  <a:pt x="8279" y="3093"/>
                </a:cubicBezTo>
                <a:cubicBezTo>
                  <a:pt x="8378" y="3065"/>
                  <a:pt x="8449" y="2980"/>
                  <a:pt x="8449" y="2881"/>
                </a:cubicBezTo>
                <a:cubicBezTo>
                  <a:pt x="8449" y="2782"/>
                  <a:pt x="8378" y="2698"/>
                  <a:pt x="8293" y="2669"/>
                </a:cubicBezTo>
                <a:cubicBezTo>
                  <a:pt x="8293" y="2655"/>
                  <a:pt x="8307" y="2627"/>
                  <a:pt x="8307" y="2599"/>
                </a:cubicBezTo>
                <a:cubicBezTo>
                  <a:pt x="8307" y="2571"/>
                  <a:pt x="8293" y="2542"/>
                  <a:pt x="8293" y="2514"/>
                </a:cubicBezTo>
                <a:cubicBezTo>
                  <a:pt x="8406" y="2514"/>
                  <a:pt x="8491" y="2415"/>
                  <a:pt x="8491" y="2302"/>
                </a:cubicBezTo>
                <a:cubicBezTo>
                  <a:pt x="8491" y="2232"/>
                  <a:pt x="8463" y="2175"/>
                  <a:pt x="8420" y="2133"/>
                </a:cubicBezTo>
                <a:cubicBezTo>
                  <a:pt x="8420" y="2133"/>
                  <a:pt x="8435" y="2119"/>
                  <a:pt x="8435" y="2119"/>
                </a:cubicBezTo>
                <a:cubicBezTo>
                  <a:pt x="8463" y="2147"/>
                  <a:pt x="8505" y="2175"/>
                  <a:pt x="8548" y="2175"/>
                </a:cubicBezTo>
                <a:cubicBezTo>
                  <a:pt x="8618" y="2175"/>
                  <a:pt x="8675" y="2105"/>
                  <a:pt x="8675" y="2034"/>
                </a:cubicBezTo>
                <a:cubicBezTo>
                  <a:pt x="8675" y="1963"/>
                  <a:pt x="8632" y="1907"/>
                  <a:pt x="8562" y="1893"/>
                </a:cubicBezTo>
                <a:close/>
                <a:moveTo>
                  <a:pt x="5736" y="1017"/>
                </a:moveTo>
                <a:cubicBezTo>
                  <a:pt x="5736" y="1088"/>
                  <a:pt x="5779" y="1130"/>
                  <a:pt x="5849" y="1130"/>
                </a:cubicBezTo>
                <a:cubicBezTo>
                  <a:pt x="5906" y="1130"/>
                  <a:pt x="5962" y="1088"/>
                  <a:pt x="5962" y="1017"/>
                </a:cubicBezTo>
                <a:cubicBezTo>
                  <a:pt x="5962" y="961"/>
                  <a:pt x="5906" y="904"/>
                  <a:pt x="5849" y="904"/>
                </a:cubicBezTo>
                <a:cubicBezTo>
                  <a:pt x="5779" y="904"/>
                  <a:pt x="5736" y="961"/>
                  <a:pt x="5736" y="1017"/>
                </a:cubicBezTo>
                <a:close/>
              </a:path>
            </a:pathLst>
          </a:custGeom>
          <a:solidFill>
            <a:srgbClr val="C0C0C0"/>
          </a:solidFill>
          <a:ln w="0">
            <a:noFill/>
            <a:prstDash val="solid"/>
            <a:round/>
            <a:headEnd/>
            <a:tailEnd/>
          </a:ln>
        </p:spPr>
        <p:txBody>
          <a:bodyPr vert="horz" wrap="square" lIns="91284" tIns="45642" rIns="91284" bIns="45642" numCol="1" anchor="t" anchorCtr="0" compatLnSpc="1">
            <a:prstTxWarp prst="textNoShape">
              <a:avLst/>
            </a:prstTxWarp>
          </a:bodyPr>
          <a:lstStyle/>
          <a:p>
            <a:pPr defTabSz="912644"/>
            <a:endParaRPr lang="fr-FR" sz="1800" u="sng">
              <a:solidFill>
                <a:srgbClr val="000000"/>
              </a:solidFill>
              <a:cs typeface="+mn-cs"/>
            </a:endParaRPr>
          </a:p>
        </p:txBody>
      </p:sp>
      <p:sp>
        <p:nvSpPr>
          <p:cNvPr id="7" name="AutoShape 2"/>
          <p:cNvSpPr>
            <a:spLocks noChangeArrowheads="1"/>
          </p:cNvSpPr>
          <p:nvPr userDrawn="1"/>
        </p:nvSpPr>
        <p:spPr bwMode="auto">
          <a:xfrm>
            <a:off x="561975" y="1950244"/>
            <a:ext cx="8020050" cy="2471738"/>
          </a:xfrm>
          <a:prstGeom prst="roundRect">
            <a:avLst>
              <a:gd name="adj" fmla="val 6125"/>
            </a:avLst>
          </a:prstGeom>
          <a:solidFill>
            <a:schemeClr val="bg2"/>
          </a:solidFill>
          <a:ln w="76200">
            <a:noFill/>
            <a:round/>
            <a:headEnd/>
            <a:tailEnd/>
          </a:ln>
        </p:spPr>
        <p:txBody>
          <a:bodyPr wrap="none" lIns="91284" tIns="45642" rIns="91284" bIns="45642" anchor="ctr"/>
          <a:lstStyle/>
          <a:p>
            <a:pPr defTabSz="912644">
              <a:defRPr/>
            </a:pPr>
            <a:endParaRPr lang="fr-FR" sz="1800" u="sng">
              <a:solidFill>
                <a:srgbClr val="000000"/>
              </a:solidFill>
              <a:cs typeface="+mn-cs"/>
            </a:endParaRPr>
          </a:p>
        </p:txBody>
      </p:sp>
      <p:sp>
        <p:nvSpPr>
          <p:cNvPr id="2" name="Titre 1"/>
          <p:cNvSpPr>
            <a:spLocks noGrp="1"/>
          </p:cNvSpPr>
          <p:nvPr>
            <p:ph type="title"/>
          </p:nvPr>
        </p:nvSpPr>
        <p:spPr>
          <a:xfrm>
            <a:off x="542929" y="350044"/>
            <a:ext cx="8047038" cy="223838"/>
          </a:xfrm>
        </p:spPr>
        <p:txBody>
          <a:bodyPr/>
          <a:lstStyle/>
          <a:p>
            <a:r>
              <a:rPr lang="en-US"/>
              <a:t>Click to edit Master title style</a:t>
            </a:r>
            <a:endParaRPr lang="fr-FR"/>
          </a:p>
        </p:txBody>
      </p:sp>
      <p:sp>
        <p:nvSpPr>
          <p:cNvPr id="3" name="Espace réservé du texte 2"/>
          <p:cNvSpPr>
            <a:spLocks noGrp="1"/>
          </p:cNvSpPr>
          <p:nvPr>
            <p:ph type="body" sz="half" idx="1"/>
          </p:nvPr>
        </p:nvSpPr>
        <p:spPr>
          <a:xfrm>
            <a:off x="557213" y="1221582"/>
            <a:ext cx="3935412" cy="684408"/>
          </a:xfrm>
        </p:spPr>
        <p:txBody>
          <a:bodyPr/>
          <a:lstStyle>
            <a:lvl1pPr marL="0" indent="1588">
              <a:defRPr/>
            </a:lvl1pPr>
          </a:lstStyle>
          <a:p>
            <a:pPr lvl="0"/>
            <a:r>
              <a:rPr lang="en-US"/>
              <a:t>Click to edit Master text styles</a:t>
            </a:r>
          </a:p>
        </p:txBody>
      </p:sp>
      <p:sp>
        <p:nvSpPr>
          <p:cNvPr id="9" name="Espace réservé du texte 6"/>
          <p:cNvSpPr>
            <a:spLocks noGrp="1"/>
          </p:cNvSpPr>
          <p:nvPr>
            <p:ph type="body" sz="quarter" idx="13"/>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13" name="Espace réservé pour une image  15"/>
          <p:cNvSpPr>
            <a:spLocks noGrp="1"/>
          </p:cNvSpPr>
          <p:nvPr>
            <p:ph type="pic" sz="quarter" idx="16"/>
          </p:nvPr>
        </p:nvSpPr>
        <p:spPr>
          <a:xfrm>
            <a:off x="2992584" y="1982386"/>
            <a:ext cx="5520382" cy="2395064"/>
          </a:xfrm>
          <a:prstGeom prst="roundRect">
            <a:avLst>
              <a:gd name="adj" fmla="val 6361"/>
            </a:avLst>
          </a:prstGeom>
          <a:solidFill>
            <a:schemeClr val="bg1"/>
          </a:solidFill>
        </p:spPr>
        <p:txBody>
          <a:bodyPr/>
          <a:lstStyle/>
          <a:p>
            <a:pPr lvl="0"/>
            <a:r>
              <a:rPr lang="en-US" noProof="0"/>
              <a:t>Click icon to add picture</a:t>
            </a:r>
            <a:endParaRPr lang="fr-FR" noProof="0" dirty="0"/>
          </a:p>
        </p:txBody>
      </p:sp>
      <p:sp>
        <p:nvSpPr>
          <p:cNvPr id="11" name="Espace réservé du texte 14"/>
          <p:cNvSpPr>
            <a:spLocks noGrp="1"/>
          </p:cNvSpPr>
          <p:nvPr>
            <p:ph type="body" sz="quarter" idx="17"/>
          </p:nvPr>
        </p:nvSpPr>
        <p:spPr>
          <a:xfrm>
            <a:off x="642916" y="1948295"/>
            <a:ext cx="2147792" cy="2473686"/>
          </a:xfrm>
        </p:spPr>
        <p:txBody>
          <a:bodyPr anchor="ctr"/>
          <a:lstStyle>
            <a:lvl1pPr marL="0" indent="0">
              <a:lnSpc>
                <a:spcPts val="1200"/>
              </a:lnSpc>
              <a:spcBef>
                <a:spcPts val="1400"/>
              </a:spcBef>
              <a:defRPr sz="1100">
                <a:solidFill>
                  <a:schemeClr val="bg1"/>
                </a:solidFill>
              </a:defRPr>
            </a:lvl1pPr>
          </a:lstStyle>
          <a:p>
            <a:pPr lvl="0"/>
            <a:r>
              <a:rPr lang="en-US"/>
              <a:t>Click to edit Master text styles</a:t>
            </a:r>
          </a:p>
        </p:txBody>
      </p:sp>
      <p:sp>
        <p:nvSpPr>
          <p:cNvPr id="10" name="Rectangle 1029"/>
          <p:cNvSpPr>
            <a:spLocks noGrp="1" noChangeArrowheads="1"/>
          </p:cNvSpPr>
          <p:nvPr>
            <p:ph type="sldNum" sz="quarter" idx="18"/>
          </p:nvPr>
        </p:nvSpPr>
        <p:spPr/>
        <p:txBody>
          <a:bodyPr/>
          <a:lstStyle>
            <a:lvl1pPr>
              <a:defRPr/>
            </a:lvl1pPr>
          </a:lstStyle>
          <a:p>
            <a:pPr>
              <a:defRPr/>
            </a:pPr>
            <a:fld id="{72349D14-5FE4-4B7C-B9FC-2906859A4334}" type="slidenum">
              <a:rPr lang="en-GB">
                <a:solidFill>
                  <a:srgbClr val="C0C0C0"/>
                </a:solidFill>
              </a:rPr>
              <a:pPr>
                <a:defRPr/>
              </a:pPr>
              <a:t>‹#›</a:t>
            </a:fld>
            <a:endParaRPr lang="en-GB">
              <a:solidFill>
                <a:srgbClr val="C0C0C0"/>
              </a:solidFill>
            </a:endParaRPr>
          </a:p>
        </p:txBody>
      </p:sp>
      <p:sp>
        <p:nvSpPr>
          <p:cNvPr id="12" name="Rectangle 1030"/>
          <p:cNvSpPr>
            <a:spLocks noGrp="1" noChangeArrowheads="1"/>
          </p:cNvSpPr>
          <p:nvPr>
            <p:ph type="ftr" sz="quarter" idx="19"/>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2293905065"/>
      </p:ext>
    </p:extLst>
  </p:cSld>
  <p:clrMapOvr>
    <a:masterClrMapping/>
  </p:clrMapOvr>
  <p:transition spd="slow">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561975" y="1085850"/>
            <a:ext cx="8020050" cy="0"/>
          </a:xfrm>
          <a:prstGeom prst="line">
            <a:avLst/>
          </a:prstGeom>
          <a:noFill/>
          <a:ln w="25400">
            <a:solidFill>
              <a:schemeClr val="tx1"/>
            </a:solidFill>
            <a:round/>
            <a:headEnd/>
            <a:tailEnd/>
          </a:ln>
        </p:spPr>
        <p:txBody>
          <a:bodyPr lIns="91284" tIns="45642" rIns="91284" bIns="45642"/>
          <a:lstStyle/>
          <a:p>
            <a:pPr defTabSz="912644">
              <a:defRPr/>
            </a:pPr>
            <a:endParaRPr lang="fr-FR" sz="1800" u="sng">
              <a:solidFill>
                <a:srgbClr val="000000"/>
              </a:solidFill>
              <a:cs typeface="+mn-cs"/>
            </a:endParaRPr>
          </a:p>
        </p:txBody>
      </p:sp>
      <p:sp>
        <p:nvSpPr>
          <p:cNvPr id="2" name="Titre 1"/>
          <p:cNvSpPr>
            <a:spLocks noGrp="1"/>
          </p:cNvSpPr>
          <p:nvPr>
            <p:ph type="title"/>
          </p:nvPr>
        </p:nvSpPr>
        <p:spPr/>
        <p:txBody>
          <a:bodyPr/>
          <a:lstStyle/>
          <a:p>
            <a:r>
              <a:rPr lang="en-US"/>
              <a:t>Click to edit Master title style</a:t>
            </a:r>
            <a:endParaRPr lang="fr-FR"/>
          </a:p>
        </p:txBody>
      </p:sp>
      <p:sp>
        <p:nvSpPr>
          <p:cNvPr id="6" name="Espace réservé du texte 6"/>
          <p:cNvSpPr>
            <a:spLocks noGrp="1"/>
          </p:cNvSpPr>
          <p:nvPr>
            <p:ph type="body" sz="quarter" idx="12"/>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5" name="Rectangle 1029"/>
          <p:cNvSpPr>
            <a:spLocks noGrp="1" noChangeArrowheads="1"/>
          </p:cNvSpPr>
          <p:nvPr>
            <p:ph type="sldNum" sz="quarter" idx="13"/>
          </p:nvPr>
        </p:nvSpPr>
        <p:spPr/>
        <p:txBody>
          <a:bodyPr/>
          <a:lstStyle>
            <a:lvl1pPr>
              <a:defRPr/>
            </a:lvl1pPr>
          </a:lstStyle>
          <a:p>
            <a:pPr>
              <a:defRPr/>
            </a:pPr>
            <a:fld id="{D451D75E-F122-4D4C-8EF8-D3864C5AA899}" type="slidenum">
              <a:rPr lang="en-GB">
                <a:solidFill>
                  <a:srgbClr val="C0C0C0"/>
                </a:solidFill>
              </a:rPr>
              <a:pPr>
                <a:defRPr/>
              </a:pPr>
              <a:t>‹#›</a:t>
            </a:fld>
            <a:endParaRPr lang="en-GB">
              <a:solidFill>
                <a:srgbClr val="C0C0C0"/>
              </a:solidFill>
            </a:endParaRPr>
          </a:p>
        </p:txBody>
      </p:sp>
      <p:sp>
        <p:nvSpPr>
          <p:cNvPr id="7" name="Rectangle 1030"/>
          <p:cNvSpPr>
            <a:spLocks noGrp="1" noChangeArrowheads="1"/>
          </p:cNvSpPr>
          <p:nvPr>
            <p:ph type="ftr" sz="quarter" idx="14"/>
          </p:nvPr>
        </p:nvSpPr>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23887080"/>
      </p:ext>
    </p:extLst>
  </p:cSld>
  <p:clrMapOvr>
    <a:masterClrMapping/>
  </p:clrMapOvr>
  <p:transition spd="slow">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header">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6" name="Espace réservé du texte 6"/>
          <p:cNvSpPr>
            <a:spLocks noGrp="1"/>
          </p:cNvSpPr>
          <p:nvPr>
            <p:ph type="body" sz="quarter" idx="12"/>
          </p:nvPr>
        </p:nvSpPr>
        <p:spPr>
          <a:xfrm>
            <a:off x="541376" y="618199"/>
            <a:ext cx="8061325" cy="270272"/>
          </a:xfrm>
        </p:spPr>
        <p:txBody>
          <a:bodyPr/>
          <a:lstStyle>
            <a:lvl1pPr>
              <a:defRPr sz="2000">
                <a:solidFill>
                  <a:schemeClr val="accent1"/>
                </a:solidFill>
              </a:defRPr>
            </a:lvl1pPr>
          </a:lstStyle>
          <a:p>
            <a:pPr lvl="0"/>
            <a:r>
              <a:rPr lang="en-US"/>
              <a:t>Click to edit Master text styles</a:t>
            </a:r>
          </a:p>
        </p:txBody>
      </p:sp>
      <p:sp>
        <p:nvSpPr>
          <p:cNvPr id="8" name="Espace réservé du texte 7"/>
          <p:cNvSpPr>
            <a:spLocks noGrp="1"/>
          </p:cNvSpPr>
          <p:nvPr>
            <p:ph type="body" sz="quarter" idx="13"/>
          </p:nvPr>
        </p:nvSpPr>
        <p:spPr>
          <a:xfrm>
            <a:off x="561975" y="1221584"/>
            <a:ext cx="8020050" cy="1379115"/>
          </a:xfrm>
        </p:spPr>
        <p:txBody>
          <a:bodyPr/>
          <a:lstStyle>
            <a:lvl1pPr marL="0" indent="1588">
              <a:defRPr/>
            </a:lvl1pPr>
          </a:lstStyle>
          <a:p>
            <a:pPr lvl="0"/>
            <a:r>
              <a:rPr lang="en-US"/>
              <a:t>Click to edit Master text styles</a:t>
            </a:r>
          </a:p>
        </p:txBody>
      </p:sp>
      <p:sp>
        <p:nvSpPr>
          <p:cNvPr id="5" name="Rectangle 1029"/>
          <p:cNvSpPr>
            <a:spLocks noGrp="1" noChangeArrowheads="1"/>
          </p:cNvSpPr>
          <p:nvPr>
            <p:ph type="sldNum" sz="quarter" idx="14"/>
          </p:nvPr>
        </p:nvSpPr>
        <p:spPr>
          <a:ln/>
        </p:spPr>
        <p:txBody>
          <a:bodyPr/>
          <a:lstStyle>
            <a:lvl1pPr>
              <a:defRPr/>
            </a:lvl1pPr>
          </a:lstStyle>
          <a:p>
            <a:pPr>
              <a:defRPr/>
            </a:pPr>
            <a:fld id="{6C983603-D8D6-4C9E-8CA7-20392A6F7A91}" type="slidenum">
              <a:rPr lang="en-GB">
                <a:solidFill>
                  <a:srgbClr val="C0C0C0"/>
                </a:solidFill>
              </a:rPr>
              <a:pPr>
                <a:defRPr/>
              </a:pPr>
              <a:t>‹#›</a:t>
            </a:fld>
            <a:endParaRPr lang="en-GB">
              <a:solidFill>
                <a:srgbClr val="C0C0C0"/>
              </a:solidFill>
            </a:endParaRPr>
          </a:p>
        </p:txBody>
      </p:sp>
      <p:sp>
        <p:nvSpPr>
          <p:cNvPr id="7" name="Rectangle 1030"/>
          <p:cNvSpPr>
            <a:spLocks noGrp="1" noChangeArrowheads="1"/>
          </p:cNvSpPr>
          <p:nvPr>
            <p:ph type="ftr" sz="quarter" idx="15"/>
          </p:nvPr>
        </p:nvSpPr>
        <p:spPr>
          <a:ln/>
        </p:spPr>
        <p:txBody>
          <a:bodyPr/>
          <a:lstStyle>
            <a:lvl1pPr>
              <a:defRPr/>
            </a:lvl1pPr>
          </a:lstStyle>
          <a:p>
            <a:pPr>
              <a:defRPr/>
            </a:pPr>
            <a:r>
              <a:rPr lang="en-GB">
                <a:solidFill>
                  <a:srgbClr val="C0C0C0"/>
                </a:solidFill>
              </a:rPr>
              <a:t>Title of the presentation</a:t>
            </a:r>
          </a:p>
        </p:txBody>
      </p:sp>
    </p:spTree>
    <p:extLst>
      <p:ext uri="{BB962C8B-B14F-4D97-AF65-F5344CB8AC3E}">
        <p14:creationId xmlns:p14="http://schemas.microsoft.com/office/powerpoint/2010/main" val="3981137127"/>
      </p:ext>
    </p:extLst>
  </p:cSld>
  <p:clrMapOvr>
    <a:masterClrMapping/>
  </p:clrMapOvr>
  <p:transition spd="slow">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8" name="Picture 7" descr="Picture 29.png"/>
          <p:cNvPicPr>
            <a:picLocks noChangeAspect="1"/>
          </p:cNvPicPr>
          <p:nvPr userDrawn="1"/>
        </p:nvPicPr>
        <p:blipFill>
          <a:blip r:embed="rId2" cstate="print"/>
          <a:srcRect l="2067"/>
          <a:stretch>
            <a:fillRect/>
          </a:stretch>
        </p:blipFill>
        <p:spPr>
          <a:xfrm>
            <a:off x="1865108" y="768699"/>
            <a:ext cx="5448889" cy="2599182"/>
          </a:xfrm>
          <a:prstGeom prst="rect">
            <a:avLst/>
          </a:prstGeom>
        </p:spPr>
      </p:pic>
      <p:pic>
        <p:nvPicPr>
          <p:cNvPr id="10" name="Picture 9" descr="Bar_06_WHITE_FLAT.png"/>
          <p:cNvPicPr>
            <a:picLocks noChangeAspect="1"/>
          </p:cNvPicPr>
          <p:nvPr userDrawn="1"/>
        </p:nvPicPr>
        <p:blipFill>
          <a:blip r:embed="rId3" cstate="print"/>
          <a:stretch>
            <a:fillRect/>
          </a:stretch>
        </p:blipFill>
        <p:spPr bwMode="invGray">
          <a:xfrm>
            <a:off x="7474745" y="1997599"/>
            <a:ext cx="1216818" cy="155322"/>
          </a:xfrm>
          <a:prstGeom prst="rect">
            <a:avLst/>
          </a:prstGeom>
        </p:spPr>
      </p:pic>
      <p:sp>
        <p:nvSpPr>
          <p:cNvPr id="11274" name="Rectangle 10"/>
          <p:cNvSpPr>
            <a:spLocks noGrp="1" noChangeArrowheads="1"/>
          </p:cNvSpPr>
          <p:nvPr>
            <p:ph type="ctrTitle"/>
          </p:nvPr>
        </p:nvSpPr>
        <p:spPr>
          <a:xfrm>
            <a:off x="2037036" y="3485572"/>
            <a:ext cx="5322695" cy="492443"/>
          </a:xfrm>
        </p:spPr>
        <p:txBody>
          <a:bodyPr/>
          <a:lstStyle>
            <a:lvl1pPr>
              <a:defRPr sz="3200" b="0">
                <a:solidFill>
                  <a:schemeClr val="tx1"/>
                </a:solidFill>
                <a:latin typeface="+mj-lt"/>
              </a:defRPr>
            </a:lvl1pPr>
          </a:lstStyle>
          <a:p>
            <a:r>
              <a:rPr lang="en-US"/>
              <a:t>Click to edit Master title style</a:t>
            </a:r>
            <a:endParaRPr lang="en-US" dirty="0"/>
          </a:p>
        </p:txBody>
      </p:sp>
      <p:sp>
        <p:nvSpPr>
          <p:cNvPr id="11288" name="Rectangle 24"/>
          <p:cNvSpPr>
            <a:spLocks noGrp="1" noChangeArrowheads="1"/>
          </p:cNvSpPr>
          <p:nvPr>
            <p:ph type="subTitle" sz="quarter" idx="1" hasCustomPrompt="1"/>
          </p:nvPr>
        </p:nvSpPr>
        <p:spPr>
          <a:xfrm>
            <a:off x="2040367" y="3913630"/>
            <a:ext cx="5389562" cy="311624"/>
          </a:xfrm>
        </p:spPr>
        <p:txBody>
          <a:bodyPr/>
          <a:lstStyle>
            <a:lvl1pPr marL="0" indent="0">
              <a:buFont typeface="Wingdings" pitchFamily="2" charset="2"/>
              <a:buNone/>
              <a:defRPr sz="2000" b="0">
                <a:solidFill>
                  <a:schemeClr val="tx1"/>
                </a:solidFill>
                <a:latin typeface="+mj-lt"/>
              </a:defRPr>
            </a:lvl1pPr>
          </a:lstStyle>
          <a:p>
            <a:r>
              <a:rPr lang="en-US" dirty="0"/>
              <a:t>Click to edit master subtitle style</a:t>
            </a:r>
          </a:p>
        </p:txBody>
      </p:sp>
      <p:cxnSp>
        <p:nvCxnSpPr>
          <p:cNvPr id="12" name="Straight Connector 11"/>
          <p:cNvCxnSpPr/>
          <p:nvPr userDrawn="1"/>
        </p:nvCxnSpPr>
        <p:spPr bwMode="auto">
          <a:xfrm rot="16200000" flipH="1">
            <a:off x="530965" y="2073437"/>
            <a:ext cx="2668262" cy="0"/>
          </a:xfrm>
          <a:prstGeom prst="line">
            <a:avLst/>
          </a:prstGeom>
          <a:noFill/>
          <a:ln w="63500" cap="rnd" cmpd="sng" algn="ctr">
            <a:solidFill>
              <a:schemeClr val="tx1"/>
            </a:solidFill>
            <a:prstDash val="solid"/>
            <a:round/>
            <a:headEnd type="none" w="med" len="med"/>
            <a:tailEnd type="none" w="med" len="med"/>
          </a:ln>
          <a:effectLst/>
        </p:spPr>
      </p:cxnSp>
      <p:cxnSp>
        <p:nvCxnSpPr>
          <p:cNvPr id="15" name="Straight Connector 14"/>
          <p:cNvCxnSpPr/>
          <p:nvPr userDrawn="1"/>
        </p:nvCxnSpPr>
        <p:spPr bwMode="auto">
          <a:xfrm rot="16200000" flipH="1">
            <a:off x="5977171" y="2073437"/>
            <a:ext cx="2668262" cy="0"/>
          </a:xfrm>
          <a:prstGeom prst="line">
            <a:avLst/>
          </a:prstGeom>
          <a:noFill/>
          <a:ln w="63500" cap="rnd" cmpd="sng" algn="ctr">
            <a:solidFill>
              <a:schemeClr val="tx1"/>
            </a:solidFill>
            <a:prstDash val="solid"/>
            <a:round/>
            <a:headEnd type="none" w="med" len="med"/>
            <a:tailEnd type="none" w="med" len="med"/>
          </a:ln>
          <a:effectLst/>
        </p:spPr>
      </p:cxnSp>
      <p:sp>
        <p:nvSpPr>
          <p:cNvPr id="9" name="Text Box 9"/>
          <p:cNvSpPr txBox="1">
            <a:spLocks noChangeArrowheads="1"/>
          </p:cNvSpPr>
          <p:nvPr userDrawn="1"/>
        </p:nvSpPr>
        <p:spPr bwMode="auto">
          <a:xfrm>
            <a:off x="7471848" y="329150"/>
            <a:ext cx="1267342" cy="155812"/>
          </a:xfrm>
          <a:prstGeom prst="rect">
            <a:avLst/>
          </a:prstGeom>
          <a:noFill/>
          <a:ln w="9525">
            <a:noFill/>
            <a:miter lim="800000"/>
            <a:headEnd/>
            <a:tailEnd/>
          </a:ln>
        </p:spPr>
        <p:txBody>
          <a:bodyPr wrap="square" lIns="0" tIns="0" rIns="0" bIns="0">
            <a:spAutoFit/>
          </a:bodyPr>
          <a:lstStyle/>
          <a:p>
            <a:pPr defTabSz="912644">
              <a:spcBef>
                <a:spcPts val="0"/>
              </a:spcBef>
            </a:pPr>
            <a:r>
              <a:rPr lang="en-US" sz="1000" dirty="0">
                <a:solidFill>
                  <a:srgbClr val="FFFFFF"/>
                </a:solidFill>
                <a:latin typeface="Expert Sans Regular"/>
                <a:cs typeface="+mn-cs"/>
              </a:rPr>
              <a:t>Signposting</a:t>
            </a:r>
          </a:p>
        </p:txBody>
      </p:sp>
    </p:spTree>
    <p:extLst>
      <p:ext uri="{BB962C8B-B14F-4D97-AF65-F5344CB8AC3E}">
        <p14:creationId xmlns:p14="http://schemas.microsoft.com/office/powerpoint/2010/main" val="29725022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heme" Target="../theme/theme11.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image" Target="../media/image16.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heme" Target="../theme/theme12.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image" Target="../media/image17.png"/><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image" Target="../media/image22.png"/><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theme" Target="../theme/theme1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2.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heme" Target="../theme/theme14.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6" Type="http://schemas.openxmlformats.org/officeDocument/2006/relationships/image" Target="../media/image24.emf"/><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theme" Target="../theme/theme15.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image" Target="../media/image16.png"/><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theme" Target="../theme/theme1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image" Target="../media/image17.png"/><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image" Target="../media/image25.wmf"/><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theme" Target="../theme/theme17.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169.xml"/><Relationship Id="rId21" Type="http://schemas.openxmlformats.org/officeDocument/2006/relationships/tags" Target="../tags/tag9.xml"/><Relationship Id="rId7" Type="http://schemas.openxmlformats.org/officeDocument/2006/relationships/slideLayout" Target="../slideLayouts/slideLayout173.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168.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theme" Target="../theme/theme18.xml"/><Relationship Id="rId24" Type="http://schemas.openxmlformats.org/officeDocument/2006/relationships/image" Target="../media/image28.png"/><Relationship Id="rId5" Type="http://schemas.openxmlformats.org/officeDocument/2006/relationships/slideLayout" Target="../slideLayouts/slideLayout171.xml"/><Relationship Id="rId15" Type="http://schemas.openxmlformats.org/officeDocument/2006/relationships/tags" Target="../tags/tag3.xml"/><Relationship Id="rId23" Type="http://schemas.openxmlformats.org/officeDocument/2006/relationships/image" Target="../media/image27.emf"/><Relationship Id="rId10" Type="http://schemas.openxmlformats.org/officeDocument/2006/relationships/slideLayout" Target="../slideLayouts/slideLayout176.xml"/><Relationship Id="rId19" Type="http://schemas.openxmlformats.org/officeDocument/2006/relationships/tags" Target="../tags/tag7.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image" Target="../media/image27.emf"/><Relationship Id="rId26" Type="http://schemas.openxmlformats.org/officeDocument/2006/relationships/image" Target="../media/image37.png"/><Relationship Id="rId3" Type="http://schemas.openxmlformats.org/officeDocument/2006/relationships/slideLayout" Target="../slideLayouts/slideLayout179.xml"/><Relationship Id="rId21" Type="http://schemas.openxmlformats.org/officeDocument/2006/relationships/hyperlink" Target="http://www.facebook.com/Capgemini" TargetMode="Externa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oleObject" Target="../embeddings/oleObject11.bin"/><Relationship Id="rId25" Type="http://schemas.openxmlformats.org/officeDocument/2006/relationships/hyperlink" Target="http://www.twitter.com/capgemini" TargetMode="External"/><Relationship Id="rId2" Type="http://schemas.openxmlformats.org/officeDocument/2006/relationships/slideLayout" Target="../slideLayouts/slideLayout178.xml"/><Relationship Id="rId16" Type="http://schemas.openxmlformats.org/officeDocument/2006/relationships/tags" Target="../tags/tag58.xml"/><Relationship Id="rId20" Type="http://schemas.openxmlformats.org/officeDocument/2006/relationships/image" Target="../media/image30.emf"/><Relationship Id="rId29" Type="http://schemas.openxmlformats.org/officeDocument/2006/relationships/hyperlink" Target="http://www.slideshare.net/capgemini" TargetMode="External"/><Relationship Id="rId1" Type="http://schemas.openxmlformats.org/officeDocument/2006/relationships/slideLayout" Target="../slideLayouts/slideLayout177.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image" Target="../media/image36.png"/><Relationship Id="rId5" Type="http://schemas.openxmlformats.org/officeDocument/2006/relationships/vmlDrawing" Target="../drawings/vmlDrawing11.vml"/><Relationship Id="rId15" Type="http://schemas.openxmlformats.org/officeDocument/2006/relationships/tags" Target="../tags/tag57.xml"/><Relationship Id="rId23" Type="http://schemas.openxmlformats.org/officeDocument/2006/relationships/hyperlink" Target="http://www.linkedin.com/company/capgemini" TargetMode="External"/><Relationship Id="rId28" Type="http://schemas.openxmlformats.org/officeDocument/2006/relationships/image" Target="../media/image38.png"/><Relationship Id="rId10" Type="http://schemas.openxmlformats.org/officeDocument/2006/relationships/tags" Target="../tags/tag52.xml"/><Relationship Id="rId19" Type="http://schemas.openxmlformats.org/officeDocument/2006/relationships/image" Target="../media/image34.tiff"/><Relationship Id="rId4" Type="http://schemas.openxmlformats.org/officeDocument/2006/relationships/theme" Target="../theme/theme19.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image" Target="../media/image35.png"/><Relationship Id="rId27" Type="http://schemas.openxmlformats.org/officeDocument/2006/relationships/hyperlink" Target="http://www.youtube.com/capgemini" TargetMode="External"/><Relationship Id="rId30" Type="http://schemas.openxmlformats.org/officeDocument/2006/relationships/image" Target="../media/image39.gi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87.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theme" Target="../theme/theme20.xml"/><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98.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theme" Target="../theme/theme21.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0" Type="http://schemas.openxmlformats.org/officeDocument/2006/relationships/slideLayout" Target="../slideLayouts/slideLayout200.xml"/><Relationship Id="rId4" Type="http://schemas.openxmlformats.org/officeDocument/2006/relationships/slideLayout" Target="../slideLayouts/slideLayout194.xml"/><Relationship Id="rId9" Type="http://schemas.openxmlformats.org/officeDocument/2006/relationships/slideLayout" Target="../slideLayouts/slideLayout19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image" Target="../media/image41.png"/><Relationship Id="rId3" Type="http://schemas.openxmlformats.org/officeDocument/2006/relationships/slideLayout" Target="../slideLayouts/slideLayout204.xml"/><Relationship Id="rId7" Type="http://schemas.openxmlformats.org/officeDocument/2006/relationships/slideLayout" Target="../slideLayouts/slideLayout208.xml"/><Relationship Id="rId12" Type="http://schemas.openxmlformats.org/officeDocument/2006/relationships/theme" Target="../theme/theme22.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0" Type="http://schemas.openxmlformats.org/officeDocument/2006/relationships/slideLayout" Target="../slideLayouts/slideLayout211.xml"/><Relationship Id="rId4" Type="http://schemas.openxmlformats.org/officeDocument/2006/relationships/slideLayout" Target="../slideLayouts/slideLayout205.xml"/><Relationship Id="rId9" Type="http://schemas.openxmlformats.org/officeDocument/2006/relationships/slideLayout" Target="../slideLayouts/slideLayout21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5" Type="http://schemas.openxmlformats.org/officeDocument/2006/relationships/image" Target="../media/image41.png"/><Relationship Id="rId10" Type="http://schemas.openxmlformats.org/officeDocument/2006/relationships/slideLayout" Target="../slideLayouts/slideLayout222.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228.xml"/><Relationship Id="rId7" Type="http://schemas.openxmlformats.org/officeDocument/2006/relationships/theme" Target="../theme/theme24.xml"/><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5" Type="http://schemas.openxmlformats.org/officeDocument/2006/relationships/slideLayout" Target="../slideLayouts/slideLayout230.xml"/><Relationship Id="rId4" Type="http://schemas.openxmlformats.org/officeDocument/2006/relationships/slideLayout" Target="../slideLayouts/slideLayout22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tags" Target="../tags/tag67.xml"/><Relationship Id="rId18" Type="http://schemas.openxmlformats.org/officeDocument/2006/relationships/tags" Target="../tags/tag72.xml"/><Relationship Id="rId3" Type="http://schemas.openxmlformats.org/officeDocument/2006/relationships/slideLayout" Target="../slideLayouts/slideLayout234.xml"/><Relationship Id="rId21" Type="http://schemas.openxmlformats.org/officeDocument/2006/relationships/tags" Target="../tags/tag75.xml"/><Relationship Id="rId7" Type="http://schemas.openxmlformats.org/officeDocument/2006/relationships/slideLayout" Target="../slideLayouts/slideLayout238.xml"/><Relationship Id="rId12" Type="http://schemas.openxmlformats.org/officeDocument/2006/relationships/vmlDrawing" Target="../drawings/vmlDrawing15.vml"/><Relationship Id="rId17" Type="http://schemas.openxmlformats.org/officeDocument/2006/relationships/tags" Target="../tags/tag71.xml"/><Relationship Id="rId2" Type="http://schemas.openxmlformats.org/officeDocument/2006/relationships/slideLayout" Target="../slideLayouts/slideLayout233.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theme" Target="../theme/theme25.xml"/><Relationship Id="rId24" Type="http://schemas.openxmlformats.org/officeDocument/2006/relationships/image" Target="../media/image28.png"/><Relationship Id="rId5" Type="http://schemas.openxmlformats.org/officeDocument/2006/relationships/slideLayout" Target="../slideLayouts/slideLayout236.xml"/><Relationship Id="rId15" Type="http://schemas.openxmlformats.org/officeDocument/2006/relationships/tags" Target="../tags/tag69.xml"/><Relationship Id="rId23" Type="http://schemas.openxmlformats.org/officeDocument/2006/relationships/image" Target="../media/image27.emf"/><Relationship Id="rId10" Type="http://schemas.openxmlformats.org/officeDocument/2006/relationships/slideLayout" Target="../slideLayouts/slideLayout241.xml"/><Relationship Id="rId19" Type="http://schemas.openxmlformats.org/officeDocument/2006/relationships/tags" Target="../tags/tag73.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tags" Target="../tags/tag68.xml"/><Relationship Id="rId22" Type="http://schemas.openxmlformats.org/officeDocument/2006/relationships/oleObject" Target="../embeddings/oleObject15.bin"/></Relationships>
</file>

<file path=ppt/slideMasters/_rels/slideMaster26.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image" Target="../media/image27.emf"/><Relationship Id="rId26" Type="http://schemas.openxmlformats.org/officeDocument/2006/relationships/image" Target="../media/image37.png"/><Relationship Id="rId3" Type="http://schemas.openxmlformats.org/officeDocument/2006/relationships/slideLayout" Target="../slideLayouts/slideLayout244.xml"/><Relationship Id="rId21" Type="http://schemas.openxmlformats.org/officeDocument/2006/relationships/hyperlink" Target="http://www.facebook.com/Capgemini" TargetMode="Externa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oleObject" Target="../embeddings/oleObject25.bin"/><Relationship Id="rId25" Type="http://schemas.openxmlformats.org/officeDocument/2006/relationships/hyperlink" Target="http://www.twitter.com/capgemini" TargetMode="External"/><Relationship Id="rId2" Type="http://schemas.openxmlformats.org/officeDocument/2006/relationships/slideLayout" Target="../slideLayouts/slideLayout243.xml"/><Relationship Id="rId16" Type="http://schemas.openxmlformats.org/officeDocument/2006/relationships/tags" Target="../tags/tag124.xml"/><Relationship Id="rId20" Type="http://schemas.openxmlformats.org/officeDocument/2006/relationships/image" Target="../media/image30.emf"/><Relationship Id="rId29" Type="http://schemas.openxmlformats.org/officeDocument/2006/relationships/hyperlink" Target="http://www.slideshare.net/capgemini" TargetMode="External"/><Relationship Id="rId1" Type="http://schemas.openxmlformats.org/officeDocument/2006/relationships/slideLayout" Target="../slideLayouts/slideLayout242.x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image" Target="../media/image36.png"/><Relationship Id="rId5" Type="http://schemas.openxmlformats.org/officeDocument/2006/relationships/vmlDrawing" Target="../drawings/vmlDrawing25.vml"/><Relationship Id="rId15" Type="http://schemas.openxmlformats.org/officeDocument/2006/relationships/tags" Target="../tags/tag123.xml"/><Relationship Id="rId23" Type="http://schemas.openxmlformats.org/officeDocument/2006/relationships/hyperlink" Target="http://www.linkedin.com/company/capgemini" TargetMode="External"/><Relationship Id="rId28" Type="http://schemas.openxmlformats.org/officeDocument/2006/relationships/image" Target="../media/image38.png"/><Relationship Id="rId10" Type="http://schemas.openxmlformats.org/officeDocument/2006/relationships/tags" Target="../tags/tag118.xml"/><Relationship Id="rId19" Type="http://schemas.openxmlformats.org/officeDocument/2006/relationships/image" Target="../media/image34.tiff"/><Relationship Id="rId4" Type="http://schemas.openxmlformats.org/officeDocument/2006/relationships/theme" Target="../theme/theme26.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image" Target="../media/image35.png"/><Relationship Id="rId27" Type="http://schemas.openxmlformats.org/officeDocument/2006/relationships/hyperlink" Target="http://www.youtube.com/capgemini" TargetMode="External"/><Relationship Id="rId30" Type="http://schemas.openxmlformats.org/officeDocument/2006/relationships/image" Target="../media/image39.gif"/></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image" Target="../media/image45.png"/><Relationship Id="rId3" Type="http://schemas.openxmlformats.org/officeDocument/2006/relationships/slideLayout" Target="../slideLayouts/slideLayout247.xml"/><Relationship Id="rId7" Type="http://schemas.openxmlformats.org/officeDocument/2006/relationships/slideLayout" Target="../slideLayouts/slideLayout251.xml"/><Relationship Id="rId12" Type="http://schemas.openxmlformats.org/officeDocument/2006/relationships/theme" Target="../theme/theme27.xml"/><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5" Type="http://schemas.openxmlformats.org/officeDocument/2006/relationships/slideLayout" Target="../slideLayouts/slideLayout249.xml"/><Relationship Id="rId10" Type="http://schemas.openxmlformats.org/officeDocument/2006/relationships/slideLayout" Target="../slideLayouts/slideLayout254.xml"/><Relationship Id="rId4" Type="http://schemas.openxmlformats.org/officeDocument/2006/relationships/slideLayout" Target="../slideLayouts/slideLayout248.xml"/><Relationship Id="rId9" Type="http://schemas.openxmlformats.org/officeDocument/2006/relationships/slideLayout" Target="../slideLayouts/slideLayout253.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image" Target="../media/image45.png"/><Relationship Id="rId3" Type="http://schemas.openxmlformats.org/officeDocument/2006/relationships/slideLayout" Target="../slideLayouts/slideLayout258.xml"/><Relationship Id="rId7" Type="http://schemas.openxmlformats.org/officeDocument/2006/relationships/slideLayout" Target="../slideLayouts/slideLayout262.xml"/><Relationship Id="rId12" Type="http://schemas.openxmlformats.org/officeDocument/2006/relationships/theme" Target="../theme/theme28.xml"/><Relationship Id="rId2" Type="http://schemas.openxmlformats.org/officeDocument/2006/relationships/slideLayout" Target="../slideLayouts/slideLayout257.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5" Type="http://schemas.openxmlformats.org/officeDocument/2006/relationships/slideLayout" Target="../slideLayouts/slideLayout260.xml"/><Relationship Id="rId10" Type="http://schemas.openxmlformats.org/officeDocument/2006/relationships/slideLayout" Target="../slideLayouts/slideLayout265.xml"/><Relationship Id="rId4" Type="http://schemas.openxmlformats.org/officeDocument/2006/relationships/slideLayout" Target="../slideLayouts/slideLayout259.xml"/><Relationship Id="rId9" Type="http://schemas.openxmlformats.org/officeDocument/2006/relationships/slideLayout" Target="../slideLayouts/slideLayout264.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image" Target="../media/image45.png"/><Relationship Id="rId3" Type="http://schemas.openxmlformats.org/officeDocument/2006/relationships/slideLayout" Target="../slideLayouts/slideLayout269.xml"/><Relationship Id="rId7" Type="http://schemas.openxmlformats.org/officeDocument/2006/relationships/slideLayout" Target="../slideLayouts/slideLayout273.xml"/><Relationship Id="rId12" Type="http://schemas.openxmlformats.org/officeDocument/2006/relationships/theme" Target="../theme/theme29.xml"/><Relationship Id="rId2" Type="http://schemas.openxmlformats.org/officeDocument/2006/relationships/slideLayout" Target="../slideLayouts/slideLayout268.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0" Type="http://schemas.openxmlformats.org/officeDocument/2006/relationships/slideLayout" Target="../slideLayouts/slideLayout276.xml"/><Relationship Id="rId4" Type="http://schemas.openxmlformats.org/officeDocument/2006/relationships/slideLayout" Target="../slideLayouts/slideLayout270.xml"/><Relationship Id="rId9" Type="http://schemas.openxmlformats.org/officeDocument/2006/relationships/slideLayout" Target="../slideLayouts/slideLayout27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w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image" Target="../media/image45.png"/><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theme" Target="../theme/theme30.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0" Type="http://schemas.openxmlformats.org/officeDocument/2006/relationships/slideLayout" Target="../slideLayouts/slideLayout287.xml"/><Relationship Id="rId4" Type="http://schemas.openxmlformats.org/officeDocument/2006/relationships/slideLayout" Target="../slideLayouts/slideLayout281.xml"/><Relationship Id="rId9" Type="http://schemas.openxmlformats.org/officeDocument/2006/relationships/slideLayout" Target="../slideLayouts/slideLayout28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image" Target="../media/image45.pn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theme" Target="../theme/theme31.xml"/><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5" Type="http://schemas.openxmlformats.org/officeDocument/2006/relationships/slideLayout" Target="../slideLayouts/slideLayout293.xml"/><Relationship Id="rId10" Type="http://schemas.openxmlformats.org/officeDocument/2006/relationships/slideLayout" Target="../slideLayouts/slideLayout298.xml"/><Relationship Id="rId4" Type="http://schemas.openxmlformats.org/officeDocument/2006/relationships/slideLayout" Target="../slideLayouts/slideLayout292.xml"/><Relationship Id="rId9" Type="http://schemas.openxmlformats.org/officeDocument/2006/relationships/slideLayout" Target="../slideLayouts/slideLayout297.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image" Target="../media/image45.png"/><Relationship Id="rId3" Type="http://schemas.openxmlformats.org/officeDocument/2006/relationships/slideLayout" Target="../slideLayouts/slideLayout302.xml"/><Relationship Id="rId7" Type="http://schemas.openxmlformats.org/officeDocument/2006/relationships/slideLayout" Target="../slideLayouts/slideLayout306.xml"/><Relationship Id="rId12" Type="http://schemas.openxmlformats.org/officeDocument/2006/relationships/theme" Target="../theme/theme32.xml"/><Relationship Id="rId2" Type="http://schemas.openxmlformats.org/officeDocument/2006/relationships/slideLayout" Target="../slideLayouts/slideLayout301.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5" Type="http://schemas.openxmlformats.org/officeDocument/2006/relationships/slideLayout" Target="../slideLayouts/slideLayout304.xml"/><Relationship Id="rId10" Type="http://schemas.openxmlformats.org/officeDocument/2006/relationships/slideLayout" Target="../slideLayouts/slideLayout309.xml"/><Relationship Id="rId4" Type="http://schemas.openxmlformats.org/officeDocument/2006/relationships/slideLayout" Target="../slideLayouts/slideLayout303.xml"/><Relationship Id="rId9" Type="http://schemas.openxmlformats.org/officeDocument/2006/relationships/slideLayout" Target="../slideLayouts/slideLayout308.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image" Target="../media/image45.png"/><Relationship Id="rId3" Type="http://schemas.openxmlformats.org/officeDocument/2006/relationships/slideLayout" Target="../slideLayouts/slideLayout313.xml"/><Relationship Id="rId7" Type="http://schemas.openxmlformats.org/officeDocument/2006/relationships/slideLayout" Target="../slideLayouts/slideLayout317.xml"/><Relationship Id="rId12" Type="http://schemas.openxmlformats.org/officeDocument/2006/relationships/theme" Target="../theme/theme33.xml"/><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5" Type="http://schemas.openxmlformats.org/officeDocument/2006/relationships/slideLayout" Target="../slideLayouts/slideLayout315.xml"/><Relationship Id="rId10" Type="http://schemas.openxmlformats.org/officeDocument/2006/relationships/slideLayout" Target="../slideLayouts/slideLayout320.xml"/><Relationship Id="rId4" Type="http://schemas.openxmlformats.org/officeDocument/2006/relationships/slideLayout" Target="../slideLayouts/slideLayout314.xml"/><Relationship Id="rId9" Type="http://schemas.openxmlformats.org/officeDocument/2006/relationships/slideLayout" Target="../slideLayouts/slideLayout319.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image" Target="../media/image45.png"/><Relationship Id="rId3" Type="http://schemas.openxmlformats.org/officeDocument/2006/relationships/slideLayout" Target="../slideLayouts/slideLayout324.xml"/><Relationship Id="rId7" Type="http://schemas.openxmlformats.org/officeDocument/2006/relationships/slideLayout" Target="../slideLayouts/slideLayout328.xml"/><Relationship Id="rId12" Type="http://schemas.openxmlformats.org/officeDocument/2006/relationships/theme" Target="../theme/theme34.xml"/><Relationship Id="rId2" Type="http://schemas.openxmlformats.org/officeDocument/2006/relationships/slideLayout" Target="../slideLayouts/slideLayout323.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0" Type="http://schemas.openxmlformats.org/officeDocument/2006/relationships/slideLayout" Target="../slideLayouts/slideLayout331.xml"/><Relationship Id="rId4" Type="http://schemas.openxmlformats.org/officeDocument/2006/relationships/slideLayout" Target="../slideLayouts/slideLayout325.xml"/><Relationship Id="rId9" Type="http://schemas.openxmlformats.org/officeDocument/2006/relationships/slideLayout" Target="../slideLayouts/slideLayout330.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image" Target="../media/image45.png"/><Relationship Id="rId3" Type="http://schemas.openxmlformats.org/officeDocument/2006/relationships/slideLayout" Target="../slideLayouts/slideLayout335.xml"/><Relationship Id="rId7" Type="http://schemas.openxmlformats.org/officeDocument/2006/relationships/slideLayout" Target="../slideLayouts/slideLayout339.xml"/><Relationship Id="rId12" Type="http://schemas.openxmlformats.org/officeDocument/2006/relationships/theme" Target="../theme/theme35.xml"/><Relationship Id="rId2" Type="http://schemas.openxmlformats.org/officeDocument/2006/relationships/slideLayout" Target="../slideLayouts/slideLayout334.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5" Type="http://schemas.openxmlformats.org/officeDocument/2006/relationships/slideLayout" Target="../slideLayouts/slideLayout337.xml"/><Relationship Id="rId10" Type="http://schemas.openxmlformats.org/officeDocument/2006/relationships/slideLayout" Target="../slideLayouts/slideLayout342.xml"/><Relationship Id="rId4" Type="http://schemas.openxmlformats.org/officeDocument/2006/relationships/slideLayout" Target="../slideLayouts/slideLayout336.xml"/><Relationship Id="rId9" Type="http://schemas.openxmlformats.org/officeDocument/2006/relationships/slideLayout" Target="../slideLayouts/slideLayout341.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image" Target="../media/image45.png"/><Relationship Id="rId3" Type="http://schemas.openxmlformats.org/officeDocument/2006/relationships/slideLayout" Target="../slideLayouts/slideLayout346.xml"/><Relationship Id="rId7" Type="http://schemas.openxmlformats.org/officeDocument/2006/relationships/slideLayout" Target="../slideLayouts/slideLayout350.xml"/><Relationship Id="rId12" Type="http://schemas.openxmlformats.org/officeDocument/2006/relationships/theme" Target="../theme/theme36.xml"/><Relationship Id="rId2" Type="http://schemas.openxmlformats.org/officeDocument/2006/relationships/slideLayout" Target="../slideLayouts/slideLayout345.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5" Type="http://schemas.openxmlformats.org/officeDocument/2006/relationships/slideLayout" Target="../slideLayouts/slideLayout348.xml"/><Relationship Id="rId10" Type="http://schemas.openxmlformats.org/officeDocument/2006/relationships/slideLayout" Target="../slideLayouts/slideLayout353.xml"/><Relationship Id="rId4" Type="http://schemas.openxmlformats.org/officeDocument/2006/relationships/slideLayout" Target="../slideLayouts/slideLayout347.xml"/><Relationship Id="rId9" Type="http://schemas.openxmlformats.org/officeDocument/2006/relationships/slideLayout" Target="../slideLayouts/slideLayout352.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62.xml"/><Relationship Id="rId13" Type="http://schemas.openxmlformats.org/officeDocument/2006/relationships/image" Target="../media/image45.png"/><Relationship Id="rId3" Type="http://schemas.openxmlformats.org/officeDocument/2006/relationships/slideLayout" Target="../slideLayouts/slideLayout357.xml"/><Relationship Id="rId7" Type="http://schemas.openxmlformats.org/officeDocument/2006/relationships/slideLayout" Target="../slideLayouts/slideLayout361.xml"/><Relationship Id="rId12" Type="http://schemas.openxmlformats.org/officeDocument/2006/relationships/theme" Target="../theme/theme37.xml"/><Relationship Id="rId2" Type="http://schemas.openxmlformats.org/officeDocument/2006/relationships/slideLayout" Target="../slideLayouts/slideLayout356.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5" Type="http://schemas.openxmlformats.org/officeDocument/2006/relationships/slideLayout" Target="../slideLayouts/slideLayout359.xml"/><Relationship Id="rId10" Type="http://schemas.openxmlformats.org/officeDocument/2006/relationships/slideLayout" Target="../slideLayouts/slideLayout364.xml"/><Relationship Id="rId4" Type="http://schemas.openxmlformats.org/officeDocument/2006/relationships/slideLayout" Target="../slideLayouts/slideLayout358.xml"/><Relationship Id="rId9" Type="http://schemas.openxmlformats.org/officeDocument/2006/relationships/slideLayout" Target="../slideLayouts/slideLayout363.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image" Target="../media/image45.png"/><Relationship Id="rId3" Type="http://schemas.openxmlformats.org/officeDocument/2006/relationships/slideLayout" Target="../slideLayouts/slideLayout368.xml"/><Relationship Id="rId7" Type="http://schemas.openxmlformats.org/officeDocument/2006/relationships/slideLayout" Target="../slideLayouts/slideLayout372.xml"/><Relationship Id="rId12" Type="http://schemas.openxmlformats.org/officeDocument/2006/relationships/theme" Target="../theme/theme38.xml"/><Relationship Id="rId2" Type="http://schemas.openxmlformats.org/officeDocument/2006/relationships/slideLayout" Target="../slideLayouts/slideLayout367.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5" Type="http://schemas.openxmlformats.org/officeDocument/2006/relationships/slideLayout" Target="../slideLayouts/slideLayout370.xml"/><Relationship Id="rId10" Type="http://schemas.openxmlformats.org/officeDocument/2006/relationships/slideLayout" Target="../slideLayouts/slideLayout375.xml"/><Relationship Id="rId4" Type="http://schemas.openxmlformats.org/officeDocument/2006/relationships/slideLayout" Target="../slideLayouts/slideLayout369.xml"/><Relationship Id="rId9" Type="http://schemas.openxmlformats.org/officeDocument/2006/relationships/slideLayout" Target="../slideLayouts/slideLayout374.xml"/></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3" Type="http://schemas.openxmlformats.org/officeDocument/2006/relationships/slideLayout" Target="../slideLayouts/slideLayout379.xml"/><Relationship Id="rId7" Type="http://schemas.openxmlformats.org/officeDocument/2006/relationships/slideLayout" Target="../slideLayouts/slideLayout383.xml"/><Relationship Id="rId2" Type="http://schemas.openxmlformats.org/officeDocument/2006/relationships/slideLayout" Target="../slideLayouts/slideLayout378.xml"/><Relationship Id="rId1" Type="http://schemas.openxmlformats.org/officeDocument/2006/relationships/slideLayout" Target="../slideLayouts/slideLayout377.xml"/><Relationship Id="rId6" Type="http://schemas.openxmlformats.org/officeDocument/2006/relationships/slideLayout" Target="../slideLayouts/slideLayout382.xml"/><Relationship Id="rId5" Type="http://schemas.openxmlformats.org/officeDocument/2006/relationships/slideLayout" Target="../slideLayouts/slideLayout381.xml"/><Relationship Id="rId4" Type="http://schemas.openxmlformats.org/officeDocument/2006/relationships/slideLayout" Target="../slideLayouts/slideLayout38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1.pn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91.xml"/><Relationship Id="rId3" Type="http://schemas.openxmlformats.org/officeDocument/2006/relationships/slideLayout" Target="../slideLayouts/slideLayout386.xml"/><Relationship Id="rId7" Type="http://schemas.openxmlformats.org/officeDocument/2006/relationships/slideLayout" Target="../slideLayouts/slideLayout390.xml"/><Relationship Id="rId2" Type="http://schemas.openxmlformats.org/officeDocument/2006/relationships/slideLayout" Target="../slideLayouts/slideLayout385.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1" Type="http://schemas.openxmlformats.org/officeDocument/2006/relationships/image" Target="../media/image47.png"/><Relationship Id="rId5" Type="http://schemas.openxmlformats.org/officeDocument/2006/relationships/slideLayout" Target="../slideLayouts/slideLayout388.xml"/><Relationship Id="rId10" Type="http://schemas.openxmlformats.org/officeDocument/2006/relationships/theme" Target="../theme/theme40.xml"/><Relationship Id="rId4" Type="http://schemas.openxmlformats.org/officeDocument/2006/relationships/slideLayout" Target="../slideLayouts/slideLayout387.xml"/><Relationship Id="rId9" Type="http://schemas.openxmlformats.org/officeDocument/2006/relationships/slideLayout" Target="../slideLayouts/slideLayout392.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image" Target="../media/image51.png"/><Relationship Id="rId3" Type="http://schemas.openxmlformats.org/officeDocument/2006/relationships/slideLayout" Target="../slideLayouts/slideLayout395.xml"/><Relationship Id="rId7" Type="http://schemas.openxmlformats.org/officeDocument/2006/relationships/slideLayout" Target="../slideLayouts/slideLayout399.xml"/><Relationship Id="rId12" Type="http://schemas.openxmlformats.org/officeDocument/2006/relationships/theme" Target="../theme/theme41.xml"/><Relationship Id="rId2" Type="http://schemas.openxmlformats.org/officeDocument/2006/relationships/slideLayout" Target="../slideLayouts/slideLayout394.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5" Type="http://schemas.openxmlformats.org/officeDocument/2006/relationships/slideLayout" Target="../slideLayouts/slideLayout397.xml"/><Relationship Id="rId10" Type="http://schemas.openxmlformats.org/officeDocument/2006/relationships/slideLayout" Target="../slideLayouts/slideLayout402.xml"/><Relationship Id="rId4" Type="http://schemas.openxmlformats.org/officeDocument/2006/relationships/slideLayout" Target="../slideLayouts/slideLayout396.xml"/><Relationship Id="rId9" Type="http://schemas.openxmlformats.org/officeDocument/2006/relationships/slideLayout" Target="../slideLayouts/slideLayout401.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slideLayout" Target="../slideLayouts/slideLayout416.xml"/><Relationship Id="rId18" Type="http://schemas.openxmlformats.org/officeDocument/2006/relationships/theme" Target="../theme/theme42.xml"/><Relationship Id="rId3" Type="http://schemas.openxmlformats.org/officeDocument/2006/relationships/slideLayout" Target="../slideLayouts/slideLayout406.xml"/><Relationship Id="rId7" Type="http://schemas.openxmlformats.org/officeDocument/2006/relationships/slideLayout" Target="../slideLayouts/slideLayout410.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 Type="http://schemas.openxmlformats.org/officeDocument/2006/relationships/slideLayout" Target="../slideLayouts/slideLayout405.xml"/><Relationship Id="rId16" Type="http://schemas.openxmlformats.org/officeDocument/2006/relationships/slideLayout" Target="../slideLayouts/slideLayout419.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5" Type="http://schemas.openxmlformats.org/officeDocument/2006/relationships/slideLayout" Target="../slideLayouts/slideLayout408.xml"/><Relationship Id="rId15" Type="http://schemas.openxmlformats.org/officeDocument/2006/relationships/slideLayout" Target="../slideLayouts/slideLayout418.xml"/><Relationship Id="rId10" Type="http://schemas.openxmlformats.org/officeDocument/2006/relationships/slideLayout" Target="../slideLayouts/slideLayout413.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s>
</file>

<file path=ppt/slideMasters/_rels/slideMaster4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slideLayout" Target="../slideLayouts/slideLayout433.xml"/><Relationship Id="rId3" Type="http://schemas.openxmlformats.org/officeDocument/2006/relationships/slideLayout" Target="../slideLayouts/slideLayout423.xml"/><Relationship Id="rId7" Type="http://schemas.openxmlformats.org/officeDocument/2006/relationships/slideLayout" Target="../slideLayouts/slideLayout427.xml"/><Relationship Id="rId12" Type="http://schemas.openxmlformats.org/officeDocument/2006/relationships/slideLayout" Target="../slideLayouts/slideLayout432.xml"/><Relationship Id="rId17" Type="http://schemas.openxmlformats.org/officeDocument/2006/relationships/theme" Target="../theme/theme44.xml"/><Relationship Id="rId2" Type="http://schemas.openxmlformats.org/officeDocument/2006/relationships/slideLayout" Target="../slideLayouts/slideLayout422.xml"/><Relationship Id="rId16" Type="http://schemas.openxmlformats.org/officeDocument/2006/relationships/slideLayout" Target="../slideLayouts/slideLayout436.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5" Type="http://schemas.openxmlformats.org/officeDocument/2006/relationships/slideLayout" Target="../slideLayouts/slideLayout425.xml"/><Relationship Id="rId15" Type="http://schemas.openxmlformats.org/officeDocument/2006/relationships/slideLayout" Target="../slideLayouts/slideLayout435.xml"/><Relationship Id="rId10" Type="http://schemas.openxmlformats.org/officeDocument/2006/relationships/slideLayout" Target="../slideLayouts/slideLayout430.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slideLayout" Target="../slideLayouts/slideLayout434.xml"/></Relationships>
</file>

<file path=ppt/slideMasters/_rels/slideMaster45.xml.rels><?xml version="1.0" encoding="UTF-8" standalone="yes"?>
<Relationships xmlns="http://schemas.openxmlformats.org/package/2006/relationships"><Relationship Id="rId2" Type="http://schemas.openxmlformats.org/officeDocument/2006/relationships/theme" Target="../theme/theme45.xml"/><Relationship Id="rId1" Type="http://schemas.openxmlformats.org/officeDocument/2006/relationships/slideLayout" Target="../slideLayouts/slideLayout437.xml"/></Relationships>
</file>

<file path=ppt/slideMasters/_rels/slideMaster46.xml.rels><?xml version="1.0" encoding="UTF-8" standalone="yes"?>
<Relationships xmlns="http://schemas.openxmlformats.org/package/2006/relationships"><Relationship Id="rId2" Type="http://schemas.openxmlformats.org/officeDocument/2006/relationships/theme" Target="../theme/theme46.xml"/><Relationship Id="rId1" Type="http://schemas.openxmlformats.org/officeDocument/2006/relationships/slideLayout" Target="../slideLayouts/slideLayout438.xml"/></Relationships>
</file>

<file path=ppt/slideMasters/_rels/slideMaster47.xml.rels><?xml version="1.0" encoding="UTF-8" standalone="yes"?>
<Relationships xmlns="http://schemas.openxmlformats.org/package/2006/relationships"><Relationship Id="rId2" Type="http://schemas.openxmlformats.org/officeDocument/2006/relationships/theme" Target="../theme/theme47.xml"/><Relationship Id="rId1" Type="http://schemas.openxmlformats.org/officeDocument/2006/relationships/slideLayout" Target="../slideLayouts/slideLayout439.xml"/></Relationships>
</file>

<file path=ppt/slideMasters/_rels/slideMaster48.xml.rels><?xml version="1.0" encoding="UTF-8" standalone="yes"?>
<Relationships xmlns="http://schemas.openxmlformats.org/package/2006/relationships"><Relationship Id="rId3" Type="http://schemas.openxmlformats.org/officeDocument/2006/relationships/theme" Target="../theme/theme48.xml"/><Relationship Id="rId2" Type="http://schemas.openxmlformats.org/officeDocument/2006/relationships/slideLayout" Target="../slideLayouts/slideLayout441.xml"/><Relationship Id="rId1" Type="http://schemas.openxmlformats.org/officeDocument/2006/relationships/slideLayout" Target="../slideLayouts/slideLayout440.xml"/><Relationship Id="rId4" Type="http://schemas.openxmlformats.org/officeDocument/2006/relationships/image" Target="../media/image61.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9.xml"/><Relationship Id="rId13" Type="http://schemas.openxmlformats.org/officeDocument/2006/relationships/image" Target="../media/image65.png"/><Relationship Id="rId3" Type="http://schemas.openxmlformats.org/officeDocument/2006/relationships/slideLayout" Target="../slideLayouts/slideLayout444.xml"/><Relationship Id="rId7" Type="http://schemas.openxmlformats.org/officeDocument/2006/relationships/slideLayout" Target="../slideLayouts/slideLayout448.xml"/><Relationship Id="rId12" Type="http://schemas.openxmlformats.org/officeDocument/2006/relationships/image" Target="../media/image64.png"/><Relationship Id="rId2" Type="http://schemas.openxmlformats.org/officeDocument/2006/relationships/slideLayout" Target="../slideLayouts/slideLayout443.xml"/><Relationship Id="rId1" Type="http://schemas.openxmlformats.org/officeDocument/2006/relationships/slideLayout" Target="../slideLayouts/slideLayout442.xml"/><Relationship Id="rId6" Type="http://schemas.openxmlformats.org/officeDocument/2006/relationships/slideLayout" Target="../slideLayouts/slideLayout447.xml"/><Relationship Id="rId11" Type="http://schemas.openxmlformats.org/officeDocument/2006/relationships/theme" Target="../theme/theme49.xml"/><Relationship Id="rId5" Type="http://schemas.openxmlformats.org/officeDocument/2006/relationships/slideLayout" Target="../slideLayouts/slideLayout446.xml"/><Relationship Id="rId10" Type="http://schemas.openxmlformats.org/officeDocument/2006/relationships/slideLayout" Target="../slideLayouts/slideLayout451.xml"/><Relationship Id="rId4" Type="http://schemas.openxmlformats.org/officeDocument/2006/relationships/slideLayout" Target="../slideLayouts/slideLayout445.xml"/><Relationship Id="rId9" Type="http://schemas.openxmlformats.org/officeDocument/2006/relationships/slideLayout" Target="../slideLayouts/slideLayout450.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5.xml"/><Relationship Id="rId1" Type="http://schemas.openxmlformats.org/officeDocument/2006/relationships/slideLayout" Target="../slideLayouts/slideLayout47.xml"/></Relationships>
</file>

<file path=ppt/slideMasters/_rels/slideMaster50.xml.rels><?xml version="1.0" encoding="UTF-8" standalone="yes"?>
<Relationships xmlns="http://schemas.openxmlformats.org/package/2006/relationships"><Relationship Id="rId3" Type="http://schemas.openxmlformats.org/officeDocument/2006/relationships/theme" Target="../theme/theme50.xml"/><Relationship Id="rId2" Type="http://schemas.openxmlformats.org/officeDocument/2006/relationships/slideLayout" Target="../slideLayouts/slideLayout453.xml"/><Relationship Id="rId1" Type="http://schemas.openxmlformats.org/officeDocument/2006/relationships/slideLayout" Target="../slideLayouts/slideLayout452.xml"/><Relationship Id="rId4" Type="http://schemas.openxmlformats.org/officeDocument/2006/relationships/image" Target="../media/image70.jpg"/></Relationships>
</file>

<file path=ppt/slideMasters/_rels/slideMaster5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theme" Target="../theme/theme51.xml"/><Relationship Id="rId1" Type="http://schemas.openxmlformats.org/officeDocument/2006/relationships/slideLayout" Target="../slideLayouts/slideLayout454.xml"/></Relationships>
</file>

<file path=ppt/slideMasters/_rels/slideMaster52.xml.rels><?xml version="1.0" encoding="UTF-8" standalone="yes"?>
<Relationships xmlns="http://schemas.openxmlformats.org/package/2006/relationships"><Relationship Id="rId3" Type="http://schemas.openxmlformats.org/officeDocument/2006/relationships/theme" Target="../theme/theme52.xml"/><Relationship Id="rId2" Type="http://schemas.openxmlformats.org/officeDocument/2006/relationships/slideLayout" Target="../slideLayouts/slideLayout456.xml"/><Relationship Id="rId1" Type="http://schemas.openxmlformats.org/officeDocument/2006/relationships/slideLayout" Target="../slideLayouts/slideLayout455.xml"/></Relationships>
</file>

<file path=ppt/slideMasters/_rels/slideMaster53.xml.rels><?xml version="1.0" encoding="UTF-8" standalone="yes"?>
<Relationships xmlns="http://schemas.openxmlformats.org/package/2006/relationships"><Relationship Id="rId3" Type="http://schemas.openxmlformats.org/officeDocument/2006/relationships/slideLayout" Target="../slideLayouts/slideLayout459.xml"/><Relationship Id="rId7" Type="http://schemas.openxmlformats.org/officeDocument/2006/relationships/image" Target="../media/image12.png"/><Relationship Id="rId2" Type="http://schemas.openxmlformats.org/officeDocument/2006/relationships/slideLayout" Target="../slideLayouts/slideLayout458.xml"/><Relationship Id="rId1" Type="http://schemas.openxmlformats.org/officeDocument/2006/relationships/slideLayout" Target="../slideLayouts/slideLayout457.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theme" Target="../theme/theme53.xml"/></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67.xml"/><Relationship Id="rId3" Type="http://schemas.openxmlformats.org/officeDocument/2006/relationships/slideLayout" Target="../slideLayouts/slideLayout462.xml"/><Relationship Id="rId7" Type="http://schemas.openxmlformats.org/officeDocument/2006/relationships/slideLayout" Target="../slideLayouts/slideLayout466.xml"/><Relationship Id="rId2" Type="http://schemas.openxmlformats.org/officeDocument/2006/relationships/slideLayout" Target="../slideLayouts/slideLayout461.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5" Type="http://schemas.openxmlformats.org/officeDocument/2006/relationships/slideLayout" Target="../slideLayouts/slideLayout464.xml"/><Relationship Id="rId10" Type="http://schemas.openxmlformats.org/officeDocument/2006/relationships/theme" Target="../theme/theme54.xml"/><Relationship Id="rId4" Type="http://schemas.openxmlformats.org/officeDocument/2006/relationships/slideLayout" Target="../slideLayouts/slideLayout463.xml"/><Relationship Id="rId9" Type="http://schemas.openxmlformats.org/officeDocument/2006/relationships/slideLayout" Target="../slideLayouts/slideLayout468.xml"/></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oleObject" Target="../embeddings/oleObject29.bin"/><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tags" Target="../tags/tag157.xml"/><Relationship Id="rId2" Type="http://schemas.openxmlformats.org/officeDocument/2006/relationships/slideLayout" Target="../slideLayouts/slideLayout470.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vmlDrawing" Target="../drawings/vmlDrawing29.vml"/><Relationship Id="rId5" Type="http://schemas.openxmlformats.org/officeDocument/2006/relationships/slideLayout" Target="../slideLayouts/slideLayout473.xml"/><Relationship Id="rId15" Type="http://schemas.openxmlformats.org/officeDocument/2006/relationships/image" Target="../media/image81.jpeg"/><Relationship Id="rId10" Type="http://schemas.openxmlformats.org/officeDocument/2006/relationships/theme" Target="../theme/theme55.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image" Target="../media/image27.emf"/></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485.xml"/><Relationship Id="rId13" Type="http://schemas.openxmlformats.org/officeDocument/2006/relationships/oleObject" Target="../embeddings/oleObject38.bin"/><Relationship Id="rId3" Type="http://schemas.openxmlformats.org/officeDocument/2006/relationships/slideLayout" Target="../slideLayouts/slideLayout480.xml"/><Relationship Id="rId7" Type="http://schemas.openxmlformats.org/officeDocument/2006/relationships/slideLayout" Target="../slideLayouts/slideLayout484.xml"/><Relationship Id="rId12" Type="http://schemas.openxmlformats.org/officeDocument/2006/relationships/tags" Target="../tags/tag166.xml"/><Relationship Id="rId2" Type="http://schemas.openxmlformats.org/officeDocument/2006/relationships/slideLayout" Target="../slideLayouts/slideLayout479.xml"/><Relationship Id="rId1" Type="http://schemas.openxmlformats.org/officeDocument/2006/relationships/slideLayout" Target="../slideLayouts/slideLayout478.xml"/><Relationship Id="rId6" Type="http://schemas.openxmlformats.org/officeDocument/2006/relationships/slideLayout" Target="../slideLayouts/slideLayout483.xml"/><Relationship Id="rId11" Type="http://schemas.openxmlformats.org/officeDocument/2006/relationships/vmlDrawing" Target="../drawings/vmlDrawing38.vml"/><Relationship Id="rId5" Type="http://schemas.openxmlformats.org/officeDocument/2006/relationships/slideLayout" Target="../slideLayouts/slideLayout482.xml"/><Relationship Id="rId15" Type="http://schemas.openxmlformats.org/officeDocument/2006/relationships/image" Target="../media/image81.jpeg"/><Relationship Id="rId10" Type="http://schemas.openxmlformats.org/officeDocument/2006/relationships/theme" Target="../theme/theme56.xml"/><Relationship Id="rId4" Type="http://schemas.openxmlformats.org/officeDocument/2006/relationships/slideLayout" Target="../slideLayouts/slideLayout481.xml"/><Relationship Id="rId9" Type="http://schemas.openxmlformats.org/officeDocument/2006/relationships/slideLayout" Target="../slideLayouts/slideLayout486.xml"/><Relationship Id="rId14" Type="http://schemas.openxmlformats.org/officeDocument/2006/relationships/image" Target="../media/image27.emf"/></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ags" Target="../tags/tag182.xml"/><Relationship Id="rId18" Type="http://schemas.openxmlformats.org/officeDocument/2006/relationships/tags" Target="../tags/tag187.xml"/><Relationship Id="rId3" Type="http://schemas.openxmlformats.org/officeDocument/2006/relationships/slideLayout" Target="../slideLayouts/slideLayout489.xml"/><Relationship Id="rId21" Type="http://schemas.openxmlformats.org/officeDocument/2006/relationships/image" Target="../media/image86.jpeg"/><Relationship Id="rId7" Type="http://schemas.openxmlformats.org/officeDocument/2006/relationships/slideLayout" Target="../slideLayouts/slideLayout493.xml"/><Relationship Id="rId12" Type="http://schemas.openxmlformats.org/officeDocument/2006/relationships/tags" Target="../tags/tag181.xml"/><Relationship Id="rId17" Type="http://schemas.openxmlformats.org/officeDocument/2006/relationships/tags" Target="../tags/tag186.xml"/><Relationship Id="rId2" Type="http://schemas.openxmlformats.org/officeDocument/2006/relationships/slideLayout" Target="../slideLayouts/slideLayout488.xml"/><Relationship Id="rId16" Type="http://schemas.openxmlformats.org/officeDocument/2006/relationships/tags" Target="../tags/tag185.xml"/><Relationship Id="rId20" Type="http://schemas.openxmlformats.org/officeDocument/2006/relationships/image" Target="../media/image27.emf"/><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tags" Target="../tags/tag180.xml"/><Relationship Id="rId5" Type="http://schemas.openxmlformats.org/officeDocument/2006/relationships/slideLayout" Target="../slideLayouts/slideLayout491.xml"/><Relationship Id="rId15" Type="http://schemas.openxmlformats.org/officeDocument/2006/relationships/tags" Target="../tags/tag184.xml"/><Relationship Id="rId10" Type="http://schemas.openxmlformats.org/officeDocument/2006/relationships/vmlDrawing" Target="../drawings/vmlDrawing47.vml"/><Relationship Id="rId19" Type="http://schemas.openxmlformats.org/officeDocument/2006/relationships/oleObject" Target="../embeddings/oleObject47.bin"/><Relationship Id="rId4" Type="http://schemas.openxmlformats.org/officeDocument/2006/relationships/slideLayout" Target="../slideLayouts/slideLayout490.xml"/><Relationship Id="rId9" Type="http://schemas.openxmlformats.org/officeDocument/2006/relationships/theme" Target="../theme/theme57.xml"/><Relationship Id="rId14" Type="http://schemas.openxmlformats.org/officeDocument/2006/relationships/tags" Target="../tags/tag183.xml"/></Relationships>
</file>

<file path=ppt/slideMasters/_rels/slideMaster58.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image" Target="../media/image35.png"/><Relationship Id="rId26" Type="http://schemas.openxmlformats.org/officeDocument/2006/relationships/image" Target="../media/image39.gif"/><Relationship Id="rId3" Type="http://schemas.openxmlformats.org/officeDocument/2006/relationships/theme" Target="../theme/theme58.xml"/><Relationship Id="rId21" Type="http://schemas.openxmlformats.org/officeDocument/2006/relationships/hyperlink" Target="http://www.twitter.com/capgemini" TargetMode="Externa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496.xml"/><Relationship Id="rId16" Type="http://schemas.openxmlformats.org/officeDocument/2006/relationships/image" Target="../media/image27.emf"/><Relationship Id="rId20" Type="http://schemas.openxmlformats.org/officeDocument/2006/relationships/image" Target="../media/image36.png"/><Relationship Id="rId1" Type="http://schemas.openxmlformats.org/officeDocument/2006/relationships/slideLayout" Target="../slideLayouts/slideLayout495.x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image" Target="../media/image38.png"/><Relationship Id="rId5" Type="http://schemas.openxmlformats.org/officeDocument/2006/relationships/tags" Target="../tags/tag205.xml"/><Relationship Id="rId15" Type="http://schemas.openxmlformats.org/officeDocument/2006/relationships/oleObject" Target="../embeddings/oleObject56.bin"/><Relationship Id="rId23" Type="http://schemas.openxmlformats.org/officeDocument/2006/relationships/hyperlink" Target="http://www.youtube.com/capgemini" TargetMode="External"/><Relationship Id="rId28" Type="http://schemas.openxmlformats.org/officeDocument/2006/relationships/image" Target="../media/image30.emf"/><Relationship Id="rId10" Type="http://schemas.openxmlformats.org/officeDocument/2006/relationships/tags" Target="../tags/tag210.xml"/><Relationship Id="rId19" Type="http://schemas.openxmlformats.org/officeDocument/2006/relationships/hyperlink" Target="http://www.linkedin.com/company/capgemini" TargetMode="External"/><Relationship Id="rId4" Type="http://schemas.openxmlformats.org/officeDocument/2006/relationships/vmlDrawing" Target="../drawings/vmlDrawing56.v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image" Target="../media/image37.png"/><Relationship Id="rId27" Type="http://schemas.openxmlformats.org/officeDocument/2006/relationships/image" Target="../media/image89.jpeg"/></Relationships>
</file>

<file path=ppt/slideMasters/_rels/slideMaster59.xml.rels><?xml version="1.0" encoding="UTF-8" standalone="yes"?>
<Relationships xmlns="http://schemas.openxmlformats.org/package/2006/relationships"><Relationship Id="rId13" Type="http://schemas.openxmlformats.org/officeDocument/2006/relationships/slideLayout" Target="../slideLayouts/slideLayout509.xml"/><Relationship Id="rId18" Type="http://schemas.openxmlformats.org/officeDocument/2006/relationships/slideLayout" Target="../slideLayouts/slideLayout514.xml"/><Relationship Id="rId26" Type="http://schemas.openxmlformats.org/officeDocument/2006/relationships/slideLayout" Target="../slideLayouts/slideLayout522.xml"/><Relationship Id="rId39" Type="http://schemas.openxmlformats.org/officeDocument/2006/relationships/slideLayout" Target="../slideLayouts/slideLayout535.xml"/><Relationship Id="rId21" Type="http://schemas.openxmlformats.org/officeDocument/2006/relationships/slideLayout" Target="../slideLayouts/slideLayout517.xml"/><Relationship Id="rId34" Type="http://schemas.openxmlformats.org/officeDocument/2006/relationships/slideLayout" Target="../slideLayouts/slideLayout530.xml"/><Relationship Id="rId42" Type="http://schemas.openxmlformats.org/officeDocument/2006/relationships/slideLayout" Target="../slideLayouts/slideLayout538.xml"/><Relationship Id="rId47" Type="http://schemas.openxmlformats.org/officeDocument/2006/relationships/slideLayout" Target="../slideLayouts/slideLayout543.xml"/><Relationship Id="rId50" Type="http://schemas.openxmlformats.org/officeDocument/2006/relationships/slideLayout" Target="../slideLayouts/slideLayout546.xml"/><Relationship Id="rId55" Type="http://schemas.openxmlformats.org/officeDocument/2006/relationships/slideLayout" Target="../slideLayouts/slideLayout551.xml"/><Relationship Id="rId63" Type="http://schemas.openxmlformats.org/officeDocument/2006/relationships/slideLayout" Target="../slideLayouts/slideLayout559.xml"/><Relationship Id="rId68" Type="http://schemas.openxmlformats.org/officeDocument/2006/relationships/slideLayout" Target="../slideLayouts/slideLayout564.xml"/><Relationship Id="rId76" Type="http://schemas.openxmlformats.org/officeDocument/2006/relationships/slideLayout" Target="../slideLayouts/slideLayout572.xml"/><Relationship Id="rId84" Type="http://schemas.openxmlformats.org/officeDocument/2006/relationships/slideLayout" Target="../slideLayouts/slideLayout580.xml"/><Relationship Id="rId89" Type="http://schemas.openxmlformats.org/officeDocument/2006/relationships/slideLayout" Target="../slideLayouts/slideLayout585.xml"/><Relationship Id="rId7" Type="http://schemas.openxmlformats.org/officeDocument/2006/relationships/slideLayout" Target="../slideLayouts/slideLayout503.xml"/><Relationship Id="rId71" Type="http://schemas.openxmlformats.org/officeDocument/2006/relationships/slideLayout" Target="../slideLayouts/slideLayout567.xml"/><Relationship Id="rId92" Type="http://schemas.openxmlformats.org/officeDocument/2006/relationships/slideLayout" Target="../slideLayouts/slideLayout588.xml"/><Relationship Id="rId2" Type="http://schemas.openxmlformats.org/officeDocument/2006/relationships/slideLayout" Target="../slideLayouts/slideLayout498.xml"/><Relationship Id="rId16" Type="http://schemas.openxmlformats.org/officeDocument/2006/relationships/slideLayout" Target="../slideLayouts/slideLayout512.xml"/><Relationship Id="rId29" Type="http://schemas.openxmlformats.org/officeDocument/2006/relationships/slideLayout" Target="../slideLayouts/slideLayout525.xml"/><Relationship Id="rId11" Type="http://schemas.openxmlformats.org/officeDocument/2006/relationships/slideLayout" Target="../slideLayouts/slideLayout507.xml"/><Relationship Id="rId24" Type="http://schemas.openxmlformats.org/officeDocument/2006/relationships/slideLayout" Target="../slideLayouts/slideLayout520.xml"/><Relationship Id="rId32" Type="http://schemas.openxmlformats.org/officeDocument/2006/relationships/slideLayout" Target="../slideLayouts/slideLayout528.xml"/><Relationship Id="rId37" Type="http://schemas.openxmlformats.org/officeDocument/2006/relationships/slideLayout" Target="../slideLayouts/slideLayout533.xml"/><Relationship Id="rId40" Type="http://schemas.openxmlformats.org/officeDocument/2006/relationships/slideLayout" Target="../slideLayouts/slideLayout536.xml"/><Relationship Id="rId45" Type="http://schemas.openxmlformats.org/officeDocument/2006/relationships/slideLayout" Target="../slideLayouts/slideLayout541.xml"/><Relationship Id="rId53" Type="http://schemas.openxmlformats.org/officeDocument/2006/relationships/slideLayout" Target="../slideLayouts/slideLayout549.xml"/><Relationship Id="rId58" Type="http://schemas.openxmlformats.org/officeDocument/2006/relationships/slideLayout" Target="../slideLayouts/slideLayout554.xml"/><Relationship Id="rId66" Type="http://schemas.openxmlformats.org/officeDocument/2006/relationships/slideLayout" Target="../slideLayouts/slideLayout562.xml"/><Relationship Id="rId74" Type="http://schemas.openxmlformats.org/officeDocument/2006/relationships/slideLayout" Target="../slideLayouts/slideLayout570.xml"/><Relationship Id="rId79" Type="http://schemas.openxmlformats.org/officeDocument/2006/relationships/slideLayout" Target="../slideLayouts/slideLayout575.xml"/><Relationship Id="rId87" Type="http://schemas.openxmlformats.org/officeDocument/2006/relationships/slideLayout" Target="../slideLayouts/slideLayout583.xml"/><Relationship Id="rId5" Type="http://schemas.openxmlformats.org/officeDocument/2006/relationships/slideLayout" Target="../slideLayouts/slideLayout501.xml"/><Relationship Id="rId61" Type="http://schemas.openxmlformats.org/officeDocument/2006/relationships/slideLayout" Target="../slideLayouts/slideLayout557.xml"/><Relationship Id="rId82" Type="http://schemas.openxmlformats.org/officeDocument/2006/relationships/slideLayout" Target="../slideLayouts/slideLayout578.xml"/><Relationship Id="rId90" Type="http://schemas.openxmlformats.org/officeDocument/2006/relationships/slideLayout" Target="../slideLayouts/slideLayout586.xml"/><Relationship Id="rId19" Type="http://schemas.openxmlformats.org/officeDocument/2006/relationships/slideLayout" Target="../slideLayouts/slideLayout515.xml"/><Relationship Id="rId14" Type="http://schemas.openxmlformats.org/officeDocument/2006/relationships/slideLayout" Target="../slideLayouts/slideLayout510.xml"/><Relationship Id="rId22" Type="http://schemas.openxmlformats.org/officeDocument/2006/relationships/slideLayout" Target="../slideLayouts/slideLayout518.xml"/><Relationship Id="rId27" Type="http://schemas.openxmlformats.org/officeDocument/2006/relationships/slideLayout" Target="../slideLayouts/slideLayout523.xml"/><Relationship Id="rId30" Type="http://schemas.openxmlformats.org/officeDocument/2006/relationships/slideLayout" Target="../slideLayouts/slideLayout526.xml"/><Relationship Id="rId35" Type="http://schemas.openxmlformats.org/officeDocument/2006/relationships/slideLayout" Target="../slideLayouts/slideLayout531.xml"/><Relationship Id="rId43" Type="http://schemas.openxmlformats.org/officeDocument/2006/relationships/slideLayout" Target="../slideLayouts/slideLayout539.xml"/><Relationship Id="rId48" Type="http://schemas.openxmlformats.org/officeDocument/2006/relationships/slideLayout" Target="../slideLayouts/slideLayout544.xml"/><Relationship Id="rId56" Type="http://schemas.openxmlformats.org/officeDocument/2006/relationships/slideLayout" Target="../slideLayouts/slideLayout552.xml"/><Relationship Id="rId64" Type="http://schemas.openxmlformats.org/officeDocument/2006/relationships/slideLayout" Target="../slideLayouts/slideLayout560.xml"/><Relationship Id="rId69" Type="http://schemas.openxmlformats.org/officeDocument/2006/relationships/slideLayout" Target="../slideLayouts/slideLayout565.xml"/><Relationship Id="rId77" Type="http://schemas.openxmlformats.org/officeDocument/2006/relationships/slideLayout" Target="../slideLayouts/slideLayout573.xml"/><Relationship Id="rId8" Type="http://schemas.openxmlformats.org/officeDocument/2006/relationships/slideLayout" Target="../slideLayouts/slideLayout504.xml"/><Relationship Id="rId51" Type="http://schemas.openxmlformats.org/officeDocument/2006/relationships/slideLayout" Target="../slideLayouts/slideLayout547.xml"/><Relationship Id="rId72" Type="http://schemas.openxmlformats.org/officeDocument/2006/relationships/slideLayout" Target="../slideLayouts/slideLayout568.xml"/><Relationship Id="rId80" Type="http://schemas.openxmlformats.org/officeDocument/2006/relationships/slideLayout" Target="../slideLayouts/slideLayout576.xml"/><Relationship Id="rId85" Type="http://schemas.openxmlformats.org/officeDocument/2006/relationships/slideLayout" Target="../slideLayouts/slideLayout581.xml"/><Relationship Id="rId93" Type="http://schemas.openxmlformats.org/officeDocument/2006/relationships/slideLayout" Target="../slideLayouts/slideLayout589.xml"/><Relationship Id="rId3" Type="http://schemas.openxmlformats.org/officeDocument/2006/relationships/slideLayout" Target="../slideLayouts/slideLayout499.xml"/><Relationship Id="rId12" Type="http://schemas.openxmlformats.org/officeDocument/2006/relationships/slideLayout" Target="../slideLayouts/slideLayout508.xml"/><Relationship Id="rId17" Type="http://schemas.openxmlformats.org/officeDocument/2006/relationships/slideLayout" Target="../slideLayouts/slideLayout513.xml"/><Relationship Id="rId25" Type="http://schemas.openxmlformats.org/officeDocument/2006/relationships/slideLayout" Target="../slideLayouts/slideLayout521.xml"/><Relationship Id="rId33" Type="http://schemas.openxmlformats.org/officeDocument/2006/relationships/slideLayout" Target="../slideLayouts/slideLayout529.xml"/><Relationship Id="rId38" Type="http://schemas.openxmlformats.org/officeDocument/2006/relationships/slideLayout" Target="../slideLayouts/slideLayout534.xml"/><Relationship Id="rId46" Type="http://schemas.openxmlformats.org/officeDocument/2006/relationships/slideLayout" Target="../slideLayouts/slideLayout542.xml"/><Relationship Id="rId59" Type="http://schemas.openxmlformats.org/officeDocument/2006/relationships/slideLayout" Target="../slideLayouts/slideLayout555.xml"/><Relationship Id="rId67" Type="http://schemas.openxmlformats.org/officeDocument/2006/relationships/slideLayout" Target="../slideLayouts/slideLayout563.xml"/><Relationship Id="rId20" Type="http://schemas.openxmlformats.org/officeDocument/2006/relationships/slideLayout" Target="../slideLayouts/slideLayout516.xml"/><Relationship Id="rId41" Type="http://schemas.openxmlformats.org/officeDocument/2006/relationships/slideLayout" Target="../slideLayouts/slideLayout537.xml"/><Relationship Id="rId54" Type="http://schemas.openxmlformats.org/officeDocument/2006/relationships/slideLayout" Target="../slideLayouts/slideLayout550.xml"/><Relationship Id="rId62" Type="http://schemas.openxmlformats.org/officeDocument/2006/relationships/slideLayout" Target="../slideLayouts/slideLayout558.xml"/><Relationship Id="rId70" Type="http://schemas.openxmlformats.org/officeDocument/2006/relationships/slideLayout" Target="../slideLayouts/slideLayout566.xml"/><Relationship Id="rId75" Type="http://schemas.openxmlformats.org/officeDocument/2006/relationships/slideLayout" Target="../slideLayouts/slideLayout571.xml"/><Relationship Id="rId83" Type="http://schemas.openxmlformats.org/officeDocument/2006/relationships/slideLayout" Target="../slideLayouts/slideLayout579.xml"/><Relationship Id="rId88" Type="http://schemas.openxmlformats.org/officeDocument/2006/relationships/slideLayout" Target="../slideLayouts/slideLayout584.xml"/><Relationship Id="rId91" Type="http://schemas.openxmlformats.org/officeDocument/2006/relationships/slideLayout" Target="../slideLayouts/slideLayout587.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5" Type="http://schemas.openxmlformats.org/officeDocument/2006/relationships/slideLayout" Target="../slideLayouts/slideLayout511.xml"/><Relationship Id="rId23" Type="http://schemas.openxmlformats.org/officeDocument/2006/relationships/slideLayout" Target="../slideLayouts/slideLayout519.xml"/><Relationship Id="rId28" Type="http://schemas.openxmlformats.org/officeDocument/2006/relationships/slideLayout" Target="../slideLayouts/slideLayout524.xml"/><Relationship Id="rId36" Type="http://schemas.openxmlformats.org/officeDocument/2006/relationships/slideLayout" Target="../slideLayouts/slideLayout532.xml"/><Relationship Id="rId49" Type="http://schemas.openxmlformats.org/officeDocument/2006/relationships/slideLayout" Target="../slideLayouts/slideLayout545.xml"/><Relationship Id="rId57" Type="http://schemas.openxmlformats.org/officeDocument/2006/relationships/slideLayout" Target="../slideLayouts/slideLayout553.xml"/><Relationship Id="rId10" Type="http://schemas.openxmlformats.org/officeDocument/2006/relationships/slideLayout" Target="../slideLayouts/slideLayout506.xml"/><Relationship Id="rId31" Type="http://schemas.openxmlformats.org/officeDocument/2006/relationships/slideLayout" Target="../slideLayouts/slideLayout527.xml"/><Relationship Id="rId44" Type="http://schemas.openxmlformats.org/officeDocument/2006/relationships/slideLayout" Target="../slideLayouts/slideLayout540.xml"/><Relationship Id="rId52" Type="http://schemas.openxmlformats.org/officeDocument/2006/relationships/slideLayout" Target="../slideLayouts/slideLayout548.xml"/><Relationship Id="rId60" Type="http://schemas.openxmlformats.org/officeDocument/2006/relationships/slideLayout" Target="../slideLayouts/slideLayout556.xml"/><Relationship Id="rId65" Type="http://schemas.openxmlformats.org/officeDocument/2006/relationships/slideLayout" Target="../slideLayouts/slideLayout561.xml"/><Relationship Id="rId73" Type="http://schemas.openxmlformats.org/officeDocument/2006/relationships/slideLayout" Target="../slideLayouts/slideLayout569.xml"/><Relationship Id="rId78" Type="http://schemas.openxmlformats.org/officeDocument/2006/relationships/slideLayout" Target="../slideLayouts/slideLayout574.xml"/><Relationship Id="rId81" Type="http://schemas.openxmlformats.org/officeDocument/2006/relationships/slideLayout" Target="../slideLayouts/slideLayout577.xml"/><Relationship Id="rId86" Type="http://schemas.openxmlformats.org/officeDocument/2006/relationships/slideLayout" Target="../slideLayouts/slideLayout582.xml"/><Relationship Id="rId94" Type="http://schemas.openxmlformats.org/officeDocument/2006/relationships/theme" Target="../theme/theme59.xml"/><Relationship Id="rId4" Type="http://schemas.openxmlformats.org/officeDocument/2006/relationships/slideLayout" Target="../slideLayouts/slideLayout500.xml"/><Relationship Id="rId9" Type="http://schemas.openxmlformats.org/officeDocument/2006/relationships/slideLayout" Target="../slideLayouts/slideLayout505.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48.xml"/></Relationships>
</file>

<file path=ppt/slideMasters/_rels/slideMaster60.xml.rels><?xml version="1.0" encoding="UTF-8" standalone="yes"?>
<Relationships xmlns="http://schemas.openxmlformats.org/package/2006/relationships"><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26" Type="http://schemas.openxmlformats.org/officeDocument/2006/relationships/slideLayout" Target="../slideLayouts/slideLayout615.xml"/><Relationship Id="rId39" Type="http://schemas.openxmlformats.org/officeDocument/2006/relationships/slideLayout" Target="../slideLayouts/slideLayout628.xml"/><Relationship Id="rId21" Type="http://schemas.openxmlformats.org/officeDocument/2006/relationships/slideLayout" Target="../slideLayouts/slideLayout610.xml"/><Relationship Id="rId34" Type="http://schemas.openxmlformats.org/officeDocument/2006/relationships/slideLayout" Target="../slideLayouts/slideLayout623.xml"/><Relationship Id="rId42" Type="http://schemas.openxmlformats.org/officeDocument/2006/relationships/slideLayout" Target="../slideLayouts/slideLayout631.xml"/><Relationship Id="rId47" Type="http://schemas.openxmlformats.org/officeDocument/2006/relationships/slideLayout" Target="../slideLayouts/slideLayout636.xml"/><Relationship Id="rId50" Type="http://schemas.openxmlformats.org/officeDocument/2006/relationships/slideLayout" Target="../slideLayouts/slideLayout639.xml"/><Relationship Id="rId55" Type="http://schemas.openxmlformats.org/officeDocument/2006/relationships/slideLayout" Target="../slideLayouts/slideLayout644.xml"/><Relationship Id="rId63" Type="http://schemas.openxmlformats.org/officeDocument/2006/relationships/slideLayout" Target="../slideLayouts/slideLayout652.xml"/><Relationship Id="rId68" Type="http://schemas.openxmlformats.org/officeDocument/2006/relationships/slideLayout" Target="../slideLayouts/slideLayout657.xml"/><Relationship Id="rId76" Type="http://schemas.openxmlformats.org/officeDocument/2006/relationships/slideLayout" Target="../slideLayouts/slideLayout665.xml"/><Relationship Id="rId84" Type="http://schemas.openxmlformats.org/officeDocument/2006/relationships/slideLayout" Target="../slideLayouts/slideLayout673.xml"/><Relationship Id="rId89" Type="http://schemas.openxmlformats.org/officeDocument/2006/relationships/slideLayout" Target="../slideLayouts/slideLayout678.xml"/><Relationship Id="rId7" Type="http://schemas.openxmlformats.org/officeDocument/2006/relationships/slideLayout" Target="../slideLayouts/slideLayout596.xml"/><Relationship Id="rId71" Type="http://schemas.openxmlformats.org/officeDocument/2006/relationships/slideLayout" Target="../slideLayouts/slideLayout660.xml"/><Relationship Id="rId92" Type="http://schemas.openxmlformats.org/officeDocument/2006/relationships/slideLayout" Target="../slideLayouts/slideLayout681.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29" Type="http://schemas.openxmlformats.org/officeDocument/2006/relationships/slideLayout" Target="../slideLayouts/slideLayout618.xml"/><Relationship Id="rId11" Type="http://schemas.openxmlformats.org/officeDocument/2006/relationships/slideLayout" Target="../slideLayouts/slideLayout600.xml"/><Relationship Id="rId24" Type="http://schemas.openxmlformats.org/officeDocument/2006/relationships/slideLayout" Target="../slideLayouts/slideLayout613.xml"/><Relationship Id="rId32" Type="http://schemas.openxmlformats.org/officeDocument/2006/relationships/slideLayout" Target="../slideLayouts/slideLayout621.xml"/><Relationship Id="rId37" Type="http://schemas.openxmlformats.org/officeDocument/2006/relationships/slideLayout" Target="../slideLayouts/slideLayout626.xml"/><Relationship Id="rId40" Type="http://schemas.openxmlformats.org/officeDocument/2006/relationships/slideLayout" Target="../slideLayouts/slideLayout629.xml"/><Relationship Id="rId45" Type="http://schemas.openxmlformats.org/officeDocument/2006/relationships/slideLayout" Target="../slideLayouts/slideLayout634.xml"/><Relationship Id="rId53" Type="http://schemas.openxmlformats.org/officeDocument/2006/relationships/slideLayout" Target="../slideLayouts/slideLayout642.xml"/><Relationship Id="rId58" Type="http://schemas.openxmlformats.org/officeDocument/2006/relationships/slideLayout" Target="../slideLayouts/slideLayout647.xml"/><Relationship Id="rId66" Type="http://schemas.openxmlformats.org/officeDocument/2006/relationships/slideLayout" Target="../slideLayouts/slideLayout655.xml"/><Relationship Id="rId74" Type="http://schemas.openxmlformats.org/officeDocument/2006/relationships/slideLayout" Target="../slideLayouts/slideLayout663.xml"/><Relationship Id="rId79" Type="http://schemas.openxmlformats.org/officeDocument/2006/relationships/slideLayout" Target="../slideLayouts/slideLayout668.xml"/><Relationship Id="rId87" Type="http://schemas.openxmlformats.org/officeDocument/2006/relationships/slideLayout" Target="../slideLayouts/slideLayout676.xml"/><Relationship Id="rId5" Type="http://schemas.openxmlformats.org/officeDocument/2006/relationships/slideLayout" Target="../slideLayouts/slideLayout594.xml"/><Relationship Id="rId61" Type="http://schemas.openxmlformats.org/officeDocument/2006/relationships/slideLayout" Target="../slideLayouts/slideLayout650.xml"/><Relationship Id="rId82" Type="http://schemas.openxmlformats.org/officeDocument/2006/relationships/slideLayout" Target="../slideLayouts/slideLayout671.xml"/><Relationship Id="rId90" Type="http://schemas.openxmlformats.org/officeDocument/2006/relationships/slideLayout" Target="../slideLayouts/slideLayout679.xml"/><Relationship Id="rId19" Type="http://schemas.openxmlformats.org/officeDocument/2006/relationships/slideLayout" Target="../slideLayouts/slideLayout608.xml"/><Relationship Id="rId14" Type="http://schemas.openxmlformats.org/officeDocument/2006/relationships/slideLayout" Target="../slideLayouts/slideLayout603.xml"/><Relationship Id="rId22" Type="http://schemas.openxmlformats.org/officeDocument/2006/relationships/slideLayout" Target="../slideLayouts/slideLayout611.xml"/><Relationship Id="rId27" Type="http://schemas.openxmlformats.org/officeDocument/2006/relationships/slideLayout" Target="../slideLayouts/slideLayout616.xml"/><Relationship Id="rId30" Type="http://schemas.openxmlformats.org/officeDocument/2006/relationships/slideLayout" Target="../slideLayouts/slideLayout619.xml"/><Relationship Id="rId35" Type="http://schemas.openxmlformats.org/officeDocument/2006/relationships/slideLayout" Target="../slideLayouts/slideLayout624.xml"/><Relationship Id="rId43" Type="http://schemas.openxmlformats.org/officeDocument/2006/relationships/slideLayout" Target="../slideLayouts/slideLayout632.xml"/><Relationship Id="rId48" Type="http://schemas.openxmlformats.org/officeDocument/2006/relationships/slideLayout" Target="../slideLayouts/slideLayout637.xml"/><Relationship Id="rId56" Type="http://schemas.openxmlformats.org/officeDocument/2006/relationships/slideLayout" Target="../slideLayouts/slideLayout645.xml"/><Relationship Id="rId64" Type="http://schemas.openxmlformats.org/officeDocument/2006/relationships/slideLayout" Target="../slideLayouts/slideLayout653.xml"/><Relationship Id="rId69" Type="http://schemas.openxmlformats.org/officeDocument/2006/relationships/slideLayout" Target="../slideLayouts/slideLayout658.xml"/><Relationship Id="rId77" Type="http://schemas.openxmlformats.org/officeDocument/2006/relationships/slideLayout" Target="../slideLayouts/slideLayout666.xml"/><Relationship Id="rId8" Type="http://schemas.openxmlformats.org/officeDocument/2006/relationships/slideLayout" Target="../slideLayouts/slideLayout597.xml"/><Relationship Id="rId51" Type="http://schemas.openxmlformats.org/officeDocument/2006/relationships/slideLayout" Target="../slideLayouts/slideLayout640.xml"/><Relationship Id="rId72" Type="http://schemas.openxmlformats.org/officeDocument/2006/relationships/slideLayout" Target="../slideLayouts/slideLayout661.xml"/><Relationship Id="rId80" Type="http://schemas.openxmlformats.org/officeDocument/2006/relationships/slideLayout" Target="../slideLayouts/slideLayout669.xml"/><Relationship Id="rId85" Type="http://schemas.openxmlformats.org/officeDocument/2006/relationships/slideLayout" Target="../slideLayouts/slideLayout674.xml"/><Relationship Id="rId93" Type="http://schemas.openxmlformats.org/officeDocument/2006/relationships/slideLayout" Target="../slideLayouts/slideLayout682.xml"/><Relationship Id="rId3" Type="http://schemas.openxmlformats.org/officeDocument/2006/relationships/slideLayout" Target="../slideLayouts/slideLayout592.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5" Type="http://schemas.openxmlformats.org/officeDocument/2006/relationships/slideLayout" Target="../slideLayouts/slideLayout614.xml"/><Relationship Id="rId33" Type="http://schemas.openxmlformats.org/officeDocument/2006/relationships/slideLayout" Target="../slideLayouts/slideLayout622.xml"/><Relationship Id="rId38" Type="http://schemas.openxmlformats.org/officeDocument/2006/relationships/slideLayout" Target="../slideLayouts/slideLayout627.xml"/><Relationship Id="rId46" Type="http://schemas.openxmlformats.org/officeDocument/2006/relationships/slideLayout" Target="../slideLayouts/slideLayout635.xml"/><Relationship Id="rId59" Type="http://schemas.openxmlformats.org/officeDocument/2006/relationships/slideLayout" Target="../slideLayouts/slideLayout648.xml"/><Relationship Id="rId67" Type="http://schemas.openxmlformats.org/officeDocument/2006/relationships/slideLayout" Target="../slideLayouts/slideLayout656.xml"/><Relationship Id="rId20" Type="http://schemas.openxmlformats.org/officeDocument/2006/relationships/slideLayout" Target="../slideLayouts/slideLayout609.xml"/><Relationship Id="rId41" Type="http://schemas.openxmlformats.org/officeDocument/2006/relationships/slideLayout" Target="../slideLayouts/slideLayout630.xml"/><Relationship Id="rId54" Type="http://schemas.openxmlformats.org/officeDocument/2006/relationships/slideLayout" Target="../slideLayouts/slideLayout643.xml"/><Relationship Id="rId62" Type="http://schemas.openxmlformats.org/officeDocument/2006/relationships/slideLayout" Target="../slideLayouts/slideLayout651.xml"/><Relationship Id="rId70" Type="http://schemas.openxmlformats.org/officeDocument/2006/relationships/slideLayout" Target="../slideLayouts/slideLayout659.xml"/><Relationship Id="rId75" Type="http://schemas.openxmlformats.org/officeDocument/2006/relationships/slideLayout" Target="../slideLayouts/slideLayout664.xml"/><Relationship Id="rId83" Type="http://schemas.openxmlformats.org/officeDocument/2006/relationships/slideLayout" Target="../slideLayouts/slideLayout672.xml"/><Relationship Id="rId88" Type="http://schemas.openxmlformats.org/officeDocument/2006/relationships/slideLayout" Target="../slideLayouts/slideLayout677.xml"/><Relationship Id="rId91" Type="http://schemas.openxmlformats.org/officeDocument/2006/relationships/slideLayout" Target="../slideLayouts/slideLayout680.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5" Type="http://schemas.openxmlformats.org/officeDocument/2006/relationships/slideLayout" Target="../slideLayouts/slideLayout604.xml"/><Relationship Id="rId23" Type="http://schemas.openxmlformats.org/officeDocument/2006/relationships/slideLayout" Target="../slideLayouts/slideLayout612.xml"/><Relationship Id="rId28" Type="http://schemas.openxmlformats.org/officeDocument/2006/relationships/slideLayout" Target="../slideLayouts/slideLayout617.xml"/><Relationship Id="rId36" Type="http://schemas.openxmlformats.org/officeDocument/2006/relationships/slideLayout" Target="../slideLayouts/slideLayout625.xml"/><Relationship Id="rId49" Type="http://schemas.openxmlformats.org/officeDocument/2006/relationships/slideLayout" Target="../slideLayouts/slideLayout638.xml"/><Relationship Id="rId57" Type="http://schemas.openxmlformats.org/officeDocument/2006/relationships/slideLayout" Target="../slideLayouts/slideLayout646.xml"/><Relationship Id="rId10" Type="http://schemas.openxmlformats.org/officeDocument/2006/relationships/slideLayout" Target="../slideLayouts/slideLayout599.xml"/><Relationship Id="rId31" Type="http://schemas.openxmlformats.org/officeDocument/2006/relationships/slideLayout" Target="../slideLayouts/slideLayout620.xml"/><Relationship Id="rId44" Type="http://schemas.openxmlformats.org/officeDocument/2006/relationships/slideLayout" Target="../slideLayouts/slideLayout633.xml"/><Relationship Id="rId52" Type="http://schemas.openxmlformats.org/officeDocument/2006/relationships/slideLayout" Target="../slideLayouts/slideLayout641.xml"/><Relationship Id="rId60" Type="http://schemas.openxmlformats.org/officeDocument/2006/relationships/slideLayout" Target="../slideLayouts/slideLayout649.xml"/><Relationship Id="rId65" Type="http://schemas.openxmlformats.org/officeDocument/2006/relationships/slideLayout" Target="../slideLayouts/slideLayout654.xml"/><Relationship Id="rId73" Type="http://schemas.openxmlformats.org/officeDocument/2006/relationships/slideLayout" Target="../slideLayouts/slideLayout662.xml"/><Relationship Id="rId78" Type="http://schemas.openxmlformats.org/officeDocument/2006/relationships/slideLayout" Target="../slideLayouts/slideLayout667.xml"/><Relationship Id="rId81" Type="http://schemas.openxmlformats.org/officeDocument/2006/relationships/slideLayout" Target="../slideLayouts/slideLayout670.xml"/><Relationship Id="rId86" Type="http://schemas.openxmlformats.org/officeDocument/2006/relationships/slideLayout" Target="../slideLayouts/slideLayout675.xml"/><Relationship Id="rId94" Type="http://schemas.openxmlformats.org/officeDocument/2006/relationships/theme" Target="../theme/theme60.xml"/><Relationship Id="rId4" Type="http://schemas.openxmlformats.org/officeDocument/2006/relationships/slideLayout" Target="../slideLayouts/slideLayout593.xml"/><Relationship Id="rId9" Type="http://schemas.openxmlformats.org/officeDocument/2006/relationships/slideLayout" Target="../slideLayouts/slideLayout598.xml"/></Relationships>
</file>

<file path=ppt/slideMasters/_rels/slideMaster61.xml.rels><?xml version="1.0" encoding="UTF-8" standalone="yes"?>
<Relationships xmlns="http://schemas.openxmlformats.org/package/2006/relationships"><Relationship Id="rId13" Type="http://schemas.openxmlformats.org/officeDocument/2006/relationships/slideLayout" Target="../slideLayouts/slideLayout695.xml"/><Relationship Id="rId18" Type="http://schemas.openxmlformats.org/officeDocument/2006/relationships/slideLayout" Target="../slideLayouts/slideLayout700.xml"/><Relationship Id="rId26" Type="http://schemas.openxmlformats.org/officeDocument/2006/relationships/slideLayout" Target="../slideLayouts/slideLayout708.xml"/><Relationship Id="rId39" Type="http://schemas.openxmlformats.org/officeDocument/2006/relationships/slideLayout" Target="../slideLayouts/slideLayout721.xml"/><Relationship Id="rId21" Type="http://schemas.openxmlformats.org/officeDocument/2006/relationships/slideLayout" Target="../slideLayouts/slideLayout703.xml"/><Relationship Id="rId34" Type="http://schemas.openxmlformats.org/officeDocument/2006/relationships/slideLayout" Target="../slideLayouts/slideLayout716.xml"/><Relationship Id="rId42" Type="http://schemas.openxmlformats.org/officeDocument/2006/relationships/slideLayout" Target="../slideLayouts/slideLayout724.xml"/><Relationship Id="rId47" Type="http://schemas.openxmlformats.org/officeDocument/2006/relationships/slideLayout" Target="../slideLayouts/slideLayout729.xml"/><Relationship Id="rId50" Type="http://schemas.openxmlformats.org/officeDocument/2006/relationships/slideLayout" Target="../slideLayouts/slideLayout732.xml"/><Relationship Id="rId55" Type="http://schemas.openxmlformats.org/officeDocument/2006/relationships/slideLayout" Target="../slideLayouts/slideLayout737.xml"/><Relationship Id="rId63" Type="http://schemas.openxmlformats.org/officeDocument/2006/relationships/slideLayout" Target="../slideLayouts/slideLayout745.xml"/><Relationship Id="rId68" Type="http://schemas.openxmlformats.org/officeDocument/2006/relationships/slideLayout" Target="../slideLayouts/slideLayout750.xml"/><Relationship Id="rId76" Type="http://schemas.openxmlformats.org/officeDocument/2006/relationships/slideLayout" Target="../slideLayouts/slideLayout758.xml"/><Relationship Id="rId84" Type="http://schemas.openxmlformats.org/officeDocument/2006/relationships/slideLayout" Target="../slideLayouts/slideLayout766.xml"/><Relationship Id="rId89" Type="http://schemas.openxmlformats.org/officeDocument/2006/relationships/slideLayout" Target="../slideLayouts/slideLayout771.xml"/><Relationship Id="rId7" Type="http://schemas.openxmlformats.org/officeDocument/2006/relationships/slideLayout" Target="../slideLayouts/slideLayout689.xml"/><Relationship Id="rId71" Type="http://schemas.openxmlformats.org/officeDocument/2006/relationships/slideLayout" Target="../slideLayouts/slideLayout753.xml"/><Relationship Id="rId92" Type="http://schemas.openxmlformats.org/officeDocument/2006/relationships/slideLayout" Target="../slideLayouts/slideLayout774.xml"/><Relationship Id="rId2" Type="http://schemas.openxmlformats.org/officeDocument/2006/relationships/slideLayout" Target="../slideLayouts/slideLayout684.xml"/><Relationship Id="rId16" Type="http://schemas.openxmlformats.org/officeDocument/2006/relationships/slideLayout" Target="../slideLayouts/slideLayout698.xml"/><Relationship Id="rId29" Type="http://schemas.openxmlformats.org/officeDocument/2006/relationships/slideLayout" Target="../slideLayouts/slideLayout711.xml"/><Relationship Id="rId11" Type="http://schemas.openxmlformats.org/officeDocument/2006/relationships/slideLayout" Target="../slideLayouts/slideLayout693.xml"/><Relationship Id="rId24" Type="http://schemas.openxmlformats.org/officeDocument/2006/relationships/slideLayout" Target="../slideLayouts/slideLayout706.xml"/><Relationship Id="rId32" Type="http://schemas.openxmlformats.org/officeDocument/2006/relationships/slideLayout" Target="../slideLayouts/slideLayout714.xml"/><Relationship Id="rId37" Type="http://schemas.openxmlformats.org/officeDocument/2006/relationships/slideLayout" Target="../slideLayouts/slideLayout719.xml"/><Relationship Id="rId40" Type="http://schemas.openxmlformats.org/officeDocument/2006/relationships/slideLayout" Target="../slideLayouts/slideLayout722.xml"/><Relationship Id="rId45" Type="http://schemas.openxmlformats.org/officeDocument/2006/relationships/slideLayout" Target="../slideLayouts/slideLayout727.xml"/><Relationship Id="rId53" Type="http://schemas.openxmlformats.org/officeDocument/2006/relationships/slideLayout" Target="../slideLayouts/slideLayout735.xml"/><Relationship Id="rId58" Type="http://schemas.openxmlformats.org/officeDocument/2006/relationships/slideLayout" Target="../slideLayouts/slideLayout740.xml"/><Relationship Id="rId66" Type="http://schemas.openxmlformats.org/officeDocument/2006/relationships/slideLayout" Target="../slideLayouts/slideLayout748.xml"/><Relationship Id="rId74" Type="http://schemas.openxmlformats.org/officeDocument/2006/relationships/slideLayout" Target="../slideLayouts/slideLayout756.xml"/><Relationship Id="rId79" Type="http://schemas.openxmlformats.org/officeDocument/2006/relationships/slideLayout" Target="../slideLayouts/slideLayout761.xml"/><Relationship Id="rId87" Type="http://schemas.openxmlformats.org/officeDocument/2006/relationships/slideLayout" Target="../slideLayouts/slideLayout769.xml"/><Relationship Id="rId5" Type="http://schemas.openxmlformats.org/officeDocument/2006/relationships/slideLayout" Target="../slideLayouts/slideLayout687.xml"/><Relationship Id="rId61" Type="http://schemas.openxmlformats.org/officeDocument/2006/relationships/slideLayout" Target="../slideLayouts/slideLayout743.xml"/><Relationship Id="rId82" Type="http://schemas.openxmlformats.org/officeDocument/2006/relationships/slideLayout" Target="../slideLayouts/slideLayout764.xml"/><Relationship Id="rId90" Type="http://schemas.openxmlformats.org/officeDocument/2006/relationships/slideLayout" Target="../slideLayouts/slideLayout772.xml"/><Relationship Id="rId19" Type="http://schemas.openxmlformats.org/officeDocument/2006/relationships/slideLayout" Target="../slideLayouts/slideLayout701.xml"/><Relationship Id="rId14" Type="http://schemas.openxmlformats.org/officeDocument/2006/relationships/slideLayout" Target="../slideLayouts/slideLayout696.xml"/><Relationship Id="rId22" Type="http://schemas.openxmlformats.org/officeDocument/2006/relationships/slideLayout" Target="../slideLayouts/slideLayout704.xml"/><Relationship Id="rId27" Type="http://schemas.openxmlformats.org/officeDocument/2006/relationships/slideLayout" Target="../slideLayouts/slideLayout709.xml"/><Relationship Id="rId30" Type="http://schemas.openxmlformats.org/officeDocument/2006/relationships/slideLayout" Target="../slideLayouts/slideLayout712.xml"/><Relationship Id="rId35" Type="http://schemas.openxmlformats.org/officeDocument/2006/relationships/slideLayout" Target="../slideLayouts/slideLayout717.xml"/><Relationship Id="rId43" Type="http://schemas.openxmlformats.org/officeDocument/2006/relationships/slideLayout" Target="../slideLayouts/slideLayout725.xml"/><Relationship Id="rId48" Type="http://schemas.openxmlformats.org/officeDocument/2006/relationships/slideLayout" Target="../slideLayouts/slideLayout730.xml"/><Relationship Id="rId56" Type="http://schemas.openxmlformats.org/officeDocument/2006/relationships/slideLayout" Target="../slideLayouts/slideLayout738.xml"/><Relationship Id="rId64" Type="http://schemas.openxmlformats.org/officeDocument/2006/relationships/slideLayout" Target="../slideLayouts/slideLayout746.xml"/><Relationship Id="rId69" Type="http://schemas.openxmlformats.org/officeDocument/2006/relationships/slideLayout" Target="../slideLayouts/slideLayout751.xml"/><Relationship Id="rId77" Type="http://schemas.openxmlformats.org/officeDocument/2006/relationships/slideLayout" Target="../slideLayouts/slideLayout759.xml"/><Relationship Id="rId8" Type="http://schemas.openxmlformats.org/officeDocument/2006/relationships/slideLayout" Target="../slideLayouts/slideLayout690.xml"/><Relationship Id="rId51" Type="http://schemas.openxmlformats.org/officeDocument/2006/relationships/slideLayout" Target="../slideLayouts/slideLayout733.xml"/><Relationship Id="rId72" Type="http://schemas.openxmlformats.org/officeDocument/2006/relationships/slideLayout" Target="../slideLayouts/slideLayout754.xml"/><Relationship Id="rId80" Type="http://schemas.openxmlformats.org/officeDocument/2006/relationships/slideLayout" Target="../slideLayouts/slideLayout762.xml"/><Relationship Id="rId85" Type="http://schemas.openxmlformats.org/officeDocument/2006/relationships/slideLayout" Target="../slideLayouts/slideLayout767.xml"/><Relationship Id="rId93" Type="http://schemas.openxmlformats.org/officeDocument/2006/relationships/slideLayout" Target="../slideLayouts/slideLayout775.xml"/><Relationship Id="rId3" Type="http://schemas.openxmlformats.org/officeDocument/2006/relationships/slideLayout" Target="../slideLayouts/slideLayout685.xml"/><Relationship Id="rId12" Type="http://schemas.openxmlformats.org/officeDocument/2006/relationships/slideLayout" Target="../slideLayouts/slideLayout694.xml"/><Relationship Id="rId17" Type="http://schemas.openxmlformats.org/officeDocument/2006/relationships/slideLayout" Target="../slideLayouts/slideLayout699.xml"/><Relationship Id="rId25" Type="http://schemas.openxmlformats.org/officeDocument/2006/relationships/slideLayout" Target="../slideLayouts/slideLayout707.xml"/><Relationship Id="rId33" Type="http://schemas.openxmlformats.org/officeDocument/2006/relationships/slideLayout" Target="../slideLayouts/slideLayout715.xml"/><Relationship Id="rId38" Type="http://schemas.openxmlformats.org/officeDocument/2006/relationships/slideLayout" Target="../slideLayouts/slideLayout720.xml"/><Relationship Id="rId46" Type="http://schemas.openxmlformats.org/officeDocument/2006/relationships/slideLayout" Target="../slideLayouts/slideLayout728.xml"/><Relationship Id="rId59" Type="http://schemas.openxmlformats.org/officeDocument/2006/relationships/slideLayout" Target="../slideLayouts/slideLayout741.xml"/><Relationship Id="rId67" Type="http://schemas.openxmlformats.org/officeDocument/2006/relationships/slideLayout" Target="../slideLayouts/slideLayout749.xml"/><Relationship Id="rId20" Type="http://schemas.openxmlformats.org/officeDocument/2006/relationships/slideLayout" Target="../slideLayouts/slideLayout702.xml"/><Relationship Id="rId41" Type="http://schemas.openxmlformats.org/officeDocument/2006/relationships/slideLayout" Target="../slideLayouts/slideLayout723.xml"/><Relationship Id="rId54" Type="http://schemas.openxmlformats.org/officeDocument/2006/relationships/slideLayout" Target="../slideLayouts/slideLayout736.xml"/><Relationship Id="rId62" Type="http://schemas.openxmlformats.org/officeDocument/2006/relationships/slideLayout" Target="../slideLayouts/slideLayout744.xml"/><Relationship Id="rId70" Type="http://schemas.openxmlformats.org/officeDocument/2006/relationships/slideLayout" Target="../slideLayouts/slideLayout752.xml"/><Relationship Id="rId75" Type="http://schemas.openxmlformats.org/officeDocument/2006/relationships/slideLayout" Target="../slideLayouts/slideLayout757.xml"/><Relationship Id="rId83" Type="http://schemas.openxmlformats.org/officeDocument/2006/relationships/slideLayout" Target="../slideLayouts/slideLayout765.xml"/><Relationship Id="rId88" Type="http://schemas.openxmlformats.org/officeDocument/2006/relationships/slideLayout" Target="../slideLayouts/slideLayout770.xml"/><Relationship Id="rId91" Type="http://schemas.openxmlformats.org/officeDocument/2006/relationships/slideLayout" Target="../slideLayouts/slideLayout773.xml"/><Relationship Id="rId1" Type="http://schemas.openxmlformats.org/officeDocument/2006/relationships/slideLayout" Target="../slideLayouts/slideLayout683.xml"/><Relationship Id="rId6" Type="http://schemas.openxmlformats.org/officeDocument/2006/relationships/slideLayout" Target="../slideLayouts/slideLayout688.xml"/><Relationship Id="rId15" Type="http://schemas.openxmlformats.org/officeDocument/2006/relationships/slideLayout" Target="../slideLayouts/slideLayout697.xml"/><Relationship Id="rId23" Type="http://schemas.openxmlformats.org/officeDocument/2006/relationships/slideLayout" Target="../slideLayouts/slideLayout705.xml"/><Relationship Id="rId28" Type="http://schemas.openxmlformats.org/officeDocument/2006/relationships/slideLayout" Target="../slideLayouts/slideLayout710.xml"/><Relationship Id="rId36" Type="http://schemas.openxmlformats.org/officeDocument/2006/relationships/slideLayout" Target="../slideLayouts/slideLayout718.xml"/><Relationship Id="rId49" Type="http://schemas.openxmlformats.org/officeDocument/2006/relationships/slideLayout" Target="../slideLayouts/slideLayout731.xml"/><Relationship Id="rId57" Type="http://schemas.openxmlformats.org/officeDocument/2006/relationships/slideLayout" Target="../slideLayouts/slideLayout739.xml"/><Relationship Id="rId10" Type="http://schemas.openxmlformats.org/officeDocument/2006/relationships/slideLayout" Target="../slideLayouts/slideLayout692.xml"/><Relationship Id="rId31" Type="http://schemas.openxmlformats.org/officeDocument/2006/relationships/slideLayout" Target="../slideLayouts/slideLayout713.xml"/><Relationship Id="rId44" Type="http://schemas.openxmlformats.org/officeDocument/2006/relationships/slideLayout" Target="../slideLayouts/slideLayout726.xml"/><Relationship Id="rId52" Type="http://schemas.openxmlformats.org/officeDocument/2006/relationships/slideLayout" Target="../slideLayouts/slideLayout734.xml"/><Relationship Id="rId60" Type="http://schemas.openxmlformats.org/officeDocument/2006/relationships/slideLayout" Target="../slideLayouts/slideLayout742.xml"/><Relationship Id="rId65" Type="http://schemas.openxmlformats.org/officeDocument/2006/relationships/slideLayout" Target="../slideLayouts/slideLayout747.xml"/><Relationship Id="rId73" Type="http://schemas.openxmlformats.org/officeDocument/2006/relationships/slideLayout" Target="../slideLayouts/slideLayout755.xml"/><Relationship Id="rId78" Type="http://schemas.openxmlformats.org/officeDocument/2006/relationships/slideLayout" Target="../slideLayouts/slideLayout760.xml"/><Relationship Id="rId81" Type="http://schemas.openxmlformats.org/officeDocument/2006/relationships/slideLayout" Target="../slideLayouts/slideLayout763.xml"/><Relationship Id="rId86" Type="http://schemas.openxmlformats.org/officeDocument/2006/relationships/slideLayout" Target="../slideLayouts/slideLayout768.xml"/><Relationship Id="rId94" Type="http://schemas.openxmlformats.org/officeDocument/2006/relationships/theme" Target="../theme/theme61.xml"/><Relationship Id="rId4" Type="http://schemas.openxmlformats.org/officeDocument/2006/relationships/slideLayout" Target="../slideLayouts/slideLayout686.xml"/><Relationship Id="rId9" Type="http://schemas.openxmlformats.org/officeDocument/2006/relationships/slideLayout" Target="../slideLayouts/slideLayout691.xml"/></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783.xml"/><Relationship Id="rId13" Type="http://schemas.openxmlformats.org/officeDocument/2006/relationships/slideLayout" Target="../slideLayouts/slideLayout788.xml"/><Relationship Id="rId18" Type="http://schemas.openxmlformats.org/officeDocument/2006/relationships/slideLayout" Target="../slideLayouts/slideLayout793.xml"/><Relationship Id="rId26" Type="http://schemas.openxmlformats.org/officeDocument/2006/relationships/theme" Target="../theme/theme62.xml"/><Relationship Id="rId3" Type="http://schemas.openxmlformats.org/officeDocument/2006/relationships/slideLayout" Target="../slideLayouts/slideLayout778.xml"/><Relationship Id="rId21" Type="http://schemas.openxmlformats.org/officeDocument/2006/relationships/slideLayout" Target="../slideLayouts/slideLayout796.xml"/><Relationship Id="rId7" Type="http://schemas.openxmlformats.org/officeDocument/2006/relationships/slideLayout" Target="../slideLayouts/slideLayout782.xml"/><Relationship Id="rId12" Type="http://schemas.openxmlformats.org/officeDocument/2006/relationships/slideLayout" Target="../slideLayouts/slideLayout787.xml"/><Relationship Id="rId17" Type="http://schemas.openxmlformats.org/officeDocument/2006/relationships/slideLayout" Target="../slideLayouts/slideLayout792.xml"/><Relationship Id="rId25" Type="http://schemas.openxmlformats.org/officeDocument/2006/relationships/slideLayout" Target="../slideLayouts/slideLayout800.xml"/><Relationship Id="rId2" Type="http://schemas.openxmlformats.org/officeDocument/2006/relationships/slideLayout" Target="../slideLayouts/slideLayout777.xml"/><Relationship Id="rId16" Type="http://schemas.openxmlformats.org/officeDocument/2006/relationships/slideLayout" Target="../slideLayouts/slideLayout791.xml"/><Relationship Id="rId20" Type="http://schemas.openxmlformats.org/officeDocument/2006/relationships/slideLayout" Target="../slideLayouts/slideLayout795.xml"/><Relationship Id="rId1" Type="http://schemas.openxmlformats.org/officeDocument/2006/relationships/slideLayout" Target="../slideLayouts/slideLayout776.xml"/><Relationship Id="rId6" Type="http://schemas.openxmlformats.org/officeDocument/2006/relationships/slideLayout" Target="../slideLayouts/slideLayout781.xml"/><Relationship Id="rId11" Type="http://schemas.openxmlformats.org/officeDocument/2006/relationships/slideLayout" Target="../slideLayouts/slideLayout786.xml"/><Relationship Id="rId24" Type="http://schemas.openxmlformats.org/officeDocument/2006/relationships/slideLayout" Target="../slideLayouts/slideLayout799.xml"/><Relationship Id="rId5" Type="http://schemas.openxmlformats.org/officeDocument/2006/relationships/slideLayout" Target="../slideLayouts/slideLayout780.xml"/><Relationship Id="rId15" Type="http://schemas.openxmlformats.org/officeDocument/2006/relationships/slideLayout" Target="../slideLayouts/slideLayout790.xml"/><Relationship Id="rId23" Type="http://schemas.openxmlformats.org/officeDocument/2006/relationships/slideLayout" Target="../slideLayouts/slideLayout798.xml"/><Relationship Id="rId10" Type="http://schemas.openxmlformats.org/officeDocument/2006/relationships/slideLayout" Target="../slideLayouts/slideLayout785.xml"/><Relationship Id="rId19" Type="http://schemas.openxmlformats.org/officeDocument/2006/relationships/slideLayout" Target="../slideLayouts/slideLayout794.xml"/><Relationship Id="rId4" Type="http://schemas.openxmlformats.org/officeDocument/2006/relationships/slideLayout" Target="../slideLayouts/slideLayout779.xml"/><Relationship Id="rId9" Type="http://schemas.openxmlformats.org/officeDocument/2006/relationships/slideLayout" Target="../slideLayouts/slideLayout784.xml"/><Relationship Id="rId14" Type="http://schemas.openxmlformats.org/officeDocument/2006/relationships/slideLayout" Target="../slideLayouts/slideLayout789.xml"/><Relationship Id="rId22" Type="http://schemas.openxmlformats.org/officeDocument/2006/relationships/slideLayout" Target="../slideLayouts/slideLayout797.xml"/><Relationship Id="rId27" Type="http://schemas.openxmlformats.org/officeDocument/2006/relationships/image" Target="../media/image92.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12.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image" Target="../media/image13.png"/></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4" Type="http://schemas.openxmlformats.org/officeDocument/2006/relationships/slideLayout" Target="../slideLayouts/slideLayout62.xml"/><Relationship Id="rId9"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Freeform 61"/>
          <p:cNvSpPr>
            <a:spLocks/>
          </p:cNvSpPr>
          <p:nvPr/>
        </p:nvSpPr>
        <p:spPr bwMode="auto">
          <a:xfrm>
            <a:off x="8" y="1"/>
            <a:ext cx="9142413" cy="5138738"/>
          </a:xfrm>
          <a:custGeom>
            <a:avLst/>
            <a:gdLst>
              <a:gd name="T0" fmla="*/ 0 w 3404"/>
              <a:gd name="T1" fmla="*/ 0 h 2552"/>
              <a:gd name="T2" fmla="*/ 3404 w 3404"/>
              <a:gd name="T3" fmla="*/ 0 h 2552"/>
              <a:gd name="T4" fmla="*/ 3404 w 3404"/>
              <a:gd name="T5" fmla="*/ 2552 h 2552"/>
              <a:gd name="T6" fmla="*/ 0 w 3404"/>
              <a:gd name="T7" fmla="*/ 2552 h 2552"/>
              <a:gd name="T8" fmla="*/ 0 w 3404"/>
              <a:gd name="T9" fmla="*/ 52 h 2552"/>
              <a:gd name="T10" fmla="*/ 55 w 3404"/>
              <a:gd name="T11" fmla="*/ 52 h 2552"/>
              <a:gd name="T12" fmla="*/ 55 w 3404"/>
              <a:gd name="T13" fmla="*/ 2338 h 2552"/>
              <a:gd name="T14" fmla="*/ 2706 w 3404"/>
              <a:gd name="T15" fmla="*/ 2338 h 2552"/>
              <a:gd name="T16" fmla="*/ 2706 w 3404"/>
              <a:gd name="T17" fmla="*/ 2231 h 2552"/>
              <a:gd name="T18" fmla="*/ 3349 w 3404"/>
              <a:gd name="T19" fmla="*/ 2231 h 2552"/>
              <a:gd name="T20" fmla="*/ 3349 w 3404"/>
              <a:gd name="T21" fmla="*/ 93 h 2552"/>
              <a:gd name="T22" fmla="*/ 54 w 3404"/>
              <a:gd name="T23" fmla="*/ 94 h 2552"/>
              <a:gd name="T24" fmla="*/ 55 w 3404"/>
              <a:gd name="T25" fmla="*/ 52 h 2552"/>
              <a:gd name="T26" fmla="*/ 0 w 3404"/>
              <a:gd name="T27" fmla="*/ 52 h 2552"/>
              <a:gd name="T28" fmla="*/ 0 w 3404"/>
              <a:gd name="T29" fmla="*/ 0 h 25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04" h="2552">
                <a:moveTo>
                  <a:pt x="0" y="0"/>
                </a:moveTo>
                <a:lnTo>
                  <a:pt x="3404" y="0"/>
                </a:lnTo>
                <a:lnTo>
                  <a:pt x="3404" y="2552"/>
                </a:lnTo>
                <a:lnTo>
                  <a:pt x="0" y="2552"/>
                </a:lnTo>
                <a:lnTo>
                  <a:pt x="0" y="52"/>
                </a:lnTo>
                <a:lnTo>
                  <a:pt x="55" y="52"/>
                </a:lnTo>
                <a:lnTo>
                  <a:pt x="55" y="2338"/>
                </a:lnTo>
                <a:lnTo>
                  <a:pt x="2706" y="2338"/>
                </a:lnTo>
                <a:lnTo>
                  <a:pt x="2706" y="2231"/>
                </a:lnTo>
                <a:lnTo>
                  <a:pt x="3349" y="2231"/>
                </a:lnTo>
                <a:lnTo>
                  <a:pt x="3349" y="93"/>
                </a:lnTo>
                <a:lnTo>
                  <a:pt x="54" y="94"/>
                </a:lnTo>
                <a:lnTo>
                  <a:pt x="55" y="52"/>
                </a:lnTo>
                <a:lnTo>
                  <a:pt x="0" y="52"/>
                </a:lnTo>
                <a:lnTo>
                  <a:pt x="0" y="0"/>
                </a:lnTo>
                <a:close/>
              </a:path>
            </a:pathLst>
          </a:custGeom>
          <a:solidFill>
            <a:srgbClr val="FFFFFF"/>
          </a:solidFill>
          <a:ln w="9525">
            <a:noFill/>
            <a:round/>
            <a:headEnd/>
            <a:tailEnd/>
          </a:ln>
        </p:spPr>
        <p:txBody>
          <a:bodyPr lIns="91284" tIns="45642" rIns="91284" bIns="45642"/>
          <a:lstStyle/>
          <a:p>
            <a:pPr>
              <a:defRPr/>
            </a:pPr>
            <a:endParaRPr lang="en-GB"/>
          </a:p>
        </p:txBody>
      </p:sp>
      <p:sp>
        <p:nvSpPr>
          <p:cNvPr id="2051" name="Rectangle 4"/>
          <p:cNvSpPr>
            <a:spLocks noGrp="1" noChangeArrowheads="1"/>
          </p:cNvSpPr>
          <p:nvPr>
            <p:ph type="title"/>
          </p:nvPr>
        </p:nvSpPr>
        <p:spPr bwMode="auto">
          <a:xfrm>
            <a:off x="574675" y="215549"/>
            <a:ext cx="7989888" cy="113466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2052" name="Rectangle 5"/>
          <p:cNvSpPr>
            <a:spLocks noGrp="1" noChangeArrowheads="1"/>
          </p:cNvSpPr>
          <p:nvPr>
            <p:ph type="body" idx="1"/>
          </p:nvPr>
        </p:nvSpPr>
        <p:spPr bwMode="auto">
          <a:xfrm>
            <a:off x="574675" y="1564482"/>
            <a:ext cx="7989888" cy="28336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cSld>
  <p:clrMap bg1="lt1" tx1="dk1" bg2="lt2" tx2="dk2" accent1="accent1" accent2="accent2" accent3="accent3" accent4="accent4" accent5="accent5" accent6="accent6" hlink="hlink" folHlink="folHlink"/>
  <p:sldLayoutIdLst>
    <p:sldLayoutId id="2147484310" r:id="rId1"/>
    <p:sldLayoutId id="2147484262" r:id="rId2"/>
    <p:sldLayoutId id="2147484263" r:id="rId3"/>
    <p:sldLayoutId id="2147484264" r:id="rId4"/>
    <p:sldLayoutId id="2147484265" r:id="rId5"/>
    <p:sldLayoutId id="2147484266" r:id="rId6"/>
    <p:sldLayoutId id="2147484311" r:id="rId7"/>
    <p:sldLayoutId id="2147484312" r:id="rId8"/>
    <p:sldLayoutId id="2147484313" r:id="rId9"/>
    <p:sldLayoutId id="2147484314" r:id="rId10"/>
    <p:sldLayoutId id="2147484315" r:id="rId11"/>
    <p:sldLayoutId id="2147484316" r:id="rId12"/>
    <p:sldLayoutId id="2147484317" r:id="rId13"/>
  </p:sldLayoutIdLst>
  <p:hf hdr="0"/>
  <p:txStyles>
    <p:titleStyle>
      <a:lvl1pPr algn="l" rtl="0" eaLnBrk="0" fontAlgn="base" hangingPunct="0">
        <a:lnSpc>
          <a:spcPct val="94000"/>
        </a:lnSpc>
        <a:spcBef>
          <a:spcPct val="0"/>
        </a:spcBef>
        <a:spcAft>
          <a:spcPct val="0"/>
        </a:spcAft>
        <a:defRPr sz="3200" b="1">
          <a:solidFill>
            <a:schemeClr val="tx1"/>
          </a:solidFill>
          <a:latin typeface="+mj-lt"/>
          <a:ea typeface="ＭＳ Ｐゴシック" charset="-128"/>
          <a:cs typeface="ＭＳ Ｐゴシック" charset="-128"/>
        </a:defRPr>
      </a:lvl1pPr>
      <a:lvl2pPr algn="l" rtl="0" eaLnBrk="0" fontAlgn="base" hangingPunct="0">
        <a:lnSpc>
          <a:spcPct val="94000"/>
        </a:lnSpc>
        <a:spcBef>
          <a:spcPct val="0"/>
        </a:spcBef>
        <a:spcAft>
          <a:spcPct val="0"/>
        </a:spcAft>
        <a:defRPr sz="3200" b="1">
          <a:solidFill>
            <a:schemeClr val="tx1"/>
          </a:solidFill>
          <a:latin typeface="Verdana" charset="0"/>
          <a:ea typeface="ＭＳ Ｐゴシック" charset="-128"/>
          <a:cs typeface="ＭＳ Ｐゴシック" charset="-128"/>
        </a:defRPr>
      </a:lvl2pPr>
      <a:lvl3pPr algn="l" rtl="0" eaLnBrk="0" fontAlgn="base" hangingPunct="0">
        <a:lnSpc>
          <a:spcPct val="94000"/>
        </a:lnSpc>
        <a:spcBef>
          <a:spcPct val="0"/>
        </a:spcBef>
        <a:spcAft>
          <a:spcPct val="0"/>
        </a:spcAft>
        <a:defRPr sz="3200" b="1">
          <a:solidFill>
            <a:schemeClr val="tx1"/>
          </a:solidFill>
          <a:latin typeface="Verdana" charset="0"/>
          <a:ea typeface="ＭＳ Ｐゴシック" charset="-128"/>
          <a:cs typeface="ＭＳ Ｐゴシック" charset="-128"/>
        </a:defRPr>
      </a:lvl3pPr>
      <a:lvl4pPr algn="l" rtl="0" eaLnBrk="0" fontAlgn="base" hangingPunct="0">
        <a:lnSpc>
          <a:spcPct val="94000"/>
        </a:lnSpc>
        <a:spcBef>
          <a:spcPct val="0"/>
        </a:spcBef>
        <a:spcAft>
          <a:spcPct val="0"/>
        </a:spcAft>
        <a:defRPr sz="3200" b="1">
          <a:solidFill>
            <a:schemeClr val="tx1"/>
          </a:solidFill>
          <a:latin typeface="Verdana" charset="0"/>
          <a:ea typeface="ＭＳ Ｐゴシック" charset="-128"/>
          <a:cs typeface="ＭＳ Ｐゴシック" charset="-128"/>
        </a:defRPr>
      </a:lvl4pPr>
      <a:lvl5pPr algn="l" rtl="0" eaLnBrk="0" fontAlgn="base" hangingPunct="0">
        <a:lnSpc>
          <a:spcPct val="94000"/>
        </a:lnSpc>
        <a:spcBef>
          <a:spcPct val="0"/>
        </a:spcBef>
        <a:spcAft>
          <a:spcPct val="0"/>
        </a:spcAft>
        <a:defRPr sz="3200" b="1">
          <a:solidFill>
            <a:schemeClr val="tx1"/>
          </a:solidFill>
          <a:latin typeface="Verdana" charset="0"/>
          <a:ea typeface="ＭＳ Ｐゴシック" charset="-128"/>
          <a:cs typeface="ＭＳ Ｐゴシック" charset="-128"/>
        </a:defRPr>
      </a:lvl5pPr>
      <a:lvl6pPr marL="456269" algn="l" rtl="0" fontAlgn="base">
        <a:lnSpc>
          <a:spcPct val="94000"/>
        </a:lnSpc>
        <a:spcBef>
          <a:spcPct val="0"/>
        </a:spcBef>
        <a:spcAft>
          <a:spcPct val="0"/>
        </a:spcAft>
        <a:defRPr sz="3200" b="1">
          <a:solidFill>
            <a:schemeClr val="tx1"/>
          </a:solidFill>
          <a:latin typeface="Verdana" charset="0"/>
        </a:defRPr>
      </a:lvl6pPr>
      <a:lvl7pPr marL="912644" algn="l" rtl="0" fontAlgn="base">
        <a:lnSpc>
          <a:spcPct val="94000"/>
        </a:lnSpc>
        <a:spcBef>
          <a:spcPct val="0"/>
        </a:spcBef>
        <a:spcAft>
          <a:spcPct val="0"/>
        </a:spcAft>
        <a:defRPr sz="3200" b="1">
          <a:solidFill>
            <a:schemeClr val="tx1"/>
          </a:solidFill>
          <a:latin typeface="Verdana" charset="0"/>
        </a:defRPr>
      </a:lvl7pPr>
      <a:lvl8pPr marL="1368948" algn="l" rtl="0" fontAlgn="base">
        <a:lnSpc>
          <a:spcPct val="94000"/>
        </a:lnSpc>
        <a:spcBef>
          <a:spcPct val="0"/>
        </a:spcBef>
        <a:spcAft>
          <a:spcPct val="0"/>
        </a:spcAft>
        <a:defRPr sz="3200" b="1">
          <a:solidFill>
            <a:schemeClr val="tx1"/>
          </a:solidFill>
          <a:latin typeface="Verdana" charset="0"/>
        </a:defRPr>
      </a:lvl8pPr>
      <a:lvl9pPr marL="1825286" algn="l" rtl="0" fontAlgn="base">
        <a:lnSpc>
          <a:spcPct val="94000"/>
        </a:lnSpc>
        <a:spcBef>
          <a:spcPct val="0"/>
        </a:spcBef>
        <a:spcAft>
          <a:spcPct val="0"/>
        </a:spcAft>
        <a:defRPr sz="3200" b="1">
          <a:solidFill>
            <a:schemeClr val="tx1"/>
          </a:solidFill>
          <a:latin typeface="Verdana" charset="0"/>
        </a:defRPr>
      </a:lvl9pPr>
    </p:titleStyle>
    <p:bodyStyle>
      <a:lvl1pPr marL="205985" indent="-205985" algn="l" rtl="0" eaLnBrk="0" fontAlgn="base" hangingPunct="0">
        <a:lnSpc>
          <a:spcPct val="111000"/>
        </a:lnSpc>
        <a:spcBef>
          <a:spcPct val="20000"/>
        </a:spcBef>
        <a:spcAft>
          <a:spcPct val="0"/>
        </a:spcAft>
        <a:buChar char="•"/>
        <a:defRPr sz="2100">
          <a:solidFill>
            <a:schemeClr val="tx1"/>
          </a:solidFill>
          <a:latin typeface="+mn-lt"/>
          <a:ea typeface="ＭＳ Ｐゴシック" charset="-128"/>
          <a:cs typeface="ＭＳ Ｐゴシック" charset="-128"/>
        </a:defRPr>
      </a:lvl1pPr>
      <a:lvl2pPr marL="419870" indent="-212335" algn="l" rtl="0" eaLnBrk="0" fontAlgn="base" hangingPunct="0">
        <a:lnSpc>
          <a:spcPts val="2600"/>
        </a:lnSpc>
        <a:spcBef>
          <a:spcPct val="20000"/>
        </a:spcBef>
        <a:spcAft>
          <a:spcPct val="0"/>
        </a:spcAft>
        <a:buChar char="•"/>
        <a:defRPr sz="2800">
          <a:solidFill>
            <a:schemeClr val="tx1"/>
          </a:solidFill>
          <a:latin typeface="+mn-lt"/>
          <a:ea typeface="ＭＳ Ｐゴシック" charset="-128"/>
        </a:defRPr>
      </a:lvl2pPr>
      <a:lvl3pPr marL="640102" indent="-218609" algn="l" rtl="0" eaLnBrk="0" fontAlgn="base" hangingPunct="0">
        <a:lnSpc>
          <a:spcPct val="125000"/>
        </a:lnSpc>
        <a:spcBef>
          <a:spcPct val="20000"/>
        </a:spcBef>
        <a:spcAft>
          <a:spcPct val="0"/>
        </a:spcAft>
        <a:buChar char="•"/>
        <a:defRPr sz="1600">
          <a:solidFill>
            <a:schemeClr val="tx1"/>
          </a:solidFill>
          <a:latin typeface="+mn-lt"/>
          <a:ea typeface="ＭＳ Ｐゴシック" charset="-128"/>
        </a:defRPr>
      </a:lvl3pPr>
      <a:lvl4pPr marL="854024" indent="-212335" algn="l" rtl="0" eaLnBrk="0" fontAlgn="base" hangingPunct="0">
        <a:lnSpc>
          <a:spcPct val="119000"/>
        </a:lnSpc>
        <a:spcBef>
          <a:spcPct val="20000"/>
        </a:spcBef>
        <a:spcAft>
          <a:spcPct val="0"/>
        </a:spcAft>
        <a:buChar char="•"/>
        <a:defRPr sz="1400">
          <a:solidFill>
            <a:schemeClr val="tx1"/>
          </a:solidFill>
          <a:latin typeface="+mn-lt"/>
          <a:ea typeface="ＭＳ Ｐゴシック" charset="-128"/>
        </a:defRPr>
      </a:lvl4pPr>
      <a:lvl5pPr marL="1067870" indent="-212335" algn="l" rtl="0" eaLnBrk="0" fontAlgn="base" hangingPunct="0">
        <a:lnSpc>
          <a:spcPct val="125000"/>
        </a:lnSpc>
        <a:spcBef>
          <a:spcPct val="20000"/>
        </a:spcBef>
        <a:spcAft>
          <a:spcPct val="0"/>
        </a:spcAft>
        <a:buChar char="•"/>
        <a:defRPr sz="1200">
          <a:solidFill>
            <a:schemeClr val="tx1"/>
          </a:solidFill>
          <a:latin typeface="+mn-lt"/>
          <a:ea typeface="ＭＳ Ｐゴシック" charset="-128"/>
        </a:defRPr>
      </a:lvl5pPr>
      <a:lvl6pPr marL="1524211" indent="-212335" algn="l" rtl="0" fontAlgn="base">
        <a:lnSpc>
          <a:spcPct val="125000"/>
        </a:lnSpc>
        <a:spcBef>
          <a:spcPct val="20000"/>
        </a:spcBef>
        <a:spcAft>
          <a:spcPct val="0"/>
        </a:spcAft>
        <a:buChar char="•"/>
        <a:defRPr sz="1200">
          <a:solidFill>
            <a:schemeClr val="tx1"/>
          </a:solidFill>
          <a:latin typeface="+mn-lt"/>
          <a:ea typeface="ＭＳ Ｐゴシック" charset="-128"/>
        </a:defRPr>
      </a:lvl6pPr>
      <a:lvl7pPr marL="1980514" indent="-212335" algn="l" rtl="0" fontAlgn="base">
        <a:lnSpc>
          <a:spcPct val="125000"/>
        </a:lnSpc>
        <a:spcBef>
          <a:spcPct val="20000"/>
        </a:spcBef>
        <a:spcAft>
          <a:spcPct val="0"/>
        </a:spcAft>
        <a:buChar char="•"/>
        <a:defRPr sz="1200">
          <a:solidFill>
            <a:schemeClr val="tx1"/>
          </a:solidFill>
          <a:latin typeface="+mn-lt"/>
          <a:ea typeface="ＭＳ Ｐゴシック" charset="-128"/>
        </a:defRPr>
      </a:lvl7pPr>
      <a:lvl8pPr marL="2436817" indent="-212335" algn="l" rtl="0" fontAlgn="base">
        <a:lnSpc>
          <a:spcPct val="125000"/>
        </a:lnSpc>
        <a:spcBef>
          <a:spcPct val="20000"/>
        </a:spcBef>
        <a:spcAft>
          <a:spcPct val="0"/>
        </a:spcAft>
        <a:buChar char="•"/>
        <a:defRPr sz="1200">
          <a:solidFill>
            <a:schemeClr val="tx1"/>
          </a:solidFill>
          <a:latin typeface="+mn-lt"/>
          <a:ea typeface="ＭＳ Ｐゴシック" charset="-128"/>
        </a:defRPr>
      </a:lvl8pPr>
      <a:lvl9pPr marL="2893157" indent="-212335" algn="l" rtl="0" fontAlgn="base">
        <a:lnSpc>
          <a:spcPct val="125000"/>
        </a:lnSpc>
        <a:spcBef>
          <a:spcPct val="20000"/>
        </a:spcBef>
        <a:spcAft>
          <a:spcPct val="0"/>
        </a:spcAft>
        <a:buChar char="•"/>
        <a:defRPr sz="1200">
          <a:solidFill>
            <a:schemeClr val="tx1"/>
          </a:solidFill>
          <a:latin typeface="+mn-lt"/>
          <a:ea typeface="ＭＳ Ｐゴシック" charset="-128"/>
        </a:defRPr>
      </a:lvl9pPr>
    </p:bodyStyle>
    <p:otherStyle>
      <a:defPPr>
        <a:defRPr lang="en-US"/>
      </a:defPPr>
      <a:lvl1pPr marL="0" algn="l" defTabSz="456269" rtl="0" eaLnBrk="1" latinLnBrk="0" hangingPunct="1">
        <a:defRPr sz="1800" kern="1200">
          <a:solidFill>
            <a:schemeClr val="tx1"/>
          </a:solidFill>
          <a:latin typeface="+mn-lt"/>
          <a:ea typeface="+mn-ea"/>
          <a:cs typeface="+mn-cs"/>
        </a:defRPr>
      </a:lvl1pPr>
      <a:lvl2pPr marL="456269" algn="l" defTabSz="456269" rtl="0" eaLnBrk="1" latinLnBrk="0" hangingPunct="1">
        <a:defRPr sz="1800" kern="1200">
          <a:solidFill>
            <a:schemeClr val="tx1"/>
          </a:solidFill>
          <a:latin typeface="+mn-lt"/>
          <a:ea typeface="+mn-ea"/>
          <a:cs typeface="+mn-cs"/>
        </a:defRPr>
      </a:lvl2pPr>
      <a:lvl3pPr marL="912644" algn="l" defTabSz="456269" rtl="0" eaLnBrk="1" latinLnBrk="0" hangingPunct="1">
        <a:defRPr sz="1800" kern="1200">
          <a:solidFill>
            <a:schemeClr val="tx1"/>
          </a:solidFill>
          <a:latin typeface="+mn-lt"/>
          <a:ea typeface="+mn-ea"/>
          <a:cs typeface="+mn-cs"/>
        </a:defRPr>
      </a:lvl3pPr>
      <a:lvl4pPr marL="1368948" algn="l" defTabSz="456269" rtl="0" eaLnBrk="1" latinLnBrk="0" hangingPunct="1">
        <a:defRPr sz="1800" kern="1200">
          <a:solidFill>
            <a:schemeClr val="tx1"/>
          </a:solidFill>
          <a:latin typeface="+mn-lt"/>
          <a:ea typeface="+mn-ea"/>
          <a:cs typeface="+mn-cs"/>
        </a:defRPr>
      </a:lvl4pPr>
      <a:lvl5pPr marL="1825286" algn="l" defTabSz="456269" rtl="0" eaLnBrk="1" latinLnBrk="0" hangingPunct="1">
        <a:defRPr sz="1800" kern="1200">
          <a:solidFill>
            <a:schemeClr val="tx1"/>
          </a:solidFill>
          <a:latin typeface="+mn-lt"/>
          <a:ea typeface="+mn-ea"/>
          <a:cs typeface="+mn-cs"/>
        </a:defRPr>
      </a:lvl5pPr>
      <a:lvl6pPr marL="2281554" algn="l" defTabSz="456269" rtl="0" eaLnBrk="1" latinLnBrk="0" hangingPunct="1">
        <a:defRPr sz="1800" kern="1200">
          <a:solidFill>
            <a:schemeClr val="tx1"/>
          </a:solidFill>
          <a:latin typeface="+mn-lt"/>
          <a:ea typeface="+mn-ea"/>
          <a:cs typeface="+mn-cs"/>
        </a:defRPr>
      </a:lvl6pPr>
      <a:lvl7pPr marL="2737820" algn="l" defTabSz="456269" rtl="0" eaLnBrk="1" latinLnBrk="0" hangingPunct="1">
        <a:defRPr sz="1800" kern="1200">
          <a:solidFill>
            <a:schemeClr val="tx1"/>
          </a:solidFill>
          <a:latin typeface="+mn-lt"/>
          <a:ea typeface="+mn-ea"/>
          <a:cs typeface="+mn-cs"/>
        </a:defRPr>
      </a:lvl7pPr>
      <a:lvl8pPr marL="3194165" algn="l" defTabSz="456269" rtl="0" eaLnBrk="1" latinLnBrk="0" hangingPunct="1">
        <a:defRPr sz="1800" kern="1200">
          <a:solidFill>
            <a:schemeClr val="tx1"/>
          </a:solidFill>
          <a:latin typeface="+mn-lt"/>
          <a:ea typeface="+mn-ea"/>
          <a:cs typeface="+mn-cs"/>
        </a:defRPr>
      </a:lvl8pPr>
      <a:lvl9pPr marL="3650488" algn="l" defTabSz="456269"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8943" y="171461"/>
            <a:ext cx="836453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8943" y="1085850"/>
            <a:ext cx="8364537"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9635606"/>
      </p:ext>
    </p:extLst>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Lst>
  <p:transition>
    <p:fade/>
  </p:transition>
  <p:txStyles>
    <p:titleStyle>
      <a:lvl1pPr algn="l" defTabSz="911057" rtl="0" eaLnBrk="0" fontAlgn="base" hangingPunct="0">
        <a:lnSpc>
          <a:spcPct val="90000"/>
        </a:lnSpc>
        <a:spcBef>
          <a:spcPct val="0"/>
        </a:spcBef>
        <a:spcAft>
          <a:spcPct val="0"/>
        </a:spcAft>
        <a:defRPr lang="en-US" sz="5400" kern="12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ea typeface="+mn-ea"/>
          <a:cs typeface="Arial" charset="0"/>
        </a:defRPr>
      </a:lvl1pPr>
      <a:lvl2pPr algn="l" defTabSz="911057" rtl="0" eaLnBrk="0" fontAlgn="base" hangingPunct="0">
        <a:lnSpc>
          <a:spcPct val="90000"/>
        </a:lnSpc>
        <a:spcBef>
          <a:spcPct val="0"/>
        </a:spcBef>
        <a:spcAft>
          <a:spcPct val="0"/>
        </a:spcAft>
        <a:defRPr sz="5400">
          <a:solidFill>
            <a:schemeClr val="tx1"/>
          </a:solidFill>
          <a:latin typeface="Segoe UI Light" pitchFamily="34" charset="0"/>
          <a:cs typeface="Arial" charset="0"/>
        </a:defRPr>
      </a:lvl2pPr>
      <a:lvl3pPr algn="l" defTabSz="911057" rtl="0" eaLnBrk="0" fontAlgn="base" hangingPunct="0">
        <a:lnSpc>
          <a:spcPct val="90000"/>
        </a:lnSpc>
        <a:spcBef>
          <a:spcPct val="0"/>
        </a:spcBef>
        <a:spcAft>
          <a:spcPct val="0"/>
        </a:spcAft>
        <a:defRPr sz="5400">
          <a:solidFill>
            <a:schemeClr val="tx1"/>
          </a:solidFill>
          <a:latin typeface="Segoe UI Light" pitchFamily="34" charset="0"/>
          <a:cs typeface="Arial" charset="0"/>
        </a:defRPr>
      </a:lvl3pPr>
      <a:lvl4pPr algn="l" defTabSz="911057" rtl="0" eaLnBrk="0" fontAlgn="base" hangingPunct="0">
        <a:lnSpc>
          <a:spcPct val="90000"/>
        </a:lnSpc>
        <a:spcBef>
          <a:spcPct val="0"/>
        </a:spcBef>
        <a:spcAft>
          <a:spcPct val="0"/>
        </a:spcAft>
        <a:defRPr sz="5400">
          <a:solidFill>
            <a:schemeClr val="tx1"/>
          </a:solidFill>
          <a:latin typeface="Segoe UI Light" pitchFamily="34" charset="0"/>
          <a:cs typeface="Arial" charset="0"/>
        </a:defRPr>
      </a:lvl4pPr>
      <a:lvl5pPr algn="l" defTabSz="911057" rtl="0" eaLnBrk="0" fontAlgn="base" hangingPunct="0">
        <a:lnSpc>
          <a:spcPct val="90000"/>
        </a:lnSpc>
        <a:spcBef>
          <a:spcPct val="0"/>
        </a:spcBef>
        <a:spcAft>
          <a:spcPct val="0"/>
        </a:spcAft>
        <a:defRPr sz="5400">
          <a:solidFill>
            <a:schemeClr val="tx1"/>
          </a:solidFill>
          <a:latin typeface="Segoe UI Light" pitchFamily="34" charset="0"/>
          <a:cs typeface="Arial" charset="0"/>
        </a:defRPr>
      </a:lvl5pPr>
      <a:lvl6pPr marL="456269" algn="l" defTabSz="911057" rtl="0" fontAlgn="base">
        <a:lnSpc>
          <a:spcPct val="90000"/>
        </a:lnSpc>
        <a:spcBef>
          <a:spcPct val="0"/>
        </a:spcBef>
        <a:spcAft>
          <a:spcPct val="0"/>
        </a:spcAft>
        <a:defRPr sz="5400">
          <a:solidFill>
            <a:schemeClr val="tx1"/>
          </a:solidFill>
          <a:latin typeface="Segoe UI Light" pitchFamily="34" charset="0"/>
          <a:cs typeface="Arial" charset="0"/>
        </a:defRPr>
      </a:lvl6pPr>
      <a:lvl7pPr marL="912644" algn="l" defTabSz="911057" rtl="0" fontAlgn="base">
        <a:lnSpc>
          <a:spcPct val="90000"/>
        </a:lnSpc>
        <a:spcBef>
          <a:spcPct val="0"/>
        </a:spcBef>
        <a:spcAft>
          <a:spcPct val="0"/>
        </a:spcAft>
        <a:defRPr sz="5400">
          <a:solidFill>
            <a:schemeClr val="tx1"/>
          </a:solidFill>
          <a:latin typeface="Segoe UI Light" pitchFamily="34" charset="0"/>
          <a:cs typeface="Arial" charset="0"/>
        </a:defRPr>
      </a:lvl7pPr>
      <a:lvl8pPr marL="1368948" algn="l" defTabSz="911057" rtl="0" fontAlgn="base">
        <a:lnSpc>
          <a:spcPct val="90000"/>
        </a:lnSpc>
        <a:spcBef>
          <a:spcPct val="0"/>
        </a:spcBef>
        <a:spcAft>
          <a:spcPct val="0"/>
        </a:spcAft>
        <a:defRPr sz="5400">
          <a:solidFill>
            <a:schemeClr val="tx1"/>
          </a:solidFill>
          <a:latin typeface="Segoe UI Light" pitchFamily="34" charset="0"/>
          <a:cs typeface="Arial" charset="0"/>
        </a:defRPr>
      </a:lvl8pPr>
      <a:lvl9pPr marL="1825286" algn="l" defTabSz="911057" rtl="0" fontAlgn="base">
        <a:lnSpc>
          <a:spcPct val="90000"/>
        </a:lnSpc>
        <a:spcBef>
          <a:spcPct val="0"/>
        </a:spcBef>
        <a:spcAft>
          <a:spcPct val="0"/>
        </a:spcAft>
        <a:defRPr sz="5400">
          <a:solidFill>
            <a:schemeClr val="tx1"/>
          </a:solidFill>
          <a:latin typeface="Segoe UI Light" pitchFamily="34" charset="0"/>
          <a:cs typeface="Arial" charset="0"/>
        </a:defRPr>
      </a:lvl9pPr>
    </p:titleStyle>
    <p:bodyStyle>
      <a:lvl1pPr marL="345374" indent="-345374" algn="l" defTabSz="911057" rtl="0" eaLnBrk="0" fontAlgn="base" hangingPunct="0">
        <a:lnSpc>
          <a:spcPct val="90000"/>
        </a:lnSpc>
        <a:spcBef>
          <a:spcPct val="20000"/>
        </a:spcBef>
        <a:spcAft>
          <a:spcPct val="0"/>
        </a:spcAft>
        <a:buSzPct val="90000"/>
        <a:buFont typeface="Arial" charset="0"/>
        <a:buChar char="•"/>
        <a:defRPr sz="3200" kern="1200">
          <a:solidFill>
            <a:srgbClr val="FF0000"/>
          </a:solidFill>
          <a:latin typeface="+mj-lt"/>
          <a:ea typeface="+mn-ea"/>
          <a:cs typeface="+mn-cs"/>
        </a:defRPr>
      </a:lvl1pPr>
      <a:lvl2pPr marL="629063" indent="-283617" algn="l" defTabSz="911057" rtl="0" eaLnBrk="0" fontAlgn="base" hangingPunct="0">
        <a:lnSpc>
          <a:spcPct val="90000"/>
        </a:lnSpc>
        <a:spcBef>
          <a:spcPct val="20000"/>
        </a:spcBef>
        <a:spcAft>
          <a:spcPct val="0"/>
        </a:spcAft>
        <a:buSzPct val="90000"/>
        <a:buFont typeface="Arial" charset="0"/>
        <a:buChar char="•"/>
        <a:tabLst>
          <a:tab pos="629063"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2644" indent="-283617" algn="l" defTabSz="911057" rtl="0" eaLnBrk="0" fontAlgn="base" hangingPunct="0">
        <a:lnSpc>
          <a:spcPct val="90000"/>
        </a:lnSpc>
        <a:spcBef>
          <a:spcPct val="20000"/>
        </a:spcBef>
        <a:spcAft>
          <a:spcPct val="0"/>
        </a:spcAft>
        <a:buSzPct val="90000"/>
        <a:buFont typeface="Arial"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79839" indent="-223370" algn="l" defTabSz="911057" rtl="0" eaLnBrk="0" fontAlgn="base" hangingPunct="0">
        <a:lnSpc>
          <a:spcPct val="90000"/>
        </a:lnSpc>
        <a:spcBef>
          <a:spcPct val="20000"/>
        </a:spcBef>
        <a:spcAft>
          <a:spcPct val="0"/>
        </a:spcAft>
        <a:buSzPct val="90000"/>
        <a:buFont typeface="Arial" charset="0"/>
        <a:buChar char="•"/>
        <a:tabLst>
          <a:tab pos="912644"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09633" indent="-229721" algn="l" defTabSz="911057" rtl="0" eaLnBrk="0" fontAlgn="base" hangingPunct="0">
        <a:lnSpc>
          <a:spcPct val="90000"/>
        </a:lnSpc>
        <a:spcBef>
          <a:spcPct val="20000"/>
        </a:spcBef>
        <a:spcAft>
          <a:spcPct val="0"/>
        </a:spcAft>
        <a:buSzPct val="90000"/>
        <a:buFont typeface="Arial"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09586" indent="-228123" algn="l" defTabSz="9126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909" indent="-228123" algn="l" defTabSz="9126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192" indent="-228123" algn="l" defTabSz="9126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479" indent="-228123" algn="l" defTabSz="9126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06" rtl="0" eaLnBrk="1" latinLnBrk="0" hangingPunct="1">
        <a:defRPr sz="1800" kern="1200">
          <a:solidFill>
            <a:schemeClr val="tx1"/>
          </a:solidFill>
          <a:latin typeface="+mn-lt"/>
          <a:ea typeface="+mn-ea"/>
          <a:cs typeface="+mn-cs"/>
        </a:defRPr>
      </a:lvl1pPr>
      <a:lvl2pPr marL="456251" algn="l" defTabSz="912606" rtl="0" eaLnBrk="1" latinLnBrk="0" hangingPunct="1">
        <a:defRPr sz="1800" kern="1200">
          <a:solidFill>
            <a:schemeClr val="tx1"/>
          </a:solidFill>
          <a:latin typeface="+mn-lt"/>
          <a:ea typeface="+mn-ea"/>
          <a:cs typeface="+mn-cs"/>
        </a:defRPr>
      </a:lvl2pPr>
      <a:lvl3pPr marL="912606" algn="l" defTabSz="912606" rtl="0" eaLnBrk="1" latinLnBrk="0" hangingPunct="1">
        <a:defRPr sz="1800" kern="1200">
          <a:solidFill>
            <a:schemeClr val="tx1"/>
          </a:solidFill>
          <a:latin typeface="+mn-lt"/>
          <a:ea typeface="+mn-ea"/>
          <a:cs typeface="+mn-cs"/>
        </a:defRPr>
      </a:lvl3pPr>
      <a:lvl4pPr marL="1368893" algn="l" defTabSz="912606" rtl="0" eaLnBrk="1" latinLnBrk="0" hangingPunct="1">
        <a:defRPr sz="1800" kern="1200">
          <a:solidFill>
            <a:schemeClr val="tx1"/>
          </a:solidFill>
          <a:latin typeface="+mn-lt"/>
          <a:ea typeface="+mn-ea"/>
          <a:cs typeface="+mn-cs"/>
        </a:defRPr>
      </a:lvl4pPr>
      <a:lvl5pPr marL="1825214" algn="l" defTabSz="912606" rtl="0" eaLnBrk="1" latinLnBrk="0" hangingPunct="1">
        <a:defRPr sz="1800" kern="1200">
          <a:solidFill>
            <a:schemeClr val="tx1"/>
          </a:solidFill>
          <a:latin typeface="+mn-lt"/>
          <a:ea typeface="+mn-ea"/>
          <a:cs typeface="+mn-cs"/>
        </a:defRPr>
      </a:lvl5pPr>
      <a:lvl6pPr marL="2281463" algn="l" defTabSz="912606" rtl="0" eaLnBrk="1" latinLnBrk="0" hangingPunct="1">
        <a:defRPr sz="1800" kern="1200">
          <a:solidFill>
            <a:schemeClr val="tx1"/>
          </a:solidFill>
          <a:latin typeface="+mn-lt"/>
          <a:ea typeface="+mn-ea"/>
          <a:cs typeface="+mn-cs"/>
        </a:defRPr>
      </a:lvl6pPr>
      <a:lvl7pPr marL="2737709" algn="l" defTabSz="912606" rtl="0" eaLnBrk="1" latinLnBrk="0" hangingPunct="1">
        <a:defRPr sz="1800" kern="1200">
          <a:solidFill>
            <a:schemeClr val="tx1"/>
          </a:solidFill>
          <a:latin typeface="+mn-lt"/>
          <a:ea typeface="+mn-ea"/>
          <a:cs typeface="+mn-cs"/>
        </a:defRPr>
      </a:lvl7pPr>
      <a:lvl8pPr marL="3194037" algn="l" defTabSz="912606" rtl="0" eaLnBrk="1" latinLnBrk="0" hangingPunct="1">
        <a:defRPr sz="1800" kern="1200">
          <a:solidFill>
            <a:schemeClr val="tx1"/>
          </a:solidFill>
          <a:latin typeface="+mn-lt"/>
          <a:ea typeface="+mn-ea"/>
          <a:cs typeface="+mn-cs"/>
        </a:defRPr>
      </a:lvl8pPr>
      <a:lvl9pPr marL="3650344" algn="l" defTabSz="912606"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8943" y="171461"/>
            <a:ext cx="8364537"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388943" y="1085850"/>
            <a:ext cx="8364537"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1899468"/>
      </p:ext>
    </p:extLst>
  </p:cSld>
  <p:clrMap bg1="dk1" tx1="lt1" bg2="dk2" tx2="lt2" accent1="accent1" accent2="accent2" accent3="accent3" accent4="accent4" accent5="accent5" accent6="accent6" hlink="hlink" folHlink="folHlink"/>
  <p:sldLayoutIdLst>
    <p:sldLayoutId id="2147484394" r:id="rId1"/>
    <p:sldLayoutId id="2147484395" r:id="rId2"/>
    <p:sldLayoutId id="2147484396" r:id="rId3"/>
    <p:sldLayoutId id="2147484397" r:id="rId4"/>
    <p:sldLayoutId id="2147484398" r:id="rId5"/>
    <p:sldLayoutId id="2147484399" r:id="rId6"/>
    <p:sldLayoutId id="2147484400" r:id="rId7"/>
    <p:sldLayoutId id="2147484401" r:id="rId8"/>
    <p:sldLayoutId id="2147484402" r:id="rId9"/>
    <p:sldLayoutId id="2147484403" r:id="rId10"/>
  </p:sldLayoutIdLst>
  <p:transition>
    <p:fade/>
  </p:transition>
  <p:txStyles>
    <p:titleStyle>
      <a:lvl1pPr algn="l" defTabSz="911057" rtl="0" eaLnBrk="0" fontAlgn="base" hangingPunct="0">
        <a:lnSpc>
          <a:spcPct val="90000"/>
        </a:lnSpc>
        <a:spcBef>
          <a:spcPct val="0"/>
        </a:spcBef>
        <a:spcAft>
          <a:spcPct val="0"/>
        </a:spcAft>
        <a:defRPr lang="en-US" sz="5400" kern="1200" spc="-100" dirty="0">
          <a:ln w="3175">
            <a:noFill/>
          </a:ln>
          <a:gradFill flip="none" rotWithShape="1">
            <a:gsLst>
              <a:gs pos="0">
                <a:schemeClr val="tx1">
                  <a:lumMod val="75000"/>
                  <a:lumOff val="25000"/>
                </a:schemeClr>
              </a:gs>
              <a:gs pos="86000">
                <a:schemeClr val="tx1">
                  <a:lumMod val="75000"/>
                  <a:lumOff val="25000"/>
                </a:schemeClr>
              </a:gs>
            </a:gsLst>
            <a:lin ang="5400000" scaled="0"/>
            <a:tileRect/>
          </a:gradFill>
          <a:latin typeface="Segoe UI Light" pitchFamily="34" charset="0"/>
          <a:ea typeface="+mn-ea"/>
          <a:cs typeface="Arial" charset="0"/>
        </a:defRPr>
      </a:lvl1pPr>
      <a:lvl2pPr algn="l" defTabSz="911057" rtl="0" eaLnBrk="0" fontAlgn="base" hangingPunct="0">
        <a:lnSpc>
          <a:spcPct val="90000"/>
        </a:lnSpc>
        <a:spcBef>
          <a:spcPct val="0"/>
        </a:spcBef>
        <a:spcAft>
          <a:spcPct val="0"/>
        </a:spcAft>
        <a:defRPr sz="5400">
          <a:solidFill>
            <a:schemeClr val="tx1"/>
          </a:solidFill>
          <a:latin typeface="Segoe UI Light" pitchFamily="34" charset="0"/>
          <a:cs typeface="Arial" charset="0"/>
        </a:defRPr>
      </a:lvl2pPr>
      <a:lvl3pPr algn="l" defTabSz="911057" rtl="0" eaLnBrk="0" fontAlgn="base" hangingPunct="0">
        <a:lnSpc>
          <a:spcPct val="90000"/>
        </a:lnSpc>
        <a:spcBef>
          <a:spcPct val="0"/>
        </a:spcBef>
        <a:spcAft>
          <a:spcPct val="0"/>
        </a:spcAft>
        <a:defRPr sz="5400">
          <a:solidFill>
            <a:schemeClr val="tx1"/>
          </a:solidFill>
          <a:latin typeface="Segoe UI Light" pitchFamily="34" charset="0"/>
          <a:cs typeface="Arial" charset="0"/>
        </a:defRPr>
      </a:lvl3pPr>
      <a:lvl4pPr algn="l" defTabSz="911057" rtl="0" eaLnBrk="0" fontAlgn="base" hangingPunct="0">
        <a:lnSpc>
          <a:spcPct val="90000"/>
        </a:lnSpc>
        <a:spcBef>
          <a:spcPct val="0"/>
        </a:spcBef>
        <a:spcAft>
          <a:spcPct val="0"/>
        </a:spcAft>
        <a:defRPr sz="5400">
          <a:solidFill>
            <a:schemeClr val="tx1"/>
          </a:solidFill>
          <a:latin typeface="Segoe UI Light" pitchFamily="34" charset="0"/>
          <a:cs typeface="Arial" charset="0"/>
        </a:defRPr>
      </a:lvl4pPr>
      <a:lvl5pPr algn="l" defTabSz="911057" rtl="0" eaLnBrk="0" fontAlgn="base" hangingPunct="0">
        <a:lnSpc>
          <a:spcPct val="90000"/>
        </a:lnSpc>
        <a:spcBef>
          <a:spcPct val="0"/>
        </a:spcBef>
        <a:spcAft>
          <a:spcPct val="0"/>
        </a:spcAft>
        <a:defRPr sz="5400">
          <a:solidFill>
            <a:schemeClr val="tx1"/>
          </a:solidFill>
          <a:latin typeface="Segoe UI Light" pitchFamily="34" charset="0"/>
          <a:cs typeface="Arial" charset="0"/>
        </a:defRPr>
      </a:lvl5pPr>
      <a:lvl6pPr marL="456269" algn="l" defTabSz="911057" rtl="0" fontAlgn="base">
        <a:lnSpc>
          <a:spcPct val="90000"/>
        </a:lnSpc>
        <a:spcBef>
          <a:spcPct val="0"/>
        </a:spcBef>
        <a:spcAft>
          <a:spcPct val="0"/>
        </a:spcAft>
        <a:defRPr sz="5400">
          <a:solidFill>
            <a:schemeClr val="tx1"/>
          </a:solidFill>
          <a:latin typeface="Segoe UI Light" pitchFamily="34" charset="0"/>
          <a:cs typeface="Arial" charset="0"/>
        </a:defRPr>
      </a:lvl6pPr>
      <a:lvl7pPr marL="912644" algn="l" defTabSz="911057" rtl="0" fontAlgn="base">
        <a:lnSpc>
          <a:spcPct val="90000"/>
        </a:lnSpc>
        <a:spcBef>
          <a:spcPct val="0"/>
        </a:spcBef>
        <a:spcAft>
          <a:spcPct val="0"/>
        </a:spcAft>
        <a:defRPr sz="5400">
          <a:solidFill>
            <a:schemeClr val="tx1"/>
          </a:solidFill>
          <a:latin typeface="Segoe UI Light" pitchFamily="34" charset="0"/>
          <a:cs typeface="Arial" charset="0"/>
        </a:defRPr>
      </a:lvl7pPr>
      <a:lvl8pPr marL="1368948" algn="l" defTabSz="911057" rtl="0" fontAlgn="base">
        <a:lnSpc>
          <a:spcPct val="90000"/>
        </a:lnSpc>
        <a:spcBef>
          <a:spcPct val="0"/>
        </a:spcBef>
        <a:spcAft>
          <a:spcPct val="0"/>
        </a:spcAft>
        <a:defRPr sz="5400">
          <a:solidFill>
            <a:schemeClr val="tx1"/>
          </a:solidFill>
          <a:latin typeface="Segoe UI Light" pitchFamily="34" charset="0"/>
          <a:cs typeface="Arial" charset="0"/>
        </a:defRPr>
      </a:lvl8pPr>
      <a:lvl9pPr marL="1825286" algn="l" defTabSz="911057" rtl="0" fontAlgn="base">
        <a:lnSpc>
          <a:spcPct val="90000"/>
        </a:lnSpc>
        <a:spcBef>
          <a:spcPct val="0"/>
        </a:spcBef>
        <a:spcAft>
          <a:spcPct val="0"/>
        </a:spcAft>
        <a:defRPr sz="5400">
          <a:solidFill>
            <a:schemeClr val="tx1"/>
          </a:solidFill>
          <a:latin typeface="Segoe UI Light" pitchFamily="34" charset="0"/>
          <a:cs typeface="Arial" charset="0"/>
        </a:defRPr>
      </a:lvl9pPr>
    </p:titleStyle>
    <p:bodyStyle>
      <a:lvl1pPr marL="345374" indent="-345374" algn="l" defTabSz="911057" rtl="0" eaLnBrk="0" fontAlgn="base" hangingPunct="0">
        <a:lnSpc>
          <a:spcPct val="90000"/>
        </a:lnSpc>
        <a:spcBef>
          <a:spcPct val="20000"/>
        </a:spcBef>
        <a:spcAft>
          <a:spcPct val="0"/>
        </a:spcAft>
        <a:buSzPct val="90000"/>
        <a:buFont typeface="Arial" charset="0"/>
        <a:buChar char="•"/>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629063" indent="-283617" algn="l" defTabSz="911057" rtl="0" eaLnBrk="0" fontAlgn="base" hangingPunct="0">
        <a:lnSpc>
          <a:spcPct val="90000"/>
        </a:lnSpc>
        <a:spcBef>
          <a:spcPct val="20000"/>
        </a:spcBef>
        <a:spcAft>
          <a:spcPct val="0"/>
        </a:spcAft>
        <a:buSzPct val="90000"/>
        <a:buFont typeface="Arial" charset="0"/>
        <a:buChar char="•"/>
        <a:tabLst>
          <a:tab pos="629063" algn="l"/>
        </a:tabLst>
        <a:defRPr sz="2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912644" indent="-283617" algn="l" defTabSz="911057" rtl="0" eaLnBrk="0" fontAlgn="base" hangingPunct="0">
        <a:lnSpc>
          <a:spcPct val="90000"/>
        </a:lnSpc>
        <a:spcBef>
          <a:spcPct val="20000"/>
        </a:spcBef>
        <a:spcAft>
          <a:spcPct val="0"/>
        </a:spcAft>
        <a:buSzPct val="90000"/>
        <a:buFont typeface="Arial"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479839" indent="-223370" algn="l" defTabSz="911057" rtl="0" eaLnBrk="0" fontAlgn="base" hangingPunct="0">
        <a:lnSpc>
          <a:spcPct val="90000"/>
        </a:lnSpc>
        <a:spcBef>
          <a:spcPct val="20000"/>
        </a:spcBef>
        <a:spcAft>
          <a:spcPct val="0"/>
        </a:spcAft>
        <a:buSzPct val="90000"/>
        <a:buFont typeface="Arial" charset="0"/>
        <a:buChar char="•"/>
        <a:tabLst>
          <a:tab pos="912644" algn="l"/>
        </a:tabLst>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09633" indent="-229721" algn="l" defTabSz="911057" rtl="0" eaLnBrk="0" fontAlgn="base" hangingPunct="0">
        <a:lnSpc>
          <a:spcPct val="90000"/>
        </a:lnSpc>
        <a:spcBef>
          <a:spcPct val="20000"/>
        </a:spcBef>
        <a:spcAft>
          <a:spcPct val="0"/>
        </a:spcAft>
        <a:buSzPct val="90000"/>
        <a:buFont typeface="Arial" charset="0"/>
        <a:buChar char="•"/>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09586" indent="-228123" algn="l" defTabSz="9126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909" indent="-228123" algn="l" defTabSz="9126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192" indent="-228123" algn="l" defTabSz="9126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479" indent="-228123" algn="l" defTabSz="9126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06" rtl="0" eaLnBrk="1" latinLnBrk="0" hangingPunct="1">
        <a:defRPr sz="1800" kern="1200">
          <a:solidFill>
            <a:schemeClr val="tx1"/>
          </a:solidFill>
          <a:latin typeface="+mn-lt"/>
          <a:ea typeface="+mn-ea"/>
          <a:cs typeface="+mn-cs"/>
        </a:defRPr>
      </a:lvl1pPr>
      <a:lvl2pPr marL="456251" algn="l" defTabSz="912606" rtl="0" eaLnBrk="1" latinLnBrk="0" hangingPunct="1">
        <a:defRPr sz="1800" kern="1200">
          <a:solidFill>
            <a:schemeClr val="tx1"/>
          </a:solidFill>
          <a:latin typeface="+mn-lt"/>
          <a:ea typeface="+mn-ea"/>
          <a:cs typeface="+mn-cs"/>
        </a:defRPr>
      </a:lvl2pPr>
      <a:lvl3pPr marL="912606" algn="l" defTabSz="912606" rtl="0" eaLnBrk="1" latinLnBrk="0" hangingPunct="1">
        <a:defRPr sz="1800" kern="1200">
          <a:solidFill>
            <a:schemeClr val="tx1"/>
          </a:solidFill>
          <a:latin typeface="+mn-lt"/>
          <a:ea typeface="+mn-ea"/>
          <a:cs typeface="+mn-cs"/>
        </a:defRPr>
      </a:lvl3pPr>
      <a:lvl4pPr marL="1368893" algn="l" defTabSz="912606" rtl="0" eaLnBrk="1" latinLnBrk="0" hangingPunct="1">
        <a:defRPr sz="1800" kern="1200">
          <a:solidFill>
            <a:schemeClr val="tx1"/>
          </a:solidFill>
          <a:latin typeface="+mn-lt"/>
          <a:ea typeface="+mn-ea"/>
          <a:cs typeface="+mn-cs"/>
        </a:defRPr>
      </a:lvl4pPr>
      <a:lvl5pPr marL="1825214" algn="l" defTabSz="912606" rtl="0" eaLnBrk="1" latinLnBrk="0" hangingPunct="1">
        <a:defRPr sz="1800" kern="1200">
          <a:solidFill>
            <a:schemeClr val="tx1"/>
          </a:solidFill>
          <a:latin typeface="+mn-lt"/>
          <a:ea typeface="+mn-ea"/>
          <a:cs typeface="+mn-cs"/>
        </a:defRPr>
      </a:lvl5pPr>
      <a:lvl6pPr marL="2281463" algn="l" defTabSz="912606" rtl="0" eaLnBrk="1" latinLnBrk="0" hangingPunct="1">
        <a:defRPr sz="1800" kern="1200">
          <a:solidFill>
            <a:schemeClr val="tx1"/>
          </a:solidFill>
          <a:latin typeface="+mn-lt"/>
          <a:ea typeface="+mn-ea"/>
          <a:cs typeface="+mn-cs"/>
        </a:defRPr>
      </a:lvl6pPr>
      <a:lvl7pPr marL="2737709" algn="l" defTabSz="912606" rtl="0" eaLnBrk="1" latinLnBrk="0" hangingPunct="1">
        <a:defRPr sz="1800" kern="1200">
          <a:solidFill>
            <a:schemeClr val="tx1"/>
          </a:solidFill>
          <a:latin typeface="+mn-lt"/>
          <a:ea typeface="+mn-ea"/>
          <a:cs typeface="+mn-cs"/>
        </a:defRPr>
      </a:lvl7pPr>
      <a:lvl8pPr marL="3194037" algn="l" defTabSz="912606" rtl="0" eaLnBrk="1" latinLnBrk="0" hangingPunct="1">
        <a:defRPr sz="1800" kern="1200">
          <a:solidFill>
            <a:schemeClr val="tx1"/>
          </a:solidFill>
          <a:latin typeface="+mn-lt"/>
          <a:ea typeface="+mn-ea"/>
          <a:cs typeface="+mn-cs"/>
        </a:defRPr>
      </a:lvl8pPr>
      <a:lvl9pPr marL="3650344" algn="l" defTabSz="91260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88080" name="Rectangle 1040"/>
          <p:cNvSpPr>
            <a:spLocks noChangeArrowheads="1"/>
          </p:cNvSpPr>
          <p:nvPr/>
        </p:nvSpPr>
        <p:spPr bwMode="auto">
          <a:xfrm>
            <a:off x="0" y="4772027"/>
            <a:ext cx="9144000" cy="371475"/>
          </a:xfrm>
          <a:prstGeom prst="rect">
            <a:avLst/>
          </a:prstGeom>
          <a:solidFill>
            <a:srgbClr val="000000"/>
          </a:solidFill>
          <a:ln w="9525">
            <a:noFill/>
            <a:miter lim="800000"/>
            <a:headEnd/>
            <a:tailEnd/>
          </a:ln>
          <a:effectLst/>
        </p:spPr>
        <p:txBody>
          <a:bodyPr wrap="none" lIns="91284" tIns="45642" rIns="91284" bIns="45642" anchor="ctr"/>
          <a:lstStyle/>
          <a:p>
            <a:pPr defTabSz="912644">
              <a:defRPr/>
            </a:pPr>
            <a:endParaRPr lang="fr-FR" sz="1800" u="sng">
              <a:solidFill>
                <a:srgbClr val="000000"/>
              </a:solidFill>
              <a:cs typeface="+mn-cs"/>
            </a:endParaRPr>
          </a:p>
        </p:txBody>
      </p:sp>
      <p:sp>
        <p:nvSpPr>
          <p:cNvPr id="7171" name="Rectangle 1027"/>
          <p:cNvSpPr>
            <a:spLocks noGrp="1" noChangeArrowheads="1"/>
          </p:cNvSpPr>
          <p:nvPr>
            <p:ph type="title"/>
          </p:nvPr>
        </p:nvSpPr>
        <p:spPr bwMode="auto">
          <a:xfrm>
            <a:off x="542929" y="350044"/>
            <a:ext cx="8047038" cy="2238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7172" name="Rectangle 1028"/>
          <p:cNvSpPr>
            <a:spLocks noGrp="1" noChangeArrowheads="1"/>
          </p:cNvSpPr>
          <p:nvPr>
            <p:ph type="body" idx="1"/>
          </p:nvPr>
        </p:nvSpPr>
        <p:spPr bwMode="auto">
          <a:xfrm>
            <a:off x="557272" y="1214441"/>
            <a:ext cx="8023225" cy="32015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7175" name="Picture 1039" descr="KANTAR_MED_RGB"/>
          <p:cNvPicPr>
            <a:picLocks noChangeAspect="1" noChangeArrowheads="1"/>
          </p:cNvPicPr>
          <p:nvPr/>
        </p:nvPicPr>
        <p:blipFill>
          <a:blip r:embed="rId18" cstate="email"/>
          <a:srcRect/>
          <a:stretch>
            <a:fillRect/>
          </a:stretch>
        </p:blipFill>
        <p:spPr bwMode="auto">
          <a:xfrm>
            <a:off x="454102" y="4788780"/>
            <a:ext cx="1287463" cy="326231"/>
          </a:xfrm>
          <a:prstGeom prst="rect">
            <a:avLst/>
          </a:prstGeom>
          <a:noFill/>
          <a:ln w="9525">
            <a:noFill/>
            <a:miter lim="800000"/>
            <a:headEnd/>
            <a:tailEnd/>
          </a:ln>
        </p:spPr>
      </p:pic>
      <p:pic>
        <p:nvPicPr>
          <p:cNvPr id="9" name="Picture 14" descr="Fluidity_002"/>
          <p:cNvPicPr>
            <a:picLocks noChangeAspect="1" noChangeArrowheads="1"/>
          </p:cNvPicPr>
          <p:nvPr/>
        </p:nvPicPr>
        <p:blipFill>
          <a:blip r:embed="rId19" cstate="email"/>
          <a:srcRect/>
          <a:stretch>
            <a:fillRect/>
          </a:stretch>
        </p:blipFill>
        <p:spPr bwMode="auto">
          <a:xfrm>
            <a:off x="1895475" y="4772027"/>
            <a:ext cx="5365750" cy="371475"/>
          </a:xfrm>
          <a:prstGeom prst="rect">
            <a:avLst/>
          </a:prstGeom>
          <a:noFill/>
          <a:ln w="9525">
            <a:noFill/>
            <a:miter lim="800000"/>
            <a:headEnd/>
            <a:tailEnd/>
          </a:ln>
        </p:spPr>
      </p:pic>
      <p:sp>
        <p:nvSpPr>
          <p:cNvPr id="88069" name="Rectangle 1029"/>
          <p:cNvSpPr>
            <a:spLocks noGrp="1" noChangeArrowheads="1"/>
          </p:cNvSpPr>
          <p:nvPr>
            <p:ph type="sldNum" sz="quarter" idx="4"/>
          </p:nvPr>
        </p:nvSpPr>
        <p:spPr bwMode="auto">
          <a:xfrm>
            <a:off x="8310565" y="4950623"/>
            <a:ext cx="273050" cy="85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b="1" u="none">
                <a:solidFill>
                  <a:schemeClr val="bg2"/>
                </a:solidFill>
              </a:defRPr>
            </a:lvl1pPr>
          </a:lstStyle>
          <a:p>
            <a:pPr defTabSz="912644">
              <a:defRPr/>
            </a:pPr>
            <a:fld id="{9FE7A604-BD66-4004-BC6A-C4F81A1616CB}" type="slidenum">
              <a:rPr lang="en-GB" smtClean="0">
                <a:solidFill>
                  <a:srgbClr val="C0C0C0"/>
                </a:solidFill>
                <a:cs typeface="+mn-cs"/>
              </a:rPr>
              <a:pPr defTabSz="912644">
                <a:defRPr/>
              </a:pPr>
              <a:t>‹#›</a:t>
            </a:fld>
            <a:endParaRPr lang="en-GB">
              <a:solidFill>
                <a:srgbClr val="C0C0C0"/>
              </a:solidFill>
              <a:cs typeface="+mn-cs"/>
            </a:endParaRPr>
          </a:p>
        </p:txBody>
      </p:sp>
      <p:sp>
        <p:nvSpPr>
          <p:cNvPr id="88070" name="Rectangle 1030"/>
          <p:cNvSpPr>
            <a:spLocks noGrp="1" noChangeArrowheads="1"/>
          </p:cNvSpPr>
          <p:nvPr>
            <p:ph type="ftr" sz="quarter" idx="3"/>
          </p:nvPr>
        </p:nvSpPr>
        <p:spPr bwMode="auto">
          <a:xfrm>
            <a:off x="6187052" y="4952015"/>
            <a:ext cx="1937781" cy="8433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800" u="none">
                <a:solidFill>
                  <a:schemeClr val="bg2"/>
                </a:solidFill>
              </a:defRPr>
            </a:lvl1pPr>
          </a:lstStyle>
          <a:p>
            <a:pPr defTabSz="912644">
              <a:defRPr/>
            </a:pPr>
            <a:r>
              <a:rPr lang="en-GB">
                <a:solidFill>
                  <a:srgbClr val="C0C0C0"/>
                </a:solidFill>
                <a:cs typeface="+mn-cs"/>
              </a:rPr>
              <a:t>Title of the presentation</a:t>
            </a:r>
            <a:endParaRPr lang="en-GB" dirty="0">
              <a:solidFill>
                <a:srgbClr val="C0C0C0"/>
              </a:solidFill>
              <a:cs typeface="+mn-cs"/>
            </a:endParaRPr>
          </a:p>
        </p:txBody>
      </p:sp>
    </p:spTree>
    <p:extLst>
      <p:ext uri="{BB962C8B-B14F-4D97-AF65-F5344CB8AC3E}">
        <p14:creationId xmlns:p14="http://schemas.microsoft.com/office/powerpoint/2010/main" val="695418112"/>
      </p:ext>
    </p:extLst>
  </p:cSld>
  <p:clrMap bg1="lt1" tx1="dk1" bg2="lt2" tx2="dk2" accent1="accent1" accent2="accent2" accent3="accent3" accent4="accent4" accent5="accent5" accent6="accent6" hlink="hlink" folHlink="folHlink"/>
  <p:sldLayoutIdLst>
    <p:sldLayoutId id="2147484444" r:id="rId1"/>
    <p:sldLayoutId id="2147484445" r:id="rId2"/>
    <p:sldLayoutId id="2147484446" r:id="rId3"/>
    <p:sldLayoutId id="2147484447" r:id="rId4"/>
    <p:sldLayoutId id="2147484448" r:id="rId5"/>
    <p:sldLayoutId id="2147484449" r:id="rId6"/>
    <p:sldLayoutId id="2147484450" r:id="rId7"/>
    <p:sldLayoutId id="2147484451" r:id="rId8"/>
    <p:sldLayoutId id="2147484452" r:id="rId9"/>
    <p:sldLayoutId id="2147484453" r:id="rId10"/>
    <p:sldLayoutId id="2147484454" r:id="rId11"/>
    <p:sldLayoutId id="2147484455" r:id="rId12"/>
    <p:sldLayoutId id="2147484456" r:id="rId13"/>
    <p:sldLayoutId id="2147484457" r:id="rId14"/>
    <p:sldLayoutId id="2147484458" r:id="rId15"/>
    <p:sldLayoutId id="2147484459" r:id="rId16"/>
  </p:sldLayoutIdLst>
  <p:transition spd="slow">
    <p:fade/>
  </p:transition>
  <p:hf hdr="0" dt="0"/>
  <p:txStyles>
    <p:titleStyle>
      <a:lvl1pPr algn="l" rtl="0" eaLnBrk="1" fontAlgn="base" hangingPunct="1">
        <a:lnSpc>
          <a:spcPts val="2400"/>
        </a:lnSpc>
        <a:spcBef>
          <a:spcPct val="0"/>
        </a:spcBef>
        <a:spcAft>
          <a:spcPct val="0"/>
        </a:spcAft>
        <a:defRPr sz="2200" b="1">
          <a:solidFill>
            <a:srgbClr val="000000"/>
          </a:solidFill>
          <a:latin typeface="+mj-lt"/>
          <a:ea typeface="+mj-ea"/>
          <a:cs typeface="+mj-cs"/>
        </a:defRPr>
      </a:lvl1pPr>
      <a:lvl2pPr algn="l" rtl="0" eaLnBrk="1" fontAlgn="base" hangingPunct="1">
        <a:lnSpc>
          <a:spcPts val="2400"/>
        </a:lnSpc>
        <a:spcBef>
          <a:spcPct val="0"/>
        </a:spcBef>
        <a:spcAft>
          <a:spcPct val="0"/>
        </a:spcAft>
        <a:defRPr sz="2200" b="1">
          <a:solidFill>
            <a:srgbClr val="000000"/>
          </a:solidFill>
          <a:latin typeface="Arial" charset="0"/>
        </a:defRPr>
      </a:lvl2pPr>
      <a:lvl3pPr algn="l" rtl="0" eaLnBrk="1" fontAlgn="base" hangingPunct="1">
        <a:lnSpc>
          <a:spcPts val="2400"/>
        </a:lnSpc>
        <a:spcBef>
          <a:spcPct val="0"/>
        </a:spcBef>
        <a:spcAft>
          <a:spcPct val="0"/>
        </a:spcAft>
        <a:defRPr sz="2200" b="1">
          <a:solidFill>
            <a:srgbClr val="000000"/>
          </a:solidFill>
          <a:latin typeface="Arial" charset="0"/>
        </a:defRPr>
      </a:lvl3pPr>
      <a:lvl4pPr algn="l" rtl="0" eaLnBrk="1" fontAlgn="base" hangingPunct="1">
        <a:lnSpc>
          <a:spcPts val="2400"/>
        </a:lnSpc>
        <a:spcBef>
          <a:spcPct val="0"/>
        </a:spcBef>
        <a:spcAft>
          <a:spcPct val="0"/>
        </a:spcAft>
        <a:defRPr sz="2200" b="1">
          <a:solidFill>
            <a:srgbClr val="000000"/>
          </a:solidFill>
          <a:latin typeface="Arial" charset="0"/>
        </a:defRPr>
      </a:lvl4pPr>
      <a:lvl5pPr algn="l" rtl="0" eaLnBrk="1" fontAlgn="base" hangingPunct="1">
        <a:lnSpc>
          <a:spcPts val="2400"/>
        </a:lnSpc>
        <a:spcBef>
          <a:spcPct val="0"/>
        </a:spcBef>
        <a:spcAft>
          <a:spcPct val="0"/>
        </a:spcAft>
        <a:defRPr sz="2200" b="1">
          <a:solidFill>
            <a:srgbClr val="000000"/>
          </a:solidFill>
          <a:latin typeface="Arial" charset="0"/>
        </a:defRPr>
      </a:lvl5pPr>
      <a:lvl6pPr marL="456269" algn="l" rtl="0" eaLnBrk="1" fontAlgn="base" hangingPunct="1">
        <a:lnSpc>
          <a:spcPts val="2400"/>
        </a:lnSpc>
        <a:spcBef>
          <a:spcPct val="0"/>
        </a:spcBef>
        <a:spcAft>
          <a:spcPct val="0"/>
        </a:spcAft>
        <a:defRPr sz="2200" b="1">
          <a:solidFill>
            <a:srgbClr val="000000"/>
          </a:solidFill>
          <a:latin typeface="Arial" charset="0"/>
        </a:defRPr>
      </a:lvl6pPr>
      <a:lvl7pPr marL="912644" algn="l" rtl="0" eaLnBrk="1" fontAlgn="base" hangingPunct="1">
        <a:lnSpc>
          <a:spcPts val="2400"/>
        </a:lnSpc>
        <a:spcBef>
          <a:spcPct val="0"/>
        </a:spcBef>
        <a:spcAft>
          <a:spcPct val="0"/>
        </a:spcAft>
        <a:defRPr sz="2200" b="1">
          <a:solidFill>
            <a:srgbClr val="000000"/>
          </a:solidFill>
          <a:latin typeface="Arial" charset="0"/>
        </a:defRPr>
      </a:lvl7pPr>
      <a:lvl8pPr marL="1368948" algn="l" rtl="0" eaLnBrk="1" fontAlgn="base" hangingPunct="1">
        <a:lnSpc>
          <a:spcPts val="2400"/>
        </a:lnSpc>
        <a:spcBef>
          <a:spcPct val="0"/>
        </a:spcBef>
        <a:spcAft>
          <a:spcPct val="0"/>
        </a:spcAft>
        <a:defRPr sz="2200" b="1">
          <a:solidFill>
            <a:srgbClr val="000000"/>
          </a:solidFill>
          <a:latin typeface="Arial" charset="0"/>
        </a:defRPr>
      </a:lvl8pPr>
      <a:lvl9pPr marL="1825286" algn="l" rtl="0" eaLnBrk="1" fontAlgn="base" hangingPunct="1">
        <a:lnSpc>
          <a:spcPts val="2400"/>
        </a:lnSpc>
        <a:spcBef>
          <a:spcPct val="0"/>
        </a:spcBef>
        <a:spcAft>
          <a:spcPct val="0"/>
        </a:spcAft>
        <a:defRPr sz="2200" b="1">
          <a:solidFill>
            <a:srgbClr val="000000"/>
          </a:solidFill>
          <a:latin typeface="Arial" charset="0"/>
        </a:defRPr>
      </a:lvl9pPr>
    </p:titleStyle>
    <p:bodyStyle>
      <a:lvl1pPr marL="342200" indent="-342200" algn="l" rtl="0" eaLnBrk="1" fontAlgn="base" hangingPunct="1">
        <a:lnSpc>
          <a:spcPts val="2200"/>
        </a:lnSpc>
        <a:spcBef>
          <a:spcPts val="2000"/>
        </a:spcBef>
        <a:spcAft>
          <a:spcPct val="0"/>
        </a:spcAft>
        <a:buClr>
          <a:schemeClr val="tx2"/>
        </a:buClr>
        <a:buFont typeface="Arial" charset="0"/>
        <a:defRPr>
          <a:solidFill>
            <a:schemeClr val="tx1"/>
          </a:solidFill>
          <a:latin typeface="+mn-lt"/>
          <a:ea typeface="+mn-ea"/>
          <a:cs typeface="+mn-cs"/>
        </a:defRPr>
      </a:lvl1pPr>
      <a:lvl2pPr marL="228132" indent="-226545" algn="l" rtl="0" eaLnBrk="1" fontAlgn="base" hangingPunct="1">
        <a:lnSpc>
          <a:spcPts val="2200"/>
        </a:lnSpc>
        <a:spcBef>
          <a:spcPts val="1000"/>
        </a:spcBef>
        <a:spcAft>
          <a:spcPct val="0"/>
        </a:spcAft>
        <a:buClr>
          <a:schemeClr val="tx2"/>
        </a:buClr>
        <a:buFont typeface="Arial" charset="0"/>
        <a:buChar char="–"/>
        <a:defRPr>
          <a:solidFill>
            <a:schemeClr val="tx1"/>
          </a:solidFill>
          <a:latin typeface="+mn-lt"/>
        </a:defRPr>
      </a:lvl2pPr>
      <a:lvl3pPr marL="237657" indent="-7938" algn="l" rtl="0" eaLnBrk="1" fontAlgn="base" hangingPunct="1">
        <a:lnSpc>
          <a:spcPts val="2000"/>
        </a:lnSpc>
        <a:spcBef>
          <a:spcPts val="500"/>
        </a:spcBef>
        <a:spcAft>
          <a:spcPct val="0"/>
        </a:spcAft>
        <a:buClr>
          <a:schemeClr val="tx2"/>
        </a:buClr>
        <a:buFont typeface="Arial" charset="0"/>
        <a:defRPr sz="1400">
          <a:solidFill>
            <a:schemeClr val="tx1"/>
          </a:solidFill>
          <a:latin typeface="+mn-lt"/>
        </a:defRPr>
      </a:lvl3pPr>
      <a:lvl4pPr marL="465789" indent="-226545" algn="l" rtl="0" eaLnBrk="1" fontAlgn="base" hangingPunct="1">
        <a:lnSpc>
          <a:spcPts val="2000"/>
        </a:lnSpc>
        <a:spcBef>
          <a:spcPts val="500"/>
        </a:spcBef>
        <a:spcAft>
          <a:spcPct val="0"/>
        </a:spcAft>
        <a:buClr>
          <a:schemeClr val="tx2"/>
        </a:buClr>
        <a:buFont typeface="Wingdings" pitchFamily="2" charset="2"/>
        <a:buChar char="§"/>
        <a:defRPr sz="1400">
          <a:solidFill>
            <a:schemeClr val="tx1"/>
          </a:solidFill>
          <a:latin typeface="+mn-lt"/>
        </a:defRPr>
      </a:lvl4pPr>
      <a:lvl5pPr marL="475314" indent="-7938" algn="l" rtl="0" eaLnBrk="1" fontAlgn="base" hangingPunct="1">
        <a:lnSpc>
          <a:spcPts val="2000"/>
        </a:lnSpc>
        <a:spcBef>
          <a:spcPts val="500"/>
        </a:spcBef>
        <a:spcAft>
          <a:spcPct val="0"/>
        </a:spcAft>
        <a:buClr>
          <a:schemeClr val="tx2"/>
        </a:buClr>
        <a:buFont typeface="Arial" charset="0"/>
        <a:defRPr sz="1200">
          <a:solidFill>
            <a:schemeClr val="tx1"/>
          </a:solidFill>
          <a:latin typeface="+mn-lt"/>
        </a:defRPr>
      </a:lvl5pPr>
      <a:lvl6pPr marL="931656" indent="-7938" algn="l" rtl="0" eaLnBrk="1" fontAlgn="base" hangingPunct="1">
        <a:lnSpc>
          <a:spcPts val="2000"/>
        </a:lnSpc>
        <a:spcBef>
          <a:spcPts val="500"/>
        </a:spcBef>
        <a:spcAft>
          <a:spcPct val="0"/>
        </a:spcAft>
        <a:buClr>
          <a:schemeClr val="tx2"/>
        </a:buClr>
        <a:buFont typeface="Arial" charset="0"/>
        <a:defRPr sz="1200">
          <a:solidFill>
            <a:schemeClr val="tx1"/>
          </a:solidFill>
          <a:latin typeface="+mn-lt"/>
        </a:defRPr>
      </a:lvl6pPr>
      <a:lvl7pPr marL="1387958" indent="-7938" algn="l" rtl="0" eaLnBrk="1" fontAlgn="base" hangingPunct="1">
        <a:lnSpc>
          <a:spcPts val="2000"/>
        </a:lnSpc>
        <a:spcBef>
          <a:spcPts val="500"/>
        </a:spcBef>
        <a:spcAft>
          <a:spcPct val="0"/>
        </a:spcAft>
        <a:buClr>
          <a:schemeClr val="tx2"/>
        </a:buClr>
        <a:buFont typeface="Arial" charset="0"/>
        <a:defRPr sz="1200">
          <a:solidFill>
            <a:schemeClr val="tx1"/>
          </a:solidFill>
          <a:latin typeface="+mn-lt"/>
        </a:defRPr>
      </a:lvl7pPr>
      <a:lvl8pPr marL="1844262" indent="-7938" algn="l" rtl="0" eaLnBrk="1" fontAlgn="base" hangingPunct="1">
        <a:lnSpc>
          <a:spcPts val="2000"/>
        </a:lnSpc>
        <a:spcBef>
          <a:spcPts val="500"/>
        </a:spcBef>
        <a:spcAft>
          <a:spcPct val="0"/>
        </a:spcAft>
        <a:buClr>
          <a:schemeClr val="tx2"/>
        </a:buClr>
        <a:buFont typeface="Arial" charset="0"/>
        <a:defRPr sz="1200">
          <a:solidFill>
            <a:schemeClr val="tx1"/>
          </a:solidFill>
          <a:latin typeface="+mn-lt"/>
        </a:defRPr>
      </a:lvl8pPr>
      <a:lvl9pPr marL="2300603" indent="-7938" algn="l" rtl="0" eaLnBrk="1" fontAlgn="base" hangingPunct="1">
        <a:lnSpc>
          <a:spcPts val="2000"/>
        </a:lnSpc>
        <a:spcBef>
          <a:spcPts val="500"/>
        </a:spcBef>
        <a:spcAft>
          <a:spcPct val="0"/>
        </a:spcAft>
        <a:buClr>
          <a:schemeClr val="tx2"/>
        </a:buClr>
        <a:buFont typeface="Arial" charset="0"/>
        <a:defRPr sz="1200">
          <a:solidFill>
            <a:schemeClr val="tx1"/>
          </a:solidFill>
          <a:latin typeface="+mn-lt"/>
        </a:defRPr>
      </a:lvl9pPr>
    </p:bodyStyle>
    <p:otherStyle>
      <a:defPPr>
        <a:defRPr lang="fr-FR"/>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Bar_06_WHITE_FLAT.png"/>
          <p:cNvPicPr>
            <a:picLocks noChangeAspect="1"/>
          </p:cNvPicPr>
          <p:nvPr/>
        </p:nvPicPr>
        <p:blipFill>
          <a:blip r:embed="rId18" cstate="print"/>
          <a:stretch>
            <a:fillRect/>
          </a:stretch>
        </p:blipFill>
        <p:spPr bwMode="invGray">
          <a:xfrm>
            <a:off x="7472364" y="4816728"/>
            <a:ext cx="1216818" cy="155322"/>
          </a:xfrm>
          <a:prstGeom prst="rect">
            <a:avLst/>
          </a:prstGeom>
        </p:spPr>
      </p:pic>
      <p:sp>
        <p:nvSpPr>
          <p:cNvPr id="5123" name="Rectangle 2"/>
          <p:cNvSpPr>
            <a:spLocks noGrp="1" noChangeArrowheads="1"/>
          </p:cNvSpPr>
          <p:nvPr>
            <p:ph type="title"/>
          </p:nvPr>
        </p:nvSpPr>
        <p:spPr bwMode="auto">
          <a:xfrm>
            <a:off x="696915" y="230002"/>
            <a:ext cx="8062912" cy="46166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dirty="0"/>
              <a:t>Click to edit title</a:t>
            </a:r>
          </a:p>
        </p:txBody>
      </p:sp>
      <p:sp>
        <p:nvSpPr>
          <p:cNvPr id="5124" name="Rectangle 3"/>
          <p:cNvSpPr>
            <a:spLocks noGrp="1" noChangeArrowheads="1"/>
          </p:cNvSpPr>
          <p:nvPr>
            <p:ph type="body" idx="1"/>
          </p:nvPr>
        </p:nvSpPr>
        <p:spPr bwMode="auto">
          <a:xfrm>
            <a:off x="704876" y="822061"/>
            <a:ext cx="8004175" cy="2181367"/>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72" name="Line 32"/>
          <p:cNvSpPr>
            <a:spLocks noChangeShapeType="1"/>
          </p:cNvSpPr>
          <p:nvPr/>
        </p:nvSpPr>
        <p:spPr bwMode="auto">
          <a:xfrm>
            <a:off x="678656" y="4669036"/>
            <a:ext cx="8003382" cy="0"/>
          </a:xfrm>
          <a:prstGeom prst="line">
            <a:avLst/>
          </a:prstGeom>
          <a:noFill/>
          <a:ln w="12700">
            <a:solidFill>
              <a:schemeClr val="tx1"/>
            </a:solidFill>
            <a:round/>
            <a:headEnd/>
            <a:tailEnd/>
          </a:ln>
          <a:effectLst/>
        </p:spPr>
        <p:txBody>
          <a:bodyPr wrap="square" lIns="0" tIns="0" rIns="0" bIns="0" anchor="ctr">
            <a:spAutoFit/>
          </a:bodyPr>
          <a:lstStyle/>
          <a:p>
            <a:pPr defTabSz="912644">
              <a:defRPr/>
            </a:pPr>
            <a:endParaRPr lang="en-US" sz="3600">
              <a:solidFill>
                <a:srgbClr val="00AEEF"/>
              </a:solidFill>
              <a:latin typeface="Arial" pitchFamily="34" charset="0"/>
              <a:cs typeface="+mn-cs"/>
            </a:endParaRPr>
          </a:p>
        </p:txBody>
      </p:sp>
      <p:sp>
        <p:nvSpPr>
          <p:cNvPr id="11" name="Footer Placeholder 10"/>
          <p:cNvSpPr>
            <a:spLocks noGrp="1"/>
          </p:cNvSpPr>
          <p:nvPr>
            <p:ph type="ftr" sz="quarter" idx="3"/>
          </p:nvPr>
        </p:nvSpPr>
        <p:spPr>
          <a:xfrm>
            <a:off x="683708" y="4702476"/>
            <a:ext cx="2895600" cy="138499"/>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rtl="0" fontAlgn="base">
              <a:spcBef>
                <a:spcPct val="50000"/>
              </a:spcBef>
              <a:spcAft>
                <a:spcPct val="0"/>
              </a:spcAft>
              <a:defRPr lang="en-US" sz="800" kern="1200" dirty="0">
                <a:solidFill>
                  <a:schemeClr val="tx1"/>
                </a:solidFill>
                <a:latin typeface="+mn-lt"/>
                <a:ea typeface="+mn-ea"/>
                <a:cs typeface="+mn-cs"/>
              </a:defRPr>
            </a:lvl1pPr>
          </a:lstStyle>
          <a:p>
            <a:pPr algn="l" defTabSz="912644">
              <a:defRPr/>
            </a:pPr>
            <a:fld id="{02F500F8-9B76-40B1-A569-C00F219B0618}" type="slidenum">
              <a:rPr lang="en-GB" sz="900" smtClean="0">
                <a:solidFill>
                  <a:srgbClr val="FFFFFF"/>
                </a:solidFill>
              </a:rPr>
              <a:pPr algn="l" defTabSz="912644">
                <a:defRPr/>
              </a:pPr>
              <a:t>‹#›</a:t>
            </a:fld>
            <a:r>
              <a:rPr lang="en-GB" sz="900">
                <a:solidFill>
                  <a:srgbClr val="FFFFFF"/>
                </a:solidFill>
              </a:rPr>
              <a:t>  |  Barclays presentation title  |  30 January 2012</a:t>
            </a:r>
          </a:p>
        </p:txBody>
      </p:sp>
    </p:spTree>
    <p:extLst>
      <p:ext uri="{BB962C8B-B14F-4D97-AF65-F5344CB8AC3E}">
        <p14:creationId xmlns:p14="http://schemas.microsoft.com/office/powerpoint/2010/main" val="3950035787"/>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6" r:id="rId6"/>
    <p:sldLayoutId id="2147484467" r:id="rId7"/>
    <p:sldLayoutId id="2147484468" r:id="rId8"/>
    <p:sldLayoutId id="2147484469" r:id="rId9"/>
    <p:sldLayoutId id="2147484470" r:id="rId10"/>
    <p:sldLayoutId id="2147484471" r:id="rId11"/>
    <p:sldLayoutId id="2147484472" r:id="rId12"/>
    <p:sldLayoutId id="2147484473" r:id="rId13"/>
    <p:sldLayoutId id="2147484474" r:id="rId14"/>
    <p:sldLayoutId id="2147484475" r:id="rId15"/>
    <p:sldLayoutId id="2147484476" r:id="rId16"/>
  </p:sldLayoutIdLst>
  <p:hf sldNum="0" hdr="0" ftr="0" dt="0"/>
  <p:txStyles>
    <p:titleStyle>
      <a:lvl1pPr algn="l" rtl="0" eaLnBrk="1" fontAlgn="base" hangingPunct="1">
        <a:spcBef>
          <a:spcPct val="0"/>
        </a:spcBef>
        <a:spcAft>
          <a:spcPct val="0"/>
        </a:spcAft>
        <a:defRPr sz="3000">
          <a:solidFill>
            <a:schemeClr val="tx1"/>
          </a:solidFill>
          <a:latin typeface="+mj-lt"/>
          <a:ea typeface="+mj-ea"/>
          <a:cs typeface="+mj-cs"/>
        </a:defRPr>
      </a:lvl1pPr>
      <a:lvl2pPr algn="l" rtl="0" eaLnBrk="1" fontAlgn="base" hangingPunct="1">
        <a:spcBef>
          <a:spcPct val="0"/>
        </a:spcBef>
        <a:spcAft>
          <a:spcPct val="0"/>
        </a:spcAft>
        <a:defRPr sz="3200">
          <a:solidFill>
            <a:schemeClr val="tx2"/>
          </a:solidFill>
          <a:latin typeface="Arial" pitchFamily="34" charset="0"/>
        </a:defRPr>
      </a:lvl2pPr>
      <a:lvl3pPr algn="l" rtl="0" eaLnBrk="1" fontAlgn="base" hangingPunct="1">
        <a:spcBef>
          <a:spcPct val="0"/>
        </a:spcBef>
        <a:spcAft>
          <a:spcPct val="0"/>
        </a:spcAft>
        <a:defRPr sz="3200">
          <a:solidFill>
            <a:schemeClr val="tx2"/>
          </a:solidFill>
          <a:latin typeface="Arial" pitchFamily="34" charset="0"/>
        </a:defRPr>
      </a:lvl3pPr>
      <a:lvl4pPr algn="l" rtl="0" eaLnBrk="1" fontAlgn="base" hangingPunct="1">
        <a:spcBef>
          <a:spcPct val="0"/>
        </a:spcBef>
        <a:spcAft>
          <a:spcPct val="0"/>
        </a:spcAft>
        <a:defRPr sz="3200">
          <a:solidFill>
            <a:schemeClr val="tx2"/>
          </a:solidFill>
          <a:latin typeface="Arial" pitchFamily="34" charset="0"/>
        </a:defRPr>
      </a:lvl4pPr>
      <a:lvl5pPr algn="l" rtl="0" eaLnBrk="1" fontAlgn="base" hangingPunct="1">
        <a:spcBef>
          <a:spcPct val="0"/>
        </a:spcBef>
        <a:spcAft>
          <a:spcPct val="0"/>
        </a:spcAft>
        <a:defRPr sz="3200">
          <a:solidFill>
            <a:schemeClr val="tx2"/>
          </a:solidFill>
          <a:latin typeface="Arial" pitchFamily="34" charset="0"/>
        </a:defRPr>
      </a:lvl5pPr>
      <a:lvl6pPr marL="456269" algn="l" rtl="0" eaLnBrk="1" fontAlgn="base" hangingPunct="1">
        <a:spcBef>
          <a:spcPct val="0"/>
        </a:spcBef>
        <a:spcAft>
          <a:spcPct val="0"/>
        </a:spcAft>
        <a:defRPr sz="3600">
          <a:solidFill>
            <a:schemeClr val="tx2"/>
          </a:solidFill>
          <a:latin typeface="Arial" pitchFamily="34" charset="0"/>
        </a:defRPr>
      </a:lvl6pPr>
      <a:lvl7pPr marL="912644" algn="l" rtl="0" eaLnBrk="1" fontAlgn="base" hangingPunct="1">
        <a:spcBef>
          <a:spcPct val="0"/>
        </a:spcBef>
        <a:spcAft>
          <a:spcPct val="0"/>
        </a:spcAft>
        <a:defRPr sz="3600">
          <a:solidFill>
            <a:schemeClr val="tx2"/>
          </a:solidFill>
          <a:latin typeface="Arial" pitchFamily="34" charset="0"/>
        </a:defRPr>
      </a:lvl7pPr>
      <a:lvl8pPr marL="1368948" algn="l" rtl="0" eaLnBrk="1" fontAlgn="base" hangingPunct="1">
        <a:spcBef>
          <a:spcPct val="0"/>
        </a:spcBef>
        <a:spcAft>
          <a:spcPct val="0"/>
        </a:spcAft>
        <a:defRPr sz="3600">
          <a:solidFill>
            <a:schemeClr val="tx2"/>
          </a:solidFill>
          <a:latin typeface="Arial" pitchFamily="34" charset="0"/>
        </a:defRPr>
      </a:lvl8pPr>
      <a:lvl9pPr marL="1825286" algn="l" rtl="0" eaLnBrk="1" fontAlgn="base" hangingPunct="1">
        <a:spcBef>
          <a:spcPct val="0"/>
        </a:spcBef>
        <a:spcAft>
          <a:spcPct val="0"/>
        </a:spcAft>
        <a:defRPr sz="3600">
          <a:solidFill>
            <a:schemeClr val="tx2"/>
          </a:solidFill>
          <a:latin typeface="Arial" pitchFamily="34" charset="0"/>
        </a:defRPr>
      </a:lvl9pPr>
    </p:titleStyle>
    <p:bodyStyle>
      <a:lvl1pPr marL="0" indent="0" algn="l" rtl="0" eaLnBrk="1" fontAlgn="base" hangingPunct="1">
        <a:lnSpc>
          <a:spcPct val="100000"/>
        </a:lnSpc>
        <a:spcBef>
          <a:spcPct val="50000"/>
        </a:spcBef>
        <a:spcAft>
          <a:spcPct val="0"/>
        </a:spcAft>
        <a:buClr>
          <a:schemeClr val="tx2"/>
        </a:buClr>
        <a:buFont typeface="Wingdings" pitchFamily="2" charset="2"/>
        <a:buNone/>
        <a:defRPr sz="2000">
          <a:solidFill>
            <a:schemeClr val="tx1"/>
          </a:solidFill>
          <a:latin typeface="+mn-lt"/>
          <a:ea typeface="+mn-ea"/>
          <a:cs typeface="+mn-cs"/>
        </a:defRPr>
      </a:lvl1pPr>
      <a:lvl2pPr marL="231308" indent="-231308" algn="l" rtl="0" eaLnBrk="1" fontAlgn="base" hangingPunct="1">
        <a:lnSpc>
          <a:spcPct val="100000"/>
        </a:lnSpc>
        <a:spcBef>
          <a:spcPct val="50000"/>
        </a:spcBef>
        <a:spcAft>
          <a:spcPct val="0"/>
        </a:spcAft>
        <a:buClrTx/>
        <a:buFont typeface="Wingdings" pitchFamily="2" charset="2"/>
        <a:buChar char=""/>
        <a:defRPr sz="2000">
          <a:solidFill>
            <a:schemeClr val="tx1"/>
          </a:solidFill>
          <a:latin typeface="+mn-lt"/>
        </a:defRPr>
      </a:lvl2pPr>
      <a:lvl3pPr marL="681299" indent="-340613" algn="l" rtl="0" eaLnBrk="1" fontAlgn="base" hangingPunct="1">
        <a:lnSpc>
          <a:spcPct val="100000"/>
        </a:lnSpc>
        <a:spcBef>
          <a:spcPct val="50000"/>
        </a:spcBef>
        <a:spcAft>
          <a:spcPct val="0"/>
        </a:spcAft>
        <a:buClrTx/>
        <a:buFont typeface="Arial" pitchFamily="34" charset="0"/>
        <a:buChar char="–"/>
        <a:defRPr sz="2000">
          <a:solidFill>
            <a:schemeClr val="tx1"/>
          </a:solidFill>
          <a:latin typeface="+mn-lt"/>
        </a:defRPr>
      </a:lvl3pPr>
      <a:lvl4pPr marL="1193048" indent="-220199" algn="l" rtl="0" eaLnBrk="1" fontAlgn="base" hangingPunct="1">
        <a:lnSpc>
          <a:spcPct val="100000"/>
        </a:lnSpc>
        <a:spcBef>
          <a:spcPct val="50000"/>
        </a:spcBef>
        <a:spcAft>
          <a:spcPct val="0"/>
        </a:spcAft>
        <a:buClrTx/>
        <a:buFont typeface="Wingdings" pitchFamily="2" charset="2"/>
        <a:buChar char=""/>
        <a:defRPr sz="2000">
          <a:solidFill>
            <a:schemeClr val="tx1"/>
          </a:solidFill>
          <a:latin typeface="+mn-lt"/>
        </a:defRPr>
      </a:lvl4pPr>
      <a:lvl5pPr marL="1714334" indent="-340613" algn="l" rtl="0" eaLnBrk="1" fontAlgn="base" hangingPunct="1">
        <a:lnSpc>
          <a:spcPct val="100000"/>
        </a:lnSpc>
        <a:spcBef>
          <a:spcPct val="50000"/>
        </a:spcBef>
        <a:spcAft>
          <a:spcPct val="0"/>
        </a:spcAft>
        <a:buClrTx/>
        <a:buFont typeface="Arial" pitchFamily="34" charset="0"/>
        <a:buChar char="–"/>
        <a:defRPr sz="2000">
          <a:solidFill>
            <a:schemeClr val="tx1"/>
          </a:solidFill>
          <a:latin typeface="+mn-lt"/>
        </a:defRPr>
      </a:lvl5pPr>
      <a:lvl6pPr marL="2455829" indent="-174313"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6pPr>
      <a:lvl7pPr marL="2912168" indent="-174313"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7pPr>
      <a:lvl8pPr marL="3368473" indent="-174313"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8pPr>
      <a:lvl9pPr marL="3824738" indent="-174313"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Line 102"/>
          <p:cNvSpPr>
            <a:spLocks noChangeShapeType="1"/>
          </p:cNvSpPr>
          <p:nvPr/>
        </p:nvSpPr>
        <p:spPr bwMode="auto">
          <a:xfrm>
            <a:off x="2286000" y="987930"/>
            <a:ext cx="0" cy="3679079"/>
          </a:xfrm>
          <a:prstGeom prst="line">
            <a:avLst/>
          </a:prstGeom>
          <a:noFill/>
          <a:ln w="12700">
            <a:solidFill>
              <a:srgbClr val="62646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2890" tIns="41445" rIns="82890" bIns="41445" anchor="ctr"/>
          <a:lstStyle/>
          <a:p>
            <a:pPr algn="ctr" defTabSz="912644" eaLnBrk="0" hangingPunct="0">
              <a:defRPr/>
            </a:pPr>
            <a:endParaRPr lang="en-US" sz="1100" b="1">
              <a:solidFill>
                <a:srgbClr val="000000"/>
              </a:solidFill>
              <a:ea typeface="ＭＳ Ｐゴシック" charset="0"/>
              <a:cs typeface="Arial"/>
            </a:endParaRPr>
          </a:p>
        </p:txBody>
      </p:sp>
      <p:sp>
        <p:nvSpPr>
          <p:cNvPr id="1027" name="Rectangle 246"/>
          <p:cNvSpPr>
            <a:spLocks noGrp="1" noChangeArrowheads="1"/>
          </p:cNvSpPr>
          <p:nvPr>
            <p:ph type="title"/>
          </p:nvPr>
        </p:nvSpPr>
        <p:spPr bwMode="auto">
          <a:xfrm>
            <a:off x="508194" y="220847"/>
            <a:ext cx="8127689" cy="5114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0" tIns="0" rIns="0" bIns="16348" numCol="1" anchor="t" anchorCtr="0" compatLnSpc="1">
            <a:prstTxWarp prst="textNoShape">
              <a:avLst/>
            </a:prstTxWarp>
          </a:bodyPr>
          <a:lstStyle/>
          <a:p>
            <a:pPr lvl="0"/>
            <a:r>
              <a:rPr lang="en-GB"/>
              <a:t>Click to edit Master title style</a:t>
            </a:r>
          </a:p>
        </p:txBody>
      </p:sp>
      <p:sp>
        <p:nvSpPr>
          <p:cNvPr id="1028" name="Rectangle 365"/>
          <p:cNvSpPr>
            <a:spLocks noGrp="1" noChangeArrowheads="1"/>
          </p:cNvSpPr>
          <p:nvPr>
            <p:ph type="body" idx="1"/>
          </p:nvPr>
        </p:nvSpPr>
        <p:spPr bwMode="auto">
          <a:xfrm>
            <a:off x="2413389" y="937236"/>
            <a:ext cx="6222456" cy="37297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0" tIns="19616" rIns="0" bIns="0" numCol="1" anchor="t" anchorCtr="0" compatLnSpc="1">
            <a:prstTxWarp prst="textNoShape">
              <a:avLst/>
            </a:prstTxWarp>
          </a:bodyPr>
          <a:lstStyle/>
          <a:p>
            <a:pPr lvl="0"/>
            <a:r>
              <a:rPr lang="en-GB"/>
              <a:t>Click to edit Master text styles</a:t>
            </a:r>
          </a:p>
          <a:p>
            <a:pPr lvl="1"/>
            <a:r>
              <a:rPr lang="en-GB"/>
              <a:t>Click to edit Master text styles</a:t>
            </a:r>
          </a:p>
          <a:p>
            <a:pPr lvl="2"/>
            <a:r>
              <a:rPr lang="en-GB"/>
              <a:t>Click to edit Master text styles</a:t>
            </a:r>
          </a:p>
          <a:p>
            <a:pPr lvl="3"/>
            <a:r>
              <a:rPr lang="en-GB"/>
              <a:t>Click to edit Master text styles</a:t>
            </a:r>
          </a:p>
        </p:txBody>
      </p:sp>
      <p:sp>
        <p:nvSpPr>
          <p:cNvPr id="749615" name="Text Box 47"/>
          <p:cNvSpPr txBox="1">
            <a:spLocks noChangeArrowheads="1"/>
          </p:cNvSpPr>
          <p:nvPr/>
        </p:nvSpPr>
        <p:spPr bwMode="auto">
          <a:xfrm rot="-5400000">
            <a:off x="8650125" y="566199"/>
            <a:ext cx="835165" cy="92333"/>
          </a:xfrm>
          <a:prstGeom prst="rect">
            <a:avLst/>
          </a:prstGeom>
          <a:noFill/>
          <a:ln w="12700">
            <a:noFill/>
            <a:miter lim="800000"/>
            <a:headEnd type="none" w="sm" len="sm"/>
            <a:tailEnd type="none" w="sm" len="sm"/>
          </a:ln>
          <a:effectLst/>
        </p:spPr>
        <p:txBody>
          <a:bodyPr wrap="none" lIns="0" tIns="0" rIns="0" bIns="0">
            <a:spAutoFit/>
          </a:bodyPr>
          <a:lstStyle>
            <a:lvl1pPr defTabSz="901700">
              <a:spcBef>
                <a:spcPct val="50000"/>
              </a:spcBef>
              <a:defRPr sz="600" b="1" i="1">
                <a:solidFill>
                  <a:schemeClr val="tx1"/>
                </a:solidFill>
                <a:latin typeface="Arial" charset="0"/>
                <a:cs typeface="Arial" charset="0"/>
              </a:defRPr>
            </a:lvl1pPr>
            <a:lvl2pPr marL="781050" indent="-300038" defTabSz="901700">
              <a:spcBef>
                <a:spcPct val="50000"/>
              </a:spcBef>
              <a:defRPr sz="600" b="1" i="1">
                <a:solidFill>
                  <a:schemeClr val="tx1"/>
                </a:solidFill>
                <a:latin typeface="Arial" charset="0"/>
                <a:cs typeface="Arial" charset="0"/>
              </a:defRPr>
            </a:lvl2pPr>
            <a:lvl3pPr marL="1201738" indent="-241300" defTabSz="901700">
              <a:spcBef>
                <a:spcPct val="50000"/>
              </a:spcBef>
              <a:defRPr sz="600" b="1" i="1">
                <a:solidFill>
                  <a:schemeClr val="tx1"/>
                </a:solidFill>
                <a:latin typeface="Arial" charset="0"/>
                <a:cs typeface="Arial" charset="0"/>
              </a:defRPr>
            </a:lvl3pPr>
            <a:lvl4pPr marL="1682750" indent="-241300" defTabSz="901700">
              <a:spcBef>
                <a:spcPct val="50000"/>
              </a:spcBef>
              <a:defRPr sz="600" b="1" i="1">
                <a:solidFill>
                  <a:schemeClr val="tx1"/>
                </a:solidFill>
                <a:latin typeface="Arial" charset="0"/>
                <a:cs typeface="Arial" charset="0"/>
              </a:defRPr>
            </a:lvl4pPr>
            <a:lvl5pPr marL="2162175" indent="-241300" defTabSz="901700">
              <a:spcBef>
                <a:spcPct val="50000"/>
              </a:spcBef>
              <a:defRPr sz="600" b="1" i="1">
                <a:solidFill>
                  <a:schemeClr val="tx1"/>
                </a:solidFill>
                <a:latin typeface="Arial" charset="0"/>
                <a:cs typeface="Arial" charset="0"/>
              </a:defRPr>
            </a:lvl5pPr>
            <a:lvl6pPr marL="2619375" indent="-241300" algn="ctr" defTabSz="901700" eaLnBrk="0" fontAlgn="base" hangingPunct="0">
              <a:spcBef>
                <a:spcPct val="50000"/>
              </a:spcBef>
              <a:spcAft>
                <a:spcPct val="0"/>
              </a:spcAft>
              <a:defRPr sz="600" b="1" i="1">
                <a:solidFill>
                  <a:schemeClr val="tx1"/>
                </a:solidFill>
                <a:latin typeface="Arial" charset="0"/>
                <a:cs typeface="Arial" charset="0"/>
              </a:defRPr>
            </a:lvl6pPr>
            <a:lvl7pPr marL="3076575" indent="-241300" algn="ctr" defTabSz="901700" eaLnBrk="0" fontAlgn="base" hangingPunct="0">
              <a:spcBef>
                <a:spcPct val="50000"/>
              </a:spcBef>
              <a:spcAft>
                <a:spcPct val="0"/>
              </a:spcAft>
              <a:defRPr sz="600" b="1" i="1">
                <a:solidFill>
                  <a:schemeClr val="tx1"/>
                </a:solidFill>
                <a:latin typeface="Arial" charset="0"/>
                <a:cs typeface="Arial" charset="0"/>
              </a:defRPr>
            </a:lvl7pPr>
            <a:lvl8pPr marL="3533775" indent="-241300" algn="ctr" defTabSz="901700" eaLnBrk="0" fontAlgn="base" hangingPunct="0">
              <a:spcBef>
                <a:spcPct val="50000"/>
              </a:spcBef>
              <a:spcAft>
                <a:spcPct val="0"/>
              </a:spcAft>
              <a:defRPr sz="600" b="1" i="1">
                <a:solidFill>
                  <a:schemeClr val="tx1"/>
                </a:solidFill>
                <a:latin typeface="Arial" charset="0"/>
                <a:cs typeface="Arial" charset="0"/>
              </a:defRPr>
            </a:lvl8pPr>
            <a:lvl9pPr marL="3990975" indent="-241300" algn="ctr" defTabSz="901700" eaLnBrk="0" fontAlgn="base" hangingPunct="0">
              <a:spcBef>
                <a:spcPct val="50000"/>
              </a:spcBef>
              <a:spcAft>
                <a:spcPct val="0"/>
              </a:spcAft>
              <a:defRPr sz="600" b="1" i="1">
                <a:solidFill>
                  <a:schemeClr val="tx1"/>
                </a:solidFill>
                <a:latin typeface="Arial" charset="0"/>
                <a:cs typeface="Arial" charset="0"/>
              </a:defRPr>
            </a:lvl9pPr>
          </a:lstStyle>
          <a:p>
            <a:pPr algn="r" eaLnBrk="0" hangingPunct="0">
              <a:spcBef>
                <a:spcPct val="0"/>
              </a:spcBef>
              <a:defRPr/>
            </a:pPr>
            <a:r>
              <a:rPr lang="en-GB" b="0" i="0">
                <a:solidFill>
                  <a:srgbClr val="A5A6A9"/>
                </a:solidFill>
                <a:ea typeface="ＭＳ Ｐゴシック" pitchFamily="34" charset="-128"/>
              </a:rPr>
              <a:t>Insert GPS number here</a:t>
            </a:r>
          </a:p>
        </p:txBody>
      </p:sp>
      <p:grpSp>
        <p:nvGrpSpPr>
          <p:cNvPr id="1030" name="Group 238"/>
          <p:cNvGrpSpPr>
            <a:grpSpLocks/>
          </p:cNvGrpSpPr>
          <p:nvPr/>
        </p:nvGrpSpPr>
        <p:grpSpPr bwMode="auto">
          <a:xfrm>
            <a:off x="508163" y="220795"/>
            <a:ext cx="8130489" cy="4722196"/>
            <a:chOff x="363" y="196"/>
            <a:chExt cx="5808" cy="4192"/>
          </a:xfrm>
        </p:grpSpPr>
        <p:sp>
          <p:nvSpPr>
            <p:cNvPr id="1034" name="Rectangle 204"/>
            <p:cNvSpPr>
              <a:spLocks noChangeArrowheads="1"/>
            </p:cNvSpPr>
            <p:nvPr userDrawn="1"/>
          </p:nvSpPr>
          <p:spPr bwMode="auto">
            <a:xfrm>
              <a:off x="1724" y="877"/>
              <a:ext cx="2177" cy="1587"/>
            </a:xfrm>
            <a:prstGeom prst="rect">
              <a:avLst/>
            </a:prstGeom>
            <a:noFill/>
            <a:ln w="6350">
              <a:solidFill>
                <a:srgbClr val="A5A6A9"/>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defTabSz="912644" eaLnBrk="0" hangingPunct="0">
                <a:defRPr/>
              </a:pPr>
              <a:endParaRPr lang="en-US" sz="1100" b="1">
                <a:solidFill>
                  <a:srgbClr val="000000"/>
                </a:solidFill>
                <a:ea typeface="ＭＳ Ｐゴシック" charset="0"/>
                <a:cs typeface="Arial"/>
              </a:endParaRPr>
            </a:p>
          </p:txBody>
        </p:sp>
        <p:sp>
          <p:nvSpPr>
            <p:cNvPr id="1035" name="Rectangle 206"/>
            <p:cNvSpPr>
              <a:spLocks noChangeArrowheads="1"/>
            </p:cNvSpPr>
            <p:nvPr userDrawn="1"/>
          </p:nvSpPr>
          <p:spPr bwMode="auto">
            <a:xfrm>
              <a:off x="1724" y="2555"/>
              <a:ext cx="2177" cy="1588"/>
            </a:xfrm>
            <a:prstGeom prst="rect">
              <a:avLst/>
            </a:prstGeom>
            <a:noFill/>
            <a:ln w="6350">
              <a:solidFill>
                <a:srgbClr val="A5A6A9"/>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defTabSz="912644" eaLnBrk="0" hangingPunct="0">
                <a:defRPr/>
              </a:pPr>
              <a:endParaRPr lang="en-US" sz="1100" b="1">
                <a:solidFill>
                  <a:srgbClr val="000000"/>
                </a:solidFill>
                <a:ea typeface="ＭＳ Ｐゴシック" charset="0"/>
                <a:cs typeface="Arial"/>
              </a:endParaRPr>
            </a:p>
          </p:txBody>
        </p:sp>
        <p:sp>
          <p:nvSpPr>
            <p:cNvPr id="1036" name="Rectangle 208"/>
            <p:cNvSpPr>
              <a:spLocks noChangeArrowheads="1"/>
            </p:cNvSpPr>
            <p:nvPr userDrawn="1"/>
          </p:nvSpPr>
          <p:spPr bwMode="auto">
            <a:xfrm>
              <a:off x="363" y="877"/>
              <a:ext cx="1179" cy="3266"/>
            </a:xfrm>
            <a:prstGeom prst="rect">
              <a:avLst/>
            </a:prstGeom>
            <a:noFill/>
            <a:ln w="6350">
              <a:solidFill>
                <a:srgbClr val="A5A6A9"/>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defTabSz="912644" eaLnBrk="0" hangingPunct="0">
                <a:defRPr/>
              </a:pPr>
              <a:endParaRPr lang="en-US" sz="1100" b="1">
                <a:solidFill>
                  <a:srgbClr val="000000"/>
                </a:solidFill>
                <a:ea typeface="ＭＳ Ｐゴシック" charset="0"/>
                <a:cs typeface="Arial"/>
              </a:endParaRPr>
            </a:p>
          </p:txBody>
        </p:sp>
        <p:sp>
          <p:nvSpPr>
            <p:cNvPr id="2" name="Rectangle 443"/>
            <p:cNvSpPr>
              <a:spLocks noChangeArrowheads="1"/>
            </p:cNvSpPr>
            <p:nvPr userDrawn="1"/>
          </p:nvSpPr>
          <p:spPr bwMode="auto">
            <a:xfrm>
              <a:off x="363" y="4279"/>
              <a:ext cx="0" cy="109"/>
            </a:xfrm>
            <a:prstGeom prst="rect">
              <a:avLst/>
            </a:prstGeom>
            <a:noFill/>
            <a:ln w="9525">
              <a:solidFill>
                <a:srgbClr val="A5A6A9"/>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748310" eaLnBrk="0" hangingPunct="0"/>
              <a:endParaRPr lang="en-US" sz="800">
                <a:solidFill>
                  <a:srgbClr val="A5A6A9"/>
                </a:solidFill>
                <a:latin typeface="Arial" pitchFamily="34" charset="0"/>
                <a:ea typeface="ＭＳ Ｐゴシック" pitchFamily="34" charset="-128"/>
                <a:cs typeface="Arial"/>
              </a:endParaRPr>
            </a:p>
          </p:txBody>
        </p:sp>
        <p:sp>
          <p:nvSpPr>
            <p:cNvPr id="1038" name="Rectangle 223"/>
            <p:cNvSpPr>
              <a:spLocks noChangeArrowheads="1"/>
            </p:cNvSpPr>
            <p:nvPr userDrawn="1"/>
          </p:nvSpPr>
          <p:spPr bwMode="auto">
            <a:xfrm>
              <a:off x="3992" y="877"/>
              <a:ext cx="2176" cy="1587"/>
            </a:xfrm>
            <a:prstGeom prst="rect">
              <a:avLst/>
            </a:prstGeom>
            <a:noFill/>
            <a:ln w="6350">
              <a:solidFill>
                <a:srgbClr val="A5A6A9"/>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defTabSz="912644" eaLnBrk="0" hangingPunct="0">
                <a:defRPr/>
              </a:pPr>
              <a:endParaRPr lang="en-US" sz="1100" b="1">
                <a:solidFill>
                  <a:srgbClr val="000000"/>
                </a:solidFill>
                <a:ea typeface="ＭＳ Ｐゴシック" charset="0"/>
                <a:cs typeface="Arial"/>
              </a:endParaRPr>
            </a:p>
          </p:txBody>
        </p:sp>
        <p:sp>
          <p:nvSpPr>
            <p:cNvPr id="1039" name="Rectangle 224"/>
            <p:cNvSpPr>
              <a:spLocks noChangeArrowheads="1"/>
            </p:cNvSpPr>
            <p:nvPr userDrawn="1"/>
          </p:nvSpPr>
          <p:spPr bwMode="auto">
            <a:xfrm>
              <a:off x="3992" y="2555"/>
              <a:ext cx="2176" cy="1588"/>
            </a:xfrm>
            <a:prstGeom prst="rect">
              <a:avLst/>
            </a:prstGeom>
            <a:noFill/>
            <a:ln w="6350">
              <a:solidFill>
                <a:srgbClr val="A5A6A9"/>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defTabSz="912644" eaLnBrk="0" hangingPunct="0">
                <a:defRPr/>
              </a:pPr>
              <a:endParaRPr lang="en-US" sz="1100" b="1">
                <a:solidFill>
                  <a:srgbClr val="000000"/>
                </a:solidFill>
                <a:ea typeface="ＭＳ Ｐゴシック" charset="0"/>
                <a:cs typeface="Arial"/>
              </a:endParaRPr>
            </a:p>
          </p:txBody>
        </p:sp>
        <p:sp>
          <p:nvSpPr>
            <p:cNvPr id="3" name="Rectangle 446"/>
            <p:cNvSpPr>
              <a:spLocks noChangeArrowheads="1"/>
            </p:cNvSpPr>
            <p:nvPr userDrawn="1"/>
          </p:nvSpPr>
          <p:spPr bwMode="auto">
            <a:xfrm>
              <a:off x="5465" y="196"/>
              <a:ext cx="706" cy="363"/>
            </a:xfrm>
            <a:prstGeom prst="rect">
              <a:avLst/>
            </a:prstGeom>
            <a:noFill/>
            <a:ln w="3175">
              <a:solidFill>
                <a:srgbClr val="A5A6A9"/>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90321" tIns="45162" rIns="90321" bIns="45162" anchor="ctr"/>
            <a:lstStyle/>
            <a:p>
              <a:pPr algn="ctr" defTabSz="817289" eaLnBrk="0" hangingPunct="0">
                <a:lnSpc>
                  <a:spcPts val="636"/>
                </a:lnSpc>
              </a:pPr>
              <a:r>
                <a:rPr lang="en-GB" sz="600">
                  <a:solidFill>
                    <a:srgbClr val="A5A6A9"/>
                  </a:solidFill>
                  <a:latin typeface="Arial" pitchFamily="34" charset="0"/>
                  <a:ea typeface="ＭＳ Ｐゴシック" pitchFamily="34" charset="-128"/>
                  <a:cs typeface="Arial"/>
                </a:rPr>
                <a:t>Third party logo</a:t>
              </a:r>
            </a:p>
          </p:txBody>
        </p:sp>
      </p:grpSp>
      <p:sp>
        <p:nvSpPr>
          <p:cNvPr id="1032" name="Rectangle 230"/>
          <p:cNvSpPr>
            <a:spLocks noChangeArrowheads="1"/>
          </p:cNvSpPr>
          <p:nvPr/>
        </p:nvSpPr>
        <p:spPr bwMode="auto">
          <a:xfrm>
            <a:off x="190391" y="220790"/>
            <a:ext cx="127389" cy="408912"/>
          </a:xfrm>
          <a:prstGeom prst="rect">
            <a:avLst/>
          </a:prstGeom>
          <a:solidFill>
            <a:schemeClr val="tx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7110" tIns="43556" rIns="87110" bIns="43556" anchor="ctr"/>
          <a:lstStyle/>
          <a:p>
            <a:pPr algn="ctr" defTabSz="817289" eaLnBrk="0" hangingPunct="0">
              <a:spcBef>
                <a:spcPct val="50000"/>
              </a:spcBef>
              <a:defRPr/>
            </a:pPr>
            <a:endParaRPr lang="en-US" sz="600" i="1">
              <a:solidFill>
                <a:srgbClr val="000000"/>
              </a:solidFill>
              <a:ea typeface="ＭＳ Ｐゴシック" charset="0"/>
              <a:cs typeface="Arial"/>
            </a:endParaRPr>
          </a:p>
        </p:txBody>
      </p:sp>
      <p:sp>
        <p:nvSpPr>
          <p:cNvPr id="4" name="Rectangle 396"/>
          <p:cNvSpPr>
            <a:spLocks noChangeArrowheads="1"/>
          </p:cNvSpPr>
          <p:nvPr/>
        </p:nvSpPr>
        <p:spPr bwMode="auto">
          <a:xfrm>
            <a:off x="4496159" y="4785102"/>
            <a:ext cx="158697" cy="15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817289" eaLnBrk="0" hangingPunct="0"/>
            <a:fld id="{CE96E850-2B27-41A7-A32D-DA1CB4AF0337}" type="slidenum">
              <a:rPr lang="en-GB" sz="1000" smtClean="0">
                <a:solidFill>
                  <a:srgbClr val="000000"/>
                </a:solidFill>
                <a:latin typeface="Arial" pitchFamily="34" charset="0"/>
                <a:ea typeface="ＭＳ Ｐゴシック" pitchFamily="34" charset="-128"/>
                <a:cs typeface="Arial"/>
              </a:rPr>
              <a:pPr algn="ctr" defTabSz="817289" eaLnBrk="0" hangingPunct="0"/>
              <a:t>‹#›</a:t>
            </a:fld>
            <a:endParaRPr lang="en-GB" sz="1000">
              <a:solidFill>
                <a:srgbClr val="000000"/>
              </a:solidFill>
              <a:latin typeface="Arial" pitchFamily="34" charset="0"/>
              <a:ea typeface="ＭＳ Ｐゴシック" pitchFamily="34" charset="-128"/>
              <a:cs typeface="Arial"/>
            </a:endParaRPr>
          </a:p>
        </p:txBody>
      </p:sp>
    </p:spTree>
    <p:extLst>
      <p:ext uri="{BB962C8B-B14F-4D97-AF65-F5344CB8AC3E}">
        <p14:creationId xmlns:p14="http://schemas.microsoft.com/office/powerpoint/2010/main" val="2609228944"/>
      </p:ext>
    </p:extLst>
  </p:cSld>
  <p:clrMap bg1="lt1" tx1="dk1" bg2="lt2" tx2="dk2" accent1="accent1" accent2="accent2" accent3="accent3" accent4="accent4" accent5="accent5" accent6="accent6" hlink="hlink" folHlink="folHlink"/>
  <p:sldLayoutIdLst>
    <p:sldLayoutId id="2147484536" r:id="rId1"/>
    <p:sldLayoutId id="2147484537" r:id="rId2"/>
    <p:sldLayoutId id="2147484538" r:id="rId3"/>
    <p:sldLayoutId id="2147484539" r:id="rId4"/>
    <p:sldLayoutId id="2147484540" r:id="rId5"/>
    <p:sldLayoutId id="2147484541" r:id="rId6"/>
    <p:sldLayoutId id="2147484542" r:id="rId7"/>
    <p:sldLayoutId id="2147484543" r:id="rId8"/>
    <p:sldLayoutId id="2147484544" r:id="rId9"/>
    <p:sldLayoutId id="2147484545" r:id="rId10"/>
    <p:sldLayoutId id="2147484546" r:id="rId11"/>
  </p:sldLayoutIdLst>
  <p:txStyles>
    <p:titleStyle>
      <a:lvl1pPr algn="l" defTabSz="1056155" rtl="0" eaLnBrk="0" fontAlgn="base" hangingPunct="0">
        <a:lnSpc>
          <a:spcPct val="90000"/>
        </a:lnSpc>
        <a:spcBef>
          <a:spcPct val="0"/>
        </a:spcBef>
        <a:spcAft>
          <a:spcPct val="0"/>
        </a:spcAft>
        <a:defRPr sz="2000">
          <a:solidFill>
            <a:schemeClr val="tx2"/>
          </a:solidFill>
          <a:latin typeface="+mj-lt"/>
          <a:ea typeface="ＭＳ Ｐゴシック" charset="0"/>
          <a:cs typeface="Arial" charset="0"/>
        </a:defRPr>
      </a:lvl1pPr>
      <a:lvl2pPr algn="l" defTabSz="1056155" rtl="0" eaLnBrk="0" fontAlgn="base" hangingPunct="0">
        <a:lnSpc>
          <a:spcPct val="90000"/>
        </a:lnSpc>
        <a:spcBef>
          <a:spcPct val="0"/>
        </a:spcBef>
        <a:spcAft>
          <a:spcPct val="0"/>
        </a:spcAft>
        <a:defRPr sz="2000">
          <a:solidFill>
            <a:schemeClr val="tx2"/>
          </a:solidFill>
          <a:latin typeface="Arial" charset="0"/>
          <a:ea typeface="ＭＳ Ｐゴシック" charset="0"/>
          <a:cs typeface="Arial" charset="0"/>
        </a:defRPr>
      </a:lvl2pPr>
      <a:lvl3pPr algn="l" defTabSz="1056155" rtl="0" eaLnBrk="0" fontAlgn="base" hangingPunct="0">
        <a:lnSpc>
          <a:spcPct val="90000"/>
        </a:lnSpc>
        <a:spcBef>
          <a:spcPct val="0"/>
        </a:spcBef>
        <a:spcAft>
          <a:spcPct val="0"/>
        </a:spcAft>
        <a:defRPr sz="2000">
          <a:solidFill>
            <a:schemeClr val="tx2"/>
          </a:solidFill>
          <a:latin typeface="Arial" charset="0"/>
          <a:ea typeface="ＭＳ Ｐゴシック" charset="0"/>
          <a:cs typeface="Arial" charset="0"/>
        </a:defRPr>
      </a:lvl3pPr>
      <a:lvl4pPr algn="l" defTabSz="1056155" rtl="0" eaLnBrk="0" fontAlgn="base" hangingPunct="0">
        <a:lnSpc>
          <a:spcPct val="90000"/>
        </a:lnSpc>
        <a:spcBef>
          <a:spcPct val="0"/>
        </a:spcBef>
        <a:spcAft>
          <a:spcPct val="0"/>
        </a:spcAft>
        <a:defRPr sz="2000">
          <a:solidFill>
            <a:schemeClr val="tx2"/>
          </a:solidFill>
          <a:latin typeface="Arial" charset="0"/>
          <a:ea typeface="ＭＳ Ｐゴシック" charset="0"/>
          <a:cs typeface="Arial" charset="0"/>
        </a:defRPr>
      </a:lvl4pPr>
      <a:lvl5pPr algn="l" defTabSz="1056155" rtl="0" eaLnBrk="0" fontAlgn="base" hangingPunct="0">
        <a:lnSpc>
          <a:spcPct val="90000"/>
        </a:lnSpc>
        <a:spcBef>
          <a:spcPct val="0"/>
        </a:spcBef>
        <a:spcAft>
          <a:spcPct val="0"/>
        </a:spcAft>
        <a:defRPr sz="2000">
          <a:solidFill>
            <a:schemeClr val="tx2"/>
          </a:solidFill>
          <a:latin typeface="Arial" charset="0"/>
          <a:ea typeface="ＭＳ Ｐゴシック" charset="0"/>
          <a:cs typeface="Arial" charset="0"/>
        </a:defRPr>
      </a:lvl5pPr>
      <a:lvl6pPr marL="414440" algn="l" defTabSz="1005846" rtl="0" eaLnBrk="0" fontAlgn="base" hangingPunct="0">
        <a:spcBef>
          <a:spcPct val="0"/>
        </a:spcBef>
        <a:spcAft>
          <a:spcPct val="0"/>
        </a:spcAft>
        <a:defRPr sz="2200">
          <a:solidFill>
            <a:schemeClr val="accent1"/>
          </a:solidFill>
          <a:latin typeface="Arial" charset="0"/>
        </a:defRPr>
      </a:lvl6pPr>
      <a:lvl7pPr marL="828821" algn="l" defTabSz="1005846" rtl="0" eaLnBrk="0" fontAlgn="base" hangingPunct="0">
        <a:spcBef>
          <a:spcPct val="0"/>
        </a:spcBef>
        <a:spcAft>
          <a:spcPct val="0"/>
        </a:spcAft>
        <a:defRPr sz="2200">
          <a:solidFill>
            <a:schemeClr val="accent1"/>
          </a:solidFill>
          <a:latin typeface="Arial" charset="0"/>
        </a:defRPr>
      </a:lvl7pPr>
      <a:lvl8pPr marL="1243269" algn="l" defTabSz="1005846" rtl="0" eaLnBrk="0" fontAlgn="base" hangingPunct="0">
        <a:spcBef>
          <a:spcPct val="0"/>
        </a:spcBef>
        <a:spcAft>
          <a:spcPct val="0"/>
        </a:spcAft>
        <a:defRPr sz="2200">
          <a:solidFill>
            <a:schemeClr val="accent1"/>
          </a:solidFill>
          <a:latin typeface="Arial" charset="0"/>
        </a:defRPr>
      </a:lvl8pPr>
      <a:lvl9pPr marL="1657643" algn="l" defTabSz="1005846" rtl="0" eaLnBrk="0" fontAlgn="base" hangingPunct="0">
        <a:spcBef>
          <a:spcPct val="0"/>
        </a:spcBef>
        <a:spcAft>
          <a:spcPct val="0"/>
        </a:spcAft>
        <a:defRPr sz="2200">
          <a:solidFill>
            <a:schemeClr val="accent1"/>
          </a:solidFill>
          <a:latin typeface="Arial" charset="0"/>
        </a:defRPr>
      </a:lvl9pPr>
    </p:titleStyle>
    <p:bodyStyle>
      <a:lvl1pPr marL="164049" indent="-164049" algn="l" defTabSz="817289" rtl="0" eaLnBrk="0" fontAlgn="base" hangingPunct="0">
        <a:spcBef>
          <a:spcPct val="20000"/>
        </a:spcBef>
        <a:spcAft>
          <a:spcPct val="0"/>
        </a:spcAft>
        <a:buClr>
          <a:schemeClr val="tx2"/>
        </a:buClr>
        <a:buFont typeface="Symbol" pitchFamily="18" charset="2"/>
        <a:buChar char="·"/>
        <a:defRPr sz="1500">
          <a:solidFill>
            <a:schemeClr val="tx1"/>
          </a:solidFill>
          <a:latin typeface="+mn-lt"/>
          <a:ea typeface="ＭＳ Ｐゴシック" charset="0"/>
          <a:cs typeface="+mn-cs"/>
        </a:defRPr>
      </a:lvl1pPr>
      <a:lvl2pPr marL="326658" indent="-161166" algn="l" defTabSz="817289" rtl="0" eaLnBrk="0" fontAlgn="base" hangingPunct="0">
        <a:spcBef>
          <a:spcPct val="20000"/>
        </a:spcBef>
        <a:spcAft>
          <a:spcPct val="0"/>
        </a:spcAft>
        <a:buClr>
          <a:schemeClr val="tx2"/>
        </a:buClr>
        <a:buChar char="–"/>
        <a:defRPr sz="1300">
          <a:solidFill>
            <a:schemeClr val="tx1"/>
          </a:solidFill>
          <a:latin typeface="+mn-lt"/>
          <a:ea typeface="Arial" charset="0"/>
          <a:cs typeface="+mn-cs"/>
        </a:defRPr>
      </a:lvl2pPr>
      <a:lvl3pPr marL="489265" indent="-161166" algn="l" defTabSz="817289" rtl="0" eaLnBrk="0" fontAlgn="base" hangingPunct="0">
        <a:spcBef>
          <a:spcPct val="20000"/>
        </a:spcBef>
        <a:spcAft>
          <a:spcPct val="0"/>
        </a:spcAft>
        <a:buClr>
          <a:schemeClr val="tx2"/>
        </a:buClr>
        <a:buChar char="–"/>
        <a:defRPr sz="1100">
          <a:solidFill>
            <a:schemeClr val="tx1"/>
          </a:solidFill>
          <a:latin typeface="+mn-lt"/>
          <a:ea typeface="Arial" charset="0"/>
          <a:cs typeface="+mn-cs"/>
        </a:defRPr>
      </a:lvl3pPr>
      <a:lvl4pPr marL="651873" indent="-161166" algn="l" defTabSz="817289" rtl="0" eaLnBrk="0" fontAlgn="base" hangingPunct="0">
        <a:spcBef>
          <a:spcPct val="20000"/>
        </a:spcBef>
        <a:spcAft>
          <a:spcPct val="0"/>
        </a:spcAft>
        <a:buClr>
          <a:schemeClr val="tx2"/>
        </a:buClr>
        <a:buChar char="–"/>
        <a:defRPr sz="900">
          <a:solidFill>
            <a:schemeClr val="tx1"/>
          </a:solidFill>
          <a:latin typeface="+mn-lt"/>
          <a:ea typeface="Arial" charset="0"/>
          <a:cs typeface="+mn-cs"/>
        </a:defRPr>
      </a:lvl4pPr>
      <a:lvl5pPr marL="1676384" indent="-202900" algn="l" defTabSz="817289" rtl="0" eaLnBrk="0" fontAlgn="base" hangingPunct="0">
        <a:spcBef>
          <a:spcPct val="20000"/>
        </a:spcBef>
        <a:spcAft>
          <a:spcPct val="0"/>
        </a:spcAft>
        <a:buClr>
          <a:schemeClr val="tx2"/>
        </a:buClr>
        <a:buChar char="–"/>
        <a:defRPr sz="1100">
          <a:solidFill>
            <a:schemeClr val="tx1"/>
          </a:solidFill>
          <a:latin typeface="+mn-lt"/>
          <a:ea typeface="Arial" charset="0"/>
          <a:cs typeface="+mn-cs"/>
        </a:defRPr>
      </a:lvl5pPr>
      <a:lvl6pPr marL="1400110" indent="-192845" algn="l" defTabSz="1005846"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6pPr>
      <a:lvl7pPr marL="1814558" indent="-192845" algn="l" defTabSz="1005846"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7pPr>
      <a:lvl8pPr marL="2228967" indent="-192845" algn="l" defTabSz="1005846"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8pPr>
      <a:lvl9pPr marL="2643379" indent="-192845" algn="l" defTabSz="1005846"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9pPr>
    </p:bodyStyle>
    <p:otherStyle>
      <a:defPPr>
        <a:defRPr lang="en-US"/>
      </a:defPPr>
      <a:lvl1pPr marL="0" algn="l" defTabSz="828821" rtl="0" eaLnBrk="1" latinLnBrk="0" hangingPunct="1">
        <a:defRPr sz="1600" kern="1200">
          <a:solidFill>
            <a:schemeClr val="tx1"/>
          </a:solidFill>
          <a:latin typeface="+mn-lt"/>
          <a:ea typeface="+mn-ea"/>
          <a:cs typeface="+mn-cs"/>
        </a:defRPr>
      </a:lvl1pPr>
      <a:lvl2pPr marL="414440" algn="l" defTabSz="828821" rtl="0" eaLnBrk="1" latinLnBrk="0" hangingPunct="1">
        <a:defRPr sz="1600" kern="1200">
          <a:solidFill>
            <a:schemeClr val="tx1"/>
          </a:solidFill>
          <a:latin typeface="+mn-lt"/>
          <a:ea typeface="+mn-ea"/>
          <a:cs typeface="+mn-cs"/>
        </a:defRPr>
      </a:lvl2pPr>
      <a:lvl3pPr marL="828821" algn="l" defTabSz="828821" rtl="0" eaLnBrk="1" latinLnBrk="0" hangingPunct="1">
        <a:defRPr sz="1600" kern="1200">
          <a:solidFill>
            <a:schemeClr val="tx1"/>
          </a:solidFill>
          <a:latin typeface="+mn-lt"/>
          <a:ea typeface="+mn-ea"/>
          <a:cs typeface="+mn-cs"/>
        </a:defRPr>
      </a:lvl3pPr>
      <a:lvl4pPr marL="1243269" algn="l" defTabSz="828821" rtl="0" eaLnBrk="1" latinLnBrk="0" hangingPunct="1">
        <a:defRPr sz="1600" kern="1200">
          <a:solidFill>
            <a:schemeClr val="tx1"/>
          </a:solidFill>
          <a:latin typeface="+mn-lt"/>
          <a:ea typeface="+mn-ea"/>
          <a:cs typeface="+mn-cs"/>
        </a:defRPr>
      </a:lvl4pPr>
      <a:lvl5pPr marL="1657643" algn="l" defTabSz="828821" rtl="0" eaLnBrk="1" latinLnBrk="0" hangingPunct="1">
        <a:defRPr sz="1600" kern="1200">
          <a:solidFill>
            <a:schemeClr val="tx1"/>
          </a:solidFill>
          <a:latin typeface="+mn-lt"/>
          <a:ea typeface="+mn-ea"/>
          <a:cs typeface="+mn-cs"/>
        </a:defRPr>
      </a:lvl5pPr>
      <a:lvl6pPr marL="2072144" algn="l" defTabSz="828821" rtl="0" eaLnBrk="1" latinLnBrk="0" hangingPunct="1">
        <a:defRPr sz="1600" kern="1200">
          <a:solidFill>
            <a:schemeClr val="tx1"/>
          </a:solidFill>
          <a:latin typeface="+mn-lt"/>
          <a:ea typeface="+mn-ea"/>
          <a:cs typeface="+mn-cs"/>
        </a:defRPr>
      </a:lvl6pPr>
      <a:lvl7pPr marL="2486538" algn="l" defTabSz="828821" rtl="0" eaLnBrk="1" latinLnBrk="0" hangingPunct="1">
        <a:defRPr sz="1600" kern="1200">
          <a:solidFill>
            <a:schemeClr val="tx1"/>
          </a:solidFill>
          <a:latin typeface="+mn-lt"/>
          <a:ea typeface="+mn-ea"/>
          <a:cs typeface="+mn-cs"/>
        </a:defRPr>
      </a:lvl7pPr>
      <a:lvl8pPr marL="2900987" algn="l" defTabSz="828821" rtl="0" eaLnBrk="1" latinLnBrk="0" hangingPunct="1">
        <a:defRPr sz="1600" kern="1200">
          <a:solidFill>
            <a:schemeClr val="tx1"/>
          </a:solidFill>
          <a:latin typeface="+mn-lt"/>
          <a:ea typeface="+mn-ea"/>
          <a:cs typeface="+mn-cs"/>
        </a:defRPr>
      </a:lvl8pPr>
      <a:lvl9pPr marL="3315358" algn="l" defTabSz="828821" rtl="0" eaLnBrk="1" latinLnBrk="0" hangingPunct="1">
        <a:defRPr sz="16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074" name="Rectangle 246"/>
          <p:cNvSpPr>
            <a:spLocks noGrp="1" noChangeArrowheads="1"/>
          </p:cNvSpPr>
          <p:nvPr>
            <p:ph type="title"/>
          </p:nvPr>
        </p:nvSpPr>
        <p:spPr bwMode="auto">
          <a:xfrm>
            <a:off x="508194" y="220847"/>
            <a:ext cx="8127689" cy="511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6346" numCol="1" anchor="t" anchorCtr="0" compatLnSpc="1">
            <a:prstTxWarp prst="textNoShape">
              <a:avLst/>
            </a:prstTxWarp>
          </a:bodyPr>
          <a:lstStyle/>
          <a:p>
            <a:pPr lvl="0"/>
            <a:r>
              <a:rPr lang="en-GB"/>
              <a:t>Click to edit Master title style</a:t>
            </a:r>
          </a:p>
        </p:txBody>
      </p:sp>
      <p:sp>
        <p:nvSpPr>
          <p:cNvPr id="2051" name="Rectangle 85"/>
          <p:cNvSpPr>
            <a:spLocks noChangeArrowheads="1"/>
          </p:cNvSpPr>
          <p:nvPr/>
        </p:nvSpPr>
        <p:spPr bwMode="auto">
          <a:xfrm>
            <a:off x="190394" y="220791"/>
            <a:ext cx="127389" cy="408912"/>
          </a:xfrm>
          <a:prstGeom prst="rect">
            <a:avLst/>
          </a:prstGeom>
          <a:solidFill>
            <a:schemeClr val="tx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7096" tIns="43549" rIns="87096" bIns="43549" anchor="ctr"/>
          <a:lstStyle/>
          <a:p>
            <a:pPr algn="ctr" defTabSz="817154" eaLnBrk="0" hangingPunct="0">
              <a:spcBef>
                <a:spcPct val="50000"/>
              </a:spcBef>
              <a:defRPr/>
            </a:pPr>
            <a:endParaRPr lang="en-US" sz="600" i="1">
              <a:solidFill>
                <a:srgbClr val="000000"/>
              </a:solidFill>
              <a:ea typeface="ＭＳ Ｐゴシック" charset="0"/>
              <a:cs typeface="Arial"/>
            </a:endParaRPr>
          </a:p>
        </p:txBody>
      </p:sp>
      <p:sp>
        <p:nvSpPr>
          <p:cNvPr id="3076" name="Rectangle 365"/>
          <p:cNvSpPr>
            <a:spLocks noGrp="1" noChangeArrowheads="1"/>
          </p:cNvSpPr>
          <p:nvPr>
            <p:ph type="body" idx="1"/>
          </p:nvPr>
        </p:nvSpPr>
        <p:spPr bwMode="auto">
          <a:xfrm>
            <a:off x="508194" y="937236"/>
            <a:ext cx="8127689" cy="3729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9613" rIns="0" bIns="0" numCol="1" anchor="t" anchorCtr="0" compatLnSpc="1">
            <a:prstTxWarp prst="textNoShape">
              <a:avLst/>
            </a:prstTxWarp>
          </a:bodyPr>
          <a:lstStyle/>
          <a:p>
            <a:pPr lvl="0"/>
            <a:r>
              <a:rPr lang="en-GB"/>
              <a:t>Click to edit Master text styles</a:t>
            </a:r>
          </a:p>
          <a:p>
            <a:pPr lvl="1"/>
            <a:r>
              <a:rPr lang="en-GB"/>
              <a:t>Click to edit Master text styles</a:t>
            </a:r>
          </a:p>
          <a:p>
            <a:pPr lvl="2"/>
            <a:r>
              <a:rPr lang="en-GB"/>
              <a:t>Click to edit Master text styles</a:t>
            </a:r>
          </a:p>
          <a:p>
            <a:pPr lvl="3"/>
            <a:r>
              <a:rPr lang="en-GB"/>
              <a:t>Click to edit Master text styles</a:t>
            </a:r>
          </a:p>
        </p:txBody>
      </p:sp>
      <p:sp>
        <p:nvSpPr>
          <p:cNvPr id="3077" name="Rectangle 396"/>
          <p:cNvSpPr>
            <a:spLocks noChangeArrowheads="1"/>
          </p:cNvSpPr>
          <p:nvPr/>
        </p:nvSpPr>
        <p:spPr bwMode="auto">
          <a:xfrm>
            <a:off x="4496159" y="4785102"/>
            <a:ext cx="158697" cy="15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817154" eaLnBrk="0" hangingPunct="0"/>
            <a:fld id="{F02D8650-0811-46FB-ADC4-0173687E99A0}" type="slidenum">
              <a:rPr lang="en-GB" sz="1000" smtClean="0">
                <a:solidFill>
                  <a:srgbClr val="000000"/>
                </a:solidFill>
                <a:latin typeface="Arial" pitchFamily="34" charset="0"/>
                <a:ea typeface="ＭＳ Ｐゴシック" pitchFamily="34" charset="-128"/>
                <a:cs typeface="Arial"/>
              </a:rPr>
              <a:pPr algn="ctr" defTabSz="817154" eaLnBrk="0" hangingPunct="0"/>
              <a:t>‹#›</a:t>
            </a:fld>
            <a:endParaRPr lang="en-GB" sz="1000">
              <a:solidFill>
                <a:srgbClr val="000000"/>
              </a:solidFill>
              <a:latin typeface="Arial" pitchFamily="34" charset="0"/>
              <a:ea typeface="ＭＳ Ｐゴシック" pitchFamily="34" charset="-128"/>
              <a:cs typeface="Arial"/>
            </a:endParaRPr>
          </a:p>
        </p:txBody>
      </p:sp>
      <p:pic>
        <p:nvPicPr>
          <p:cNvPr id="3078" name="Picture 45" descr="HSBC Hexagon_log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097387" y="4699755"/>
            <a:ext cx="1500669" cy="21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506782"/>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 id="2147484558" r:id="rId11"/>
    <p:sldLayoutId id="2147484559" r:id="rId12"/>
    <p:sldLayoutId id="2147484560" r:id="rId13"/>
    <p:sldLayoutId id="2147484561" r:id="rId14"/>
  </p:sldLayoutIdLst>
  <p:txStyles>
    <p:titleStyle>
      <a:lvl1pPr algn="l" defTabSz="1055981" rtl="0" eaLnBrk="0" fontAlgn="base" hangingPunct="0">
        <a:lnSpc>
          <a:spcPct val="90000"/>
        </a:lnSpc>
        <a:spcBef>
          <a:spcPct val="0"/>
        </a:spcBef>
        <a:spcAft>
          <a:spcPct val="0"/>
        </a:spcAft>
        <a:defRPr sz="2000">
          <a:solidFill>
            <a:schemeClr val="tx2"/>
          </a:solidFill>
          <a:latin typeface="+mj-lt"/>
          <a:ea typeface="ＭＳ Ｐゴシック" charset="0"/>
          <a:cs typeface="+mj-cs"/>
        </a:defRPr>
      </a:lvl1pPr>
      <a:lvl2pPr algn="l" defTabSz="1055981" rtl="0" eaLnBrk="0" fontAlgn="base" hangingPunct="0">
        <a:lnSpc>
          <a:spcPct val="90000"/>
        </a:lnSpc>
        <a:spcBef>
          <a:spcPct val="0"/>
        </a:spcBef>
        <a:spcAft>
          <a:spcPct val="0"/>
        </a:spcAft>
        <a:defRPr sz="2000">
          <a:solidFill>
            <a:schemeClr val="tx2"/>
          </a:solidFill>
          <a:latin typeface="Arial" charset="0"/>
          <a:ea typeface="ＭＳ Ｐゴシック" charset="0"/>
          <a:cs typeface="Arial" charset="0"/>
        </a:defRPr>
      </a:lvl2pPr>
      <a:lvl3pPr algn="l" defTabSz="1055981" rtl="0" eaLnBrk="0" fontAlgn="base" hangingPunct="0">
        <a:lnSpc>
          <a:spcPct val="90000"/>
        </a:lnSpc>
        <a:spcBef>
          <a:spcPct val="0"/>
        </a:spcBef>
        <a:spcAft>
          <a:spcPct val="0"/>
        </a:spcAft>
        <a:defRPr sz="2000">
          <a:solidFill>
            <a:schemeClr val="tx2"/>
          </a:solidFill>
          <a:latin typeface="Arial" charset="0"/>
          <a:ea typeface="ＭＳ Ｐゴシック" charset="0"/>
          <a:cs typeface="Arial" charset="0"/>
        </a:defRPr>
      </a:lvl3pPr>
      <a:lvl4pPr algn="l" defTabSz="1055981" rtl="0" eaLnBrk="0" fontAlgn="base" hangingPunct="0">
        <a:lnSpc>
          <a:spcPct val="90000"/>
        </a:lnSpc>
        <a:spcBef>
          <a:spcPct val="0"/>
        </a:spcBef>
        <a:spcAft>
          <a:spcPct val="0"/>
        </a:spcAft>
        <a:defRPr sz="2000">
          <a:solidFill>
            <a:schemeClr val="tx2"/>
          </a:solidFill>
          <a:latin typeface="Arial" charset="0"/>
          <a:ea typeface="ＭＳ Ｐゴシック" charset="0"/>
          <a:cs typeface="Arial" charset="0"/>
        </a:defRPr>
      </a:lvl4pPr>
      <a:lvl5pPr algn="l" defTabSz="1055981" rtl="0" eaLnBrk="0" fontAlgn="base" hangingPunct="0">
        <a:lnSpc>
          <a:spcPct val="90000"/>
        </a:lnSpc>
        <a:spcBef>
          <a:spcPct val="0"/>
        </a:spcBef>
        <a:spcAft>
          <a:spcPct val="0"/>
        </a:spcAft>
        <a:defRPr sz="2000">
          <a:solidFill>
            <a:schemeClr val="tx2"/>
          </a:solidFill>
          <a:latin typeface="Arial" charset="0"/>
          <a:ea typeface="ＭＳ Ｐゴシック" charset="0"/>
          <a:cs typeface="Arial" charset="0"/>
        </a:defRPr>
      </a:lvl5pPr>
      <a:lvl6pPr marL="414375" algn="l" defTabSz="1005682" rtl="0" fontAlgn="base">
        <a:spcBef>
          <a:spcPct val="0"/>
        </a:spcBef>
        <a:spcAft>
          <a:spcPct val="0"/>
        </a:spcAft>
        <a:defRPr sz="2200">
          <a:solidFill>
            <a:schemeClr val="accent1"/>
          </a:solidFill>
          <a:latin typeface="Arial" charset="0"/>
          <a:cs typeface="Arial" charset="0"/>
        </a:defRPr>
      </a:lvl6pPr>
      <a:lvl7pPr marL="828686" algn="l" defTabSz="1005682" rtl="0" fontAlgn="base">
        <a:spcBef>
          <a:spcPct val="0"/>
        </a:spcBef>
        <a:spcAft>
          <a:spcPct val="0"/>
        </a:spcAft>
        <a:defRPr sz="2200">
          <a:solidFill>
            <a:schemeClr val="accent1"/>
          </a:solidFill>
          <a:latin typeface="Arial" charset="0"/>
          <a:cs typeface="Arial" charset="0"/>
        </a:defRPr>
      </a:lvl7pPr>
      <a:lvl8pPr marL="1243067" algn="l" defTabSz="1005682" rtl="0" fontAlgn="base">
        <a:spcBef>
          <a:spcPct val="0"/>
        </a:spcBef>
        <a:spcAft>
          <a:spcPct val="0"/>
        </a:spcAft>
        <a:defRPr sz="2200">
          <a:solidFill>
            <a:schemeClr val="accent1"/>
          </a:solidFill>
          <a:latin typeface="Arial" charset="0"/>
          <a:cs typeface="Arial" charset="0"/>
        </a:defRPr>
      </a:lvl8pPr>
      <a:lvl9pPr marL="1657373" algn="l" defTabSz="1005682" rtl="0" fontAlgn="base">
        <a:spcBef>
          <a:spcPct val="0"/>
        </a:spcBef>
        <a:spcAft>
          <a:spcPct val="0"/>
        </a:spcAft>
        <a:defRPr sz="2200">
          <a:solidFill>
            <a:schemeClr val="accent1"/>
          </a:solidFill>
          <a:latin typeface="Arial" charset="0"/>
          <a:cs typeface="Arial" charset="0"/>
        </a:defRPr>
      </a:lvl9pPr>
    </p:titleStyle>
    <p:bodyStyle>
      <a:lvl1pPr marL="164022" indent="-164022" algn="l" defTabSz="817154" rtl="0" eaLnBrk="0" fontAlgn="base" hangingPunct="0">
        <a:spcBef>
          <a:spcPct val="20000"/>
        </a:spcBef>
        <a:spcAft>
          <a:spcPct val="0"/>
        </a:spcAft>
        <a:buClr>
          <a:schemeClr val="tx2"/>
        </a:buClr>
        <a:buFont typeface="Symbol" pitchFamily="18" charset="2"/>
        <a:buChar char="·"/>
        <a:defRPr sz="1500">
          <a:solidFill>
            <a:schemeClr val="tx1"/>
          </a:solidFill>
          <a:latin typeface="+mn-lt"/>
          <a:ea typeface="ＭＳ Ｐゴシック" charset="0"/>
          <a:cs typeface="+mn-cs"/>
        </a:defRPr>
      </a:lvl1pPr>
      <a:lvl2pPr marL="319396" indent="-154007" algn="l" defTabSz="817154" rtl="0" eaLnBrk="0" fontAlgn="base" hangingPunct="0">
        <a:spcBef>
          <a:spcPct val="20000"/>
        </a:spcBef>
        <a:spcAft>
          <a:spcPct val="0"/>
        </a:spcAft>
        <a:buClr>
          <a:schemeClr val="tx2"/>
        </a:buClr>
        <a:buChar char="–"/>
        <a:defRPr sz="1300">
          <a:solidFill>
            <a:schemeClr val="tx1"/>
          </a:solidFill>
          <a:latin typeface="+mn-lt"/>
          <a:ea typeface="Arial" charset="0"/>
          <a:cs typeface="+mn-cs"/>
        </a:defRPr>
      </a:lvl2pPr>
      <a:lvl3pPr marL="492068" indent="-171232" algn="l" defTabSz="817154" rtl="0" eaLnBrk="0" fontAlgn="base" hangingPunct="0">
        <a:spcBef>
          <a:spcPct val="20000"/>
        </a:spcBef>
        <a:spcAft>
          <a:spcPct val="0"/>
        </a:spcAft>
        <a:buClr>
          <a:schemeClr val="tx2"/>
        </a:buClr>
        <a:buChar char="–"/>
        <a:defRPr sz="1100">
          <a:solidFill>
            <a:schemeClr val="tx1"/>
          </a:solidFill>
          <a:latin typeface="+mn-lt"/>
          <a:ea typeface="Arial" charset="0"/>
          <a:cs typeface="+mn-cs"/>
        </a:defRPr>
      </a:lvl3pPr>
      <a:lvl4pPr marL="647441" indent="-154007" algn="l" defTabSz="817154" rtl="0" eaLnBrk="0" fontAlgn="base" hangingPunct="0">
        <a:spcBef>
          <a:spcPct val="20000"/>
        </a:spcBef>
        <a:spcAft>
          <a:spcPct val="0"/>
        </a:spcAft>
        <a:buClr>
          <a:schemeClr val="tx2"/>
        </a:buClr>
        <a:buChar char="–"/>
        <a:defRPr sz="900">
          <a:solidFill>
            <a:schemeClr val="tx1"/>
          </a:solidFill>
          <a:latin typeface="+mn-lt"/>
          <a:ea typeface="Arial" charset="0"/>
          <a:cs typeface="+mn-cs"/>
        </a:defRPr>
      </a:lvl4pPr>
      <a:lvl5pPr marL="1746626" indent="-202867" algn="l" defTabSz="1055981" rtl="0" eaLnBrk="0" fontAlgn="base" hangingPunct="0">
        <a:spcBef>
          <a:spcPct val="20000"/>
        </a:spcBef>
        <a:spcAft>
          <a:spcPct val="0"/>
        </a:spcAft>
        <a:buClr>
          <a:schemeClr val="tx2"/>
        </a:buClr>
        <a:buFont typeface="Times New Roman" pitchFamily="18" charset="0"/>
        <a:buChar char="–"/>
        <a:defRPr sz="800">
          <a:solidFill>
            <a:schemeClr val="tx1"/>
          </a:solidFill>
          <a:latin typeface="+mn-lt"/>
          <a:ea typeface="Arial" charset="0"/>
          <a:cs typeface="+mn-cs"/>
        </a:defRPr>
      </a:lvl5pPr>
      <a:lvl6pPr marL="1399882" indent="-192813" algn="l" defTabSz="1005682"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6pPr>
      <a:lvl7pPr marL="1814261" indent="-192813" algn="l" defTabSz="1005682"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7pPr>
      <a:lvl8pPr marL="2228604" indent="-192813" algn="l" defTabSz="1005682"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8pPr>
      <a:lvl9pPr marL="2642948" indent="-192813" algn="l" defTabSz="1005682"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9pPr>
    </p:bodyStyle>
    <p:otherStyle>
      <a:defPPr>
        <a:defRPr lang="en-US"/>
      </a:defPPr>
      <a:lvl1pPr marL="0" algn="l" defTabSz="828686" rtl="0" eaLnBrk="1" latinLnBrk="0" hangingPunct="1">
        <a:defRPr sz="1600" kern="1200">
          <a:solidFill>
            <a:schemeClr val="tx1"/>
          </a:solidFill>
          <a:latin typeface="+mn-lt"/>
          <a:ea typeface="+mn-ea"/>
          <a:cs typeface="+mn-cs"/>
        </a:defRPr>
      </a:lvl1pPr>
      <a:lvl2pPr marL="414375" algn="l" defTabSz="828686" rtl="0" eaLnBrk="1" latinLnBrk="0" hangingPunct="1">
        <a:defRPr sz="1600" kern="1200">
          <a:solidFill>
            <a:schemeClr val="tx1"/>
          </a:solidFill>
          <a:latin typeface="+mn-lt"/>
          <a:ea typeface="+mn-ea"/>
          <a:cs typeface="+mn-cs"/>
        </a:defRPr>
      </a:lvl2pPr>
      <a:lvl3pPr marL="828686" algn="l" defTabSz="828686" rtl="0" eaLnBrk="1" latinLnBrk="0" hangingPunct="1">
        <a:defRPr sz="1600" kern="1200">
          <a:solidFill>
            <a:schemeClr val="tx1"/>
          </a:solidFill>
          <a:latin typeface="+mn-lt"/>
          <a:ea typeface="+mn-ea"/>
          <a:cs typeface="+mn-cs"/>
        </a:defRPr>
      </a:lvl3pPr>
      <a:lvl4pPr marL="1243067" algn="l" defTabSz="828686" rtl="0" eaLnBrk="1" latinLnBrk="0" hangingPunct="1">
        <a:defRPr sz="1600" kern="1200">
          <a:solidFill>
            <a:schemeClr val="tx1"/>
          </a:solidFill>
          <a:latin typeface="+mn-lt"/>
          <a:ea typeface="+mn-ea"/>
          <a:cs typeface="+mn-cs"/>
        </a:defRPr>
      </a:lvl4pPr>
      <a:lvl5pPr marL="1657373" algn="l" defTabSz="828686" rtl="0" eaLnBrk="1" latinLnBrk="0" hangingPunct="1">
        <a:defRPr sz="1600" kern="1200">
          <a:solidFill>
            <a:schemeClr val="tx1"/>
          </a:solidFill>
          <a:latin typeface="+mn-lt"/>
          <a:ea typeface="+mn-ea"/>
          <a:cs typeface="+mn-cs"/>
        </a:defRPr>
      </a:lvl5pPr>
      <a:lvl6pPr marL="2071811" algn="l" defTabSz="828686" rtl="0" eaLnBrk="1" latinLnBrk="0" hangingPunct="1">
        <a:defRPr sz="1600" kern="1200">
          <a:solidFill>
            <a:schemeClr val="tx1"/>
          </a:solidFill>
          <a:latin typeface="+mn-lt"/>
          <a:ea typeface="+mn-ea"/>
          <a:cs typeface="+mn-cs"/>
        </a:defRPr>
      </a:lvl6pPr>
      <a:lvl7pPr marL="2486133" algn="l" defTabSz="828686" rtl="0" eaLnBrk="1" latinLnBrk="0" hangingPunct="1">
        <a:defRPr sz="1600" kern="1200">
          <a:solidFill>
            <a:schemeClr val="tx1"/>
          </a:solidFill>
          <a:latin typeface="+mn-lt"/>
          <a:ea typeface="+mn-ea"/>
          <a:cs typeface="+mn-cs"/>
        </a:defRPr>
      </a:lvl7pPr>
      <a:lvl8pPr marL="2900513" algn="l" defTabSz="828686" rtl="0" eaLnBrk="1" latinLnBrk="0" hangingPunct="1">
        <a:defRPr sz="1600" kern="1200">
          <a:solidFill>
            <a:schemeClr val="tx1"/>
          </a:solidFill>
          <a:latin typeface="+mn-lt"/>
          <a:ea typeface="+mn-ea"/>
          <a:cs typeface="+mn-cs"/>
        </a:defRPr>
      </a:lvl8pPr>
      <a:lvl9pPr marL="3314819" algn="l" defTabSz="828686" rtl="0" eaLnBrk="1" latinLnBrk="0" hangingPunct="1">
        <a:defRPr sz="16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88080" name="Rectangle 1040"/>
          <p:cNvSpPr>
            <a:spLocks noChangeArrowheads="1"/>
          </p:cNvSpPr>
          <p:nvPr/>
        </p:nvSpPr>
        <p:spPr bwMode="auto">
          <a:xfrm>
            <a:off x="0" y="4772027"/>
            <a:ext cx="9144000" cy="371475"/>
          </a:xfrm>
          <a:prstGeom prst="rect">
            <a:avLst/>
          </a:prstGeom>
          <a:solidFill>
            <a:srgbClr val="000000"/>
          </a:solidFill>
          <a:ln w="9525">
            <a:noFill/>
            <a:miter lim="800000"/>
            <a:headEnd/>
            <a:tailEnd/>
          </a:ln>
          <a:effectLst/>
        </p:spPr>
        <p:txBody>
          <a:bodyPr wrap="none" lIns="91284" tIns="45642" rIns="91284" bIns="45642" anchor="ctr"/>
          <a:lstStyle/>
          <a:p>
            <a:pPr defTabSz="912644">
              <a:defRPr/>
            </a:pPr>
            <a:endParaRPr lang="fr-FR" sz="1800" u="sng">
              <a:solidFill>
                <a:srgbClr val="000000"/>
              </a:solidFill>
              <a:cs typeface="+mn-cs"/>
            </a:endParaRPr>
          </a:p>
        </p:txBody>
      </p:sp>
      <p:sp>
        <p:nvSpPr>
          <p:cNvPr id="7171" name="Rectangle 1027"/>
          <p:cNvSpPr>
            <a:spLocks noGrp="1" noChangeArrowheads="1"/>
          </p:cNvSpPr>
          <p:nvPr>
            <p:ph type="title"/>
          </p:nvPr>
        </p:nvSpPr>
        <p:spPr bwMode="auto">
          <a:xfrm>
            <a:off x="542929" y="350044"/>
            <a:ext cx="8047038" cy="2238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7172" name="Rectangle 1028"/>
          <p:cNvSpPr>
            <a:spLocks noGrp="1" noChangeArrowheads="1"/>
          </p:cNvSpPr>
          <p:nvPr>
            <p:ph type="body" idx="1"/>
          </p:nvPr>
        </p:nvSpPr>
        <p:spPr bwMode="auto">
          <a:xfrm>
            <a:off x="557272" y="1214441"/>
            <a:ext cx="8023225" cy="32015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7175" name="Picture 1039" descr="KANTAR_MED_RGB"/>
          <p:cNvPicPr>
            <a:picLocks noChangeAspect="1" noChangeArrowheads="1"/>
          </p:cNvPicPr>
          <p:nvPr/>
        </p:nvPicPr>
        <p:blipFill>
          <a:blip r:embed="rId18" cstate="email"/>
          <a:srcRect/>
          <a:stretch>
            <a:fillRect/>
          </a:stretch>
        </p:blipFill>
        <p:spPr bwMode="auto">
          <a:xfrm>
            <a:off x="454102" y="4788780"/>
            <a:ext cx="1287463" cy="326231"/>
          </a:xfrm>
          <a:prstGeom prst="rect">
            <a:avLst/>
          </a:prstGeom>
          <a:noFill/>
          <a:ln w="9525">
            <a:noFill/>
            <a:miter lim="800000"/>
            <a:headEnd/>
            <a:tailEnd/>
          </a:ln>
        </p:spPr>
      </p:pic>
      <p:pic>
        <p:nvPicPr>
          <p:cNvPr id="9" name="Picture 14" descr="Fluidity_002"/>
          <p:cNvPicPr>
            <a:picLocks noChangeAspect="1" noChangeArrowheads="1"/>
          </p:cNvPicPr>
          <p:nvPr/>
        </p:nvPicPr>
        <p:blipFill>
          <a:blip r:embed="rId19" cstate="email"/>
          <a:srcRect/>
          <a:stretch>
            <a:fillRect/>
          </a:stretch>
        </p:blipFill>
        <p:spPr bwMode="auto">
          <a:xfrm>
            <a:off x="1895475" y="4772027"/>
            <a:ext cx="5365750" cy="371475"/>
          </a:xfrm>
          <a:prstGeom prst="rect">
            <a:avLst/>
          </a:prstGeom>
          <a:noFill/>
          <a:ln w="9525">
            <a:noFill/>
            <a:miter lim="800000"/>
            <a:headEnd/>
            <a:tailEnd/>
          </a:ln>
        </p:spPr>
      </p:pic>
      <p:sp>
        <p:nvSpPr>
          <p:cNvPr id="88069" name="Rectangle 1029"/>
          <p:cNvSpPr>
            <a:spLocks noGrp="1" noChangeArrowheads="1"/>
          </p:cNvSpPr>
          <p:nvPr>
            <p:ph type="sldNum" sz="quarter" idx="4"/>
          </p:nvPr>
        </p:nvSpPr>
        <p:spPr bwMode="auto">
          <a:xfrm>
            <a:off x="8310565" y="4950623"/>
            <a:ext cx="273050" cy="85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b="1" u="none">
                <a:solidFill>
                  <a:schemeClr val="bg2"/>
                </a:solidFill>
              </a:defRPr>
            </a:lvl1pPr>
          </a:lstStyle>
          <a:p>
            <a:pPr defTabSz="912644">
              <a:defRPr/>
            </a:pPr>
            <a:fld id="{9FE7A604-BD66-4004-BC6A-C4F81A1616CB}" type="slidenum">
              <a:rPr lang="en-GB" smtClean="0">
                <a:solidFill>
                  <a:srgbClr val="C0C0C0"/>
                </a:solidFill>
                <a:cs typeface="+mn-cs"/>
              </a:rPr>
              <a:pPr defTabSz="912644">
                <a:defRPr/>
              </a:pPr>
              <a:t>‹#›</a:t>
            </a:fld>
            <a:endParaRPr lang="en-GB">
              <a:solidFill>
                <a:srgbClr val="C0C0C0"/>
              </a:solidFill>
              <a:cs typeface="+mn-cs"/>
            </a:endParaRPr>
          </a:p>
        </p:txBody>
      </p:sp>
      <p:sp>
        <p:nvSpPr>
          <p:cNvPr id="88070" name="Rectangle 1030"/>
          <p:cNvSpPr>
            <a:spLocks noGrp="1" noChangeArrowheads="1"/>
          </p:cNvSpPr>
          <p:nvPr>
            <p:ph type="ftr" sz="quarter" idx="3"/>
          </p:nvPr>
        </p:nvSpPr>
        <p:spPr bwMode="auto">
          <a:xfrm>
            <a:off x="6187052" y="4952015"/>
            <a:ext cx="1937781" cy="8433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800" u="none">
                <a:solidFill>
                  <a:schemeClr val="bg2"/>
                </a:solidFill>
              </a:defRPr>
            </a:lvl1pPr>
          </a:lstStyle>
          <a:p>
            <a:pPr defTabSz="912644">
              <a:defRPr/>
            </a:pPr>
            <a:r>
              <a:rPr lang="en-GB">
                <a:solidFill>
                  <a:srgbClr val="C0C0C0"/>
                </a:solidFill>
                <a:cs typeface="+mn-cs"/>
              </a:rPr>
              <a:t>Title of the presentation</a:t>
            </a:r>
            <a:endParaRPr lang="en-GB" dirty="0">
              <a:solidFill>
                <a:srgbClr val="C0C0C0"/>
              </a:solidFill>
              <a:cs typeface="+mn-cs"/>
            </a:endParaRPr>
          </a:p>
        </p:txBody>
      </p:sp>
    </p:spTree>
    <p:extLst>
      <p:ext uri="{BB962C8B-B14F-4D97-AF65-F5344CB8AC3E}">
        <p14:creationId xmlns:p14="http://schemas.microsoft.com/office/powerpoint/2010/main" val="3741073278"/>
      </p:ext>
    </p:extLst>
  </p:cSld>
  <p:clrMap bg1="lt1" tx1="dk1" bg2="lt2" tx2="dk2" accent1="accent1" accent2="accent2" accent3="accent3" accent4="accent4" accent5="accent5" accent6="accent6" hlink="hlink" folHlink="folHlink"/>
  <p:sldLayoutIdLst>
    <p:sldLayoutId id="2147484575" r:id="rId1"/>
    <p:sldLayoutId id="2147484576" r:id="rId2"/>
    <p:sldLayoutId id="2147484577" r:id="rId3"/>
    <p:sldLayoutId id="2147484578" r:id="rId4"/>
    <p:sldLayoutId id="2147484579" r:id="rId5"/>
    <p:sldLayoutId id="2147484580" r:id="rId6"/>
    <p:sldLayoutId id="2147484581" r:id="rId7"/>
    <p:sldLayoutId id="2147484582" r:id="rId8"/>
    <p:sldLayoutId id="2147484583" r:id="rId9"/>
    <p:sldLayoutId id="2147484584" r:id="rId10"/>
    <p:sldLayoutId id="2147484585" r:id="rId11"/>
    <p:sldLayoutId id="2147484586" r:id="rId12"/>
    <p:sldLayoutId id="2147484587" r:id="rId13"/>
    <p:sldLayoutId id="2147484588" r:id="rId14"/>
    <p:sldLayoutId id="2147484589" r:id="rId15"/>
    <p:sldLayoutId id="2147484590" r:id="rId16"/>
  </p:sldLayoutIdLst>
  <p:transition spd="slow">
    <p:fade/>
  </p:transition>
  <p:hf hdr="0" dt="0"/>
  <p:txStyles>
    <p:titleStyle>
      <a:lvl1pPr algn="l" rtl="0" eaLnBrk="1" fontAlgn="base" hangingPunct="1">
        <a:lnSpc>
          <a:spcPts val="2400"/>
        </a:lnSpc>
        <a:spcBef>
          <a:spcPct val="0"/>
        </a:spcBef>
        <a:spcAft>
          <a:spcPct val="0"/>
        </a:spcAft>
        <a:defRPr sz="2200" b="1">
          <a:solidFill>
            <a:srgbClr val="000000"/>
          </a:solidFill>
          <a:latin typeface="+mj-lt"/>
          <a:ea typeface="+mj-ea"/>
          <a:cs typeface="+mj-cs"/>
        </a:defRPr>
      </a:lvl1pPr>
      <a:lvl2pPr algn="l" rtl="0" eaLnBrk="1" fontAlgn="base" hangingPunct="1">
        <a:lnSpc>
          <a:spcPts val="2400"/>
        </a:lnSpc>
        <a:spcBef>
          <a:spcPct val="0"/>
        </a:spcBef>
        <a:spcAft>
          <a:spcPct val="0"/>
        </a:spcAft>
        <a:defRPr sz="2200" b="1">
          <a:solidFill>
            <a:srgbClr val="000000"/>
          </a:solidFill>
          <a:latin typeface="Arial" charset="0"/>
        </a:defRPr>
      </a:lvl2pPr>
      <a:lvl3pPr algn="l" rtl="0" eaLnBrk="1" fontAlgn="base" hangingPunct="1">
        <a:lnSpc>
          <a:spcPts val="2400"/>
        </a:lnSpc>
        <a:spcBef>
          <a:spcPct val="0"/>
        </a:spcBef>
        <a:spcAft>
          <a:spcPct val="0"/>
        </a:spcAft>
        <a:defRPr sz="2200" b="1">
          <a:solidFill>
            <a:srgbClr val="000000"/>
          </a:solidFill>
          <a:latin typeface="Arial" charset="0"/>
        </a:defRPr>
      </a:lvl3pPr>
      <a:lvl4pPr algn="l" rtl="0" eaLnBrk="1" fontAlgn="base" hangingPunct="1">
        <a:lnSpc>
          <a:spcPts val="2400"/>
        </a:lnSpc>
        <a:spcBef>
          <a:spcPct val="0"/>
        </a:spcBef>
        <a:spcAft>
          <a:spcPct val="0"/>
        </a:spcAft>
        <a:defRPr sz="2200" b="1">
          <a:solidFill>
            <a:srgbClr val="000000"/>
          </a:solidFill>
          <a:latin typeface="Arial" charset="0"/>
        </a:defRPr>
      </a:lvl4pPr>
      <a:lvl5pPr algn="l" rtl="0" eaLnBrk="1" fontAlgn="base" hangingPunct="1">
        <a:lnSpc>
          <a:spcPts val="2400"/>
        </a:lnSpc>
        <a:spcBef>
          <a:spcPct val="0"/>
        </a:spcBef>
        <a:spcAft>
          <a:spcPct val="0"/>
        </a:spcAft>
        <a:defRPr sz="2200" b="1">
          <a:solidFill>
            <a:srgbClr val="000000"/>
          </a:solidFill>
          <a:latin typeface="Arial" charset="0"/>
        </a:defRPr>
      </a:lvl5pPr>
      <a:lvl6pPr marL="456269" algn="l" rtl="0" eaLnBrk="1" fontAlgn="base" hangingPunct="1">
        <a:lnSpc>
          <a:spcPts val="2400"/>
        </a:lnSpc>
        <a:spcBef>
          <a:spcPct val="0"/>
        </a:spcBef>
        <a:spcAft>
          <a:spcPct val="0"/>
        </a:spcAft>
        <a:defRPr sz="2200" b="1">
          <a:solidFill>
            <a:srgbClr val="000000"/>
          </a:solidFill>
          <a:latin typeface="Arial" charset="0"/>
        </a:defRPr>
      </a:lvl6pPr>
      <a:lvl7pPr marL="912644" algn="l" rtl="0" eaLnBrk="1" fontAlgn="base" hangingPunct="1">
        <a:lnSpc>
          <a:spcPts val="2400"/>
        </a:lnSpc>
        <a:spcBef>
          <a:spcPct val="0"/>
        </a:spcBef>
        <a:spcAft>
          <a:spcPct val="0"/>
        </a:spcAft>
        <a:defRPr sz="2200" b="1">
          <a:solidFill>
            <a:srgbClr val="000000"/>
          </a:solidFill>
          <a:latin typeface="Arial" charset="0"/>
        </a:defRPr>
      </a:lvl7pPr>
      <a:lvl8pPr marL="1368948" algn="l" rtl="0" eaLnBrk="1" fontAlgn="base" hangingPunct="1">
        <a:lnSpc>
          <a:spcPts val="2400"/>
        </a:lnSpc>
        <a:spcBef>
          <a:spcPct val="0"/>
        </a:spcBef>
        <a:spcAft>
          <a:spcPct val="0"/>
        </a:spcAft>
        <a:defRPr sz="2200" b="1">
          <a:solidFill>
            <a:srgbClr val="000000"/>
          </a:solidFill>
          <a:latin typeface="Arial" charset="0"/>
        </a:defRPr>
      </a:lvl8pPr>
      <a:lvl9pPr marL="1825286" algn="l" rtl="0" eaLnBrk="1" fontAlgn="base" hangingPunct="1">
        <a:lnSpc>
          <a:spcPts val="2400"/>
        </a:lnSpc>
        <a:spcBef>
          <a:spcPct val="0"/>
        </a:spcBef>
        <a:spcAft>
          <a:spcPct val="0"/>
        </a:spcAft>
        <a:defRPr sz="2200" b="1">
          <a:solidFill>
            <a:srgbClr val="000000"/>
          </a:solidFill>
          <a:latin typeface="Arial" charset="0"/>
        </a:defRPr>
      </a:lvl9pPr>
    </p:titleStyle>
    <p:bodyStyle>
      <a:lvl1pPr marL="342200" indent="-342200" algn="l" rtl="0" eaLnBrk="1" fontAlgn="base" hangingPunct="1">
        <a:lnSpc>
          <a:spcPts val="2200"/>
        </a:lnSpc>
        <a:spcBef>
          <a:spcPts val="2000"/>
        </a:spcBef>
        <a:spcAft>
          <a:spcPct val="0"/>
        </a:spcAft>
        <a:buClr>
          <a:schemeClr val="tx2"/>
        </a:buClr>
        <a:buFont typeface="Arial" charset="0"/>
        <a:defRPr>
          <a:solidFill>
            <a:schemeClr val="tx1"/>
          </a:solidFill>
          <a:latin typeface="+mn-lt"/>
          <a:ea typeface="+mn-ea"/>
          <a:cs typeface="+mn-cs"/>
        </a:defRPr>
      </a:lvl1pPr>
      <a:lvl2pPr marL="228132" indent="-226545" algn="l" rtl="0" eaLnBrk="1" fontAlgn="base" hangingPunct="1">
        <a:lnSpc>
          <a:spcPts val="2200"/>
        </a:lnSpc>
        <a:spcBef>
          <a:spcPts val="1000"/>
        </a:spcBef>
        <a:spcAft>
          <a:spcPct val="0"/>
        </a:spcAft>
        <a:buClr>
          <a:schemeClr val="tx2"/>
        </a:buClr>
        <a:buFont typeface="Arial" charset="0"/>
        <a:buChar char="–"/>
        <a:defRPr>
          <a:solidFill>
            <a:schemeClr val="tx1"/>
          </a:solidFill>
          <a:latin typeface="+mn-lt"/>
        </a:defRPr>
      </a:lvl2pPr>
      <a:lvl3pPr marL="237657" indent="-7938" algn="l" rtl="0" eaLnBrk="1" fontAlgn="base" hangingPunct="1">
        <a:lnSpc>
          <a:spcPts val="2000"/>
        </a:lnSpc>
        <a:spcBef>
          <a:spcPts val="500"/>
        </a:spcBef>
        <a:spcAft>
          <a:spcPct val="0"/>
        </a:spcAft>
        <a:buClr>
          <a:schemeClr val="tx2"/>
        </a:buClr>
        <a:buFont typeface="Arial" charset="0"/>
        <a:defRPr sz="1400">
          <a:solidFill>
            <a:schemeClr val="tx1"/>
          </a:solidFill>
          <a:latin typeface="+mn-lt"/>
        </a:defRPr>
      </a:lvl3pPr>
      <a:lvl4pPr marL="465789" indent="-226545" algn="l" rtl="0" eaLnBrk="1" fontAlgn="base" hangingPunct="1">
        <a:lnSpc>
          <a:spcPts val="2000"/>
        </a:lnSpc>
        <a:spcBef>
          <a:spcPts val="500"/>
        </a:spcBef>
        <a:spcAft>
          <a:spcPct val="0"/>
        </a:spcAft>
        <a:buClr>
          <a:schemeClr val="tx2"/>
        </a:buClr>
        <a:buFont typeface="Wingdings" pitchFamily="2" charset="2"/>
        <a:buChar char="§"/>
        <a:defRPr sz="1400">
          <a:solidFill>
            <a:schemeClr val="tx1"/>
          </a:solidFill>
          <a:latin typeface="+mn-lt"/>
        </a:defRPr>
      </a:lvl4pPr>
      <a:lvl5pPr marL="475314" indent="-7938" algn="l" rtl="0" eaLnBrk="1" fontAlgn="base" hangingPunct="1">
        <a:lnSpc>
          <a:spcPts val="2000"/>
        </a:lnSpc>
        <a:spcBef>
          <a:spcPts val="500"/>
        </a:spcBef>
        <a:spcAft>
          <a:spcPct val="0"/>
        </a:spcAft>
        <a:buClr>
          <a:schemeClr val="tx2"/>
        </a:buClr>
        <a:buFont typeface="Arial" charset="0"/>
        <a:defRPr sz="1200">
          <a:solidFill>
            <a:schemeClr val="tx1"/>
          </a:solidFill>
          <a:latin typeface="+mn-lt"/>
        </a:defRPr>
      </a:lvl5pPr>
      <a:lvl6pPr marL="931656" indent="-7938" algn="l" rtl="0" eaLnBrk="1" fontAlgn="base" hangingPunct="1">
        <a:lnSpc>
          <a:spcPts val="2000"/>
        </a:lnSpc>
        <a:spcBef>
          <a:spcPts val="500"/>
        </a:spcBef>
        <a:spcAft>
          <a:spcPct val="0"/>
        </a:spcAft>
        <a:buClr>
          <a:schemeClr val="tx2"/>
        </a:buClr>
        <a:buFont typeface="Arial" charset="0"/>
        <a:defRPr sz="1200">
          <a:solidFill>
            <a:schemeClr val="tx1"/>
          </a:solidFill>
          <a:latin typeface="+mn-lt"/>
        </a:defRPr>
      </a:lvl6pPr>
      <a:lvl7pPr marL="1387958" indent="-7938" algn="l" rtl="0" eaLnBrk="1" fontAlgn="base" hangingPunct="1">
        <a:lnSpc>
          <a:spcPts val="2000"/>
        </a:lnSpc>
        <a:spcBef>
          <a:spcPts val="500"/>
        </a:spcBef>
        <a:spcAft>
          <a:spcPct val="0"/>
        </a:spcAft>
        <a:buClr>
          <a:schemeClr val="tx2"/>
        </a:buClr>
        <a:buFont typeface="Arial" charset="0"/>
        <a:defRPr sz="1200">
          <a:solidFill>
            <a:schemeClr val="tx1"/>
          </a:solidFill>
          <a:latin typeface="+mn-lt"/>
        </a:defRPr>
      </a:lvl7pPr>
      <a:lvl8pPr marL="1844262" indent="-7938" algn="l" rtl="0" eaLnBrk="1" fontAlgn="base" hangingPunct="1">
        <a:lnSpc>
          <a:spcPts val="2000"/>
        </a:lnSpc>
        <a:spcBef>
          <a:spcPts val="500"/>
        </a:spcBef>
        <a:spcAft>
          <a:spcPct val="0"/>
        </a:spcAft>
        <a:buClr>
          <a:schemeClr val="tx2"/>
        </a:buClr>
        <a:buFont typeface="Arial" charset="0"/>
        <a:defRPr sz="1200">
          <a:solidFill>
            <a:schemeClr val="tx1"/>
          </a:solidFill>
          <a:latin typeface="+mn-lt"/>
        </a:defRPr>
      </a:lvl8pPr>
      <a:lvl9pPr marL="2300603" indent="-7938" algn="l" rtl="0" eaLnBrk="1" fontAlgn="base" hangingPunct="1">
        <a:lnSpc>
          <a:spcPts val="2000"/>
        </a:lnSpc>
        <a:spcBef>
          <a:spcPts val="500"/>
        </a:spcBef>
        <a:spcAft>
          <a:spcPct val="0"/>
        </a:spcAft>
        <a:buClr>
          <a:schemeClr val="tx2"/>
        </a:buClr>
        <a:buFont typeface="Arial" charset="0"/>
        <a:defRPr sz="1200">
          <a:solidFill>
            <a:schemeClr val="tx1"/>
          </a:solidFill>
          <a:latin typeface="+mn-lt"/>
        </a:defRPr>
      </a:lvl9pPr>
    </p:bodyStyle>
    <p:otherStyle>
      <a:defPPr>
        <a:defRPr lang="fr-FR"/>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ChangeArrowheads="1"/>
          </p:cNvSpPr>
          <p:nvPr/>
        </p:nvSpPr>
        <p:spPr bwMode="auto">
          <a:xfrm>
            <a:off x="144508" y="107201"/>
            <a:ext cx="8853487" cy="110729"/>
          </a:xfrm>
          <a:prstGeom prst="rect">
            <a:avLst/>
          </a:prstGeom>
          <a:solidFill>
            <a:srgbClr val="69B8D6"/>
          </a:solidFill>
          <a:ln w="127">
            <a:noFill/>
            <a:miter lim="800000"/>
            <a:headEnd/>
            <a:tailEnd/>
          </a:ln>
          <a:effectLst/>
        </p:spPr>
        <p:txBody>
          <a:bodyPr wrap="none" lIns="91284" tIns="45642" rIns="91284" bIns="45642" anchor="ctr"/>
          <a:lstStyle/>
          <a:p>
            <a:pPr defTabSz="912644">
              <a:lnSpc>
                <a:spcPct val="107000"/>
              </a:lnSpc>
              <a:defRPr/>
            </a:pPr>
            <a:endParaRPr lang="en-US" sz="1400">
              <a:solidFill>
                <a:srgbClr val="000000"/>
              </a:solidFill>
              <a:latin typeface="Verdana" pitchFamily="34" charset="0"/>
              <a:cs typeface="+mn-cs"/>
            </a:endParaRPr>
          </a:p>
        </p:txBody>
      </p:sp>
      <p:sp>
        <p:nvSpPr>
          <p:cNvPr id="36867" name="Rectangle 4"/>
          <p:cNvSpPr>
            <a:spLocks noGrp="1" noChangeArrowheads="1"/>
          </p:cNvSpPr>
          <p:nvPr>
            <p:ph type="title"/>
          </p:nvPr>
        </p:nvSpPr>
        <p:spPr bwMode="auto">
          <a:xfrm>
            <a:off x="574675" y="215549"/>
            <a:ext cx="7989888" cy="113466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36868" name="Rectangle 5"/>
          <p:cNvSpPr>
            <a:spLocks noGrp="1" noChangeArrowheads="1"/>
          </p:cNvSpPr>
          <p:nvPr>
            <p:ph type="body" idx="1"/>
          </p:nvPr>
        </p:nvSpPr>
        <p:spPr bwMode="auto">
          <a:xfrm>
            <a:off x="574675" y="1564482"/>
            <a:ext cx="7989888" cy="28336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9702" name="Rectangle 6"/>
          <p:cNvSpPr>
            <a:spLocks noGrp="1" noChangeArrowheads="1"/>
          </p:cNvSpPr>
          <p:nvPr>
            <p:ph type="dt" sz="half" idx="2"/>
          </p:nvPr>
        </p:nvSpPr>
        <p:spPr bwMode="auto">
          <a:xfrm>
            <a:off x="3519493" y="4911337"/>
            <a:ext cx="2997200" cy="13454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2644">
              <a:defRPr/>
            </a:pPr>
            <a:fld id="{131E1FD5-5169-4977-A1DD-BF6495E7D7D1}" type="datetime1">
              <a:rPr lang="en-GB" smtClean="0">
                <a:solidFill>
                  <a:srgbClr val="000000"/>
                </a:solidFill>
                <a:latin typeface="Verdana" pitchFamily="34" charset="0"/>
                <a:cs typeface="+mn-cs"/>
              </a:rPr>
              <a:pPr defTabSz="912644">
                <a:defRPr/>
              </a:pPr>
              <a:t>15/05/2017</a:t>
            </a:fld>
            <a:endParaRPr lang="en-GB">
              <a:solidFill>
                <a:srgbClr val="000000"/>
              </a:solidFill>
              <a:latin typeface="Verdana" pitchFamily="34" charset="0"/>
              <a:cs typeface="+mn-cs"/>
            </a:endParaRPr>
          </a:p>
        </p:txBody>
      </p:sp>
      <p:sp>
        <p:nvSpPr>
          <p:cNvPr id="29704" name="Rectangle 8"/>
          <p:cNvSpPr>
            <a:spLocks noGrp="1" noChangeArrowheads="1"/>
          </p:cNvSpPr>
          <p:nvPr>
            <p:ph type="sldNum" sz="quarter" idx="4"/>
          </p:nvPr>
        </p:nvSpPr>
        <p:spPr bwMode="auto">
          <a:xfrm>
            <a:off x="2301875" y="4911337"/>
            <a:ext cx="1079500" cy="13454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2644">
              <a:defRPr/>
            </a:pPr>
            <a:r>
              <a:rPr lang="en-GB">
                <a:solidFill>
                  <a:srgbClr val="000000"/>
                </a:solidFill>
                <a:latin typeface="Verdana" pitchFamily="34" charset="0"/>
                <a:cs typeface="+mn-cs"/>
              </a:rPr>
              <a:t>Slide no. </a:t>
            </a:r>
            <a:fld id="{70E04B8F-3BF0-485A-81F0-E3A71E7766AA}" type="slidenum">
              <a:rPr lang="en-GB" smtClean="0">
                <a:solidFill>
                  <a:srgbClr val="000000"/>
                </a:solidFill>
                <a:latin typeface="Verdana" pitchFamily="34" charset="0"/>
                <a:cs typeface="+mn-cs"/>
              </a:rPr>
              <a:pPr defTabSz="912644">
                <a:defRPr/>
              </a:pPr>
              <a:t>‹#›</a:t>
            </a:fld>
            <a:endParaRPr lang="en-GB">
              <a:solidFill>
                <a:srgbClr val="000000"/>
              </a:solidFill>
              <a:latin typeface="Verdana" pitchFamily="34" charset="0"/>
              <a:cs typeface="+mn-cs"/>
            </a:endParaRPr>
          </a:p>
        </p:txBody>
      </p:sp>
      <p:sp>
        <p:nvSpPr>
          <p:cNvPr id="29706" name="Rectangle 10"/>
          <p:cNvSpPr>
            <a:spLocks noGrp="1" noChangeArrowheads="1"/>
          </p:cNvSpPr>
          <p:nvPr>
            <p:ph type="ftr" sz="quarter" idx="3"/>
          </p:nvPr>
        </p:nvSpPr>
        <p:spPr bwMode="auto">
          <a:xfrm>
            <a:off x="574675" y="4911337"/>
            <a:ext cx="1620838" cy="13454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2644">
              <a:defRPr/>
            </a:pPr>
            <a:r>
              <a:rPr lang="en-GB">
                <a:solidFill>
                  <a:srgbClr val="000000"/>
                </a:solidFill>
                <a:latin typeface="Verdana" pitchFamily="34" charset="0"/>
                <a:cs typeface="+mn-cs"/>
              </a:rPr>
              <a:t>Department</a:t>
            </a:r>
          </a:p>
        </p:txBody>
      </p:sp>
      <p:sp>
        <p:nvSpPr>
          <p:cNvPr id="29708" name="Text Box 12"/>
          <p:cNvSpPr txBox="1">
            <a:spLocks noChangeArrowheads="1"/>
          </p:cNvSpPr>
          <p:nvPr/>
        </p:nvSpPr>
        <p:spPr bwMode="auto">
          <a:xfrm>
            <a:off x="-2028825" y="4776873"/>
            <a:ext cx="1924050" cy="296363"/>
          </a:xfrm>
          <a:prstGeom prst="rect">
            <a:avLst/>
          </a:prstGeom>
          <a:noFill/>
          <a:ln w="9525" algn="ctr">
            <a:noFill/>
            <a:miter lim="800000"/>
            <a:headEnd/>
            <a:tailEnd/>
          </a:ln>
          <a:effectLst/>
        </p:spPr>
        <p:txBody>
          <a:bodyPr lIns="0" tIns="0" rIns="0" bIns="0">
            <a:spAutoFit/>
          </a:bodyPr>
          <a:lstStyle/>
          <a:p>
            <a:pPr algn="r" defTabSz="912644">
              <a:lnSpc>
                <a:spcPct val="107000"/>
              </a:lnSpc>
              <a:spcBef>
                <a:spcPct val="50000"/>
              </a:spcBef>
              <a:defRPr/>
            </a:pPr>
            <a:r>
              <a:rPr lang="en-GB" sz="900">
                <a:solidFill>
                  <a:srgbClr val="FFFFFF"/>
                </a:solidFill>
                <a:latin typeface="Verdana" pitchFamily="34" charset="0"/>
                <a:cs typeface="+mn-cs"/>
              </a:rPr>
              <a:t>Insert department name via ‘View/Header and Footer…’</a:t>
            </a:r>
          </a:p>
        </p:txBody>
      </p:sp>
      <p:sp>
        <p:nvSpPr>
          <p:cNvPr id="29709" name="Line 13"/>
          <p:cNvSpPr>
            <a:spLocks noChangeShapeType="1"/>
          </p:cNvSpPr>
          <p:nvPr/>
        </p:nvSpPr>
        <p:spPr bwMode="auto">
          <a:xfrm>
            <a:off x="-474662" y="5028010"/>
            <a:ext cx="360363" cy="0"/>
          </a:xfrm>
          <a:prstGeom prst="line">
            <a:avLst/>
          </a:prstGeom>
          <a:noFill/>
          <a:ln w="9525">
            <a:solidFill>
              <a:schemeClr val="bg1"/>
            </a:solidFill>
            <a:round/>
            <a:headEnd/>
            <a:tailEnd/>
          </a:ln>
          <a:effectLst/>
        </p:spPr>
        <p:txBody>
          <a:bodyPr lIns="0" tIns="0" rIns="0" bIns="0"/>
          <a:lstStyle/>
          <a:p>
            <a:pPr defTabSz="912644">
              <a:lnSpc>
                <a:spcPct val="107000"/>
              </a:lnSpc>
              <a:defRPr/>
            </a:pPr>
            <a:endParaRPr lang="en-US" sz="1400">
              <a:solidFill>
                <a:srgbClr val="000000"/>
              </a:solidFill>
              <a:latin typeface="Verdana" pitchFamily="34" charset="0"/>
              <a:cs typeface="+mn-cs"/>
            </a:endParaRPr>
          </a:p>
        </p:txBody>
      </p:sp>
      <p:pic>
        <p:nvPicPr>
          <p:cNvPr id="36874" name="Picture 14" descr="Maersk_Line_Hvid baggrund"/>
          <p:cNvPicPr>
            <a:picLocks noChangeAspect="1" noChangeArrowheads="1"/>
          </p:cNvPicPr>
          <p:nvPr/>
        </p:nvPicPr>
        <p:blipFill>
          <a:blip r:embed="rId13"/>
          <a:srcRect/>
          <a:stretch>
            <a:fillRect/>
          </a:stretch>
        </p:blipFill>
        <p:spPr bwMode="auto">
          <a:xfrm>
            <a:off x="7274009" y="4510165"/>
            <a:ext cx="1870075" cy="633413"/>
          </a:xfrm>
          <a:prstGeom prst="rect">
            <a:avLst/>
          </a:prstGeom>
          <a:noFill/>
          <a:ln w="9525">
            <a:noFill/>
            <a:miter lim="800000"/>
            <a:headEnd/>
            <a:tailEnd/>
          </a:ln>
        </p:spPr>
      </p:pic>
    </p:spTree>
    <p:extLst>
      <p:ext uri="{BB962C8B-B14F-4D97-AF65-F5344CB8AC3E}">
        <p14:creationId xmlns:p14="http://schemas.microsoft.com/office/powerpoint/2010/main" val="18864006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Lst>
  <p:hf hdr="0" dt="0"/>
  <p:txStyles>
    <p:titleStyle>
      <a:lvl1pPr algn="l" rtl="0" eaLnBrk="0" fontAlgn="base" hangingPunct="0">
        <a:lnSpc>
          <a:spcPct val="94000"/>
        </a:lnSpc>
        <a:spcBef>
          <a:spcPct val="0"/>
        </a:spcBef>
        <a:spcAft>
          <a:spcPct val="0"/>
        </a:spcAft>
        <a:defRPr sz="2800">
          <a:solidFill>
            <a:schemeClr val="tx1"/>
          </a:solidFill>
          <a:latin typeface="+mj-lt"/>
          <a:ea typeface="+mj-ea"/>
          <a:cs typeface="+mj-cs"/>
        </a:defRPr>
      </a:lvl1pPr>
      <a:lvl2pPr algn="l" rtl="0" eaLnBrk="0" fontAlgn="base" hangingPunct="0">
        <a:lnSpc>
          <a:spcPct val="94000"/>
        </a:lnSpc>
        <a:spcBef>
          <a:spcPct val="0"/>
        </a:spcBef>
        <a:spcAft>
          <a:spcPct val="0"/>
        </a:spcAft>
        <a:defRPr sz="2800">
          <a:solidFill>
            <a:schemeClr val="tx1"/>
          </a:solidFill>
          <a:latin typeface="Verdana" pitchFamily="34" charset="0"/>
        </a:defRPr>
      </a:lvl2pPr>
      <a:lvl3pPr algn="l" rtl="0" eaLnBrk="0" fontAlgn="base" hangingPunct="0">
        <a:lnSpc>
          <a:spcPct val="94000"/>
        </a:lnSpc>
        <a:spcBef>
          <a:spcPct val="0"/>
        </a:spcBef>
        <a:spcAft>
          <a:spcPct val="0"/>
        </a:spcAft>
        <a:defRPr sz="2800">
          <a:solidFill>
            <a:schemeClr val="tx1"/>
          </a:solidFill>
          <a:latin typeface="Verdana" pitchFamily="34" charset="0"/>
        </a:defRPr>
      </a:lvl3pPr>
      <a:lvl4pPr algn="l" rtl="0" eaLnBrk="0" fontAlgn="base" hangingPunct="0">
        <a:lnSpc>
          <a:spcPct val="94000"/>
        </a:lnSpc>
        <a:spcBef>
          <a:spcPct val="0"/>
        </a:spcBef>
        <a:spcAft>
          <a:spcPct val="0"/>
        </a:spcAft>
        <a:defRPr sz="2800">
          <a:solidFill>
            <a:schemeClr val="tx1"/>
          </a:solidFill>
          <a:latin typeface="Verdana" pitchFamily="34" charset="0"/>
        </a:defRPr>
      </a:lvl4pPr>
      <a:lvl5pPr algn="l" rtl="0" eaLnBrk="0" fontAlgn="base" hangingPunct="0">
        <a:lnSpc>
          <a:spcPct val="94000"/>
        </a:lnSpc>
        <a:spcBef>
          <a:spcPct val="0"/>
        </a:spcBef>
        <a:spcAft>
          <a:spcPct val="0"/>
        </a:spcAft>
        <a:defRPr sz="2800">
          <a:solidFill>
            <a:schemeClr val="tx1"/>
          </a:solidFill>
          <a:latin typeface="Verdana" pitchFamily="34" charset="0"/>
        </a:defRPr>
      </a:lvl5pPr>
      <a:lvl6pPr marL="456269" algn="l" rtl="0" fontAlgn="base">
        <a:lnSpc>
          <a:spcPct val="94000"/>
        </a:lnSpc>
        <a:spcBef>
          <a:spcPct val="0"/>
        </a:spcBef>
        <a:spcAft>
          <a:spcPct val="0"/>
        </a:spcAft>
        <a:defRPr sz="2800">
          <a:solidFill>
            <a:schemeClr val="tx1"/>
          </a:solidFill>
          <a:latin typeface="Verdana" pitchFamily="34" charset="0"/>
        </a:defRPr>
      </a:lvl6pPr>
      <a:lvl7pPr marL="912644" algn="l" rtl="0" fontAlgn="base">
        <a:lnSpc>
          <a:spcPct val="94000"/>
        </a:lnSpc>
        <a:spcBef>
          <a:spcPct val="0"/>
        </a:spcBef>
        <a:spcAft>
          <a:spcPct val="0"/>
        </a:spcAft>
        <a:defRPr sz="2800">
          <a:solidFill>
            <a:schemeClr val="tx1"/>
          </a:solidFill>
          <a:latin typeface="Verdana" pitchFamily="34" charset="0"/>
        </a:defRPr>
      </a:lvl7pPr>
      <a:lvl8pPr marL="1368948" algn="l" rtl="0" fontAlgn="base">
        <a:lnSpc>
          <a:spcPct val="94000"/>
        </a:lnSpc>
        <a:spcBef>
          <a:spcPct val="0"/>
        </a:spcBef>
        <a:spcAft>
          <a:spcPct val="0"/>
        </a:spcAft>
        <a:defRPr sz="2800">
          <a:solidFill>
            <a:schemeClr val="tx1"/>
          </a:solidFill>
          <a:latin typeface="Verdana" pitchFamily="34" charset="0"/>
        </a:defRPr>
      </a:lvl8pPr>
      <a:lvl9pPr marL="1825286" algn="l" rtl="0" fontAlgn="base">
        <a:lnSpc>
          <a:spcPct val="94000"/>
        </a:lnSpc>
        <a:spcBef>
          <a:spcPct val="0"/>
        </a:spcBef>
        <a:spcAft>
          <a:spcPct val="0"/>
        </a:spcAft>
        <a:defRPr sz="2800">
          <a:solidFill>
            <a:schemeClr val="tx1"/>
          </a:solidFill>
          <a:latin typeface="Verdana" pitchFamily="34" charset="0"/>
        </a:defRPr>
      </a:lvl9pPr>
    </p:titleStyle>
    <p:bodyStyle>
      <a:lvl1pPr marL="205985" indent="-205985" algn="l" rtl="0" eaLnBrk="0" fontAlgn="base" hangingPunct="0">
        <a:lnSpc>
          <a:spcPct val="111000"/>
        </a:lnSpc>
        <a:spcBef>
          <a:spcPct val="20000"/>
        </a:spcBef>
        <a:spcAft>
          <a:spcPct val="0"/>
        </a:spcAft>
        <a:buClr>
          <a:srgbClr val="69B8D6"/>
        </a:buClr>
        <a:buChar char="•"/>
        <a:defRPr>
          <a:solidFill>
            <a:schemeClr val="tx1"/>
          </a:solidFill>
          <a:latin typeface="+mn-lt"/>
          <a:ea typeface="+mn-ea"/>
          <a:cs typeface="+mn-cs"/>
        </a:defRPr>
      </a:lvl1pPr>
      <a:lvl2pPr marL="419870" indent="-212335" algn="l" rtl="0" eaLnBrk="0" fontAlgn="base" hangingPunct="0">
        <a:lnSpc>
          <a:spcPts val="2600"/>
        </a:lnSpc>
        <a:spcBef>
          <a:spcPct val="20000"/>
        </a:spcBef>
        <a:spcAft>
          <a:spcPct val="0"/>
        </a:spcAft>
        <a:buClr>
          <a:srgbClr val="69B8D6"/>
        </a:buClr>
        <a:buChar char="•"/>
        <a:defRPr sz="1400">
          <a:solidFill>
            <a:schemeClr val="tx1"/>
          </a:solidFill>
          <a:latin typeface="+mn-lt"/>
        </a:defRPr>
      </a:lvl2pPr>
      <a:lvl3pPr marL="640102" indent="-218609" algn="l" rtl="0" eaLnBrk="0" fontAlgn="base" hangingPunct="0">
        <a:lnSpc>
          <a:spcPct val="125000"/>
        </a:lnSpc>
        <a:spcBef>
          <a:spcPct val="20000"/>
        </a:spcBef>
        <a:spcAft>
          <a:spcPct val="0"/>
        </a:spcAft>
        <a:buClr>
          <a:srgbClr val="69B8D6"/>
        </a:buClr>
        <a:buChar char="•"/>
        <a:defRPr sz="1200">
          <a:solidFill>
            <a:schemeClr val="tx1"/>
          </a:solidFill>
          <a:latin typeface="+mn-lt"/>
        </a:defRPr>
      </a:lvl3pPr>
      <a:lvl4pPr marL="854024" indent="-212335" algn="l" rtl="0" eaLnBrk="0" fontAlgn="base" hangingPunct="0">
        <a:lnSpc>
          <a:spcPct val="119000"/>
        </a:lnSpc>
        <a:spcBef>
          <a:spcPct val="20000"/>
        </a:spcBef>
        <a:spcAft>
          <a:spcPct val="0"/>
        </a:spcAft>
        <a:buClr>
          <a:srgbClr val="69B8D6"/>
        </a:buClr>
        <a:buChar char="•"/>
        <a:defRPr sz="1000">
          <a:solidFill>
            <a:schemeClr val="tx1"/>
          </a:solidFill>
          <a:latin typeface="+mn-lt"/>
        </a:defRPr>
      </a:lvl4pPr>
      <a:lvl5pPr marL="1067870" indent="-212335" algn="l" rtl="0" eaLnBrk="0" fontAlgn="base" hangingPunct="0">
        <a:lnSpc>
          <a:spcPct val="125000"/>
        </a:lnSpc>
        <a:spcBef>
          <a:spcPct val="20000"/>
        </a:spcBef>
        <a:spcAft>
          <a:spcPct val="0"/>
        </a:spcAft>
        <a:buClr>
          <a:srgbClr val="69B8D6"/>
        </a:buClr>
        <a:buChar char="•"/>
        <a:defRPr sz="800">
          <a:solidFill>
            <a:schemeClr val="tx1"/>
          </a:solidFill>
          <a:latin typeface="+mn-lt"/>
        </a:defRPr>
      </a:lvl5pPr>
      <a:lvl6pPr marL="1524211" indent="-212335" algn="l" rtl="0" fontAlgn="base">
        <a:lnSpc>
          <a:spcPct val="125000"/>
        </a:lnSpc>
        <a:spcBef>
          <a:spcPct val="20000"/>
        </a:spcBef>
        <a:spcAft>
          <a:spcPct val="0"/>
        </a:spcAft>
        <a:buClr>
          <a:srgbClr val="69B8D6"/>
        </a:buClr>
        <a:buChar char="•"/>
        <a:defRPr sz="800">
          <a:solidFill>
            <a:schemeClr val="tx1"/>
          </a:solidFill>
          <a:latin typeface="+mn-lt"/>
        </a:defRPr>
      </a:lvl6pPr>
      <a:lvl7pPr marL="1980514" indent="-212335" algn="l" rtl="0" fontAlgn="base">
        <a:lnSpc>
          <a:spcPct val="125000"/>
        </a:lnSpc>
        <a:spcBef>
          <a:spcPct val="20000"/>
        </a:spcBef>
        <a:spcAft>
          <a:spcPct val="0"/>
        </a:spcAft>
        <a:buClr>
          <a:srgbClr val="69B8D6"/>
        </a:buClr>
        <a:buChar char="•"/>
        <a:defRPr sz="800">
          <a:solidFill>
            <a:schemeClr val="tx1"/>
          </a:solidFill>
          <a:latin typeface="+mn-lt"/>
        </a:defRPr>
      </a:lvl7pPr>
      <a:lvl8pPr marL="2436817" indent="-212335" algn="l" rtl="0" fontAlgn="base">
        <a:lnSpc>
          <a:spcPct val="125000"/>
        </a:lnSpc>
        <a:spcBef>
          <a:spcPct val="20000"/>
        </a:spcBef>
        <a:spcAft>
          <a:spcPct val="0"/>
        </a:spcAft>
        <a:buClr>
          <a:srgbClr val="69B8D6"/>
        </a:buClr>
        <a:buChar char="•"/>
        <a:defRPr sz="800">
          <a:solidFill>
            <a:schemeClr val="tx1"/>
          </a:solidFill>
          <a:latin typeface="+mn-lt"/>
        </a:defRPr>
      </a:lvl8pPr>
      <a:lvl9pPr marL="2893157" indent="-212335" algn="l" rtl="0" fontAlgn="base">
        <a:lnSpc>
          <a:spcPct val="125000"/>
        </a:lnSpc>
        <a:spcBef>
          <a:spcPct val="20000"/>
        </a:spcBef>
        <a:spcAft>
          <a:spcPct val="0"/>
        </a:spcAft>
        <a:buClr>
          <a:srgbClr val="69B8D6"/>
        </a:buClr>
        <a:buChar char="•"/>
        <a:defRPr sz="800">
          <a:solidFill>
            <a:schemeClr val="tx1"/>
          </a:solidFill>
          <a:latin typeface="+mn-lt"/>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62"/>
          <a:ext cx="146538" cy="119063"/>
        </p:xfrm>
        <a:graphic>
          <a:graphicData uri="http://schemas.openxmlformats.org/presentationml/2006/ole">
            <mc:AlternateContent xmlns:mc="http://schemas.openxmlformats.org/markup-compatibility/2006">
              <mc:Choice xmlns:v="urn:schemas-microsoft-com:vml" Requires="v">
                <p:oleObj spid="_x0000_s1318"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9" y="3"/>
            <a:ext cx="9143999" cy="751601"/>
          </a:xfrm>
          <a:prstGeom prst="rect">
            <a:avLst/>
          </a:prstGeom>
        </p:spPr>
        <p:txBody>
          <a:bodyPr vert="horz" lIns="296945" tIns="33056" rIns="164982" bIns="33056"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64" y="1126484"/>
            <a:ext cx="8712115" cy="3477405"/>
          </a:xfrm>
          <a:prstGeom prst="rect">
            <a:avLst/>
          </a:prstGeom>
        </p:spPr>
        <p:txBody>
          <a:bodyPr vert="horz" lIns="107766" tIns="71882" rIns="71882" bIns="71882"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8827284" y="4982805"/>
            <a:ext cx="110608" cy="107722"/>
          </a:xfrm>
          <a:prstGeom prst="rect">
            <a:avLst/>
          </a:prstGeom>
          <a:noFill/>
        </p:spPr>
        <p:txBody>
          <a:bodyPr wrap="none" lIns="0" tIns="0" rIns="0" bIns="0" rtlCol="0" anchor="ctr">
            <a:spAutoFit/>
          </a:bodyPr>
          <a:lstStyle/>
          <a:p>
            <a:pPr algn="ctr" defTabSz="955884" fontAlgn="auto">
              <a:spcBef>
                <a:spcPts val="0"/>
              </a:spcBef>
              <a:spcAft>
                <a:spcPts val="0"/>
              </a:spcAft>
            </a:pPr>
            <a:fld id="{6A895693-0027-4F28-9367-92E39A51F51C}" type="slidenum">
              <a:rPr lang="en-US" sz="700" smtClean="0">
                <a:solidFill>
                  <a:srgbClr val="998C85"/>
                </a:solidFill>
                <a:latin typeface="Arial"/>
                <a:cs typeface="+mn-cs"/>
              </a:rPr>
              <a:pPr algn="ctr" defTabSz="955884" fontAlgn="auto">
                <a:spcBef>
                  <a:spcPts val="0"/>
                </a:spcBef>
                <a:spcAft>
                  <a:spcPts val="0"/>
                </a:spcAft>
              </a:pPr>
              <a:t>‹#›</a:t>
            </a:fld>
            <a:endParaRPr lang="en-US" sz="700" dirty="0">
              <a:solidFill>
                <a:srgbClr val="998C85"/>
              </a:solidFill>
              <a:latin typeface="Arial"/>
              <a:cs typeface="+mn-cs"/>
            </a:endParaRPr>
          </a:p>
        </p:txBody>
      </p:sp>
      <p:sp>
        <p:nvSpPr>
          <p:cNvPr id="9" name="Freeform 4"/>
          <p:cNvSpPr>
            <a:spLocks/>
          </p:cNvSpPr>
          <p:nvPr>
            <p:custDataLst>
              <p:tags r:id="rId17"/>
            </p:custDataLst>
          </p:nvPr>
        </p:nvSpPr>
        <p:spPr bwMode="auto">
          <a:xfrm>
            <a:off x="39"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332" tIns="49704" rIns="99332" bIns="49704" numCol="1" anchor="t" anchorCtr="0" compatLnSpc="1">
            <a:prstTxWarp prst="textNoShape">
              <a:avLst/>
            </a:prstTxWarp>
          </a:bodyPr>
          <a:lstStyle/>
          <a:p>
            <a:pPr defTabSz="955884" fontAlgn="auto">
              <a:spcBef>
                <a:spcPts val="0"/>
              </a:spcBef>
              <a:spcAft>
                <a:spcPts val="0"/>
              </a:spcAft>
            </a:pPr>
            <a:endParaRPr lang="fr-FR" sz="1900">
              <a:solidFill>
                <a:srgbClr val="263147"/>
              </a:solidFill>
              <a:latin typeface="Arial"/>
              <a:cs typeface="+mn-cs"/>
            </a:endParaRPr>
          </a:p>
        </p:txBody>
      </p:sp>
      <p:sp>
        <p:nvSpPr>
          <p:cNvPr id="12" name="Rectangle 11"/>
          <p:cNvSpPr>
            <a:spLocks noChangeArrowheads="1"/>
          </p:cNvSpPr>
          <p:nvPr>
            <p:custDataLst>
              <p:tags r:id="rId18"/>
            </p:custDataLst>
          </p:nvPr>
        </p:nvSpPr>
        <p:spPr bwMode="auto">
          <a:xfrm>
            <a:off x="6223289" y="4967639"/>
            <a:ext cx="2455979" cy="137627"/>
          </a:xfrm>
          <a:prstGeom prst="rect">
            <a:avLst/>
          </a:prstGeom>
          <a:noFill/>
          <a:ln w="19050">
            <a:noFill/>
            <a:miter lim="800000"/>
            <a:headEnd/>
            <a:tailEnd/>
          </a:ln>
          <a:effectLst/>
        </p:spPr>
        <p:txBody>
          <a:bodyPr wrap="square" lIns="35919" tIns="35919" rIns="35919" bIns="35919" anchor="b" anchorCtr="0">
            <a:noAutofit/>
          </a:bodyPr>
          <a:lstStyle/>
          <a:p>
            <a:pPr algn="r" defTabSz="993554"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009" y="4820495"/>
            <a:ext cx="1767281" cy="146861"/>
          </a:xfrm>
          <a:prstGeom prst="rect">
            <a:avLst/>
          </a:prstGeom>
        </p:spPr>
        <p:txBody>
          <a:bodyPr wrap="none" lIns="35919" tIns="35919" rIns="35919" bIns="35919" anchor="b" anchorCtr="0">
            <a:noAutofit/>
          </a:bodyPr>
          <a:lstStyle/>
          <a:p>
            <a:pPr algn="r" defTabSz="955884" fontAlgn="auto">
              <a:spcBef>
                <a:spcPts val="0"/>
              </a:spcBef>
              <a:spcAft>
                <a:spcPts val="0"/>
              </a:spcAft>
            </a:pPr>
            <a:r>
              <a:rPr lang="en-US" sz="700" dirty="0">
                <a:solidFill>
                  <a:srgbClr val="998C85"/>
                </a:solidFill>
                <a:latin typeface="Arial"/>
                <a:cs typeface="+mn-cs"/>
              </a:rPr>
              <a:t>Why good social internal </a:t>
            </a:r>
            <a:r>
              <a:rPr lang="en-US" sz="700" dirty="0" err="1">
                <a:solidFill>
                  <a:srgbClr val="998C85"/>
                </a:solidFill>
                <a:latin typeface="Arial"/>
                <a:cs typeface="+mn-cs"/>
              </a:rPr>
              <a:t>comms</a:t>
            </a:r>
            <a:r>
              <a:rPr lang="en-US" sz="700" dirty="0">
                <a:solidFill>
                  <a:srgbClr val="998C85"/>
                </a:solidFill>
                <a:latin typeface="Arial"/>
                <a:cs typeface="+mn-cs"/>
              </a:rPr>
              <a:t> creates social external </a:t>
            </a:r>
            <a:r>
              <a:rPr lang="en-US" sz="700" dirty="0" err="1">
                <a:solidFill>
                  <a:srgbClr val="998C85"/>
                </a:solidFill>
                <a:latin typeface="Arial"/>
                <a:cs typeface="+mn-cs"/>
              </a:rPr>
              <a:t>comms</a:t>
            </a:r>
            <a:r>
              <a:rPr lang="en-US" sz="700" dirty="0">
                <a:solidFill>
                  <a:srgbClr val="998C85"/>
                </a:solidFill>
                <a:latin typeface="Arial"/>
                <a:cs typeface="+mn-cs"/>
              </a:rPr>
              <a:t> | 26 September 2012</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46741" y="4832392"/>
            <a:ext cx="1209798" cy="240512"/>
          </a:xfrm>
          <a:prstGeom prst="rect">
            <a:avLst/>
          </a:prstGeom>
          <a:noFill/>
        </p:spPr>
      </p:pic>
      <p:cxnSp>
        <p:nvCxnSpPr>
          <p:cNvPr id="15" name="Straight Connector 5"/>
          <p:cNvCxnSpPr/>
          <p:nvPr>
            <p:custDataLst>
              <p:tags r:id="rId21"/>
            </p:custDataLst>
          </p:nvPr>
        </p:nvCxnSpPr>
        <p:spPr>
          <a:xfrm flipH="1">
            <a:off x="39" y="4772025"/>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0500962"/>
      </p:ext>
    </p:extLst>
  </p:cSld>
  <p:clrMap bg1="lt1" tx1="dk1" bg2="lt2" tx2="dk2" accent1="accent1" accent2="accent2" accent3="accent3" accent4="accent4" accent5="accent5" accent6="accent6" hlink="hlink" folHlink="folHlink"/>
  <p:sldLayoutIdLst>
    <p:sldLayoutId id="2147484628" r:id="rId1"/>
    <p:sldLayoutId id="2147484629" r:id="rId2"/>
    <p:sldLayoutId id="2147484630" r:id="rId3"/>
    <p:sldLayoutId id="2147484631" r:id="rId4"/>
    <p:sldLayoutId id="2147484632" r:id="rId5"/>
    <p:sldLayoutId id="2147484633" r:id="rId6"/>
    <p:sldLayoutId id="2147484634" r:id="rId7"/>
    <p:sldLayoutId id="2147484635" r:id="rId8"/>
    <p:sldLayoutId id="2147484636" r:id="rId9"/>
    <p:sldLayoutId id="2147484637" r:id="rId10"/>
  </p:sldLayoutIdLst>
  <p:txStyles>
    <p:titleStyle>
      <a:lvl1pPr algn="l" defTabSz="91258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5877" indent="-165877" algn="l" defTabSz="91258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4899" indent="-180625" algn="l" defTabSz="91258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5523" indent="-164788" algn="l" defTabSz="912585"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09796" indent="-164788" algn="l" defTabSz="912585"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6504" indent="-193310" algn="l" defTabSz="91258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09527" indent="-228119" algn="l" defTabSz="91258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840" indent="-228119" algn="l" defTabSz="91258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113" indent="-228119" algn="l" defTabSz="91258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388" indent="-228119" algn="l" defTabSz="91258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585" rtl="0" eaLnBrk="1" latinLnBrk="0" hangingPunct="1">
        <a:defRPr sz="1800" kern="1200">
          <a:solidFill>
            <a:schemeClr val="tx1"/>
          </a:solidFill>
          <a:latin typeface="+mn-lt"/>
          <a:ea typeface="+mn-ea"/>
          <a:cs typeface="+mn-cs"/>
        </a:defRPr>
      </a:lvl1pPr>
      <a:lvl2pPr marL="456239" algn="l" defTabSz="912585" rtl="0" eaLnBrk="1" latinLnBrk="0" hangingPunct="1">
        <a:defRPr sz="1800" kern="1200">
          <a:solidFill>
            <a:schemeClr val="tx1"/>
          </a:solidFill>
          <a:latin typeface="+mn-lt"/>
          <a:ea typeface="+mn-ea"/>
          <a:cs typeface="+mn-cs"/>
        </a:defRPr>
      </a:lvl2pPr>
      <a:lvl3pPr marL="912585" algn="l" defTabSz="912585" rtl="0" eaLnBrk="1" latinLnBrk="0" hangingPunct="1">
        <a:defRPr sz="1800" kern="1200">
          <a:solidFill>
            <a:schemeClr val="tx1"/>
          </a:solidFill>
          <a:latin typeface="+mn-lt"/>
          <a:ea typeface="+mn-ea"/>
          <a:cs typeface="+mn-cs"/>
        </a:defRPr>
      </a:lvl3pPr>
      <a:lvl4pPr marL="1368861" algn="l" defTabSz="912585" rtl="0" eaLnBrk="1" latinLnBrk="0" hangingPunct="1">
        <a:defRPr sz="1800" kern="1200">
          <a:solidFill>
            <a:schemeClr val="tx1"/>
          </a:solidFill>
          <a:latin typeface="+mn-lt"/>
          <a:ea typeface="+mn-ea"/>
          <a:cs typeface="+mn-cs"/>
        </a:defRPr>
      </a:lvl4pPr>
      <a:lvl5pPr marL="1825169" algn="l" defTabSz="912585" rtl="0" eaLnBrk="1" latinLnBrk="0" hangingPunct="1">
        <a:defRPr sz="1800" kern="1200">
          <a:solidFill>
            <a:schemeClr val="tx1"/>
          </a:solidFill>
          <a:latin typeface="+mn-lt"/>
          <a:ea typeface="+mn-ea"/>
          <a:cs typeface="+mn-cs"/>
        </a:defRPr>
      </a:lvl5pPr>
      <a:lvl6pPr marL="2281409" algn="l" defTabSz="912585" rtl="0" eaLnBrk="1" latinLnBrk="0" hangingPunct="1">
        <a:defRPr sz="1800" kern="1200">
          <a:solidFill>
            <a:schemeClr val="tx1"/>
          </a:solidFill>
          <a:latin typeface="+mn-lt"/>
          <a:ea typeface="+mn-ea"/>
          <a:cs typeface="+mn-cs"/>
        </a:defRPr>
      </a:lvl6pPr>
      <a:lvl7pPr marL="2737646" algn="l" defTabSz="912585" rtl="0" eaLnBrk="1" latinLnBrk="0" hangingPunct="1">
        <a:defRPr sz="1800" kern="1200">
          <a:solidFill>
            <a:schemeClr val="tx1"/>
          </a:solidFill>
          <a:latin typeface="+mn-lt"/>
          <a:ea typeface="+mn-ea"/>
          <a:cs typeface="+mn-cs"/>
        </a:defRPr>
      </a:lvl7pPr>
      <a:lvl8pPr marL="3193964" algn="l" defTabSz="912585" rtl="0" eaLnBrk="1" latinLnBrk="0" hangingPunct="1">
        <a:defRPr sz="1800" kern="1200">
          <a:solidFill>
            <a:schemeClr val="tx1"/>
          </a:solidFill>
          <a:latin typeface="+mn-lt"/>
          <a:ea typeface="+mn-ea"/>
          <a:cs typeface="+mn-cs"/>
        </a:defRPr>
      </a:lvl8pPr>
      <a:lvl9pPr marL="3650260" algn="l" defTabSz="912585"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11558"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258538"/>
            <a:ext cx="9145530" cy="38850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6" tIns="42898" rIns="33056" bIns="42898" rtlCol="0" anchor="ctr"/>
          <a:lstStyle/>
          <a:p>
            <a:pPr algn="ctr" defTabSz="955884" fontAlgn="auto">
              <a:spcBef>
                <a:spcPts val="0"/>
              </a:spcBef>
              <a:spcAft>
                <a:spcPts val="0"/>
              </a:spcAft>
            </a:pP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37457" y="698082"/>
            <a:ext cx="2912091" cy="582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200" y="880222"/>
            <a:ext cx="3364886" cy="217724"/>
          </a:xfrm>
          <a:prstGeom prst="rect">
            <a:avLst/>
          </a:prstGeom>
          <a:noFill/>
        </p:spPr>
      </p:pic>
      <p:sp>
        <p:nvSpPr>
          <p:cNvPr id="13" name="Rectangle 12"/>
          <p:cNvSpPr/>
          <p:nvPr>
            <p:custDataLst>
              <p:tags r:id="rId10"/>
            </p:custDataLst>
          </p:nvPr>
        </p:nvSpPr>
        <p:spPr>
          <a:xfrm>
            <a:off x="5099004" y="4714220"/>
            <a:ext cx="4045000" cy="282201"/>
          </a:xfrm>
          <a:prstGeom prst="rect">
            <a:avLst/>
          </a:prstGeom>
        </p:spPr>
        <p:txBody>
          <a:bodyPr wrap="square" lIns="33056" tIns="33056" rIns="329964" bIns="33056" anchor="b" anchorCtr="0">
            <a:spAutoFit/>
          </a:bodyPr>
          <a:lstStyle/>
          <a:p>
            <a:pPr algn="r" defTabSz="955884" fontAlgn="auto">
              <a:spcBef>
                <a:spcPts val="0"/>
              </a:spcBef>
              <a:spcAft>
                <a:spcPts val="0"/>
              </a:spcAft>
            </a:pPr>
            <a:r>
              <a:rPr lang="en-US" sz="700" dirty="0">
                <a:solidFill>
                  <a:prstClr val="white"/>
                </a:solidFill>
                <a:latin typeface="Arial"/>
                <a:cs typeface="Arial"/>
              </a:rPr>
              <a:t>The information contained in this presentation is proprietary.</a:t>
            </a:r>
          </a:p>
          <a:p>
            <a:pPr algn="r" defTabSz="955884" fontAlgn="auto">
              <a:spcBef>
                <a:spcPts val="0"/>
              </a:spcBef>
              <a:spcAft>
                <a:spcPts val="0"/>
              </a:spcAft>
            </a:pPr>
            <a:r>
              <a:rPr lang="en-US" sz="700" dirty="0">
                <a:solidFill>
                  <a:prstClr val="white"/>
                </a:solidFill>
                <a:latin typeface="Arial"/>
                <a:cs typeface="Arial"/>
              </a:rPr>
              <a:t>© 2012 Capgemini. All rights reserved.</a:t>
            </a:r>
          </a:p>
        </p:txBody>
      </p:sp>
      <p:sp>
        <p:nvSpPr>
          <p:cNvPr id="15" name="Rectangle 14"/>
          <p:cNvSpPr/>
          <p:nvPr>
            <p:custDataLst>
              <p:tags r:id="rId11"/>
            </p:custDataLst>
          </p:nvPr>
        </p:nvSpPr>
        <p:spPr>
          <a:xfrm>
            <a:off x="6185781" y="3994492"/>
            <a:ext cx="2958220" cy="384320"/>
          </a:xfrm>
          <a:prstGeom prst="rect">
            <a:avLst/>
          </a:prstGeom>
        </p:spPr>
        <p:txBody>
          <a:bodyPr wrap="none" lIns="35922" tIns="35922" rIns="359298" bIns="35922" anchor="b" anchorCtr="0">
            <a:spAutoFit/>
          </a:bodyPr>
          <a:lstStyle/>
          <a:p>
            <a:pPr algn="r" defTabSz="955884" fontAlgn="auto">
              <a:spcBef>
                <a:spcPts val="0"/>
              </a:spcBef>
              <a:spcAft>
                <a:spcPts val="0"/>
              </a:spcAft>
            </a:pP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9" y="4449412"/>
            <a:ext cx="256821" cy="197828"/>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4449413"/>
            <a:ext cx="259674" cy="200025"/>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4449413"/>
            <a:ext cx="259674" cy="200025"/>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4449413"/>
            <a:ext cx="259674" cy="200025"/>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98" y="4449420"/>
            <a:ext cx="215411" cy="178594"/>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3920713731"/>
      </p:ext>
    </p:extLst>
  </p:cSld>
  <p:clrMap bg1="lt1" tx1="dk1" bg2="lt2" tx2="dk2" accent1="accent1" accent2="accent2" accent3="accent3" accent4="accent4" accent5="accent5" accent6="accent6" hlink="hlink" folHlink="folHlink"/>
  <p:sldLayoutIdLst>
    <p:sldLayoutId id="2147484640" r:id="rId1"/>
    <p:sldLayoutId id="2147484641" r:id="rId2"/>
    <p:sldLayoutId id="2147484642" r:id="rId3"/>
  </p:sldLayoutIdLst>
  <p:txStyles>
    <p:titleStyle>
      <a:lvl1pPr algn="ctr" defTabSz="838056" rtl="0" eaLnBrk="1" latinLnBrk="0" hangingPunct="1">
        <a:spcBef>
          <a:spcPct val="0"/>
        </a:spcBef>
        <a:buNone/>
        <a:defRPr sz="4000" kern="1200">
          <a:solidFill>
            <a:schemeClr val="tx1"/>
          </a:solidFill>
          <a:latin typeface="+mj-lt"/>
          <a:ea typeface="+mj-ea"/>
          <a:cs typeface="+mj-cs"/>
        </a:defRPr>
      </a:lvl1pPr>
    </p:titleStyle>
    <p:bodyStyle>
      <a:lvl1pPr marL="314298" indent="-314298" algn="l" defTabSz="838056"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0925" indent="-261935" algn="l" defTabSz="838056"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7589" indent="-209533" algn="l" defTabSz="838056"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6651"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5644"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4707"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3700"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2763"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1755"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8056" rtl="0" eaLnBrk="1" latinLnBrk="0" hangingPunct="1">
        <a:defRPr sz="1700" kern="1200">
          <a:solidFill>
            <a:schemeClr val="tx1"/>
          </a:solidFill>
          <a:latin typeface="+mn-lt"/>
          <a:ea typeface="+mn-ea"/>
          <a:cs typeface="+mn-cs"/>
        </a:defRPr>
      </a:lvl1pPr>
      <a:lvl2pPr marL="419029" algn="l" defTabSz="838056" rtl="0" eaLnBrk="1" latinLnBrk="0" hangingPunct="1">
        <a:defRPr sz="1700" kern="1200">
          <a:solidFill>
            <a:schemeClr val="tx1"/>
          </a:solidFill>
          <a:latin typeface="+mn-lt"/>
          <a:ea typeface="+mn-ea"/>
          <a:cs typeface="+mn-cs"/>
        </a:defRPr>
      </a:lvl2pPr>
      <a:lvl3pPr marL="838056" algn="l" defTabSz="838056" rtl="0" eaLnBrk="1" latinLnBrk="0" hangingPunct="1">
        <a:defRPr sz="1700" kern="1200">
          <a:solidFill>
            <a:schemeClr val="tx1"/>
          </a:solidFill>
          <a:latin typeface="+mn-lt"/>
          <a:ea typeface="+mn-ea"/>
          <a:cs typeface="+mn-cs"/>
        </a:defRPr>
      </a:lvl3pPr>
      <a:lvl4pPr marL="1257083" algn="l" defTabSz="838056" rtl="0" eaLnBrk="1" latinLnBrk="0" hangingPunct="1">
        <a:defRPr sz="1700" kern="1200">
          <a:solidFill>
            <a:schemeClr val="tx1"/>
          </a:solidFill>
          <a:latin typeface="+mn-lt"/>
          <a:ea typeface="+mn-ea"/>
          <a:cs typeface="+mn-cs"/>
        </a:defRPr>
      </a:lvl4pPr>
      <a:lvl5pPr marL="1676111" algn="l" defTabSz="838056" rtl="0" eaLnBrk="1" latinLnBrk="0" hangingPunct="1">
        <a:defRPr sz="1700" kern="1200">
          <a:solidFill>
            <a:schemeClr val="tx1"/>
          </a:solidFill>
          <a:latin typeface="+mn-lt"/>
          <a:ea typeface="+mn-ea"/>
          <a:cs typeface="+mn-cs"/>
        </a:defRPr>
      </a:lvl5pPr>
      <a:lvl6pPr marL="2095139" algn="l" defTabSz="838056" rtl="0" eaLnBrk="1" latinLnBrk="0" hangingPunct="1">
        <a:defRPr sz="1700" kern="1200">
          <a:solidFill>
            <a:schemeClr val="tx1"/>
          </a:solidFill>
          <a:latin typeface="+mn-lt"/>
          <a:ea typeface="+mn-ea"/>
          <a:cs typeface="+mn-cs"/>
        </a:defRPr>
      </a:lvl6pPr>
      <a:lvl7pPr marL="2514167" algn="l" defTabSz="838056" rtl="0" eaLnBrk="1" latinLnBrk="0" hangingPunct="1">
        <a:defRPr sz="1700" kern="1200">
          <a:solidFill>
            <a:schemeClr val="tx1"/>
          </a:solidFill>
          <a:latin typeface="+mn-lt"/>
          <a:ea typeface="+mn-ea"/>
          <a:cs typeface="+mn-cs"/>
        </a:defRPr>
      </a:lvl7pPr>
      <a:lvl8pPr marL="2933207" algn="l" defTabSz="838056" rtl="0" eaLnBrk="1" latinLnBrk="0" hangingPunct="1">
        <a:defRPr sz="1700" kern="1200">
          <a:solidFill>
            <a:schemeClr val="tx1"/>
          </a:solidFill>
          <a:latin typeface="+mn-lt"/>
          <a:ea typeface="+mn-ea"/>
          <a:cs typeface="+mn-cs"/>
        </a:defRPr>
      </a:lvl8pPr>
      <a:lvl9pPr marL="3352223" algn="l" defTabSz="838056"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3"/>
          <p:cNvSpPr>
            <a:spLocks noGrp="1" noChangeArrowheads="1"/>
          </p:cNvSpPr>
          <p:nvPr>
            <p:ph type="title"/>
          </p:nvPr>
        </p:nvSpPr>
        <p:spPr bwMode="auto">
          <a:xfrm>
            <a:off x="498477" y="367904"/>
            <a:ext cx="8231188" cy="857250"/>
          </a:xfrm>
          <a:prstGeom prst="rect">
            <a:avLst/>
          </a:prstGeom>
          <a:noFill/>
          <a:ln w="9525">
            <a:noFill/>
            <a:miter lim="800000"/>
            <a:headEnd/>
            <a:tailEnd/>
          </a:ln>
        </p:spPr>
        <p:txBody>
          <a:bodyPr vert="horz" wrap="square" lIns="93130" tIns="46564" rIns="93130" bIns="46564" numCol="1" anchor="ctr" anchorCtr="0" compatLnSpc="1">
            <a:prstTxWarp prst="textNoShape">
              <a:avLst/>
            </a:prstTxWarp>
          </a:bodyPr>
          <a:lstStyle/>
          <a:p>
            <a:pPr lvl="0"/>
            <a:r>
              <a:rPr lang="en-GB"/>
              <a:t>Click to edit Master title style</a:t>
            </a:r>
            <a:endParaRPr lang="en-US"/>
          </a:p>
        </p:txBody>
      </p:sp>
      <p:sp>
        <p:nvSpPr>
          <p:cNvPr id="3075" name="Rectangle 4"/>
          <p:cNvSpPr>
            <a:spLocks noGrp="1" noChangeArrowheads="1"/>
          </p:cNvSpPr>
          <p:nvPr>
            <p:ph type="body" idx="1"/>
          </p:nvPr>
        </p:nvSpPr>
        <p:spPr bwMode="auto">
          <a:xfrm>
            <a:off x="498477" y="1163242"/>
            <a:ext cx="8231188" cy="3394472"/>
          </a:xfrm>
          <a:prstGeom prst="rect">
            <a:avLst/>
          </a:prstGeom>
          <a:noFill/>
          <a:ln w="9525">
            <a:noFill/>
            <a:miter lim="800000"/>
            <a:headEnd/>
            <a:tailEnd/>
          </a:ln>
        </p:spPr>
        <p:txBody>
          <a:bodyPr vert="horz" wrap="square" lIns="93130" tIns="46564" rIns="93130" bIns="46564"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1751" name="Text Box 7"/>
          <p:cNvSpPr txBox="1">
            <a:spLocks noChangeArrowheads="1"/>
          </p:cNvSpPr>
          <p:nvPr/>
        </p:nvSpPr>
        <p:spPr bwMode="auto">
          <a:xfrm>
            <a:off x="8243889" y="4574467"/>
            <a:ext cx="576262" cy="325027"/>
          </a:xfrm>
          <a:prstGeom prst="rect">
            <a:avLst/>
          </a:prstGeom>
          <a:noFill/>
          <a:ln w="9525">
            <a:noFill/>
            <a:miter lim="800000"/>
            <a:headEnd/>
            <a:tailEnd/>
          </a:ln>
          <a:effectLst/>
        </p:spPr>
        <p:txBody>
          <a:bodyPr lIns="93130" tIns="46564" rIns="93130" bIns="46564">
            <a:spAutoFit/>
          </a:bodyPr>
          <a:lstStyle>
            <a:lvl1pPr defTabSz="933450" eaLnBrk="0" hangingPunct="0">
              <a:defRPr sz="2400">
                <a:solidFill>
                  <a:schemeClr val="tx1"/>
                </a:solidFill>
                <a:latin typeface="Arial" pitchFamily="34" charset="0"/>
                <a:cs typeface="Arial" pitchFamily="34" charset="0"/>
              </a:defRPr>
            </a:lvl1pPr>
            <a:lvl2pPr marL="37931725" indent="-37474525" defTabSz="933450" eaLnBrk="0" hangingPunct="0">
              <a:defRPr sz="2400">
                <a:solidFill>
                  <a:schemeClr val="tx1"/>
                </a:solidFill>
                <a:latin typeface="Arial" pitchFamily="34" charset="0"/>
                <a:cs typeface="Arial" pitchFamily="34" charset="0"/>
              </a:defRPr>
            </a:lvl2pPr>
            <a:lvl3pPr eaLnBrk="0" hangingPunct="0">
              <a:defRPr sz="2400">
                <a:solidFill>
                  <a:schemeClr val="tx1"/>
                </a:solidFill>
                <a:latin typeface="Arial" pitchFamily="34" charset="0"/>
                <a:cs typeface="Arial" pitchFamily="34" charset="0"/>
              </a:defRPr>
            </a:lvl3pPr>
            <a:lvl4pPr eaLnBrk="0" hangingPunct="0">
              <a:defRPr sz="2400">
                <a:solidFill>
                  <a:schemeClr val="tx1"/>
                </a:solidFill>
                <a:latin typeface="Arial" pitchFamily="34" charset="0"/>
                <a:cs typeface="Arial" pitchFamily="34" charset="0"/>
              </a:defRPr>
            </a:lvl4pPr>
            <a:lvl5pPr eaLnBrk="0" hangingPunct="0">
              <a:defRPr sz="2400">
                <a:solidFill>
                  <a:schemeClr val="tx1"/>
                </a:solidFill>
                <a:latin typeface="Arial" pitchFamily="34" charset="0"/>
                <a:cs typeface="Arial" pitchFamily="34" charset="0"/>
              </a:defRPr>
            </a:lvl5pPr>
            <a:lvl6pPr marL="457200" eaLnBrk="0" fontAlgn="base" hangingPunct="0">
              <a:spcBef>
                <a:spcPct val="0"/>
              </a:spcBef>
              <a:spcAft>
                <a:spcPct val="0"/>
              </a:spcAft>
              <a:defRPr sz="2400">
                <a:solidFill>
                  <a:schemeClr val="tx1"/>
                </a:solidFill>
                <a:latin typeface="Arial" pitchFamily="34" charset="0"/>
                <a:cs typeface="Arial" pitchFamily="34" charset="0"/>
              </a:defRPr>
            </a:lvl6pPr>
            <a:lvl7pPr marL="914400" eaLnBrk="0" fontAlgn="base" hangingPunct="0">
              <a:spcBef>
                <a:spcPct val="0"/>
              </a:spcBef>
              <a:spcAft>
                <a:spcPct val="0"/>
              </a:spcAft>
              <a:defRPr sz="2400">
                <a:solidFill>
                  <a:schemeClr val="tx1"/>
                </a:solidFill>
                <a:latin typeface="Arial" pitchFamily="34" charset="0"/>
                <a:cs typeface="Arial" pitchFamily="34" charset="0"/>
              </a:defRPr>
            </a:lvl7pPr>
            <a:lvl8pPr marL="1371600" eaLnBrk="0" fontAlgn="base" hangingPunct="0">
              <a:spcBef>
                <a:spcPct val="0"/>
              </a:spcBef>
              <a:spcAft>
                <a:spcPct val="0"/>
              </a:spcAft>
              <a:defRPr sz="2400">
                <a:solidFill>
                  <a:schemeClr val="tx1"/>
                </a:solidFill>
                <a:latin typeface="Arial" pitchFamily="34" charset="0"/>
                <a:cs typeface="Arial" pitchFamily="34" charset="0"/>
              </a:defRPr>
            </a:lvl8pPr>
            <a:lvl9pPr marL="18288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hangingPunct="1">
              <a:defRPr/>
            </a:pPr>
            <a:fld id="{27EBB321-7D5E-485A-8554-5B0E0EEA29A2}" type="slidenum">
              <a:rPr lang="en-US" sz="1500" smtClean="0">
                <a:solidFill>
                  <a:srgbClr val="000000"/>
                </a:solidFill>
                <a:latin typeface="Calibri" pitchFamily="34" charset="0"/>
              </a:rPr>
              <a:pPr eaLnBrk="1" hangingPunct="1">
                <a:defRPr/>
              </a:pPr>
              <a:t>‹#›</a:t>
            </a:fld>
            <a:endParaRPr lang="en-US" sz="1500">
              <a:solidFill>
                <a:srgbClr val="000000"/>
              </a:solidFill>
              <a:latin typeface="Calibri" pitchFamily="34" charset="0"/>
            </a:endParaRPr>
          </a:p>
        </p:txBody>
      </p:sp>
      <p:pic>
        <p:nvPicPr>
          <p:cNvPr id="3077" name="Picture 11" descr="tag"/>
          <p:cNvPicPr>
            <a:picLocks noChangeAspect="1" noChangeArrowheads="1"/>
          </p:cNvPicPr>
          <p:nvPr/>
        </p:nvPicPr>
        <p:blipFill>
          <a:blip r:embed="rId13"/>
          <a:srcRect/>
          <a:stretch>
            <a:fillRect/>
          </a:stretch>
        </p:blipFill>
        <p:spPr bwMode="auto">
          <a:xfrm>
            <a:off x="611188" y="4624388"/>
            <a:ext cx="2654300" cy="114300"/>
          </a:xfrm>
          <a:prstGeom prst="rect">
            <a:avLst/>
          </a:prstGeom>
          <a:noFill/>
          <a:ln w="9525">
            <a:noFill/>
            <a:miter lim="800000"/>
            <a:headEnd/>
            <a:tailEnd/>
          </a:ln>
        </p:spPr>
      </p:pic>
      <p:sp>
        <p:nvSpPr>
          <p:cNvPr id="3078" name="Line 6"/>
          <p:cNvSpPr>
            <a:spLocks noChangeShapeType="1"/>
          </p:cNvSpPr>
          <p:nvPr/>
        </p:nvSpPr>
        <p:spPr bwMode="auto">
          <a:xfrm>
            <a:off x="606425" y="4557713"/>
            <a:ext cx="8123238" cy="0"/>
          </a:xfrm>
          <a:prstGeom prst="line">
            <a:avLst/>
          </a:prstGeom>
          <a:noFill/>
          <a:ln w="9525">
            <a:solidFill>
              <a:schemeClr val="bg2"/>
            </a:solidFill>
            <a:round/>
            <a:headEnd/>
            <a:tailEnd/>
          </a:ln>
        </p:spPr>
        <p:txBody>
          <a:bodyPr lIns="91284" tIns="45642" rIns="91284" bIns="45642"/>
          <a:lstStyle/>
          <a:p>
            <a:pPr>
              <a:defRPr/>
            </a:pPr>
            <a:endParaRPr lang="en-GB"/>
          </a:p>
        </p:txBody>
      </p:sp>
    </p:spTree>
  </p:cSld>
  <p:clrMap bg1="lt1" tx1="dk1" bg2="lt2" tx2="dk2" accent1="accent1" accent2="accent2" accent3="accent3" accent4="accent4" accent5="accent5" accent6="accent6" hlink="hlink" folHlink="folHlink"/>
  <p:sldLayoutIdLst>
    <p:sldLayoutId id="2147484267" r:id="rId1"/>
    <p:sldLayoutId id="2147484268" r:id="rId2"/>
    <p:sldLayoutId id="2147484269" r:id="rId3"/>
    <p:sldLayoutId id="2147484270" r:id="rId4"/>
    <p:sldLayoutId id="2147484271" r:id="rId5"/>
    <p:sldLayoutId id="2147484272" r:id="rId6"/>
    <p:sldLayoutId id="2147484273" r:id="rId7"/>
    <p:sldLayoutId id="2147484274" r:id="rId8"/>
    <p:sldLayoutId id="2147484275" r:id="rId9"/>
    <p:sldLayoutId id="2147484276" r:id="rId10"/>
    <p:sldLayoutId id="2147484277" r:id="rId11"/>
  </p:sldLayoutIdLst>
  <p:transition/>
  <p:txStyles>
    <p:titleStyle>
      <a:lvl1pPr algn="l" defTabSz="931656" rtl="0" eaLnBrk="0" fontAlgn="base" hangingPunct="0">
        <a:spcBef>
          <a:spcPct val="0"/>
        </a:spcBef>
        <a:spcAft>
          <a:spcPct val="0"/>
        </a:spcAft>
        <a:defRPr sz="3000" b="1">
          <a:solidFill>
            <a:srgbClr val="173551"/>
          </a:solidFill>
          <a:latin typeface="+mj-lt"/>
          <a:ea typeface="ＭＳ Ｐゴシック" pitchFamily="34" charset="-128"/>
          <a:cs typeface="MS PGothic" pitchFamily="34" charset="-128"/>
        </a:defRPr>
      </a:lvl1pPr>
      <a:lvl2pPr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cs typeface="MS PGothic" pitchFamily="34" charset="-128"/>
        </a:defRPr>
      </a:lvl2pPr>
      <a:lvl3pPr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cs typeface="MS PGothic" pitchFamily="34" charset="-128"/>
        </a:defRPr>
      </a:lvl3pPr>
      <a:lvl4pPr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cs typeface="MS PGothic" pitchFamily="34" charset="-128"/>
        </a:defRPr>
      </a:lvl4pPr>
      <a:lvl5pPr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cs typeface="MS PGothic" pitchFamily="34" charset="-128"/>
        </a:defRPr>
      </a:lvl5pPr>
      <a:lvl6pPr marL="456269" algn="l" defTabSz="931656" rtl="0" eaLnBrk="0" fontAlgn="base" hangingPunct="0">
        <a:spcBef>
          <a:spcPct val="0"/>
        </a:spcBef>
        <a:spcAft>
          <a:spcPct val="0"/>
        </a:spcAft>
        <a:defRPr sz="3000" b="1">
          <a:solidFill>
            <a:srgbClr val="173551"/>
          </a:solidFill>
          <a:latin typeface="Calibri" pitchFamily="34" charset="0"/>
          <a:ea typeface="MS PGothic" pitchFamily="34" charset="-128"/>
        </a:defRPr>
      </a:lvl6pPr>
      <a:lvl7pPr marL="912644" algn="l" defTabSz="931656" rtl="0" eaLnBrk="0" fontAlgn="base" hangingPunct="0">
        <a:spcBef>
          <a:spcPct val="0"/>
        </a:spcBef>
        <a:spcAft>
          <a:spcPct val="0"/>
        </a:spcAft>
        <a:defRPr sz="3000" b="1">
          <a:solidFill>
            <a:srgbClr val="173551"/>
          </a:solidFill>
          <a:latin typeface="Calibri" pitchFamily="34" charset="0"/>
          <a:ea typeface="MS PGothic" pitchFamily="34" charset="-128"/>
        </a:defRPr>
      </a:lvl7pPr>
      <a:lvl8pPr marL="1368948" algn="l" defTabSz="931656" rtl="0" eaLnBrk="0" fontAlgn="base" hangingPunct="0">
        <a:spcBef>
          <a:spcPct val="0"/>
        </a:spcBef>
        <a:spcAft>
          <a:spcPct val="0"/>
        </a:spcAft>
        <a:defRPr sz="3000" b="1">
          <a:solidFill>
            <a:srgbClr val="173551"/>
          </a:solidFill>
          <a:latin typeface="Calibri" pitchFamily="34" charset="0"/>
          <a:ea typeface="MS PGothic" pitchFamily="34" charset="-128"/>
        </a:defRPr>
      </a:lvl8pPr>
      <a:lvl9pPr marL="1825286" algn="l" defTabSz="931656" rtl="0" eaLnBrk="0" fontAlgn="base" hangingPunct="0">
        <a:spcBef>
          <a:spcPct val="0"/>
        </a:spcBef>
        <a:spcAft>
          <a:spcPct val="0"/>
        </a:spcAft>
        <a:defRPr sz="3000" b="1">
          <a:solidFill>
            <a:srgbClr val="173551"/>
          </a:solidFill>
          <a:latin typeface="Calibri" pitchFamily="34" charset="0"/>
          <a:ea typeface="MS PGothic" pitchFamily="34" charset="-128"/>
        </a:defRPr>
      </a:lvl9pPr>
    </p:titleStyle>
    <p:bodyStyle>
      <a:lvl1pPr marL="348548" indent="-348548" algn="l" defTabSz="931656" rtl="0" eaLnBrk="0" fontAlgn="base" hangingPunct="0">
        <a:spcBef>
          <a:spcPct val="20000"/>
        </a:spcBef>
        <a:spcAft>
          <a:spcPct val="0"/>
        </a:spcAft>
        <a:buChar char="•"/>
        <a:defRPr sz="2200">
          <a:solidFill>
            <a:schemeClr val="tx1"/>
          </a:solidFill>
          <a:latin typeface="+mn-lt"/>
          <a:ea typeface="ＭＳ Ｐゴシック" pitchFamily="34" charset="-128"/>
          <a:cs typeface="MS PGothic" pitchFamily="34" charset="-128"/>
        </a:defRPr>
      </a:lvl1pPr>
      <a:lvl2pPr marL="757343" indent="-291554" algn="l" defTabSz="931656" rtl="0" eaLnBrk="0" fontAlgn="base" hangingPunct="0">
        <a:spcBef>
          <a:spcPct val="20000"/>
        </a:spcBef>
        <a:spcAft>
          <a:spcPct val="0"/>
        </a:spcAft>
        <a:buChar char="–"/>
        <a:defRPr sz="2200">
          <a:solidFill>
            <a:schemeClr val="tx1"/>
          </a:solidFill>
          <a:latin typeface="+mn-lt"/>
          <a:ea typeface="ＭＳ Ｐゴシック" pitchFamily="34" charset="-128"/>
          <a:cs typeface="MS PGothic" pitchFamily="34" charset="-128"/>
        </a:defRPr>
      </a:lvl2pPr>
      <a:lvl3pPr marL="1164551" indent="-232895" algn="l" defTabSz="931656" rtl="0" eaLnBrk="0" fontAlgn="base" hangingPunct="0">
        <a:spcBef>
          <a:spcPct val="20000"/>
        </a:spcBef>
        <a:spcAft>
          <a:spcPct val="0"/>
        </a:spcAft>
        <a:buChar char="•"/>
        <a:defRPr sz="2200">
          <a:solidFill>
            <a:schemeClr val="tx1"/>
          </a:solidFill>
          <a:latin typeface="+mn-lt"/>
          <a:ea typeface="ＭＳ Ｐゴシック" pitchFamily="34" charset="-128"/>
          <a:cs typeface="MS PGothic" pitchFamily="34" charset="-128"/>
        </a:defRPr>
      </a:lvl3pPr>
      <a:lvl4pPr marL="1628789" indent="-231308" algn="l" defTabSz="931656" rtl="0" eaLnBrk="0" fontAlgn="base" hangingPunct="0">
        <a:spcBef>
          <a:spcPct val="20000"/>
        </a:spcBef>
        <a:spcAft>
          <a:spcPct val="0"/>
        </a:spcAft>
        <a:buChar char="–"/>
        <a:defRPr sz="2200">
          <a:solidFill>
            <a:schemeClr val="tx1"/>
          </a:solidFill>
          <a:latin typeface="+mn-lt"/>
          <a:ea typeface="ＭＳ Ｐゴシック" pitchFamily="34" charset="-128"/>
          <a:cs typeface="MS PGothic" pitchFamily="34" charset="-128"/>
        </a:defRPr>
      </a:lvl4pPr>
      <a:lvl5pPr marL="2094585" indent="-232895" algn="l" defTabSz="931656" rtl="0" eaLnBrk="0" fontAlgn="base" hangingPunct="0">
        <a:spcBef>
          <a:spcPct val="20000"/>
        </a:spcBef>
        <a:spcAft>
          <a:spcPct val="0"/>
        </a:spcAft>
        <a:buChar char="»"/>
        <a:defRPr sz="2200">
          <a:solidFill>
            <a:schemeClr val="tx1"/>
          </a:solidFill>
          <a:latin typeface="+mn-lt"/>
          <a:ea typeface="ＭＳ Ｐゴシック" pitchFamily="34" charset="-128"/>
          <a:cs typeface="MS PGothic" pitchFamily="34" charset="-128"/>
        </a:defRPr>
      </a:lvl5pPr>
      <a:lvl6pPr marL="2550947" indent="-232895" algn="l" defTabSz="931656" rtl="0" eaLnBrk="0" fontAlgn="base" hangingPunct="0">
        <a:spcBef>
          <a:spcPct val="20000"/>
        </a:spcBef>
        <a:spcAft>
          <a:spcPct val="0"/>
        </a:spcAft>
        <a:buChar char="»"/>
        <a:defRPr sz="2200">
          <a:solidFill>
            <a:schemeClr val="tx1"/>
          </a:solidFill>
          <a:latin typeface="+mn-lt"/>
          <a:ea typeface="+mn-ea"/>
        </a:defRPr>
      </a:lvl6pPr>
      <a:lvl7pPr marL="3007225" indent="-232895" algn="l" defTabSz="931656" rtl="0" eaLnBrk="0" fontAlgn="base" hangingPunct="0">
        <a:spcBef>
          <a:spcPct val="20000"/>
        </a:spcBef>
        <a:spcAft>
          <a:spcPct val="0"/>
        </a:spcAft>
        <a:buChar char="»"/>
        <a:defRPr sz="2200">
          <a:solidFill>
            <a:schemeClr val="tx1"/>
          </a:solidFill>
          <a:latin typeface="+mn-lt"/>
          <a:ea typeface="+mn-ea"/>
        </a:defRPr>
      </a:lvl7pPr>
      <a:lvl8pPr marL="3463490" indent="-232895" algn="l" defTabSz="931656" rtl="0" eaLnBrk="0" fontAlgn="base" hangingPunct="0">
        <a:spcBef>
          <a:spcPct val="20000"/>
        </a:spcBef>
        <a:spcAft>
          <a:spcPct val="0"/>
        </a:spcAft>
        <a:buChar char="»"/>
        <a:defRPr sz="2200">
          <a:solidFill>
            <a:schemeClr val="tx1"/>
          </a:solidFill>
          <a:latin typeface="+mn-lt"/>
          <a:ea typeface="+mn-ea"/>
        </a:defRPr>
      </a:lvl8pPr>
      <a:lvl9pPr marL="3919831" indent="-232895" algn="l" defTabSz="931656" rtl="0" eaLnBrk="0" fontAlgn="base" hangingPunct="0">
        <a:spcBef>
          <a:spcPct val="20000"/>
        </a:spcBef>
        <a:spcAft>
          <a:spcPct val="0"/>
        </a:spcAft>
        <a:buChar char="»"/>
        <a:defRPr sz="2200">
          <a:solidFill>
            <a:schemeClr val="tx1"/>
          </a:solidFill>
          <a:latin typeface="+mn-lt"/>
          <a:ea typeface="+mn-ea"/>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8546" name="Group 2"/>
          <p:cNvGrpSpPr>
            <a:grpSpLocks/>
          </p:cNvGrpSpPr>
          <p:nvPr/>
        </p:nvGrpSpPr>
        <p:grpSpPr bwMode="auto">
          <a:xfrm>
            <a:off x="0" y="2"/>
            <a:ext cx="9144000" cy="4562475"/>
            <a:chOff x="0" y="0"/>
            <a:chExt cx="5760" cy="3832"/>
          </a:xfrm>
        </p:grpSpPr>
        <p:grpSp>
          <p:nvGrpSpPr>
            <p:cNvPr id="108547" name="Group 3"/>
            <p:cNvGrpSpPr>
              <a:grpSpLocks/>
            </p:cNvGrpSpPr>
            <p:nvPr userDrawn="1"/>
          </p:nvGrpSpPr>
          <p:grpSpPr bwMode="auto">
            <a:xfrm>
              <a:off x="0" y="780"/>
              <a:ext cx="4816" cy="3052"/>
              <a:chOff x="0" y="780"/>
              <a:chExt cx="4816" cy="3052"/>
            </a:xfrm>
          </p:grpSpPr>
          <p:sp>
            <p:nvSpPr>
              <p:cNvPr id="108548" name="Rectangle 4"/>
              <p:cNvSpPr>
                <a:spLocks noChangeArrowheads="1"/>
              </p:cNvSpPr>
              <p:nvPr userDrawn="1"/>
            </p:nvSpPr>
            <p:spPr bwMode="auto">
              <a:xfrm>
                <a:off x="0" y="780"/>
                <a:ext cx="4816" cy="708"/>
              </a:xfrm>
              <a:prstGeom prst="rect">
                <a:avLst/>
              </a:prstGeom>
              <a:solidFill>
                <a:srgbClr val="88A39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2644"/>
                <a:endParaRPr lang="en-GB" sz="1800">
                  <a:solidFill>
                    <a:srgbClr val="000000"/>
                  </a:solidFill>
                  <a:latin typeface="Gill Sans" pitchFamily="34" charset="0"/>
                  <a:cs typeface="+mn-cs"/>
                </a:endParaRPr>
              </a:p>
            </p:txBody>
          </p:sp>
          <p:sp>
            <p:nvSpPr>
              <p:cNvPr id="108549" name="Rectangle 5"/>
              <p:cNvSpPr>
                <a:spLocks noChangeArrowheads="1"/>
              </p:cNvSpPr>
              <p:nvPr userDrawn="1"/>
            </p:nvSpPr>
            <p:spPr bwMode="auto">
              <a:xfrm rot="5400000">
                <a:off x="2876" y="1892"/>
                <a:ext cx="3052" cy="828"/>
              </a:xfrm>
              <a:prstGeom prst="rect">
                <a:avLst/>
              </a:prstGeom>
              <a:solidFill>
                <a:srgbClr val="88A39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2644"/>
                <a:endParaRPr lang="en-GB" sz="1800">
                  <a:solidFill>
                    <a:srgbClr val="000000"/>
                  </a:solidFill>
                  <a:latin typeface="Gill Sans" pitchFamily="34" charset="0"/>
                  <a:cs typeface="+mn-cs"/>
                </a:endParaRPr>
              </a:p>
            </p:txBody>
          </p:sp>
        </p:grpSp>
        <p:grpSp>
          <p:nvGrpSpPr>
            <p:cNvPr id="108550" name="Group 6"/>
            <p:cNvGrpSpPr>
              <a:grpSpLocks/>
            </p:cNvGrpSpPr>
            <p:nvPr userDrawn="1"/>
          </p:nvGrpSpPr>
          <p:grpSpPr bwMode="auto">
            <a:xfrm>
              <a:off x="0" y="0"/>
              <a:ext cx="5760" cy="3832"/>
              <a:chOff x="0" y="0"/>
              <a:chExt cx="5760" cy="3832"/>
            </a:xfrm>
          </p:grpSpPr>
          <p:sp>
            <p:nvSpPr>
              <p:cNvPr id="108551" name="Rectangle 7"/>
              <p:cNvSpPr>
                <a:spLocks noChangeArrowheads="1"/>
              </p:cNvSpPr>
              <p:nvPr userDrawn="1"/>
            </p:nvSpPr>
            <p:spPr bwMode="auto">
              <a:xfrm>
                <a:off x="0" y="0"/>
                <a:ext cx="5760" cy="664"/>
              </a:xfrm>
              <a:prstGeom prst="rect">
                <a:avLst/>
              </a:prstGeom>
              <a:solidFill>
                <a:srgbClr val="284E3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2644"/>
                <a:endParaRPr lang="en-GB" sz="1800">
                  <a:solidFill>
                    <a:srgbClr val="000000"/>
                  </a:solidFill>
                  <a:latin typeface="Gill Sans" pitchFamily="34" charset="0"/>
                  <a:cs typeface="+mn-cs"/>
                </a:endParaRPr>
              </a:p>
            </p:txBody>
          </p:sp>
          <p:sp>
            <p:nvSpPr>
              <p:cNvPr id="108552" name="Rectangle 8"/>
              <p:cNvSpPr>
                <a:spLocks noChangeArrowheads="1"/>
              </p:cNvSpPr>
              <p:nvPr userDrawn="1"/>
            </p:nvSpPr>
            <p:spPr bwMode="auto">
              <a:xfrm>
                <a:off x="4936" y="0"/>
                <a:ext cx="824" cy="3832"/>
              </a:xfrm>
              <a:prstGeom prst="rect">
                <a:avLst/>
              </a:prstGeom>
              <a:solidFill>
                <a:srgbClr val="284E3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2644"/>
                <a:endParaRPr lang="en-GB" sz="1800">
                  <a:solidFill>
                    <a:srgbClr val="000000"/>
                  </a:solidFill>
                  <a:latin typeface="Gill Sans" pitchFamily="34" charset="0"/>
                  <a:cs typeface="+mn-cs"/>
                </a:endParaRPr>
              </a:p>
            </p:txBody>
          </p:sp>
        </p:grpSp>
      </p:grpSp>
      <p:sp>
        <p:nvSpPr>
          <p:cNvPr id="108553" name="Rectangle 4"/>
          <p:cNvSpPr>
            <a:spLocks noGrp="1" noChangeArrowheads="1"/>
          </p:cNvSpPr>
          <p:nvPr>
            <p:ph type="title"/>
          </p:nvPr>
        </p:nvSpPr>
        <p:spPr bwMode="auto">
          <a:xfrm>
            <a:off x="184152" y="2010129"/>
            <a:ext cx="6146800" cy="1680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a:t>Click to edit Master title style</a:t>
            </a:r>
          </a:p>
        </p:txBody>
      </p:sp>
      <p:sp>
        <p:nvSpPr>
          <p:cNvPr id="108554" name="Rectangle 5"/>
          <p:cNvSpPr>
            <a:spLocks noGrp="1" noChangeArrowheads="1"/>
          </p:cNvSpPr>
          <p:nvPr>
            <p:ph type="body" idx="1"/>
          </p:nvPr>
        </p:nvSpPr>
        <p:spPr bwMode="auto">
          <a:xfrm>
            <a:off x="184152" y="3627068"/>
            <a:ext cx="61468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a:t>Click to edit Master text styles</a:t>
            </a:r>
          </a:p>
        </p:txBody>
      </p:sp>
      <p:grpSp>
        <p:nvGrpSpPr>
          <p:cNvPr id="108555" name="Group 11"/>
          <p:cNvGrpSpPr>
            <a:grpSpLocks/>
          </p:cNvGrpSpPr>
          <p:nvPr/>
        </p:nvGrpSpPr>
        <p:grpSpPr bwMode="auto">
          <a:xfrm>
            <a:off x="7464426" y="4731553"/>
            <a:ext cx="1403350" cy="251222"/>
            <a:chOff x="5760" y="4880"/>
            <a:chExt cx="2270" cy="532"/>
          </a:xfrm>
        </p:grpSpPr>
        <p:sp>
          <p:nvSpPr>
            <p:cNvPr id="108556" name="Freeform 12"/>
            <p:cNvSpPr>
              <a:spLocks/>
            </p:cNvSpPr>
            <p:nvPr userDrawn="1"/>
          </p:nvSpPr>
          <p:spPr bwMode="auto">
            <a:xfrm>
              <a:off x="5760" y="4880"/>
              <a:ext cx="136" cy="532"/>
            </a:xfrm>
            <a:custGeom>
              <a:avLst/>
              <a:gdLst>
                <a:gd name="T0" fmla="*/ 157 w 271"/>
                <a:gd name="T1" fmla="*/ 0 h 1064"/>
                <a:gd name="T2" fmla="*/ 271 w 271"/>
                <a:gd name="T3" fmla="*/ 113 h 1064"/>
                <a:gd name="T4" fmla="*/ 271 w 271"/>
                <a:gd name="T5" fmla="*/ 817 h 1064"/>
                <a:gd name="T6" fmla="*/ 270 w 271"/>
                <a:gd name="T7" fmla="*/ 857 h 1064"/>
                <a:gd name="T8" fmla="*/ 264 w 271"/>
                <a:gd name="T9" fmla="*/ 896 h 1064"/>
                <a:gd name="T10" fmla="*/ 256 w 271"/>
                <a:gd name="T11" fmla="*/ 932 h 1064"/>
                <a:gd name="T12" fmla="*/ 242 w 271"/>
                <a:gd name="T13" fmla="*/ 963 h 1064"/>
                <a:gd name="T14" fmla="*/ 226 w 271"/>
                <a:gd name="T15" fmla="*/ 992 h 1064"/>
                <a:gd name="T16" fmla="*/ 205 w 271"/>
                <a:gd name="T17" fmla="*/ 1017 h 1064"/>
                <a:gd name="T18" fmla="*/ 179 w 271"/>
                <a:gd name="T19" fmla="*/ 1038 h 1064"/>
                <a:gd name="T20" fmla="*/ 149 w 271"/>
                <a:gd name="T21" fmla="*/ 1054 h 1064"/>
                <a:gd name="T22" fmla="*/ 113 w 271"/>
                <a:gd name="T23" fmla="*/ 1064 h 1064"/>
                <a:gd name="T24" fmla="*/ 0 w 271"/>
                <a:gd name="T25" fmla="*/ 959 h 1064"/>
                <a:gd name="T26" fmla="*/ 36 w 271"/>
                <a:gd name="T27" fmla="*/ 959 h 1064"/>
                <a:gd name="T28" fmla="*/ 66 w 271"/>
                <a:gd name="T29" fmla="*/ 957 h 1064"/>
                <a:gd name="T30" fmla="*/ 91 w 271"/>
                <a:gd name="T31" fmla="*/ 952 h 1064"/>
                <a:gd name="T32" fmla="*/ 112 w 271"/>
                <a:gd name="T33" fmla="*/ 944 h 1064"/>
                <a:gd name="T34" fmla="*/ 127 w 271"/>
                <a:gd name="T35" fmla="*/ 932 h 1064"/>
                <a:gd name="T36" fmla="*/ 139 w 271"/>
                <a:gd name="T37" fmla="*/ 917 h 1064"/>
                <a:gd name="T38" fmla="*/ 147 w 271"/>
                <a:gd name="T39" fmla="*/ 897 h 1064"/>
                <a:gd name="T40" fmla="*/ 153 w 271"/>
                <a:gd name="T41" fmla="*/ 875 h 1064"/>
                <a:gd name="T42" fmla="*/ 156 w 271"/>
                <a:gd name="T43" fmla="*/ 849 h 1064"/>
                <a:gd name="T44" fmla="*/ 157 w 271"/>
                <a:gd name="T45" fmla="*/ 819 h 1064"/>
                <a:gd name="T46" fmla="*/ 157 w 271"/>
                <a:gd name="T47" fmla="*/ 786 h 1064"/>
                <a:gd name="T48" fmla="*/ 157 w 271"/>
                <a:gd name="T49" fmla="*/ 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1" h="1064">
                  <a:moveTo>
                    <a:pt x="157" y="0"/>
                  </a:moveTo>
                  <a:lnTo>
                    <a:pt x="271" y="113"/>
                  </a:lnTo>
                  <a:lnTo>
                    <a:pt x="271" y="817"/>
                  </a:lnTo>
                  <a:lnTo>
                    <a:pt x="270" y="857"/>
                  </a:lnTo>
                  <a:lnTo>
                    <a:pt x="264" y="896"/>
                  </a:lnTo>
                  <a:lnTo>
                    <a:pt x="256" y="932"/>
                  </a:lnTo>
                  <a:lnTo>
                    <a:pt x="242" y="963"/>
                  </a:lnTo>
                  <a:lnTo>
                    <a:pt x="226" y="992"/>
                  </a:lnTo>
                  <a:lnTo>
                    <a:pt x="205" y="1017"/>
                  </a:lnTo>
                  <a:lnTo>
                    <a:pt x="179" y="1038"/>
                  </a:lnTo>
                  <a:lnTo>
                    <a:pt x="149" y="1054"/>
                  </a:lnTo>
                  <a:lnTo>
                    <a:pt x="113" y="1064"/>
                  </a:lnTo>
                  <a:lnTo>
                    <a:pt x="0" y="959"/>
                  </a:lnTo>
                  <a:lnTo>
                    <a:pt x="36" y="959"/>
                  </a:lnTo>
                  <a:lnTo>
                    <a:pt x="66" y="957"/>
                  </a:lnTo>
                  <a:lnTo>
                    <a:pt x="91" y="952"/>
                  </a:lnTo>
                  <a:lnTo>
                    <a:pt x="112" y="944"/>
                  </a:lnTo>
                  <a:lnTo>
                    <a:pt x="127" y="932"/>
                  </a:lnTo>
                  <a:lnTo>
                    <a:pt x="139" y="917"/>
                  </a:lnTo>
                  <a:lnTo>
                    <a:pt x="147" y="897"/>
                  </a:lnTo>
                  <a:lnTo>
                    <a:pt x="153" y="875"/>
                  </a:lnTo>
                  <a:lnTo>
                    <a:pt x="156" y="849"/>
                  </a:lnTo>
                  <a:lnTo>
                    <a:pt x="157" y="819"/>
                  </a:lnTo>
                  <a:lnTo>
                    <a:pt x="157" y="786"/>
                  </a:lnTo>
                  <a:lnTo>
                    <a:pt x="157"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8557" name="Freeform 13"/>
            <p:cNvSpPr>
              <a:spLocks noEditPoints="1"/>
            </p:cNvSpPr>
            <p:nvPr userDrawn="1"/>
          </p:nvSpPr>
          <p:spPr bwMode="auto">
            <a:xfrm>
              <a:off x="5940" y="5028"/>
              <a:ext cx="270" cy="262"/>
            </a:xfrm>
            <a:custGeom>
              <a:avLst/>
              <a:gdLst>
                <a:gd name="T0" fmla="*/ 232 w 540"/>
                <a:gd name="T1" fmla="*/ 99 h 525"/>
                <a:gd name="T2" fmla="*/ 176 w 540"/>
                <a:gd name="T3" fmla="*/ 123 h 525"/>
                <a:gd name="T4" fmla="*/ 133 w 540"/>
                <a:gd name="T5" fmla="*/ 165 h 525"/>
                <a:gd name="T6" fmla="*/ 111 w 540"/>
                <a:gd name="T7" fmla="*/ 223 h 525"/>
                <a:gd name="T8" fmla="*/ 111 w 540"/>
                <a:gd name="T9" fmla="*/ 295 h 525"/>
                <a:gd name="T10" fmla="*/ 133 w 540"/>
                <a:gd name="T11" fmla="*/ 357 h 525"/>
                <a:gd name="T12" fmla="*/ 175 w 540"/>
                <a:gd name="T13" fmla="*/ 402 h 525"/>
                <a:gd name="T14" fmla="*/ 232 w 540"/>
                <a:gd name="T15" fmla="*/ 426 h 525"/>
                <a:gd name="T16" fmla="*/ 303 w 540"/>
                <a:gd name="T17" fmla="*/ 427 h 525"/>
                <a:gd name="T18" fmla="*/ 363 w 540"/>
                <a:gd name="T19" fmla="*/ 404 h 525"/>
                <a:gd name="T20" fmla="*/ 406 w 540"/>
                <a:gd name="T21" fmla="*/ 360 h 525"/>
                <a:gd name="T22" fmla="*/ 429 w 540"/>
                <a:gd name="T23" fmla="*/ 296 h 525"/>
                <a:gd name="T24" fmla="*/ 429 w 540"/>
                <a:gd name="T25" fmla="*/ 225 h 525"/>
                <a:gd name="T26" fmla="*/ 405 w 540"/>
                <a:gd name="T27" fmla="*/ 165 h 525"/>
                <a:gd name="T28" fmla="*/ 361 w 540"/>
                <a:gd name="T29" fmla="*/ 123 h 525"/>
                <a:gd name="T30" fmla="*/ 300 w 540"/>
                <a:gd name="T31" fmla="*/ 99 h 525"/>
                <a:gd name="T32" fmla="*/ 267 w 540"/>
                <a:gd name="T33" fmla="*/ 0 h 525"/>
                <a:gd name="T34" fmla="*/ 356 w 540"/>
                <a:gd name="T35" fmla="*/ 13 h 525"/>
                <a:gd name="T36" fmla="*/ 431 w 540"/>
                <a:gd name="T37" fmla="*/ 47 h 525"/>
                <a:gd name="T38" fmla="*/ 490 w 540"/>
                <a:gd name="T39" fmla="*/ 102 h 525"/>
                <a:gd name="T40" fmla="*/ 527 w 540"/>
                <a:gd name="T41" fmla="*/ 174 h 525"/>
                <a:gd name="T42" fmla="*/ 540 w 540"/>
                <a:gd name="T43" fmla="*/ 258 h 525"/>
                <a:gd name="T44" fmla="*/ 527 w 540"/>
                <a:gd name="T45" fmla="*/ 347 h 525"/>
                <a:gd name="T46" fmla="*/ 490 w 540"/>
                <a:gd name="T47" fmla="*/ 420 h 525"/>
                <a:gd name="T48" fmla="*/ 432 w 540"/>
                <a:gd name="T49" fmla="*/ 477 h 525"/>
                <a:gd name="T50" fmla="*/ 358 w 540"/>
                <a:gd name="T51" fmla="*/ 513 h 525"/>
                <a:gd name="T52" fmla="*/ 267 w 540"/>
                <a:gd name="T53" fmla="*/ 525 h 525"/>
                <a:gd name="T54" fmla="*/ 179 w 540"/>
                <a:gd name="T55" fmla="*/ 513 h 525"/>
                <a:gd name="T56" fmla="*/ 106 w 540"/>
                <a:gd name="T57" fmla="*/ 476 h 525"/>
                <a:gd name="T58" fmla="*/ 49 w 540"/>
                <a:gd name="T59" fmla="*/ 419 h 525"/>
                <a:gd name="T60" fmla="*/ 14 w 540"/>
                <a:gd name="T61" fmla="*/ 345 h 525"/>
                <a:gd name="T62" fmla="*/ 0 w 540"/>
                <a:gd name="T63" fmla="*/ 258 h 525"/>
                <a:gd name="T64" fmla="*/ 16 w 540"/>
                <a:gd name="T65" fmla="*/ 167 h 525"/>
                <a:gd name="T66" fmla="*/ 62 w 540"/>
                <a:gd name="T67" fmla="*/ 91 h 525"/>
                <a:gd name="T68" fmla="*/ 131 w 540"/>
                <a:gd name="T69" fmla="*/ 35 h 525"/>
                <a:gd name="T70" fmla="*/ 217 w 540"/>
                <a:gd name="T71" fmla="*/ 4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0" h="525">
                  <a:moveTo>
                    <a:pt x="266" y="95"/>
                  </a:moveTo>
                  <a:lnTo>
                    <a:pt x="232" y="99"/>
                  </a:lnTo>
                  <a:lnTo>
                    <a:pt x="202" y="108"/>
                  </a:lnTo>
                  <a:lnTo>
                    <a:pt x="176" y="123"/>
                  </a:lnTo>
                  <a:lnTo>
                    <a:pt x="153" y="142"/>
                  </a:lnTo>
                  <a:lnTo>
                    <a:pt x="133" y="165"/>
                  </a:lnTo>
                  <a:lnTo>
                    <a:pt x="120" y="193"/>
                  </a:lnTo>
                  <a:lnTo>
                    <a:pt x="111" y="223"/>
                  </a:lnTo>
                  <a:lnTo>
                    <a:pt x="109" y="258"/>
                  </a:lnTo>
                  <a:lnTo>
                    <a:pt x="111" y="295"/>
                  </a:lnTo>
                  <a:lnTo>
                    <a:pt x="120" y="328"/>
                  </a:lnTo>
                  <a:lnTo>
                    <a:pt x="133" y="357"/>
                  </a:lnTo>
                  <a:lnTo>
                    <a:pt x="151" y="382"/>
                  </a:lnTo>
                  <a:lnTo>
                    <a:pt x="175" y="402"/>
                  </a:lnTo>
                  <a:lnTo>
                    <a:pt x="202" y="418"/>
                  </a:lnTo>
                  <a:lnTo>
                    <a:pt x="232" y="426"/>
                  </a:lnTo>
                  <a:lnTo>
                    <a:pt x="266" y="430"/>
                  </a:lnTo>
                  <a:lnTo>
                    <a:pt x="303" y="427"/>
                  </a:lnTo>
                  <a:lnTo>
                    <a:pt x="334" y="418"/>
                  </a:lnTo>
                  <a:lnTo>
                    <a:pt x="363" y="404"/>
                  </a:lnTo>
                  <a:lnTo>
                    <a:pt x="387" y="383"/>
                  </a:lnTo>
                  <a:lnTo>
                    <a:pt x="406" y="360"/>
                  </a:lnTo>
                  <a:lnTo>
                    <a:pt x="420" y="329"/>
                  </a:lnTo>
                  <a:lnTo>
                    <a:pt x="429" y="296"/>
                  </a:lnTo>
                  <a:lnTo>
                    <a:pt x="432" y="259"/>
                  </a:lnTo>
                  <a:lnTo>
                    <a:pt x="429" y="225"/>
                  </a:lnTo>
                  <a:lnTo>
                    <a:pt x="420" y="193"/>
                  </a:lnTo>
                  <a:lnTo>
                    <a:pt x="405" y="165"/>
                  </a:lnTo>
                  <a:lnTo>
                    <a:pt x="385" y="142"/>
                  </a:lnTo>
                  <a:lnTo>
                    <a:pt x="361" y="123"/>
                  </a:lnTo>
                  <a:lnTo>
                    <a:pt x="333" y="108"/>
                  </a:lnTo>
                  <a:lnTo>
                    <a:pt x="300" y="99"/>
                  </a:lnTo>
                  <a:lnTo>
                    <a:pt x="266" y="95"/>
                  </a:lnTo>
                  <a:close/>
                  <a:moveTo>
                    <a:pt x="267" y="0"/>
                  </a:moveTo>
                  <a:lnTo>
                    <a:pt x="312" y="3"/>
                  </a:lnTo>
                  <a:lnTo>
                    <a:pt x="356" y="13"/>
                  </a:lnTo>
                  <a:lnTo>
                    <a:pt x="395" y="28"/>
                  </a:lnTo>
                  <a:lnTo>
                    <a:pt x="431" y="47"/>
                  </a:lnTo>
                  <a:lnTo>
                    <a:pt x="462" y="73"/>
                  </a:lnTo>
                  <a:lnTo>
                    <a:pt x="490" y="102"/>
                  </a:lnTo>
                  <a:lnTo>
                    <a:pt x="511" y="137"/>
                  </a:lnTo>
                  <a:lnTo>
                    <a:pt x="527" y="174"/>
                  </a:lnTo>
                  <a:lnTo>
                    <a:pt x="537" y="214"/>
                  </a:lnTo>
                  <a:lnTo>
                    <a:pt x="540" y="258"/>
                  </a:lnTo>
                  <a:lnTo>
                    <a:pt x="537" y="303"/>
                  </a:lnTo>
                  <a:lnTo>
                    <a:pt x="527" y="347"/>
                  </a:lnTo>
                  <a:lnTo>
                    <a:pt x="512" y="386"/>
                  </a:lnTo>
                  <a:lnTo>
                    <a:pt x="490" y="420"/>
                  </a:lnTo>
                  <a:lnTo>
                    <a:pt x="464" y="451"/>
                  </a:lnTo>
                  <a:lnTo>
                    <a:pt x="432" y="477"/>
                  </a:lnTo>
                  <a:lnTo>
                    <a:pt x="398" y="498"/>
                  </a:lnTo>
                  <a:lnTo>
                    <a:pt x="358" y="513"/>
                  </a:lnTo>
                  <a:lnTo>
                    <a:pt x="314" y="522"/>
                  </a:lnTo>
                  <a:lnTo>
                    <a:pt x="267" y="525"/>
                  </a:lnTo>
                  <a:lnTo>
                    <a:pt x="221" y="522"/>
                  </a:lnTo>
                  <a:lnTo>
                    <a:pt x="179" y="513"/>
                  </a:lnTo>
                  <a:lnTo>
                    <a:pt x="140" y="496"/>
                  </a:lnTo>
                  <a:lnTo>
                    <a:pt x="106" y="476"/>
                  </a:lnTo>
                  <a:lnTo>
                    <a:pt x="75" y="449"/>
                  </a:lnTo>
                  <a:lnTo>
                    <a:pt x="49" y="419"/>
                  </a:lnTo>
                  <a:lnTo>
                    <a:pt x="29" y="385"/>
                  </a:lnTo>
                  <a:lnTo>
                    <a:pt x="14" y="345"/>
                  </a:lnTo>
                  <a:lnTo>
                    <a:pt x="4" y="303"/>
                  </a:lnTo>
                  <a:lnTo>
                    <a:pt x="0" y="258"/>
                  </a:lnTo>
                  <a:lnTo>
                    <a:pt x="4" y="211"/>
                  </a:lnTo>
                  <a:lnTo>
                    <a:pt x="16" y="167"/>
                  </a:lnTo>
                  <a:lnTo>
                    <a:pt x="36" y="127"/>
                  </a:lnTo>
                  <a:lnTo>
                    <a:pt x="62" y="91"/>
                  </a:lnTo>
                  <a:lnTo>
                    <a:pt x="93" y="59"/>
                  </a:lnTo>
                  <a:lnTo>
                    <a:pt x="131" y="35"/>
                  </a:lnTo>
                  <a:lnTo>
                    <a:pt x="172" y="15"/>
                  </a:lnTo>
                  <a:lnTo>
                    <a:pt x="217" y="4"/>
                  </a:lnTo>
                  <a:lnTo>
                    <a:pt x="267"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8558" name="Freeform 14"/>
            <p:cNvSpPr>
              <a:spLocks/>
            </p:cNvSpPr>
            <p:nvPr userDrawn="1"/>
          </p:nvSpPr>
          <p:spPr bwMode="auto">
            <a:xfrm>
              <a:off x="6256" y="4911"/>
              <a:ext cx="212" cy="374"/>
            </a:xfrm>
            <a:custGeom>
              <a:avLst/>
              <a:gdLst>
                <a:gd name="T0" fmla="*/ 0 w 426"/>
                <a:gd name="T1" fmla="*/ 0 h 748"/>
                <a:gd name="T2" fmla="*/ 106 w 426"/>
                <a:gd name="T3" fmla="*/ 0 h 748"/>
                <a:gd name="T4" fmla="*/ 106 w 426"/>
                <a:gd name="T5" fmla="*/ 303 h 748"/>
                <a:gd name="T6" fmla="*/ 131 w 426"/>
                <a:gd name="T7" fmla="*/ 279 h 748"/>
                <a:gd name="T8" fmla="*/ 159 w 426"/>
                <a:gd name="T9" fmla="*/ 258 h 748"/>
                <a:gd name="T10" fmla="*/ 188 w 426"/>
                <a:gd name="T11" fmla="*/ 243 h 748"/>
                <a:gd name="T12" fmla="*/ 221 w 426"/>
                <a:gd name="T13" fmla="*/ 235 h 748"/>
                <a:gd name="T14" fmla="*/ 252 w 426"/>
                <a:gd name="T15" fmla="*/ 230 h 748"/>
                <a:gd name="T16" fmla="*/ 284 w 426"/>
                <a:gd name="T17" fmla="*/ 233 h 748"/>
                <a:gd name="T18" fmla="*/ 314 w 426"/>
                <a:gd name="T19" fmla="*/ 241 h 748"/>
                <a:gd name="T20" fmla="*/ 342 w 426"/>
                <a:gd name="T21" fmla="*/ 254 h 748"/>
                <a:gd name="T22" fmla="*/ 365 w 426"/>
                <a:gd name="T23" fmla="*/ 272 h 748"/>
                <a:gd name="T24" fmla="*/ 386 w 426"/>
                <a:gd name="T25" fmla="*/ 295 h 748"/>
                <a:gd name="T26" fmla="*/ 402 w 426"/>
                <a:gd name="T27" fmla="*/ 323 h 748"/>
                <a:gd name="T28" fmla="*/ 415 w 426"/>
                <a:gd name="T29" fmla="*/ 356 h 748"/>
                <a:gd name="T30" fmla="*/ 423 w 426"/>
                <a:gd name="T31" fmla="*/ 394 h 748"/>
                <a:gd name="T32" fmla="*/ 426 w 426"/>
                <a:gd name="T33" fmla="*/ 437 h 748"/>
                <a:gd name="T34" fmla="*/ 426 w 426"/>
                <a:gd name="T35" fmla="*/ 748 h 748"/>
                <a:gd name="T36" fmla="*/ 320 w 426"/>
                <a:gd name="T37" fmla="*/ 748 h 748"/>
                <a:gd name="T38" fmla="*/ 320 w 426"/>
                <a:gd name="T39" fmla="*/ 434 h 748"/>
                <a:gd name="T40" fmla="*/ 317 w 426"/>
                <a:gd name="T41" fmla="*/ 405 h 748"/>
                <a:gd name="T42" fmla="*/ 312 w 426"/>
                <a:gd name="T43" fmla="*/ 379 h 748"/>
                <a:gd name="T44" fmla="*/ 301 w 426"/>
                <a:gd name="T45" fmla="*/ 357 h 748"/>
                <a:gd name="T46" fmla="*/ 287 w 426"/>
                <a:gd name="T47" fmla="*/ 341 h 748"/>
                <a:gd name="T48" fmla="*/ 270 w 426"/>
                <a:gd name="T49" fmla="*/ 327 h 748"/>
                <a:gd name="T50" fmla="*/ 250 w 426"/>
                <a:gd name="T51" fmla="*/ 319 h 748"/>
                <a:gd name="T52" fmla="*/ 226 w 426"/>
                <a:gd name="T53" fmla="*/ 316 h 748"/>
                <a:gd name="T54" fmla="*/ 203 w 426"/>
                <a:gd name="T55" fmla="*/ 319 h 748"/>
                <a:gd name="T56" fmla="*/ 179 w 426"/>
                <a:gd name="T57" fmla="*/ 327 h 748"/>
                <a:gd name="T58" fmla="*/ 156 w 426"/>
                <a:gd name="T59" fmla="*/ 339 h 748"/>
                <a:gd name="T60" fmla="*/ 133 w 426"/>
                <a:gd name="T61" fmla="*/ 360 h 748"/>
                <a:gd name="T62" fmla="*/ 106 w 426"/>
                <a:gd name="T63" fmla="*/ 387 h 748"/>
                <a:gd name="T64" fmla="*/ 106 w 426"/>
                <a:gd name="T65" fmla="*/ 748 h 748"/>
                <a:gd name="T66" fmla="*/ 0 w 426"/>
                <a:gd name="T67" fmla="*/ 748 h 748"/>
                <a:gd name="T68" fmla="*/ 0 w 426"/>
                <a:gd name="T69" fmla="*/ 0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6" h="748">
                  <a:moveTo>
                    <a:pt x="0" y="0"/>
                  </a:moveTo>
                  <a:lnTo>
                    <a:pt x="106" y="0"/>
                  </a:lnTo>
                  <a:lnTo>
                    <a:pt x="106" y="303"/>
                  </a:lnTo>
                  <a:lnTo>
                    <a:pt x="131" y="279"/>
                  </a:lnTo>
                  <a:lnTo>
                    <a:pt x="159" y="258"/>
                  </a:lnTo>
                  <a:lnTo>
                    <a:pt x="188" y="243"/>
                  </a:lnTo>
                  <a:lnTo>
                    <a:pt x="221" y="235"/>
                  </a:lnTo>
                  <a:lnTo>
                    <a:pt x="252" y="230"/>
                  </a:lnTo>
                  <a:lnTo>
                    <a:pt x="284" y="233"/>
                  </a:lnTo>
                  <a:lnTo>
                    <a:pt x="314" y="241"/>
                  </a:lnTo>
                  <a:lnTo>
                    <a:pt x="342" y="254"/>
                  </a:lnTo>
                  <a:lnTo>
                    <a:pt x="365" y="272"/>
                  </a:lnTo>
                  <a:lnTo>
                    <a:pt x="386" y="295"/>
                  </a:lnTo>
                  <a:lnTo>
                    <a:pt x="402" y="323"/>
                  </a:lnTo>
                  <a:lnTo>
                    <a:pt x="415" y="356"/>
                  </a:lnTo>
                  <a:lnTo>
                    <a:pt x="423" y="394"/>
                  </a:lnTo>
                  <a:lnTo>
                    <a:pt x="426" y="437"/>
                  </a:lnTo>
                  <a:lnTo>
                    <a:pt x="426" y="748"/>
                  </a:lnTo>
                  <a:lnTo>
                    <a:pt x="320" y="748"/>
                  </a:lnTo>
                  <a:lnTo>
                    <a:pt x="320" y="434"/>
                  </a:lnTo>
                  <a:lnTo>
                    <a:pt x="317" y="405"/>
                  </a:lnTo>
                  <a:lnTo>
                    <a:pt x="312" y="379"/>
                  </a:lnTo>
                  <a:lnTo>
                    <a:pt x="301" y="357"/>
                  </a:lnTo>
                  <a:lnTo>
                    <a:pt x="287" y="341"/>
                  </a:lnTo>
                  <a:lnTo>
                    <a:pt x="270" y="327"/>
                  </a:lnTo>
                  <a:lnTo>
                    <a:pt x="250" y="319"/>
                  </a:lnTo>
                  <a:lnTo>
                    <a:pt x="226" y="316"/>
                  </a:lnTo>
                  <a:lnTo>
                    <a:pt x="203" y="319"/>
                  </a:lnTo>
                  <a:lnTo>
                    <a:pt x="179" y="327"/>
                  </a:lnTo>
                  <a:lnTo>
                    <a:pt x="156" y="339"/>
                  </a:lnTo>
                  <a:lnTo>
                    <a:pt x="133" y="360"/>
                  </a:lnTo>
                  <a:lnTo>
                    <a:pt x="106" y="387"/>
                  </a:lnTo>
                  <a:lnTo>
                    <a:pt x="106" y="748"/>
                  </a:lnTo>
                  <a:lnTo>
                    <a:pt x="0" y="748"/>
                  </a:lnTo>
                  <a:lnTo>
                    <a:pt x="0"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8559" name="Freeform 15"/>
            <p:cNvSpPr>
              <a:spLocks/>
            </p:cNvSpPr>
            <p:nvPr userDrawn="1"/>
          </p:nvSpPr>
          <p:spPr bwMode="auto">
            <a:xfrm>
              <a:off x="6530" y="5028"/>
              <a:ext cx="212" cy="257"/>
            </a:xfrm>
            <a:custGeom>
              <a:avLst/>
              <a:gdLst>
                <a:gd name="T0" fmla="*/ 251 w 425"/>
                <a:gd name="T1" fmla="*/ 0 h 515"/>
                <a:gd name="T2" fmla="*/ 283 w 425"/>
                <a:gd name="T3" fmla="*/ 3 h 515"/>
                <a:gd name="T4" fmla="*/ 313 w 425"/>
                <a:gd name="T5" fmla="*/ 10 h 515"/>
                <a:gd name="T6" fmla="*/ 339 w 425"/>
                <a:gd name="T7" fmla="*/ 22 h 515"/>
                <a:gd name="T8" fmla="*/ 364 w 425"/>
                <a:gd name="T9" fmla="*/ 40 h 515"/>
                <a:gd name="T10" fmla="*/ 385 w 425"/>
                <a:gd name="T11" fmla="*/ 62 h 515"/>
                <a:gd name="T12" fmla="*/ 401 w 425"/>
                <a:gd name="T13" fmla="*/ 90 h 515"/>
                <a:gd name="T14" fmla="*/ 414 w 425"/>
                <a:gd name="T15" fmla="*/ 123 h 515"/>
                <a:gd name="T16" fmla="*/ 422 w 425"/>
                <a:gd name="T17" fmla="*/ 161 h 515"/>
                <a:gd name="T18" fmla="*/ 425 w 425"/>
                <a:gd name="T19" fmla="*/ 204 h 515"/>
                <a:gd name="T20" fmla="*/ 425 w 425"/>
                <a:gd name="T21" fmla="*/ 515 h 515"/>
                <a:gd name="T22" fmla="*/ 319 w 425"/>
                <a:gd name="T23" fmla="*/ 515 h 515"/>
                <a:gd name="T24" fmla="*/ 319 w 425"/>
                <a:gd name="T25" fmla="*/ 204 h 515"/>
                <a:gd name="T26" fmla="*/ 317 w 425"/>
                <a:gd name="T27" fmla="*/ 174 h 515"/>
                <a:gd name="T28" fmla="*/ 310 w 425"/>
                <a:gd name="T29" fmla="*/ 148 h 515"/>
                <a:gd name="T30" fmla="*/ 301 w 425"/>
                <a:gd name="T31" fmla="*/ 127 h 515"/>
                <a:gd name="T32" fmla="*/ 287 w 425"/>
                <a:gd name="T33" fmla="*/ 109 h 515"/>
                <a:gd name="T34" fmla="*/ 269 w 425"/>
                <a:gd name="T35" fmla="*/ 97 h 515"/>
                <a:gd name="T36" fmla="*/ 248 w 425"/>
                <a:gd name="T37" fmla="*/ 88 h 515"/>
                <a:gd name="T38" fmla="*/ 226 w 425"/>
                <a:gd name="T39" fmla="*/ 86 h 515"/>
                <a:gd name="T40" fmla="*/ 201 w 425"/>
                <a:gd name="T41" fmla="*/ 88 h 515"/>
                <a:gd name="T42" fmla="*/ 178 w 425"/>
                <a:gd name="T43" fmla="*/ 95 h 515"/>
                <a:gd name="T44" fmla="*/ 155 w 425"/>
                <a:gd name="T45" fmla="*/ 109 h 515"/>
                <a:gd name="T46" fmla="*/ 131 w 425"/>
                <a:gd name="T47" fmla="*/ 128 h 515"/>
                <a:gd name="T48" fmla="*/ 105 w 425"/>
                <a:gd name="T49" fmla="*/ 156 h 515"/>
                <a:gd name="T50" fmla="*/ 105 w 425"/>
                <a:gd name="T51" fmla="*/ 515 h 515"/>
                <a:gd name="T52" fmla="*/ 0 w 425"/>
                <a:gd name="T53" fmla="*/ 515 h 515"/>
                <a:gd name="T54" fmla="*/ 0 w 425"/>
                <a:gd name="T55" fmla="*/ 8 h 515"/>
                <a:gd name="T56" fmla="*/ 105 w 425"/>
                <a:gd name="T57" fmla="*/ 8 h 515"/>
                <a:gd name="T58" fmla="*/ 105 w 425"/>
                <a:gd name="T59" fmla="*/ 72 h 515"/>
                <a:gd name="T60" fmla="*/ 130 w 425"/>
                <a:gd name="T61" fmla="*/ 47 h 515"/>
                <a:gd name="T62" fmla="*/ 157 w 425"/>
                <a:gd name="T63" fmla="*/ 28 h 515"/>
                <a:gd name="T64" fmla="*/ 188 w 425"/>
                <a:gd name="T65" fmla="*/ 13 h 515"/>
                <a:gd name="T66" fmla="*/ 219 w 425"/>
                <a:gd name="T67" fmla="*/ 3 h 515"/>
                <a:gd name="T68" fmla="*/ 251 w 425"/>
                <a:gd name="T6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5" h="515">
                  <a:moveTo>
                    <a:pt x="251" y="0"/>
                  </a:moveTo>
                  <a:lnTo>
                    <a:pt x="283" y="3"/>
                  </a:lnTo>
                  <a:lnTo>
                    <a:pt x="313" y="10"/>
                  </a:lnTo>
                  <a:lnTo>
                    <a:pt x="339" y="22"/>
                  </a:lnTo>
                  <a:lnTo>
                    <a:pt x="364" y="40"/>
                  </a:lnTo>
                  <a:lnTo>
                    <a:pt x="385" y="62"/>
                  </a:lnTo>
                  <a:lnTo>
                    <a:pt x="401" y="90"/>
                  </a:lnTo>
                  <a:lnTo>
                    <a:pt x="414" y="123"/>
                  </a:lnTo>
                  <a:lnTo>
                    <a:pt x="422" y="161"/>
                  </a:lnTo>
                  <a:lnTo>
                    <a:pt x="425" y="204"/>
                  </a:lnTo>
                  <a:lnTo>
                    <a:pt x="425" y="515"/>
                  </a:lnTo>
                  <a:lnTo>
                    <a:pt x="319" y="515"/>
                  </a:lnTo>
                  <a:lnTo>
                    <a:pt x="319" y="204"/>
                  </a:lnTo>
                  <a:lnTo>
                    <a:pt x="317" y="174"/>
                  </a:lnTo>
                  <a:lnTo>
                    <a:pt x="310" y="148"/>
                  </a:lnTo>
                  <a:lnTo>
                    <a:pt x="301" y="127"/>
                  </a:lnTo>
                  <a:lnTo>
                    <a:pt x="287" y="109"/>
                  </a:lnTo>
                  <a:lnTo>
                    <a:pt x="269" y="97"/>
                  </a:lnTo>
                  <a:lnTo>
                    <a:pt x="248" y="88"/>
                  </a:lnTo>
                  <a:lnTo>
                    <a:pt x="226" y="86"/>
                  </a:lnTo>
                  <a:lnTo>
                    <a:pt x="201" y="88"/>
                  </a:lnTo>
                  <a:lnTo>
                    <a:pt x="178" y="95"/>
                  </a:lnTo>
                  <a:lnTo>
                    <a:pt x="155" y="109"/>
                  </a:lnTo>
                  <a:lnTo>
                    <a:pt x="131" y="128"/>
                  </a:lnTo>
                  <a:lnTo>
                    <a:pt x="105" y="156"/>
                  </a:lnTo>
                  <a:lnTo>
                    <a:pt x="105" y="515"/>
                  </a:lnTo>
                  <a:lnTo>
                    <a:pt x="0" y="515"/>
                  </a:lnTo>
                  <a:lnTo>
                    <a:pt x="0" y="8"/>
                  </a:lnTo>
                  <a:lnTo>
                    <a:pt x="105" y="8"/>
                  </a:lnTo>
                  <a:lnTo>
                    <a:pt x="105" y="72"/>
                  </a:lnTo>
                  <a:lnTo>
                    <a:pt x="130" y="47"/>
                  </a:lnTo>
                  <a:lnTo>
                    <a:pt x="157" y="28"/>
                  </a:lnTo>
                  <a:lnTo>
                    <a:pt x="188" y="13"/>
                  </a:lnTo>
                  <a:lnTo>
                    <a:pt x="219" y="3"/>
                  </a:lnTo>
                  <a:lnTo>
                    <a:pt x="251"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8560" name="Freeform 16"/>
            <p:cNvSpPr>
              <a:spLocks/>
            </p:cNvSpPr>
            <p:nvPr userDrawn="1"/>
          </p:nvSpPr>
          <p:spPr bwMode="auto">
            <a:xfrm>
              <a:off x="6899" y="4880"/>
              <a:ext cx="214" cy="405"/>
            </a:xfrm>
            <a:custGeom>
              <a:avLst/>
              <a:gdLst>
                <a:gd name="T0" fmla="*/ 0 w 428"/>
                <a:gd name="T1" fmla="*/ 0 h 810"/>
                <a:gd name="T2" fmla="*/ 101 w 428"/>
                <a:gd name="T3" fmla="*/ 104 h 810"/>
                <a:gd name="T4" fmla="*/ 101 w 428"/>
                <a:gd name="T5" fmla="*/ 706 h 810"/>
                <a:gd name="T6" fmla="*/ 329 w 428"/>
                <a:gd name="T7" fmla="*/ 706 h 810"/>
                <a:gd name="T8" fmla="*/ 428 w 428"/>
                <a:gd name="T9" fmla="*/ 810 h 810"/>
                <a:gd name="T10" fmla="*/ 0 w 428"/>
                <a:gd name="T11" fmla="*/ 810 h 810"/>
                <a:gd name="T12" fmla="*/ 0 w 428"/>
                <a:gd name="T13" fmla="*/ 0 h 810"/>
              </a:gdLst>
              <a:ahLst/>
              <a:cxnLst>
                <a:cxn ang="0">
                  <a:pos x="T0" y="T1"/>
                </a:cxn>
                <a:cxn ang="0">
                  <a:pos x="T2" y="T3"/>
                </a:cxn>
                <a:cxn ang="0">
                  <a:pos x="T4" y="T5"/>
                </a:cxn>
                <a:cxn ang="0">
                  <a:pos x="T6" y="T7"/>
                </a:cxn>
                <a:cxn ang="0">
                  <a:pos x="T8" y="T9"/>
                </a:cxn>
                <a:cxn ang="0">
                  <a:pos x="T10" y="T11"/>
                </a:cxn>
                <a:cxn ang="0">
                  <a:pos x="T12" y="T13"/>
                </a:cxn>
              </a:cxnLst>
              <a:rect l="0" t="0" r="r" b="b"/>
              <a:pathLst>
                <a:path w="428" h="810">
                  <a:moveTo>
                    <a:pt x="0" y="0"/>
                  </a:moveTo>
                  <a:lnTo>
                    <a:pt x="101" y="104"/>
                  </a:lnTo>
                  <a:lnTo>
                    <a:pt x="101" y="706"/>
                  </a:lnTo>
                  <a:lnTo>
                    <a:pt x="329" y="706"/>
                  </a:lnTo>
                  <a:lnTo>
                    <a:pt x="428" y="810"/>
                  </a:lnTo>
                  <a:lnTo>
                    <a:pt x="0" y="810"/>
                  </a:lnTo>
                  <a:lnTo>
                    <a:pt x="0"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8561" name="Freeform 17"/>
            <p:cNvSpPr>
              <a:spLocks noEditPoints="1"/>
            </p:cNvSpPr>
            <p:nvPr userDrawn="1"/>
          </p:nvSpPr>
          <p:spPr bwMode="auto">
            <a:xfrm>
              <a:off x="7087" y="5028"/>
              <a:ext cx="228" cy="262"/>
            </a:xfrm>
            <a:custGeom>
              <a:avLst/>
              <a:gdLst>
                <a:gd name="T0" fmla="*/ 210 w 456"/>
                <a:gd name="T1" fmla="*/ 95 h 525"/>
                <a:gd name="T2" fmla="*/ 162 w 456"/>
                <a:gd name="T3" fmla="*/ 115 h 525"/>
                <a:gd name="T4" fmla="*/ 128 w 456"/>
                <a:gd name="T5" fmla="*/ 150 h 525"/>
                <a:gd name="T6" fmla="*/ 108 w 456"/>
                <a:gd name="T7" fmla="*/ 201 h 525"/>
                <a:gd name="T8" fmla="*/ 347 w 456"/>
                <a:gd name="T9" fmla="*/ 175 h 525"/>
                <a:gd name="T10" fmla="*/ 325 w 456"/>
                <a:gd name="T11" fmla="*/ 131 h 525"/>
                <a:gd name="T12" fmla="*/ 290 w 456"/>
                <a:gd name="T13" fmla="*/ 102 h 525"/>
                <a:gd name="T14" fmla="*/ 239 w 456"/>
                <a:gd name="T15" fmla="*/ 92 h 525"/>
                <a:gd name="T16" fmla="*/ 272 w 456"/>
                <a:gd name="T17" fmla="*/ 3 h 525"/>
                <a:gd name="T18" fmla="*/ 334 w 456"/>
                <a:gd name="T19" fmla="*/ 21 h 525"/>
                <a:gd name="T20" fmla="*/ 386 w 456"/>
                <a:gd name="T21" fmla="*/ 58 h 525"/>
                <a:gd name="T22" fmla="*/ 423 w 456"/>
                <a:gd name="T23" fmla="*/ 115 h 525"/>
                <a:gd name="T24" fmla="*/ 448 w 456"/>
                <a:gd name="T25" fmla="*/ 192 h 525"/>
                <a:gd name="T26" fmla="*/ 456 w 456"/>
                <a:gd name="T27" fmla="*/ 288 h 525"/>
                <a:gd name="T28" fmla="*/ 115 w 456"/>
                <a:gd name="T29" fmla="*/ 323 h 525"/>
                <a:gd name="T30" fmla="*/ 148 w 456"/>
                <a:gd name="T31" fmla="*/ 378 h 525"/>
                <a:gd name="T32" fmla="*/ 199 w 456"/>
                <a:gd name="T33" fmla="*/ 412 h 525"/>
                <a:gd name="T34" fmla="*/ 269 w 456"/>
                <a:gd name="T35" fmla="*/ 425 h 525"/>
                <a:gd name="T36" fmla="*/ 343 w 456"/>
                <a:gd name="T37" fmla="*/ 414 h 525"/>
                <a:gd name="T38" fmla="*/ 382 w 456"/>
                <a:gd name="T39" fmla="*/ 401 h 525"/>
                <a:gd name="T40" fmla="*/ 397 w 456"/>
                <a:gd name="T41" fmla="*/ 416 h 525"/>
                <a:gd name="T42" fmla="*/ 418 w 456"/>
                <a:gd name="T43" fmla="*/ 437 h 525"/>
                <a:gd name="T44" fmla="*/ 438 w 456"/>
                <a:gd name="T45" fmla="*/ 456 h 525"/>
                <a:gd name="T46" fmla="*/ 416 w 456"/>
                <a:gd name="T47" fmla="*/ 482 h 525"/>
                <a:gd name="T48" fmla="*/ 354 w 456"/>
                <a:gd name="T49" fmla="*/ 510 h 525"/>
                <a:gd name="T50" fmla="*/ 285 w 456"/>
                <a:gd name="T51" fmla="*/ 524 h 525"/>
                <a:gd name="T52" fmla="*/ 204 w 456"/>
                <a:gd name="T53" fmla="*/ 522 h 525"/>
                <a:gd name="T54" fmla="*/ 133 w 456"/>
                <a:gd name="T55" fmla="*/ 499 h 525"/>
                <a:gd name="T56" fmla="*/ 76 w 456"/>
                <a:gd name="T57" fmla="*/ 456 h 525"/>
                <a:gd name="T58" fmla="*/ 35 w 456"/>
                <a:gd name="T59" fmla="*/ 398 h 525"/>
                <a:gd name="T60" fmla="*/ 9 w 456"/>
                <a:gd name="T61" fmla="*/ 331 h 525"/>
                <a:gd name="T62" fmla="*/ 0 w 456"/>
                <a:gd name="T63" fmla="*/ 256 h 525"/>
                <a:gd name="T64" fmla="*/ 14 w 456"/>
                <a:gd name="T65" fmla="*/ 163 h 525"/>
                <a:gd name="T66" fmla="*/ 53 w 456"/>
                <a:gd name="T67" fmla="*/ 87 h 525"/>
                <a:gd name="T68" fmla="*/ 113 w 456"/>
                <a:gd name="T69" fmla="*/ 33 h 525"/>
                <a:gd name="T70" fmla="*/ 192 w 456"/>
                <a:gd name="T71" fmla="*/ 4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6" h="525">
                  <a:moveTo>
                    <a:pt x="239" y="92"/>
                  </a:moveTo>
                  <a:lnTo>
                    <a:pt x="210" y="95"/>
                  </a:lnTo>
                  <a:lnTo>
                    <a:pt x="184" y="102"/>
                  </a:lnTo>
                  <a:lnTo>
                    <a:pt x="162" y="115"/>
                  </a:lnTo>
                  <a:lnTo>
                    <a:pt x="144" y="130"/>
                  </a:lnTo>
                  <a:lnTo>
                    <a:pt x="128" y="150"/>
                  </a:lnTo>
                  <a:lnTo>
                    <a:pt x="116" y="174"/>
                  </a:lnTo>
                  <a:lnTo>
                    <a:pt x="108" y="201"/>
                  </a:lnTo>
                  <a:lnTo>
                    <a:pt x="352" y="201"/>
                  </a:lnTo>
                  <a:lnTo>
                    <a:pt x="347" y="175"/>
                  </a:lnTo>
                  <a:lnTo>
                    <a:pt x="338" y="152"/>
                  </a:lnTo>
                  <a:lnTo>
                    <a:pt x="325" y="131"/>
                  </a:lnTo>
                  <a:lnTo>
                    <a:pt x="309" y="115"/>
                  </a:lnTo>
                  <a:lnTo>
                    <a:pt x="290" y="102"/>
                  </a:lnTo>
                  <a:lnTo>
                    <a:pt x="265" y="95"/>
                  </a:lnTo>
                  <a:lnTo>
                    <a:pt x="239" y="92"/>
                  </a:lnTo>
                  <a:close/>
                  <a:moveTo>
                    <a:pt x="236" y="0"/>
                  </a:moveTo>
                  <a:lnTo>
                    <a:pt x="272" y="3"/>
                  </a:lnTo>
                  <a:lnTo>
                    <a:pt x="305" y="10"/>
                  </a:lnTo>
                  <a:lnTo>
                    <a:pt x="334" y="21"/>
                  </a:lnTo>
                  <a:lnTo>
                    <a:pt x="361" y="37"/>
                  </a:lnTo>
                  <a:lnTo>
                    <a:pt x="386" y="58"/>
                  </a:lnTo>
                  <a:lnTo>
                    <a:pt x="407" y="84"/>
                  </a:lnTo>
                  <a:lnTo>
                    <a:pt x="423" y="115"/>
                  </a:lnTo>
                  <a:lnTo>
                    <a:pt x="437" y="150"/>
                  </a:lnTo>
                  <a:lnTo>
                    <a:pt x="448" y="192"/>
                  </a:lnTo>
                  <a:lnTo>
                    <a:pt x="453" y="237"/>
                  </a:lnTo>
                  <a:lnTo>
                    <a:pt x="456" y="288"/>
                  </a:lnTo>
                  <a:lnTo>
                    <a:pt x="106" y="288"/>
                  </a:lnTo>
                  <a:lnTo>
                    <a:pt x="115" y="323"/>
                  </a:lnTo>
                  <a:lnTo>
                    <a:pt x="128" y="353"/>
                  </a:lnTo>
                  <a:lnTo>
                    <a:pt x="148" y="378"/>
                  </a:lnTo>
                  <a:lnTo>
                    <a:pt x="171" y="398"/>
                  </a:lnTo>
                  <a:lnTo>
                    <a:pt x="199" y="412"/>
                  </a:lnTo>
                  <a:lnTo>
                    <a:pt x="232" y="422"/>
                  </a:lnTo>
                  <a:lnTo>
                    <a:pt x="269" y="425"/>
                  </a:lnTo>
                  <a:lnTo>
                    <a:pt x="306" y="422"/>
                  </a:lnTo>
                  <a:lnTo>
                    <a:pt x="343" y="414"/>
                  </a:lnTo>
                  <a:lnTo>
                    <a:pt x="380" y="400"/>
                  </a:lnTo>
                  <a:lnTo>
                    <a:pt x="382" y="401"/>
                  </a:lnTo>
                  <a:lnTo>
                    <a:pt x="389" y="407"/>
                  </a:lnTo>
                  <a:lnTo>
                    <a:pt x="397" y="416"/>
                  </a:lnTo>
                  <a:lnTo>
                    <a:pt x="407" y="426"/>
                  </a:lnTo>
                  <a:lnTo>
                    <a:pt x="418" y="437"/>
                  </a:lnTo>
                  <a:lnTo>
                    <a:pt x="429" y="447"/>
                  </a:lnTo>
                  <a:lnTo>
                    <a:pt x="438" y="456"/>
                  </a:lnTo>
                  <a:lnTo>
                    <a:pt x="447" y="463"/>
                  </a:lnTo>
                  <a:lnTo>
                    <a:pt x="416" y="482"/>
                  </a:lnTo>
                  <a:lnTo>
                    <a:pt x="386" y="499"/>
                  </a:lnTo>
                  <a:lnTo>
                    <a:pt x="354" y="510"/>
                  </a:lnTo>
                  <a:lnTo>
                    <a:pt x="321" y="518"/>
                  </a:lnTo>
                  <a:lnTo>
                    <a:pt x="285" y="524"/>
                  </a:lnTo>
                  <a:lnTo>
                    <a:pt x="246" y="525"/>
                  </a:lnTo>
                  <a:lnTo>
                    <a:pt x="204" y="522"/>
                  </a:lnTo>
                  <a:lnTo>
                    <a:pt x="167" y="513"/>
                  </a:lnTo>
                  <a:lnTo>
                    <a:pt x="133" y="499"/>
                  </a:lnTo>
                  <a:lnTo>
                    <a:pt x="102" y="480"/>
                  </a:lnTo>
                  <a:lnTo>
                    <a:pt x="76" y="456"/>
                  </a:lnTo>
                  <a:lnTo>
                    <a:pt x="53" y="429"/>
                  </a:lnTo>
                  <a:lnTo>
                    <a:pt x="35" y="398"/>
                  </a:lnTo>
                  <a:lnTo>
                    <a:pt x="20" y="365"/>
                  </a:lnTo>
                  <a:lnTo>
                    <a:pt x="9" y="331"/>
                  </a:lnTo>
                  <a:lnTo>
                    <a:pt x="3" y="294"/>
                  </a:lnTo>
                  <a:lnTo>
                    <a:pt x="0" y="256"/>
                  </a:lnTo>
                  <a:lnTo>
                    <a:pt x="3" y="207"/>
                  </a:lnTo>
                  <a:lnTo>
                    <a:pt x="14" y="163"/>
                  </a:lnTo>
                  <a:lnTo>
                    <a:pt x="31" y="121"/>
                  </a:lnTo>
                  <a:lnTo>
                    <a:pt x="53" y="87"/>
                  </a:lnTo>
                  <a:lnTo>
                    <a:pt x="80" y="57"/>
                  </a:lnTo>
                  <a:lnTo>
                    <a:pt x="113" y="33"/>
                  </a:lnTo>
                  <a:lnTo>
                    <a:pt x="151" y="15"/>
                  </a:lnTo>
                  <a:lnTo>
                    <a:pt x="192" y="4"/>
                  </a:lnTo>
                  <a:lnTo>
                    <a:pt x="236"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8562" name="Freeform 18"/>
            <p:cNvSpPr>
              <a:spLocks/>
            </p:cNvSpPr>
            <p:nvPr userDrawn="1"/>
          </p:nvSpPr>
          <p:spPr bwMode="auto">
            <a:xfrm>
              <a:off x="7324" y="5032"/>
              <a:ext cx="406" cy="258"/>
            </a:xfrm>
            <a:custGeom>
              <a:avLst/>
              <a:gdLst>
                <a:gd name="T0" fmla="*/ 701 w 813"/>
                <a:gd name="T1" fmla="*/ 0 h 517"/>
                <a:gd name="T2" fmla="*/ 813 w 813"/>
                <a:gd name="T3" fmla="*/ 0 h 517"/>
                <a:gd name="T4" fmla="*/ 588 w 813"/>
                <a:gd name="T5" fmla="*/ 517 h 517"/>
                <a:gd name="T6" fmla="*/ 557 w 813"/>
                <a:gd name="T7" fmla="*/ 517 h 517"/>
                <a:gd name="T8" fmla="*/ 407 w 813"/>
                <a:gd name="T9" fmla="*/ 156 h 517"/>
                <a:gd name="T10" fmla="*/ 259 w 813"/>
                <a:gd name="T11" fmla="*/ 517 h 517"/>
                <a:gd name="T12" fmla="*/ 228 w 813"/>
                <a:gd name="T13" fmla="*/ 517 h 517"/>
                <a:gd name="T14" fmla="*/ 0 w 813"/>
                <a:gd name="T15" fmla="*/ 0 h 517"/>
                <a:gd name="T16" fmla="*/ 113 w 813"/>
                <a:gd name="T17" fmla="*/ 0 h 517"/>
                <a:gd name="T18" fmla="*/ 243 w 813"/>
                <a:gd name="T19" fmla="*/ 304 h 517"/>
                <a:gd name="T20" fmla="*/ 368 w 813"/>
                <a:gd name="T21" fmla="*/ 0 h 517"/>
                <a:gd name="T22" fmla="*/ 447 w 813"/>
                <a:gd name="T23" fmla="*/ 0 h 517"/>
                <a:gd name="T24" fmla="*/ 572 w 813"/>
                <a:gd name="T25" fmla="*/ 304 h 517"/>
                <a:gd name="T26" fmla="*/ 701 w 813"/>
                <a:gd name="T27" fmla="*/ 0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3" h="517">
                  <a:moveTo>
                    <a:pt x="701" y="0"/>
                  </a:moveTo>
                  <a:lnTo>
                    <a:pt x="813" y="0"/>
                  </a:lnTo>
                  <a:lnTo>
                    <a:pt x="588" y="517"/>
                  </a:lnTo>
                  <a:lnTo>
                    <a:pt x="557" y="517"/>
                  </a:lnTo>
                  <a:lnTo>
                    <a:pt x="407" y="156"/>
                  </a:lnTo>
                  <a:lnTo>
                    <a:pt x="259" y="517"/>
                  </a:lnTo>
                  <a:lnTo>
                    <a:pt x="228" y="517"/>
                  </a:lnTo>
                  <a:lnTo>
                    <a:pt x="0" y="0"/>
                  </a:lnTo>
                  <a:lnTo>
                    <a:pt x="113" y="0"/>
                  </a:lnTo>
                  <a:lnTo>
                    <a:pt x="243" y="304"/>
                  </a:lnTo>
                  <a:lnTo>
                    <a:pt x="368" y="0"/>
                  </a:lnTo>
                  <a:lnTo>
                    <a:pt x="447" y="0"/>
                  </a:lnTo>
                  <a:lnTo>
                    <a:pt x="572" y="304"/>
                  </a:lnTo>
                  <a:lnTo>
                    <a:pt x="701"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8563" name="Freeform 19"/>
            <p:cNvSpPr>
              <a:spLocks noEditPoints="1"/>
            </p:cNvSpPr>
            <p:nvPr userDrawn="1"/>
          </p:nvSpPr>
          <p:spPr bwMode="auto">
            <a:xfrm>
              <a:off x="7757" y="4909"/>
              <a:ext cx="59" cy="376"/>
            </a:xfrm>
            <a:custGeom>
              <a:avLst/>
              <a:gdLst>
                <a:gd name="T0" fmla="*/ 8 w 119"/>
                <a:gd name="T1" fmla="*/ 245 h 752"/>
                <a:gd name="T2" fmla="*/ 115 w 119"/>
                <a:gd name="T3" fmla="*/ 245 h 752"/>
                <a:gd name="T4" fmla="*/ 115 w 119"/>
                <a:gd name="T5" fmla="*/ 752 h 752"/>
                <a:gd name="T6" fmla="*/ 8 w 119"/>
                <a:gd name="T7" fmla="*/ 752 h 752"/>
                <a:gd name="T8" fmla="*/ 8 w 119"/>
                <a:gd name="T9" fmla="*/ 245 h 752"/>
                <a:gd name="T10" fmla="*/ 59 w 119"/>
                <a:gd name="T11" fmla="*/ 0 h 752"/>
                <a:gd name="T12" fmla="*/ 79 w 119"/>
                <a:gd name="T13" fmla="*/ 3 h 752"/>
                <a:gd name="T14" fmla="*/ 94 w 119"/>
                <a:gd name="T15" fmla="*/ 11 h 752"/>
                <a:gd name="T16" fmla="*/ 108 w 119"/>
                <a:gd name="T17" fmla="*/ 25 h 752"/>
                <a:gd name="T18" fmla="*/ 116 w 119"/>
                <a:gd name="T19" fmla="*/ 41 h 752"/>
                <a:gd name="T20" fmla="*/ 119 w 119"/>
                <a:gd name="T21" fmla="*/ 61 h 752"/>
                <a:gd name="T22" fmla="*/ 116 w 119"/>
                <a:gd name="T23" fmla="*/ 81 h 752"/>
                <a:gd name="T24" fmla="*/ 108 w 119"/>
                <a:gd name="T25" fmla="*/ 98 h 752"/>
                <a:gd name="T26" fmla="*/ 94 w 119"/>
                <a:gd name="T27" fmla="*/ 112 h 752"/>
                <a:gd name="T28" fmla="*/ 79 w 119"/>
                <a:gd name="T29" fmla="*/ 121 h 752"/>
                <a:gd name="T30" fmla="*/ 59 w 119"/>
                <a:gd name="T31" fmla="*/ 124 h 752"/>
                <a:gd name="T32" fmla="*/ 40 w 119"/>
                <a:gd name="T33" fmla="*/ 121 h 752"/>
                <a:gd name="T34" fmla="*/ 25 w 119"/>
                <a:gd name="T35" fmla="*/ 112 h 752"/>
                <a:gd name="T36" fmla="*/ 11 w 119"/>
                <a:gd name="T37" fmla="*/ 98 h 752"/>
                <a:gd name="T38" fmla="*/ 3 w 119"/>
                <a:gd name="T39" fmla="*/ 81 h 752"/>
                <a:gd name="T40" fmla="*/ 0 w 119"/>
                <a:gd name="T41" fmla="*/ 61 h 752"/>
                <a:gd name="T42" fmla="*/ 3 w 119"/>
                <a:gd name="T43" fmla="*/ 41 h 752"/>
                <a:gd name="T44" fmla="*/ 11 w 119"/>
                <a:gd name="T45" fmla="*/ 25 h 752"/>
                <a:gd name="T46" fmla="*/ 25 w 119"/>
                <a:gd name="T47" fmla="*/ 11 h 752"/>
                <a:gd name="T48" fmla="*/ 40 w 119"/>
                <a:gd name="T49" fmla="*/ 3 h 752"/>
                <a:gd name="T50" fmla="*/ 59 w 119"/>
                <a:gd name="T51"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752">
                  <a:moveTo>
                    <a:pt x="8" y="245"/>
                  </a:moveTo>
                  <a:lnTo>
                    <a:pt x="115" y="245"/>
                  </a:lnTo>
                  <a:lnTo>
                    <a:pt x="115" y="752"/>
                  </a:lnTo>
                  <a:lnTo>
                    <a:pt x="8" y="752"/>
                  </a:lnTo>
                  <a:lnTo>
                    <a:pt x="8" y="245"/>
                  </a:lnTo>
                  <a:close/>
                  <a:moveTo>
                    <a:pt x="59" y="0"/>
                  </a:moveTo>
                  <a:lnTo>
                    <a:pt x="79" y="3"/>
                  </a:lnTo>
                  <a:lnTo>
                    <a:pt x="94" y="11"/>
                  </a:lnTo>
                  <a:lnTo>
                    <a:pt x="108" y="25"/>
                  </a:lnTo>
                  <a:lnTo>
                    <a:pt x="116" y="41"/>
                  </a:lnTo>
                  <a:lnTo>
                    <a:pt x="119" y="61"/>
                  </a:lnTo>
                  <a:lnTo>
                    <a:pt x="116" y="81"/>
                  </a:lnTo>
                  <a:lnTo>
                    <a:pt x="108" y="98"/>
                  </a:lnTo>
                  <a:lnTo>
                    <a:pt x="94" y="112"/>
                  </a:lnTo>
                  <a:lnTo>
                    <a:pt x="79" y="121"/>
                  </a:lnTo>
                  <a:lnTo>
                    <a:pt x="59" y="124"/>
                  </a:lnTo>
                  <a:lnTo>
                    <a:pt x="40" y="121"/>
                  </a:lnTo>
                  <a:lnTo>
                    <a:pt x="25" y="112"/>
                  </a:lnTo>
                  <a:lnTo>
                    <a:pt x="11" y="98"/>
                  </a:lnTo>
                  <a:lnTo>
                    <a:pt x="3" y="81"/>
                  </a:lnTo>
                  <a:lnTo>
                    <a:pt x="0" y="61"/>
                  </a:lnTo>
                  <a:lnTo>
                    <a:pt x="3" y="41"/>
                  </a:lnTo>
                  <a:lnTo>
                    <a:pt x="11" y="25"/>
                  </a:lnTo>
                  <a:lnTo>
                    <a:pt x="25" y="11"/>
                  </a:lnTo>
                  <a:lnTo>
                    <a:pt x="40" y="3"/>
                  </a:lnTo>
                  <a:lnTo>
                    <a:pt x="59"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8564" name="Freeform 20"/>
            <p:cNvSpPr>
              <a:spLocks/>
            </p:cNvSpPr>
            <p:nvPr userDrawn="1"/>
          </p:nvSpPr>
          <p:spPr bwMode="auto">
            <a:xfrm>
              <a:off x="7859" y="5028"/>
              <a:ext cx="171" cy="262"/>
            </a:xfrm>
            <a:custGeom>
              <a:avLst/>
              <a:gdLst>
                <a:gd name="T0" fmla="*/ 205 w 343"/>
                <a:gd name="T1" fmla="*/ 3 h 525"/>
                <a:gd name="T2" fmla="*/ 280 w 343"/>
                <a:gd name="T3" fmla="*/ 24 h 525"/>
                <a:gd name="T4" fmla="*/ 318 w 343"/>
                <a:gd name="T5" fmla="*/ 149 h 525"/>
                <a:gd name="T6" fmla="*/ 251 w 343"/>
                <a:gd name="T7" fmla="*/ 112 h 525"/>
                <a:gd name="T8" fmla="*/ 191 w 343"/>
                <a:gd name="T9" fmla="*/ 94 h 525"/>
                <a:gd name="T10" fmla="*/ 146 w 343"/>
                <a:gd name="T11" fmla="*/ 94 h 525"/>
                <a:gd name="T12" fmla="*/ 118 w 343"/>
                <a:gd name="T13" fmla="*/ 109 h 525"/>
                <a:gd name="T14" fmla="*/ 110 w 343"/>
                <a:gd name="T15" fmla="*/ 135 h 525"/>
                <a:gd name="T16" fmla="*/ 117 w 343"/>
                <a:gd name="T17" fmla="*/ 154 h 525"/>
                <a:gd name="T18" fmla="*/ 138 w 343"/>
                <a:gd name="T19" fmla="*/ 174 h 525"/>
                <a:gd name="T20" fmla="*/ 175 w 343"/>
                <a:gd name="T21" fmla="*/ 199 h 525"/>
                <a:gd name="T22" fmla="*/ 233 w 343"/>
                <a:gd name="T23" fmla="*/ 232 h 525"/>
                <a:gd name="T24" fmla="*/ 292 w 343"/>
                <a:gd name="T25" fmla="*/ 273 h 525"/>
                <a:gd name="T26" fmla="*/ 326 w 343"/>
                <a:gd name="T27" fmla="*/ 312 h 525"/>
                <a:gd name="T28" fmla="*/ 340 w 343"/>
                <a:gd name="T29" fmla="*/ 354 h 525"/>
                <a:gd name="T30" fmla="*/ 339 w 343"/>
                <a:gd name="T31" fmla="*/ 408 h 525"/>
                <a:gd name="T32" fmla="*/ 315 w 343"/>
                <a:gd name="T33" fmla="*/ 463 h 525"/>
                <a:gd name="T34" fmla="*/ 270 w 343"/>
                <a:gd name="T35" fmla="*/ 502 h 525"/>
                <a:gd name="T36" fmla="*/ 211 w 343"/>
                <a:gd name="T37" fmla="*/ 522 h 525"/>
                <a:gd name="T38" fmla="*/ 140 w 343"/>
                <a:gd name="T39" fmla="*/ 524 h 525"/>
                <a:gd name="T40" fmla="*/ 73 w 343"/>
                <a:gd name="T41" fmla="*/ 510 h 525"/>
                <a:gd name="T42" fmla="*/ 0 w 343"/>
                <a:gd name="T43" fmla="*/ 478 h 525"/>
                <a:gd name="T44" fmla="*/ 41 w 343"/>
                <a:gd name="T45" fmla="*/ 389 h 525"/>
                <a:gd name="T46" fmla="*/ 113 w 343"/>
                <a:gd name="T47" fmla="*/ 422 h 525"/>
                <a:gd name="T48" fmla="*/ 168 w 343"/>
                <a:gd name="T49" fmla="*/ 431 h 525"/>
                <a:gd name="T50" fmla="*/ 201 w 343"/>
                <a:gd name="T51" fmla="*/ 427 h 525"/>
                <a:gd name="T52" fmla="*/ 224 w 343"/>
                <a:gd name="T53" fmla="*/ 412 h 525"/>
                <a:gd name="T54" fmla="*/ 234 w 343"/>
                <a:gd name="T55" fmla="*/ 385 h 525"/>
                <a:gd name="T56" fmla="*/ 219 w 343"/>
                <a:gd name="T57" fmla="*/ 350 h 525"/>
                <a:gd name="T58" fmla="*/ 176 w 343"/>
                <a:gd name="T59" fmla="*/ 318 h 525"/>
                <a:gd name="T60" fmla="*/ 121 w 343"/>
                <a:gd name="T61" fmla="*/ 285 h 525"/>
                <a:gd name="T62" fmla="*/ 73 w 343"/>
                <a:gd name="T63" fmla="*/ 254 h 525"/>
                <a:gd name="T64" fmla="*/ 32 w 343"/>
                <a:gd name="T65" fmla="*/ 215 h 525"/>
                <a:gd name="T66" fmla="*/ 7 w 343"/>
                <a:gd name="T67" fmla="*/ 167 h 525"/>
                <a:gd name="T68" fmla="*/ 7 w 343"/>
                <a:gd name="T69" fmla="*/ 108 h 525"/>
                <a:gd name="T70" fmla="*/ 29 w 343"/>
                <a:gd name="T71" fmla="*/ 57 h 525"/>
                <a:gd name="T72" fmla="*/ 72 w 343"/>
                <a:gd name="T73" fmla="*/ 21 h 525"/>
                <a:gd name="T74" fmla="*/ 134 w 343"/>
                <a:gd name="T75" fmla="*/ 3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3" h="525">
                  <a:moveTo>
                    <a:pt x="171" y="0"/>
                  </a:moveTo>
                  <a:lnTo>
                    <a:pt x="205" y="3"/>
                  </a:lnTo>
                  <a:lnTo>
                    <a:pt x="242" y="10"/>
                  </a:lnTo>
                  <a:lnTo>
                    <a:pt x="280" y="24"/>
                  </a:lnTo>
                  <a:lnTo>
                    <a:pt x="318" y="43"/>
                  </a:lnTo>
                  <a:lnTo>
                    <a:pt x="318" y="149"/>
                  </a:lnTo>
                  <a:lnTo>
                    <a:pt x="284" y="127"/>
                  </a:lnTo>
                  <a:lnTo>
                    <a:pt x="251" y="112"/>
                  </a:lnTo>
                  <a:lnTo>
                    <a:pt x="219" y="101"/>
                  </a:lnTo>
                  <a:lnTo>
                    <a:pt x="191" y="94"/>
                  </a:lnTo>
                  <a:lnTo>
                    <a:pt x="167" y="92"/>
                  </a:lnTo>
                  <a:lnTo>
                    <a:pt x="146" y="94"/>
                  </a:lnTo>
                  <a:lnTo>
                    <a:pt x="129" y="99"/>
                  </a:lnTo>
                  <a:lnTo>
                    <a:pt x="118" y="109"/>
                  </a:lnTo>
                  <a:lnTo>
                    <a:pt x="113" y="121"/>
                  </a:lnTo>
                  <a:lnTo>
                    <a:pt x="110" y="135"/>
                  </a:lnTo>
                  <a:lnTo>
                    <a:pt x="113" y="145"/>
                  </a:lnTo>
                  <a:lnTo>
                    <a:pt x="117" y="154"/>
                  </a:lnTo>
                  <a:lnTo>
                    <a:pt x="125" y="164"/>
                  </a:lnTo>
                  <a:lnTo>
                    <a:pt x="138" y="174"/>
                  </a:lnTo>
                  <a:lnTo>
                    <a:pt x="154" y="186"/>
                  </a:lnTo>
                  <a:lnTo>
                    <a:pt x="175" y="199"/>
                  </a:lnTo>
                  <a:lnTo>
                    <a:pt x="201" y="214"/>
                  </a:lnTo>
                  <a:lnTo>
                    <a:pt x="233" y="232"/>
                  </a:lnTo>
                  <a:lnTo>
                    <a:pt x="266" y="252"/>
                  </a:lnTo>
                  <a:lnTo>
                    <a:pt x="292" y="273"/>
                  </a:lnTo>
                  <a:lnTo>
                    <a:pt x="311" y="292"/>
                  </a:lnTo>
                  <a:lnTo>
                    <a:pt x="326" y="312"/>
                  </a:lnTo>
                  <a:lnTo>
                    <a:pt x="336" y="332"/>
                  </a:lnTo>
                  <a:lnTo>
                    <a:pt x="340" y="354"/>
                  </a:lnTo>
                  <a:lnTo>
                    <a:pt x="343" y="376"/>
                  </a:lnTo>
                  <a:lnTo>
                    <a:pt x="339" y="408"/>
                  </a:lnTo>
                  <a:lnTo>
                    <a:pt x="329" y="437"/>
                  </a:lnTo>
                  <a:lnTo>
                    <a:pt x="315" y="463"/>
                  </a:lnTo>
                  <a:lnTo>
                    <a:pt x="295" y="484"/>
                  </a:lnTo>
                  <a:lnTo>
                    <a:pt x="270" y="502"/>
                  </a:lnTo>
                  <a:lnTo>
                    <a:pt x="242" y="514"/>
                  </a:lnTo>
                  <a:lnTo>
                    <a:pt x="211" y="522"/>
                  </a:lnTo>
                  <a:lnTo>
                    <a:pt x="176" y="525"/>
                  </a:lnTo>
                  <a:lnTo>
                    <a:pt x="140" y="524"/>
                  </a:lnTo>
                  <a:lnTo>
                    <a:pt x="106" y="518"/>
                  </a:lnTo>
                  <a:lnTo>
                    <a:pt x="73" y="510"/>
                  </a:lnTo>
                  <a:lnTo>
                    <a:pt x="39" y="496"/>
                  </a:lnTo>
                  <a:lnTo>
                    <a:pt x="0" y="478"/>
                  </a:lnTo>
                  <a:lnTo>
                    <a:pt x="0" y="364"/>
                  </a:lnTo>
                  <a:lnTo>
                    <a:pt x="41" y="389"/>
                  </a:lnTo>
                  <a:lnTo>
                    <a:pt x="78" y="408"/>
                  </a:lnTo>
                  <a:lnTo>
                    <a:pt x="113" y="422"/>
                  </a:lnTo>
                  <a:lnTo>
                    <a:pt x="143" y="430"/>
                  </a:lnTo>
                  <a:lnTo>
                    <a:pt x="168" y="431"/>
                  </a:lnTo>
                  <a:lnTo>
                    <a:pt x="186" y="431"/>
                  </a:lnTo>
                  <a:lnTo>
                    <a:pt x="201" y="427"/>
                  </a:lnTo>
                  <a:lnTo>
                    <a:pt x="215" y="420"/>
                  </a:lnTo>
                  <a:lnTo>
                    <a:pt x="224" y="412"/>
                  </a:lnTo>
                  <a:lnTo>
                    <a:pt x="231" y="400"/>
                  </a:lnTo>
                  <a:lnTo>
                    <a:pt x="234" y="385"/>
                  </a:lnTo>
                  <a:lnTo>
                    <a:pt x="231" y="367"/>
                  </a:lnTo>
                  <a:lnTo>
                    <a:pt x="219" y="350"/>
                  </a:lnTo>
                  <a:lnTo>
                    <a:pt x="201" y="334"/>
                  </a:lnTo>
                  <a:lnTo>
                    <a:pt x="176" y="318"/>
                  </a:lnTo>
                  <a:lnTo>
                    <a:pt x="150" y="303"/>
                  </a:lnTo>
                  <a:lnTo>
                    <a:pt x="121" y="285"/>
                  </a:lnTo>
                  <a:lnTo>
                    <a:pt x="96" y="270"/>
                  </a:lnTo>
                  <a:lnTo>
                    <a:pt x="73" y="254"/>
                  </a:lnTo>
                  <a:lnTo>
                    <a:pt x="51" y="236"/>
                  </a:lnTo>
                  <a:lnTo>
                    <a:pt x="32" y="215"/>
                  </a:lnTo>
                  <a:lnTo>
                    <a:pt x="17" y="192"/>
                  </a:lnTo>
                  <a:lnTo>
                    <a:pt x="7" y="167"/>
                  </a:lnTo>
                  <a:lnTo>
                    <a:pt x="4" y="138"/>
                  </a:lnTo>
                  <a:lnTo>
                    <a:pt x="7" y="108"/>
                  </a:lnTo>
                  <a:lnTo>
                    <a:pt x="15" y="80"/>
                  </a:lnTo>
                  <a:lnTo>
                    <a:pt x="29" y="57"/>
                  </a:lnTo>
                  <a:lnTo>
                    <a:pt x="48" y="37"/>
                  </a:lnTo>
                  <a:lnTo>
                    <a:pt x="72" y="21"/>
                  </a:lnTo>
                  <a:lnTo>
                    <a:pt x="101" y="10"/>
                  </a:lnTo>
                  <a:lnTo>
                    <a:pt x="134" y="3"/>
                  </a:lnTo>
                  <a:lnTo>
                    <a:pt x="171"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grpSp>
    </p:spTree>
    <p:extLst>
      <p:ext uri="{BB962C8B-B14F-4D97-AF65-F5344CB8AC3E}">
        <p14:creationId xmlns:p14="http://schemas.microsoft.com/office/powerpoint/2010/main" val="46712890"/>
      </p:ext>
    </p:extLst>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 id="2147484679" r:id="rId11"/>
  </p:sldLayoutIdLst>
  <p:transition>
    <p:fade/>
  </p:transition>
  <p:hf hdr="0" ftr="0" dt="0"/>
  <p:txStyles>
    <p:titleStyle>
      <a:lvl1pPr algn="l" defTabSz="964916" rtl="0" fontAlgn="base">
        <a:lnSpc>
          <a:spcPct val="105000"/>
        </a:lnSpc>
        <a:spcBef>
          <a:spcPct val="0"/>
        </a:spcBef>
        <a:spcAft>
          <a:spcPct val="0"/>
        </a:spcAft>
        <a:defRPr sz="5200">
          <a:solidFill>
            <a:srgbClr val="284E36"/>
          </a:solidFill>
          <a:latin typeface="+mj-lt"/>
          <a:ea typeface="+mj-ea"/>
          <a:cs typeface="+mj-cs"/>
        </a:defRPr>
      </a:lvl1pPr>
      <a:lvl2pPr algn="l" defTabSz="964916" rtl="0" fontAlgn="base">
        <a:lnSpc>
          <a:spcPct val="105000"/>
        </a:lnSpc>
        <a:spcBef>
          <a:spcPct val="0"/>
        </a:spcBef>
        <a:spcAft>
          <a:spcPct val="0"/>
        </a:spcAft>
        <a:defRPr sz="5200">
          <a:solidFill>
            <a:srgbClr val="284E36"/>
          </a:solidFill>
          <a:latin typeface="Arial" charset="0"/>
          <a:ea typeface="ＭＳ Ｐゴシック" pitchFamily="34" charset="-128"/>
        </a:defRPr>
      </a:lvl2pPr>
      <a:lvl3pPr algn="l" defTabSz="964916" rtl="0" fontAlgn="base">
        <a:lnSpc>
          <a:spcPct val="105000"/>
        </a:lnSpc>
        <a:spcBef>
          <a:spcPct val="0"/>
        </a:spcBef>
        <a:spcAft>
          <a:spcPct val="0"/>
        </a:spcAft>
        <a:defRPr sz="5200">
          <a:solidFill>
            <a:srgbClr val="284E36"/>
          </a:solidFill>
          <a:latin typeface="Arial" charset="0"/>
          <a:ea typeface="ＭＳ Ｐゴシック" pitchFamily="34" charset="-128"/>
        </a:defRPr>
      </a:lvl3pPr>
      <a:lvl4pPr algn="l" defTabSz="964916" rtl="0" fontAlgn="base">
        <a:lnSpc>
          <a:spcPct val="105000"/>
        </a:lnSpc>
        <a:spcBef>
          <a:spcPct val="0"/>
        </a:spcBef>
        <a:spcAft>
          <a:spcPct val="0"/>
        </a:spcAft>
        <a:defRPr sz="5200">
          <a:solidFill>
            <a:srgbClr val="284E36"/>
          </a:solidFill>
          <a:latin typeface="Arial" charset="0"/>
          <a:ea typeface="ＭＳ Ｐゴシック" pitchFamily="34" charset="-128"/>
        </a:defRPr>
      </a:lvl4pPr>
      <a:lvl5pPr algn="l" defTabSz="964916" rtl="0" fontAlgn="base">
        <a:lnSpc>
          <a:spcPct val="105000"/>
        </a:lnSpc>
        <a:spcBef>
          <a:spcPct val="0"/>
        </a:spcBef>
        <a:spcAft>
          <a:spcPct val="0"/>
        </a:spcAft>
        <a:defRPr sz="5200">
          <a:solidFill>
            <a:srgbClr val="284E36"/>
          </a:solidFill>
          <a:latin typeface="Arial" charset="0"/>
          <a:ea typeface="ＭＳ Ｐゴシック" pitchFamily="34" charset="-128"/>
        </a:defRPr>
      </a:lvl5pPr>
      <a:lvl6pPr marL="456269" algn="l" defTabSz="964916" rtl="0" fontAlgn="base">
        <a:lnSpc>
          <a:spcPct val="105000"/>
        </a:lnSpc>
        <a:spcBef>
          <a:spcPct val="0"/>
        </a:spcBef>
        <a:spcAft>
          <a:spcPct val="0"/>
        </a:spcAft>
        <a:defRPr sz="5200">
          <a:solidFill>
            <a:srgbClr val="284E36"/>
          </a:solidFill>
          <a:latin typeface="Arial" charset="0"/>
          <a:ea typeface="ＭＳ Ｐゴシック" pitchFamily="34" charset="-128"/>
        </a:defRPr>
      </a:lvl6pPr>
      <a:lvl7pPr marL="912644" algn="l" defTabSz="964916" rtl="0" fontAlgn="base">
        <a:lnSpc>
          <a:spcPct val="105000"/>
        </a:lnSpc>
        <a:spcBef>
          <a:spcPct val="0"/>
        </a:spcBef>
        <a:spcAft>
          <a:spcPct val="0"/>
        </a:spcAft>
        <a:defRPr sz="5200">
          <a:solidFill>
            <a:srgbClr val="284E36"/>
          </a:solidFill>
          <a:latin typeface="Arial" charset="0"/>
          <a:ea typeface="ＭＳ Ｐゴシック" pitchFamily="34" charset="-128"/>
        </a:defRPr>
      </a:lvl7pPr>
      <a:lvl8pPr marL="1368948" algn="l" defTabSz="964916" rtl="0" fontAlgn="base">
        <a:lnSpc>
          <a:spcPct val="105000"/>
        </a:lnSpc>
        <a:spcBef>
          <a:spcPct val="0"/>
        </a:spcBef>
        <a:spcAft>
          <a:spcPct val="0"/>
        </a:spcAft>
        <a:defRPr sz="5200">
          <a:solidFill>
            <a:srgbClr val="284E36"/>
          </a:solidFill>
          <a:latin typeface="Arial" charset="0"/>
          <a:ea typeface="ＭＳ Ｐゴシック" pitchFamily="34" charset="-128"/>
        </a:defRPr>
      </a:lvl8pPr>
      <a:lvl9pPr marL="1825286" algn="l" defTabSz="964916" rtl="0" fontAlgn="base">
        <a:lnSpc>
          <a:spcPct val="105000"/>
        </a:lnSpc>
        <a:spcBef>
          <a:spcPct val="0"/>
        </a:spcBef>
        <a:spcAft>
          <a:spcPct val="0"/>
        </a:spcAft>
        <a:defRPr sz="5200">
          <a:solidFill>
            <a:srgbClr val="284E36"/>
          </a:solidFill>
          <a:latin typeface="Arial" charset="0"/>
          <a:ea typeface="ＭＳ Ｐゴシック" pitchFamily="34" charset="-128"/>
        </a:defRPr>
      </a:lvl9pPr>
    </p:titleStyle>
    <p:bodyStyle>
      <a:lvl1pPr algn="l" defTabSz="964916" rtl="0" fontAlgn="base">
        <a:spcBef>
          <a:spcPct val="50000"/>
        </a:spcBef>
        <a:spcAft>
          <a:spcPct val="0"/>
        </a:spcAft>
        <a:buClr>
          <a:schemeClr val="tx1"/>
        </a:buClr>
        <a:buFont typeface="Wingdings" pitchFamily="2" charset="2"/>
        <a:defRPr sz="3600">
          <a:solidFill>
            <a:srgbClr val="284E36"/>
          </a:solidFill>
          <a:latin typeface="+mn-lt"/>
          <a:ea typeface="+mn-ea"/>
          <a:cs typeface="+mn-cs"/>
        </a:defRPr>
      </a:lvl1pPr>
      <a:lvl2pPr marL="627476" indent="-277267" algn="l" defTabSz="964916" rtl="0" fontAlgn="base">
        <a:spcBef>
          <a:spcPct val="20000"/>
        </a:spcBef>
        <a:spcAft>
          <a:spcPct val="0"/>
        </a:spcAft>
        <a:buClr>
          <a:schemeClr val="tx1"/>
        </a:buClr>
        <a:buFont typeface="Wingdings" pitchFamily="2" charset="2"/>
        <a:buChar char="§"/>
        <a:defRPr sz="2000">
          <a:solidFill>
            <a:schemeClr val="tx1"/>
          </a:solidFill>
          <a:latin typeface="+mn-lt"/>
          <a:ea typeface="+mn-ea"/>
        </a:defRPr>
      </a:lvl2pPr>
      <a:lvl3pPr marL="1159788" indent="-266231" algn="l" defTabSz="964916" rtl="0" fontAlgn="base">
        <a:spcBef>
          <a:spcPct val="20000"/>
        </a:spcBef>
        <a:spcAft>
          <a:spcPct val="0"/>
        </a:spcAft>
        <a:buClr>
          <a:schemeClr val="tx1"/>
        </a:buClr>
        <a:buFont typeface="Wingdings" pitchFamily="2" charset="2"/>
        <a:buChar char="§"/>
        <a:defRPr sz="2000">
          <a:solidFill>
            <a:schemeClr val="tx1"/>
          </a:solidFill>
          <a:latin typeface="+mn-lt"/>
          <a:ea typeface="+mn-ea"/>
        </a:defRPr>
      </a:lvl3pPr>
      <a:lvl4pPr marL="1692173" indent="-342200" algn="l" defTabSz="964916" rtl="0" fontAlgn="base">
        <a:spcBef>
          <a:spcPct val="20000"/>
        </a:spcBef>
        <a:spcAft>
          <a:spcPct val="0"/>
        </a:spcAft>
        <a:buClr>
          <a:schemeClr val="tx1"/>
        </a:buClr>
        <a:buFont typeface="Wingdings" pitchFamily="2" charset="2"/>
        <a:buChar char="§"/>
        <a:defRPr sz="2000">
          <a:solidFill>
            <a:schemeClr val="tx1"/>
          </a:solidFill>
          <a:latin typeface="+mn-lt"/>
          <a:ea typeface="+mn-ea"/>
        </a:defRPr>
      </a:lvl4pPr>
      <a:lvl5pPr marL="2051834" indent="-180625" algn="l" defTabSz="964916" rtl="0" fontAlgn="base">
        <a:spcBef>
          <a:spcPct val="20000"/>
        </a:spcBef>
        <a:spcAft>
          <a:spcPct val="0"/>
        </a:spcAft>
        <a:buChar char="»"/>
        <a:defRPr sz="1600">
          <a:solidFill>
            <a:schemeClr val="tx1"/>
          </a:solidFill>
          <a:latin typeface="Gill Sans" pitchFamily="34" charset="0"/>
          <a:ea typeface="+mn-ea"/>
        </a:defRPr>
      </a:lvl5pPr>
      <a:lvl6pPr marL="2508099" indent="-180625" algn="l" defTabSz="964916" rtl="0" fontAlgn="base">
        <a:spcBef>
          <a:spcPct val="20000"/>
        </a:spcBef>
        <a:spcAft>
          <a:spcPct val="0"/>
        </a:spcAft>
        <a:buChar char="»"/>
        <a:defRPr sz="1600">
          <a:solidFill>
            <a:schemeClr val="tx1"/>
          </a:solidFill>
          <a:latin typeface="Gill Sans" pitchFamily="34" charset="0"/>
          <a:ea typeface="+mn-ea"/>
        </a:defRPr>
      </a:lvl6pPr>
      <a:lvl7pPr marL="2964441" indent="-180625" algn="l" defTabSz="964916" rtl="0" fontAlgn="base">
        <a:spcBef>
          <a:spcPct val="20000"/>
        </a:spcBef>
        <a:spcAft>
          <a:spcPct val="0"/>
        </a:spcAft>
        <a:buChar char="»"/>
        <a:defRPr sz="1600">
          <a:solidFill>
            <a:schemeClr val="tx1"/>
          </a:solidFill>
          <a:latin typeface="Gill Sans" pitchFamily="34" charset="0"/>
          <a:ea typeface="+mn-ea"/>
        </a:defRPr>
      </a:lvl7pPr>
      <a:lvl8pPr marL="3420745" indent="-180625" algn="l" defTabSz="964916" rtl="0" fontAlgn="base">
        <a:spcBef>
          <a:spcPct val="20000"/>
        </a:spcBef>
        <a:spcAft>
          <a:spcPct val="0"/>
        </a:spcAft>
        <a:buChar char="»"/>
        <a:defRPr sz="1600">
          <a:solidFill>
            <a:schemeClr val="tx1"/>
          </a:solidFill>
          <a:latin typeface="Gill Sans" pitchFamily="34" charset="0"/>
          <a:ea typeface="+mn-ea"/>
        </a:defRPr>
      </a:lvl8pPr>
      <a:lvl9pPr marL="3877047" indent="-180625" algn="l" defTabSz="964916" rtl="0" fontAlgn="base">
        <a:spcBef>
          <a:spcPct val="20000"/>
        </a:spcBef>
        <a:spcAft>
          <a:spcPct val="0"/>
        </a:spcAft>
        <a:buChar char="»"/>
        <a:defRPr sz="1600">
          <a:solidFill>
            <a:schemeClr val="tx1"/>
          </a:solidFill>
          <a:latin typeface="Gill Sans" pitchFamily="34" charset="0"/>
          <a:ea typeface="+mn-ea"/>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570" name="Rectangle 4"/>
          <p:cNvSpPr>
            <a:spLocks noGrp="1" noChangeArrowheads="1"/>
          </p:cNvSpPr>
          <p:nvPr>
            <p:ph type="title"/>
          </p:nvPr>
        </p:nvSpPr>
        <p:spPr bwMode="auto">
          <a:xfrm>
            <a:off x="184157" y="338192"/>
            <a:ext cx="8551863" cy="451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506" tIns="48290" rIns="96506" bIns="48290" numCol="1" anchor="ctr" anchorCtr="0" compatLnSpc="1">
            <a:prstTxWarp prst="textNoShape">
              <a:avLst/>
            </a:prstTxWarp>
          </a:bodyPr>
          <a:lstStyle/>
          <a:p>
            <a:pPr lvl="0"/>
            <a:r>
              <a:rPr lang="en-US"/>
              <a:t>Click to edit Master title style</a:t>
            </a:r>
          </a:p>
        </p:txBody>
      </p:sp>
      <p:sp>
        <p:nvSpPr>
          <p:cNvPr id="109571" name="Rectangle 5"/>
          <p:cNvSpPr>
            <a:spLocks noGrp="1" noChangeArrowheads="1"/>
          </p:cNvSpPr>
          <p:nvPr>
            <p:ph type="body" idx="1"/>
          </p:nvPr>
        </p:nvSpPr>
        <p:spPr bwMode="auto">
          <a:xfrm>
            <a:off x="184199" y="951324"/>
            <a:ext cx="8558213" cy="3611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506" tIns="48290" rIns="96506" bIns="4829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109572" name="Group 4"/>
          <p:cNvGrpSpPr>
            <a:grpSpLocks/>
          </p:cNvGrpSpPr>
          <p:nvPr/>
        </p:nvGrpSpPr>
        <p:grpSpPr bwMode="auto">
          <a:xfrm>
            <a:off x="0" y="2"/>
            <a:ext cx="9144000" cy="4562475"/>
            <a:chOff x="0" y="0"/>
            <a:chExt cx="5760" cy="3832"/>
          </a:xfrm>
        </p:grpSpPr>
        <p:sp>
          <p:nvSpPr>
            <p:cNvPr id="109573" name="Rectangle 5"/>
            <p:cNvSpPr>
              <a:spLocks noChangeArrowheads="1"/>
            </p:cNvSpPr>
            <p:nvPr userDrawn="1"/>
          </p:nvSpPr>
          <p:spPr bwMode="auto">
            <a:xfrm>
              <a:off x="0" y="0"/>
              <a:ext cx="5760" cy="164"/>
            </a:xfrm>
            <a:prstGeom prst="rect">
              <a:avLst/>
            </a:prstGeom>
            <a:solidFill>
              <a:srgbClr val="88A39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2644"/>
              <a:endParaRPr lang="en-GB" sz="1800">
                <a:solidFill>
                  <a:srgbClr val="000000"/>
                </a:solidFill>
                <a:latin typeface="Gill Sans" pitchFamily="34" charset="0"/>
                <a:cs typeface="+mn-cs"/>
              </a:endParaRPr>
            </a:p>
          </p:txBody>
        </p:sp>
        <p:sp>
          <p:nvSpPr>
            <p:cNvPr id="109574" name="Rectangle 6"/>
            <p:cNvSpPr>
              <a:spLocks noChangeArrowheads="1"/>
            </p:cNvSpPr>
            <p:nvPr userDrawn="1"/>
          </p:nvSpPr>
          <p:spPr bwMode="auto">
            <a:xfrm>
              <a:off x="5586" y="0"/>
              <a:ext cx="174" cy="3832"/>
            </a:xfrm>
            <a:prstGeom prst="rect">
              <a:avLst/>
            </a:prstGeom>
            <a:solidFill>
              <a:srgbClr val="88A39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2644"/>
              <a:endParaRPr lang="en-GB" sz="1800">
                <a:solidFill>
                  <a:srgbClr val="000000"/>
                </a:solidFill>
                <a:latin typeface="Gill Sans" pitchFamily="34" charset="0"/>
                <a:cs typeface="+mn-cs"/>
              </a:endParaRPr>
            </a:p>
          </p:txBody>
        </p:sp>
      </p:grpSp>
      <p:grpSp>
        <p:nvGrpSpPr>
          <p:cNvPr id="109575" name="Group 7"/>
          <p:cNvGrpSpPr>
            <a:grpSpLocks/>
          </p:cNvGrpSpPr>
          <p:nvPr/>
        </p:nvGrpSpPr>
        <p:grpSpPr bwMode="auto">
          <a:xfrm>
            <a:off x="7464426" y="4731553"/>
            <a:ext cx="1403350" cy="251222"/>
            <a:chOff x="5760" y="4880"/>
            <a:chExt cx="2270" cy="532"/>
          </a:xfrm>
        </p:grpSpPr>
        <p:sp>
          <p:nvSpPr>
            <p:cNvPr id="109576" name="Freeform 8"/>
            <p:cNvSpPr>
              <a:spLocks/>
            </p:cNvSpPr>
            <p:nvPr userDrawn="1"/>
          </p:nvSpPr>
          <p:spPr bwMode="auto">
            <a:xfrm>
              <a:off x="5760" y="4880"/>
              <a:ext cx="136" cy="532"/>
            </a:xfrm>
            <a:custGeom>
              <a:avLst/>
              <a:gdLst>
                <a:gd name="T0" fmla="*/ 157 w 271"/>
                <a:gd name="T1" fmla="*/ 0 h 1064"/>
                <a:gd name="T2" fmla="*/ 271 w 271"/>
                <a:gd name="T3" fmla="*/ 113 h 1064"/>
                <a:gd name="T4" fmla="*/ 271 w 271"/>
                <a:gd name="T5" fmla="*/ 817 h 1064"/>
                <a:gd name="T6" fmla="*/ 270 w 271"/>
                <a:gd name="T7" fmla="*/ 857 h 1064"/>
                <a:gd name="T8" fmla="*/ 264 w 271"/>
                <a:gd name="T9" fmla="*/ 896 h 1064"/>
                <a:gd name="T10" fmla="*/ 256 w 271"/>
                <a:gd name="T11" fmla="*/ 932 h 1064"/>
                <a:gd name="T12" fmla="*/ 242 w 271"/>
                <a:gd name="T13" fmla="*/ 963 h 1064"/>
                <a:gd name="T14" fmla="*/ 226 w 271"/>
                <a:gd name="T15" fmla="*/ 992 h 1064"/>
                <a:gd name="T16" fmla="*/ 205 w 271"/>
                <a:gd name="T17" fmla="*/ 1017 h 1064"/>
                <a:gd name="T18" fmla="*/ 179 w 271"/>
                <a:gd name="T19" fmla="*/ 1038 h 1064"/>
                <a:gd name="T20" fmla="*/ 149 w 271"/>
                <a:gd name="T21" fmla="*/ 1054 h 1064"/>
                <a:gd name="T22" fmla="*/ 113 w 271"/>
                <a:gd name="T23" fmla="*/ 1064 h 1064"/>
                <a:gd name="T24" fmla="*/ 0 w 271"/>
                <a:gd name="T25" fmla="*/ 959 h 1064"/>
                <a:gd name="T26" fmla="*/ 36 w 271"/>
                <a:gd name="T27" fmla="*/ 959 h 1064"/>
                <a:gd name="T28" fmla="*/ 66 w 271"/>
                <a:gd name="T29" fmla="*/ 957 h 1064"/>
                <a:gd name="T30" fmla="*/ 91 w 271"/>
                <a:gd name="T31" fmla="*/ 952 h 1064"/>
                <a:gd name="T32" fmla="*/ 112 w 271"/>
                <a:gd name="T33" fmla="*/ 944 h 1064"/>
                <a:gd name="T34" fmla="*/ 127 w 271"/>
                <a:gd name="T35" fmla="*/ 932 h 1064"/>
                <a:gd name="T36" fmla="*/ 139 w 271"/>
                <a:gd name="T37" fmla="*/ 917 h 1064"/>
                <a:gd name="T38" fmla="*/ 147 w 271"/>
                <a:gd name="T39" fmla="*/ 897 h 1064"/>
                <a:gd name="T40" fmla="*/ 153 w 271"/>
                <a:gd name="T41" fmla="*/ 875 h 1064"/>
                <a:gd name="T42" fmla="*/ 156 w 271"/>
                <a:gd name="T43" fmla="*/ 849 h 1064"/>
                <a:gd name="T44" fmla="*/ 157 w 271"/>
                <a:gd name="T45" fmla="*/ 819 h 1064"/>
                <a:gd name="T46" fmla="*/ 157 w 271"/>
                <a:gd name="T47" fmla="*/ 786 h 1064"/>
                <a:gd name="T48" fmla="*/ 157 w 271"/>
                <a:gd name="T49" fmla="*/ 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1" h="1064">
                  <a:moveTo>
                    <a:pt x="157" y="0"/>
                  </a:moveTo>
                  <a:lnTo>
                    <a:pt x="271" y="113"/>
                  </a:lnTo>
                  <a:lnTo>
                    <a:pt x="271" y="817"/>
                  </a:lnTo>
                  <a:lnTo>
                    <a:pt x="270" y="857"/>
                  </a:lnTo>
                  <a:lnTo>
                    <a:pt x="264" y="896"/>
                  </a:lnTo>
                  <a:lnTo>
                    <a:pt x="256" y="932"/>
                  </a:lnTo>
                  <a:lnTo>
                    <a:pt x="242" y="963"/>
                  </a:lnTo>
                  <a:lnTo>
                    <a:pt x="226" y="992"/>
                  </a:lnTo>
                  <a:lnTo>
                    <a:pt x="205" y="1017"/>
                  </a:lnTo>
                  <a:lnTo>
                    <a:pt x="179" y="1038"/>
                  </a:lnTo>
                  <a:lnTo>
                    <a:pt x="149" y="1054"/>
                  </a:lnTo>
                  <a:lnTo>
                    <a:pt x="113" y="1064"/>
                  </a:lnTo>
                  <a:lnTo>
                    <a:pt x="0" y="959"/>
                  </a:lnTo>
                  <a:lnTo>
                    <a:pt x="36" y="959"/>
                  </a:lnTo>
                  <a:lnTo>
                    <a:pt x="66" y="957"/>
                  </a:lnTo>
                  <a:lnTo>
                    <a:pt x="91" y="952"/>
                  </a:lnTo>
                  <a:lnTo>
                    <a:pt x="112" y="944"/>
                  </a:lnTo>
                  <a:lnTo>
                    <a:pt x="127" y="932"/>
                  </a:lnTo>
                  <a:lnTo>
                    <a:pt x="139" y="917"/>
                  </a:lnTo>
                  <a:lnTo>
                    <a:pt x="147" y="897"/>
                  </a:lnTo>
                  <a:lnTo>
                    <a:pt x="153" y="875"/>
                  </a:lnTo>
                  <a:lnTo>
                    <a:pt x="156" y="849"/>
                  </a:lnTo>
                  <a:lnTo>
                    <a:pt x="157" y="819"/>
                  </a:lnTo>
                  <a:lnTo>
                    <a:pt x="157" y="786"/>
                  </a:lnTo>
                  <a:lnTo>
                    <a:pt x="157"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9577" name="Freeform 9"/>
            <p:cNvSpPr>
              <a:spLocks noEditPoints="1"/>
            </p:cNvSpPr>
            <p:nvPr userDrawn="1"/>
          </p:nvSpPr>
          <p:spPr bwMode="auto">
            <a:xfrm>
              <a:off x="5940" y="5028"/>
              <a:ext cx="270" cy="262"/>
            </a:xfrm>
            <a:custGeom>
              <a:avLst/>
              <a:gdLst>
                <a:gd name="T0" fmla="*/ 232 w 540"/>
                <a:gd name="T1" fmla="*/ 99 h 525"/>
                <a:gd name="T2" fmla="*/ 176 w 540"/>
                <a:gd name="T3" fmla="*/ 123 h 525"/>
                <a:gd name="T4" fmla="*/ 133 w 540"/>
                <a:gd name="T5" fmla="*/ 165 h 525"/>
                <a:gd name="T6" fmla="*/ 111 w 540"/>
                <a:gd name="T7" fmla="*/ 223 h 525"/>
                <a:gd name="T8" fmla="*/ 111 w 540"/>
                <a:gd name="T9" fmla="*/ 295 h 525"/>
                <a:gd name="T10" fmla="*/ 133 w 540"/>
                <a:gd name="T11" fmla="*/ 357 h 525"/>
                <a:gd name="T12" fmla="*/ 175 w 540"/>
                <a:gd name="T13" fmla="*/ 402 h 525"/>
                <a:gd name="T14" fmla="*/ 232 w 540"/>
                <a:gd name="T15" fmla="*/ 426 h 525"/>
                <a:gd name="T16" fmla="*/ 303 w 540"/>
                <a:gd name="T17" fmla="*/ 427 h 525"/>
                <a:gd name="T18" fmla="*/ 363 w 540"/>
                <a:gd name="T19" fmla="*/ 404 h 525"/>
                <a:gd name="T20" fmla="*/ 406 w 540"/>
                <a:gd name="T21" fmla="*/ 360 h 525"/>
                <a:gd name="T22" fmla="*/ 429 w 540"/>
                <a:gd name="T23" fmla="*/ 296 h 525"/>
                <a:gd name="T24" fmla="*/ 429 w 540"/>
                <a:gd name="T25" fmla="*/ 225 h 525"/>
                <a:gd name="T26" fmla="*/ 405 w 540"/>
                <a:gd name="T27" fmla="*/ 165 h 525"/>
                <a:gd name="T28" fmla="*/ 361 w 540"/>
                <a:gd name="T29" fmla="*/ 123 h 525"/>
                <a:gd name="T30" fmla="*/ 300 w 540"/>
                <a:gd name="T31" fmla="*/ 99 h 525"/>
                <a:gd name="T32" fmla="*/ 267 w 540"/>
                <a:gd name="T33" fmla="*/ 0 h 525"/>
                <a:gd name="T34" fmla="*/ 356 w 540"/>
                <a:gd name="T35" fmla="*/ 13 h 525"/>
                <a:gd name="T36" fmla="*/ 431 w 540"/>
                <a:gd name="T37" fmla="*/ 47 h 525"/>
                <a:gd name="T38" fmla="*/ 490 w 540"/>
                <a:gd name="T39" fmla="*/ 102 h 525"/>
                <a:gd name="T40" fmla="*/ 527 w 540"/>
                <a:gd name="T41" fmla="*/ 174 h 525"/>
                <a:gd name="T42" fmla="*/ 540 w 540"/>
                <a:gd name="T43" fmla="*/ 258 h 525"/>
                <a:gd name="T44" fmla="*/ 527 w 540"/>
                <a:gd name="T45" fmla="*/ 347 h 525"/>
                <a:gd name="T46" fmla="*/ 490 w 540"/>
                <a:gd name="T47" fmla="*/ 420 h 525"/>
                <a:gd name="T48" fmla="*/ 432 w 540"/>
                <a:gd name="T49" fmla="*/ 477 h 525"/>
                <a:gd name="T50" fmla="*/ 358 w 540"/>
                <a:gd name="T51" fmla="*/ 513 h 525"/>
                <a:gd name="T52" fmla="*/ 267 w 540"/>
                <a:gd name="T53" fmla="*/ 525 h 525"/>
                <a:gd name="T54" fmla="*/ 179 w 540"/>
                <a:gd name="T55" fmla="*/ 513 h 525"/>
                <a:gd name="T56" fmla="*/ 106 w 540"/>
                <a:gd name="T57" fmla="*/ 476 h 525"/>
                <a:gd name="T58" fmla="*/ 49 w 540"/>
                <a:gd name="T59" fmla="*/ 419 h 525"/>
                <a:gd name="T60" fmla="*/ 14 w 540"/>
                <a:gd name="T61" fmla="*/ 345 h 525"/>
                <a:gd name="T62" fmla="*/ 0 w 540"/>
                <a:gd name="T63" fmla="*/ 258 h 525"/>
                <a:gd name="T64" fmla="*/ 16 w 540"/>
                <a:gd name="T65" fmla="*/ 167 h 525"/>
                <a:gd name="T66" fmla="*/ 62 w 540"/>
                <a:gd name="T67" fmla="*/ 91 h 525"/>
                <a:gd name="T68" fmla="*/ 131 w 540"/>
                <a:gd name="T69" fmla="*/ 35 h 525"/>
                <a:gd name="T70" fmla="*/ 217 w 540"/>
                <a:gd name="T71" fmla="*/ 4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0" h="525">
                  <a:moveTo>
                    <a:pt x="266" y="95"/>
                  </a:moveTo>
                  <a:lnTo>
                    <a:pt x="232" y="99"/>
                  </a:lnTo>
                  <a:lnTo>
                    <a:pt x="202" y="108"/>
                  </a:lnTo>
                  <a:lnTo>
                    <a:pt x="176" y="123"/>
                  </a:lnTo>
                  <a:lnTo>
                    <a:pt x="153" y="142"/>
                  </a:lnTo>
                  <a:lnTo>
                    <a:pt x="133" y="165"/>
                  </a:lnTo>
                  <a:lnTo>
                    <a:pt x="120" y="193"/>
                  </a:lnTo>
                  <a:lnTo>
                    <a:pt x="111" y="223"/>
                  </a:lnTo>
                  <a:lnTo>
                    <a:pt x="109" y="258"/>
                  </a:lnTo>
                  <a:lnTo>
                    <a:pt x="111" y="295"/>
                  </a:lnTo>
                  <a:lnTo>
                    <a:pt x="120" y="328"/>
                  </a:lnTo>
                  <a:lnTo>
                    <a:pt x="133" y="357"/>
                  </a:lnTo>
                  <a:lnTo>
                    <a:pt x="151" y="382"/>
                  </a:lnTo>
                  <a:lnTo>
                    <a:pt x="175" y="402"/>
                  </a:lnTo>
                  <a:lnTo>
                    <a:pt x="202" y="418"/>
                  </a:lnTo>
                  <a:lnTo>
                    <a:pt x="232" y="426"/>
                  </a:lnTo>
                  <a:lnTo>
                    <a:pt x="266" y="430"/>
                  </a:lnTo>
                  <a:lnTo>
                    <a:pt x="303" y="427"/>
                  </a:lnTo>
                  <a:lnTo>
                    <a:pt x="334" y="418"/>
                  </a:lnTo>
                  <a:lnTo>
                    <a:pt x="363" y="404"/>
                  </a:lnTo>
                  <a:lnTo>
                    <a:pt x="387" y="383"/>
                  </a:lnTo>
                  <a:lnTo>
                    <a:pt x="406" y="360"/>
                  </a:lnTo>
                  <a:lnTo>
                    <a:pt x="420" y="329"/>
                  </a:lnTo>
                  <a:lnTo>
                    <a:pt x="429" y="296"/>
                  </a:lnTo>
                  <a:lnTo>
                    <a:pt x="432" y="259"/>
                  </a:lnTo>
                  <a:lnTo>
                    <a:pt x="429" y="225"/>
                  </a:lnTo>
                  <a:lnTo>
                    <a:pt x="420" y="193"/>
                  </a:lnTo>
                  <a:lnTo>
                    <a:pt x="405" y="165"/>
                  </a:lnTo>
                  <a:lnTo>
                    <a:pt x="385" y="142"/>
                  </a:lnTo>
                  <a:lnTo>
                    <a:pt x="361" y="123"/>
                  </a:lnTo>
                  <a:lnTo>
                    <a:pt x="333" y="108"/>
                  </a:lnTo>
                  <a:lnTo>
                    <a:pt x="300" y="99"/>
                  </a:lnTo>
                  <a:lnTo>
                    <a:pt x="266" y="95"/>
                  </a:lnTo>
                  <a:close/>
                  <a:moveTo>
                    <a:pt x="267" y="0"/>
                  </a:moveTo>
                  <a:lnTo>
                    <a:pt x="312" y="3"/>
                  </a:lnTo>
                  <a:lnTo>
                    <a:pt x="356" y="13"/>
                  </a:lnTo>
                  <a:lnTo>
                    <a:pt x="395" y="28"/>
                  </a:lnTo>
                  <a:lnTo>
                    <a:pt x="431" y="47"/>
                  </a:lnTo>
                  <a:lnTo>
                    <a:pt x="462" y="73"/>
                  </a:lnTo>
                  <a:lnTo>
                    <a:pt x="490" y="102"/>
                  </a:lnTo>
                  <a:lnTo>
                    <a:pt x="511" y="137"/>
                  </a:lnTo>
                  <a:lnTo>
                    <a:pt x="527" y="174"/>
                  </a:lnTo>
                  <a:lnTo>
                    <a:pt x="537" y="214"/>
                  </a:lnTo>
                  <a:lnTo>
                    <a:pt x="540" y="258"/>
                  </a:lnTo>
                  <a:lnTo>
                    <a:pt x="537" y="303"/>
                  </a:lnTo>
                  <a:lnTo>
                    <a:pt x="527" y="347"/>
                  </a:lnTo>
                  <a:lnTo>
                    <a:pt x="512" y="386"/>
                  </a:lnTo>
                  <a:lnTo>
                    <a:pt x="490" y="420"/>
                  </a:lnTo>
                  <a:lnTo>
                    <a:pt x="464" y="451"/>
                  </a:lnTo>
                  <a:lnTo>
                    <a:pt x="432" y="477"/>
                  </a:lnTo>
                  <a:lnTo>
                    <a:pt x="398" y="498"/>
                  </a:lnTo>
                  <a:lnTo>
                    <a:pt x="358" y="513"/>
                  </a:lnTo>
                  <a:lnTo>
                    <a:pt x="314" y="522"/>
                  </a:lnTo>
                  <a:lnTo>
                    <a:pt x="267" y="525"/>
                  </a:lnTo>
                  <a:lnTo>
                    <a:pt x="221" y="522"/>
                  </a:lnTo>
                  <a:lnTo>
                    <a:pt x="179" y="513"/>
                  </a:lnTo>
                  <a:lnTo>
                    <a:pt x="140" y="496"/>
                  </a:lnTo>
                  <a:lnTo>
                    <a:pt x="106" y="476"/>
                  </a:lnTo>
                  <a:lnTo>
                    <a:pt x="75" y="449"/>
                  </a:lnTo>
                  <a:lnTo>
                    <a:pt x="49" y="419"/>
                  </a:lnTo>
                  <a:lnTo>
                    <a:pt x="29" y="385"/>
                  </a:lnTo>
                  <a:lnTo>
                    <a:pt x="14" y="345"/>
                  </a:lnTo>
                  <a:lnTo>
                    <a:pt x="4" y="303"/>
                  </a:lnTo>
                  <a:lnTo>
                    <a:pt x="0" y="258"/>
                  </a:lnTo>
                  <a:lnTo>
                    <a:pt x="4" y="211"/>
                  </a:lnTo>
                  <a:lnTo>
                    <a:pt x="16" y="167"/>
                  </a:lnTo>
                  <a:lnTo>
                    <a:pt x="36" y="127"/>
                  </a:lnTo>
                  <a:lnTo>
                    <a:pt x="62" y="91"/>
                  </a:lnTo>
                  <a:lnTo>
                    <a:pt x="93" y="59"/>
                  </a:lnTo>
                  <a:lnTo>
                    <a:pt x="131" y="35"/>
                  </a:lnTo>
                  <a:lnTo>
                    <a:pt x="172" y="15"/>
                  </a:lnTo>
                  <a:lnTo>
                    <a:pt x="217" y="4"/>
                  </a:lnTo>
                  <a:lnTo>
                    <a:pt x="267"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9578" name="Freeform 10"/>
            <p:cNvSpPr>
              <a:spLocks/>
            </p:cNvSpPr>
            <p:nvPr userDrawn="1"/>
          </p:nvSpPr>
          <p:spPr bwMode="auto">
            <a:xfrm>
              <a:off x="6256" y="4911"/>
              <a:ext cx="212" cy="374"/>
            </a:xfrm>
            <a:custGeom>
              <a:avLst/>
              <a:gdLst>
                <a:gd name="T0" fmla="*/ 0 w 426"/>
                <a:gd name="T1" fmla="*/ 0 h 748"/>
                <a:gd name="T2" fmla="*/ 106 w 426"/>
                <a:gd name="T3" fmla="*/ 0 h 748"/>
                <a:gd name="T4" fmla="*/ 106 w 426"/>
                <a:gd name="T5" fmla="*/ 303 h 748"/>
                <a:gd name="T6" fmla="*/ 131 w 426"/>
                <a:gd name="T7" fmla="*/ 279 h 748"/>
                <a:gd name="T8" fmla="*/ 159 w 426"/>
                <a:gd name="T9" fmla="*/ 258 h 748"/>
                <a:gd name="T10" fmla="*/ 188 w 426"/>
                <a:gd name="T11" fmla="*/ 243 h 748"/>
                <a:gd name="T12" fmla="*/ 221 w 426"/>
                <a:gd name="T13" fmla="*/ 235 h 748"/>
                <a:gd name="T14" fmla="*/ 252 w 426"/>
                <a:gd name="T15" fmla="*/ 230 h 748"/>
                <a:gd name="T16" fmla="*/ 284 w 426"/>
                <a:gd name="T17" fmla="*/ 233 h 748"/>
                <a:gd name="T18" fmla="*/ 314 w 426"/>
                <a:gd name="T19" fmla="*/ 241 h 748"/>
                <a:gd name="T20" fmla="*/ 342 w 426"/>
                <a:gd name="T21" fmla="*/ 254 h 748"/>
                <a:gd name="T22" fmla="*/ 365 w 426"/>
                <a:gd name="T23" fmla="*/ 272 h 748"/>
                <a:gd name="T24" fmla="*/ 386 w 426"/>
                <a:gd name="T25" fmla="*/ 295 h 748"/>
                <a:gd name="T26" fmla="*/ 402 w 426"/>
                <a:gd name="T27" fmla="*/ 323 h 748"/>
                <a:gd name="T28" fmla="*/ 415 w 426"/>
                <a:gd name="T29" fmla="*/ 356 h 748"/>
                <a:gd name="T30" fmla="*/ 423 w 426"/>
                <a:gd name="T31" fmla="*/ 394 h 748"/>
                <a:gd name="T32" fmla="*/ 426 w 426"/>
                <a:gd name="T33" fmla="*/ 437 h 748"/>
                <a:gd name="T34" fmla="*/ 426 w 426"/>
                <a:gd name="T35" fmla="*/ 748 h 748"/>
                <a:gd name="T36" fmla="*/ 320 w 426"/>
                <a:gd name="T37" fmla="*/ 748 h 748"/>
                <a:gd name="T38" fmla="*/ 320 w 426"/>
                <a:gd name="T39" fmla="*/ 434 h 748"/>
                <a:gd name="T40" fmla="*/ 317 w 426"/>
                <a:gd name="T41" fmla="*/ 405 h 748"/>
                <a:gd name="T42" fmla="*/ 312 w 426"/>
                <a:gd name="T43" fmla="*/ 379 h 748"/>
                <a:gd name="T44" fmla="*/ 301 w 426"/>
                <a:gd name="T45" fmla="*/ 357 h 748"/>
                <a:gd name="T46" fmla="*/ 287 w 426"/>
                <a:gd name="T47" fmla="*/ 341 h 748"/>
                <a:gd name="T48" fmla="*/ 270 w 426"/>
                <a:gd name="T49" fmla="*/ 327 h 748"/>
                <a:gd name="T50" fmla="*/ 250 w 426"/>
                <a:gd name="T51" fmla="*/ 319 h 748"/>
                <a:gd name="T52" fmla="*/ 226 w 426"/>
                <a:gd name="T53" fmla="*/ 316 h 748"/>
                <a:gd name="T54" fmla="*/ 203 w 426"/>
                <a:gd name="T55" fmla="*/ 319 h 748"/>
                <a:gd name="T56" fmla="*/ 179 w 426"/>
                <a:gd name="T57" fmla="*/ 327 h 748"/>
                <a:gd name="T58" fmla="*/ 156 w 426"/>
                <a:gd name="T59" fmla="*/ 339 h 748"/>
                <a:gd name="T60" fmla="*/ 133 w 426"/>
                <a:gd name="T61" fmla="*/ 360 h 748"/>
                <a:gd name="T62" fmla="*/ 106 w 426"/>
                <a:gd name="T63" fmla="*/ 387 h 748"/>
                <a:gd name="T64" fmla="*/ 106 w 426"/>
                <a:gd name="T65" fmla="*/ 748 h 748"/>
                <a:gd name="T66" fmla="*/ 0 w 426"/>
                <a:gd name="T67" fmla="*/ 748 h 748"/>
                <a:gd name="T68" fmla="*/ 0 w 426"/>
                <a:gd name="T69" fmla="*/ 0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6" h="748">
                  <a:moveTo>
                    <a:pt x="0" y="0"/>
                  </a:moveTo>
                  <a:lnTo>
                    <a:pt x="106" y="0"/>
                  </a:lnTo>
                  <a:lnTo>
                    <a:pt x="106" y="303"/>
                  </a:lnTo>
                  <a:lnTo>
                    <a:pt x="131" y="279"/>
                  </a:lnTo>
                  <a:lnTo>
                    <a:pt x="159" y="258"/>
                  </a:lnTo>
                  <a:lnTo>
                    <a:pt x="188" y="243"/>
                  </a:lnTo>
                  <a:lnTo>
                    <a:pt x="221" y="235"/>
                  </a:lnTo>
                  <a:lnTo>
                    <a:pt x="252" y="230"/>
                  </a:lnTo>
                  <a:lnTo>
                    <a:pt x="284" y="233"/>
                  </a:lnTo>
                  <a:lnTo>
                    <a:pt x="314" y="241"/>
                  </a:lnTo>
                  <a:lnTo>
                    <a:pt x="342" y="254"/>
                  </a:lnTo>
                  <a:lnTo>
                    <a:pt x="365" y="272"/>
                  </a:lnTo>
                  <a:lnTo>
                    <a:pt x="386" y="295"/>
                  </a:lnTo>
                  <a:lnTo>
                    <a:pt x="402" y="323"/>
                  </a:lnTo>
                  <a:lnTo>
                    <a:pt x="415" y="356"/>
                  </a:lnTo>
                  <a:lnTo>
                    <a:pt x="423" y="394"/>
                  </a:lnTo>
                  <a:lnTo>
                    <a:pt x="426" y="437"/>
                  </a:lnTo>
                  <a:lnTo>
                    <a:pt x="426" y="748"/>
                  </a:lnTo>
                  <a:lnTo>
                    <a:pt x="320" y="748"/>
                  </a:lnTo>
                  <a:lnTo>
                    <a:pt x="320" y="434"/>
                  </a:lnTo>
                  <a:lnTo>
                    <a:pt x="317" y="405"/>
                  </a:lnTo>
                  <a:lnTo>
                    <a:pt x="312" y="379"/>
                  </a:lnTo>
                  <a:lnTo>
                    <a:pt x="301" y="357"/>
                  </a:lnTo>
                  <a:lnTo>
                    <a:pt x="287" y="341"/>
                  </a:lnTo>
                  <a:lnTo>
                    <a:pt x="270" y="327"/>
                  </a:lnTo>
                  <a:lnTo>
                    <a:pt x="250" y="319"/>
                  </a:lnTo>
                  <a:lnTo>
                    <a:pt x="226" y="316"/>
                  </a:lnTo>
                  <a:lnTo>
                    <a:pt x="203" y="319"/>
                  </a:lnTo>
                  <a:lnTo>
                    <a:pt x="179" y="327"/>
                  </a:lnTo>
                  <a:lnTo>
                    <a:pt x="156" y="339"/>
                  </a:lnTo>
                  <a:lnTo>
                    <a:pt x="133" y="360"/>
                  </a:lnTo>
                  <a:lnTo>
                    <a:pt x="106" y="387"/>
                  </a:lnTo>
                  <a:lnTo>
                    <a:pt x="106" y="748"/>
                  </a:lnTo>
                  <a:lnTo>
                    <a:pt x="0" y="748"/>
                  </a:lnTo>
                  <a:lnTo>
                    <a:pt x="0"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9579" name="Freeform 11"/>
            <p:cNvSpPr>
              <a:spLocks/>
            </p:cNvSpPr>
            <p:nvPr userDrawn="1"/>
          </p:nvSpPr>
          <p:spPr bwMode="auto">
            <a:xfrm>
              <a:off x="6530" y="5028"/>
              <a:ext cx="212" cy="257"/>
            </a:xfrm>
            <a:custGeom>
              <a:avLst/>
              <a:gdLst>
                <a:gd name="T0" fmla="*/ 251 w 425"/>
                <a:gd name="T1" fmla="*/ 0 h 515"/>
                <a:gd name="T2" fmla="*/ 283 w 425"/>
                <a:gd name="T3" fmla="*/ 3 h 515"/>
                <a:gd name="T4" fmla="*/ 313 w 425"/>
                <a:gd name="T5" fmla="*/ 10 h 515"/>
                <a:gd name="T6" fmla="*/ 339 w 425"/>
                <a:gd name="T7" fmla="*/ 22 h 515"/>
                <a:gd name="T8" fmla="*/ 364 w 425"/>
                <a:gd name="T9" fmla="*/ 40 h 515"/>
                <a:gd name="T10" fmla="*/ 385 w 425"/>
                <a:gd name="T11" fmla="*/ 62 h 515"/>
                <a:gd name="T12" fmla="*/ 401 w 425"/>
                <a:gd name="T13" fmla="*/ 90 h 515"/>
                <a:gd name="T14" fmla="*/ 414 w 425"/>
                <a:gd name="T15" fmla="*/ 123 h 515"/>
                <a:gd name="T16" fmla="*/ 422 w 425"/>
                <a:gd name="T17" fmla="*/ 161 h 515"/>
                <a:gd name="T18" fmla="*/ 425 w 425"/>
                <a:gd name="T19" fmla="*/ 204 h 515"/>
                <a:gd name="T20" fmla="*/ 425 w 425"/>
                <a:gd name="T21" fmla="*/ 515 h 515"/>
                <a:gd name="T22" fmla="*/ 319 w 425"/>
                <a:gd name="T23" fmla="*/ 515 h 515"/>
                <a:gd name="T24" fmla="*/ 319 w 425"/>
                <a:gd name="T25" fmla="*/ 204 h 515"/>
                <a:gd name="T26" fmla="*/ 317 w 425"/>
                <a:gd name="T27" fmla="*/ 174 h 515"/>
                <a:gd name="T28" fmla="*/ 310 w 425"/>
                <a:gd name="T29" fmla="*/ 148 h 515"/>
                <a:gd name="T30" fmla="*/ 301 w 425"/>
                <a:gd name="T31" fmla="*/ 127 h 515"/>
                <a:gd name="T32" fmla="*/ 287 w 425"/>
                <a:gd name="T33" fmla="*/ 109 h 515"/>
                <a:gd name="T34" fmla="*/ 269 w 425"/>
                <a:gd name="T35" fmla="*/ 97 h 515"/>
                <a:gd name="T36" fmla="*/ 248 w 425"/>
                <a:gd name="T37" fmla="*/ 88 h 515"/>
                <a:gd name="T38" fmla="*/ 226 w 425"/>
                <a:gd name="T39" fmla="*/ 86 h 515"/>
                <a:gd name="T40" fmla="*/ 201 w 425"/>
                <a:gd name="T41" fmla="*/ 88 h 515"/>
                <a:gd name="T42" fmla="*/ 178 w 425"/>
                <a:gd name="T43" fmla="*/ 95 h 515"/>
                <a:gd name="T44" fmla="*/ 155 w 425"/>
                <a:gd name="T45" fmla="*/ 109 h 515"/>
                <a:gd name="T46" fmla="*/ 131 w 425"/>
                <a:gd name="T47" fmla="*/ 128 h 515"/>
                <a:gd name="T48" fmla="*/ 105 w 425"/>
                <a:gd name="T49" fmla="*/ 156 h 515"/>
                <a:gd name="T50" fmla="*/ 105 w 425"/>
                <a:gd name="T51" fmla="*/ 515 h 515"/>
                <a:gd name="T52" fmla="*/ 0 w 425"/>
                <a:gd name="T53" fmla="*/ 515 h 515"/>
                <a:gd name="T54" fmla="*/ 0 w 425"/>
                <a:gd name="T55" fmla="*/ 8 h 515"/>
                <a:gd name="T56" fmla="*/ 105 w 425"/>
                <a:gd name="T57" fmla="*/ 8 h 515"/>
                <a:gd name="T58" fmla="*/ 105 w 425"/>
                <a:gd name="T59" fmla="*/ 72 h 515"/>
                <a:gd name="T60" fmla="*/ 130 w 425"/>
                <a:gd name="T61" fmla="*/ 47 h 515"/>
                <a:gd name="T62" fmla="*/ 157 w 425"/>
                <a:gd name="T63" fmla="*/ 28 h 515"/>
                <a:gd name="T64" fmla="*/ 188 w 425"/>
                <a:gd name="T65" fmla="*/ 13 h 515"/>
                <a:gd name="T66" fmla="*/ 219 w 425"/>
                <a:gd name="T67" fmla="*/ 3 h 515"/>
                <a:gd name="T68" fmla="*/ 251 w 425"/>
                <a:gd name="T6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5" h="515">
                  <a:moveTo>
                    <a:pt x="251" y="0"/>
                  </a:moveTo>
                  <a:lnTo>
                    <a:pt x="283" y="3"/>
                  </a:lnTo>
                  <a:lnTo>
                    <a:pt x="313" y="10"/>
                  </a:lnTo>
                  <a:lnTo>
                    <a:pt x="339" y="22"/>
                  </a:lnTo>
                  <a:lnTo>
                    <a:pt x="364" y="40"/>
                  </a:lnTo>
                  <a:lnTo>
                    <a:pt x="385" y="62"/>
                  </a:lnTo>
                  <a:lnTo>
                    <a:pt x="401" y="90"/>
                  </a:lnTo>
                  <a:lnTo>
                    <a:pt x="414" y="123"/>
                  </a:lnTo>
                  <a:lnTo>
                    <a:pt x="422" y="161"/>
                  </a:lnTo>
                  <a:lnTo>
                    <a:pt x="425" y="204"/>
                  </a:lnTo>
                  <a:lnTo>
                    <a:pt x="425" y="515"/>
                  </a:lnTo>
                  <a:lnTo>
                    <a:pt x="319" y="515"/>
                  </a:lnTo>
                  <a:lnTo>
                    <a:pt x="319" y="204"/>
                  </a:lnTo>
                  <a:lnTo>
                    <a:pt x="317" y="174"/>
                  </a:lnTo>
                  <a:lnTo>
                    <a:pt x="310" y="148"/>
                  </a:lnTo>
                  <a:lnTo>
                    <a:pt x="301" y="127"/>
                  </a:lnTo>
                  <a:lnTo>
                    <a:pt x="287" y="109"/>
                  </a:lnTo>
                  <a:lnTo>
                    <a:pt x="269" y="97"/>
                  </a:lnTo>
                  <a:lnTo>
                    <a:pt x="248" y="88"/>
                  </a:lnTo>
                  <a:lnTo>
                    <a:pt x="226" y="86"/>
                  </a:lnTo>
                  <a:lnTo>
                    <a:pt x="201" y="88"/>
                  </a:lnTo>
                  <a:lnTo>
                    <a:pt x="178" y="95"/>
                  </a:lnTo>
                  <a:lnTo>
                    <a:pt x="155" y="109"/>
                  </a:lnTo>
                  <a:lnTo>
                    <a:pt x="131" y="128"/>
                  </a:lnTo>
                  <a:lnTo>
                    <a:pt x="105" y="156"/>
                  </a:lnTo>
                  <a:lnTo>
                    <a:pt x="105" y="515"/>
                  </a:lnTo>
                  <a:lnTo>
                    <a:pt x="0" y="515"/>
                  </a:lnTo>
                  <a:lnTo>
                    <a:pt x="0" y="8"/>
                  </a:lnTo>
                  <a:lnTo>
                    <a:pt x="105" y="8"/>
                  </a:lnTo>
                  <a:lnTo>
                    <a:pt x="105" y="72"/>
                  </a:lnTo>
                  <a:lnTo>
                    <a:pt x="130" y="47"/>
                  </a:lnTo>
                  <a:lnTo>
                    <a:pt x="157" y="28"/>
                  </a:lnTo>
                  <a:lnTo>
                    <a:pt x="188" y="13"/>
                  </a:lnTo>
                  <a:lnTo>
                    <a:pt x="219" y="3"/>
                  </a:lnTo>
                  <a:lnTo>
                    <a:pt x="251"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9580" name="Freeform 12"/>
            <p:cNvSpPr>
              <a:spLocks/>
            </p:cNvSpPr>
            <p:nvPr userDrawn="1"/>
          </p:nvSpPr>
          <p:spPr bwMode="auto">
            <a:xfrm>
              <a:off x="6899" y="4880"/>
              <a:ext cx="214" cy="405"/>
            </a:xfrm>
            <a:custGeom>
              <a:avLst/>
              <a:gdLst>
                <a:gd name="T0" fmla="*/ 0 w 428"/>
                <a:gd name="T1" fmla="*/ 0 h 810"/>
                <a:gd name="T2" fmla="*/ 101 w 428"/>
                <a:gd name="T3" fmla="*/ 104 h 810"/>
                <a:gd name="T4" fmla="*/ 101 w 428"/>
                <a:gd name="T5" fmla="*/ 706 h 810"/>
                <a:gd name="T6" fmla="*/ 329 w 428"/>
                <a:gd name="T7" fmla="*/ 706 h 810"/>
                <a:gd name="T8" fmla="*/ 428 w 428"/>
                <a:gd name="T9" fmla="*/ 810 h 810"/>
                <a:gd name="T10" fmla="*/ 0 w 428"/>
                <a:gd name="T11" fmla="*/ 810 h 810"/>
                <a:gd name="T12" fmla="*/ 0 w 428"/>
                <a:gd name="T13" fmla="*/ 0 h 810"/>
              </a:gdLst>
              <a:ahLst/>
              <a:cxnLst>
                <a:cxn ang="0">
                  <a:pos x="T0" y="T1"/>
                </a:cxn>
                <a:cxn ang="0">
                  <a:pos x="T2" y="T3"/>
                </a:cxn>
                <a:cxn ang="0">
                  <a:pos x="T4" y="T5"/>
                </a:cxn>
                <a:cxn ang="0">
                  <a:pos x="T6" y="T7"/>
                </a:cxn>
                <a:cxn ang="0">
                  <a:pos x="T8" y="T9"/>
                </a:cxn>
                <a:cxn ang="0">
                  <a:pos x="T10" y="T11"/>
                </a:cxn>
                <a:cxn ang="0">
                  <a:pos x="T12" y="T13"/>
                </a:cxn>
              </a:cxnLst>
              <a:rect l="0" t="0" r="r" b="b"/>
              <a:pathLst>
                <a:path w="428" h="810">
                  <a:moveTo>
                    <a:pt x="0" y="0"/>
                  </a:moveTo>
                  <a:lnTo>
                    <a:pt x="101" y="104"/>
                  </a:lnTo>
                  <a:lnTo>
                    <a:pt x="101" y="706"/>
                  </a:lnTo>
                  <a:lnTo>
                    <a:pt x="329" y="706"/>
                  </a:lnTo>
                  <a:lnTo>
                    <a:pt x="428" y="810"/>
                  </a:lnTo>
                  <a:lnTo>
                    <a:pt x="0" y="810"/>
                  </a:lnTo>
                  <a:lnTo>
                    <a:pt x="0"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9581" name="Freeform 13"/>
            <p:cNvSpPr>
              <a:spLocks noEditPoints="1"/>
            </p:cNvSpPr>
            <p:nvPr userDrawn="1"/>
          </p:nvSpPr>
          <p:spPr bwMode="auto">
            <a:xfrm>
              <a:off x="7087" y="5028"/>
              <a:ext cx="228" cy="262"/>
            </a:xfrm>
            <a:custGeom>
              <a:avLst/>
              <a:gdLst>
                <a:gd name="T0" fmla="*/ 210 w 456"/>
                <a:gd name="T1" fmla="*/ 95 h 525"/>
                <a:gd name="T2" fmla="*/ 162 w 456"/>
                <a:gd name="T3" fmla="*/ 115 h 525"/>
                <a:gd name="T4" fmla="*/ 128 w 456"/>
                <a:gd name="T5" fmla="*/ 150 h 525"/>
                <a:gd name="T6" fmla="*/ 108 w 456"/>
                <a:gd name="T7" fmla="*/ 201 h 525"/>
                <a:gd name="T8" fmla="*/ 347 w 456"/>
                <a:gd name="T9" fmla="*/ 175 h 525"/>
                <a:gd name="T10" fmla="*/ 325 w 456"/>
                <a:gd name="T11" fmla="*/ 131 h 525"/>
                <a:gd name="T12" fmla="*/ 290 w 456"/>
                <a:gd name="T13" fmla="*/ 102 h 525"/>
                <a:gd name="T14" fmla="*/ 239 w 456"/>
                <a:gd name="T15" fmla="*/ 92 h 525"/>
                <a:gd name="T16" fmla="*/ 272 w 456"/>
                <a:gd name="T17" fmla="*/ 3 h 525"/>
                <a:gd name="T18" fmla="*/ 334 w 456"/>
                <a:gd name="T19" fmla="*/ 21 h 525"/>
                <a:gd name="T20" fmla="*/ 386 w 456"/>
                <a:gd name="T21" fmla="*/ 58 h 525"/>
                <a:gd name="T22" fmla="*/ 423 w 456"/>
                <a:gd name="T23" fmla="*/ 115 h 525"/>
                <a:gd name="T24" fmla="*/ 448 w 456"/>
                <a:gd name="T25" fmla="*/ 192 h 525"/>
                <a:gd name="T26" fmla="*/ 456 w 456"/>
                <a:gd name="T27" fmla="*/ 288 h 525"/>
                <a:gd name="T28" fmla="*/ 115 w 456"/>
                <a:gd name="T29" fmla="*/ 323 h 525"/>
                <a:gd name="T30" fmla="*/ 148 w 456"/>
                <a:gd name="T31" fmla="*/ 378 h 525"/>
                <a:gd name="T32" fmla="*/ 199 w 456"/>
                <a:gd name="T33" fmla="*/ 412 h 525"/>
                <a:gd name="T34" fmla="*/ 269 w 456"/>
                <a:gd name="T35" fmla="*/ 425 h 525"/>
                <a:gd name="T36" fmla="*/ 343 w 456"/>
                <a:gd name="T37" fmla="*/ 414 h 525"/>
                <a:gd name="T38" fmla="*/ 382 w 456"/>
                <a:gd name="T39" fmla="*/ 401 h 525"/>
                <a:gd name="T40" fmla="*/ 397 w 456"/>
                <a:gd name="T41" fmla="*/ 416 h 525"/>
                <a:gd name="T42" fmla="*/ 418 w 456"/>
                <a:gd name="T43" fmla="*/ 437 h 525"/>
                <a:gd name="T44" fmla="*/ 438 w 456"/>
                <a:gd name="T45" fmla="*/ 456 h 525"/>
                <a:gd name="T46" fmla="*/ 416 w 456"/>
                <a:gd name="T47" fmla="*/ 482 h 525"/>
                <a:gd name="T48" fmla="*/ 354 w 456"/>
                <a:gd name="T49" fmla="*/ 510 h 525"/>
                <a:gd name="T50" fmla="*/ 285 w 456"/>
                <a:gd name="T51" fmla="*/ 524 h 525"/>
                <a:gd name="T52" fmla="*/ 204 w 456"/>
                <a:gd name="T53" fmla="*/ 522 h 525"/>
                <a:gd name="T54" fmla="*/ 133 w 456"/>
                <a:gd name="T55" fmla="*/ 499 h 525"/>
                <a:gd name="T56" fmla="*/ 76 w 456"/>
                <a:gd name="T57" fmla="*/ 456 h 525"/>
                <a:gd name="T58" fmla="*/ 35 w 456"/>
                <a:gd name="T59" fmla="*/ 398 h 525"/>
                <a:gd name="T60" fmla="*/ 9 w 456"/>
                <a:gd name="T61" fmla="*/ 331 h 525"/>
                <a:gd name="T62" fmla="*/ 0 w 456"/>
                <a:gd name="T63" fmla="*/ 256 h 525"/>
                <a:gd name="T64" fmla="*/ 14 w 456"/>
                <a:gd name="T65" fmla="*/ 163 h 525"/>
                <a:gd name="T66" fmla="*/ 53 w 456"/>
                <a:gd name="T67" fmla="*/ 87 h 525"/>
                <a:gd name="T68" fmla="*/ 113 w 456"/>
                <a:gd name="T69" fmla="*/ 33 h 525"/>
                <a:gd name="T70" fmla="*/ 192 w 456"/>
                <a:gd name="T71" fmla="*/ 4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6" h="525">
                  <a:moveTo>
                    <a:pt x="239" y="92"/>
                  </a:moveTo>
                  <a:lnTo>
                    <a:pt x="210" y="95"/>
                  </a:lnTo>
                  <a:lnTo>
                    <a:pt x="184" y="102"/>
                  </a:lnTo>
                  <a:lnTo>
                    <a:pt x="162" y="115"/>
                  </a:lnTo>
                  <a:lnTo>
                    <a:pt x="144" y="130"/>
                  </a:lnTo>
                  <a:lnTo>
                    <a:pt x="128" y="150"/>
                  </a:lnTo>
                  <a:lnTo>
                    <a:pt x="116" y="174"/>
                  </a:lnTo>
                  <a:lnTo>
                    <a:pt x="108" y="201"/>
                  </a:lnTo>
                  <a:lnTo>
                    <a:pt x="352" y="201"/>
                  </a:lnTo>
                  <a:lnTo>
                    <a:pt x="347" y="175"/>
                  </a:lnTo>
                  <a:lnTo>
                    <a:pt x="338" y="152"/>
                  </a:lnTo>
                  <a:lnTo>
                    <a:pt x="325" y="131"/>
                  </a:lnTo>
                  <a:lnTo>
                    <a:pt x="309" y="115"/>
                  </a:lnTo>
                  <a:lnTo>
                    <a:pt x="290" y="102"/>
                  </a:lnTo>
                  <a:lnTo>
                    <a:pt x="265" y="95"/>
                  </a:lnTo>
                  <a:lnTo>
                    <a:pt x="239" y="92"/>
                  </a:lnTo>
                  <a:close/>
                  <a:moveTo>
                    <a:pt x="236" y="0"/>
                  </a:moveTo>
                  <a:lnTo>
                    <a:pt x="272" y="3"/>
                  </a:lnTo>
                  <a:lnTo>
                    <a:pt x="305" y="10"/>
                  </a:lnTo>
                  <a:lnTo>
                    <a:pt x="334" y="21"/>
                  </a:lnTo>
                  <a:lnTo>
                    <a:pt x="361" y="37"/>
                  </a:lnTo>
                  <a:lnTo>
                    <a:pt x="386" y="58"/>
                  </a:lnTo>
                  <a:lnTo>
                    <a:pt x="407" y="84"/>
                  </a:lnTo>
                  <a:lnTo>
                    <a:pt x="423" y="115"/>
                  </a:lnTo>
                  <a:lnTo>
                    <a:pt x="437" y="150"/>
                  </a:lnTo>
                  <a:lnTo>
                    <a:pt x="448" y="192"/>
                  </a:lnTo>
                  <a:lnTo>
                    <a:pt x="453" y="237"/>
                  </a:lnTo>
                  <a:lnTo>
                    <a:pt x="456" y="288"/>
                  </a:lnTo>
                  <a:lnTo>
                    <a:pt x="106" y="288"/>
                  </a:lnTo>
                  <a:lnTo>
                    <a:pt x="115" y="323"/>
                  </a:lnTo>
                  <a:lnTo>
                    <a:pt x="128" y="353"/>
                  </a:lnTo>
                  <a:lnTo>
                    <a:pt x="148" y="378"/>
                  </a:lnTo>
                  <a:lnTo>
                    <a:pt x="171" y="398"/>
                  </a:lnTo>
                  <a:lnTo>
                    <a:pt x="199" y="412"/>
                  </a:lnTo>
                  <a:lnTo>
                    <a:pt x="232" y="422"/>
                  </a:lnTo>
                  <a:lnTo>
                    <a:pt x="269" y="425"/>
                  </a:lnTo>
                  <a:lnTo>
                    <a:pt x="306" y="422"/>
                  </a:lnTo>
                  <a:lnTo>
                    <a:pt x="343" y="414"/>
                  </a:lnTo>
                  <a:lnTo>
                    <a:pt x="380" y="400"/>
                  </a:lnTo>
                  <a:lnTo>
                    <a:pt x="382" y="401"/>
                  </a:lnTo>
                  <a:lnTo>
                    <a:pt x="389" y="407"/>
                  </a:lnTo>
                  <a:lnTo>
                    <a:pt x="397" y="416"/>
                  </a:lnTo>
                  <a:lnTo>
                    <a:pt x="407" y="426"/>
                  </a:lnTo>
                  <a:lnTo>
                    <a:pt x="418" y="437"/>
                  </a:lnTo>
                  <a:lnTo>
                    <a:pt x="429" y="447"/>
                  </a:lnTo>
                  <a:lnTo>
                    <a:pt x="438" y="456"/>
                  </a:lnTo>
                  <a:lnTo>
                    <a:pt x="447" y="463"/>
                  </a:lnTo>
                  <a:lnTo>
                    <a:pt x="416" y="482"/>
                  </a:lnTo>
                  <a:lnTo>
                    <a:pt x="386" y="499"/>
                  </a:lnTo>
                  <a:lnTo>
                    <a:pt x="354" y="510"/>
                  </a:lnTo>
                  <a:lnTo>
                    <a:pt x="321" y="518"/>
                  </a:lnTo>
                  <a:lnTo>
                    <a:pt x="285" y="524"/>
                  </a:lnTo>
                  <a:lnTo>
                    <a:pt x="246" y="525"/>
                  </a:lnTo>
                  <a:lnTo>
                    <a:pt x="204" y="522"/>
                  </a:lnTo>
                  <a:lnTo>
                    <a:pt x="167" y="513"/>
                  </a:lnTo>
                  <a:lnTo>
                    <a:pt x="133" y="499"/>
                  </a:lnTo>
                  <a:lnTo>
                    <a:pt x="102" y="480"/>
                  </a:lnTo>
                  <a:lnTo>
                    <a:pt x="76" y="456"/>
                  </a:lnTo>
                  <a:lnTo>
                    <a:pt x="53" y="429"/>
                  </a:lnTo>
                  <a:lnTo>
                    <a:pt x="35" y="398"/>
                  </a:lnTo>
                  <a:lnTo>
                    <a:pt x="20" y="365"/>
                  </a:lnTo>
                  <a:lnTo>
                    <a:pt x="9" y="331"/>
                  </a:lnTo>
                  <a:lnTo>
                    <a:pt x="3" y="294"/>
                  </a:lnTo>
                  <a:lnTo>
                    <a:pt x="0" y="256"/>
                  </a:lnTo>
                  <a:lnTo>
                    <a:pt x="3" y="207"/>
                  </a:lnTo>
                  <a:lnTo>
                    <a:pt x="14" y="163"/>
                  </a:lnTo>
                  <a:lnTo>
                    <a:pt x="31" y="121"/>
                  </a:lnTo>
                  <a:lnTo>
                    <a:pt x="53" y="87"/>
                  </a:lnTo>
                  <a:lnTo>
                    <a:pt x="80" y="57"/>
                  </a:lnTo>
                  <a:lnTo>
                    <a:pt x="113" y="33"/>
                  </a:lnTo>
                  <a:lnTo>
                    <a:pt x="151" y="15"/>
                  </a:lnTo>
                  <a:lnTo>
                    <a:pt x="192" y="4"/>
                  </a:lnTo>
                  <a:lnTo>
                    <a:pt x="236"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9582" name="Freeform 14"/>
            <p:cNvSpPr>
              <a:spLocks/>
            </p:cNvSpPr>
            <p:nvPr userDrawn="1"/>
          </p:nvSpPr>
          <p:spPr bwMode="auto">
            <a:xfrm>
              <a:off x="7324" y="5032"/>
              <a:ext cx="406" cy="258"/>
            </a:xfrm>
            <a:custGeom>
              <a:avLst/>
              <a:gdLst>
                <a:gd name="T0" fmla="*/ 701 w 813"/>
                <a:gd name="T1" fmla="*/ 0 h 517"/>
                <a:gd name="T2" fmla="*/ 813 w 813"/>
                <a:gd name="T3" fmla="*/ 0 h 517"/>
                <a:gd name="T4" fmla="*/ 588 w 813"/>
                <a:gd name="T5" fmla="*/ 517 h 517"/>
                <a:gd name="T6" fmla="*/ 557 w 813"/>
                <a:gd name="T7" fmla="*/ 517 h 517"/>
                <a:gd name="T8" fmla="*/ 407 w 813"/>
                <a:gd name="T9" fmla="*/ 156 h 517"/>
                <a:gd name="T10" fmla="*/ 259 w 813"/>
                <a:gd name="T11" fmla="*/ 517 h 517"/>
                <a:gd name="T12" fmla="*/ 228 w 813"/>
                <a:gd name="T13" fmla="*/ 517 h 517"/>
                <a:gd name="T14" fmla="*/ 0 w 813"/>
                <a:gd name="T15" fmla="*/ 0 h 517"/>
                <a:gd name="T16" fmla="*/ 113 w 813"/>
                <a:gd name="T17" fmla="*/ 0 h 517"/>
                <a:gd name="T18" fmla="*/ 243 w 813"/>
                <a:gd name="T19" fmla="*/ 304 h 517"/>
                <a:gd name="T20" fmla="*/ 368 w 813"/>
                <a:gd name="T21" fmla="*/ 0 h 517"/>
                <a:gd name="T22" fmla="*/ 447 w 813"/>
                <a:gd name="T23" fmla="*/ 0 h 517"/>
                <a:gd name="T24" fmla="*/ 572 w 813"/>
                <a:gd name="T25" fmla="*/ 304 h 517"/>
                <a:gd name="T26" fmla="*/ 701 w 813"/>
                <a:gd name="T27" fmla="*/ 0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3" h="517">
                  <a:moveTo>
                    <a:pt x="701" y="0"/>
                  </a:moveTo>
                  <a:lnTo>
                    <a:pt x="813" y="0"/>
                  </a:lnTo>
                  <a:lnTo>
                    <a:pt x="588" y="517"/>
                  </a:lnTo>
                  <a:lnTo>
                    <a:pt x="557" y="517"/>
                  </a:lnTo>
                  <a:lnTo>
                    <a:pt x="407" y="156"/>
                  </a:lnTo>
                  <a:lnTo>
                    <a:pt x="259" y="517"/>
                  </a:lnTo>
                  <a:lnTo>
                    <a:pt x="228" y="517"/>
                  </a:lnTo>
                  <a:lnTo>
                    <a:pt x="0" y="0"/>
                  </a:lnTo>
                  <a:lnTo>
                    <a:pt x="113" y="0"/>
                  </a:lnTo>
                  <a:lnTo>
                    <a:pt x="243" y="304"/>
                  </a:lnTo>
                  <a:lnTo>
                    <a:pt x="368" y="0"/>
                  </a:lnTo>
                  <a:lnTo>
                    <a:pt x="447" y="0"/>
                  </a:lnTo>
                  <a:lnTo>
                    <a:pt x="572" y="304"/>
                  </a:lnTo>
                  <a:lnTo>
                    <a:pt x="701"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9583" name="Freeform 15"/>
            <p:cNvSpPr>
              <a:spLocks noEditPoints="1"/>
            </p:cNvSpPr>
            <p:nvPr userDrawn="1"/>
          </p:nvSpPr>
          <p:spPr bwMode="auto">
            <a:xfrm>
              <a:off x="7757" y="4909"/>
              <a:ext cx="59" cy="376"/>
            </a:xfrm>
            <a:custGeom>
              <a:avLst/>
              <a:gdLst>
                <a:gd name="T0" fmla="*/ 8 w 119"/>
                <a:gd name="T1" fmla="*/ 245 h 752"/>
                <a:gd name="T2" fmla="*/ 115 w 119"/>
                <a:gd name="T3" fmla="*/ 245 h 752"/>
                <a:gd name="T4" fmla="*/ 115 w 119"/>
                <a:gd name="T5" fmla="*/ 752 h 752"/>
                <a:gd name="T6" fmla="*/ 8 w 119"/>
                <a:gd name="T7" fmla="*/ 752 h 752"/>
                <a:gd name="T8" fmla="*/ 8 w 119"/>
                <a:gd name="T9" fmla="*/ 245 h 752"/>
                <a:gd name="T10" fmla="*/ 59 w 119"/>
                <a:gd name="T11" fmla="*/ 0 h 752"/>
                <a:gd name="T12" fmla="*/ 79 w 119"/>
                <a:gd name="T13" fmla="*/ 3 h 752"/>
                <a:gd name="T14" fmla="*/ 94 w 119"/>
                <a:gd name="T15" fmla="*/ 11 h 752"/>
                <a:gd name="T16" fmla="*/ 108 w 119"/>
                <a:gd name="T17" fmla="*/ 25 h 752"/>
                <a:gd name="T18" fmla="*/ 116 w 119"/>
                <a:gd name="T19" fmla="*/ 41 h 752"/>
                <a:gd name="T20" fmla="*/ 119 w 119"/>
                <a:gd name="T21" fmla="*/ 61 h 752"/>
                <a:gd name="T22" fmla="*/ 116 w 119"/>
                <a:gd name="T23" fmla="*/ 81 h 752"/>
                <a:gd name="T24" fmla="*/ 108 w 119"/>
                <a:gd name="T25" fmla="*/ 98 h 752"/>
                <a:gd name="T26" fmla="*/ 94 w 119"/>
                <a:gd name="T27" fmla="*/ 112 h 752"/>
                <a:gd name="T28" fmla="*/ 79 w 119"/>
                <a:gd name="T29" fmla="*/ 121 h 752"/>
                <a:gd name="T30" fmla="*/ 59 w 119"/>
                <a:gd name="T31" fmla="*/ 124 h 752"/>
                <a:gd name="T32" fmla="*/ 40 w 119"/>
                <a:gd name="T33" fmla="*/ 121 h 752"/>
                <a:gd name="T34" fmla="*/ 25 w 119"/>
                <a:gd name="T35" fmla="*/ 112 h 752"/>
                <a:gd name="T36" fmla="*/ 11 w 119"/>
                <a:gd name="T37" fmla="*/ 98 h 752"/>
                <a:gd name="T38" fmla="*/ 3 w 119"/>
                <a:gd name="T39" fmla="*/ 81 h 752"/>
                <a:gd name="T40" fmla="*/ 0 w 119"/>
                <a:gd name="T41" fmla="*/ 61 h 752"/>
                <a:gd name="T42" fmla="*/ 3 w 119"/>
                <a:gd name="T43" fmla="*/ 41 h 752"/>
                <a:gd name="T44" fmla="*/ 11 w 119"/>
                <a:gd name="T45" fmla="*/ 25 h 752"/>
                <a:gd name="T46" fmla="*/ 25 w 119"/>
                <a:gd name="T47" fmla="*/ 11 h 752"/>
                <a:gd name="T48" fmla="*/ 40 w 119"/>
                <a:gd name="T49" fmla="*/ 3 h 752"/>
                <a:gd name="T50" fmla="*/ 59 w 119"/>
                <a:gd name="T51"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752">
                  <a:moveTo>
                    <a:pt x="8" y="245"/>
                  </a:moveTo>
                  <a:lnTo>
                    <a:pt x="115" y="245"/>
                  </a:lnTo>
                  <a:lnTo>
                    <a:pt x="115" y="752"/>
                  </a:lnTo>
                  <a:lnTo>
                    <a:pt x="8" y="752"/>
                  </a:lnTo>
                  <a:lnTo>
                    <a:pt x="8" y="245"/>
                  </a:lnTo>
                  <a:close/>
                  <a:moveTo>
                    <a:pt x="59" y="0"/>
                  </a:moveTo>
                  <a:lnTo>
                    <a:pt x="79" y="3"/>
                  </a:lnTo>
                  <a:lnTo>
                    <a:pt x="94" y="11"/>
                  </a:lnTo>
                  <a:lnTo>
                    <a:pt x="108" y="25"/>
                  </a:lnTo>
                  <a:lnTo>
                    <a:pt x="116" y="41"/>
                  </a:lnTo>
                  <a:lnTo>
                    <a:pt x="119" y="61"/>
                  </a:lnTo>
                  <a:lnTo>
                    <a:pt x="116" y="81"/>
                  </a:lnTo>
                  <a:lnTo>
                    <a:pt x="108" y="98"/>
                  </a:lnTo>
                  <a:lnTo>
                    <a:pt x="94" y="112"/>
                  </a:lnTo>
                  <a:lnTo>
                    <a:pt x="79" y="121"/>
                  </a:lnTo>
                  <a:lnTo>
                    <a:pt x="59" y="124"/>
                  </a:lnTo>
                  <a:lnTo>
                    <a:pt x="40" y="121"/>
                  </a:lnTo>
                  <a:lnTo>
                    <a:pt x="25" y="112"/>
                  </a:lnTo>
                  <a:lnTo>
                    <a:pt x="11" y="98"/>
                  </a:lnTo>
                  <a:lnTo>
                    <a:pt x="3" y="81"/>
                  </a:lnTo>
                  <a:lnTo>
                    <a:pt x="0" y="61"/>
                  </a:lnTo>
                  <a:lnTo>
                    <a:pt x="3" y="41"/>
                  </a:lnTo>
                  <a:lnTo>
                    <a:pt x="11" y="25"/>
                  </a:lnTo>
                  <a:lnTo>
                    <a:pt x="25" y="11"/>
                  </a:lnTo>
                  <a:lnTo>
                    <a:pt x="40" y="3"/>
                  </a:lnTo>
                  <a:lnTo>
                    <a:pt x="59"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sp>
          <p:nvSpPr>
            <p:cNvPr id="109584" name="Freeform 16"/>
            <p:cNvSpPr>
              <a:spLocks/>
            </p:cNvSpPr>
            <p:nvPr userDrawn="1"/>
          </p:nvSpPr>
          <p:spPr bwMode="auto">
            <a:xfrm>
              <a:off x="7859" y="5028"/>
              <a:ext cx="171" cy="262"/>
            </a:xfrm>
            <a:custGeom>
              <a:avLst/>
              <a:gdLst>
                <a:gd name="T0" fmla="*/ 205 w 343"/>
                <a:gd name="T1" fmla="*/ 3 h 525"/>
                <a:gd name="T2" fmla="*/ 280 w 343"/>
                <a:gd name="T3" fmla="*/ 24 h 525"/>
                <a:gd name="T4" fmla="*/ 318 w 343"/>
                <a:gd name="T5" fmla="*/ 149 h 525"/>
                <a:gd name="T6" fmla="*/ 251 w 343"/>
                <a:gd name="T7" fmla="*/ 112 h 525"/>
                <a:gd name="T8" fmla="*/ 191 w 343"/>
                <a:gd name="T9" fmla="*/ 94 h 525"/>
                <a:gd name="T10" fmla="*/ 146 w 343"/>
                <a:gd name="T11" fmla="*/ 94 h 525"/>
                <a:gd name="T12" fmla="*/ 118 w 343"/>
                <a:gd name="T13" fmla="*/ 109 h 525"/>
                <a:gd name="T14" fmla="*/ 110 w 343"/>
                <a:gd name="T15" fmla="*/ 135 h 525"/>
                <a:gd name="T16" fmla="*/ 117 w 343"/>
                <a:gd name="T17" fmla="*/ 154 h 525"/>
                <a:gd name="T18" fmla="*/ 138 w 343"/>
                <a:gd name="T19" fmla="*/ 174 h 525"/>
                <a:gd name="T20" fmla="*/ 175 w 343"/>
                <a:gd name="T21" fmla="*/ 199 h 525"/>
                <a:gd name="T22" fmla="*/ 233 w 343"/>
                <a:gd name="T23" fmla="*/ 232 h 525"/>
                <a:gd name="T24" fmla="*/ 292 w 343"/>
                <a:gd name="T25" fmla="*/ 273 h 525"/>
                <a:gd name="T26" fmla="*/ 326 w 343"/>
                <a:gd name="T27" fmla="*/ 312 h 525"/>
                <a:gd name="T28" fmla="*/ 340 w 343"/>
                <a:gd name="T29" fmla="*/ 354 h 525"/>
                <a:gd name="T30" fmla="*/ 339 w 343"/>
                <a:gd name="T31" fmla="*/ 408 h 525"/>
                <a:gd name="T32" fmla="*/ 315 w 343"/>
                <a:gd name="T33" fmla="*/ 463 h 525"/>
                <a:gd name="T34" fmla="*/ 270 w 343"/>
                <a:gd name="T35" fmla="*/ 502 h 525"/>
                <a:gd name="T36" fmla="*/ 211 w 343"/>
                <a:gd name="T37" fmla="*/ 522 h 525"/>
                <a:gd name="T38" fmla="*/ 140 w 343"/>
                <a:gd name="T39" fmla="*/ 524 h 525"/>
                <a:gd name="T40" fmla="*/ 73 w 343"/>
                <a:gd name="T41" fmla="*/ 510 h 525"/>
                <a:gd name="T42" fmla="*/ 0 w 343"/>
                <a:gd name="T43" fmla="*/ 478 h 525"/>
                <a:gd name="T44" fmla="*/ 41 w 343"/>
                <a:gd name="T45" fmla="*/ 389 h 525"/>
                <a:gd name="T46" fmla="*/ 113 w 343"/>
                <a:gd name="T47" fmla="*/ 422 h 525"/>
                <a:gd name="T48" fmla="*/ 168 w 343"/>
                <a:gd name="T49" fmla="*/ 431 h 525"/>
                <a:gd name="T50" fmla="*/ 201 w 343"/>
                <a:gd name="T51" fmla="*/ 427 h 525"/>
                <a:gd name="T52" fmla="*/ 224 w 343"/>
                <a:gd name="T53" fmla="*/ 412 h 525"/>
                <a:gd name="T54" fmla="*/ 234 w 343"/>
                <a:gd name="T55" fmla="*/ 385 h 525"/>
                <a:gd name="T56" fmla="*/ 219 w 343"/>
                <a:gd name="T57" fmla="*/ 350 h 525"/>
                <a:gd name="T58" fmla="*/ 176 w 343"/>
                <a:gd name="T59" fmla="*/ 318 h 525"/>
                <a:gd name="T60" fmla="*/ 121 w 343"/>
                <a:gd name="T61" fmla="*/ 285 h 525"/>
                <a:gd name="T62" fmla="*/ 73 w 343"/>
                <a:gd name="T63" fmla="*/ 254 h 525"/>
                <a:gd name="T64" fmla="*/ 32 w 343"/>
                <a:gd name="T65" fmla="*/ 215 h 525"/>
                <a:gd name="T66" fmla="*/ 7 w 343"/>
                <a:gd name="T67" fmla="*/ 167 h 525"/>
                <a:gd name="T68" fmla="*/ 7 w 343"/>
                <a:gd name="T69" fmla="*/ 108 h 525"/>
                <a:gd name="T70" fmla="*/ 29 w 343"/>
                <a:gd name="T71" fmla="*/ 57 h 525"/>
                <a:gd name="T72" fmla="*/ 72 w 343"/>
                <a:gd name="T73" fmla="*/ 21 h 525"/>
                <a:gd name="T74" fmla="*/ 134 w 343"/>
                <a:gd name="T75" fmla="*/ 3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3" h="525">
                  <a:moveTo>
                    <a:pt x="171" y="0"/>
                  </a:moveTo>
                  <a:lnTo>
                    <a:pt x="205" y="3"/>
                  </a:lnTo>
                  <a:lnTo>
                    <a:pt x="242" y="10"/>
                  </a:lnTo>
                  <a:lnTo>
                    <a:pt x="280" y="24"/>
                  </a:lnTo>
                  <a:lnTo>
                    <a:pt x="318" y="43"/>
                  </a:lnTo>
                  <a:lnTo>
                    <a:pt x="318" y="149"/>
                  </a:lnTo>
                  <a:lnTo>
                    <a:pt x="284" y="127"/>
                  </a:lnTo>
                  <a:lnTo>
                    <a:pt x="251" y="112"/>
                  </a:lnTo>
                  <a:lnTo>
                    <a:pt x="219" y="101"/>
                  </a:lnTo>
                  <a:lnTo>
                    <a:pt x="191" y="94"/>
                  </a:lnTo>
                  <a:lnTo>
                    <a:pt x="167" y="92"/>
                  </a:lnTo>
                  <a:lnTo>
                    <a:pt x="146" y="94"/>
                  </a:lnTo>
                  <a:lnTo>
                    <a:pt x="129" y="99"/>
                  </a:lnTo>
                  <a:lnTo>
                    <a:pt x="118" y="109"/>
                  </a:lnTo>
                  <a:lnTo>
                    <a:pt x="113" y="121"/>
                  </a:lnTo>
                  <a:lnTo>
                    <a:pt x="110" y="135"/>
                  </a:lnTo>
                  <a:lnTo>
                    <a:pt x="113" y="145"/>
                  </a:lnTo>
                  <a:lnTo>
                    <a:pt x="117" y="154"/>
                  </a:lnTo>
                  <a:lnTo>
                    <a:pt x="125" y="164"/>
                  </a:lnTo>
                  <a:lnTo>
                    <a:pt x="138" y="174"/>
                  </a:lnTo>
                  <a:lnTo>
                    <a:pt x="154" y="186"/>
                  </a:lnTo>
                  <a:lnTo>
                    <a:pt x="175" y="199"/>
                  </a:lnTo>
                  <a:lnTo>
                    <a:pt x="201" y="214"/>
                  </a:lnTo>
                  <a:lnTo>
                    <a:pt x="233" y="232"/>
                  </a:lnTo>
                  <a:lnTo>
                    <a:pt x="266" y="252"/>
                  </a:lnTo>
                  <a:lnTo>
                    <a:pt x="292" y="273"/>
                  </a:lnTo>
                  <a:lnTo>
                    <a:pt x="311" y="292"/>
                  </a:lnTo>
                  <a:lnTo>
                    <a:pt x="326" y="312"/>
                  </a:lnTo>
                  <a:lnTo>
                    <a:pt x="336" y="332"/>
                  </a:lnTo>
                  <a:lnTo>
                    <a:pt x="340" y="354"/>
                  </a:lnTo>
                  <a:lnTo>
                    <a:pt x="343" y="376"/>
                  </a:lnTo>
                  <a:lnTo>
                    <a:pt x="339" y="408"/>
                  </a:lnTo>
                  <a:lnTo>
                    <a:pt x="329" y="437"/>
                  </a:lnTo>
                  <a:lnTo>
                    <a:pt x="315" y="463"/>
                  </a:lnTo>
                  <a:lnTo>
                    <a:pt x="295" y="484"/>
                  </a:lnTo>
                  <a:lnTo>
                    <a:pt x="270" y="502"/>
                  </a:lnTo>
                  <a:lnTo>
                    <a:pt x="242" y="514"/>
                  </a:lnTo>
                  <a:lnTo>
                    <a:pt x="211" y="522"/>
                  </a:lnTo>
                  <a:lnTo>
                    <a:pt x="176" y="525"/>
                  </a:lnTo>
                  <a:lnTo>
                    <a:pt x="140" y="524"/>
                  </a:lnTo>
                  <a:lnTo>
                    <a:pt x="106" y="518"/>
                  </a:lnTo>
                  <a:lnTo>
                    <a:pt x="73" y="510"/>
                  </a:lnTo>
                  <a:lnTo>
                    <a:pt x="39" y="496"/>
                  </a:lnTo>
                  <a:lnTo>
                    <a:pt x="0" y="478"/>
                  </a:lnTo>
                  <a:lnTo>
                    <a:pt x="0" y="364"/>
                  </a:lnTo>
                  <a:lnTo>
                    <a:pt x="41" y="389"/>
                  </a:lnTo>
                  <a:lnTo>
                    <a:pt x="78" y="408"/>
                  </a:lnTo>
                  <a:lnTo>
                    <a:pt x="113" y="422"/>
                  </a:lnTo>
                  <a:lnTo>
                    <a:pt x="143" y="430"/>
                  </a:lnTo>
                  <a:lnTo>
                    <a:pt x="168" y="431"/>
                  </a:lnTo>
                  <a:lnTo>
                    <a:pt x="186" y="431"/>
                  </a:lnTo>
                  <a:lnTo>
                    <a:pt x="201" y="427"/>
                  </a:lnTo>
                  <a:lnTo>
                    <a:pt x="215" y="420"/>
                  </a:lnTo>
                  <a:lnTo>
                    <a:pt x="224" y="412"/>
                  </a:lnTo>
                  <a:lnTo>
                    <a:pt x="231" y="400"/>
                  </a:lnTo>
                  <a:lnTo>
                    <a:pt x="234" y="385"/>
                  </a:lnTo>
                  <a:lnTo>
                    <a:pt x="231" y="367"/>
                  </a:lnTo>
                  <a:lnTo>
                    <a:pt x="219" y="350"/>
                  </a:lnTo>
                  <a:lnTo>
                    <a:pt x="201" y="334"/>
                  </a:lnTo>
                  <a:lnTo>
                    <a:pt x="176" y="318"/>
                  </a:lnTo>
                  <a:lnTo>
                    <a:pt x="150" y="303"/>
                  </a:lnTo>
                  <a:lnTo>
                    <a:pt x="121" y="285"/>
                  </a:lnTo>
                  <a:lnTo>
                    <a:pt x="96" y="270"/>
                  </a:lnTo>
                  <a:lnTo>
                    <a:pt x="73" y="254"/>
                  </a:lnTo>
                  <a:lnTo>
                    <a:pt x="51" y="236"/>
                  </a:lnTo>
                  <a:lnTo>
                    <a:pt x="32" y="215"/>
                  </a:lnTo>
                  <a:lnTo>
                    <a:pt x="17" y="192"/>
                  </a:lnTo>
                  <a:lnTo>
                    <a:pt x="7" y="167"/>
                  </a:lnTo>
                  <a:lnTo>
                    <a:pt x="4" y="138"/>
                  </a:lnTo>
                  <a:lnTo>
                    <a:pt x="7" y="108"/>
                  </a:lnTo>
                  <a:lnTo>
                    <a:pt x="15" y="80"/>
                  </a:lnTo>
                  <a:lnTo>
                    <a:pt x="29" y="57"/>
                  </a:lnTo>
                  <a:lnTo>
                    <a:pt x="48" y="37"/>
                  </a:lnTo>
                  <a:lnTo>
                    <a:pt x="72" y="21"/>
                  </a:lnTo>
                  <a:lnTo>
                    <a:pt x="101" y="10"/>
                  </a:lnTo>
                  <a:lnTo>
                    <a:pt x="134" y="3"/>
                  </a:lnTo>
                  <a:lnTo>
                    <a:pt x="171" y="0"/>
                  </a:lnTo>
                  <a:close/>
                </a:path>
              </a:pathLst>
            </a:custGeom>
            <a:solidFill>
              <a:srgbClr val="284E36"/>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pPr algn="ctr" defTabSz="912644"/>
              <a:endParaRPr lang="en-GB" sz="1800">
                <a:solidFill>
                  <a:srgbClr val="000000"/>
                </a:solidFill>
                <a:latin typeface="Gill Sans" pitchFamily="34" charset="0"/>
                <a:cs typeface="+mn-cs"/>
              </a:endParaRPr>
            </a:p>
          </p:txBody>
        </p:sp>
      </p:grpSp>
      <p:sp>
        <p:nvSpPr>
          <p:cNvPr id="109586" name="Rectangle 18"/>
          <p:cNvSpPr>
            <a:spLocks noGrp="1" noChangeArrowheads="1"/>
          </p:cNvSpPr>
          <p:nvPr>
            <p:ph type="sldNum" sz="quarter" idx="4"/>
          </p:nvPr>
        </p:nvSpPr>
        <p:spPr bwMode="auto">
          <a:xfrm>
            <a:off x="184150" y="4688259"/>
            <a:ext cx="2133600" cy="349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922" tIns="35922" rIns="35922" bIns="35922" numCol="1" anchor="ctr" anchorCtr="0" compatLnSpc="1">
            <a:prstTxWarp prst="textNoShape">
              <a:avLst/>
            </a:prstTxWarp>
            <a:spAutoFit/>
          </a:bodyPr>
          <a:lstStyle>
            <a:lvl1pPr algn="l" eaLnBrk="0" hangingPunct="0">
              <a:defRPr>
                <a:latin typeface="+mn-lt"/>
              </a:defRPr>
            </a:lvl1pPr>
          </a:lstStyle>
          <a:p>
            <a:pPr defTabSz="912644"/>
            <a:fld id="{20003FD6-05C1-4EEF-9BD6-1E0C3A513168}" type="slidenum">
              <a:rPr lang="en-GB" sz="1800" smtClean="0">
                <a:solidFill>
                  <a:srgbClr val="000000"/>
                </a:solidFill>
                <a:cs typeface="+mn-cs"/>
              </a:rPr>
              <a:pPr defTabSz="912644"/>
              <a:t>‹#›</a:t>
            </a:fld>
            <a:endParaRPr lang="en-GB" sz="1800">
              <a:solidFill>
                <a:srgbClr val="000000"/>
              </a:solidFill>
              <a:cs typeface="+mn-cs"/>
            </a:endParaRPr>
          </a:p>
        </p:txBody>
      </p:sp>
    </p:spTree>
    <p:extLst>
      <p:ext uri="{BB962C8B-B14F-4D97-AF65-F5344CB8AC3E}">
        <p14:creationId xmlns:p14="http://schemas.microsoft.com/office/powerpoint/2010/main" val="2254653441"/>
      </p:ext>
    </p:extLst>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 id="2147484684" r:id="rId4"/>
    <p:sldLayoutId id="2147484685" r:id="rId5"/>
    <p:sldLayoutId id="2147484686" r:id="rId6"/>
    <p:sldLayoutId id="2147484687" r:id="rId7"/>
    <p:sldLayoutId id="2147484688" r:id="rId8"/>
    <p:sldLayoutId id="2147484689" r:id="rId9"/>
    <p:sldLayoutId id="2147484690" r:id="rId10"/>
    <p:sldLayoutId id="2147484691" r:id="rId11"/>
  </p:sldLayoutIdLst>
  <p:transition>
    <p:fade/>
  </p:transition>
  <p:hf hdr="0" ftr="0" dt="0"/>
  <p:txStyles>
    <p:titleStyle>
      <a:lvl1pPr algn="l" defTabSz="964916" rtl="0" fontAlgn="base">
        <a:lnSpc>
          <a:spcPct val="85000"/>
        </a:lnSpc>
        <a:spcBef>
          <a:spcPct val="0"/>
        </a:spcBef>
        <a:spcAft>
          <a:spcPct val="0"/>
        </a:spcAft>
        <a:defRPr sz="3200">
          <a:solidFill>
            <a:srgbClr val="284E36"/>
          </a:solidFill>
          <a:latin typeface="+mj-lt"/>
          <a:ea typeface="+mj-ea"/>
          <a:cs typeface="+mj-cs"/>
        </a:defRPr>
      </a:lvl1pPr>
      <a:lvl2pPr algn="l" defTabSz="964916" rtl="0" fontAlgn="base">
        <a:lnSpc>
          <a:spcPct val="85000"/>
        </a:lnSpc>
        <a:spcBef>
          <a:spcPct val="0"/>
        </a:spcBef>
        <a:spcAft>
          <a:spcPct val="0"/>
        </a:spcAft>
        <a:defRPr sz="3200">
          <a:solidFill>
            <a:srgbClr val="284E36"/>
          </a:solidFill>
          <a:latin typeface="Arial" charset="0"/>
          <a:ea typeface="ＭＳ Ｐゴシック" pitchFamily="34" charset="-128"/>
        </a:defRPr>
      </a:lvl2pPr>
      <a:lvl3pPr algn="l" defTabSz="964916" rtl="0" fontAlgn="base">
        <a:lnSpc>
          <a:spcPct val="85000"/>
        </a:lnSpc>
        <a:spcBef>
          <a:spcPct val="0"/>
        </a:spcBef>
        <a:spcAft>
          <a:spcPct val="0"/>
        </a:spcAft>
        <a:defRPr sz="3200">
          <a:solidFill>
            <a:srgbClr val="284E36"/>
          </a:solidFill>
          <a:latin typeface="Arial" charset="0"/>
          <a:ea typeface="ＭＳ Ｐゴシック" pitchFamily="34" charset="-128"/>
        </a:defRPr>
      </a:lvl3pPr>
      <a:lvl4pPr algn="l" defTabSz="964916" rtl="0" fontAlgn="base">
        <a:lnSpc>
          <a:spcPct val="85000"/>
        </a:lnSpc>
        <a:spcBef>
          <a:spcPct val="0"/>
        </a:spcBef>
        <a:spcAft>
          <a:spcPct val="0"/>
        </a:spcAft>
        <a:defRPr sz="3200">
          <a:solidFill>
            <a:srgbClr val="284E36"/>
          </a:solidFill>
          <a:latin typeface="Arial" charset="0"/>
          <a:ea typeface="ＭＳ Ｐゴシック" pitchFamily="34" charset="-128"/>
        </a:defRPr>
      </a:lvl4pPr>
      <a:lvl5pPr algn="l" defTabSz="964916" rtl="0" fontAlgn="base">
        <a:lnSpc>
          <a:spcPct val="85000"/>
        </a:lnSpc>
        <a:spcBef>
          <a:spcPct val="0"/>
        </a:spcBef>
        <a:spcAft>
          <a:spcPct val="0"/>
        </a:spcAft>
        <a:defRPr sz="3200">
          <a:solidFill>
            <a:srgbClr val="284E36"/>
          </a:solidFill>
          <a:latin typeface="Arial" charset="0"/>
          <a:ea typeface="ＭＳ Ｐゴシック" pitchFamily="34" charset="-128"/>
        </a:defRPr>
      </a:lvl5pPr>
      <a:lvl6pPr marL="456269" algn="l" defTabSz="964916" rtl="0" fontAlgn="base">
        <a:lnSpc>
          <a:spcPct val="85000"/>
        </a:lnSpc>
        <a:spcBef>
          <a:spcPct val="0"/>
        </a:spcBef>
        <a:spcAft>
          <a:spcPct val="0"/>
        </a:spcAft>
        <a:defRPr sz="3200">
          <a:solidFill>
            <a:srgbClr val="284E36"/>
          </a:solidFill>
          <a:latin typeface="Arial" charset="0"/>
          <a:ea typeface="ＭＳ Ｐゴシック" pitchFamily="34" charset="-128"/>
        </a:defRPr>
      </a:lvl6pPr>
      <a:lvl7pPr marL="912644" algn="l" defTabSz="964916" rtl="0" fontAlgn="base">
        <a:lnSpc>
          <a:spcPct val="85000"/>
        </a:lnSpc>
        <a:spcBef>
          <a:spcPct val="0"/>
        </a:spcBef>
        <a:spcAft>
          <a:spcPct val="0"/>
        </a:spcAft>
        <a:defRPr sz="3200">
          <a:solidFill>
            <a:srgbClr val="284E36"/>
          </a:solidFill>
          <a:latin typeface="Arial" charset="0"/>
          <a:ea typeface="ＭＳ Ｐゴシック" pitchFamily="34" charset="-128"/>
        </a:defRPr>
      </a:lvl7pPr>
      <a:lvl8pPr marL="1368948" algn="l" defTabSz="964916" rtl="0" fontAlgn="base">
        <a:lnSpc>
          <a:spcPct val="85000"/>
        </a:lnSpc>
        <a:spcBef>
          <a:spcPct val="0"/>
        </a:spcBef>
        <a:spcAft>
          <a:spcPct val="0"/>
        </a:spcAft>
        <a:defRPr sz="3200">
          <a:solidFill>
            <a:srgbClr val="284E36"/>
          </a:solidFill>
          <a:latin typeface="Arial" charset="0"/>
          <a:ea typeface="ＭＳ Ｐゴシック" pitchFamily="34" charset="-128"/>
        </a:defRPr>
      </a:lvl8pPr>
      <a:lvl9pPr marL="1825286" algn="l" defTabSz="964916" rtl="0" fontAlgn="base">
        <a:lnSpc>
          <a:spcPct val="85000"/>
        </a:lnSpc>
        <a:spcBef>
          <a:spcPct val="0"/>
        </a:spcBef>
        <a:spcAft>
          <a:spcPct val="0"/>
        </a:spcAft>
        <a:defRPr sz="3200">
          <a:solidFill>
            <a:srgbClr val="284E36"/>
          </a:solidFill>
          <a:latin typeface="Arial" charset="0"/>
          <a:ea typeface="ＭＳ Ｐゴシック" pitchFamily="34" charset="-128"/>
        </a:defRPr>
      </a:lvl9pPr>
    </p:titleStyle>
    <p:bodyStyle>
      <a:lvl1pPr algn="l" defTabSz="964916" rtl="0" fontAlgn="base">
        <a:lnSpc>
          <a:spcPct val="110000"/>
        </a:lnSpc>
        <a:spcBef>
          <a:spcPct val="50000"/>
        </a:spcBef>
        <a:spcAft>
          <a:spcPct val="0"/>
        </a:spcAft>
        <a:buClr>
          <a:schemeClr val="tx1"/>
        </a:buClr>
        <a:buFont typeface="Wingdings" pitchFamily="2" charset="2"/>
        <a:defRPr sz="2000">
          <a:solidFill>
            <a:schemeClr val="tx1"/>
          </a:solidFill>
          <a:latin typeface="+mn-lt"/>
          <a:ea typeface="+mn-ea"/>
          <a:cs typeface="+mn-cs"/>
        </a:defRPr>
      </a:lvl1pPr>
      <a:lvl2pPr marL="443642" indent="-264644" algn="l" defTabSz="964916" rtl="0" fontAlgn="base">
        <a:lnSpc>
          <a:spcPct val="110000"/>
        </a:lnSpc>
        <a:spcBef>
          <a:spcPct val="20000"/>
        </a:spcBef>
        <a:spcAft>
          <a:spcPct val="0"/>
        </a:spcAft>
        <a:buClr>
          <a:schemeClr val="accent2"/>
        </a:buClr>
        <a:buFont typeface="Wingdings" pitchFamily="2" charset="2"/>
        <a:buChar char="§"/>
        <a:defRPr sz="2000">
          <a:solidFill>
            <a:schemeClr val="tx1"/>
          </a:solidFill>
          <a:latin typeface="+mn-lt"/>
          <a:ea typeface="+mn-ea"/>
        </a:defRPr>
      </a:lvl2pPr>
      <a:lvl3pPr marL="811240" indent="-188561" algn="l" defTabSz="964916" rtl="0" fontAlgn="base">
        <a:lnSpc>
          <a:spcPct val="110000"/>
        </a:lnSpc>
        <a:spcBef>
          <a:spcPct val="20000"/>
        </a:spcBef>
        <a:spcAft>
          <a:spcPct val="0"/>
        </a:spcAft>
        <a:buClr>
          <a:schemeClr val="accent2"/>
        </a:buClr>
        <a:buFont typeface="Wingdings" pitchFamily="2" charset="2"/>
        <a:buChar char="§"/>
        <a:defRPr sz="2000">
          <a:solidFill>
            <a:schemeClr val="tx1"/>
          </a:solidFill>
          <a:latin typeface="+mn-lt"/>
          <a:ea typeface="+mn-ea"/>
        </a:defRPr>
      </a:lvl3pPr>
      <a:lvl4pPr marL="1166138" indent="-175864" algn="l" defTabSz="964916" rtl="0" fontAlgn="base">
        <a:lnSpc>
          <a:spcPct val="110000"/>
        </a:lnSpc>
        <a:spcBef>
          <a:spcPct val="20000"/>
        </a:spcBef>
        <a:spcAft>
          <a:spcPct val="0"/>
        </a:spcAft>
        <a:buClr>
          <a:schemeClr val="accent2"/>
        </a:buClr>
        <a:buFont typeface="Wingdings" pitchFamily="2" charset="2"/>
        <a:buChar char="§"/>
        <a:defRPr sz="2000">
          <a:solidFill>
            <a:schemeClr val="tx1"/>
          </a:solidFill>
          <a:latin typeface="+mn-lt"/>
          <a:ea typeface="+mn-ea"/>
        </a:defRPr>
      </a:lvl4pPr>
      <a:lvl5pPr marL="2051834" indent="-180625" algn="l" defTabSz="964916" rtl="0" fontAlgn="base">
        <a:spcBef>
          <a:spcPct val="20000"/>
        </a:spcBef>
        <a:spcAft>
          <a:spcPct val="0"/>
        </a:spcAft>
        <a:buChar char="»"/>
        <a:defRPr sz="1600">
          <a:solidFill>
            <a:schemeClr val="tx1"/>
          </a:solidFill>
          <a:latin typeface="Gill Sans" pitchFamily="34" charset="0"/>
          <a:ea typeface="+mn-ea"/>
        </a:defRPr>
      </a:lvl5pPr>
      <a:lvl6pPr marL="2508099" indent="-180625" algn="l" defTabSz="964916" rtl="0" fontAlgn="base">
        <a:spcBef>
          <a:spcPct val="20000"/>
        </a:spcBef>
        <a:spcAft>
          <a:spcPct val="0"/>
        </a:spcAft>
        <a:buChar char="»"/>
        <a:defRPr sz="1600">
          <a:solidFill>
            <a:schemeClr val="tx1"/>
          </a:solidFill>
          <a:latin typeface="Gill Sans" pitchFamily="34" charset="0"/>
          <a:ea typeface="+mn-ea"/>
        </a:defRPr>
      </a:lvl6pPr>
      <a:lvl7pPr marL="2964441" indent="-180625" algn="l" defTabSz="964916" rtl="0" fontAlgn="base">
        <a:spcBef>
          <a:spcPct val="20000"/>
        </a:spcBef>
        <a:spcAft>
          <a:spcPct val="0"/>
        </a:spcAft>
        <a:buChar char="»"/>
        <a:defRPr sz="1600">
          <a:solidFill>
            <a:schemeClr val="tx1"/>
          </a:solidFill>
          <a:latin typeface="Gill Sans" pitchFamily="34" charset="0"/>
          <a:ea typeface="+mn-ea"/>
        </a:defRPr>
      </a:lvl7pPr>
      <a:lvl8pPr marL="3420745" indent="-180625" algn="l" defTabSz="964916" rtl="0" fontAlgn="base">
        <a:spcBef>
          <a:spcPct val="20000"/>
        </a:spcBef>
        <a:spcAft>
          <a:spcPct val="0"/>
        </a:spcAft>
        <a:buChar char="»"/>
        <a:defRPr sz="1600">
          <a:solidFill>
            <a:schemeClr val="tx1"/>
          </a:solidFill>
          <a:latin typeface="Gill Sans" pitchFamily="34" charset="0"/>
          <a:ea typeface="+mn-ea"/>
        </a:defRPr>
      </a:lvl8pPr>
      <a:lvl9pPr marL="3877047" indent="-180625" algn="l" defTabSz="964916" rtl="0" fontAlgn="base">
        <a:spcBef>
          <a:spcPct val="20000"/>
        </a:spcBef>
        <a:spcAft>
          <a:spcPct val="0"/>
        </a:spcAft>
        <a:buChar char="»"/>
        <a:defRPr sz="1600">
          <a:solidFill>
            <a:schemeClr val="tx1"/>
          </a:solidFill>
          <a:latin typeface="Gill Sans" pitchFamily="34" charset="0"/>
          <a:ea typeface="+mn-ea"/>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696915" y="230002"/>
            <a:ext cx="806291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a:t>Click to edit title</a:t>
            </a:r>
          </a:p>
        </p:txBody>
      </p:sp>
      <p:sp>
        <p:nvSpPr>
          <p:cNvPr id="2051" name="Rectangle 3"/>
          <p:cNvSpPr>
            <a:spLocks noGrp="1" noChangeArrowheads="1"/>
          </p:cNvSpPr>
          <p:nvPr>
            <p:ph type="body" idx="1"/>
          </p:nvPr>
        </p:nvSpPr>
        <p:spPr bwMode="auto">
          <a:xfrm>
            <a:off x="704876" y="821581"/>
            <a:ext cx="8004175" cy="2181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52" name="Line 32"/>
          <p:cNvSpPr>
            <a:spLocks noChangeShapeType="1"/>
          </p:cNvSpPr>
          <p:nvPr/>
        </p:nvSpPr>
        <p:spPr bwMode="auto">
          <a:xfrm>
            <a:off x="677909" y="4668441"/>
            <a:ext cx="80041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912644">
              <a:spcBef>
                <a:spcPct val="50000"/>
              </a:spcBef>
            </a:pPr>
            <a:endParaRPr lang="en-GB" sz="2000">
              <a:solidFill>
                <a:srgbClr val="FFFFFF"/>
              </a:solidFill>
              <a:latin typeface="Expert Sans Regular" pitchFamily="34" charset="0"/>
            </a:endParaRPr>
          </a:p>
        </p:txBody>
      </p:sp>
      <p:pic>
        <p:nvPicPr>
          <p:cNvPr id="2053" name="Picture 9" descr="Bar_06_WHITE_FLA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85063" y="4816087"/>
            <a:ext cx="1200150" cy="15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87070104"/>
      </p:ext>
    </p:extLst>
  </p:cSld>
  <p:clrMap bg1="dk2" tx1="lt1" bg2="dk1"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Lst>
  <p:hf hdr="0" dt="0"/>
  <p:txStyles>
    <p:titleStyle>
      <a:lvl1pPr algn="l" rtl="0" eaLnBrk="0" fontAlgn="base" hangingPunct="0">
        <a:spcBef>
          <a:spcPct val="0"/>
        </a:spcBef>
        <a:spcAft>
          <a:spcPct val="0"/>
        </a:spcAft>
        <a:defRPr sz="3000">
          <a:solidFill>
            <a:schemeClr val="tx1"/>
          </a:solidFill>
          <a:latin typeface="+mj-lt"/>
          <a:ea typeface="+mj-ea"/>
          <a:cs typeface="+mj-cs"/>
        </a:defRPr>
      </a:lvl1pPr>
      <a:lvl2pPr algn="l" rtl="0" eaLnBrk="0" fontAlgn="base" hangingPunct="0">
        <a:spcBef>
          <a:spcPct val="0"/>
        </a:spcBef>
        <a:spcAft>
          <a:spcPct val="0"/>
        </a:spcAft>
        <a:defRPr sz="3000">
          <a:solidFill>
            <a:schemeClr val="tx1"/>
          </a:solidFill>
          <a:latin typeface="Expert Sans Regular" pitchFamily="34" charset="0"/>
        </a:defRPr>
      </a:lvl2pPr>
      <a:lvl3pPr algn="l" rtl="0" eaLnBrk="0" fontAlgn="base" hangingPunct="0">
        <a:spcBef>
          <a:spcPct val="0"/>
        </a:spcBef>
        <a:spcAft>
          <a:spcPct val="0"/>
        </a:spcAft>
        <a:defRPr sz="3000">
          <a:solidFill>
            <a:schemeClr val="tx1"/>
          </a:solidFill>
          <a:latin typeface="Expert Sans Regular" pitchFamily="34" charset="0"/>
        </a:defRPr>
      </a:lvl3pPr>
      <a:lvl4pPr algn="l" rtl="0" eaLnBrk="0" fontAlgn="base" hangingPunct="0">
        <a:spcBef>
          <a:spcPct val="0"/>
        </a:spcBef>
        <a:spcAft>
          <a:spcPct val="0"/>
        </a:spcAft>
        <a:defRPr sz="3000">
          <a:solidFill>
            <a:schemeClr val="tx1"/>
          </a:solidFill>
          <a:latin typeface="Expert Sans Regular" pitchFamily="34" charset="0"/>
        </a:defRPr>
      </a:lvl4pPr>
      <a:lvl5pPr algn="l" rtl="0" eaLnBrk="0" fontAlgn="base" hangingPunct="0">
        <a:spcBef>
          <a:spcPct val="0"/>
        </a:spcBef>
        <a:spcAft>
          <a:spcPct val="0"/>
        </a:spcAft>
        <a:defRPr sz="3000">
          <a:solidFill>
            <a:schemeClr val="tx1"/>
          </a:solidFill>
          <a:latin typeface="Expert Sans Regular" pitchFamily="34" charset="0"/>
        </a:defRPr>
      </a:lvl5pPr>
      <a:lvl6pPr marL="456269" algn="l" rtl="0" fontAlgn="base">
        <a:spcBef>
          <a:spcPct val="0"/>
        </a:spcBef>
        <a:spcAft>
          <a:spcPct val="0"/>
        </a:spcAft>
        <a:defRPr sz="3000">
          <a:solidFill>
            <a:schemeClr val="tx1"/>
          </a:solidFill>
          <a:latin typeface="Expert Sans Regular" pitchFamily="34" charset="0"/>
        </a:defRPr>
      </a:lvl6pPr>
      <a:lvl7pPr marL="912644" algn="l" rtl="0" fontAlgn="base">
        <a:spcBef>
          <a:spcPct val="0"/>
        </a:spcBef>
        <a:spcAft>
          <a:spcPct val="0"/>
        </a:spcAft>
        <a:defRPr sz="3000">
          <a:solidFill>
            <a:schemeClr val="tx1"/>
          </a:solidFill>
          <a:latin typeface="Expert Sans Regular" pitchFamily="34" charset="0"/>
        </a:defRPr>
      </a:lvl7pPr>
      <a:lvl8pPr marL="1368948" algn="l" rtl="0" fontAlgn="base">
        <a:spcBef>
          <a:spcPct val="0"/>
        </a:spcBef>
        <a:spcAft>
          <a:spcPct val="0"/>
        </a:spcAft>
        <a:defRPr sz="3000">
          <a:solidFill>
            <a:schemeClr val="tx1"/>
          </a:solidFill>
          <a:latin typeface="Expert Sans Regular" pitchFamily="34" charset="0"/>
        </a:defRPr>
      </a:lvl8pPr>
      <a:lvl9pPr marL="1825286" algn="l" rtl="0" fontAlgn="base">
        <a:spcBef>
          <a:spcPct val="0"/>
        </a:spcBef>
        <a:spcAft>
          <a:spcPct val="0"/>
        </a:spcAft>
        <a:defRPr sz="3000">
          <a:solidFill>
            <a:schemeClr val="tx1"/>
          </a:solidFill>
          <a:latin typeface="Expert Sans Regular" pitchFamily="34" charset="0"/>
        </a:defRPr>
      </a:lvl9pPr>
    </p:titleStyle>
    <p:bodyStyle>
      <a:lvl1pPr marL="342200" indent="-342200" algn="l" rtl="0" eaLnBrk="0" fontAlgn="base" hangingPunct="0">
        <a:spcBef>
          <a:spcPct val="50000"/>
        </a:spcBef>
        <a:spcAft>
          <a:spcPct val="0"/>
        </a:spcAft>
        <a:buClr>
          <a:schemeClr val="tx2"/>
        </a:buClr>
        <a:buFont typeface="Wingdings" pitchFamily="2" charset="2"/>
        <a:defRPr sz="2000">
          <a:solidFill>
            <a:schemeClr val="tx1"/>
          </a:solidFill>
          <a:latin typeface="+mn-lt"/>
          <a:ea typeface="+mn-ea"/>
          <a:cs typeface="+mn-cs"/>
        </a:defRPr>
      </a:lvl1pPr>
      <a:lvl2pPr marL="231308" indent="-231308" algn="l" rtl="0" eaLnBrk="0" fontAlgn="base" hangingPunct="0">
        <a:spcBef>
          <a:spcPct val="50000"/>
        </a:spcBef>
        <a:spcAft>
          <a:spcPct val="0"/>
        </a:spcAft>
        <a:buFont typeface="Wingdings" pitchFamily="2" charset="2"/>
        <a:buChar char=""/>
        <a:defRPr sz="2000">
          <a:solidFill>
            <a:schemeClr val="tx1"/>
          </a:solidFill>
          <a:latin typeface="+mn-lt"/>
        </a:defRPr>
      </a:lvl2pPr>
      <a:lvl3pPr marL="567233" indent="-332751" algn="l" rtl="0" eaLnBrk="0" fontAlgn="base" hangingPunct="0">
        <a:spcBef>
          <a:spcPct val="50000"/>
        </a:spcBef>
        <a:spcAft>
          <a:spcPct val="0"/>
        </a:spcAft>
        <a:buFont typeface="Arial" charset="0"/>
        <a:buChar char="–"/>
        <a:defRPr sz="2000">
          <a:solidFill>
            <a:schemeClr val="tx1"/>
          </a:solidFill>
          <a:latin typeface="+mn-lt"/>
        </a:defRPr>
      </a:lvl3pPr>
      <a:lvl4pPr marL="857198" indent="-289967" algn="l" rtl="0" eaLnBrk="0" fontAlgn="base" hangingPunct="0">
        <a:spcBef>
          <a:spcPct val="50000"/>
        </a:spcBef>
        <a:spcAft>
          <a:spcPct val="0"/>
        </a:spcAft>
        <a:buFont typeface="Wingdings" pitchFamily="2" charset="2"/>
        <a:buChar char=""/>
        <a:defRPr sz="2000">
          <a:solidFill>
            <a:schemeClr val="tx1"/>
          </a:solidFill>
          <a:latin typeface="+mn-lt"/>
        </a:defRPr>
      </a:lvl4pPr>
      <a:lvl5pPr marL="1202573" indent="-345374" algn="l" rtl="0" eaLnBrk="0" fontAlgn="base" hangingPunct="0">
        <a:spcBef>
          <a:spcPct val="50000"/>
        </a:spcBef>
        <a:spcAft>
          <a:spcPct val="0"/>
        </a:spcAft>
        <a:buFont typeface="Arial" charset="0"/>
        <a:buChar char="–"/>
        <a:defRPr sz="2000">
          <a:solidFill>
            <a:schemeClr val="tx1"/>
          </a:solidFill>
          <a:latin typeface="+mn-lt"/>
        </a:defRPr>
      </a:lvl5pPr>
      <a:lvl6pPr marL="1658840" indent="-345374" algn="l" rtl="0" fontAlgn="base">
        <a:spcBef>
          <a:spcPct val="50000"/>
        </a:spcBef>
        <a:spcAft>
          <a:spcPct val="0"/>
        </a:spcAft>
        <a:buFont typeface="Arial" charset="0"/>
        <a:buChar char="–"/>
        <a:defRPr sz="2000">
          <a:solidFill>
            <a:schemeClr val="tx1"/>
          </a:solidFill>
          <a:latin typeface="+mn-lt"/>
        </a:defRPr>
      </a:lvl6pPr>
      <a:lvl7pPr marL="2115179" indent="-345374" algn="l" rtl="0" fontAlgn="base">
        <a:spcBef>
          <a:spcPct val="50000"/>
        </a:spcBef>
        <a:spcAft>
          <a:spcPct val="0"/>
        </a:spcAft>
        <a:buFont typeface="Arial" charset="0"/>
        <a:buChar char="–"/>
        <a:defRPr sz="2000">
          <a:solidFill>
            <a:schemeClr val="tx1"/>
          </a:solidFill>
          <a:latin typeface="+mn-lt"/>
        </a:defRPr>
      </a:lvl7pPr>
      <a:lvl8pPr marL="2571511" indent="-345374" algn="l" rtl="0" fontAlgn="base">
        <a:spcBef>
          <a:spcPct val="50000"/>
        </a:spcBef>
        <a:spcAft>
          <a:spcPct val="0"/>
        </a:spcAft>
        <a:buFont typeface="Arial" charset="0"/>
        <a:buChar char="–"/>
        <a:defRPr sz="2000">
          <a:solidFill>
            <a:schemeClr val="tx1"/>
          </a:solidFill>
          <a:latin typeface="+mn-lt"/>
        </a:defRPr>
      </a:lvl8pPr>
      <a:lvl9pPr marL="3027860" indent="-345374" algn="l" rtl="0" fontAlgn="base">
        <a:spcBef>
          <a:spcPct val="50000"/>
        </a:spcBef>
        <a:spcAft>
          <a:spcPct val="0"/>
        </a:spcAft>
        <a:buFont typeface="Arial" charset="0"/>
        <a:buChar char="–"/>
        <a:defRPr sz="2000">
          <a:solidFill>
            <a:schemeClr val="tx1"/>
          </a:solidFill>
          <a:latin typeface="+mn-lt"/>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96915" y="230002"/>
            <a:ext cx="806291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a:t>Click to edit title</a:t>
            </a:r>
          </a:p>
        </p:txBody>
      </p:sp>
      <p:sp>
        <p:nvSpPr>
          <p:cNvPr id="1027" name="Rectangle 3"/>
          <p:cNvSpPr>
            <a:spLocks noGrp="1" noChangeArrowheads="1"/>
          </p:cNvSpPr>
          <p:nvPr>
            <p:ph type="body" idx="1"/>
          </p:nvPr>
        </p:nvSpPr>
        <p:spPr bwMode="auto">
          <a:xfrm>
            <a:off x="704876" y="821581"/>
            <a:ext cx="8004175" cy="2181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Line 32"/>
          <p:cNvSpPr>
            <a:spLocks noChangeShapeType="1"/>
          </p:cNvSpPr>
          <p:nvPr/>
        </p:nvSpPr>
        <p:spPr bwMode="auto">
          <a:xfrm>
            <a:off x="677909" y="4668441"/>
            <a:ext cx="80041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912644">
              <a:spcBef>
                <a:spcPct val="50000"/>
              </a:spcBef>
            </a:pPr>
            <a:endParaRPr lang="en-GB" sz="2000">
              <a:solidFill>
                <a:srgbClr val="FFFFFF"/>
              </a:solidFill>
              <a:latin typeface="Expert Sans Regular" pitchFamily="34" charset="0"/>
            </a:endParaRPr>
          </a:p>
        </p:txBody>
      </p:sp>
      <p:pic>
        <p:nvPicPr>
          <p:cNvPr id="1029" name="Picture 10" descr="Bar_06_WHITE_FLA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485063" y="4816087"/>
            <a:ext cx="1200150" cy="15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0048263"/>
      </p:ext>
    </p:extLst>
  </p:cSld>
  <p:clrMap bg1="dk2" tx1="lt1" bg2="dk1" tx2="lt2" accent1="accent1" accent2="accent2" accent3="accent3" accent4="accent4" accent5="accent5" accent6="accent6" hlink="hlink" folHlink="folHlink"/>
  <p:sldLayoutIdLst>
    <p:sldLayoutId id="2147484705" r:id="rId1"/>
    <p:sldLayoutId id="2147484706" r:id="rId2"/>
    <p:sldLayoutId id="2147484707" r:id="rId3"/>
    <p:sldLayoutId id="2147484708" r:id="rId4"/>
    <p:sldLayoutId id="2147484709" r:id="rId5"/>
    <p:sldLayoutId id="2147484710" r:id="rId6"/>
    <p:sldLayoutId id="2147484711" r:id="rId7"/>
    <p:sldLayoutId id="2147484712" r:id="rId8"/>
    <p:sldLayoutId id="2147484713" r:id="rId9"/>
    <p:sldLayoutId id="2147484714" r:id="rId10"/>
    <p:sldLayoutId id="2147484715" r:id="rId11"/>
    <p:sldLayoutId id="2147484716" r:id="rId12"/>
    <p:sldLayoutId id="2147484717" r:id="rId13"/>
  </p:sldLayoutIdLst>
  <p:hf hdr="0" dt="0"/>
  <p:txStyles>
    <p:titleStyle>
      <a:lvl1pPr algn="l" rtl="0" eaLnBrk="0" fontAlgn="base" hangingPunct="0">
        <a:spcBef>
          <a:spcPct val="0"/>
        </a:spcBef>
        <a:spcAft>
          <a:spcPct val="0"/>
        </a:spcAft>
        <a:defRPr sz="3000">
          <a:solidFill>
            <a:schemeClr val="tx1"/>
          </a:solidFill>
          <a:latin typeface="+mj-lt"/>
          <a:ea typeface="+mj-ea"/>
          <a:cs typeface="+mj-cs"/>
        </a:defRPr>
      </a:lvl1pPr>
      <a:lvl2pPr algn="l" rtl="0" eaLnBrk="0" fontAlgn="base" hangingPunct="0">
        <a:spcBef>
          <a:spcPct val="0"/>
        </a:spcBef>
        <a:spcAft>
          <a:spcPct val="0"/>
        </a:spcAft>
        <a:defRPr sz="3000">
          <a:solidFill>
            <a:schemeClr val="tx1"/>
          </a:solidFill>
          <a:latin typeface="Expert Sans Regular" pitchFamily="34" charset="0"/>
        </a:defRPr>
      </a:lvl2pPr>
      <a:lvl3pPr algn="l" rtl="0" eaLnBrk="0" fontAlgn="base" hangingPunct="0">
        <a:spcBef>
          <a:spcPct val="0"/>
        </a:spcBef>
        <a:spcAft>
          <a:spcPct val="0"/>
        </a:spcAft>
        <a:defRPr sz="3000">
          <a:solidFill>
            <a:schemeClr val="tx1"/>
          </a:solidFill>
          <a:latin typeface="Expert Sans Regular" pitchFamily="34" charset="0"/>
        </a:defRPr>
      </a:lvl3pPr>
      <a:lvl4pPr algn="l" rtl="0" eaLnBrk="0" fontAlgn="base" hangingPunct="0">
        <a:spcBef>
          <a:spcPct val="0"/>
        </a:spcBef>
        <a:spcAft>
          <a:spcPct val="0"/>
        </a:spcAft>
        <a:defRPr sz="3000">
          <a:solidFill>
            <a:schemeClr val="tx1"/>
          </a:solidFill>
          <a:latin typeface="Expert Sans Regular" pitchFamily="34" charset="0"/>
        </a:defRPr>
      </a:lvl4pPr>
      <a:lvl5pPr algn="l" rtl="0" eaLnBrk="0" fontAlgn="base" hangingPunct="0">
        <a:spcBef>
          <a:spcPct val="0"/>
        </a:spcBef>
        <a:spcAft>
          <a:spcPct val="0"/>
        </a:spcAft>
        <a:defRPr sz="3000">
          <a:solidFill>
            <a:schemeClr val="tx1"/>
          </a:solidFill>
          <a:latin typeface="Expert Sans Regular" pitchFamily="34" charset="0"/>
        </a:defRPr>
      </a:lvl5pPr>
      <a:lvl6pPr marL="456269" algn="l" rtl="0" eaLnBrk="1" fontAlgn="base" hangingPunct="1">
        <a:spcBef>
          <a:spcPct val="0"/>
        </a:spcBef>
        <a:spcAft>
          <a:spcPct val="0"/>
        </a:spcAft>
        <a:defRPr sz="3600">
          <a:solidFill>
            <a:schemeClr val="tx2"/>
          </a:solidFill>
          <a:latin typeface="Arial" pitchFamily="34" charset="0"/>
        </a:defRPr>
      </a:lvl6pPr>
      <a:lvl7pPr marL="912644" algn="l" rtl="0" eaLnBrk="1" fontAlgn="base" hangingPunct="1">
        <a:spcBef>
          <a:spcPct val="0"/>
        </a:spcBef>
        <a:spcAft>
          <a:spcPct val="0"/>
        </a:spcAft>
        <a:defRPr sz="3600">
          <a:solidFill>
            <a:schemeClr val="tx2"/>
          </a:solidFill>
          <a:latin typeface="Arial" pitchFamily="34" charset="0"/>
        </a:defRPr>
      </a:lvl7pPr>
      <a:lvl8pPr marL="1368948" algn="l" rtl="0" eaLnBrk="1" fontAlgn="base" hangingPunct="1">
        <a:spcBef>
          <a:spcPct val="0"/>
        </a:spcBef>
        <a:spcAft>
          <a:spcPct val="0"/>
        </a:spcAft>
        <a:defRPr sz="3600">
          <a:solidFill>
            <a:schemeClr val="tx2"/>
          </a:solidFill>
          <a:latin typeface="Arial" pitchFamily="34" charset="0"/>
        </a:defRPr>
      </a:lvl8pPr>
      <a:lvl9pPr marL="1825286" algn="l" rtl="0" eaLnBrk="1" fontAlgn="base" hangingPunct="1">
        <a:spcBef>
          <a:spcPct val="0"/>
        </a:spcBef>
        <a:spcAft>
          <a:spcPct val="0"/>
        </a:spcAft>
        <a:defRPr sz="3600">
          <a:solidFill>
            <a:schemeClr val="tx2"/>
          </a:solidFill>
          <a:latin typeface="Arial" pitchFamily="34" charset="0"/>
        </a:defRPr>
      </a:lvl9pPr>
    </p:titleStyle>
    <p:bodyStyle>
      <a:lvl1pPr marL="342200" indent="-342200" algn="l" rtl="0" eaLnBrk="0" fontAlgn="base" hangingPunct="0">
        <a:spcBef>
          <a:spcPct val="50000"/>
        </a:spcBef>
        <a:spcAft>
          <a:spcPct val="0"/>
        </a:spcAft>
        <a:buClr>
          <a:schemeClr val="tx2"/>
        </a:buClr>
        <a:buFont typeface="Wingdings" pitchFamily="2" charset="2"/>
        <a:defRPr sz="2000">
          <a:solidFill>
            <a:schemeClr val="tx1"/>
          </a:solidFill>
          <a:latin typeface="+mn-lt"/>
          <a:ea typeface="+mn-ea"/>
          <a:cs typeface="+mn-cs"/>
        </a:defRPr>
      </a:lvl1pPr>
      <a:lvl2pPr marL="231308" indent="-231308" algn="l" rtl="0" eaLnBrk="0" fontAlgn="base" hangingPunct="0">
        <a:spcBef>
          <a:spcPct val="50000"/>
        </a:spcBef>
        <a:spcAft>
          <a:spcPct val="0"/>
        </a:spcAft>
        <a:buFont typeface="Wingdings" pitchFamily="2" charset="2"/>
        <a:buChar char=""/>
        <a:defRPr sz="2000">
          <a:solidFill>
            <a:schemeClr val="tx1"/>
          </a:solidFill>
          <a:latin typeface="+mn-lt"/>
        </a:defRPr>
      </a:lvl2pPr>
      <a:lvl3pPr marL="567233" indent="-332751" algn="l" rtl="0" eaLnBrk="0" fontAlgn="base" hangingPunct="0">
        <a:spcBef>
          <a:spcPct val="50000"/>
        </a:spcBef>
        <a:spcAft>
          <a:spcPct val="0"/>
        </a:spcAft>
        <a:buFont typeface="Arial" charset="0"/>
        <a:buChar char="–"/>
        <a:defRPr sz="2000">
          <a:solidFill>
            <a:schemeClr val="tx1"/>
          </a:solidFill>
          <a:latin typeface="+mn-lt"/>
        </a:defRPr>
      </a:lvl3pPr>
      <a:lvl4pPr marL="857198" indent="-289967" algn="l" rtl="0" eaLnBrk="0" fontAlgn="base" hangingPunct="0">
        <a:spcBef>
          <a:spcPct val="50000"/>
        </a:spcBef>
        <a:spcAft>
          <a:spcPct val="0"/>
        </a:spcAft>
        <a:buFont typeface="Wingdings" pitchFamily="2" charset="2"/>
        <a:buChar char=""/>
        <a:defRPr sz="2000">
          <a:solidFill>
            <a:schemeClr val="tx1"/>
          </a:solidFill>
          <a:latin typeface="+mn-lt"/>
        </a:defRPr>
      </a:lvl4pPr>
      <a:lvl5pPr marL="1202573" indent="-345374" algn="l" rtl="0" eaLnBrk="0" fontAlgn="base" hangingPunct="0">
        <a:spcBef>
          <a:spcPct val="50000"/>
        </a:spcBef>
        <a:spcAft>
          <a:spcPct val="0"/>
        </a:spcAft>
        <a:buFont typeface="Arial" charset="0"/>
        <a:buChar char="–"/>
        <a:defRPr sz="2000">
          <a:solidFill>
            <a:schemeClr val="tx1"/>
          </a:solidFill>
          <a:latin typeface="+mn-lt"/>
        </a:defRPr>
      </a:lvl5pPr>
      <a:lvl6pPr marL="2455829" indent="-174313"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6pPr>
      <a:lvl7pPr marL="2912168" indent="-174313"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7pPr>
      <a:lvl8pPr marL="3368473" indent="-174313"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8pPr>
      <a:lvl9pPr marL="3824738" indent="-174313"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8" name="Picture 17" descr="Precis strap with logo.jpg"/>
          <p:cNvPicPr>
            <a:picLocks noChangeAspect="1"/>
          </p:cNvPicPr>
          <p:nvPr/>
        </p:nvPicPr>
        <p:blipFill>
          <a:blip cstate="print"/>
          <a:srcRect r="7676"/>
          <a:stretch>
            <a:fillRect/>
          </a:stretch>
        </p:blipFill>
        <p:spPr>
          <a:xfrm>
            <a:off x="0" y="4764968"/>
            <a:ext cx="9144000" cy="378619"/>
          </a:xfrm>
          <a:prstGeom prst="rect">
            <a:avLst/>
          </a:prstGeom>
        </p:spPr>
      </p:pic>
      <p:sp>
        <p:nvSpPr>
          <p:cNvPr id="1029" name="Rectangle 1046"/>
          <p:cNvSpPr>
            <a:spLocks noGrp="1" noChangeArrowheads="1"/>
          </p:cNvSpPr>
          <p:nvPr>
            <p:ph type="title"/>
          </p:nvPr>
        </p:nvSpPr>
        <p:spPr bwMode="auto">
          <a:xfrm>
            <a:off x="457201" y="205979"/>
            <a:ext cx="8229600" cy="857250"/>
          </a:xfrm>
          <a:prstGeom prst="rect">
            <a:avLst/>
          </a:prstGeom>
          <a:noFill/>
          <a:ln w="9525">
            <a:noFill/>
            <a:miter lim="800000"/>
            <a:headEnd/>
            <a:tailEnd/>
          </a:ln>
        </p:spPr>
        <p:txBody>
          <a:bodyPr vert="horz" wrap="square" lIns="95552" tIns="47813" rIns="95552" bIns="47813" numCol="1" anchor="ctr" anchorCtr="0" compatLnSpc="1">
            <a:prstTxWarp prst="textNoShape">
              <a:avLst/>
            </a:prstTxWarp>
          </a:bodyPr>
          <a:lstStyle/>
          <a:p>
            <a:pPr lvl="0"/>
            <a:r>
              <a:rPr lang="en-US" dirty="0"/>
              <a:t>Click to edit Master title style</a:t>
            </a:r>
            <a:endParaRPr lang="en-GB" dirty="0"/>
          </a:p>
        </p:txBody>
      </p:sp>
      <p:sp>
        <p:nvSpPr>
          <p:cNvPr id="1030" name="Rectangle 1047"/>
          <p:cNvSpPr>
            <a:spLocks noGrp="1" noChangeArrowheads="1"/>
          </p:cNvSpPr>
          <p:nvPr>
            <p:ph type="body" idx="1"/>
          </p:nvPr>
        </p:nvSpPr>
        <p:spPr bwMode="auto">
          <a:xfrm>
            <a:off x="457201" y="1200155"/>
            <a:ext cx="8229600" cy="3394472"/>
          </a:xfrm>
          <a:prstGeom prst="rect">
            <a:avLst/>
          </a:prstGeom>
          <a:noFill/>
          <a:ln w="9525">
            <a:noFill/>
            <a:miter lim="800000"/>
            <a:headEnd/>
            <a:tailEnd/>
          </a:ln>
        </p:spPr>
        <p:txBody>
          <a:bodyPr vert="horz" wrap="square" lIns="95552" tIns="47813" rIns="95552" bIns="47813"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Rectangle 1029"/>
          <p:cNvSpPr txBox="1">
            <a:spLocks noChangeArrowheads="1"/>
          </p:cNvSpPr>
          <p:nvPr/>
        </p:nvSpPr>
        <p:spPr>
          <a:xfrm>
            <a:off x="8415037" y="4893556"/>
            <a:ext cx="517945" cy="78581"/>
          </a:xfrm>
          <a:prstGeom prst="rect">
            <a:avLst/>
          </a:prstGeom>
          <a:solidFill>
            <a:schemeClr val="tx1">
              <a:alpha val="0"/>
            </a:schemeClr>
          </a:solidFill>
          <a:ln/>
        </p:spPr>
        <p:txBody>
          <a:bodyPr lIns="91284" tIns="45642" rIns="91284" bIns="45642"/>
          <a:lstStyle>
            <a:lvl1pPr>
              <a:defRPr/>
            </a:lvl1pPr>
          </a:lstStyle>
          <a:p>
            <a:pPr defTabSz="912644">
              <a:defRPr/>
            </a:pPr>
            <a:fld id="{C22D8CFA-2F5D-43E5-BA9D-9BFFCE8B7FC6}" type="slidenum">
              <a:rPr lang="en-GB" sz="800" smtClean="0">
                <a:solidFill>
                  <a:srgbClr val="C0C0C0"/>
                </a:solidFill>
                <a:ea typeface="ＭＳ Ｐゴシック" charset="-128"/>
                <a:cs typeface="+mn-cs"/>
              </a:rPr>
              <a:pPr defTabSz="912644">
                <a:defRPr/>
              </a:pPr>
              <a:t>‹#›</a:t>
            </a:fld>
            <a:endParaRPr lang="en-GB" sz="800" dirty="0">
              <a:solidFill>
                <a:srgbClr val="C0C0C0"/>
              </a:solidFill>
              <a:ea typeface="ＭＳ Ｐゴシック" charset="-128"/>
              <a:cs typeface="+mn-cs"/>
            </a:endParaRPr>
          </a:p>
        </p:txBody>
      </p:sp>
      <p:sp>
        <p:nvSpPr>
          <p:cNvPr id="17" name="Rectangle 1030"/>
          <p:cNvSpPr txBox="1">
            <a:spLocks noChangeArrowheads="1"/>
          </p:cNvSpPr>
          <p:nvPr/>
        </p:nvSpPr>
        <p:spPr>
          <a:xfrm>
            <a:off x="4416698" y="4893473"/>
            <a:ext cx="3859823" cy="85725"/>
          </a:xfrm>
          <a:prstGeom prst="rect">
            <a:avLst/>
          </a:prstGeom>
          <a:solidFill>
            <a:schemeClr val="tx1">
              <a:alpha val="0"/>
            </a:schemeClr>
          </a:solidFill>
          <a:ln/>
        </p:spPr>
        <p:txBody>
          <a:bodyPr lIns="91284" tIns="45642" rIns="91284" bIns="45642"/>
          <a:lstStyle>
            <a:lvl1pPr>
              <a:defRPr/>
            </a:lvl1pPr>
          </a:lstStyle>
          <a:p>
            <a:pPr algn="r" defTabSz="912644">
              <a:defRPr/>
            </a:pPr>
            <a:r>
              <a:rPr lang="en-GB" sz="800" dirty="0">
                <a:solidFill>
                  <a:srgbClr val="C0C0C0"/>
                </a:solidFill>
                <a:ea typeface="ＭＳ Ｐゴシック" charset="-128"/>
                <a:cs typeface="+mn-cs"/>
              </a:rPr>
              <a:t>© 2013 Kantar Media</a:t>
            </a:r>
          </a:p>
        </p:txBody>
      </p:sp>
      <p:sp>
        <p:nvSpPr>
          <p:cNvPr id="8" name="Rectangle 7"/>
          <p:cNvSpPr/>
          <p:nvPr/>
        </p:nvSpPr>
        <p:spPr bwMode="auto">
          <a:xfrm>
            <a:off x="1691680" y="4948014"/>
            <a:ext cx="432048" cy="108012"/>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284" tIns="45642" rIns="91284" bIns="45642" numCol="1" rtlCol="0" anchor="t" anchorCtr="0" compatLnSpc="1">
            <a:prstTxWarp prst="textNoShape">
              <a:avLst/>
            </a:prstTxWarp>
          </a:bodyPr>
          <a:lstStyle/>
          <a:p>
            <a:pPr defTabSz="912644"/>
            <a:endParaRPr lang="en-GB" sz="1800" u="sng">
              <a:solidFill>
                <a:srgbClr val="000000"/>
              </a:solidFill>
              <a:cs typeface="+mn-cs"/>
            </a:endParaRPr>
          </a:p>
        </p:txBody>
      </p:sp>
    </p:spTree>
    <p:extLst>
      <p:ext uri="{BB962C8B-B14F-4D97-AF65-F5344CB8AC3E}">
        <p14:creationId xmlns:p14="http://schemas.microsoft.com/office/powerpoint/2010/main" val="544627287"/>
      </p:ext>
    </p:extLst>
  </p:cSld>
  <p:clrMap bg1="lt1" tx1="dk1" bg2="lt2" tx2="dk2" accent1="accent1" accent2="accent2" accent3="accent3" accent4="accent4" accent5="accent5" accent6="accent6" hlink="hlink" folHlink="folHlink"/>
  <p:sldLayoutIdLst>
    <p:sldLayoutId id="2147484719" r:id="rId1"/>
    <p:sldLayoutId id="2147484720" r:id="rId2"/>
    <p:sldLayoutId id="2147484721" r:id="rId3"/>
    <p:sldLayoutId id="2147484722" r:id="rId4"/>
    <p:sldLayoutId id="2147484723" r:id="rId5"/>
    <p:sldLayoutId id="2147484724" r:id="rId6"/>
  </p:sldLayoutIdLst>
  <p:transition spd="slow">
    <p:fade/>
  </p:transition>
  <p:txStyles>
    <p:titleStyle>
      <a:lvl1pPr algn="l" defTabSz="955391" rtl="0" eaLnBrk="1" fontAlgn="base" hangingPunct="1">
        <a:spcBef>
          <a:spcPct val="0"/>
        </a:spcBef>
        <a:spcAft>
          <a:spcPct val="0"/>
        </a:spcAft>
        <a:defRPr sz="2300" b="1">
          <a:solidFill>
            <a:srgbClr val="000000"/>
          </a:solidFill>
          <a:latin typeface="+mj-lt"/>
          <a:ea typeface="ＭＳ Ｐゴシック" charset="-128"/>
          <a:cs typeface="+mj-cs"/>
        </a:defRPr>
      </a:lvl1pPr>
      <a:lvl2pPr algn="l" defTabSz="955391" rtl="0" eaLnBrk="1" fontAlgn="base" hangingPunct="1">
        <a:spcBef>
          <a:spcPct val="0"/>
        </a:spcBef>
        <a:spcAft>
          <a:spcPct val="0"/>
        </a:spcAft>
        <a:defRPr sz="2300" b="1">
          <a:solidFill>
            <a:srgbClr val="000000"/>
          </a:solidFill>
          <a:latin typeface="Arial" charset="0"/>
          <a:ea typeface="ＭＳ Ｐゴシック" charset="-128"/>
        </a:defRPr>
      </a:lvl2pPr>
      <a:lvl3pPr algn="l" defTabSz="955391" rtl="0" eaLnBrk="1" fontAlgn="base" hangingPunct="1">
        <a:spcBef>
          <a:spcPct val="0"/>
        </a:spcBef>
        <a:spcAft>
          <a:spcPct val="0"/>
        </a:spcAft>
        <a:defRPr sz="2300" b="1">
          <a:solidFill>
            <a:srgbClr val="000000"/>
          </a:solidFill>
          <a:latin typeface="Arial" charset="0"/>
          <a:ea typeface="ＭＳ Ｐゴシック" charset="-128"/>
        </a:defRPr>
      </a:lvl3pPr>
      <a:lvl4pPr algn="l" defTabSz="955391" rtl="0" eaLnBrk="1" fontAlgn="base" hangingPunct="1">
        <a:spcBef>
          <a:spcPct val="0"/>
        </a:spcBef>
        <a:spcAft>
          <a:spcPct val="0"/>
        </a:spcAft>
        <a:defRPr sz="2300" b="1">
          <a:solidFill>
            <a:srgbClr val="000000"/>
          </a:solidFill>
          <a:latin typeface="Arial" charset="0"/>
          <a:ea typeface="ＭＳ Ｐゴシック" charset="-128"/>
        </a:defRPr>
      </a:lvl4pPr>
      <a:lvl5pPr algn="l" defTabSz="955391" rtl="0" eaLnBrk="1" fontAlgn="base" hangingPunct="1">
        <a:spcBef>
          <a:spcPct val="0"/>
        </a:spcBef>
        <a:spcAft>
          <a:spcPct val="0"/>
        </a:spcAft>
        <a:defRPr sz="2300" b="1">
          <a:solidFill>
            <a:srgbClr val="000000"/>
          </a:solidFill>
          <a:latin typeface="Arial" charset="0"/>
          <a:ea typeface="ＭＳ Ｐゴシック" charset="-128"/>
        </a:defRPr>
      </a:lvl5pPr>
      <a:lvl6pPr marL="456269" algn="l" rtl="0" eaLnBrk="1" fontAlgn="base" hangingPunct="1">
        <a:spcBef>
          <a:spcPct val="0"/>
        </a:spcBef>
        <a:spcAft>
          <a:spcPct val="0"/>
        </a:spcAft>
        <a:defRPr sz="2200" b="1">
          <a:solidFill>
            <a:srgbClr val="000000"/>
          </a:solidFill>
          <a:latin typeface="Arial" charset="0"/>
        </a:defRPr>
      </a:lvl6pPr>
      <a:lvl7pPr marL="912644" algn="l" rtl="0" eaLnBrk="1" fontAlgn="base" hangingPunct="1">
        <a:spcBef>
          <a:spcPct val="0"/>
        </a:spcBef>
        <a:spcAft>
          <a:spcPct val="0"/>
        </a:spcAft>
        <a:defRPr sz="2200" b="1">
          <a:solidFill>
            <a:srgbClr val="000000"/>
          </a:solidFill>
          <a:latin typeface="Arial" charset="0"/>
        </a:defRPr>
      </a:lvl7pPr>
      <a:lvl8pPr marL="1368948" algn="l" rtl="0" eaLnBrk="1" fontAlgn="base" hangingPunct="1">
        <a:spcBef>
          <a:spcPct val="0"/>
        </a:spcBef>
        <a:spcAft>
          <a:spcPct val="0"/>
        </a:spcAft>
        <a:defRPr sz="2200" b="1">
          <a:solidFill>
            <a:srgbClr val="000000"/>
          </a:solidFill>
          <a:latin typeface="Arial" charset="0"/>
        </a:defRPr>
      </a:lvl8pPr>
      <a:lvl9pPr marL="1825286" algn="l" rtl="0" eaLnBrk="1" fontAlgn="base" hangingPunct="1">
        <a:spcBef>
          <a:spcPct val="0"/>
        </a:spcBef>
        <a:spcAft>
          <a:spcPct val="0"/>
        </a:spcAft>
        <a:defRPr sz="2200" b="1">
          <a:solidFill>
            <a:srgbClr val="000000"/>
          </a:solidFill>
          <a:latin typeface="Arial" charset="0"/>
        </a:defRPr>
      </a:lvl9pPr>
    </p:titleStyle>
    <p:bodyStyle>
      <a:lvl1pPr marL="358073" indent="-358073" algn="l" defTabSz="955391" rtl="0" eaLnBrk="1" fontAlgn="base" hangingPunct="1">
        <a:spcBef>
          <a:spcPct val="40000"/>
        </a:spcBef>
        <a:spcAft>
          <a:spcPct val="0"/>
        </a:spcAft>
        <a:buClr>
          <a:schemeClr val="tx2"/>
        </a:buClr>
        <a:buFont typeface="Arial" charset="0"/>
        <a:defRPr sz="1900">
          <a:solidFill>
            <a:schemeClr val="tx1"/>
          </a:solidFill>
          <a:latin typeface="+mn-lt"/>
          <a:ea typeface="ＭＳ Ｐゴシック" charset="-128"/>
          <a:cs typeface="+mn-cs"/>
        </a:defRPr>
      </a:lvl1pPr>
      <a:lvl2pPr marL="282029" indent="-280442" algn="l" defTabSz="955391" rtl="0" eaLnBrk="1" fontAlgn="base" hangingPunct="1">
        <a:spcBef>
          <a:spcPct val="40000"/>
        </a:spcBef>
        <a:spcAft>
          <a:spcPct val="0"/>
        </a:spcAft>
        <a:buClr>
          <a:schemeClr val="tx2"/>
        </a:buClr>
        <a:buFont typeface="Arial" charset="0"/>
        <a:buChar char="–"/>
        <a:defRPr sz="1900">
          <a:solidFill>
            <a:schemeClr val="tx1"/>
          </a:solidFill>
          <a:latin typeface="+mn-lt"/>
          <a:ea typeface="ＭＳ Ｐゴシック" charset="-128"/>
        </a:defRPr>
      </a:lvl2pPr>
      <a:lvl3pPr marL="562471" indent="-278854" algn="l" defTabSz="955391" rtl="0" eaLnBrk="1" fontAlgn="base" hangingPunct="1">
        <a:spcBef>
          <a:spcPct val="40000"/>
        </a:spcBef>
        <a:spcAft>
          <a:spcPct val="0"/>
        </a:spcAft>
        <a:buClr>
          <a:schemeClr val="tx2"/>
        </a:buClr>
        <a:buFont typeface="Wingdings" charset="2"/>
        <a:buChar char="§"/>
        <a:defRPr sz="1500">
          <a:solidFill>
            <a:schemeClr val="tx1"/>
          </a:solidFill>
          <a:latin typeface="+mn-lt"/>
          <a:ea typeface="ＭＳ Ｐゴシック" charset="-128"/>
        </a:defRPr>
      </a:lvl3pPr>
      <a:lvl4pPr marL="844500" indent="-280442" algn="l" defTabSz="955391" rtl="0" eaLnBrk="1" fontAlgn="base" hangingPunct="1">
        <a:spcBef>
          <a:spcPct val="40000"/>
        </a:spcBef>
        <a:spcAft>
          <a:spcPct val="0"/>
        </a:spcAft>
        <a:buClr>
          <a:schemeClr val="tx2"/>
        </a:buClr>
        <a:buFont typeface="Wingdings" charset="2"/>
        <a:buChar char="§"/>
        <a:defRPr sz="1500">
          <a:solidFill>
            <a:schemeClr val="tx1"/>
          </a:solidFill>
          <a:latin typeface="+mn-lt"/>
          <a:ea typeface="ＭＳ Ｐゴシック" charset="-128"/>
        </a:defRPr>
      </a:lvl4pPr>
      <a:lvl5pPr marL="846087" indent="1066283" algn="l" defTabSz="955391" rtl="0" eaLnBrk="1" fontAlgn="base" hangingPunct="1">
        <a:spcBef>
          <a:spcPct val="40000"/>
        </a:spcBef>
        <a:spcAft>
          <a:spcPct val="0"/>
        </a:spcAft>
        <a:buClr>
          <a:schemeClr val="tx2"/>
        </a:buClr>
        <a:buFont typeface="Arial" charset="0"/>
        <a:defRPr sz="1300">
          <a:solidFill>
            <a:schemeClr val="tx1"/>
          </a:solidFill>
          <a:latin typeface="+mn-lt"/>
          <a:ea typeface="ＭＳ Ｐゴシック" charset="-128"/>
        </a:defRPr>
      </a:lvl5pPr>
      <a:lvl6pPr marL="1264369" algn="l" rtl="0" eaLnBrk="1" fontAlgn="base" hangingPunct="1">
        <a:spcBef>
          <a:spcPct val="40000"/>
        </a:spcBef>
        <a:spcAft>
          <a:spcPct val="0"/>
        </a:spcAft>
        <a:buClr>
          <a:schemeClr val="tx2"/>
        </a:buClr>
        <a:buFont typeface="Arial" charset="0"/>
        <a:defRPr sz="1200">
          <a:solidFill>
            <a:schemeClr val="tx1"/>
          </a:solidFill>
          <a:latin typeface="+mn-lt"/>
        </a:defRPr>
      </a:lvl6pPr>
      <a:lvl7pPr marL="1720671" algn="l" rtl="0" eaLnBrk="1" fontAlgn="base" hangingPunct="1">
        <a:spcBef>
          <a:spcPct val="40000"/>
        </a:spcBef>
        <a:spcAft>
          <a:spcPct val="0"/>
        </a:spcAft>
        <a:buClr>
          <a:schemeClr val="tx2"/>
        </a:buClr>
        <a:buFont typeface="Arial" charset="0"/>
        <a:defRPr sz="1200">
          <a:solidFill>
            <a:schemeClr val="tx1"/>
          </a:solidFill>
          <a:latin typeface="+mn-lt"/>
        </a:defRPr>
      </a:lvl7pPr>
      <a:lvl8pPr marL="2177012" algn="l" rtl="0" eaLnBrk="1" fontAlgn="base" hangingPunct="1">
        <a:spcBef>
          <a:spcPct val="40000"/>
        </a:spcBef>
        <a:spcAft>
          <a:spcPct val="0"/>
        </a:spcAft>
        <a:buClr>
          <a:schemeClr val="tx2"/>
        </a:buClr>
        <a:buFont typeface="Arial" charset="0"/>
        <a:defRPr sz="1200">
          <a:solidFill>
            <a:schemeClr val="tx1"/>
          </a:solidFill>
          <a:latin typeface="+mn-lt"/>
        </a:defRPr>
      </a:lvl8pPr>
      <a:lvl9pPr marL="2633277" algn="l" rtl="0" eaLnBrk="1" fontAlgn="base" hangingPunct="1">
        <a:spcBef>
          <a:spcPct val="40000"/>
        </a:spcBef>
        <a:spcAft>
          <a:spcPct val="0"/>
        </a:spcAft>
        <a:buClr>
          <a:schemeClr val="tx2"/>
        </a:buClr>
        <a:buFont typeface="Arial" charset="0"/>
        <a:defRPr sz="1200">
          <a:solidFill>
            <a:schemeClr val="tx1"/>
          </a:solidFill>
          <a:latin typeface="+mn-lt"/>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62"/>
          <a:ext cx="146538" cy="119063"/>
        </p:xfrm>
        <a:graphic>
          <a:graphicData uri="http://schemas.openxmlformats.org/presentationml/2006/ole">
            <mc:AlternateContent xmlns:mc="http://schemas.openxmlformats.org/markup-compatibility/2006">
              <mc:Choice xmlns:v="urn:schemas-microsoft-com:vml" Requires="v">
                <p:oleObj spid="_x0000_s15596"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9" y="3"/>
            <a:ext cx="9143999" cy="751601"/>
          </a:xfrm>
          <a:prstGeom prst="rect">
            <a:avLst/>
          </a:prstGeom>
        </p:spPr>
        <p:txBody>
          <a:bodyPr vert="horz" lIns="296945" tIns="33056" rIns="164982" bIns="33056"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64" y="1126484"/>
            <a:ext cx="8712115" cy="3477405"/>
          </a:xfrm>
          <a:prstGeom prst="rect">
            <a:avLst/>
          </a:prstGeom>
        </p:spPr>
        <p:txBody>
          <a:bodyPr vert="horz" lIns="107766" tIns="71882" rIns="71882" bIns="71882"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8827281" y="4982805"/>
            <a:ext cx="110608" cy="107722"/>
          </a:xfrm>
          <a:prstGeom prst="rect">
            <a:avLst/>
          </a:prstGeom>
          <a:noFill/>
        </p:spPr>
        <p:txBody>
          <a:bodyPr wrap="none" lIns="0" tIns="0" rIns="0" bIns="0" rtlCol="0" anchor="ctr">
            <a:spAutoFit/>
          </a:bodyPr>
          <a:lstStyle/>
          <a:p>
            <a:pPr algn="ctr" defTabSz="955884" fontAlgn="auto">
              <a:spcBef>
                <a:spcPts val="0"/>
              </a:spcBef>
              <a:spcAft>
                <a:spcPts val="0"/>
              </a:spcAft>
            </a:pPr>
            <a:fld id="{6A895693-0027-4F28-9367-92E39A51F51C}" type="slidenum">
              <a:rPr lang="en-US" sz="700" smtClean="0">
                <a:solidFill>
                  <a:srgbClr val="998C85"/>
                </a:solidFill>
                <a:latin typeface="Arial"/>
                <a:cs typeface="+mn-cs"/>
              </a:rPr>
              <a:pPr algn="ctr" defTabSz="955884" fontAlgn="auto">
                <a:spcBef>
                  <a:spcPts val="0"/>
                </a:spcBef>
                <a:spcAft>
                  <a:spcPts val="0"/>
                </a:spcAft>
              </a:pPr>
              <a:t>‹#›</a:t>
            </a:fld>
            <a:endParaRPr lang="en-US" sz="700" dirty="0">
              <a:solidFill>
                <a:srgbClr val="998C85"/>
              </a:solidFill>
              <a:latin typeface="Arial"/>
              <a:cs typeface="+mn-cs"/>
            </a:endParaRPr>
          </a:p>
        </p:txBody>
      </p:sp>
      <p:sp>
        <p:nvSpPr>
          <p:cNvPr id="9" name="Freeform 4"/>
          <p:cNvSpPr>
            <a:spLocks/>
          </p:cNvSpPr>
          <p:nvPr>
            <p:custDataLst>
              <p:tags r:id="rId17"/>
            </p:custDataLst>
          </p:nvPr>
        </p:nvSpPr>
        <p:spPr bwMode="auto">
          <a:xfrm>
            <a:off x="39"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332" tIns="49704" rIns="99332" bIns="49704" numCol="1" anchor="t" anchorCtr="0" compatLnSpc="1">
            <a:prstTxWarp prst="textNoShape">
              <a:avLst/>
            </a:prstTxWarp>
          </a:bodyPr>
          <a:lstStyle/>
          <a:p>
            <a:pPr defTabSz="955884" fontAlgn="auto">
              <a:spcBef>
                <a:spcPts val="0"/>
              </a:spcBef>
              <a:spcAft>
                <a:spcPts val="0"/>
              </a:spcAft>
            </a:pPr>
            <a:endParaRPr lang="fr-FR" sz="1900">
              <a:solidFill>
                <a:srgbClr val="263147"/>
              </a:solidFill>
              <a:latin typeface="Arial"/>
              <a:cs typeface="+mn-cs"/>
            </a:endParaRPr>
          </a:p>
        </p:txBody>
      </p:sp>
      <p:sp>
        <p:nvSpPr>
          <p:cNvPr id="12" name="Rectangle 11"/>
          <p:cNvSpPr>
            <a:spLocks noChangeArrowheads="1"/>
          </p:cNvSpPr>
          <p:nvPr>
            <p:custDataLst>
              <p:tags r:id="rId18"/>
            </p:custDataLst>
          </p:nvPr>
        </p:nvSpPr>
        <p:spPr bwMode="auto">
          <a:xfrm>
            <a:off x="6223289" y="4967635"/>
            <a:ext cx="2455979" cy="137627"/>
          </a:xfrm>
          <a:prstGeom prst="rect">
            <a:avLst/>
          </a:prstGeom>
          <a:noFill/>
          <a:ln w="19050">
            <a:noFill/>
            <a:miter lim="800000"/>
            <a:headEnd/>
            <a:tailEnd/>
          </a:ln>
          <a:effectLst/>
        </p:spPr>
        <p:txBody>
          <a:bodyPr wrap="square" lIns="35919" tIns="35919" rIns="35919" bIns="35919" anchor="b" anchorCtr="0">
            <a:noAutofit/>
          </a:bodyPr>
          <a:lstStyle/>
          <a:p>
            <a:pPr algn="r" defTabSz="993554"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3. All Rights Reserved</a:t>
            </a:r>
          </a:p>
        </p:txBody>
      </p:sp>
      <p:sp>
        <p:nvSpPr>
          <p:cNvPr id="13" name="Rectangle 12"/>
          <p:cNvSpPr/>
          <p:nvPr>
            <p:custDataLst>
              <p:tags r:id="rId19"/>
            </p:custDataLst>
          </p:nvPr>
        </p:nvSpPr>
        <p:spPr>
          <a:xfrm>
            <a:off x="6215417" y="4820417"/>
            <a:ext cx="2463845" cy="149406"/>
          </a:xfrm>
          <a:prstGeom prst="rect">
            <a:avLst/>
          </a:prstGeom>
        </p:spPr>
        <p:txBody>
          <a:bodyPr wrap="none" lIns="35919" tIns="35919" rIns="35919" bIns="35919" anchor="b" anchorCtr="0">
            <a:noAutofit/>
          </a:bodyPr>
          <a:lstStyle/>
          <a:p>
            <a:pPr algn="r" defTabSz="955884" fontAlgn="auto">
              <a:spcBef>
                <a:spcPts val="0"/>
              </a:spcBef>
              <a:spcAft>
                <a:spcPts val="0"/>
              </a:spcAft>
            </a:pPr>
            <a:r>
              <a:rPr lang="en-US" sz="700" dirty="0">
                <a:solidFill>
                  <a:srgbClr val="998C85"/>
                </a:solidFill>
                <a:latin typeface="Arial"/>
                <a:cs typeface="+mn-cs"/>
              </a:rPr>
              <a:t>Using content to populate new business pipelines | 19 Sept 2013</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46741" y="4832392"/>
            <a:ext cx="1209798" cy="240512"/>
          </a:xfrm>
          <a:prstGeom prst="rect">
            <a:avLst/>
          </a:prstGeom>
          <a:noFill/>
        </p:spPr>
      </p:pic>
      <p:cxnSp>
        <p:nvCxnSpPr>
          <p:cNvPr id="15" name="Straight Connector 5"/>
          <p:cNvCxnSpPr/>
          <p:nvPr>
            <p:custDataLst>
              <p:tags r:id="rId21"/>
            </p:custDataLst>
          </p:nvPr>
        </p:nvCxnSpPr>
        <p:spPr>
          <a:xfrm flipH="1">
            <a:off x="39" y="4772025"/>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268414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Lst>
  <p:hf sldNum="0" hdr="0" dt="0"/>
  <p:txStyles>
    <p:titleStyle>
      <a:lvl1pPr algn="l" defTabSz="91258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5877" indent="-165877" algn="l" defTabSz="91258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4899" indent="-180625" algn="l" defTabSz="91258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5523" indent="-164788" algn="l" defTabSz="912585"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09796" indent="-164788" algn="l" defTabSz="912585"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6504" indent="-193310" algn="l" defTabSz="91258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09527" indent="-228119" algn="l" defTabSz="91258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840" indent="-228119" algn="l" defTabSz="91258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113" indent="-228119" algn="l" defTabSz="91258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388" indent="-228119" algn="l" defTabSz="91258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585" rtl="0" eaLnBrk="1" latinLnBrk="0" hangingPunct="1">
        <a:defRPr sz="1800" kern="1200">
          <a:solidFill>
            <a:schemeClr val="tx1"/>
          </a:solidFill>
          <a:latin typeface="+mn-lt"/>
          <a:ea typeface="+mn-ea"/>
          <a:cs typeface="+mn-cs"/>
        </a:defRPr>
      </a:lvl1pPr>
      <a:lvl2pPr marL="456239" algn="l" defTabSz="912585" rtl="0" eaLnBrk="1" latinLnBrk="0" hangingPunct="1">
        <a:defRPr sz="1800" kern="1200">
          <a:solidFill>
            <a:schemeClr val="tx1"/>
          </a:solidFill>
          <a:latin typeface="+mn-lt"/>
          <a:ea typeface="+mn-ea"/>
          <a:cs typeface="+mn-cs"/>
        </a:defRPr>
      </a:lvl2pPr>
      <a:lvl3pPr marL="912585" algn="l" defTabSz="912585" rtl="0" eaLnBrk="1" latinLnBrk="0" hangingPunct="1">
        <a:defRPr sz="1800" kern="1200">
          <a:solidFill>
            <a:schemeClr val="tx1"/>
          </a:solidFill>
          <a:latin typeface="+mn-lt"/>
          <a:ea typeface="+mn-ea"/>
          <a:cs typeface="+mn-cs"/>
        </a:defRPr>
      </a:lvl3pPr>
      <a:lvl4pPr marL="1368861" algn="l" defTabSz="912585" rtl="0" eaLnBrk="1" latinLnBrk="0" hangingPunct="1">
        <a:defRPr sz="1800" kern="1200">
          <a:solidFill>
            <a:schemeClr val="tx1"/>
          </a:solidFill>
          <a:latin typeface="+mn-lt"/>
          <a:ea typeface="+mn-ea"/>
          <a:cs typeface="+mn-cs"/>
        </a:defRPr>
      </a:lvl4pPr>
      <a:lvl5pPr marL="1825169" algn="l" defTabSz="912585" rtl="0" eaLnBrk="1" latinLnBrk="0" hangingPunct="1">
        <a:defRPr sz="1800" kern="1200">
          <a:solidFill>
            <a:schemeClr val="tx1"/>
          </a:solidFill>
          <a:latin typeface="+mn-lt"/>
          <a:ea typeface="+mn-ea"/>
          <a:cs typeface="+mn-cs"/>
        </a:defRPr>
      </a:lvl5pPr>
      <a:lvl6pPr marL="2281409" algn="l" defTabSz="912585" rtl="0" eaLnBrk="1" latinLnBrk="0" hangingPunct="1">
        <a:defRPr sz="1800" kern="1200">
          <a:solidFill>
            <a:schemeClr val="tx1"/>
          </a:solidFill>
          <a:latin typeface="+mn-lt"/>
          <a:ea typeface="+mn-ea"/>
          <a:cs typeface="+mn-cs"/>
        </a:defRPr>
      </a:lvl6pPr>
      <a:lvl7pPr marL="2737646" algn="l" defTabSz="912585" rtl="0" eaLnBrk="1" latinLnBrk="0" hangingPunct="1">
        <a:defRPr sz="1800" kern="1200">
          <a:solidFill>
            <a:schemeClr val="tx1"/>
          </a:solidFill>
          <a:latin typeface="+mn-lt"/>
          <a:ea typeface="+mn-ea"/>
          <a:cs typeface="+mn-cs"/>
        </a:defRPr>
      </a:lvl7pPr>
      <a:lvl8pPr marL="3193964" algn="l" defTabSz="912585" rtl="0" eaLnBrk="1" latinLnBrk="0" hangingPunct="1">
        <a:defRPr sz="1800" kern="1200">
          <a:solidFill>
            <a:schemeClr val="tx1"/>
          </a:solidFill>
          <a:latin typeface="+mn-lt"/>
          <a:ea typeface="+mn-ea"/>
          <a:cs typeface="+mn-cs"/>
        </a:defRPr>
      </a:lvl8pPr>
      <a:lvl9pPr marL="3650260" algn="l" defTabSz="912585"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62"/>
          <a:ext cx="146538" cy="119063"/>
        </p:xfrm>
        <a:graphic>
          <a:graphicData uri="http://schemas.openxmlformats.org/presentationml/2006/ole">
            <mc:AlternateContent xmlns:mc="http://schemas.openxmlformats.org/markup-compatibility/2006">
              <mc:Choice xmlns:v="urn:schemas-microsoft-com:vml" Requires="v">
                <p:oleObj spid="_x0000_s26860"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62"/>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258538"/>
            <a:ext cx="9145530" cy="38850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6" tIns="42898" rIns="33056" bIns="42898" rtlCol="0" anchor="ctr"/>
          <a:lstStyle/>
          <a:p>
            <a:pPr algn="ctr" defTabSz="955884" fontAlgn="auto">
              <a:spcBef>
                <a:spcPts val="0"/>
              </a:spcBef>
              <a:spcAft>
                <a:spcPts val="0"/>
              </a:spcAft>
            </a:pP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37454" y="698082"/>
            <a:ext cx="2912091" cy="582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200" y="880222"/>
            <a:ext cx="3364886" cy="217724"/>
          </a:xfrm>
          <a:prstGeom prst="rect">
            <a:avLst/>
          </a:prstGeom>
          <a:noFill/>
        </p:spPr>
      </p:pic>
      <p:sp>
        <p:nvSpPr>
          <p:cNvPr id="13" name="Rectangle 12"/>
          <p:cNvSpPr/>
          <p:nvPr>
            <p:custDataLst>
              <p:tags r:id="rId10"/>
            </p:custDataLst>
          </p:nvPr>
        </p:nvSpPr>
        <p:spPr>
          <a:xfrm>
            <a:off x="5099004" y="4714214"/>
            <a:ext cx="4045000" cy="282201"/>
          </a:xfrm>
          <a:prstGeom prst="rect">
            <a:avLst/>
          </a:prstGeom>
        </p:spPr>
        <p:txBody>
          <a:bodyPr wrap="square" lIns="33056" tIns="33056" rIns="329964" bIns="33056" anchor="b" anchorCtr="0">
            <a:spAutoFit/>
          </a:bodyPr>
          <a:lstStyle/>
          <a:p>
            <a:pPr algn="r" defTabSz="955884" fontAlgn="auto">
              <a:spcBef>
                <a:spcPts val="0"/>
              </a:spcBef>
              <a:spcAft>
                <a:spcPts val="0"/>
              </a:spcAft>
            </a:pPr>
            <a:r>
              <a:rPr lang="en-US" sz="700" dirty="0">
                <a:solidFill>
                  <a:prstClr val="white"/>
                </a:solidFill>
                <a:latin typeface="Arial"/>
                <a:cs typeface="Arial"/>
              </a:rPr>
              <a:t>The information contained in this presentation is proprietary.</a:t>
            </a:r>
          </a:p>
          <a:p>
            <a:pPr algn="r" defTabSz="955884" fontAlgn="auto">
              <a:spcBef>
                <a:spcPts val="0"/>
              </a:spcBef>
              <a:spcAft>
                <a:spcPts val="0"/>
              </a:spcAft>
            </a:pPr>
            <a:r>
              <a:rPr lang="en-US" sz="700" dirty="0">
                <a:solidFill>
                  <a:prstClr val="white"/>
                </a:solidFill>
                <a:latin typeface="Arial"/>
                <a:cs typeface="Arial"/>
              </a:rPr>
              <a:t>© 2012 Capgemini. All rights reserved.</a:t>
            </a:r>
          </a:p>
        </p:txBody>
      </p:sp>
      <p:sp>
        <p:nvSpPr>
          <p:cNvPr id="15" name="Rectangle 14"/>
          <p:cNvSpPr/>
          <p:nvPr>
            <p:custDataLst>
              <p:tags r:id="rId11"/>
            </p:custDataLst>
          </p:nvPr>
        </p:nvSpPr>
        <p:spPr>
          <a:xfrm>
            <a:off x="6185781" y="3994492"/>
            <a:ext cx="2958220" cy="384320"/>
          </a:xfrm>
          <a:prstGeom prst="rect">
            <a:avLst/>
          </a:prstGeom>
        </p:spPr>
        <p:txBody>
          <a:bodyPr wrap="none" lIns="35922" tIns="35922" rIns="359298" bIns="35922" anchor="b" anchorCtr="0">
            <a:spAutoFit/>
          </a:bodyPr>
          <a:lstStyle/>
          <a:p>
            <a:pPr algn="r" defTabSz="955884" fontAlgn="auto">
              <a:spcBef>
                <a:spcPts val="0"/>
              </a:spcBef>
              <a:spcAft>
                <a:spcPts val="0"/>
              </a:spcAft>
            </a:pP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6" y="4449412"/>
            <a:ext cx="256821" cy="197828"/>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4449413"/>
            <a:ext cx="259674" cy="200025"/>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4449413"/>
            <a:ext cx="259674" cy="200025"/>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4449413"/>
            <a:ext cx="259674" cy="200025"/>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98" y="4449414"/>
            <a:ext cx="215411" cy="178594"/>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569609804"/>
      </p:ext>
    </p:extLst>
  </p:cSld>
  <p:clrMap bg1="lt1" tx1="dk1" bg2="lt2" tx2="dk2" accent1="accent1" accent2="accent2" accent3="accent3" accent4="accent4" accent5="accent5" accent6="accent6" hlink="hlink" folHlink="folHlink"/>
  <p:sldLayoutIdLst>
    <p:sldLayoutId id="2147484802" r:id="rId1"/>
    <p:sldLayoutId id="2147484803" r:id="rId2"/>
    <p:sldLayoutId id="2147484804" r:id="rId3"/>
  </p:sldLayoutIdLst>
  <p:hf sldNum="0" hdr="0" dt="0"/>
  <p:txStyles>
    <p:titleStyle>
      <a:lvl1pPr algn="ctr" defTabSz="838056" rtl="0" eaLnBrk="1" latinLnBrk="0" hangingPunct="1">
        <a:spcBef>
          <a:spcPct val="0"/>
        </a:spcBef>
        <a:buNone/>
        <a:defRPr sz="4000" kern="1200">
          <a:solidFill>
            <a:schemeClr val="tx1"/>
          </a:solidFill>
          <a:latin typeface="+mj-lt"/>
          <a:ea typeface="+mj-ea"/>
          <a:cs typeface="+mj-cs"/>
        </a:defRPr>
      </a:lvl1pPr>
    </p:titleStyle>
    <p:bodyStyle>
      <a:lvl1pPr marL="314298" indent="-314298" algn="l" defTabSz="838056"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0925" indent="-261935" algn="l" defTabSz="838056"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7589" indent="-209533" algn="l" defTabSz="838056"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6651"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5644"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4707"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3700"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2763"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1755" indent="-209533" algn="l" defTabSz="838056"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8056" rtl="0" eaLnBrk="1" latinLnBrk="0" hangingPunct="1">
        <a:defRPr sz="1700" kern="1200">
          <a:solidFill>
            <a:schemeClr val="tx1"/>
          </a:solidFill>
          <a:latin typeface="+mn-lt"/>
          <a:ea typeface="+mn-ea"/>
          <a:cs typeface="+mn-cs"/>
        </a:defRPr>
      </a:lvl1pPr>
      <a:lvl2pPr marL="419029" algn="l" defTabSz="838056" rtl="0" eaLnBrk="1" latinLnBrk="0" hangingPunct="1">
        <a:defRPr sz="1700" kern="1200">
          <a:solidFill>
            <a:schemeClr val="tx1"/>
          </a:solidFill>
          <a:latin typeface="+mn-lt"/>
          <a:ea typeface="+mn-ea"/>
          <a:cs typeface="+mn-cs"/>
        </a:defRPr>
      </a:lvl2pPr>
      <a:lvl3pPr marL="838056" algn="l" defTabSz="838056" rtl="0" eaLnBrk="1" latinLnBrk="0" hangingPunct="1">
        <a:defRPr sz="1700" kern="1200">
          <a:solidFill>
            <a:schemeClr val="tx1"/>
          </a:solidFill>
          <a:latin typeface="+mn-lt"/>
          <a:ea typeface="+mn-ea"/>
          <a:cs typeface="+mn-cs"/>
        </a:defRPr>
      </a:lvl3pPr>
      <a:lvl4pPr marL="1257083" algn="l" defTabSz="838056" rtl="0" eaLnBrk="1" latinLnBrk="0" hangingPunct="1">
        <a:defRPr sz="1700" kern="1200">
          <a:solidFill>
            <a:schemeClr val="tx1"/>
          </a:solidFill>
          <a:latin typeface="+mn-lt"/>
          <a:ea typeface="+mn-ea"/>
          <a:cs typeface="+mn-cs"/>
        </a:defRPr>
      </a:lvl4pPr>
      <a:lvl5pPr marL="1676111" algn="l" defTabSz="838056" rtl="0" eaLnBrk="1" latinLnBrk="0" hangingPunct="1">
        <a:defRPr sz="1700" kern="1200">
          <a:solidFill>
            <a:schemeClr val="tx1"/>
          </a:solidFill>
          <a:latin typeface="+mn-lt"/>
          <a:ea typeface="+mn-ea"/>
          <a:cs typeface="+mn-cs"/>
        </a:defRPr>
      </a:lvl5pPr>
      <a:lvl6pPr marL="2095139" algn="l" defTabSz="838056" rtl="0" eaLnBrk="1" latinLnBrk="0" hangingPunct="1">
        <a:defRPr sz="1700" kern="1200">
          <a:solidFill>
            <a:schemeClr val="tx1"/>
          </a:solidFill>
          <a:latin typeface="+mn-lt"/>
          <a:ea typeface="+mn-ea"/>
          <a:cs typeface="+mn-cs"/>
        </a:defRPr>
      </a:lvl6pPr>
      <a:lvl7pPr marL="2514167" algn="l" defTabSz="838056" rtl="0" eaLnBrk="1" latinLnBrk="0" hangingPunct="1">
        <a:defRPr sz="1700" kern="1200">
          <a:solidFill>
            <a:schemeClr val="tx1"/>
          </a:solidFill>
          <a:latin typeface="+mn-lt"/>
          <a:ea typeface="+mn-ea"/>
          <a:cs typeface="+mn-cs"/>
        </a:defRPr>
      </a:lvl7pPr>
      <a:lvl8pPr marL="2933207" algn="l" defTabSz="838056" rtl="0" eaLnBrk="1" latinLnBrk="0" hangingPunct="1">
        <a:defRPr sz="1700" kern="1200">
          <a:solidFill>
            <a:schemeClr val="tx1"/>
          </a:solidFill>
          <a:latin typeface="+mn-lt"/>
          <a:ea typeface="+mn-ea"/>
          <a:cs typeface="+mn-cs"/>
        </a:defRPr>
      </a:lvl8pPr>
      <a:lvl9pPr marL="3352223" algn="l" defTabSz="838056" rtl="0" eaLnBrk="1" latinLnBrk="0" hangingPunct="1">
        <a:defRPr sz="17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6147"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6148"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60F21C81-E4DE-411F-A2A1-57893B2A3A00}"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6149"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6150"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402724778"/>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 id="2147484828" r:id="rId9"/>
    <p:sldLayoutId id="2147484829" r:id="rId10"/>
    <p:sldLayoutId id="2147484830"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4099"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4100"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999C2E31-5609-4F16-8100-885355CA7B7C}"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4101"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102"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4274336778"/>
      </p:ext>
    </p:extLst>
  </p:cSld>
  <p:clrMap bg1="lt1" tx1="dk1" bg2="lt2" tx2="dk2" accent1="accent1" accent2="accent2" accent3="accent3" accent4="accent4" accent5="accent5" accent6="accent6" hlink="hlink" folHlink="folHlink"/>
  <p:sldLayoutIdLst>
    <p:sldLayoutId id="2147484832" r:id="rId1"/>
    <p:sldLayoutId id="2147484833" r:id="rId2"/>
    <p:sldLayoutId id="2147484834" r:id="rId3"/>
    <p:sldLayoutId id="2147484835" r:id="rId4"/>
    <p:sldLayoutId id="2147484836" r:id="rId5"/>
    <p:sldLayoutId id="2147484837" r:id="rId6"/>
    <p:sldLayoutId id="2147484838" r:id="rId7"/>
    <p:sldLayoutId id="2147484839" r:id="rId8"/>
    <p:sldLayoutId id="2147484840" r:id="rId9"/>
    <p:sldLayoutId id="2147484841" r:id="rId10"/>
    <p:sldLayoutId id="2147484842"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19459"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19460"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6B5C466B-7E9F-426F-B01A-975C80E9166E}"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19461"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9462"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1879900658"/>
      </p:ext>
    </p:extLst>
  </p:cSld>
  <p:clrMap bg1="lt1" tx1="dk1" bg2="lt2" tx2="dk2" accent1="accent1" accent2="accent2" accent3="accent3" accent4="accent4" accent5="accent5" accent6="accent6" hlink="hlink" folHlink="folHlink"/>
  <p:sldLayoutIdLst>
    <p:sldLayoutId id="2147484844" r:id="rId1"/>
    <p:sldLayoutId id="2147484845" r:id="rId2"/>
    <p:sldLayoutId id="2147484846" r:id="rId3"/>
    <p:sldLayoutId id="2147484847" r:id="rId4"/>
    <p:sldLayoutId id="2147484848" r:id="rId5"/>
    <p:sldLayoutId id="2147484849" r:id="rId6"/>
    <p:sldLayoutId id="2147484850" r:id="rId7"/>
    <p:sldLayoutId id="2147484851" r:id="rId8"/>
    <p:sldLayoutId id="2147484852" r:id="rId9"/>
    <p:sldLayoutId id="2147484853" r:id="rId10"/>
    <p:sldLayoutId id="2147484854"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Freeform 2"/>
          <p:cNvSpPr>
            <a:spLocks/>
          </p:cNvSpPr>
          <p:nvPr/>
        </p:nvSpPr>
        <p:spPr bwMode="auto">
          <a:xfrm>
            <a:off x="8" y="1"/>
            <a:ext cx="9142413" cy="5138738"/>
          </a:xfrm>
          <a:custGeom>
            <a:avLst/>
            <a:gdLst>
              <a:gd name="T0" fmla="*/ 0 w 3404"/>
              <a:gd name="T1" fmla="*/ 0 h 2552"/>
              <a:gd name="T2" fmla="*/ 9142413 w 3404"/>
              <a:gd name="T3" fmla="*/ 0 h 2552"/>
              <a:gd name="T4" fmla="*/ 9142413 w 3404"/>
              <a:gd name="T5" fmla="*/ 6851650 h 2552"/>
              <a:gd name="T6" fmla="*/ 0 w 3404"/>
              <a:gd name="T7" fmla="*/ 6851650 h 2552"/>
              <a:gd name="T8" fmla="*/ 0 w 3404"/>
              <a:gd name="T9" fmla="*/ 139610 h 2552"/>
              <a:gd name="T10" fmla="*/ 147718 w 3404"/>
              <a:gd name="T11" fmla="*/ 139610 h 2552"/>
              <a:gd name="T12" fmla="*/ 147718 w 3404"/>
              <a:gd name="T13" fmla="*/ 6277099 h 2552"/>
              <a:gd name="T14" fmla="*/ 7267735 w 3404"/>
              <a:gd name="T15" fmla="*/ 6277099 h 2552"/>
              <a:gd name="T16" fmla="*/ 7267735 w 3404"/>
              <a:gd name="T17" fmla="*/ 5989824 h 2552"/>
              <a:gd name="T18" fmla="*/ 8994695 w 3404"/>
              <a:gd name="T19" fmla="*/ 5989824 h 2552"/>
              <a:gd name="T20" fmla="*/ 8994695 w 3404"/>
              <a:gd name="T21" fmla="*/ 249688 h 2552"/>
              <a:gd name="T22" fmla="*/ 145032 w 3404"/>
              <a:gd name="T23" fmla="*/ 252373 h 2552"/>
              <a:gd name="T24" fmla="*/ 147718 w 3404"/>
              <a:gd name="T25" fmla="*/ 139610 h 2552"/>
              <a:gd name="T26" fmla="*/ 0 w 3404"/>
              <a:gd name="T27" fmla="*/ 139610 h 2552"/>
              <a:gd name="T28" fmla="*/ 0 w 3404"/>
              <a:gd name="T29" fmla="*/ 0 h 25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04" h="2552">
                <a:moveTo>
                  <a:pt x="0" y="0"/>
                </a:moveTo>
                <a:lnTo>
                  <a:pt x="3404" y="0"/>
                </a:lnTo>
                <a:lnTo>
                  <a:pt x="3404" y="2552"/>
                </a:lnTo>
                <a:lnTo>
                  <a:pt x="0" y="2552"/>
                </a:lnTo>
                <a:lnTo>
                  <a:pt x="0" y="52"/>
                </a:lnTo>
                <a:lnTo>
                  <a:pt x="55" y="52"/>
                </a:lnTo>
                <a:lnTo>
                  <a:pt x="55" y="2338"/>
                </a:lnTo>
                <a:lnTo>
                  <a:pt x="2706" y="2338"/>
                </a:lnTo>
                <a:lnTo>
                  <a:pt x="2706" y="2231"/>
                </a:lnTo>
                <a:lnTo>
                  <a:pt x="3349" y="2231"/>
                </a:lnTo>
                <a:lnTo>
                  <a:pt x="3349" y="93"/>
                </a:lnTo>
                <a:lnTo>
                  <a:pt x="54" y="94"/>
                </a:lnTo>
                <a:lnTo>
                  <a:pt x="55" y="52"/>
                </a:lnTo>
                <a:lnTo>
                  <a:pt x="0" y="52"/>
                </a:lnTo>
                <a:lnTo>
                  <a:pt x="0" y="0"/>
                </a:lnTo>
                <a:close/>
              </a:path>
            </a:pathLst>
          </a:custGeom>
          <a:solidFill>
            <a:srgbClr val="FFFFFF"/>
          </a:solidFill>
          <a:ln w="9525">
            <a:noFill/>
            <a:round/>
            <a:headEnd/>
            <a:tailEnd/>
          </a:ln>
        </p:spPr>
        <p:txBody>
          <a:bodyPr lIns="91284" tIns="45642" rIns="91284" bIns="45642"/>
          <a:lstStyle/>
          <a:p>
            <a:pPr>
              <a:defRPr/>
            </a:pPr>
            <a:endParaRPr lang="en-GB"/>
          </a:p>
        </p:txBody>
      </p:sp>
      <p:sp>
        <p:nvSpPr>
          <p:cNvPr id="5123" name="Rectangle 3"/>
          <p:cNvSpPr>
            <a:spLocks noGrp="1" noChangeArrowheads="1"/>
          </p:cNvSpPr>
          <p:nvPr>
            <p:ph type="title"/>
          </p:nvPr>
        </p:nvSpPr>
        <p:spPr bwMode="auto">
          <a:xfrm>
            <a:off x="574675" y="215549"/>
            <a:ext cx="7989888" cy="113466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5124" name="Rectangle 4"/>
          <p:cNvSpPr>
            <a:spLocks noGrp="1" noChangeArrowheads="1"/>
          </p:cNvSpPr>
          <p:nvPr>
            <p:ph type="body" idx="1"/>
          </p:nvPr>
        </p:nvSpPr>
        <p:spPr bwMode="auto">
          <a:xfrm>
            <a:off x="574675" y="1564482"/>
            <a:ext cx="7989888" cy="28336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58053" name="Rectangle 5"/>
          <p:cNvSpPr>
            <a:spLocks noGrp="1" noChangeArrowheads="1"/>
          </p:cNvSpPr>
          <p:nvPr>
            <p:ph type="dt" sz="half" idx="2"/>
          </p:nvPr>
        </p:nvSpPr>
        <p:spPr bwMode="auto">
          <a:xfrm>
            <a:off x="4419600" y="4911337"/>
            <a:ext cx="2097088" cy="134540"/>
          </a:xfrm>
          <a:prstGeom prst="rect">
            <a:avLst/>
          </a:prstGeom>
          <a:noFill/>
          <a:ln>
            <a:noFill/>
          </a:ln>
          <a:effectLst/>
          <a:extLst/>
        </p:spPr>
        <p:txBody>
          <a:bodyPr vert="horz" wrap="square" lIns="0" tIns="0" rIns="0" bIns="0" numCol="1" anchor="b" anchorCtr="0" compatLnSpc="1">
            <a:prstTxWarp prst="textNoShape">
              <a:avLst/>
            </a:prstTxWarp>
          </a:bodyPr>
          <a:lstStyle>
            <a:lvl1pPr>
              <a:lnSpc>
                <a:spcPct val="111000"/>
              </a:lnSpc>
              <a:defRPr sz="700">
                <a:latin typeface="+mn-lt"/>
                <a:cs typeface="Arial" pitchFamily="34" charset="0"/>
              </a:defRPr>
            </a:lvl1pPr>
          </a:lstStyle>
          <a:p>
            <a:pPr>
              <a:defRPr/>
            </a:pPr>
            <a:fld id="{77B96172-C82A-4516-978A-176E5E8B6660}" type="datetime1">
              <a:rPr lang="en-GB"/>
              <a:pPr>
                <a:defRPr/>
              </a:pPr>
              <a:t>15/05/2017</a:t>
            </a:fld>
            <a:endParaRPr lang="en-GB"/>
          </a:p>
        </p:txBody>
      </p:sp>
      <p:sp>
        <p:nvSpPr>
          <p:cNvPr id="258054" name="Rectangle 6"/>
          <p:cNvSpPr>
            <a:spLocks noGrp="1" noChangeArrowheads="1"/>
          </p:cNvSpPr>
          <p:nvPr>
            <p:ph type="sldNum" sz="quarter" idx="4"/>
          </p:nvPr>
        </p:nvSpPr>
        <p:spPr bwMode="auto">
          <a:xfrm>
            <a:off x="574675" y="4911337"/>
            <a:ext cx="685800" cy="134540"/>
          </a:xfrm>
          <a:prstGeom prst="rect">
            <a:avLst/>
          </a:prstGeom>
          <a:noFill/>
          <a:ln>
            <a:noFill/>
          </a:ln>
          <a:effectLst/>
          <a:extLst/>
        </p:spPr>
        <p:txBody>
          <a:bodyPr vert="horz" wrap="square" lIns="0" tIns="0" rIns="0" bIns="0" numCol="1" anchor="b" anchorCtr="0" compatLnSpc="1">
            <a:prstTxWarp prst="textNoShape">
              <a:avLst/>
            </a:prstTxWarp>
          </a:bodyPr>
          <a:lstStyle>
            <a:lvl1pPr>
              <a:lnSpc>
                <a:spcPct val="111000"/>
              </a:lnSpc>
              <a:defRPr sz="700">
                <a:latin typeface="+mn-lt"/>
                <a:cs typeface="Arial" pitchFamily="34" charset="0"/>
              </a:defRPr>
            </a:lvl1pPr>
          </a:lstStyle>
          <a:p>
            <a:pPr>
              <a:defRPr/>
            </a:pPr>
            <a:r>
              <a:rPr lang="en-GB"/>
              <a:t>#</a:t>
            </a:r>
            <a:fld id="{93E31F3B-5EDC-411F-B3DD-0173CB8FCAB3}" type="slidenum">
              <a:rPr lang="en-GB"/>
              <a:pPr>
                <a:defRPr/>
              </a:pPr>
              <a:t>‹#›</a:t>
            </a:fld>
            <a:endParaRPr lang="en-GB"/>
          </a:p>
        </p:txBody>
      </p:sp>
      <p:sp>
        <p:nvSpPr>
          <p:cNvPr id="258055" name="Rectangle 7"/>
          <p:cNvSpPr>
            <a:spLocks noGrp="1" noChangeArrowheads="1"/>
          </p:cNvSpPr>
          <p:nvPr>
            <p:ph type="ftr" sz="quarter" idx="3"/>
          </p:nvPr>
        </p:nvSpPr>
        <p:spPr bwMode="auto">
          <a:xfrm>
            <a:off x="1501834" y="4911337"/>
            <a:ext cx="2716213" cy="134540"/>
          </a:xfrm>
          <a:prstGeom prst="rect">
            <a:avLst/>
          </a:prstGeom>
          <a:noFill/>
          <a:ln>
            <a:noFill/>
          </a:ln>
          <a:effectLst/>
          <a:extLst/>
        </p:spPr>
        <p:txBody>
          <a:bodyPr vert="horz" wrap="square" lIns="0" tIns="0" rIns="0" bIns="0" numCol="1" anchor="b" anchorCtr="0" compatLnSpc="1">
            <a:prstTxWarp prst="textNoShape">
              <a:avLst/>
            </a:prstTxWarp>
          </a:bodyPr>
          <a:lstStyle>
            <a:lvl1pPr>
              <a:lnSpc>
                <a:spcPct val="111000"/>
              </a:lnSpc>
              <a:defRPr sz="700">
                <a:latin typeface="+mn-lt"/>
                <a:cs typeface="Arial" pitchFamily="34" charset="0"/>
              </a:defRPr>
            </a:lvl1pPr>
          </a:lstStyle>
          <a:p>
            <a:pPr>
              <a:defRPr/>
            </a:pPr>
            <a:endParaRPr lang="en-GB"/>
          </a:p>
        </p:txBody>
      </p:sp>
      <p:pic>
        <p:nvPicPr>
          <p:cNvPr id="5128" name="Picture 8" descr="Maersk_Oil_Logo_RGB"/>
          <p:cNvPicPr>
            <a:picLocks noChangeAspect="1" noChangeArrowheads="1"/>
          </p:cNvPicPr>
          <p:nvPr/>
        </p:nvPicPr>
        <p:blipFill>
          <a:blip r:embed="rId13"/>
          <a:srcRect/>
          <a:stretch>
            <a:fillRect/>
          </a:stretch>
        </p:blipFill>
        <p:spPr bwMode="auto">
          <a:xfrm>
            <a:off x="7272422" y="4505403"/>
            <a:ext cx="1870075" cy="633413"/>
          </a:xfrm>
          <a:prstGeom prst="rect">
            <a:avLst/>
          </a:prstGeom>
          <a:noFill/>
          <a:ln w="9525">
            <a:noFill/>
            <a:miter lim="800000"/>
            <a:headEnd/>
            <a:tailEnd/>
          </a:ln>
        </p:spPr>
      </p:pic>
      <p:sp>
        <p:nvSpPr>
          <p:cNvPr id="5129" name="Rectangle 9"/>
          <p:cNvSpPr>
            <a:spLocks noChangeArrowheads="1"/>
          </p:cNvSpPr>
          <p:nvPr/>
        </p:nvSpPr>
        <p:spPr bwMode="auto">
          <a:xfrm>
            <a:off x="144508" y="107201"/>
            <a:ext cx="8853487" cy="110729"/>
          </a:xfrm>
          <a:prstGeom prst="rect">
            <a:avLst/>
          </a:prstGeom>
          <a:solidFill>
            <a:srgbClr val="69B8D6"/>
          </a:solidFill>
          <a:ln w="127">
            <a:noFill/>
            <a:miter lim="800000"/>
            <a:headEnd/>
            <a:tailEnd/>
          </a:ln>
          <a:effectLst/>
        </p:spPr>
        <p:txBody>
          <a:bodyPr wrap="none" lIns="91284" tIns="45642" rIns="91284" bIns="45642" anchor="ctr"/>
          <a:lstStyle/>
          <a:p>
            <a:pPr>
              <a:defRPr/>
            </a:pPr>
            <a:endParaRPr lang="en-GB"/>
          </a:p>
        </p:txBody>
      </p:sp>
    </p:spTree>
  </p:cSld>
  <p:clrMap bg1="lt1" tx1="dk1" bg2="lt2" tx2="dk2" accent1="accent1" accent2="accent2" accent3="accent3" accent4="accent4" accent5="accent5" accent6="accent6" hlink="hlink" folHlink="folHlink"/>
  <p:sldLayoutIdLst>
    <p:sldLayoutId id="2147484318" r:id="rId1"/>
    <p:sldLayoutId id="2147484289" r:id="rId2"/>
    <p:sldLayoutId id="2147484290" r:id="rId3"/>
    <p:sldLayoutId id="2147484291" r:id="rId4"/>
    <p:sldLayoutId id="2147484292" r:id="rId5"/>
    <p:sldLayoutId id="2147484293" r:id="rId6"/>
    <p:sldLayoutId id="2147484294" r:id="rId7"/>
    <p:sldLayoutId id="2147484295" r:id="rId8"/>
    <p:sldLayoutId id="2147484296" r:id="rId9"/>
    <p:sldLayoutId id="2147484297" r:id="rId10"/>
    <p:sldLayoutId id="2147484298" r:id="rId11"/>
  </p:sldLayoutIdLst>
  <p:txStyles>
    <p:titleStyle>
      <a:lvl1pPr algn="l" rtl="0" eaLnBrk="0" fontAlgn="base" hangingPunct="0">
        <a:lnSpc>
          <a:spcPct val="94000"/>
        </a:lnSpc>
        <a:spcBef>
          <a:spcPct val="0"/>
        </a:spcBef>
        <a:spcAft>
          <a:spcPct val="0"/>
        </a:spcAft>
        <a:defRPr sz="3200" b="1">
          <a:solidFill>
            <a:schemeClr val="tx1"/>
          </a:solidFill>
          <a:latin typeface="+mj-lt"/>
          <a:ea typeface="+mj-ea"/>
          <a:cs typeface="+mj-cs"/>
        </a:defRPr>
      </a:lvl1pPr>
      <a:lvl2pPr algn="l" rtl="0" eaLnBrk="0" fontAlgn="base" hangingPunct="0">
        <a:lnSpc>
          <a:spcPct val="94000"/>
        </a:lnSpc>
        <a:spcBef>
          <a:spcPct val="0"/>
        </a:spcBef>
        <a:spcAft>
          <a:spcPct val="0"/>
        </a:spcAft>
        <a:defRPr sz="3200" b="1">
          <a:solidFill>
            <a:schemeClr val="tx1"/>
          </a:solidFill>
          <a:latin typeface="Verdana" pitchFamily="34" charset="0"/>
          <a:cs typeface="Arial" pitchFamily="34" charset="0"/>
        </a:defRPr>
      </a:lvl2pPr>
      <a:lvl3pPr algn="l" rtl="0" eaLnBrk="0" fontAlgn="base" hangingPunct="0">
        <a:lnSpc>
          <a:spcPct val="94000"/>
        </a:lnSpc>
        <a:spcBef>
          <a:spcPct val="0"/>
        </a:spcBef>
        <a:spcAft>
          <a:spcPct val="0"/>
        </a:spcAft>
        <a:defRPr sz="3200" b="1">
          <a:solidFill>
            <a:schemeClr val="tx1"/>
          </a:solidFill>
          <a:latin typeface="Verdana" pitchFamily="34" charset="0"/>
          <a:cs typeface="Arial" pitchFamily="34" charset="0"/>
        </a:defRPr>
      </a:lvl3pPr>
      <a:lvl4pPr algn="l" rtl="0" eaLnBrk="0" fontAlgn="base" hangingPunct="0">
        <a:lnSpc>
          <a:spcPct val="94000"/>
        </a:lnSpc>
        <a:spcBef>
          <a:spcPct val="0"/>
        </a:spcBef>
        <a:spcAft>
          <a:spcPct val="0"/>
        </a:spcAft>
        <a:defRPr sz="3200" b="1">
          <a:solidFill>
            <a:schemeClr val="tx1"/>
          </a:solidFill>
          <a:latin typeface="Verdana" pitchFamily="34" charset="0"/>
          <a:cs typeface="Arial" pitchFamily="34" charset="0"/>
        </a:defRPr>
      </a:lvl4pPr>
      <a:lvl5pPr algn="l" rtl="0" eaLnBrk="0" fontAlgn="base" hangingPunct="0">
        <a:lnSpc>
          <a:spcPct val="94000"/>
        </a:lnSpc>
        <a:spcBef>
          <a:spcPct val="0"/>
        </a:spcBef>
        <a:spcAft>
          <a:spcPct val="0"/>
        </a:spcAft>
        <a:defRPr sz="3200" b="1">
          <a:solidFill>
            <a:schemeClr val="tx1"/>
          </a:solidFill>
          <a:latin typeface="Verdana" pitchFamily="34" charset="0"/>
          <a:cs typeface="Arial" pitchFamily="34" charset="0"/>
        </a:defRPr>
      </a:lvl5pPr>
      <a:lvl6pPr marL="456269" algn="l" rtl="0" fontAlgn="base">
        <a:lnSpc>
          <a:spcPct val="94000"/>
        </a:lnSpc>
        <a:spcBef>
          <a:spcPct val="0"/>
        </a:spcBef>
        <a:spcAft>
          <a:spcPct val="0"/>
        </a:spcAft>
        <a:defRPr sz="3200" b="1">
          <a:solidFill>
            <a:schemeClr val="tx1"/>
          </a:solidFill>
          <a:latin typeface="Verdana" pitchFamily="34" charset="0"/>
          <a:cs typeface="Arial" pitchFamily="34" charset="0"/>
        </a:defRPr>
      </a:lvl6pPr>
      <a:lvl7pPr marL="912644" algn="l" rtl="0" fontAlgn="base">
        <a:lnSpc>
          <a:spcPct val="94000"/>
        </a:lnSpc>
        <a:spcBef>
          <a:spcPct val="0"/>
        </a:spcBef>
        <a:spcAft>
          <a:spcPct val="0"/>
        </a:spcAft>
        <a:defRPr sz="3200" b="1">
          <a:solidFill>
            <a:schemeClr val="tx1"/>
          </a:solidFill>
          <a:latin typeface="Verdana" pitchFamily="34" charset="0"/>
          <a:cs typeface="Arial" pitchFamily="34" charset="0"/>
        </a:defRPr>
      </a:lvl7pPr>
      <a:lvl8pPr marL="1368948" algn="l" rtl="0" fontAlgn="base">
        <a:lnSpc>
          <a:spcPct val="94000"/>
        </a:lnSpc>
        <a:spcBef>
          <a:spcPct val="0"/>
        </a:spcBef>
        <a:spcAft>
          <a:spcPct val="0"/>
        </a:spcAft>
        <a:defRPr sz="3200" b="1">
          <a:solidFill>
            <a:schemeClr val="tx1"/>
          </a:solidFill>
          <a:latin typeface="Verdana" pitchFamily="34" charset="0"/>
          <a:cs typeface="Arial" pitchFamily="34" charset="0"/>
        </a:defRPr>
      </a:lvl8pPr>
      <a:lvl9pPr marL="1825286" algn="l" rtl="0" fontAlgn="base">
        <a:lnSpc>
          <a:spcPct val="94000"/>
        </a:lnSpc>
        <a:spcBef>
          <a:spcPct val="0"/>
        </a:spcBef>
        <a:spcAft>
          <a:spcPct val="0"/>
        </a:spcAft>
        <a:defRPr sz="3200" b="1">
          <a:solidFill>
            <a:schemeClr val="tx1"/>
          </a:solidFill>
          <a:latin typeface="Verdana" pitchFamily="34" charset="0"/>
          <a:cs typeface="Arial" pitchFamily="34" charset="0"/>
        </a:defRPr>
      </a:lvl9pPr>
    </p:titleStyle>
    <p:bodyStyle>
      <a:lvl1pPr marL="205985" indent="-205985" algn="l" rtl="0" eaLnBrk="0" fontAlgn="base" hangingPunct="0">
        <a:lnSpc>
          <a:spcPct val="111000"/>
        </a:lnSpc>
        <a:spcBef>
          <a:spcPct val="20000"/>
        </a:spcBef>
        <a:spcAft>
          <a:spcPct val="0"/>
        </a:spcAft>
        <a:buChar char="•"/>
        <a:defRPr sz="2100">
          <a:solidFill>
            <a:schemeClr val="tx1"/>
          </a:solidFill>
          <a:latin typeface="+mn-lt"/>
          <a:ea typeface="+mn-ea"/>
          <a:cs typeface="+mn-cs"/>
        </a:defRPr>
      </a:lvl1pPr>
      <a:lvl2pPr marL="419870" indent="-212335" algn="l" rtl="0" eaLnBrk="0" fontAlgn="base" hangingPunct="0">
        <a:lnSpc>
          <a:spcPts val="2600"/>
        </a:lnSpc>
        <a:spcBef>
          <a:spcPct val="20000"/>
        </a:spcBef>
        <a:spcAft>
          <a:spcPct val="0"/>
        </a:spcAft>
        <a:buChar char="•"/>
        <a:defRPr sz="2800">
          <a:solidFill>
            <a:schemeClr val="tx1"/>
          </a:solidFill>
          <a:latin typeface="+mn-lt"/>
          <a:cs typeface="+mn-cs"/>
        </a:defRPr>
      </a:lvl2pPr>
      <a:lvl3pPr marL="640102" indent="-218609" algn="l" rtl="0" eaLnBrk="0" fontAlgn="base" hangingPunct="0">
        <a:lnSpc>
          <a:spcPct val="125000"/>
        </a:lnSpc>
        <a:spcBef>
          <a:spcPct val="20000"/>
        </a:spcBef>
        <a:spcAft>
          <a:spcPct val="0"/>
        </a:spcAft>
        <a:buChar char="•"/>
        <a:defRPr sz="1600">
          <a:solidFill>
            <a:schemeClr val="tx1"/>
          </a:solidFill>
          <a:latin typeface="+mn-lt"/>
          <a:cs typeface="+mn-cs"/>
        </a:defRPr>
      </a:lvl3pPr>
      <a:lvl4pPr marL="854024" indent="-212335" algn="l" rtl="0" eaLnBrk="0" fontAlgn="base" hangingPunct="0">
        <a:lnSpc>
          <a:spcPct val="119000"/>
        </a:lnSpc>
        <a:spcBef>
          <a:spcPct val="20000"/>
        </a:spcBef>
        <a:spcAft>
          <a:spcPct val="0"/>
        </a:spcAft>
        <a:buChar char="•"/>
        <a:defRPr sz="1400">
          <a:solidFill>
            <a:schemeClr val="tx1"/>
          </a:solidFill>
          <a:latin typeface="+mn-lt"/>
          <a:cs typeface="+mn-cs"/>
        </a:defRPr>
      </a:lvl4pPr>
      <a:lvl5pPr marL="1067870" indent="-212335" algn="l" rtl="0" eaLnBrk="0" fontAlgn="base" hangingPunct="0">
        <a:lnSpc>
          <a:spcPct val="125000"/>
        </a:lnSpc>
        <a:spcBef>
          <a:spcPct val="20000"/>
        </a:spcBef>
        <a:spcAft>
          <a:spcPct val="0"/>
        </a:spcAft>
        <a:buChar char="•"/>
        <a:defRPr sz="1200">
          <a:solidFill>
            <a:schemeClr val="tx1"/>
          </a:solidFill>
          <a:latin typeface="+mn-lt"/>
          <a:cs typeface="+mn-cs"/>
        </a:defRPr>
      </a:lvl5pPr>
      <a:lvl6pPr marL="1524211" indent="-212335" algn="l" rtl="0" fontAlgn="base">
        <a:lnSpc>
          <a:spcPct val="125000"/>
        </a:lnSpc>
        <a:spcBef>
          <a:spcPct val="20000"/>
        </a:spcBef>
        <a:spcAft>
          <a:spcPct val="0"/>
        </a:spcAft>
        <a:buChar char="•"/>
        <a:defRPr sz="1200">
          <a:solidFill>
            <a:schemeClr val="tx1"/>
          </a:solidFill>
          <a:latin typeface="+mn-lt"/>
          <a:cs typeface="+mn-cs"/>
        </a:defRPr>
      </a:lvl6pPr>
      <a:lvl7pPr marL="1980514" indent="-212335" algn="l" rtl="0" fontAlgn="base">
        <a:lnSpc>
          <a:spcPct val="125000"/>
        </a:lnSpc>
        <a:spcBef>
          <a:spcPct val="20000"/>
        </a:spcBef>
        <a:spcAft>
          <a:spcPct val="0"/>
        </a:spcAft>
        <a:buChar char="•"/>
        <a:defRPr sz="1200">
          <a:solidFill>
            <a:schemeClr val="tx1"/>
          </a:solidFill>
          <a:latin typeface="+mn-lt"/>
          <a:cs typeface="+mn-cs"/>
        </a:defRPr>
      </a:lvl7pPr>
      <a:lvl8pPr marL="2436817" indent="-212335" algn="l" rtl="0" fontAlgn="base">
        <a:lnSpc>
          <a:spcPct val="125000"/>
        </a:lnSpc>
        <a:spcBef>
          <a:spcPct val="20000"/>
        </a:spcBef>
        <a:spcAft>
          <a:spcPct val="0"/>
        </a:spcAft>
        <a:buChar char="•"/>
        <a:defRPr sz="1200">
          <a:solidFill>
            <a:schemeClr val="tx1"/>
          </a:solidFill>
          <a:latin typeface="+mn-lt"/>
          <a:cs typeface="+mn-cs"/>
        </a:defRPr>
      </a:lvl8pPr>
      <a:lvl9pPr marL="2893157" indent="-212335" algn="l" rtl="0" fontAlgn="base">
        <a:lnSpc>
          <a:spcPct val="125000"/>
        </a:lnSpc>
        <a:spcBef>
          <a:spcPct val="20000"/>
        </a:spcBef>
        <a:spcAft>
          <a:spcPct val="0"/>
        </a:spcAft>
        <a:buChar char="•"/>
        <a:defRPr sz="1200">
          <a:solidFill>
            <a:schemeClr val="tx1"/>
          </a:solidFill>
          <a:latin typeface="+mn-lt"/>
          <a:cs typeface="+mn-cs"/>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11267"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11268"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54530677-6DAF-400C-A88A-3F1867222879}"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11269"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1270"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2401520686"/>
      </p:ext>
    </p:extLst>
  </p:cSld>
  <p:clrMap bg1="lt1" tx1="dk1" bg2="lt2" tx2="dk2" accent1="accent1" accent2="accent2" accent3="accent3" accent4="accent4" accent5="accent5" accent6="accent6" hlink="hlink" folHlink="folHlink"/>
  <p:sldLayoutIdLst>
    <p:sldLayoutId id="2147484856" r:id="rId1"/>
    <p:sldLayoutId id="2147484857" r:id="rId2"/>
    <p:sldLayoutId id="2147484858" r:id="rId3"/>
    <p:sldLayoutId id="2147484859" r:id="rId4"/>
    <p:sldLayoutId id="2147484860" r:id="rId5"/>
    <p:sldLayoutId id="2147484861" r:id="rId6"/>
    <p:sldLayoutId id="2147484862" r:id="rId7"/>
    <p:sldLayoutId id="2147484863" r:id="rId8"/>
    <p:sldLayoutId id="2147484864" r:id="rId9"/>
    <p:sldLayoutId id="2147484865" r:id="rId10"/>
    <p:sldLayoutId id="2147484866"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17411"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17412"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EA75A3F4-91A4-4C62-A2B2-FCBAF181190D}"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17413"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7414"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1017820776"/>
      </p:ext>
    </p:extLst>
  </p:cSld>
  <p:clrMap bg1="lt1" tx1="dk1" bg2="lt2" tx2="dk2" accent1="accent1" accent2="accent2" accent3="accent3" accent4="accent4" accent5="accent5" accent6="accent6" hlink="hlink" folHlink="folHlink"/>
  <p:sldLayoutIdLst>
    <p:sldLayoutId id="2147484868" r:id="rId1"/>
    <p:sldLayoutId id="2147484869" r:id="rId2"/>
    <p:sldLayoutId id="2147484870" r:id="rId3"/>
    <p:sldLayoutId id="2147484871" r:id="rId4"/>
    <p:sldLayoutId id="2147484872" r:id="rId5"/>
    <p:sldLayoutId id="2147484873" r:id="rId6"/>
    <p:sldLayoutId id="2147484874" r:id="rId7"/>
    <p:sldLayoutId id="2147484875" r:id="rId8"/>
    <p:sldLayoutId id="2147484876" r:id="rId9"/>
    <p:sldLayoutId id="2147484877" r:id="rId10"/>
    <p:sldLayoutId id="2147484878"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12291"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12292"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096F4D82-D458-44DF-82FE-3CA7CB6D70CB}"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12293"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2294"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811164757"/>
      </p:ext>
    </p:extLst>
  </p:cSld>
  <p:clrMap bg1="lt1" tx1="dk1" bg2="lt2" tx2="dk2" accent1="accent1" accent2="accent2" accent3="accent3" accent4="accent4" accent5="accent5" accent6="accent6" hlink="hlink" folHlink="folHlink"/>
  <p:sldLayoutIdLst>
    <p:sldLayoutId id="2147484880" r:id="rId1"/>
    <p:sldLayoutId id="2147484881" r:id="rId2"/>
    <p:sldLayoutId id="2147484882" r:id="rId3"/>
    <p:sldLayoutId id="2147484883" r:id="rId4"/>
    <p:sldLayoutId id="2147484884" r:id="rId5"/>
    <p:sldLayoutId id="2147484885" r:id="rId6"/>
    <p:sldLayoutId id="2147484886" r:id="rId7"/>
    <p:sldLayoutId id="2147484887" r:id="rId8"/>
    <p:sldLayoutId id="2147484888" r:id="rId9"/>
    <p:sldLayoutId id="2147484889" r:id="rId10"/>
    <p:sldLayoutId id="2147484890"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16387"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16388"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E105215B-6943-4748-B05E-A57CD40BEBBE}"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16389"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6390"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3977424613"/>
      </p:ext>
    </p:extLst>
  </p:cSld>
  <p:clrMap bg1="lt1" tx1="dk1" bg2="lt2" tx2="dk2" accent1="accent1" accent2="accent2" accent3="accent3" accent4="accent4" accent5="accent5" accent6="accent6" hlink="hlink" folHlink="folHlink"/>
  <p:sldLayoutIdLst>
    <p:sldLayoutId id="2147484892" r:id="rId1"/>
    <p:sldLayoutId id="2147484893" r:id="rId2"/>
    <p:sldLayoutId id="2147484894" r:id="rId3"/>
    <p:sldLayoutId id="2147484895" r:id="rId4"/>
    <p:sldLayoutId id="2147484896" r:id="rId5"/>
    <p:sldLayoutId id="2147484897" r:id="rId6"/>
    <p:sldLayoutId id="2147484898" r:id="rId7"/>
    <p:sldLayoutId id="2147484899" r:id="rId8"/>
    <p:sldLayoutId id="2147484900" r:id="rId9"/>
    <p:sldLayoutId id="2147484901" r:id="rId10"/>
    <p:sldLayoutId id="2147484902"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23555"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23556"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5A579388-3780-46EE-BE18-26ABB1AACBA6}"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23557"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3558"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3863101137"/>
      </p:ext>
    </p:extLst>
  </p:cSld>
  <p:clrMap bg1="lt1" tx1="dk1" bg2="lt2" tx2="dk2" accent1="accent1" accent2="accent2" accent3="accent3" accent4="accent4" accent5="accent5" accent6="accent6" hlink="hlink" folHlink="folHlink"/>
  <p:sldLayoutIdLst>
    <p:sldLayoutId id="2147484904" r:id="rId1"/>
    <p:sldLayoutId id="2147484905" r:id="rId2"/>
    <p:sldLayoutId id="2147484906" r:id="rId3"/>
    <p:sldLayoutId id="2147484907" r:id="rId4"/>
    <p:sldLayoutId id="2147484908" r:id="rId5"/>
    <p:sldLayoutId id="2147484909" r:id="rId6"/>
    <p:sldLayoutId id="2147484910" r:id="rId7"/>
    <p:sldLayoutId id="2147484911" r:id="rId8"/>
    <p:sldLayoutId id="2147484912" r:id="rId9"/>
    <p:sldLayoutId id="2147484913" r:id="rId10"/>
    <p:sldLayoutId id="2147484914"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22531"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22532"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A8D90B8D-8094-46D6-8EF3-8E656E961CD3}"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22533"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2534"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3871217716"/>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15363"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15364"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E2C92815-D28B-472A-A36E-FEA3D2EE76C3}"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15365"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5366"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2758793586"/>
      </p:ext>
    </p:extLst>
  </p:cSld>
  <p:clrMap bg1="lt1" tx1="dk1" bg2="lt2" tx2="dk2" accent1="accent1" accent2="accent2" accent3="accent3" accent4="accent4" accent5="accent5" accent6="accent6" hlink="hlink" folHlink="folHlink"/>
  <p:sldLayoutIdLst>
    <p:sldLayoutId id="2147484928" r:id="rId1"/>
    <p:sldLayoutId id="2147484929" r:id="rId2"/>
    <p:sldLayoutId id="2147484930" r:id="rId3"/>
    <p:sldLayoutId id="2147484931" r:id="rId4"/>
    <p:sldLayoutId id="2147484932" r:id="rId5"/>
    <p:sldLayoutId id="2147484933" r:id="rId6"/>
    <p:sldLayoutId id="2147484934" r:id="rId7"/>
    <p:sldLayoutId id="2147484935" r:id="rId8"/>
    <p:sldLayoutId id="2147484936" r:id="rId9"/>
    <p:sldLayoutId id="2147484937" r:id="rId10"/>
    <p:sldLayoutId id="2147484938"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20483"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20484"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4DE62334-39DC-4440-B935-F4FA0948284A}"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20485"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0486"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2550355393"/>
      </p:ext>
    </p:extLst>
  </p:cSld>
  <p:clrMap bg1="lt1" tx1="dk1" bg2="lt2" tx2="dk2" accent1="accent1" accent2="accent2" accent3="accent3" accent4="accent4" accent5="accent5" accent6="accent6" hlink="hlink" folHlink="folHlink"/>
  <p:sldLayoutIdLst>
    <p:sldLayoutId id="2147484940" r:id="rId1"/>
    <p:sldLayoutId id="2147484941" r:id="rId2"/>
    <p:sldLayoutId id="2147484942" r:id="rId3"/>
    <p:sldLayoutId id="2147484943" r:id="rId4"/>
    <p:sldLayoutId id="2147484944" r:id="rId5"/>
    <p:sldLayoutId id="2147484945" r:id="rId6"/>
    <p:sldLayoutId id="2147484946" r:id="rId7"/>
    <p:sldLayoutId id="2147484947" r:id="rId8"/>
    <p:sldLayoutId id="2147484948" r:id="rId9"/>
    <p:sldLayoutId id="2147484949" r:id="rId10"/>
    <p:sldLayoutId id="2147484950"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457200" y="141689"/>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cambiar el estilo de título	</a:t>
            </a:r>
          </a:p>
        </p:txBody>
      </p:sp>
      <p:sp>
        <p:nvSpPr>
          <p:cNvPr id="9219" name="Rectangle 3"/>
          <p:cNvSpPr>
            <a:spLocks noGrp="1" noChangeArrowheads="1"/>
          </p:cNvSpPr>
          <p:nvPr>
            <p:ph type="body" idx="1"/>
          </p:nvPr>
        </p:nvSpPr>
        <p:spPr bwMode="auto">
          <a:xfrm>
            <a:off x="457200" y="1200154"/>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84" tIns="45642" rIns="91284" bIns="45642"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p:txBody>
      </p:sp>
      <p:sp>
        <p:nvSpPr>
          <p:cNvPr id="9220" name="Rectangle 3"/>
          <p:cNvSpPr>
            <a:spLocks/>
          </p:cNvSpPr>
          <p:nvPr/>
        </p:nvSpPr>
        <p:spPr bwMode="auto">
          <a:xfrm>
            <a:off x="4482049" y="4905380"/>
            <a:ext cx="17673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2644"/>
            <a:fld id="{500C4F48-488F-469A-A56A-0950D6C38AB7}" type="slidenum">
              <a:rPr lang="es-ES_tradnl" sz="1100" smtClean="0">
                <a:solidFill>
                  <a:srgbClr val="003F52"/>
                </a:solidFill>
                <a:latin typeface="Arial" pitchFamily="34" charset="0"/>
                <a:ea typeface="MS PGothic" pitchFamily="34" charset="-128"/>
                <a:cs typeface="+mn-cs"/>
                <a:sym typeface="Arial" pitchFamily="34" charset="0"/>
              </a:rPr>
              <a:pPr algn="ctr" defTabSz="912644"/>
              <a:t>‹#›</a:t>
            </a:fld>
            <a:endParaRPr lang="es-ES_tradnl" sz="1100">
              <a:solidFill>
                <a:srgbClr val="003F52"/>
              </a:solidFill>
              <a:latin typeface="Arial" pitchFamily="34" charset="0"/>
              <a:ea typeface="MS PGothic" pitchFamily="34" charset="-128"/>
              <a:cs typeface="+mn-cs"/>
              <a:sym typeface="Arial" pitchFamily="34" charset="0"/>
            </a:endParaRPr>
          </a:p>
        </p:txBody>
      </p:sp>
      <p:pic>
        <p:nvPicPr>
          <p:cNvPr id="9221"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1" y="4799412"/>
            <a:ext cx="1016000" cy="205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9222" name="Rectangle 12"/>
          <p:cNvSpPr>
            <a:spLocks/>
          </p:cNvSpPr>
          <p:nvPr/>
        </p:nvSpPr>
        <p:spPr bwMode="auto">
          <a:xfrm>
            <a:off x="128591" y="4732326"/>
            <a:ext cx="87283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defTabSz="912644"/>
            <a:r>
              <a:rPr lang="en-GB" sz="1100">
                <a:solidFill>
                  <a:srgbClr val="123E51"/>
                </a:solidFill>
                <a:latin typeface="Arial Bold" charset="0"/>
                <a:ea typeface="MS PGothic" pitchFamily="34" charset="-128"/>
                <a:cs typeface="+mn-cs"/>
                <a:sym typeface="Arial Bold" charset="0"/>
              </a:rPr>
              <a:t>Social Media</a:t>
            </a:r>
          </a:p>
          <a:p>
            <a:pPr defTabSz="912644"/>
            <a:r>
              <a:rPr lang="en-GB" sz="1100">
                <a:solidFill>
                  <a:srgbClr val="123E51"/>
                </a:solidFill>
                <a:latin typeface="Arial" pitchFamily="34" charset="0"/>
                <a:ea typeface="MS PGothic" pitchFamily="34" charset="-128"/>
                <a:cs typeface="+mn-cs"/>
                <a:sym typeface="Arial" pitchFamily="34" charset="0"/>
              </a:rPr>
              <a:t>O2</a:t>
            </a:r>
          </a:p>
        </p:txBody>
      </p:sp>
    </p:spTree>
    <p:extLst>
      <p:ext uri="{BB962C8B-B14F-4D97-AF65-F5344CB8AC3E}">
        <p14:creationId xmlns:p14="http://schemas.microsoft.com/office/powerpoint/2010/main" val="960464957"/>
      </p:ext>
    </p:extLst>
  </p:cSld>
  <p:clrMap bg1="lt1" tx1="dk1" bg2="lt2" tx2="dk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58" r:id="rId7"/>
    <p:sldLayoutId id="2147484959" r:id="rId8"/>
    <p:sldLayoutId id="2147484960" r:id="rId9"/>
    <p:sldLayoutId id="2147484961" r:id="rId10"/>
    <p:sldLayoutId id="2147484962"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6269" algn="l" rtl="0" fontAlgn="base">
        <a:spcBef>
          <a:spcPct val="0"/>
        </a:spcBef>
        <a:spcAft>
          <a:spcPct val="0"/>
        </a:spcAft>
        <a:defRPr sz="2800">
          <a:solidFill>
            <a:schemeClr val="tx2"/>
          </a:solidFill>
          <a:latin typeface="Arial" pitchFamily="34" charset="0"/>
        </a:defRPr>
      </a:lvl6pPr>
      <a:lvl7pPr marL="912644" algn="l" rtl="0" fontAlgn="base">
        <a:spcBef>
          <a:spcPct val="0"/>
        </a:spcBef>
        <a:spcAft>
          <a:spcPct val="0"/>
        </a:spcAft>
        <a:defRPr sz="2800">
          <a:solidFill>
            <a:schemeClr val="tx2"/>
          </a:solidFill>
          <a:latin typeface="Arial" pitchFamily="34" charset="0"/>
        </a:defRPr>
      </a:lvl7pPr>
      <a:lvl8pPr marL="1368948" algn="l" rtl="0" fontAlgn="base">
        <a:spcBef>
          <a:spcPct val="0"/>
        </a:spcBef>
        <a:spcAft>
          <a:spcPct val="0"/>
        </a:spcAft>
        <a:defRPr sz="2800">
          <a:solidFill>
            <a:schemeClr val="tx2"/>
          </a:solidFill>
          <a:latin typeface="Arial" pitchFamily="34" charset="0"/>
        </a:defRPr>
      </a:lvl8pPr>
      <a:lvl9pPr marL="1825286" algn="l" rtl="0" fontAlgn="base">
        <a:spcBef>
          <a:spcPct val="0"/>
        </a:spcBef>
        <a:spcAft>
          <a:spcPct val="0"/>
        </a:spcAft>
        <a:defRPr sz="2800">
          <a:solidFill>
            <a:schemeClr val="tx2"/>
          </a:solidFill>
          <a:latin typeface="Arial" pitchFamily="34" charset="0"/>
        </a:defRPr>
      </a:lvl9pPr>
    </p:titleStyle>
    <p:bodyStyle>
      <a:lvl1pPr marL="342200" indent="-3422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1545" indent="-285204"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0778" indent="-228132" algn="l" rtl="0" eaLnBrk="0" fontAlgn="base" hangingPunct="0">
        <a:spcBef>
          <a:spcPct val="20000"/>
        </a:spcBef>
        <a:spcAft>
          <a:spcPct val="0"/>
        </a:spcAft>
        <a:buClr>
          <a:schemeClr val="tx1"/>
        </a:buClr>
        <a:buChar char="•"/>
        <a:defRPr sz="1400">
          <a:solidFill>
            <a:schemeClr val="tx1"/>
          </a:solidFill>
          <a:latin typeface="+mn-lt"/>
        </a:defRPr>
      </a:lvl3pPr>
      <a:lvl4pPr marL="1597080" indent="-228132" algn="l" rtl="0" eaLnBrk="0" fontAlgn="base" hangingPunct="0">
        <a:spcBef>
          <a:spcPct val="20000"/>
        </a:spcBef>
        <a:spcAft>
          <a:spcPct val="0"/>
        </a:spcAft>
        <a:buChar char="–"/>
        <a:defRPr sz="2000">
          <a:solidFill>
            <a:schemeClr val="tx1"/>
          </a:solidFill>
          <a:latin typeface="+mn-lt"/>
        </a:defRPr>
      </a:lvl4pPr>
      <a:lvl5pPr marL="2053421" indent="-228132" algn="l" rtl="0" eaLnBrk="0" fontAlgn="base" hangingPunct="0">
        <a:spcBef>
          <a:spcPct val="20000"/>
        </a:spcBef>
        <a:spcAft>
          <a:spcPct val="0"/>
        </a:spcAft>
        <a:buChar char="»"/>
        <a:defRPr sz="2000">
          <a:solidFill>
            <a:schemeClr val="tx1"/>
          </a:solidFill>
          <a:latin typeface="+mn-lt"/>
        </a:defRPr>
      </a:lvl5pPr>
      <a:lvl6pPr marL="2509686" indent="-228132" algn="l" rtl="0" fontAlgn="base">
        <a:spcBef>
          <a:spcPct val="20000"/>
        </a:spcBef>
        <a:spcAft>
          <a:spcPct val="0"/>
        </a:spcAft>
        <a:buChar char="»"/>
        <a:defRPr sz="2000">
          <a:solidFill>
            <a:schemeClr val="tx1"/>
          </a:solidFill>
          <a:latin typeface="+mn-lt"/>
        </a:defRPr>
      </a:lvl6pPr>
      <a:lvl7pPr marL="2966028" indent="-228132" algn="l" rtl="0" fontAlgn="base">
        <a:spcBef>
          <a:spcPct val="20000"/>
        </a:spcBef>
        <a:spcAft>
          <a:spcPct val="0"/>
        </a:spcAft>
        <a:buChar char="»"/>
        <a:defRPr sz="2000">
          <a:solidFill>
            <a:schemeClr val="tx1"/>
          </a:solidFill>
          <a:latin typeface="+mn-lt"/>
        </a:defRPr>
      </a:lvl7pPr>
      <a:lvl8pPr marL="3422330" indent="-228132" algn="l" rtl="0" fontAlgn="base">
        <a:spcBef>
          <a:spcPct val="20000"/>
        </a:spcBef>
        <a:spcAft>
          <a:spcPct val="0"/>
        </a:spcAft>
        <a:buChar char="»"/>
        <a:defRPr sz="2000">
          <a:solidFill>
            <a:schemeClr val="tx1"/>
          </a:solidFill>
          <a:latin typeface="+mn-lt"/>
        </a:defRPr>
      </a:lvl8pPr>
      <a:lvl9pPr marL="3878634" indent="-228132" algn="l" rtl="0" fontAlgn="base">
        <a:spcBef>
          <a:spcPct val="20000"/>
        </a:spcBef>
        <a:spcAft>
          <a:spcPct val="0"/>
        </a:spcAft>
        <a:buChar char="»"/>
        <a:defRPr sz="2000">
          <a:solidFill>
            <a:schemeClr val="tx1"/>
          </a:solidFill>
          <a:latin typeface="+mn-lt"/>
        </a:defRPr>
      </a:lvl9pPr>
    </p:bodyStyle>
    <p:otherStyle>
      <a:defPPr>
        <a:defRPr lang="es-E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212934"/>
      </p:ext>
    </p:extLst>
  </p:cSld>
  <p:clrMap bg1="lt1" tx1="dk1" bg2="lt2" tx2="dk2" accent1="accent1" accent2="accent2" accent3="accent3" accent4="accent4" accent5="accent5" accent6="accent6" hlink="hlink" folHlink="folHlink"/>
  <p:sldLayoutIdLst>
    <p:sldLayoutId id="2147484977" r:id="rId1"/>
    <p:sldLayoutId id="2147484978" r:id="rId2"/>
    <p:sldLayoutId id="2147484979" r:id="rId3"/>
    <p:sldLayoutId id="2147484982" r:id="rId4"/>
    <p:sldLayoutId id="2147484983" r:id="rId5"/>
    <p:sldLayoutId id="2147484984" r:id="rId6"/>
    <p:sldLayoutId id="2147484985"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456269" rtl="0" eaLnBrk="1" latinLnBrk="0" hangingPunct="1">
        <a:spcBef>
          <a:spcPct val="0"/>
        </a:spcBef>
        <a:buNone/>
        <a:defRPr sz="2600" kern="1200">
          <a:solidFill>
            <a:schemeClr val="tx2"/>
          </a:solidFill>
          <a:latin typeface="Arial"/>
          <a:ea typeface="+mj-ea"/>
          <a:cs typeface="Arial"/>
        </a:defRPr>
      </a:lvl1pPr>
    </p:titleStyle>
    <p:bodyStyle>
      <a:lvl1pPr marL="114066" indent="-114066" algn="l" defTabSz="456269" rtl="0" eaLnBrk="1" latinLnBrk="0" hangingPunct="1">
        <a:spcBef>
          <a:spcPct val="20000"/>
        </a:spcBef>
        <a:buFont typeface="Arial"/>
        <a:buChar char="•"/>
        <a:defRPr sz="1800" kern="1200">
          <a:solidFill>
            <a:srgbClr val="796E65"/>
          </a:solidFill>
          <a:latin typeface="Arial"/>
          <a:ea typeface="+mn-ea"/>
          <a:cs typeface="Arial"/>
        </a:defRPr>
      </a:lvl1pPr>
      <a:lvl2pPr marL="342200" indent="-171138" algn="l" defTabSz="456269" rtl="0" eaLnBrk="1" latinLnBrk="0" hangingPunct="1">
        <a:spcBef>
          <a:spcPct val="20000"/>
        </a:spcBef>
        <a:buFont typeface="Arial"/>
        <a:buChar char="–"/>
        <a:defRPr sz="1800" kern="1200">
          <a:solidFill>
            <a:srgbClr val="796E65"/>
          </a:solidFill>
          <a:latin typeface="Arial"/>
          <a:ea typeface="+mn-ea"/>
          <a:cs typeface="Arial"/>
        </a:defRPr>
      </a:lvl2pPr>
      <a:lvl3pPr marL="456269" indent="-114066" algn="l" defTabSz="456269" rtl="0" eaLnBrk="1" latinLnBrk="0" hangingPunct="1">
        <a:spcBef>
          <a:spcPct val="20000"/>
        </a:spcBef>
        <a:buFont typeface="Arial"/>
        <a:buChar char="•"/>
        <a:defRPr sz="1800" kern="1200">
          <a:solidFill>
            <a:srgbClr val="796E65"/>
          </a:solidFill>
          <a:latin typeface="Arial"/>
          <a:ea typeface="+mn-ea"/>
          <a:cs typeface="Arial"/>
        </a:defRPr>
      </a:lvl3pPr>
      <a:lvl4pPr marL="684474" indent="-171138" algn="l" defTabSz="456269" rtl="0" eaLnBrk="1" latinLnBrk="0" hangingPunct="1">
        <a:spcBef>
          <a:spcPct val="20000"/>
        </a:spcBef>
        <a:buFont typeface="Arial"/>
        <a:buChar char="–"/>
        <a:tabLst/>
        <a:defRPr sz="1800" kern="1200">
          <a:solidFill>
            <a:srgbClr val="796E65"/>
          </a:solidFill>
          <a:latin typeface="Arial"/>
          <a:ea typeface="+mn-ea"/>
          <a:cs typeface="Arial"/>
        </a:defRPr>
      </a:lvl4pPr>
      <a:lvl5pPr marL="855611" indent="-171138" algn="l" defTabSz="456269" rtl="0" eaLnBrk="1" latinLnBrk="0" hangingPunct="1">
        <a:spcBef>
          <a:spcPct val="20000"/>
        </a:spcBef>
        <a:buFont typeface="Arial"/>
        <a:buChar char="»"/>
        <a:defRPr sz="1800" kern="1200">
          <a:solidFill>
            <a:srgbClr val="796E65"/>
          </a:solidFill>
          <a:latin typeface="Arial"/>
          <a:ea typeface="+mn-ea"/>
          <a:cs typeface="Arial"/>
        </a:defRPr>
      </a:lvl5pPr>
      <a:lvl6pPr marL="2509686" indent="-228132" algn="l" defTabSz="456269" rtl="0" eaLnBrk="1" latinLnBrk="0" hangingPunct="1">
        <a:spcBef>
          <a:spcPct val="20000"/>
        </a:spcBef>
        <a:buFont typeface="Arial"/>
        <a:buChar char="•"/>
        <a:defRPr sz="2000" kern="1200">
          <a:solidFill>
            <a:schemeClr val="tx1"/>
          </a:solidFill>
          <a:latin typeface="+mn-lt"/>
          <a:ea typeface="+mn-ea"/>
          <a:cs typeface="+mn-cs"/>
        </a:defRPr>
      </a:lvl6pPr>
      <a:lvl7pPr marL="2966028" indent="-228132" algn="l" defTabSz="456269" rtl="0" eaLnBrk="1" latinLnBrk="0" hangingPunct="1">
        <a:spcBef>
          <a:spcPct val="20000"/>
        </a:spcBef>
        <a:buFont typeface="Arial"/>
        <a:buChar char="•"/>
        <a:defRPr sz="2000" kern="1200">
          <a:solidFill>
            <a:schemeClr val="tx1"/>
          </a:solidFill>
          <a:latin typeface="+mn-lt"/>
          <a:ea typeface="+mn-ea"/>
          <a:cs typeface="+mn-cs"/>
        </a:defRPr>
      </a:lvl7pPr>
      <a:lvl8pPr marL="3422330" indent="-228132" algn="l" defTabSz="456269" rtl="0" eaLnBrk="1" latinLnBrk="0" hangingPunct="1">
        <a:spcBef>
          <a:spcPct val="20000"/>
        </a:spcBef>
        <a:buFont typeface="Arial"/>
        <a:buChar char="•"/>
        <a:defRPr sz="2000" kern="1200">
          <a:solidFill>
            <a:schemeClr val="tx1"/>
          </a:solidFill>
          <a:latin typeface="+mn-lt"/>
          <a:ea typeface="+mn-ea"/>
          <a:cs typeface="+mn-cs"/>
        </a:defRPr>
      </a:lvl8pPr>
      <a:lvl9pPr marL="3878634" indent="-228132" algn="l" defTabSz="45626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269" rtl="0" eaLnBrk="1" latinLnBrk="0" hangingPunct="1">
        <a:defRPr sz="1800" kern="1200">
          <a:solidFill>
            <a:schemeClr val="tx1"/>
          </a:solidFill>
          <a:latin typeface="+mn-lt"/>
          <a:ea typeface="+mn-ea"/>
          <a:cs typeface="+mn-cs"/>
        </a:defRPr>
      </a:lvl1pPr>
      <a:lvl2pPr marL="456269" algn="l" defTabSz="456269" rtl="0" eaLnBrk="1" latinLnBrk="0" hangingPunct="1">
        <a:defRPr sz="1800" kern="1200">
          <a:solidFill>
            <a:schemeClr val="tx1"/>
          </a:solidFill>
          <a:latin typeface="+mn-lt"/>
          <a:ea typeface="+mn-ea"/>
          <a:cs typeface="+mn-cs"/>
        </a:defRPr>
      </a:lvl2pPr>
      <a:lvl3pPr marL="912644" algn="l" defTabSz="456269" rtl="0" eaLnBrk="1" latinLnBrk="0" hangingPunct="1">
        <a:defRPr sz="1800" kern="1200">
          <a:solidFill>
            <a:schemeClr val="tx1"/>
          </a:solidFill>
          <a:latin typeface="+mn-lt"/>
          <a:ea typeface="+mn-ea"/>
          <a:cs typeface="+mn-cs"/>
        </a:defRPr>
      </a:lvl3pPr>
      <a:lvl4pPr marL="1368948" algn="l" defTabSz="456269" rtl="0" eaLnBrk="1" latinLnBrk="0" hangingPunct="1">
        <a:defRPr sz="1800" kern="1200">
          <a:solidFill>
            <a:schemeClr val="tx1"/>
          </a:solidFill>
          <a:latin typeface="+mn-lt"/>
          <a:ea typeface="+mn-ea"/>
          <a:cs typeface="+mn-cs"/>
        </a:defRPr>
      </a:lvl4pPr>
      <a:lvl5pPr marL="1825286" algn="l" defTabSz="456269" rtl="0" eaLnBrk="1" latinLnBrk="0" hangingPunct="1">
        <a:defRPr sz="1800" kern="1200">
          <a:solidFill>
            <a:schemeClr val="tx1"/>
          </a:solidFill>
          <a:latin typeface="+mn-lt"/>
          <a:ea typeface="+mn-ea"/>
          <a:cs typeface="+mn-cs"/>
        </a:defRPr>
      </a:lvl5pPr>
      <a:lvl6pPr marL="2281554" algn="l" defTabSz="456269" rtl="0" eaLnBrk="1" latinLnBrk="0" hangingPunct="1">
        <a:defRPr sz="1800" kern="1200">
          <a:solidFill>
            <a:schemeClr val="tx1"/>
          </a:solidFill>
          <a:latin typeface="+mn-lt"/>
          <a:ea typeface="+mn-ea"/>
          <a:cs typeface="+mn-cs"/>
        </a:defRPr>
      </a:lvl6pPr>
      <a:lvl7pPr marL="2737820" algn="l" defTabSz="456269" rtl="0" eaLnBrk="1" latinLnBrk="0" hangingPunct="1">
        <a:defRPr sz="1800" kern="1200">
          <a:solidFill>
            <a:schemeClr val="tx1"/>
          </a:solidFill>
          <a:latin typeface="+mn-lt"/>
          <a:ea typeface="+mn-ea"/>
          <a:cs typeface="+mn-cs"/>
        </a:defRPr>
      </a:lvl7pPr>
      <a:lvl8pPr marL="3194165" algn="l" defTabSz="456269" rtl="0" eaLnBrk="1" latinLnBrk="0" hangingPunct="1">
        <a:defRPr sz="1800" kern="1200">
          <a:solidFill>
            <a:schemeClr val="tx1"/>
          </a:solidFill>
          <a:latin typeface="+mn-lt"/>
          <a:ea typeface="+mn-ea"/>
          <a:cs typeface="+mn-cs"/>
        </a:defRPr>
      </a:lvl8pPr>
      <a:lvl9pPr marL="3650488" algn="l" defTabSz="45626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3"/>
          <p:cNvSpPr>
            <a:spLocks noGrp="1" noChangeArrowheads="1"/>
          </p:cNvSpPr>
          <p:nvPr>
            <p:ph type="title"/>
          </p:nvPr>
        </p:nvSpPr>
        <p:spPr bwMode="auto">
          <a:xfrm>
            <a:off x="498477" y="367904"/>
            <a:ext cx="8231188" cy="857250"/>
          </a:xfrm>
          <a:prstGeom prst="rect">
            <a:avLst/>
          </a:prstGeom>
          <a:noFill/>
          <a:ln w="9525">
            <a:noFill/>
            <a:miter lim="800000"/>
            <a:headEnd/>
            <a:tailEnd/>
          </a:ln>
        </p:spPr>
        <p:txBody>
          <a:bodyPr vert="horz" wrap="square" lIns="93130" tIns="46564" rIns="93130" bIns="46564" numCol="1" anchor="ctr" anchorCtr="0" compatLnSpc="1">
            <a:prstTxWarp prst="textNoShape">
              <a:avLst/>
            </a:prstTxWarp>
          </a:bodyPr>
          <a:lstStyle/>
          <a:p>
            <a:pPr lvl="0"/>
            <a:r>
              <a:rPr lang="en-GB"/>
              <a:t>Click to edit Master title style</a:t>
            </a:r>
            <a:endParaRPr lang="en-US"/>
          </a:p>
        </p:txBody>
      </p:sp>
      <p:sp>
        <p:nvSpPr>
          <p:cNvPr id="6147" name="Rectangle 4"/>
          <p:cNvSpPr>
            <a:spLocks noGrp="1" noChangeArrowheads="1"/>
          </p:cNvSpPr>
          <p:nvPr>
            <p:ph type="body" idx="1"/>
          </p:nvPr>
        </p:nvSpPr>
        <p:spPr bwMode="auto">
          <a:xfrm>
            <a:off x="498477" y="1163242"/>
            <a:ext cx="8231188" cy="3394472"/>
          </a:xfrm>
          <a:prstGeom prst="rect">
            <a:avLst/>
          </a:prstGeom>
          <a:noFill/>
          <a:ln w="9525">
            <a:noFill/>
            <a:miter lim="800000"/>
            <a:headEnd/>
            <a:tailEnd/>
          </a:ln>
        </p:spPr>
        <p:txBody>
          <a:bodyPr vert="horz" wrap="square" lIns="93130" tIns="46564" rIns="93130" bIns="46564"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1751" name="Text Box 7"/>
          <p:cNvSpPr txBox="1">
            <a:spLocks noChangeArrowheads="1"/>
          </p:cNvSpPr>
          <p:nvPr/>
        </p:nvSpPr>
        <p:spPr bwMode="auto">
          <a:xfrm>
            <a:off x="8243889" y="4574467"/>
            <a:ext cx="576262" cy="325027"/>
          </a:xfrm>
          <a:prstGeom prst="rect">
            <a:avLst/>
          </a:prstGeom>
          <a:noFill/>
          <a:ln w="9525">
            <a:noFill/>
            <a:miter lim="800000"/>
            <a:headEnd/>
            <a:tailEnd/>
          </a:ln>
          <a:effectLst/>
        </p:spPr>
        <p:txBody>
          <a:bodyPr lIns="93130" tIns="46564" rIns="93130" bIns="46564">
            <a:spAutoFit/>
          </a:bodyPr>
          <a:lstStyle>
            <a:lvl1pPr defTabSz="933450" eaLnBrk="0" hangingPunct="0">
              <a:defRPr sz="2400">
                <a:solidFill>
                  <a:schemeClr val="tx1"/>
                </a:solidFill>
                <a:latin typeface="Times" pitchFamily="18" charset="0"/>
                <a:ea typeface="MS PGothic" pitchFamily="34" charset="-128"/>
              </a:defRPr>
            </a:lvl1pPr>
            <a:lvl2pPr marL="37931725" indent="-37474525" defTabSz="933450" eaLnBrk="0" hangingPunct="0">
              <a:defRPr sz="2400">
                <a:solidFill>
                  <a:schemeClr val="tx1"/>
                </a:solidFill>
                <a:latin typeface="Times" pitchFamily="18" charset="0"/>
                <a:ea typeface="MS PGothic" pitchFamily="34" charset="-128"/>
              </a:defRPr>
            </a:lvl2pPr>
            <a:lvl3pPr eaLnBrk="0" hangingPunct="0">
              <a:defRPr sz="2400">
                <a:solidFill>
                  <a:schemeClr val="tx1"/>
                </a:solidFill>
                <a:latin typeface="Times" pitchFamily="18" charset="0"/>
                <a:ea typeface="MS PGothic" pitchFamily="34" charset="-128"/>
              </a:defRPr>
            </a:lvl3pPr>
            <a:lvl4pPr eaLnBrk="0" hangingPunct="0">
              <a:defRPr sz="2400">
                <a:solidFill>
                  <a:schemeClr val="tx1"/>
                </a:solidFill>
                <a:latin typeface="Times" pitchFamily="18" charset="0"/>
                <a:ea typeface="MS PGothic" pitchFamily="34" charset="-128"/>
              </a:defRPr>
            </a:lvl4pPr>
            <a:lvl5pPr eaLnBrk="0" hangingPunct="0">
              <a:defRPr sz="2400">
                <a:solidFill>
                  <a:schemeClr val="tx1"/>
                </a:solidFill>
                <a:latin typeface="Times" pitchFamily="18" charset="0"/>
                <a:ea typeface="MS PGothic" pitchFamily="34" charset="-128"/>
              </a:defRPr>
            </a:lvl5pPr>
            <a:lvl6pPr marL="457200" eaLnBrk="0" fontAlgn="base" hangingPunct="0">
              <a:spcBef>
                <a:spcPct val="0"/>
              </a:spcBef>
              <a:spcAft>
                <a:spcPct val="0"/>
              </a:spcAft>
              <a:defRPr sz="2400">
                <a:solidFill>
                  <a:schemeClr val="tx1"/>
                </a:solidFill>
                <a:latin typeface="Times" pitchFamily="18" charset="0"/>
                <a:ea typeface="MS PGothic" pitchFamily="34" charset="-128"/>
              </a:defRPr>
            </a:lvl6pPr>
            <a:lvl7pPr marL="914400" eaLnBrk="0" fontAlgn="base" hangingPunct="0">
              <a:spcBef>
                <a:spcPct val="0"/>
              </a:spcBef>
              <a:spcAft>
                <a:spcPct val="0"/>
              </a:spcAft>
              <a:defRPr sz="2400">
                <a:solidFill>
                  <a:schemeClr val="tx1"/>
                </a:solidFill>
                <a:latin typeface="Times" pitchFamily="18" charset="0"/>
                <a:ea typeface="MS PGothic" pitchFamily="34" charset="-128"/>
              </a:defRPr>
            </a:lvl7pPr>
            <a:lvl8pPr marL="1371600" eaLnBrk="0" fontAlgn="base" hangingPunct="0">
              <a:spcBef>
                <a:spcPct val="0"/>
              </a:spcBef>
              <a:spcAft>
                <a:spcPct val="0"/>
              </a:spcAft>
              <a:defRPr sz="2400">
                <a:solidFill>
                  <a:schemeClr val="tx1"/>
                </a:solidFill>
                <a:latin typeface="Times" pitchFamily="18" charset="0"/>
                <a:ea typeface="MS PGothic" pitchFamily="34" charset="-128"/>
              </a:defRPr>
            </a:lvl8pPr>
            <a:lvl9pPr marL="1828800" eaLnBrk="0" fontAlgn="base" hangingPunct="0">
              <a:spcBef>
                <a:spcPct val="0"/>
              </a:spcBef>
              <a:spcAft>
                <a:spcPct val="0"/>
              </a:spcAft>
              <a:defRPr sz="2400">
                <a:solidFill>
                  <a:schemeClr val="tx1"/>
                </a:solidFill>
                <a:latin typeface="Times" pitchFamily="18" charset="0"/>
                <a:ea typeface="MS PGothic" pitchFamily="34" charset="-128"/>
              </a:defRPr>
            </a:lvl9pPr>
          </a:lstStyle>
          <a:p>
            <a:pPr eaLnBrk="1" hangingPunct="1">
              <a:defRPr/>
            </a:pPr>
            <a:fld id="{B61DE35C-5D84-4C20-8035-F9CEE0BCE7ED}" type="slidenum">
              <a:rPr lang="en-US" sz="1500" b="1" smtClean="0">
                <a:solidFill>
                  <a:srgbClr val="000000"/>
                </a:solidFill>
                <a:latin typeface="Calibri" pitchFamily="34" charset="0"/>
                <a:cs typeface="+mn-cs"/>
              </a:rPr>
              <a:pPr eaLnBrk="1" hangingPunct="1">
                <a:defRPr/>
              </a:pPr>
              <a:t>‹#›</a:t>
            </a:fld>
            <a:endParaRPr lang="en-US" sz="1500" b="1">
              <a:solidFill>
                <a:srgbClr val="000000"/>
              </a:solidFill>
              <a:latin typeface="Calibri" pitchFamily="34" charset="0"/>
              <a:cs typeface="+mn-cs"/>
            </a:endParaRPr>
          </a:p>
        </p:txBody>
      </p:sp>
      <p:pic>
        <p:nvPicPr>
          <p:cNvPr id="6149" name="Picture 11" descr="tag"/>
          <p:cNvPicPr>
            <a:picLocks noChangeAspect="1" noChangeArrowheads="1"/>
          </p:cNvPicPr>
          <p:nvPr/>
        </p:nvPicPr>
        <p:blipFill>
          <a:blip r:embed="rId13"/>
          <a:srcRect/>
          <a:stretch>
            <a:fillRect/>
          </a:stretch>
        </p:blipFill>
        <p:spPr bwMode="auto">
          <a:xfrm>
            <a:off x="611188" y="4624388"/>
            <a:ext cx="2654300" cy="114300"/>
          </a:xfrm>
          <a:prstGeom prst="rect">
            <a:avLst/>
          </a:prstGeom>
          <a:noFill/>
          <a:ln w="9525">
            <a:noFill/>
            <a:miter lim="800000"/>
            <a:headEnd/>
            <a:tailEnd/>
          </a:ln>
        </p:spPr>
      </p:pic>
      <p:sp>
        <p:nvSpPr>
          <p:cNvPr id="6150" name="Line 6"/>
          <p:cNvSpPr>
            <a:spLocks noChangeShapeType="1"/>
          </p:cNvSpPr>
          <p:nvPr/>
        </p:nvSpPr>
        <p:spPr bwMode="auto">
          <a:xfrm>
            <a:off x="606425" y="4557713"/>
            <a:ext cx="8123238" cy="0"/>
          </a:xfrm>
          <a:prstGeom prst="line">
            <a:avLst/>
          </a:prstGeom>
          <a:noFill/>
          <a:ln w="9525">
            <a:solidFill>
              <a:schemeClr val="bg2"/>
            </a:solidFill>
            <a:round/>
            <a:headEnd/>
            <a:tailEnd/>
          </a:ln>
        </p:spPr>
        <p:txBody>
          <a:bodyPr lIns="91284" tIns="45642" rIns="91284" bIns="45642"/>
          <a:lstStyle/>
          <a:p>
            <a:pPr>
              <a:defRPr/>
            </a:pPr>
            <a:endParaRPr lang="en-GB"/>
          </a:p>
        </p:txBody>
      </p:sp>
    </p:spTree>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Lst>
  <p:transition/>
  <p:txStyles>
    <p:titleStyle>
      <a:lvl1pPr algn="l" defTabSz="931656" rtl="0" eaLnBrk="0" fontAlgn="base" hangingPunct="0">
        <a:spcBef>
          <a:spcPct val="0"/>
        </a:spcBef>
        <a:spcAft>
          <a:spcPct val="0"/>
        </a:spcAft>
        <a:defRPr sz="3000" b="1">
          <a:solidFill>
            <a:srgbClr val="173551"/>
          </a:solidFill>
          <a:latin typeface="+mj-lt"/>
          <a:ea typeface="+mj-ea"/>
          <a:cs typeface="+mj-cs"/>
        </a:defRPr>
      </a:lvl1pPr>
      <a:lvl2pPr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defRPr>
      </a:lvl2pPr>
      <a:lvl3pPr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defRPr>
      </a:lvl3pPr>
      <a:lvl4pPr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defRPr>
      </a:lvl4pPr>
      <a:lvl5pPr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defRPr>
      </a:lvl5pPr>
      <a:lvl6pPr marL="456269"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defRPr>
      </a:lvl6pPr>
      <a:lvl7pPr marL="912644"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defRPr>
      </a:lvl7pPr>
      <a:lvl8pPr marL="1368948"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defRPr>
      </a:lvl8pPr>
      <a:lvl9pPr marL="1825286" algn="l" defTabSz="931656" rtl="0" eaLnBrk="0" fontAlgn="base" hangingPunct="0">
        <a:spcBef>
          <a:spcPct val="0"/>
        </a:spcBef>
        <a:spcAft>
          <a:spcPct val="0"/>
        </a:spcAft>
        <a:defRPr sz="3000" b="1">
          <a:solidFill>
            <a:srgbClr val="173551"/>
          </a:solidFill>
          <a:latin typeface="Calibri" pitchFamily="34" charset="0"/>
          <a:ea typeface="ＭＳ Ｐゴシック" pitchFamily="34" charset="-128"/>
        </a:defRPr>
      </a:lvl9pPr>
    </p:titleStyle>
    <p:bodyStyle>
      <a:lvl1pPr marL="348548" indent="-348548" algn="l" defTabSz="931656" rtl="0" eaLnBrk="0" fontAlgn="base" hangingPunct="0">
        <a:spcBef>
          <a:spcPct val="20000"/>
        </a:spcBef>
        <a:spcAft>
          <a:spcPct val="0"/>
        </a:spcAft>
        <a:buChar char="•"/>
        <a:defRPr sz="2200">
          <a:solidFill>
            <a:schemeClr val="tx1"/>
          </a:solidFill>
          <a:latin typeface="+mn-lt"/>
          <a:ea typeface="+mn-ea"/>
          <a:cs typeface="+mn-cs"/>
        </a:defRPr>
      </a:lvl1pPr>
      <a:lvl2pPr marL="757343" indent="-291554" algn="l" defTabSz="931656" rtl="0" eaLnBrk="0" fontAlgn="base" hangingPunct="0">
        <a:spcBef>
          <a:spcPct val="20000"/>
        </a:spcBef>
        <a:spcAft>
          <a:spcPct val="0"/>
        </a:spcAft>
        <a:buChar char="–"/>
        <a:defRPr sz="2200">
          <a:solidFill>
            <a:schemeClr val="tx1"/>
          </a:solidFill>
          <a:latin typeface="+mn-lt"/>
          <a:ea typeface="+mn-ea"/>
        </a:defRPr>
      </a:lvl2pPr>
      <a:lvl3pPr marL="1164551" indent="-232895" algn="l" defTabSz="931656" rtl="0" eaLnBrk="0" fontAlgn="base" hangingPunct="0">
        <a:spcBef>
          <a:spcPct val="20000"/>
        </a:spcBef>
        <a:spcAft>
          <a:spcPct val="0"/>
        </a:spcAft>
        <a:buChar char="•"/>
        <a:defRPr sz="2200">
          <a:solidFill>
            <a:schemeClr val="tx1"/>
          </a:solidFill>
          <a:latin typeface="+mn-lt"/>
          <a:ea typeface="+mn-ea"/>
        </a:defRPr>
      </a:lvl3pPr>
      <a:lvl4pPr marL="1628789" indent="-231308" algn="l" defTabSz="931656" rtl="0" eaLnBrk="0" fontAlgn="base" hangingPunct="0">
        <a:spcBef>
          <a:spcPct val="20000"/>
        </a:spcBef>
        <a:spcAft>
          <a:spcPct val="0"/>
        </a:spcAft>
        <a:buChar char="–"/>
        <a:defRPr sz="2200">
          <a:solidFill>
            <a:schemeClr val="tx1"/>
          </a:solidFill>
          <a:latin typeface="+mn-lt"/>
          <a:ea typeface="+mn-ea"/>
        </a:defRPr>
      </a:lvl4pPr>
      <a:lvl5pPr marL="2094585" indent="-232895" algn="l" defTabSz="931656" rtl="0" eaLnBrk="0" fontAlgn="base" hangingPunct="0">
        <a:spcBef>
          <a:spcPct val="20000"/>
        </a:spcBef>
        <a:spcAft>
          <a:spcPct val="0"/>
        </a:spcAft>
        <a:buChar char="»"/>
        <a:defRPr sz="2200">
          <a:solidFill>
            <a:schemeClr val="tx1"/>
          </a:solidFill>
          <a:latin typeface="+mn-lt"/>
          <a:ea typeface="+mn-ea"/>
        </a:defRPr>
      </a:lvl5pPr>
      <a:lvl6pPr marL="2550947" indent="-232895" algn="l" defTabSz="931656" rtl="0" eaLnBrk="0" fontAlgn="base" hangingPunct="0">
        <a:spcBef>
          <a:spcPct val="20000"/>
        </a:spcBef>
        <a:spcAft>
          <a:spcPct val="0"/>
        </a:spcAft>
        <a:buChar char="»"/>
        <a:defRPr sz="2200">
          <a:solidFill>
            <a:schemeClr val="tx1"/>
          </a:solidFill>
          <a:latin typeface="+mn-lt"/>
          <a:ea typeface="+mn-ea"/>
        </a:defRPr>
      </a:lvl6pPr>
      <a:lvl7pPr marL="3007225" indent="-232895" algn="l" defTabSz="931656" rtl="0" eaLnBrk="0" fontAlgn="base" hangingPunct="0">
        <a:spcBef>
          <a:spcPct val="20000"/>
        </a:spcBef>
        <a:spcAft>
          <a:spcPct val="0"/>
        </a:spcAft>
        <a:buChar char="»"/>
        <a:defRPr sz="2200">
          <a:solidFill>
            <a:schemeClr val="tx1"/>
          </a:solidFill>
          <a:latin typeface="+mn-lt"/>
          <a:ea typeface="+mn-ea"/>
        </a:defRPr>
      </a:lvl7pPr>
      <a:lvl8pPr marL="3463490" indent="-232895" algn="l" defTabSz="931656" rtl="0" eaLnBrk="0" fontAlgn="base" hangingPunct="0">
        <a:spcBef>
          <a:spcPct val="20000"/>
        </a:spcBef>
        <a:spcAft>
          <a:spcPct val="0"/>
        </a:spcAft>
        <a:buChar char="»"/>
        <a:defRPr sz="2200">
          <a:solidFill>
            <a:schemeClr val="tx1"/>
          </a:solidFill>
          <a:latin typeface="+mn-lt"/>
          <a:ea typeface="+mn-ea"/>
        </a:defRPr>
      </a:lvl8pPr>
      <a:lvl9pPr marL="3919831" indent="-232895" algn="l" defTabSz="931656" rtl="0" eaLnBrk="0" fontAlgn="base" hangingPunct="0">
        <a:spcBef>
          <a:spcPct val="20000"/>
        </a:spcBef>
        <a:spcAft>
          <a:spcPct val="0"/>
        </a:spcAft>
        <a:buChar char="»"/>
        <a:defRPr sz="2200">
          <a:solidFill>
            <a:schemeClr val="tx1"/>
          </a:solidFill>
          <a:latin typeface="+mn-lt"/>
          <a:ea typeface="+mn-ea"/>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208015" y="209551"/>
            <a:ext cx="8804275"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p>
            <a:pPr lvl="0"/>
            <a:r>
              <a:rPr lang="en-US"/>
              <a:t>Click to edit Master title style</a:t>
            </a:r>
            <a:endParaRPr lang="en-GB"/>
          </a:p>
        </p:txBody>
      </p:sp>
      <p:sp>
        <p:nvSpPr>
          <p:cNvPr id="2051" name="Text Placeholder 2"/>
          <p:cNvSpPr>
            <a:spLocks noGrp="1"/>
          </p:cNvSpPr>
          <p:nvPr>
            <p:ph type="body" idx="1"/>
          </p:nvPr>
        </p:nvSpPr>
        <p:spPr bwMode="auto">
          <a:xfrm>
            <a:off x="208015" y="1220796"/>
            <a:ext cx="8804275" cy="379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642" rIns="91284" bIns="4564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02008102"/>
      </p:ext>
    </p:extLst>
  </p:cSld>
  <p:clrMap bg1="lt1" tx1="dk1" bg2="lt2" tx2="dk2" accent1="accent1" accent2="accent2" accent3="accent3" accent4="accent4" accent5="accent5" accent6="accent6" hlink="hlink" folHlink="folHlink"/>
  <p:sldLayoutIdLst>
    <p:sldLayoutId id="2147484987" r:id="rId1"/>
    <p:sldLayoutId id="2147484988" r:id="rId2"/>
    <p:sldLayoutId id="2147484989" r:id="rId3"/>
    <p:sldLayoutId id="2147484990" r:id="rId4"/>
    <p:sldLayoutId id="2147484991" r:id="rId5"/>
    <p:sldLayoutId id="2147484992" r:id="rId6"/>
    <p:sldLayoutId id="2147484993" r:id="rId7"/>
    <p:sldLayoutId id="2147484994" r:id="rId8"/>
    <p:sldLayoutId id="2147484995" r:id="rId9"/>
  </p:sldLayoutIdLst>
  <p:transition spd="med">
    <p:fade/>
  </p:transition>
  <p:txStyles>
    <p:titleStyle>
      <a:lvl1pPr algn="l" rtl="0" eaLnBrk="0" fontAlgn="base" hangingPunct="0">
        <a:spcBef>
          <a:spcPct val="0"/>
        </a:spcBef>
        <a:spcAft>
          <a:spcPct val="0"/>
        </a:spcAft>
        <a:defRPr sz="2800" b="1" kern="1200">
          <a:solidFill>
            <a:srgbClr val="99CC01"/>
          </a:solidFill>
          <a:latin typeface="+mj-lt"/>
          <a:ea typeface="+mj-ea"/>
          <a:cs typeface="+mj-cs"/>
        </a:defRPr>
      </a:lvl1pPr>
      <a:lvl2pPr algn="l" rtl="0" eaLnBrk="0" fontAlgn="base" hangingPunct="0">
        <a:spcBef>
          <a:spcPct val="0"/>
        </a:spcBef>
        <a:spcAft>
          <a:spcPct val="0"/>
        </a:spcAft>
        <a:defRPr sz="2800" b="1">
          <a:solidFill>
            <a:srgbClr val="99CC01"/>
          </a:solidFill>
          <a:latin typeface="Arial" charset="0"/>
        </a:defRPr>
      </a:lvl2pPr>
      <a:lvl3pPr algn="l" rtl="0" eaLnBrk="0" fontAlgn="base" hangingPunct="0">
        <a:spcBef>
          <a:spcPct val="0"/>
        </a:spcBef>
        <a:spcAft>
          <a:spcPct val="0"/>
        </a:spcAft>
        <a:defRPr sz="2800" b="1">
          <a:solidFill>
            <a:srgbClr val="99CC01"/>
          </a:solidFill>
          <a:latin typeface="Arial" charset="0"/>
        </a:defRPr>
      </a:lvl3pPr>
      <a:lvl4pPr algn="l" rtl="0" eaLnBrk="0" fontAlgn="base" hangingPunct="0">
        <a:spcBef>
          <a:spcPct val="0"/>
        </a:spcBef>
        <a:spcAft>
          <a:spcPct val="0"/>
        </a:spcAft>
        <a:defRPr sz="2800" b="1">
          <a:solidFill>
            <a:srgbClr val="99CC01"/>
          </a:solidFill>
          <a:latin typeface="Arial" charset="0"/>
        </a:defRPr>
      </a:lvl4pPr>
      <a:lvl5pPr algn="l" rtl="0" eaLnBrk="0" fontAlgn="base" hangingPunct="0">
        <a:spcBef>
          <a:spcPct val="0"/>
        </a:spcBef>
        <a:spcAft>
          <a:spcPct val="0"/>
        </a:spcAft>
        <a:defRPr sz="2800" b="1">
          <a:solidFill>
            <a:srgbClr val="99CC01"/>
          </a:solidFill>
          <a:latin typeface="Arial" charset="0"/>
        </a:defRPr>
      </a:lvl5pPr>
      <a:lvl6pPr marL="456269" algn="l" rtl="0" fontAlgn="base">
        <a:spcBef>
          <a:spcPct val="0"/>
        </a:spcBef>
        <a:spcAft>
          <a:spcPct val="0"/>
        </a:spcAft>
        <a:defRPr sz="2800" b="1">
          <a:solidFill>
            <a:srgbClr val="99CC01"/>
          </a:solidFill>
          <a:latin typeface="Arial" charset="0"/>
        </a:defRPr>
      </a:lvl6pPr>
      <a:lvl7pPr marL="912644" algn="l" rtl="0" fontAlgn="base">
        <a:spcBef>
          <a:spcPct val="0"/>
        </a:spcBef>
        <a:spcAft>
          <a:spcPct val="0"/>
        </a:spcAft>
        <a:defRPr sz="2800" b="1">
          <a:solidFill>
            <a:srgbClr val="99CC01"/>
          </a:solidFill>
          <a:latin typeface="Arial" charset="0"/>
        </a:defRPr>
      </a:lvl7pPr>
      <a:lvl8pPr marL="1368948" algn="l" rtl="0" fontAlgn="base">
        <a:spcBef>
          <a:spcPct val="0"/>
        </a:spcBef>
        <a:spcAft>
          <a:spcPct val="0"/>
        </a:spcAft>
        <a:defRPr sz="2800" b="1">
          <a:solidFill>
            <a:srgbClr val="99CC01"/>
          </a:solidFill>
          <a:latin typeface="Arial" charset="0"/>
        </a:defRPr>
      </a:lvl8pPr>
      <a:lvl9pPr marL="1825286" algn="l" rtl="0" fontAlgn="base">
        <a:spcBef>
          <a:spcPct val="0"/>
        </a:spcBef>
        <a:spcAft>
          <a:spcPct val="0"/>
        </a:spcAft>
        <a:defRPr sz="2800" b="1">
          <a:solidFill>
            <a:srgbClr val="99CC01"/>
          </a:solidFill>
          <a:latin typeface="Arial" charset="0"/>
        </a:defRPr>
      </a:lvl9pPr>
    </p:titleStyle>
    <p:bodyStyle>
      <a:lvl1pPr marL="270992" indent="-270992" algn="l" rtl="0" eaLnBrk="0" fontAlgn="base" hangingPunct="0">
        <a:spcBef>
          <a:spcPct val="20000"/>
        </a:spcBef>
        <a:spcAft>
          <a:spcPct val="0"/>
        </a:spcAft>
        <a:buBlip>
          <a:blip r:embed="rId11"/>
        </a:buBlip>
        <a:defRPr sz="2000" kern="1200">
          <a:solidFill>
            <a:schemeClr val="tx1"/>
          </a:solidFill>
          <a:latin typeface="+mn-lt"/>
          <a:ea typeface="+mn-ea"/>
          <a:cs typeface="+mn-cs"/>
        </a:defRPr>
      </a:lvl1pPr>
      <a:lvl2pPr marL="448405" indent="-177449" algn="l" rtl="0" eaLnBrk="0" fontAlgn="base" hangingPunct="0">
        <a:spcBef>
          <a:spcPct val="20000"/>
        </a:spcBef>
        <a:spcAft>
          <a:spcPct val="0"/>
        </a:spcAft>
        <a:buClr>
          <a:srgbClr val="7F7F7F"/>
        </a:buClr>
        <a:buFont typeface="Arial" pitchFamily="34" charset="0"/>
        <a:buChar char="•"/>
        <a:defRPr lang="en-US" kern="1200" dirty="0">
          <a:solidFill>
            <a:srgbClr val="7F7F7F"/>
          </a:solidFill>
          <a:latin typeface="+mn-lt"/>
          <a:ea typeface="+mn-ea"/>
          <a:cs typeface="+mn-cs"/>
        </a:defRPr>
      </a:lvl2pPr>
      <a:lvl3pPr marL="625892" indent="-177449" algn="l" rtl="0" eaLnBrk="0" fontAlgn="base" hangingPunct="0">
        <a:spcBef>
          <a:spcPct val="20000"/>
        </a:spcBef>
        <a:spcAft>
          <a:spcPct val="0"/>
        </a:spcAft>
        <a:buClr>
          <a:srgbClr val="7F7F7F"/>
        </a:buClr>
        <a:buFont typeface="Arial" pitchFamily="34" charset="0"/>
        <a:buChar char="•"/>
        <a:defRPr lang="en-US" sz="1400" kern="1200" dirty="0">
          <a:solidFill>
            <a:srgbClr val="7F7F7F"/>
          </a:solidFill>
          <a:latin typeface="+mn-lt"/>
          <a:ea typeface="+mn-ea"/>
          <a:cs typeface="+mn-cs"/>
        </a:defRPr>
      </a:lvl3pPr>
      <a:lvl4pPr marL="803303" indent="-177449" algn="l" rtl="0" eaLnBrk="0" fontAlgn="base" hangingPunct="0">
        <a:spcBef>
          <a:spcPct val="20000"/>
        </a:spcBef>
        <a:spcAft>
          <a:spcPct val="0"/>
        </a:spcAft>
        <a:buClr>
          <a:srgbClr val="7F7F7F"/>
        </a:buClr>
        <a:buFont typeface="Arial" pitchFamily="34" charset="0"/>
        <a:buChar char="•"/>
        <a:defRPr lang="en-US" sz="1400" kern="1200" dirty="0">
          <a:solidFill>
            <a:srgbClr val="7F7F7F"/>
          </a:solidFill>
          <a:latin typeface="+mn-lt"/>
          <a:ea typeface="+mn-ea"/>
          <a:cs typeface="+mn-cs"/>
        </a:defRPr>
      </a:lvl4pPr>
      <a:lvl5pPr marL="980789" indent="-177449" algn="l" rtl="0" eaLnBrk="0" fontAlgn="base" hangingPunct="0">
        <a:spcBef>
          <a:spcPct val="20000"/>
        </a:spcBef>
        <a:spcAft>
          <a:spcPct val="0"/>
        </a:spcAft>
        <a:buClr>
          <a:srgbClr val="7F7F7F"/>
        </a:buClr>
        <a:buFont typeface="Arial" pitchFamily="34" charset="0"/>
        <a:buChar char="•"/>
        <a:defRPr lang="en-GB" sz="1400" kern="1200" dirty="0">
          <a:solidFill>
            <a:srgbClr val="7F7F7F"/>
          </a:solidFill>
          <a:latin typeface="+mn-lt"/>
          <a:ea typeface="+mn-ea"/>
          <a:cs typeface="+mn-cs"/>
        </a:defRPr>
      </a:lvl5pPr>
      <a:lvl6pPr marL="2509686" indent="-228132" algn="l" defTabSz="9126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028" indent="-228132" algn="l" defTabSz="9126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330" indent="-228132" algn="l" defTabSz="9126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634" indent="-228132" algn="l" defTabSz="91264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4778452"/>
            <a:ext cx="9144000" cy="365125"/>
          </a:xfrm>
          <a:prstGeom prst="rect">
            <a:avLst/>
          </a:prstGeom>
          <a:gradFill>
            <a:gsLst>
              <a:gs pos="0">
                <a:schemeClr val="bg2">
                  <a:lumMod val="20000"/>
                  <a:lumOff val="8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en-US" sz="1800">
              <a:solidFill>
                <a:srgbClr val="FFFFFF"/>
              </a:solidFill>
            </a:endParaRPr>
          </a:p>
        </p:txBody>
      </p:sp>
      <p:sp>
        <p:nvSpPr>
          <p:cNvPr id="2" name="Title Placeholder 1"/>
          <p:cNvSpPr>
            <a:spLocks noGrp="1"/>
          </p:cNvSpPr>
          <p:nvPr>
            <p:ph type="title"/>
          </p:nvPr>
        </p:nvSpPr>
        <p:spPr>
          <a:xfrm>
            <a:off x="274320" y="371080"/>
            <a:ext cx="8595360" cy="313932"/>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273089" y="1005840"/>
            <a:ext cx="8596313" cy="3200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4507684" y="4897146"/>
            <a:ext cx="128642" cy="126958"/>
          </a:xfrm>
          <a:prstGeom prst="rect">
            <a:avLst/>
          </a:prstGeom>
        </p:spPr>
        <p:txBody>
          <a:bodyPr vert="horz" wrap="none" lIns="0" tIns="0" rIns="0" bIns="0" rtlCol="0" anchor="ctr">
            <a:spAutoFit/>
          </a:bodyPr>
          <a:lstStyle>
            <a:lvl1pPr algn="ctr">
              <a:defRPr sz="800">
                <a:solidFill>
                  <a:schemeClr val="bg2"/>
                </a:solidFill>
                <a:latin typeface="+mn-lt"/>
              </a:defRPr>
            </a:lvl1pPr>
          </a:lstStyle>
          <a:p>
            <a:pPr defTabSz="912644" fontAlgn="auto">
              <a:spcBef>
                <a:spcPts val="0"/>
              </a:spcBef>
              <a:spcAft>
                <a:spcPts val="0"/>
              </a:spcAft>
            </a:pPr>
            <a:fld id="{E1B70DA0-BFD5-411C-A11E-155B57496FC3}" type="slidenum">
              <a:rPr lang="en-US" smtClean="0">
                <a:solidFill>
                  <a:srgbClr val="7E7E81"/>
                </a:solidFill>
                <a:cs typeface="+mn-cs"/>
              </a:rPr>
              <a:pPr defTabSz="912644" fontAlgn="auto">
                <a:spcBef>
                  <a:spcPts val="0"/>
                </a:spcBef>
                <a:spcAft>
                  <a:spcPts val="0"/>
                </a:spcAft>
              </a:pPr>
              <a:t>‹#›</a:t>
            </a:fld>
            <a:endParaRPr lang="en-US" dirty="0">
              <a:solidFill>
                <a:srgbClr val="7E7E81"/>
              </a:solidFill>
              <a:cs typeface="+mn-cs"/>
            </a:endParaRPr>
          </a:p>
        </p:txBody>
      </p:sp>
      <p:sp>
        <p:nvSpPr>
          <p:cNvPr id="8" name="Rectangle 7"/>
          <p:cNvSpPr/>
          <p:nvPr userDrawn="1"/>
        </p:nvSpPr>
        <p:spPr>
          <a:xfrm>
            <a:off x="11612880" y="133350"/>
            <a:ext cx="1524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84" tIns="45642" rIns="91284" bIns="45642" rtlCol="0" anchor="ctr"/>
          <a:lstStyle/>
          <a:p>
            <a:pPr algn="ctr" defTabSz="912644" fontAlgn="auto">
              <a:spcBef>
                <a:spcPts val="0"/>
              </a:spcBef>
              <a:spcAft>
                <a:spcPts val="0"/>
              </a:spcAft>
            </a:pPr>
            <a:endParaRPr lang="en-US" sz="1800">
              <a:solidFill>
                <a:srgbClr val="FFFFFF"/>
              </a:solidFill>
            </a:endParaRP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273110" y="4869180"/>
            <a:ext cx="1176935" cy="182880"/>
          </a:xfrm>
          <a:prstGeom prst="rect">
            <a:avLst/>
          </a:prstGeom>
        </p:spPr>
      </p:pic>
    </p:spTree>
    <p:extLst>
      <p:ext uri="{BB962C8B-B14F-4D97-AF65-F5344CB8AC3E}">
        <p14:creationId xmlns:p14="http://schemas.microsoft.com/office/powerpoint/2010/main" val="2164221447"/>
      </p:ext>
    </p:extLst>
  </p:cSld>
  <p:clrMap bg1="lt1" tx1="dk1" bg2="lt2" tx2="dk2" accent1="accent1" accent2="accent2" accent3="accent3" accent4="accent4" accent5="accent5" accent6="accent6" hlink="hlink" folHlink="folHlink"/>
  <p:sldLayoutIdLst>
    <p:sldLayoutId id="2147485012" r:id="rId1"/>
    <p:sldLayoutId id="2147485013" r:id="rId2"/>
    <p:sldLayoutId id="2147485014" r:id="rId3"/>
    <p:sldLayoutId id="2147485015" r:id="rId4"/>
    <p:sldLayoutId id="2147485016" r:id="rId5"/>
    <p:sldLayoutId id="2147485017" r:id="rId6"/>
    <p:sldLayoutId id="2147485018" r:id="rId7"/>
    <p:sldLayoutId id="2147485019" r:id="rId8"/>
    <p:sldLayoutId id="2147485020" r:id="rId9"/>
    <p:sldLayoutId id="2147485021" r:id="rId10"/>
    <p:sldLayoutId id="2147485022" r:id="rId11"/>
  </p:sldLayoutIdLst>
  <p:transition>
    <p:fade/>
  </p:transition>
  <p:hf hdr="0" ftr="0" dt="0"/>
  <p:txStyles>
    <p:titleStyle>
      <a:lvl1pPr algn="ctr" defTabSz="912644" rtl="0" eaLnBrk="1" latinLnBrk="0" hangingPunct="1">
        <a:lnSpc>
          <a:spcPct val="85000"/>
        </a:lnSpc>
        <a:spcBef>
          <a:spcPct val="0"/>
        </a:spcBef>
        <a:buNone/>
        <a:defRPr sz="2000" b="0" kern="1200" cap="all" spc="40" baseline="0">
          <a:solidFill>
            <a:schemeClr val="accent1"/>
          </a:solidFill>
          <a:latin typeface="Arial"/>
          <a:ea typeface="+mj-ea"/>
          <a:cs typeface="Arial"/>
        </a:defRPr>
      </a:lvl1pPr>
    </p:titleStyle>
    <p:bodyStyle>
      <a:lvl1pPr marL="115654" indent="-115654" algn="l" defTabSz="912644" rtl="0" eaLnBrk="1" latinLnBrk="0" hangingPunct="1">
        <a:lnSpc>
          <a:spcPct val="85000"/>
        </a:lnSpc>
        <a:spcBef>
          <a:spcPts val="1800"/>
        </a:spcBef>
        <a:buFont typeface="Arial" panose="020B0604020202020204" pitchFamily="34" charset="0"/>
        <a:buChar char="•"/>
        <a:defRPr sz="1800" kern="1200">
          <a:solidFill>
            <a:schemeClr val="bg2">
              <a:lumMod val="75000"/>
            </a:schemeClr>
          </a:solidFill>
          <a:latin typeface="Arial"/>
          <a:ea typeface="+mn-ea"/>
          <a:cs typeface="Arial"/>
        </a:defRPr>
      </a:lvl1pPr>
      <a:lvl2pPr marL="365058" indent="-136925" algn="l" defTabSz="912644" rtl="0" eaLnBrk="1" latinLnBrk="0" hangingPunct="1">
        <a:lnSpc>
          <a:spcPct val="85000"/>
        </a:lnSpc>
        <a:spcBef>
          <a:spcPts val="600"/>
        </a:spcBef>
        <a:buFont typeface="Arial Unicode MS" pitchFamily="34" charset="-128"/>
        <a:buChar char="−"/>
        <a:defRPr sz="1600" kern="1200">
          <a:solidFill>
            <a:schemeClr val="bg2">
              <a:lumMod val="75000"/>
            </a:schemeClr>
          </a:solidFill>
          <a:latin typeface="Arial"/>
          <a:ea typeface="+mn-ea"/>
          <a:cs typeface="Arial"/>
        </a:defRPr>
      </a:lvl2pPr>
      <a:lvl3pPr marL="638832" indent="-91284" algn="l" defTabSz="912644" rtl="0" eaLnBrk="1" latinLnBrk="0" hangingPunct="1">
        <a:lnSpc>
          <a:spcPct val="85000"/>
        </a:lnSpc>
        <a:spcBef>
          <a:spcPts val="300"/>
        </a:spcBef>
        <a:buFont typeface="Arial" panose="020B0604020202020204" pitchFamily="34" charset="0"/>
        <a:buChar char="•"/>
        <a:defRPr sz="1400" kern="1200">
          <a:solidFill>
            <a:schemeClr val="bg2">
              <a:lumMod val="75000"/>
            </a:schemeClr>
          </a:solidFill>
          <a:latin typeface="Arial"/>
          <a:ea typeface="+mn-ea"/>
          <a:cs typeface="Arial"/>
        </a:defRPr>
      </a:lvl3pPr>
      <a:lvl4pPr marL="1003890" indent="-136925" algn="l" defTabSz="912644" rtl="0" eaLnBrk="1" latinLnBrk="0" hangingPunct="1">
        <a:lnSpc>
          <a:spcPct val="85000"/>
        </a:lnSpc>
        <a:spcBef>
          <a:spcPts val="300"/>
        </a:spcBef>
        <a:buFont typeface="Arial Unicode MS" pitchFamily="34" charset="-128"/>
        <a:buChar char="−"/>
        <a:defRPr sz="1200" kern="1200">
          <a:solidFill>
            <a:schemeClr val="bg2">
              <a:lumMod val="75000"/>
            </a:schemeClr>
          </a:solidFill>
          <a:latin typeface="Arial"/>
          <a:ea typeface="+mn-ea"/>
          <a:cs typeface="Arial"/>
        </a:defRPr>
      </a:lvl4pPr>
      <a:lvl5pPr marL="2053421" indent="-228132" algn="l" defTabSz="912644" rtl="0" eaLnBrk="1" latinLnBrk="0" hangingPunct="1">
        <a:lnSpc>
          <a:spcPct val="85000"/>
        </a:lnSpc>
        <a:spcBef>
          <a:spcPct val="20000"/>
        </a:spcBef>
        <a:buFont typeface="Arial" panose="020B0604020202020204" pitchFamily="34" charset="0"/>
        <a:buChar char="»"/>
        <a:defRPr sz="1200" kern="1200">
          <a:solidFill>
            <a:schemeClr val="bg2">
              <a:lumMod val="75000"/>
            </a:schemeClr>
          </a:solidFill>
          <a:latin typeface="+mn-lt"/>
          <a:ea typeface="+mn-ea"/>
          <a:cs typeface="+mn-cs"/>
        </a:defRPr>
      </a:lvl5pPr>
      <a:lvl6pPr marL="2509686" indent="-228132" algn="l" defTabSz="91264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6028" indent="-228132" algn="l" defTabSz="91264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2330" indent="-228132" algn="l" defTabSz="91264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78634" indent="-228132" algn="l" defTabSz="91264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850" y="339722"/>
            <a:ext cx="8496300" cy="673213"/>
          </a:xfrm>
          <a:prstGeom prst="rect">
            <a:avLst/>
          </a:prstGeom>
        </p:spPr>
        <p:txBody>
          <a:bodyPr vert="horz" lIns="91284" tIns="45642" rIns="91284" bIns="45642" rtlCol="0" anchor="b">
            <a:normAutofit/>
          </a:bodyPr>
          <a:lstStyle/>
          <a:p>
            <a:r>
              <a:rPr lang="en-US" dirty="0"/>
              <a:t>Click to edit Master title style</a:t>
            </a:r>
          </a:p>
        </p:txBody>
      </p:sp>
      <p:sp>
        <p:nvSpPr>
          <p:cNvPr id="3" name="Text Placeholder 2"/>
          <p:cNvSpPr>
            <a:spLocks noGrp="1"/>
          </p:cNvSpPr>
          <p:nvPr>
            <p:ph type="body" idx="1"/>
          </p:nvPr>
        </p:nvSpPr>
        <p:spPr>
          <a:xfrm>
            <a:off x="323850" y="1626333"/>
            <a:ext cx="8496300" cy="2980271"/>
          </a:xfrm>
          <a:prstGeom prst="rect">
            <a:avLst/>
          </a:prstGeom>
        </p:spPr>
        <p:txBody>
          <a:bodyPr vert="horz" lIns="91284" tIns="45642" rIns="91284" bIns="4564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323850" y="4767264"/>
            <a:ext cx="3086100" cy="273844"/>
          </a:xfrm>
          <a:prstGeom prst="rect">
            <a:avLst/>
          </a:prstGeom>
        </p:spPr>
        <p:txBody>
          <a:bodyPr vert="horz" lIns="91284" tIns="45642" rIns="91284" bIns="45642" rtlCol="0" anchor="ctr"/>
          <a:lstStyle>
            <a:lvl1pPr algn="l">
              <a:defRPr lang="en-GB" sz="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defTabSz="912644" fontAlgn="auto">
              <a:spcBef>
                <a:spcPts val="0"/>
              </a:spcBef>
              <a:spcAft>
                <a:spcPts val="0"/>
              </a:spcAft>
            </a:pPr>
            <a:r>
              <a:rPr lang="en-GB">
                <a:solidFill>
                  <a:prstClr val="black"/>
                </a:solidFill>
              </a:rPr>
              <a:t>© Copyright Inmarsat Global Limited 2014</a:t>
            </a:r>
            <a:endParaRPr lang="en-GB" dirty="0">
              <a:solidFill>
                <a:prstClr val="black"/>
              </a:solidFill>
            </a:endParaRPr>
          </a:p>
        </p:txBody>
      </p:sp>
      <p:sp>
        <p:nvSpPr>
          <p:cNvPr id="6" name="Slide Number Placeholder 5"/>
          <p:cNvSpPr>
            <a:spLocks noGrp="1"/>
          </p:cNvSpPr>
          <p:nvPr>
            <p:ph type="sldNum" sz="quarter" idx="4"/>
          </p:nvPr>
        </p:nvSpPr>
        <p:spPr>
          <a:xfrm>
            <a:off x="6858544" y="4767264"/>
            <a:ext cx="2057400" cy="273844"/>
          </a:xfrm>
          <a:prstGeom prst="rect">
            <a:avLst/>
          </a:prstGeom>
        </p:spPr>
        <p:txBody>
          <a:bodyPr vert="horz" lIns="91284" tIns="45642" rIns="91284" bIns="45642" rtlCol="0" anchor="ctr"/>
          <a:lstStyle>
            <a:lvl1pPr algn="r">
              <a:defRPr lang="en-GB" sz="8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defTabSz="912644" fontAlgn="auto">
              <a:spcBef>
                <a:spcPts val="0"/>
              </a:spcBef>
              <a:spcAft>
                <a:spcPts val="0"/>
              </a:spcAft>
            </a:pPr>
            <a:fld id="{7379F6AC-1C90-4500-8A18-29BB743821D7}" type="slidenum">
              <a:rPr lang="en-GB" smtClean="0">
                <a:solidFill>
                  <a:prstClr val="black"/>
                </a:solidFill>
              </a:rPr>
              <a:pPr defTabSz="912644" fontAlgn="auto">
                <a:spcBef>
                  <a:spcPts val="0"/>
                </a:spcBef>
                <a:spcAft>
                  <a:spcPts val="0"/>
                </a:spcAft>
              </a:pPr>
              <a:t>‹#›</a:t>
            </a:fld>
            <a:endParaRPr lang="en-GB" dirty="0">
              <a:solidFill>
                <a:prstClr val="black"/>
              </a:solidFill>
            </a:endParaRPr>
          </a:p>
        </p:txBody>
      </p:sp>
    </p:spTree>
    <p:extLst>
      <p:ext uri="{BB962C8B-B14F-4D97-AF65-F5344CB8AC3E}">
        <p14:creationId xmlns:p14="http://schemas.microsoft.com/office/powerpoint/2010/main" val="2919372385"/>
      </p:ext>
    </p:extLst>
  </p:cSld>
  <p:clrMap bg1="lt1" tx1="dk1" bg2="lt2" tx2="dk2" accent1="accent1" accent2="accent2" accent3="accent3" accent4="accent4" accent5="accent5" accent6="accent6" hlink="hlink" folHlink="folHlink"/>
  <p:sldLayoutIdLst>
    <p:sldLayoutId id="2147485125" r:id="rId1"/>
    <p:sldLayoutId id="2147485126" r:id="rId2"/>
    <p:sldLayoutId id="2147485127" r:id="rId3"/>
    <p:sldLayoutId id="2147485128" r:id="rId4"/>
    <p:sldLayoutId id="2147485129" r:id="rId5"/>
    <p:sldLayoutId id="2147485130" r:id="rId6"/>
    <p:sldLayoutId id="2147485131" r:id="rId7"/>
    <p:sldLayoutId id="2147485132" r:id="rId8"/>
    <p:sldLayoutId id="2147485133" r:id="rId9"/>
    <p:sldLayoutId id="2147485134" r:id="rId10"/>
    <p:sldLayoutId id="2147485135" r:id="rId11"/>
    <p:sldLayoutId id="2147485136" r:id="rId12"/>
    <p:sldLayoutId id="2147485137" r:id="rId13"/>
    <p:sldLayoutId id="2147485138" r:id="rId14"/>
    <p:sldLayoutId id="2147485139" r:id="rId15"/>
    <p:sldLayoutId id="2147485140" r:id="rId16"/>
    <p:sldLayoutId id="2147485141" r:id="rId17"/>
  </p:sldLayoutIdLst>
  <p:hf sldNum="0" hdr="0" ftr="0" dt="0"/>
  <p:txStyles>
    <p:titleStyle>
      <a:lvl1pPr algn="l" defTabSz="912644" rtl="0" eaLnBrk="1" latinLnBrk="0" hangingPunct="1">
        <a:lnSpc>
          <a:spcPct val="90000"/>
        </a:lnSpc>
        <a:spcBef>
          <a:spcPct val="0"/>
        </a:spcBef>
        <a:buNone/>
        <a:defRPr lang="en-US" sz="2800" kern="1200" dirty="0">
          <a:solidFill>
            <a:schemeClr val="accent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2644" rtl="0" eaLnBrk="1" latinLnBrk="0" hangingPunct="1">
        <a:lnSpc>
          <a:spcPct val="90000"/>
        </a:lnSpc>
        <a:spcBef>
          <a:spcPts val="1000"/>
        </a:spcBef>
        <a:buClr>
          <a:srgbClr val="002150"/>
        </a:buClr>
        <a:buFont typeface="Tahoma" panose="020B0604030504040204" pitchFamily="34" charset="0"/>
        <a:buNone/>
        <a:defRPr lang="en-US" sz="1800" kern="1200" dirty="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vl2pPr marL="0" indent="0" algn="l" defTabSz="912644" rtl="0" eaLnBrk="1" latinLnBrk="0" hangingPunct="1">
        <a:lnSpc>
          <a:spcPct val="90000"/>
        </a:lnSpc>
        <a:spcBef>
          <a:spcPts val="600"/>
        </a:spcBef>
        <a:buClr>
          <a:srgbClr val="002150"/>
        </a:buClr>
        <a:buFont typeface="Calibri" panose="020F0502020204030204" pitchFamily="34" charset="0"/>
        <a:buNone/>
        <a:defRPr sz="1600" kern="1200">
          <a:solidFill>
            <a:schemeClr val="tx2"/>
          </a:solidFill>
          <a:latin typeface="Tahoma" panose="020B0604030504040204" pitchFamily="34" charset="0"/>
          <a:ea typeface="Tahoma" panose="020B0604030504040204" pitchFamily="34" charset="0"/>
          <a:cs typeface="Tahoma" panose="020B0604030504040204" pitchFamily="34" charset="0"/>
        </a:defRPr>
      </a:lvl2pPr>
      <a:lvl3pPr marL="234482" indent="-234482" algn="l" defTabSz="912644" rtl="0" eaLnBrk="1" latinLnBrk="0" hangingPunct="1">
        <a:lnSpc>
          <a:spcPct val="90000"/>
        </a:lnSpc>
        <a:spcBef>
          <a:spcPts val="1200"/>
        </a:spcBef>
        <a:buClrTx/>
        <a:buFont typeface="Tahoma" panose="020B0604030504040204" pitchFamily="34" charset="0"/>
        <a:buChar char="˃"/>
        <a:defRPr sz="1600" kern="1200">
          <a:solidFill>
            <a:schemeClr val="tx2"/>
          </a:solidFill>
          <a:latin typeface="Tahoma" panose="020B0604030504040204" pitchFamily="34" charset="0"/>
          <a:ea typeface="Tahoma" panose="020B0604030504040204" pitchFamily="34" charset="0"/>
          <a:cs typeface="Tahoma" panose="020B0604030504040204" pitchFamily="34" charset="0"/>
        </a:defRPr>
      </a:lvl3pPr>
      <a:lvl4pPr marL="234482" indent="0" algn="l" defTabSz="912644" rtl="0" eaLnBrk="1" latinLnBrk="0" hangingPunct="1">
        <a:lnSpc>
          <a:spcPct val="90000"/>
        </a:lnSpc>
        <a:spcBef>
          <a:spcPts val="600"/>
        </a:spcBef>
        <a:buFont typeface="Arial" panose="020B0604020202020204" pitchFamily="34" charset="0"/>
        <a:buNone/>
        <a:defRPr sz="1600" kern="1200">
          <a:solidFill>
            <a:schemeClr val="tx2"/>
          </a:solidFill>
          <a:latin typeface="Tahoma" panose="020B0604030504040204" pitchFamily="34" charset="0"/>
          <a:ea typeface="Tahoma" panose="020B0604030504040204" pitchFamily="34" charset="0"/>
          <a:cs typeface="Tahoma" panose="020B0604030504040204" pitchFamily="34" charset="0"/>
        </a:defRPr>
      </a:lvl4pPr>
      <a:lvl5pPr marL="709796" indent="-171138" algn="l" defTabSz="912644" rtl="0" eaLnBrk="1" latinLnBrk="0" hangingPunct="1">
        <a:lnSpc>
          <a:spcPct val="90000"/>
        </a:lnSpc>
        <a:spcBef>
          <a:spcPts val="600"/>
        </a:spcBef>
        <a:buFont typeface="Tahoma" panose="020B0604030504040204" pitchFamily="34" charset="0"/>
        <a:buChar char="˃"/>
        <a:defRPr sz="1200" kern="1200">
          <a:solidFill>
            <a:schemeClr val="tx2"/>
          </a:solidFill>
          <a:latin typeface="Tahoma" panose="020B0604030504040204" pitchFamily="34" charset="0"/>
          <a:ea typeface="Tahoma" panose="020B0604030504040204" pitchFamily="34" charset="0"/>
          <a:cs typeface="Tahoma" panose="020B0604030504040204" pitchFamily="34" charset="0"/>
        </a:defRPr>
      </a:lvl5pPr>
      <a:lvl6pPr marL="2509686" indent="-228132" algn="l" defTabSz="91264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66028" indent="-228132" algn="l" defTabSz="91264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2330" indent="-228132" algn="l" defTabSz="91264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78634" indent="-228132" algn="l" defTabSz="91264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userDrawn="1">
          <p15:clr>
            <a:srgbClr val="F26B43"/>
          </p15:clr>
        </p15:guide>
        <p15:guide id="2" pos="272" userDrawn="1">
          <p15:clr>
            <a:srgbClr val="F26B43"/>
          </p15:clr>
        </p15:guide>
        <p15:guide id="4" pos="5488" userDrawn="1">
          <p15:clr>
            <a:srgbClr val="F26B43"/>
          </p15:clr>
        </p15:guide>
        <p15:guide id="5" pos="5556" userDrawn="1">
          <p15:clr>
            <a:srgbClr val="F26B43"/>
          </p15:clr>
        </p15:guide>
        <p15:guide id="6" orient="horz" pos="572" userDrawn="1">
          <p15:clr>
            <a:srgbClr val="F26B43"/>
          </p15:clr>
        </p15:guide>
        <p15:guide id="7" orient="horz" pos="3974" userDrawn="1">
          <p15:clr>
            <a:srgbClr val="F26B43"/>
          </p15:clr>
        </p15:guide>
        <p15:guide id="8" orient="horz" pos="4020" userDrawn="1">
          <p15:clr>
            <a:srgbClr val="F26B43"/>
          </p15:clr>
        </p15:guide>
        <p15:guide id="9" pos="204" userDrawn="1">
          <p15:clr>
            <a:srgbClr val="F26B43"/>
          </p15:clr>
        </p15:guide>
      </p15:sldGuideLst>
    </p:ext>
  </p:extLst>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6000">
              <a:schemeClr val="bg1">
                <a:alpha val="93000"/>
                <a:lumMod val="8000"/>
                <a:lumOff val="92000"/>
              </a:schemeClr>
            </a:gs>
            <a:gs pos="0">
              <a:srgbClr val="A8E7E6"/>
            </a:gs>
            <a:gs pos="47000">
              <a:srgbClr val="AFD5D1"/>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0027" y="53475"/>
            <a:ext cx="8778209" cy="695158"/>
          </a:xfrm>
          <a:prstGeom prst="rect">
            <a:avLst/>
          </a:prstGeom>
        </p:spPr>
        <p:txBody>
          <a:bodyPr vert="horz" lIns="91284" tIns="45642" rIns="91284" bIns="45642" rtlCol="0" anchor="ctr">
            <a:normAutofit/>
          </a:bodyPr>
          <a:lstStyle/>
          <a:p>
            <a:r>
              <a:rPr lang="en-US" dirty="0"/>
              <a:t>CLICK TO EDIT MASTER TITLE STYLE</a:t>
            </a:r>
          </a:p>
        </p:txBody>
      </p:sp>
      <p:sp>
        <p:nvSpPr>
          <p:cNvPr id="3" name="Text Placeholder 2"/>
          <p:cNvSpPr>
            <a:spLocks noGrp="1"/>
          </p:cNvSpPr>
          <p:nvPr>
            <p:ph type="body" idx="1"/>
          </p:nvPr>
        </p:nvSpPr>
        <p:spPr>
          <a:xfrm>
            <a:off x="138527" y="917280"/>
            <a:ext cx="8778210" cy="3575141"/>
          </a:xfrm>
          <a:prstGeom prst="rect">
            <a:avLst/>
          </a:prstGeom>
        </p:spPr>
        <p:txBody>
          <a:bodyPr vert="horz" lIns="91284" tIns="45642" rIns="91284" bIns="4564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descr="Ket_BT_tag_colo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8528" y="4451414"/>
            <a:ext cx="667300" cy="538247"/>
          </a:xfrm>
          <a:prstGeom prst="rect">
            <a:avLst/>
          </a:prstGeom>
        </p:spPr>
      </p:pic>
      <p:pic>
        <p:nvPicPr>
          <p:cNvPr id="7" name="Picture 2" descr="\\Ketlonfs01\corporate\MasterCard\DIRTY CASH\Digital\Content\Images\Mastercard_Twitter_AprilContent_04.14\ASSET\2012-Mastercard-Logo-D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104367" y="132395"/>
            <a:ext cx="812370" cy="576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8672233"/>
      </p:ext>
    </p:extLst>
  </p:cSld>
  <p:clrMap bg1="lt1" tx1="dk1" bg2="lt2" tx2="dk2" accent1="accent1" accent2="accent2" accent3="accent3" accent4="accent4" accent5="accent5" accent6="accent6" hlink="hlink" folHlink="folHlink"/>
  <p:txStyles>
    <p:titleStyle>
      <a:lvl1pPr algn="l" defTabSz="456269" rtl="0" eaLnBrk="1" latinLnBrk="0" hangingPunct="1">
        <a:spcBef>
          <a:spcPct val="0"/>
        </a:spcBef>
        <a:buNone/>
        <a:defRPr sz="2800" b="1" kern="1200">
          <a:solidFill>
            <a:schemeClr val="tx1">
              <a:lumMod val="65000"/>
              <a:lumOff val="35000"/>
            </a:schemeClr>
          </a:solidFill>
          <a:latin typeface="Gill Sans Light"/>
          <a:ea typeface="+mj-ea"/>
          <a:cs typeface="Gill Sans Light"/>
        </a:defRPr>
      </a:lvl1pPr>
    </p:titleStyle>
    <p:bodyStyle>
      <a:lvl1pPr marL="224957" indent="-224957" algn="l" defTabSz="456269" rtl="0" eaLnBrk="1" latinLnBrk="0" hangingPunct="1">
        <a:spcBef>
          <a:spcPct val="20000"/>
        </a:spcBef>
        <a:buClr>
          <a:schemeClr val="accent1"/>
        </a:buClr>
        <a:buFont typeface="Arial"/>
        <a:buChar char="•"/>
        <a:defRPr sz="2000" b="0" i="0" kern="1200">
          <a:solidFill>
            <a:schemeClr val="accent6"/>
          </a:solidFill>
          <a:latin typeface="Gill Sans Light"/>
          <a:ea typeface="+mn-ea"/>
          <a:cs typeface="Gill Sans Light"/>
        </a:defRPr>
      </a:lvl1pPr>
      <a:lvl2pPr marL="224957" indent="-224957" algn="l" defTabSz="456269" rtl="0" eaLnBrk="1" latinLnBrk="0" hangingPunct="1">
        <a:spcBef>
          <a:spcPct val="20000"/>
        </a:spcBef>
        <a:buClr>
          <a:schemeClr val="accent1"/>
        </a:buClr>
        <a:buFont typeface="Arial"/>
        <a:buChar char="•"/>
        <a:defRPr sz="1800" b="0" i="0" kern="1200">
          <a:solidFill>
            <a:schemeClr val="accent6"/>
          </a:solidFill>
          <a:latin typeface="Gill Sans Light"/>
          <a:ea typeface="+mn-ea"/>
          <a:cs typeface="Gill Sans Light"/>
        </a:defRPr>
      </a:lvl2pPr>
      <a:lvl3pPr marL="224957" indent="-224957" algn="l" defTabSz="456269" rtl="0" eaLnBrk="1" latinLnBrk="0" hangingPunct="1">
        <a:spcBef>
          <a:spcPct val="20000"/>
        </a:spcBef>
        <a:buClr>
          <a:schemeClr val="accent1"/>
        </a:buClr>
        <a:buFont typeface="Arial"/>
        <a:buChar char="•"/>
        <a:defRPr sz="1600" b="0" i="0" kern="1200">
          <a:solidFill>
            <a:schemeClr val="accent6"/>
          </a:solidFill>
          <a:latin typeface="Gill Sans Light"/>
          <a:ea typeface="+mn-ea"/>
          <a:cs typeface="Gill Sans Light"/>
        </a:defRPr>
      </a:lvl3pPr>
      <a:lvl4pPr marL="224957" indent="-224957" algn="l" defTabSz="456269" rtl="0" eaLnBrk="1" latinLnBrk="0" hangingPunct="1">
        <a:spcBef>
          <a:spcPct val="20000"/>
        </a:spcBef>
        <a:buClr>
          <a:schemeClr val="accent1"/>
        </a:buClr>
        <a:buFont typeface="Arial"/>
        <a:buChar char="•"/>
        <a:defRPr sz="1400" b="0" i="0" kern="1200">
          <a:solidFill>
            <a:schemeClr val="accent6"/>
          </a:solidFill>
          <a:latin typeface="Gill Sans Light"/>
          <a:ea typeface="+mn-ea"/>
          <a:cs typeface="Gill Sans Light"/>
        </a:defRPr>
      </a:lvl4pPr>
      <a:lvl5pPr marL="224957" indent="-224957" algn="l" defTabSz="456269" rtl="0" eaLnBrk="1" latinLnBrk="0" hangingPunct="1">
        <a:spcBef>
          <a:spcPct val="20000"/>
        </a:spcBef>
        <a:buClr>
          <a:schemeClr val="accent1"/>
        </a:buClr>
        <a:buFont typeface="Arial"/>
        <a:buChar char="•"/>
        <a:defRPr sz="1400" b="0" i="0" kern="1200">
          <a:solidFill>
            <a:schemeClr val="accent6"/>
          </a:solidFill>
          <a:latin typeface="Gill Sans Light"/>
          <a:ea typeface="+mn-ea"/>
          <a:cs typeface="Gill Sans Light"/>
        </a:defRPr>
      </a:lvl5pPr>
      <a:lvl6pPr marL="2509686" indent="-228132" algn="l" defTabSz="456269" rtl="0" eaLnBrk="1" latinLnBrk="0" hangingPunct="1">
        <a:spcBef>
          <a:spcPct val="20000"/>
        </a:spcBef>
        <a:buFont typeface="Arial"/>
        <a:buChar char="•"/>
        <a:defRPr sz="2000" kern="1200">
          <a:solidFill>
            <a:schemeClr val="tx1"/>
          </a:solidFill>
          <a:latin typeface="+mn-lt"/>
          <a:ea typeface="+mn-ea"/>
          <a:cs typeface="+mn-cs"/>
        </a:defRPr>
      </a:lvl6pPr>
      <a:lvl7pPr marL="2966028" indent="-228132" algn="l" defTabSz="456269" rtl="0" eaLnBrk="1" latinLnBrk="0" hangingPunct="1">
        <a:spcBef>
          <a:spcPct val="20000"/>
        </a:spcBef>
        <a:buFont typeface="Arial"/>
        <a:buChar char="•"/>
        <a:defRPr sz="2000" kern="1200">
          <a:solidFill>
            <a:schemeClr val="tx1"/>
          </a:solidFill>
          <a:latin typeface="+mn-lt"/>
          <a:ea typeface="+mn-ea"/>
          <a:cs typeface="+mn-cs"/>
        </a:defRPr>
      </a:lvl7pPr>
      <a:lvl8pPr marL="3422330" indent="-228132" algn="l" defTabSz="456269" rtl="0" eaLnBrk="1" latinLnBrk="0" hangingPunct="1">
        <a:spcBef>
          <a:spcPct val="20000"/>
        </a:spcBef>
        <a:buFont typeface="Arial"/>
        <a:buChar char="•"/>
        <a:defRPr sz="2000" kern="1200">
          <a:solidFill>
            <a:schemeClr val="tx1"/>
          </a:solidFill>
          <a:latin typeface="+mn-lt"/>
          <a:ea typeface="+mn-ea"/>
          <a:cs typeface="+mn-cs"/>
        </a:defRPr>
      </a:lvl8pPr>
      <a:lvl9pPr marL="3878634" indent="-228132" algn="l" defTabSz="45626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269" rtl="0" eaLnBrk="1" latinLnBrk="0" hangingPunct="1">
        <a:defRPr sz="1800" kern="1200">
          <a:solidFill>
            <a:schemeClr val="tx1"/>
          </a:solidFill>
          <a:latin typeface="+mn-lt"/>
          <a:ea typeface="+mn-ea"/>
          <a:cs typeface="+mn-cs"/>
        </a:defRPr>
      </a:lvl1pPr>
      <a:lvl2pPr marL="456269" algn="l" defTabSz="456269" rtl="0" eaLnBrk="1" latinLnBrk="0" hangingPunct="1">
        <a:defRPr sz="1800" kern="1200">
          <a:solidFill>
            <a:schemeClr val="tx1"/>
          </a:solidFill>
          <a:latin typeface="+mn-lt"/>
          <a:ea typeface="+mn-ea"/>
          <a:cs typeface="+mn-cs"/>
        </a:defRPr>
      </a:lvl2pPr>
      <a:lvl3pPr marL="912644" algn="l" defTabSz="456269" rtl="0" eaLnBrk="1" latinLnBrk="0" hangingPunct="1">
        <a:defRPr sz="1800" kern="1200">
          <a:solidFill>
            <a:schemeClr val="tx1"/>
          </a:solidFill>
          <a:latin typeface="+mn-lt"/>
          <a:ea typeface="+mn-ea"/>
          <a:cs typeface="+mn-cs"/>
        </a:defRPr>
      </a:lvl3pPr>
      <a:lvl4pPr marL="1368948" algn="l" defTabSz="456269" rtl="0" eaLnBrk="1" latinLnBrk="0" hangingPunct="1">
        <a:defRPr sz="1800" kern="1200">
          <a:solidFill>
            <a:schemeClr val="tx1"/>
          </a:solidFill>
          <a:latin typeface="+mn-lt"/>
          <a:ea typeface="+mn-ea"/>
          <a:cs typeface="+mn-cs"/>
        </a:defRPr>
      </a:lvl4pPr>
      <a:lvl5pPr marL="1825286" algn="l" defTabSz="456269" rtl="0" eaLnBrk="1" latinLnBrk="0" hangingPunct="1">
        <a:defRPr sz="1800" kern="1200">
          <a:solidFill>
            <a:schemeClr val="tx1"/>
          </a:solidFill>
          <a:latin typeface="+mn-lt"/>
          <a:ea typeface="+mn-ea"/>
          <a:cs typeface="+mn-cs"/>
        </a:defRPr>
      </a:lvl5pPr>
      <a:lvl6pPr marL="2281554" algn="l" defTabSz="456269" rtl="0" eaLnBrk="1" latinLnBrk="0" hangingPunct="1">
        <a:defRPr sz="1800" kern="1200">
          <a:solidFill>
            <a:schemeClr val="tx1"/>
          </a:solidFill>
          <a:latin typeface="+mn-lt"/>
          <a:ea typeface="+mn-ea"/>
          <a:cs typeface="+mn-cs"/>
        </a:defRPr>
      </a:lvl6pPr>
      <a:lvl7pPr marL="2737820" algn="l" defTabSz="456269" rtl="0" eaLnBrk="1" latinLnBrk="0" hangingPunct="1">
        <a:defRPr sz="1800" kern="1200">
          <a:solidFill>
            <a:schemeClr val="tx1"/>
          </a:solidFill>
          <a:latin typeface="+mn-lt"/>
          <a:ea typeface="+mn-ea"/>
          <a:cs typeface="+mn-cs"/>
        </a:defRPr>
      </a:lvl7pPr>
      <a:lvl8pPr marL="3194165" algn="l" defTabSz="456269" rtl="0" eaLnBrk="1" latinLnBrk="0" hangingPunct="1">
        <a:defRPr sz="1800" kern="1200">
          <a:solidFill>
            <a:schemeClr val="tx1"/>
          </a:solidFill>
          <a:latin typeface="+mn-lt"/>
          <a:ea typeface="+mn-ea"/>
          <a:cs typeface="+mn-cs"/>
        </a:defRPr>
      </a:lvl8pPr>
      <a:lvl9pPr marL="3650488" algn="l" defTabSz="456269"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62826"/>
      </p:ext>
    </p:extLst>
  </p:cSld>
  <p:clrMap bg1="lt1" tx1="dk1" bg2="lt2" tx2="dk2" accent1="accent1" accent2="accent2" accent3="accent3" accent4="accent4" accent5="accent5" accent6="accent6" hlink="hlink" folHlink="folHlink"/>
  <p:sldLayoutIdLst>
    <p:sldLayoutId id="2147485179" r:id="rId1"/>
    <p:sldLayoutId id="2147485180" r:id="rId2"/>
    <p:sldLayoutId id="2147485181" r:id="rId3"/>
    <p:sldLayoutId id="2147485182" r:id="rId4"/>
    <p:sldLayoutId id="2147485183" r:id="rId5"/>
    <p:sldLayoutId id="2147485184" r:id="rId6"/>
    <p:sldLayoutId id="2147485185" r:id="rId7"/>
    <p:sldLayoutId id="2147485186" r:id="rId8"/>
    <p:sldLayoutId id="2147485187" r:id="rId9"/>
    <p:sldLayoutId id="2147485188" r:id="rId10"/>
    <p:sldLayoutId id="2147485189" r:id="rId11"/>
    <p:sldLayoutId id="2147485190" r:id="rId12"/>
    <p:sldLayoutId id="2147485191" r:id="rId13"/>
    <p:sldLayoutId id="2147485192" r:id="rId14"/>
    <p:sldLayoutId id="2147485193" r:id="rId15"/>
    <p:sldLayoutId id="2147485194" r:id="rId16"/>
  </p:sldLayoutIdLst>
  <p:hf hdr="0" dt="0"/>
  <p:txStyles>
    <p:titleStyle>
      <a:lvl1pPr algn="ctr" defTabSz="912644" rtl="0" eaLnBrk="1" latinLnBrk="0" hangingPunct="1">
        <a:spcBef>
          <a:spcPct val="0"/>
        </a:spcBef>
        <a:buNone/>
        <a:defRPr sz="4400" kern="1200">
          <a:solidFill>
            <a:schemeClr val="tx1"/>
          </a:solidFill>
          <a:latin typeface="+mj-lt"/>
          <a:ea typeface="+mj-ea"/>
          <a:cs typeface="+mj-cs"/>
        </a:defRPr>
      </a:lvl1pPr>
    </p:titleStyle>
    <p:bodyStyle>
      <a:lvl1pPr marL="342200" indent="-342200" algn="l" defTabSz="912644"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1545" indent="-285204" algn="l" defTabSz="912644"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0778" indent="-228132" algn="l" defTabSz="912644"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7080" indent="-228132" algn="l" defTabSz="912644"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3421" indent="-228132" algn="l" defTabSz="912644"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09686" indent="-228132" algn="l" defTabSz="9126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028" indent="-228132" algn="l" defTabSz="9126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330" indent="-228132" algn="l" defTabSz="9126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634" indent="-228132" algn="l" defTabSz="91264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AutoShape 2"/>
          <p:cNvSpPr>
            <a:spLocks/>
          </p:cNvSpPr>
          <p:nvPr/>
        </p:nvSpPr>
        <p:spPr bwMode="auto">
          <a:xfrm>
            <a:off x="372208" y="435769"/>
            <a:ext cx="1676400" cy="376238"/>
          </a:xfrm>
          <a:custGeom>
            <a:avLst/>
            <a:gdLst>
              <a:gd name="T0" fmla="*/ 0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2147483647 w 21600"/>
              <a:gd name="T17" fmla="*/ 2147483647 h 21600"/>
              <a:gd name="T18" fmla="*/ 2147483647 w 21600"/>
              <a:gd name="T19" fmla="*/ 2147483647 h 21600"/>
              <a:gd name="T20" fmla="*/ 2147483647 w 21600"/>
              <a:gd name="T21" fmla="*/ 2147483647 h 21600"/>
              <a:gd name="T22" fmla="*/ 2147483647 w 21600"/>
              <a:gd name="T23" fmla="*/ 2147483647 h 21600"/>
              <a:gd name="T24" fmla="*/ 2147483647 w 21600"/>
              <a:gd name="T25" fmla="*/ 2147483647 h 21600"/>
              <a:gd name="T26" fmla="*/ 2147483647 w 21600"/>
              <a:gd name="T27" fmla="*/ 2147483647 h 21600"/>
              <a:gd name="T28" fmla="*/ 2147483647 w 21600"/>
              <a:gd name="T29" fmla="*/ 2147483647 h 21600"/>
              <a:gd name="T30" fmla="*/ 2147483647 w 21600"/>
              <a:gd name="T31" fmla="*/ 2147483647 h 21600"/>
              <a:gd name="T32" fmla="*/ 2147483647 w 21600"/>
              <a:gd name="T33" fmla="*/ 2147483647 h 21600"/>
              <a:gd name="T34" fmla="*/ 2147483647 w 21600"/>
              <a:gd name="T35" fmla="*/ 2147483647 h 21600"/>
              <a:gd name="T36" fmla="*/ 2147483647 w 21600"/>
              <a:gd name="T37" fmla="*/ 2147483647 h 21600"/>
              <a:gd name="T38" fmla="*/ 2147483647 w 21600"/>
              <a:gd name="T39" fmla="*/ 2147483647 h 21600"/>
              <a:gd name="T40" fmla="*/ 2147483647 w 21600"/>
              <a:gd name="T41" fmla="*/ 2147483647 h 21600"/>
              <a:gd name="T42" fmla="*/ 2147483647 w 21600"/>
              <a:gd name="T43" fmla="*/ 2147483647 h 21600"/>
              <a:gd name="T44" fmla="*/ 2147483647 w 21600"/>
              <a:gd name="T45" fmla="*/ 2147483647 h 21600"/>
              <a:gd name="T46" fmla="*/ 2147483647 w 21600"/>
              <a:gd name="T47" fmla="*/ 2147483647 h 21600"/>
              <a:gd name="T48" fmla="*/ 2147483647 w 21600"/>
              <a:gd name="T49" fmla="*/ 2147483647 h 21600"/>
              <a:gd name="T50" fmla="*/ 2147483647 w 21600"/>
              <a:gd name="T51" fmla="*/ 2147483647 h 21600"/>
              <a:gd name="T52" fmla="*/ 2147483647 w 21600"/>
              <a:gd name="T53" fmla="*/ 2147483647 h 21600"/>
              <a:gd name="T54" fmla="*/ 2147483647 w 21600"/>
              <a:gd name="T55" fmla="*/ 2147483647 h 21600"/>
              <a:gd name="T56" fmla="*/ 2147483647 w 21600"/>
              <a:gd name="T57" fmla="*/ 2147483647 h 21600"/>
              <a:gd name="T58" fmla="*/ 2147483647 w 21600"/>
              <a:gd name="T59" fmla="*/ 2147483647 h 21600"/>
              <a:gd name="T60" fmla="*/ 2147483647 w 21600"/>
              <a:gd name="T61" fmla="*/ 2147483647 h 21600"/>
              <a:gd name="T62" fmla="*/ 2147483647 w 21600"/>
              <a:gd name="T63" fmla="*/ 2147483647 h 21600"/>
              <a:gd name="T64" fmla="*/ 2147483647 w 21600"/>
              <a:gd name="T65" fmla="*/ 2147483647 h 21600"/>
              <a:gd name="T66" fmla="*/ 2147483647 w 21600"/>
              <a:gd name="T67" fmla="*/ 2147483647 h 21600"/>
              <a:gd name="T68" fmla="*/ 2147483647 w 21600"/>
              <a:gd name="T69" fmla="*/ 2147483647 h 21600"/>
              <a:gd name="T70" fmla="*/ 2147483647 w 21600"/>
              <a:gd name="T71" fmla="*/ 2147483647 h 21600"/>
              <a:gd name="T72" fmla="*/ 2147483647 w 21600"/>
              <a:gd name="T73" fmla="*/ 2147483647 h 21600"/>
              <a:gd name="T74" fmla="*/ 2147483647 w 21600"/>
              <a:gd name="T75" fmla="*/ 2147483647 h 21600"/>
              <a:gd name="T76" fmla="*/ 2147483647 w 21600"/>
              <a:gd name="T77" fmla="*/ 2147483647 h 21600"/>
              <a:gd name="T78" fmla="*/ 2147483647 w 21600"/>
              <a:gd name="T79" fmla="*/ 2147483647 h 21600"/>
              <a:gd name="T80" fmla="*/ 2147483647 w 21600"/>
              <a:gd name="T81" fmla="*/ 2147483647 h 21600"/>
              <a:gd name="T82" fmla="*/ 2147483647 w 21600"/>
              <a:gd name="T83" fmla="*/ 2147483647 h 21600"/>
              <a:gd name="T84" fmla="*/ 2147483647 w 21600"/>
              <a:gd name="T85" fmla="*/ 2147483647 h 21600"/>
              <a:gd name="T86" fmla="*/ 2147483647 w 21600"/>
              <a:gd name="T87" fmla="*/ 2147483647 h 21600"/>
              <a:gd name="T88" fmla="*/ 2147483647 w 21600"/>
              <a:gd name="T89" fmla="*/ 2147483647 h 21600"/>
              <a:gd name="T90" fmla="*/ 2147483647 w 21600"/>
              <a:gd name="T91" fmla="*/ 2147483647 h 21600"/>
              <a:gd name="T92" fmla="*/ 2147483647 w 21600"/>
              <a:gd name="T93" fmla="*/ 2147483647 h 21600"/>
              <a:gd name="T94" fmla="*/ 2147483647 w 21600"/>
              <a:gd name="T95" fmla="*/ 2147483647 h 21600"/>
              <a:gd name="T96" fmla="*/ 2147483647 w 21600"/>
              <a:gd name="T97" fmla="*/ 2147483647 h 21600"/>
              <a:gd name="T98" fmla="*/ 2147483647 w 21600"/>
              <a:gd name="T99" fmla="*/ 2147483647 h 21600"/>
              <a:gd name="T100" fmla="*/ 2147483647 w 21600"/>
              <a:gd name="T101" fmla="*/ 2147483647 h 21600"/>
              <a:gd name="T102" fmla="*/ 2147483647 w 21600"/>
              <a:gd name="T103" fmla="*/ 2147483647 h 21600"/>
              <a:gd name="T104" fmla="*/ 2147483647 w 21600"/>
              <a:gd name="T105" fmla="*/ 214748364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600"/>
              <a:gd name="T160" fmla="*/ 0 h 21600"/>
              <a:gd name="T161" fmla="*/ 21600 w 21600"/>
              <a:gd name="T162" fmla="*/ 21600 h 216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600" h="21600">
                <a:moveTo>
                  <a:pt x="21600" y="21064"/>
                </a:moveTo>
                <a:cubicBezTo>
                  <a:pt x="21600" y="20776"/>
                  <a:pt x="16158" y="20540"/>
                  <a:pt x="10801" y="20540"/>
                </a:cubicBezTo>
                <a:cubicBezTo>
                  <a:pt x="5443" y="20540"/>
                  <a:pt x="0" y="20776"/>
                  <a:pt x="0" y="21064"/>
                </a:cubicBezTo>
                <a:cubicBezTo>
                  <a:pt x="0" y="21350"/>
                  <a:pt x="5443" y="21600"/>
                  <a:pt x="10801" y="21600"/>
                </a:cubicBezTo>
                <a:cubicBezTo>
                  <a:pt x="16158" y="21599"/>
                  <a:pt x="21600" y="21350"/>
                  <a:pt x="21600" y="21064"/>
                </a:cubicBezTo>
                <a:close/>
                <a:moveTo>
                  <a:pt x="16099" y="3340"/>
                </a:moveTo>
                <a:cubicBezTo>
                  <a:pt x="16246" y="3334"/>
                  <a:pt x="16394" y="2835"/>
                  <a:pt x="16425" y="2245"/>
                </a:cubicBezTo>
                <a:cubicBezTo>
                  <a:pt x="16461" y="1634"/>
                  <a:pt x="16365" y="1165"/>
                  <a:pt x="16216" y="1179"/>
                </a:cubicBezTo>
                <a:cubicBezTo>
                  <a:pt x="16070" y="1180"/>
                  <a:pt x="15924" y="1670"/>
                  <a:pt x="15889" y="2280"/>
                </a:cubicBezTo>
                <a:cubicBezTo>
                  <a:pt x="15858" y="2875"/>
                  <a:pt x="15949" y="3352"/>
                  <a:pt x="16099" y="3340"/>
                </a:cubicBezTo>
                <a:close/>
                <a:moveTo>
                  <a:pt x="2148" y="6604"/>
                </a:moveTo>
                <a:lnTo>
                  <a:pt x="2183" y="6497"/>
                </a:lnTo>
                <a:cubicBezTo>
                  <a:pt x="2134" y="6207"/>
                  <a:pt x="2116" y="5697"/>
                  <a:pt x="2119" y="5390"/>
                </a:cubicBezTo>
                <a:cubicBezTo>
                  <a:pt x="2136" y="2842"/>
                  <a:pt x="2874" y="1400"/>
                  <a:pt x="4024" y="1400"/>
                </a:cubicBezTo>
                <a:lnTo>
                  <a:pt x="4661" y="1400"/>
                </a:lnTo>
                <a:cubicBezTo>
                  <a:pt x="4291" y="2185"/>
                  <a:pt x="3981" y="3230"/>
                  <a:pt x="3743" y="5197"/>
                </a:cubicBezTo>
                <a:cubicBezTo>
                  <a:pt x="3640" y="6043"/>
                  <a:pt x="3153" y="10591"/>
                  <a:pt x="2954" y="12638"/>
                </a:cubicBezTo>
                <a:cubicBezTo>
                  <a:pt x="2706" y="15072"/>
                  <a:pt x="2548" y="16177"/>
                  <a:pt x="2352" y="16582"/>
                </a:cubicBezTo>
                <a:lnTo>
                  <a:pt x="2385" y="16802"/>
                </a:lnTo>
                <a:cubicBezTo>
                  <a:pt x="2937" y="16925"/>
                  <a:pt x="3266" y="15896"/>
                  <a:pt x="3478" y="13994"/>
                </a:cubicBezTo>
                <a:cubicBezTo>
                  <a:pt x="3680" y="12197"/>
                  <a:pt x="3947" y="9336"/>
                  <a:pt x="4078" y="8064"/>
                </a:cubicBezTo>
                <a:cubicBezTo>
                  <a:pt x="4502" y="3971"/>
                  <a:pt x="4688" y="2248"/>
                  <a:pt x="5026" y="1400"/>
                </a:cubicBezTo>
                <a:cubicBezTo>
                  <a:pt x="5497" y="1389"/>
                  <a:pt x="5951" y="1389"/>
                  <a:pt x="5951" y="1389"/>
                </a:cubicBezTo>
                <a:cubicBezTo>
                  <a:pt x="6458" y="1340"/>
                  <a:pt x="6674" y="880"/>
                  <a:pt x="6832" y="165"/>
                </a:cubicBezTo>
                <a:lnTo>
                  <a:pt x="6796" y="0"/>
                </a:lnTo>
                <a:cubicBezTo>
                  <a:pt x="6670" y="251"/>
                  <a:pt x="6395" y="302"/>
                  <a:pt x="6162" y="303"/>
                </a:cubicBezTo>
                <a:lnTo>
                  <a:pt x="3875" y="303"/>
                </a:lnTo>
                <a:cubicBezTo>
                  <a:pt x="2588" y="303"/>
                  <a:pt x="1799" y="1846"/>
                  <a:pt x="1671" y="4142"/>
                </a:cubicBezTo>
                <a:cubicBezTo>
                  <a:pt x="1608" y="5253"/>
                  <a:pt x="1777" y="6456"/>
                  <a:pt x="2148" y="6604"/>
                </a:cubicBezTo>
                <a:close/>
                <a:moveTo>
                  <a:pt x="6336" y="9602"/>
                </a:moveTo>
                <a:cubicBezTo>
                  <a:pt x="6013" y="11310"/>
                  <a:pt x="5562" y="12860"/>
                  <a:pt x="5174" y="12860"/>
                </a:cubicBezTo>
                <a:cubicBezTo>
                  <a:pt x="5009" y="12881"/>
                  <a:pt x="4936" y="12535"/>
                  <a:pt x="4940" y="11843"/>
                </a:cubicBezTo>
                <a:cubicBezTo>
                  <a:pt x="4940" y="11428"/>
                  <a:pt x="4966" y="10844"/>
                  <a:pt x="4989" y="10550"/>
                </a:cubicBezTo>
                <a:cubicBezTo>
                  <a:pt x="5355" y="9874"/>
                  <a:pt x="5728" y="9115"/>
                  <a:pt x="6060" y="7863"/>
                </a:cubicBezTo>
                <a:cubicBezTo>
                  <a:pt x="6246" y="7137"/>
                  <a:pt x="6370" y="6407"/>
                  <a:pt x="6376" y="5655"/>
                </a:cubicBezTo>
                <a:cubicBezTo>
                  <a:pt x="6380" y="4944"/>
                  <a:pt x="6257" y="4583"/>
                  <a:pt x="6015" y="4569"/>
                </a:cubicBezTo>
                <a:cubicBezTo>
                  <a:pt x="5664" y="4554"/>
                  <a:pt x="5243" y="5429"/>
                  <a:pt x="4968" y="6495"/>
                </a:cubicBezTo>
                <a:cubicBezTo>
                  <a:pt x="4609" y="7927"/>
                  <a:pt x="4332" y="9949"/>
                  <a:pt x="4325" y="11748"/>
                </a:cubicBezTo>
                <a:cubicBezTo>
                  <a:pt x="4321" y="13024"/>
                  <a:pt x="4487" y="14037"/>
                  <a:pt x="4936" y="13977"/>
                </a:cubicBezTo>
                <a:cubicBezTo>
                  <a:pt x="5417" y="13928"/>
                  <a:pt x="5891" y="12574"/>
                  <a:pt x="6133" y="11593"/>
                </a:cubicBezTo>
                <a:cubicBezTo>
                  <a:pt x="6105" y="12014"/>
                  <a:pt x="6085" y="12408"/>
                  <a:pt x="6085" y="12732"/>
                </a:cubicBezTo>
                <a:cubicBezTo>
                  <a:pt x="6085" y="13864"/>
                  <a:pt x="6239" y="14667"/>
                  <a:pt x="6544" y="15009"/>
                </a:cubicBezTo>
                <a:lnTo>
                  <a:pt x="6605" y="14903"/>
                </a:lnTo>
                <a:cubicBezTo>
                  <a:pt x="6578" y="14599"/>
                  <a:pt x="6571" y="14277"/>
                  <a:pt x="6578" y="13919"/>
                </a:cubicBezTo>
                <a:cubicBezTo>
                  <a:pt x="6599" y="12819"/>
                  <a:pt x="6719" y="11576"/>
                  <a:pt x="6894" y="9943"/>
                </a:cubicBezTo>
                <a:cubicBezTo>
                  <a:pt x="7231" y="6855"/>
                  <a:pt x="7720" y="3323"/>
                  <a:pt x="7934" y="1239"/>
                </a:cubicBezTo>
                <a:lnTo>
                  <a:pt x="7422" y="1596"/>
                </a:lnTo>
                <a:cubicBezTo>
                  <a:pt x="7342" y="1656"/>
                  <a:pt x="7292" y="1877"/>
                  <a:pt x="7265" y="2089"/>
                </a:cubicBezTo>
                <a:cubicBezTo>
                  <a:pt x="7018" y="4008"/>
                  <a:pt x="6764" y="6055"/>
                  <a:pt x="6447" y="8720"/>
                </a:cubicBezTo>
                <a:cubicBezTo>
                  <a:pt x="6410" y="9004"/>
                  <a:pt x="6376" y="9305"/>
                  <a:pt x="6336" y="9602"/>
                </a:cubicBezTo>
                <a:close/>
                <a:moveTo>
                  <a:pt x="5856" y="5490"/>
                </a:moveTo>
                <a:cubicBezTo>
                  <a:pt x="5935" y="5490"/>
                  <a:pt x="5963" y="5689"/>
                  <a:pt x="5963" y="5944"/>
                </a:cubicBezTo>
                <a:cubicBezTo>
                  <a:pt x="5963" y="7146"/>
                  <a:pt x="5556" y="8686"/>
                  <a:pt x="5037" y="9810"/>
                </a:cubicBezTo>
                <a:cubicBezTo>
                  <a:pt x="5167" y="7947"/>
                  <a:pt x="5534" y="5472"/>
                  <a:pt x="5856" y="5490"/>
                </a:cubicBezTo>
                <a:close/>
                <a:moveTo>
                  <a:pt x="14619" y="12665"/>
                </a:moveTo>
                <a:cubicBezTo>
                  <a:pt x="14619" y="13518"/>
                  <a:pt x="14767" y="14043"/>
                  <a:pt x="15050" y="14014"/>
                </a:cubicBezTo>
                <a:cubicBezTo>
                  <a:pt x="15344" y="13993"/>
                  <a:pt x="15642" y="13359"/>
                  <a:pt x="15889" y="12489"/>
                </a:cubicBezTo>
                <a:cubicBezTo>
                  <a:pt x="15936" y="13410"/>
                  <a:pt x="16117" y="14077"/>
                  <a:pt x="16488" y="14028"/>
                </a:cubicBezTo>
                <a:cubicBezTo>
                  <a:pt x="16874" y="13977"/>
                  <a:pt x="17243" y="13095"/>
                  <a:pt x="17499" y="12073"/>
                </a:cubicBezTo>
                <a:lnTo>
                  <a:pt x="17499" y="12368"/>
                </a:lnTo>
                <a:cubicBezTo>
                  <a:pt x="17499" y="13315"/>
                  <a:pt x="17633" y="14021"/>
                  <a:pt x="17929" y="14021"/>
                </a:cubicBezTo>
                <a:cubicBezTo>
                  <a:pt x="18248" y="14021"/>
                  <a:pt x="18615" y="13146"/>
                  <a:pt x="18906" y="11641"/>
                </a:cubicBezTo>
                <a:lnTo>
                  <a:pt x="18914" y="11657"/>
                </a:lnTo>
                <a:cubicBezTo>
                  <a:pt x="18888" y="12014"/>
                  <a:pt x="18856" y="12620"/>
                  <a:pt x="18852" y="13025"/>
                </a:cubicBezTo>
                <a:cubicBezTo>
                  <a:pt x="18847" y="14159"/>
                  <a:pt x="19032" y="14816"/>
                  <a:pt x="19289" y="15003"/>
                </a:cubicBezTo>
                <a:lnTo>
                  <a:pt x="19352" y="14911"/>
                </a:lnTo>
                <a:cubicBezTo>
                  <a:pt x="19258" y="14087"/>
                  <a:pt x="19389" y="12036"/>
                  <a:pt x="19444" y="11353"/>
                </a:cubicBezTo>
                <a:cubicBezTo>
                  <a:pt x="19635" y="9107"/>
                  <a:pt x="19938" y="6540"/>
                  <a:pt x="20114" y="5205"/>
                </a:cubicBezTo>
                <a:cubicBezTo>
                  <a:pt x="20034" y="4955"/>
                  <a:pt x="19847" y="4786"/>
                  <a:pt x="19647" y="4753"/>
                </a:cubicBezTo>
                <a:cubicBezTo>
                  <a:pt x="18983" y="4665"/>
                  <a:pt x="18316" y="5664"/>
                  <a:pt x="17830" y="8808"/>
                </a:cubicBezTo>
                <a:cubicBezTo>
                  <a:pt x="17746" y="9356"/>
                  <a:pt x="17655" y="9985"/>
                  <a:pt x="17587" y="10651"/>
                </a:cubicBezTo>
                <a:cubicBezTo>
                  <a:pt x="17518" y="10987"/>
                  <a:pt x="17445" y="11287"/>
                  <a:pt x="17415" y="11395"/>
                </a:cubicBezTo>
                <a:cubicBezTo>
                  <a:pt x="17239" y="12014"/>
                  <a:pt x="16989" y="12807"/>
                  <a:pt x="16735" y="12819"/>
                </a:cubicBezTo>
                <a:cubicBezTo>
                  <a:pt x="16590" y="12829"/>
                  <a:pt x="16510" y="12458"/>
                  <a:pt x="16514" y="11799"/>
                </a:cubicBezTo>
                <a:cubicBezTo>
                  <a:pt x="16516" y="9284"/>
                  <a:pt x="17124" y="5464"/>
                  <a:pt x="17538" y="5454"/>
                </a:cubicBezTo>
                <a:cubicBezTo>
                  <a:pt x="17650" y="5454"/>
                  <a:pt x="17700" y="5635"/>
                  <a:pt x="17700" y="5987"/>
                </a:cubicBezTo>
                <a:cubicBezTo>
                  <a:pt x="17700" y="6406"/>
                  <a:pt x="17621" y="6981"/>
                  <a:pt x="17510" y="7352"/>
                </a:cubicBezTo>
                <a:lnTo>
                  <a:pt x="17558" y="7513"/>
                </a:lnTo>
                <a:cubicBezTo>
                  <a:pt x="17835" y="7124"/>
                  <a:pt x="18093" y="6420"/>
                  <a:pt x="18095" y="5671"/>
                </a:cubicBezTo>
                <a:cubicBezTo>
                  <a:pt x="18095" y="4817"/>
                  <a:pt x="17825" y="4658"/>
                  <a:pt x="17585" y="4665"/>
                </a:cubicBezTo>
                <a:cubicBezTo>
                  <a:pt x="17262" y="4681"/>
                  <a:pt x="16861" y="5257"/>
                  <a:pt x="16539" y="6540"/>
                </a:cubicBezTo>
                <a:cubicBezTo>
                  <a:pt x="16136" y="8149"/>
                  <a:pt x="15927" y="10079"/>
                  <a:pt x="15886" y="11456"/>
                </a:cubicBezTo>
                <a:cubicBezTo>
                  <a:pt x="15702" y="12240"/>
                  <a:pt x="15496" y="12775"/>
                  <a:pt x="15358" y="12781"/>
                </a:cubicBezTo>
                <a:cubicBezTo>
                  <a:pt x="15281" y="12792"/>
                  <a:pt x="15225" y="12639"/>
                  <a:pt x="15224" y="12343"/>
                </a:cubicBezTo>
                <a:cubicBezTo>
                  <a:pt x="15224" y="12081"/>
                  <a:pt x="15266" y="11546"/>
                  <a:pt x="15336" y="10851"/>
                </a:cubicBezTo>
                <a:cubicBezTo>
                  <a:pt x="15515" y="9231"/>
                  <a:pt x="15772" y="7212"/>
                  <a:pt x="16090" y="4811"/>
                </a:cubicBezTo>
                <a:cubicBezTo>
                  <a:pt x="16090" y="4811"/>
                  <a:pt x="15608" y="5106"/>
                  <a:pt x="15538" y="5178"/>
                </a:cubicBezTo>
                <a:cubicBezTo>
                  <a:pt x="15465" y="5246"/>
                  <a:pt x="15409" y="5421"/>
                  <a:pt x="15377" y="5663"/>
                </a:cubicBezTo>
                <a:cubicBezTo>
                  <a:pt x="15170" y="7261"/>
                  <a:pt x="14925" y="9107"/>
                  <a:pt x="14773" y="10483"/>
                </a:cubicBezTo>
                <a:cubicBezTo>
                  <a:pt x="14677" y="11351"/>
                  <a:pt x="14619" y="12173"/>
                  <a:pt x="14619" y="12665"/>
                </a:cubicBezTo>
                <a:close/>
                <a:moveTo>
                  <a:pt x="19138" y="5785"/>
                </a:moveTo>
                <a:cubicBezTo>
                  <a:pt x="19291" y="5520"/>
                  <a:pt x="19420" y="5503"/>
                  <a:pt x="19529" y="5583"/>
                </a:cubicBezTo>
                <a:cubicBezTo>
                  <a:pt x="19488" y="5895"/>
                  <a:pt x="19302" y="7261"/>
                  <a:pt x="19158" y="8490"/>
                </a:cubicBezTo>
                <a:cubicBezTo>
                  <a:pt x="18929" y="10417"/>
                  <a:pt x="18585" y="12362"/>
                  <a:pt x="18267" y="12639"/>
                </a:cubicBezTo>
                <a:cubicBezTo>
                  <a:pt x="18157" y="12754"/>
                  <a:pt x="18093" y="12583"/>
                  <a:pt x="18095" y="12183"/>
                </a:cubicBezTo>
                <a:cubicBezTo>
                  <a:pt x="18104" y="10478"/>
                  <a:pt x="18619" y="6672"/>
                  <a:pt x="19138" y="5785"/>
                </a:cubicBezTo>
                <a:close/>
                <a:moveTo>
                  <a:pt x="7191" y="11749"/>
                </a:moveTo>
                <a:cubicBezTo>
                  <a:pt x="7187" y="12996"/>
                  <a:pt x="7367" y="14037"/>
                  <a:pt x="7828" y="13977"/>
                </a:cubicBezTo>
                <a:cubicBezTo>
                  <a:pt x="8321" y="13929"/>
                  <a:pt x="8771" y="12887"/>
                  <a:pt x="9160" y="11395"/>
                </a:cubicBezTo>
                <a:cubicBezTo>
                  <a:pt x="9062" y="12352"/>
                  <a:pt x="8978" y="13174"/>
                  <a:pt x="8928" y="13618"/>
                </a:cubicBezTo>
                <a:cubicBezTo>
                  <a:pt x="8784" y="14935"/>
                  <a:pt x="8677" y="15997"/>
                  <a:pt x="8456" y="16614"/>
                </a:cubicBezTo>
                <a:lnTo>
                  <a:pt x="8480" y="16775"/>
                </a:lnTo>
                <a:cubicBezTo>
                  <a:pt x="9130" y="16912"/>
                  <a:pt x="9375" y="15243"/>
                  <a:pt x="9643" y="12520"/>
                </a:cubicBezTo>
                <a:cubicBezTo>
                  <a:pt x="9910" y="9793"/>
                  <a:pt x="10137" y="7425"/>
                  <a:pt x="10313" y="5780"/>
                </a:cubicBezTo>
                <a:cubicBezTo>
                  <a:pt x="10598" y="5780"/>
                  <a:pt x="11002" y="5817"/>
                  <a:pt x="11229" y="5631"/>
                </a:cubicBezTo>
                <a:cubicBezTo>
                  <a:pt x="10638" y="6588"/>
                  <a:pt x="10137" y="10023"/>
                  <a:pt x="10196" y="12286"/>
                </a:cubicBezTo>
                <a:cubicBezTo>
                  <a:pt x="10222" y="13286"/>
                  <a:pt x="10386" y="13978"/>
                  <a:pt x="10736" y="13978"/>
                </a:cubicBezTo>
                <a:cubicBezTo>
                  <a:pt x="11413" y="13978"/>
                  <a:pt x="11982" y="11053"/>
                  <a:pt x="12199" y="9126"/>
                </a:cubicBezTo>
                <a:cubicBezTo>
                  <a:pt x="12324" y="8020"/>
                  <a:pt x="12406" y="7075"/>
                  <a:pt x="12420" y="6128"/>
                </a:cubicBezTo>
                <a:cubicBezTo>
                  <a:pt x="12581" y="6026"/>
                  <a:pt x="12735" y="5923"/>
                  <a:pt x="12812" y="5883"/>
                </a:cubicBezTo>
                <a:cubicBezTo>
                  <a:pt x="12960" y="5808"/>
                  <a:pt x="12931" y="6407"/>
                  <a:pt x="12885" y="6856"/>
                </a:cubicBezTo>
                <a:cubicBezTo>
                  <a:pt x="12608" y="9678"/>
                  <a:pt x="12129" y="13774"/>
                  <a:pt x="12127" y="13838"/>
                </a:cubicBezTo>
                <a:lnTo>
                  <a:pt x="12656" y="13838"/>
                </a:lnTo>
                <a:cubicBezTo>
                  <a:pt x="12885" y="12098"/>
                  <a:pt x="13026" y="10986"/>
                  <a:pt x="13209" y="9799"/>
                </a:cubicBezTo>
                <a:cubicBezTo>
                  <a:pt x="13430" y="8408"/>
                  <a:pt x="13922" y="6112"/>
                  <a:pt x="14117" y="6108"/>
                </a:cubicBezTo>
                <a:cubicBezTo>
                  <a:pt x="14187" y="6108"/>
                  <a:pt x="14205" y="6267"/>
                  <a:pt x="14187" y="6515"/>
                </a:cubicBezTo>
                <a:cubicBezTo>
                  <a:pt x="14153" y="7460"/>
                  <a:pt x="13520" y="11075"/>
                  <a:pt x="13530" y="12861"/>
                </a:cubicBezTo>
                <a:cubicBezTo>
                  <a:pt x="13536" y="14028"/>
                  <a:pt x="13704" y="14735"/>
                  <a:pt x="13999" y="15000"/>
                </a:cubicBezTo>
                <a:lnTo>
                  <a:pt x="14060" y="14874"/>
                </a:lnTo>
                <a:cubicBezTo>
                  <a:pt x="14023" y="14619"/>
                  <a:pt x="14018" y="14302"/>
                  <a:pt x="14017" y="13929"/>
                </a:cubicBezTo>
                <a:cubicBezTo>
                  <a:pt x="14012" y="12738"/>
                  <a:pt x="14278" y="10651"/>
                  <a:pt x="14381" y="9842"/>
                </a:cubicBezTo>
                <a:cubicBezTo>
                  <a:pt x="14544" y="8570"/>
                  <a:pt x="14835" y="6713"/>
                  <a:pt x="14816" y="5696"/>
                </a:cubicBezTo>
                <a:cubicBezTo>
                  <a:pt x="14807" y="5197"/>
                  <a:pt x="14704" y="4753"/>
                  <a:pt x="14471" y="4747"/>
                </a:cubicBezTo>
                <a:cubicBezTo>
                  <a:pt x="14040" y="4739"/>
                  <a:pt x="13611" y="6267"/>
                  <a:pt x="13251" y="8318"/>
                </a:cubicBezTo>
                <a:lnTo>
                  <a:pt x="13241" y="8308"/>
                </a:lnTo>
                <a:cubicBezTo>
                  <a:pt x="13385" y="7116"/>
                  <a:pt x="13498" y="6010"/>
                  <a:pt x="13494" y="5471"/>
                </a:cubicBezTo>
                <a:cubicBezTo>
                  <a:pt x="13491" y="4978"/>
                  <a:pt x="13414" y="4785"/>
                  <a:pt x="13253" y="4785"/>
                </a:cubicBezTo>
                <a:cubicBezTo>
                  <a:pt x="13139" y="4797"/>
                  <a:pt x="12985" y="4954"/>
                  <a:pt x="12832" y="5105"/>
                </a:cubicBezTo>
                <a:cubicBezTo>
                  <a:pt x="12619" y="5306"/>
                  <a:pt x="12395" y="5518"/>
                  <a:pt x="12148" y="5706"/>
                </a:cubicBezTo>
                <a:cubicBezTo>
                  <a:pt x="11998" y="5780"/>
                  <a:pt x="11945" y="5882"/>
                  <a:pt x="11950" y="6080"/>
                </a:cubicBezTo>
                <a:cubicBezTo>
                  <a:pt x="11981" y="9212"/>
                  <a:pt x="11397" y="12892"/>
                  <a:pt x="11007" y="12905"/>
                </a:cubicBezTo>
                <a:cubicBezTo>
                  <a:pt x="10840" y="12905"/>
                  <a:pt x="10802" y="12459"/>
                  <a:pt x="10802" y="11843"/>
                </a:cubicBezTo>
                <a:cubicBezTo>
                  <a:pt x="10801" y="9677"/>
                  <a:pt x="11289" y="6041"/>
                  <a:pt x="11765" y="5463"/>
                </a:cubicBezTo>
                <a:cubicBezTo>
                  <a:pt x="11806" y="5421"/>
                  <a:pt x="11847" y="5389"/>
                  <a:pt x="11874" y="5357"/>
                </a:cubicBezTo>
                <a:lnTo>
                  <a:pt x="11935" y="4773"/>
                </a:lnTo>
                <a:cubicBezTo>
                  <a:pt x="11834" y="4850"/>
                  <a:pt x="11593" y="4863"/>
                  <a:pt x="11467" y="4875"/>
                </a:cubicBezTo>
                <a:lnTo>
                  <a:pt x="10421" y="4875"/>
                </a:lnTo>
                <a:cubicBezTo>
                  <a:pt x="10697" y="2471"/>
                  <a:pt x="11085" y="915"/>
                  <a:pt x="11653" y="823"/>
                </a:cubicBezTo>
                <a:cubicBezTo>
                  <a:pt x="12005" y="779"/>
                  <a:pt x="12243" y="1264"/>
                  <a:pt x="12264" y="2003"/>
                </a:cubicBezTo>
                <a:cubicBezTo>
                  <a:pt x="12278" y="2630"/>
                  <a:pt x="12231" y="3141"/>
                  <a:pt x="12093" y="3660"/>
                </a:cubicBezTo>
                <a:lnTo>
                  <a:pt x="12132" y="3802"/>
                </a:lnTo>
                <a:cubicBezTo>
                  <a:pt x="12443" y="3265"/>
                  <a:pt x="12658" y="2353"/>
                  <a:pt x="12659" y="1732"/>
                </a:cubicBezTo>
                <a:cubicBezTo>
                  <a:pt x="12663" y="767"/>
                  <a:pt x="12345" y="175"/>
                  <a:pt x="11837" y="193"/>
                </a:cubicBezTo>
                <a:cubicBezTo>
                  <a:pt x="11191" y="207"/>
                  <a:pt x="10396" y="739"/>
                  <a:pt x="9840" y="4943"/>
                </a:cubicBezTo>
                <a:cubicBezTo>
                  <a:pt x="9674" y="5036"/>
                  <a:pt x="9524" y="5265"/>
                  <a:pt x="9398" y="5758"/>
                </a:cubicBezTo>
                <a:lnTo>
                  <a:pt x="9421" y="5943"/>
                </a:lnTo>
                <a:cubicBezTo>
                  <a:pt x="9511" y="5825"/>
                  <a:pt x="9618" y="5807"/>
                  <a:pt x="9739" y="5807"/>
                </a:cubicBezTo>
                <a:cubicBezTo>
                  <a:pt x="9662" y="6494"/>
                  <a:pt x="9507" y="7990"/>
                  <a:pt x="9354" y="9529"/>
                </a:cubicBezTo>
                <a:cubicBezTo>
                  <a:pt x="8885" y="11784"/>
                  <a:pt x="8415" y="12859"/>
                  <a:pt x="8071" y="12859"/>
                </a:cubicBezTo>
                <a:cubicBezTo>
                  <a:pt x="7883" y="12880"/>
                  <a:pt x="7808" y="12503"/>
                  <a:pt x="7805" y="11842"/>
                </a:cubicBezTo>
                <a:cubicBezTo>
                  <a:pt x="7803" y="11427"/>
                  <a:pt x="7832" y="10850"/>
                  <a:pt x="7854" y="10549"/>
                </a:cubicBezTo>
                <a:cubicBezTo>
                  <a:pt x="8222" y="9873"/>
                  <a:pt x="8592" y="9114"/>
                  <a:pt x="8926" y="7862"/>
                </a:cubicBezTo>
                <a:cubicBezTo>
                  <a:pt x="9110" y="7136"/>
                  <a:pt x="9238" y="6406"/>
                  <a:pt x="9242" y="5654"/>
                </a:cubicBezTo>
                <a:cubicBezTo>
                  <a:pt x="9245" y="4943"/>
                  <a:pt x="9126" y="4582"/>
                  <a:pt x="8880" y="4568"/>
                </a:cubicBezTo>
                <a:cubicBezTo>
                  <a:pt x="8531" y="4553"/>
                  <a:pt x="8109" y="5428"/>
                  <a:pt x="7834" y="6494"/>
                </a:cubicBezTo>
                <a:cubicBezTo>
                  <a:pt x="7475" y="7927"/>
                  <a:pt x="7197" y="9950"/>
                  <a:pt x="7191" y="11749"/>
                </a:cubicBezTo>
                <a:close/>
                <a:moveTo>
                  <a:pt x="8720" y="5490"/>
                </a:moveTo>
                <a:cubicBezTo>
                  <a:pt x="8799" y="5490"/>
                  <a:pt x="8832" y="5689"/>
                  <a:pt x="8832" y="5944"/>
                </a:cubicBezTo>
                <a:cubicBezTo>
                  <a:pt x="8828" y="7146"/>
                  <a:pt x="8425" y="8686"/>
                  <a:pt x="7901" y="9810"/>
                </a:cubicBezTo>
                <a:cubicBezTo>
                  <a:pt x="8033" y="7947"/>
                  <a:pt x="8400" y="5472"/>
                  <a:pt x="8720" y="5490"/>
                </a:cubicBezTo>
                <a:close/>
                <a:moveTo>
                  <a:pt x="8720" y="5490"/>
                </a:moveTo>
              </a:path>
            </a:pathLst>
          </a:custGeom>
          <a:solidFill>
            <a:schemeClr val="accent1"/>
          </a:solidFill>
          <a:ln w="25400">
            <a:noFill/>
            <a:miter lim="800000"/>
            <a:headEnd/>
            <a:tailEnd/>
          </a:ln>
        </p:spPr>
        <p:txBody>
          <a:bodyPr lIns="0" tIns="0" rIns="0" bIns="0"/>
          <a:lstStyle/>
          <a:p>
            <a:pPr defTabSz="912713" fontAlgn="auto">
              <a:spcBef>
                <a:spcPts val="0"/>
              </a:spcBef>
              <a:spcAft>
                <a:spcPts val="0"/>
              </a:spcAft>
            </a:pPr>
            <a:endParaRPr lang="es-ES_tradnl" sz="1800" dirty="0">
              <a:solidFill>
                <a:srgbClr val="003245"/>
              </a:solidFill>
              <a:latin typeface="Trebuchet MS"/>
            </a:endParaRPr>
          </a:p>
        </p:txBody>
      </p:sp>
      <p:grpSp>
        <p:nvGrpSpPr>
          <p:cNvPr id="4099" name="Group 4"/>
          <p:cNvGrpSpPr>
            <a:grpSpLocks/>
          </p:cNvGrpSpPr>
          <p:nvPr/>
        </p:nvGrpSpPr>
        <p:grpSpPr bwMode="auto">
          <a:xfrm>
            <a:off x="7630334" y="4828061"/>
            <a:ext cx="1129811" cy="173831"/>
            <a:chOff x="0" y="0"/>
            <a:chExt cx="591" cy="111"/>
          </a:xfrm>
        </p:grpSpPr>
        <p:sp>
          <p:nvSpPr>
            <p:cNvPr id="2056" name="AutoShape 2"/>
            <p:cNvSpPr>
              <a:spLocks/>
            </p:cNvSpPr>
            <p:nvPr/>
          </p:nvSpPr>
          <p:spPr bwMode="auto">
            <a:xfrm>
              <a:off x="0" y="0"/>
              <a:ext cx="54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600"/>
                <a:gd name="T154" fmla="*/ 0 h 21600"/>
                <a:gd name="T155" fmla="*/ 21600 w 21600"/>
                <a:gd name="T156" fmla="*/ 21600 h 216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600" h="21600">
                  <a:moveTo>
                    <a:pt x="2236" y="9904"/>
                  </a:moveTo>
                  <a:cubicBezTo>
                    <a:pt x="2490" y="10359"/>
                    <a:pt x="2636" y="10997"/>
                    <a:pt x="2734" y="11787"/>
                  </a:cubicBezTo>
                  <a:cubicBezTo>
                    <a:pt x="2833" y="12577"/>
                    <a:pt x="2864" y="13428"/>
                    <a:pt x="2864" y="14460"/>
                  </a:cubicBezTo>
                  <a:cubicBezTo>
                    <a:pt x="2864" y="16952"/>
                    <a:pt x="2688" y="18501"/>
                    <a:pt x="2444" y="19473"/>
                  </a:cubicBezTo>
                  <a:cubicBezTo>
                    <a:pt x="2174" y="20567"/>
                    <a:pt x="1764" y="21175"/>
                    <a:pt x="1105" y="21175"/>
                  </a:cubicBezTo>
                  <a:lnTo>
                    <a:pt x="0" y="21175"/>
                  </a:lnTo>
                  <a:lnTo>
                    <a:pt x="623" y="395"/>
                  </a:lnTo>
                  <a:lnTo>
                    <a:pt x="1717" y="395"/>
                  </a:lnTo>
                  <a:cubicBezTo>
                    <a:pt x="2226" y="395"/>
                    <a:pt x="2480" y="942"/>
                    <a:pt x="2636" y="1671"/>
                  </a:cubicBezTo>
                  <a:cubicBezTo>
                    <a:pt x="2823" y="2552"/>
                    <a:pt x="2885" y="3797"/>
                    <a:pt x="2885" y="4982"/>
                  </a:cubicBezTo>
                  <a:cubicBezTo>
                    <a:pt x="2885" y="7017"/>
                    <a:pt x="2703" y="8871"/>
                    <a:pt x="2236" y="9904"/>
                  </a:cubicBezTo>
                  <a:close/>
                  <a:moveTo>
                    <a:pt x="908" y="17742"/>
                  </a:moveTo>
                  <a:lnTo>
                    <a:pt x="1188" y="17742"/>
                  </a:lnTo>
                  <a:cubicBezTo>
                    <a:pt x="1484" y="17742"/>
                    <a:pt x="1645" y="17529"/>
                    <a:pt x="1775" y="17134"/>
                  </a:cubicBezTo>
                  <a:cubicBezTo>
                    <a:pt x="1920" y="16679"/>
                    <a:pt x="2039" y="15919"/>
                    <a:pt x="2039" y="14643"/>
                  </a:cubicBezTo>
                  <a:cubicBezTo>
                    <a:pt x="2039" y="13792"/>
                    <a:pt x="1987" y="13155"/>
                    <a:pt x="1899" y="12760"/>
                  </a:cubicBezTo>
                  <a:cubicBezTo>
                    <a:pt x="1800" y="12304"/>
                    <a:pt x="1650" y="12091"/>
                    <a:pt x="1437" y="12091"/>
                  </a:cubicBezTo>
                  <a:lnTo>
                    <a:pt x="1079" y="12091"/>
                  </a:lnTo>
                  <a:lnTo>
                    <a:pt x="908" y="17742"/>
                  </a:lnTo>
                  <a:close/>
                  <a:moveTo>
                    <a:pt x="1183" y="8658"/>
                  </a:moveTo>
                  <a:lnTo>
                    <a:pt x="1365" y="8658"/>
                  </a:lnTo>
                  <a:cubicBezTo>
                    <a:pt x="1645" y="8658"/>
                    <a:pt x="1800" y="8324"/>
                    <a:pt x="1909" y="7838"/>
                  </a:cubicBezTo>
                  <a:cubicBezTo>
                    <a:pt x="2018" y="7352"/>
                    <a:pt x="2081" y="6623"/>
                    <a:pt x="2081" y="5742"/>
                  </a:cubicBezTo>
                  <a:cubicBezTo>
                    <a:pt x="2081" y="5134"/>
                    <a:pt x="2055" y="4739"/>
                    <a:pt x="1998" y="4405"/>
                  </a:cubicBezTo>
                  <a:cubicBezTo>
                    <a:pt x="1935" y="4071"/>
                    <a:pt x="1831" y="3828"/>
                    <a:pt x="1603" y="3828"/>
                  </a:cubicBezTo>
                  <a:lnTo>
                    <a:pt x="1328" y="3828"/>
                  </a:lnTo>
                  <a:lnTo>
                    <a:pt x="1183" y="8658"/>
                  </a:lnTo>
                  <a:close/>
                  <a:moveTo>
                    <a:pt x="4140" y="17742"/>
                  </a:moveTo>
                  <a:lnTo>
                    <a:pt x="5749" y="17742"/>
                  </a:lnTo>
                  <a:lnTo>
                    <a:pt x="5650" y="21175"/>
                  </a:lnTo>
                  <a:lnTo>
                    <a:pt x="3227" y="21175"/>
                  </a:lnTo>
                  <a:lnTo>
                    <a:pt x="3850" y="395"/>
                  </a:lnTo>
                  <a:lnTo>
                    <a:pt x="6247" y="395"/>
                  </a:lnTo>
                  <a:lnTo>
                    <a:pt x="6081" y="3828"/>
                  </a:lnTo>
                  <a:lnTo>
                    <a:pt x="4556" y="3828"/>
                  </a:lnTo>
                  <a:lnTo>
                    <a:pt x="4405" y="8871"/>
                  </a:lnTo>
                  <a:lnTo>
                    <a:pt x="5624" y="8871"/>
                  </a:lnTo>
                  <a:lnTo>
                    <a:pt x="5515" y="12425"/>
                  </a:lnTo>
                  <a:lnTo>
                    <a:pt x="4296" y="12425"/>
                  </a:lnTo>
                  <a:lnTo>
                    <a:pt x="4140" y="17742"/>
                  </a:lnTo>
                  <a:close/>
                  <a:moveTo>
                    <a:pt x="8540" y="395"/>
                  </a:moveTo>
                  <a:lnTo>
                    <a:pt x="9298" y="11878"/>
                  </a:lnTo>
                  <a:lnTo>
                    <a:pt x="10792" y="395"/>
                  </a:lnTo>
                  <a:lnTo>
                    <a:pt x="11456" y="395"/>
                  </a:lnTo>
                  <a:lnTo>
                    <a:pt x="10834" y="21175"/>
                  </a:lnTo>
                  <a:lnTo>
                    <a:pt x="10092" y="21175"/>
                  </a:lnTo>
                  <a:lnTo>
                    <a:pt x="10450" y="9053"/>
                  </a:lnTo>
                  <a:lnTo>
                    <a:pt x="9495" y="16436"/>
                  </a:lnTo>
                  <a:lnTo>
                    <a:pt x="8872" y="16436"/>
                  </a:lnTo>
                  <a:lnTo>
                    <a:pt x="8354" y="8658"/>
                  </a:lnTo>
                  <a:lnTo>
                    <a:pt x="7975" y="21175"/>
                  </a:lnTo>
                  <a:lnTo>
                    <a:pt x="7295" y="21175"/>
                  </a:lnTo>
                  <a:lnTo>
                    <a:pt x="7918" y="395"/>
                  </a:lnTo>
                  <a:lnTo>
                    <a:pt x="8540" y="395"/>
                  </a:lnTo>
                  <a:close/>
                  <a:moveTo>
                    <a:pt x="11685" y="13640"/>
                  </a:moveTo>
                  <a:cubicBezTo>
                    <a:pt x="11685" y="10451"/>
                    <a:pt x="11820" y="7321"/>
                    <a:pt x="12058" y="4921"/>
                  </a:cubicBezTo>
                  <a:cubicBezTo>
                    <a:pt x="12380" y="1701"/>
                    <a:pt x="12893" y="0"/>
                    <a:pt x="13610" y="0"/>
                  </a:cubicBezTo>
                  <a:cubicBezTo>
                    <a:pt x="14429" y="0"/>
                    <a:pt x="14990" y="2521"/>
                    <a:pt x="14990" y="7959"/>
                  </a:cubicBezTo>
                  <a:cubicBezTo>
                    <a:pt x="14990" y="11149"/>
                    <a:pt x="14855" y="14278"/>
                    <a:pt x="14616" y="16678"/>
                  </a:cubicBezTo>
                  <a:cubicBezTo>
                    <a:pt x="14295" y="19899"/>
                    <a:pt x="13781" y="21600"/>
                    <a:pt x="13065" y="21600"/>
                  </a:cubicBezTo>
                  <a:cubicBezTo>
                    <a:pt x="12245" y="21600"/>
                    <a:pt x="11685" y="19078"/>
                    <a:pt x="11685" y="13640"/>
                  </a:cubicBezTo>
                  <a:close/>
                  <a:moveTo>
                    <a:pt x="12790" y="6775"/>
                  </a:moveTo>
                  <a:cubicBezTo>
                    <a:pt x="12619" y="8688"/>
                    <a:pt x="12520" y="11180"/>
                    <a:pt x="12520" y="13640"/>
                  </a:cubicBezTo>
                  <a:cubicBezTo>
                    <a:pt x="12520" y="16770"/>
                    <a:pt x="12764" y="17894"/>
                    <a:pt x="13127" y="17894"/>
                  </a:cubicBezTo>
                  <a:cubicBezTo>
                    <a:pt x="13469" y="17894"/>
                    <a:pt x="13713" y="16709"/>
                    <a:pt x="13885" y="14825"/>
                  </a:cubicBezTo>
                  <a:cubicBezTo>
                    <a:pt x="14056" y="12912"/>
                    <a:pt x="14154" y="10420"/>
                    <a:pt x="14154" y="7960"/>
                  </a:cubicBezTo>
                  <a:cubicBezTo>
                    <a:pt x="14154" y="4830"/>
                    <a:pt x="13911" y="3706"/>
                    <a:pt x="13547" y="3706"/>
                  </a:cubicBezTo>
                  <a:cubicBezTo>
                    <a:pt x="13205" y="3706"/>
                    <a:pt x="12961" y="4891"/>
                    <a:pt x="12790" y="6775"/>
                  </a:cubicBezTo>
                  <a:close/>
                  <a:moveTo>
                    <a:pt x="18098" y="10177"/>
                  </a:moveTo>
                  <a:cubicBezTo>
                    <a:pt x="17963" y="11271"/>
                    <a:pt x="17745" y="12182"/>
                    <a:pt x="17459" y="12851"/>
                  </a:cubicBezTo>
                  <a:lnTo>
                    <a:pt x="18009" y="21175"/>
                  </a:lnTo>
                  <a:lnTo>
                    <a:pt x="17143" y="21175"/>
                  </a:lnTo>
                  <a:lnTo>
                    <a:pt x="16728" y="13641"/>
                  </a:lnTo>
                  <a:lnTo>
                    <a:pt x="16251" y="13641"/>
                  </a:lnTo>
                  <a:lnTo>
                    <a:pt x="16027" y="21175"/>
                  </a:lnTo>
                  <a:lnTo>
                    <a:pt x="15218" y="21175"/>
                  </a:lnTo>
                  <a:lnTo>
                    <a:pt x="15841" y="395"/>
                  </a:lnTo>
                  <a:lnTo>
                    <a:pt x="17050" y="395"/>
                  </a:lnTo>
                  <a:cubicBezTo>
                    <a:pt x="17491" y="395"/>
                    <a:pt x="17797" y="942"/>
                    <a:pt x="17989" y="1914"/>
                  </a:cubicBezTo>
                  <a:cubicBezTo>
                    <a:pt x="18202" y="2977"/>
                    <a:pt x="18290" y="4526"/>
                    <a:pt x="18290" y="6319"/>
                  </a:cubicBezTo>
                  <a:cubicBezTo>
                    <a:pt x="18290" y="7807"/>
                    <a:pt x="18227" y="9114"/>
                    <a:pt x="18098" y="10177"/>
                  </a:cubicBezTo>
                  <a:close/>
                  <a:moveTo>
                    <a:pt x="16354" y="10208"/>
                  </a:moveTo>
                  <a:lnTo>
                    <a:pt x="16666" y="10208"/>
                  </a:lnTo>
                  <a:cubicBezTo>
                    <a:pt x="16915" y="10208"/>
                    <a:pt x="17138" y="9934"/>
                    <a:pt x="17288" y="9114"/>
                  </a:cubicBezTo>
                  <a:cubicBezTo>
                    <a:pt x="17408" y="8476"/>
                    <a:pt x="17486" y="7443"/>
                    <a:pt x="17486" y="6349"/>
                  </a:cubicBezTo>
                  <a:cubicBezTo>
                    <a:pt x="17486" y="5651"/>
                    <a:pt x="17454" y="5012"/>
                    <a:pt x="17382" y="4587"/>
                  </a:cubicBezTo>
                  <a:cubicBezTo>
                    <a:pt x="17299" y="4101"/>
                    <a:pt x="17169" y="3828"/>
                    <a:pt x="16951" y="3828"/>
                  </a:cubicBezTo>
                  <a:lnTo>
                    <a:pt x="16546" y="3828"/>
                  </a:lnTo>
                  <a:lnTo>
                    <a:pt x="16354" y="10208"/>
                  </a:lnTo>
                  <a:close/>
                  <a:moveTo>
                    <a:pt x="19493" y="17742"/>
                  </a:moveTo>
                  <a:lnTo>
                    <a:pt x="21102" y="17742"/>
                  </a:lnTo>
                  <a:lnTo>
                    <a:pt x="21003" y="21175"/>
                  </a:lnTo>
                  <a:lnTo>
                    <a:pt x="18580" y="21175"/>
                  </a:lnTo>
                  <a:lnTo>
                    <a:pt x="19203" y="395"/>
                  </a:lnTo>
                  <a:lnTo>
                    <a:pt x="21600" y="395"/>
                  </a:lnTo>
                  <a:lnTo>
                    <a:pt x="21434" y="3828"/>
                  </a:lnTo>
                  <a:lnTo>
                    <a:pt x="19909" y="3828"/>
                  </a:lnTo>
                  <a:lnTo>
                    <a:pt x="19758" y="8871"/>
                  </a:lnTo>
                  <a:lnTo>
                    <a:pt x="20977" y="8871"/>
                  </a:lnTo>
                  <a:lnTo>
                    <a:pt x="20868" y="12425"/>
                  </a:lnTo>
                  <a:lnTo>
                    <a:pt x="19649" y="12425"/>
                  </a:lnTo>
                  <a:lnTo>
                    <a:pt x="19493" y="17742"/>
                  </a:lnTo>
                  <a:close/>
                  <a:moveTo>
                    <a:pt x="19493" y="17742"/>
                  </a:moveTo>
                </a:path>
              </a:pathLst>
            </a:custGeom>
            <a:solidFill>
              <a:schemeClr val="accent1"/>
            </a:solidFill>
            <a:ln w="25400">
              <a:noFill/>
              <a:miter lim="800000"/>
              <a:headEnd/>
              <a:tailEnd/>
            </a:ln>
          </p:spPr>
          <p:txBody>
            <a:bodyPr lIns="0" tIns="0" rIns="0" bIns="0"/>
            <a:lstStyle/>
            <a:p>
              <a:pPr defTabSz="912713" fontAlgn="auto">
                <a:spcBef>
                  <a:spcPts val="0"/>
                </a:spcBef>
                <a:spcAft>
                  <a:spcPts val="0"/>
                </a:spcAft>
              </a:pPr>
              <a:endParaRPr lang="es-ES_tradnl" sz="1800" dirty="0">
                <a:solidFill>
                  <a:srgbClr val="003245"/>
                </a:solidFill>
                <a:latin typeface="Trebuchet MS"/>
              </a:endParaRPr>
            </a:p>
          </p:txBody>
        </p:sp>
        <p:sp>
          <p:nvSpPr>
            <p:cNvPr id="2057" name="AutoShape 3"/>
            <p:cNvSpPr>
              <a:spLocks/>
            </p:cNvSpPr>
            <p:nvPr/>
          </p:nvSpPr>
          <p:spPr bwMode="auto">
            <a:xfrm>
              <a:off x="533" y="98"/>
              <a:ext cx="58" cy="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1600"/>
                  </a:moveTo>
                  <a:lnTo>
                    <a:pt x="870" y="0"/>
                  </a:lnTo>
                  <a:lnTo>
                    <a:pt x="21600" y="0"/>
                  </a:lnTo>
                  <a:lnTo>
                    <a:pt x="20730" y="21600"/>
                  </a:lnTo>
                  <a:lnTo>
                    <a:pt x="0" y="21600"/>
                  </a:lnTo>
                  <a:close/>
                  <a:moveTo>
                    <a:pt x="0" y="21600"/>
                  </a:moveTo>
                </a:path>
              </a:pathLst>
            </a:custGeom>
            <a:solidFill>
              <a:srgbClr val="7DFE9D"/>
            </a:solidFill>
            <a:ln w="25400">
              <a:noFill/>
              <a:miter lim="800000"/>
              <a:headEnd/>
              <a:tailEnd/>
            </a:ln>
          </p:spPr>
          <p:txBody>
            <a:bodyPr lIns="0" tIns="0" rIns="0" bIns="0"/>
            <a:lstStyle/>
            <a:p>
              <a:pPr defTabSz="912713" fontAlgn="auto">
                <a:spcBef>
                  <a:spcPts val="0"/>
                </a:spcBef>
                <a:spcAft>
                  <a:spcPts val="0"/>
                </a:spcAft>
              </a:pPr>
              <a:endParaRPr lang="es-ES_tradnl" sz="1800" dirty="0">
                <a:solidFill>
                  <a:srgbClr val="003245"/>
                </a:solidFill>
                <a:latin typeface="Trebuchet MS"/>
              </a:endParaRPr>
            </a:p>
          </p:txBody>
        </p:sp>
      </p:grpSp>
      <p:sp>
        <p:nvSpPr>
          <p:cNvPr id="2" name="Footer Placeholder 1"/>
          <p:cNvSpPr>
            <a:spLocks noGrp="1"/>
          </p:cNvSpPr>
          <p:nvPr>
            <p:ph type="ftr" sz="quarter" idx="3"/>
          </p:nvPr>
        </p:nvSpPr>
        <p:spPr>
          <a:xfrm>
            <a:off x="4788024" y="4767264"/>
            <a:ext cx="2736304" cy="273844"/>
          </a:xfrm>
          <a:prstGeom prst="rect">
            <a:avLst/>
          </a:prstGeom>
        </p:spPr>
        <p:txBody>
          <a:bodyPr vert="horz" lIns="0" tIns="0" rIns="0" bIns="0" rtlCol="0" anchor="t" anchorCtr="0"/>
          <a:lstStyle>
            <a:lvl1pPr algn="l">
              <a:defRPr sz="1000">
                <a:solidFill>
                  <a:schemeClr val="tx1"/>
                </a:solidFill>
              </a:defRPr>
            </a:lvl1pPr>
          </a:lstStyle>
          <a:p>
            <a:pPr defTabSz="912713" fontAlgn="auto">
              <a:spcBef>
                <a:spcPts val="0"/>
              </a:spcBef>
              <a:spcAft>
                <a:spcPts val="0"/>
              </a:spcAft>
            </a:pPr>
            <a:r>
              <a:rPr lang="en-GB">
                <a:solidFill>
                  <a:srgbClr val="003245"/>
                </a:solidFill>
                <a:latin typeface="Trebuchet MS"/>
              </a:rPr>
              <a:t>Internal Use Only</a:t>
            </a:r>
            <a:endParaRPr lang="en-GB" dirty="0">
              <a:solidFill>
                <a:srgbClr val="003245"/>
              </a:solidFill>
              <a:latin typeface="Trebuchet MS"/>
            </a:endParaRPr>
          </a:p>
        </p:txBody>
      </p:sp>
    </p:spTree>
    <p:extLst>
      <p:ext uri="{BB962C8B-B14F-4D97-AF65-F5344CB8AC3E}">
        <p14:creationId xmlns:p14="http://schemas.microsoft.com/office/powerpoint/2010/main" val="4238404541"/>
      </p:ext>
    </p:extLst>
  </p:cSld>
  <p:clrMap bg1="lt1" tx1="dk1" bg2="lt2" tx2="dk2" accent1="accent1" accent2="accent2" accent3="accent3" accent4="accent4" accent5="accent5" accent6="accent6" hlink="hlink" folHlink="folHlink"/>
  <p:sldLayoutIdLst>
    <p:sldLayoutId id="2147485196" r:id="rId1"/>
  </p:sldLayoutIdLst>
  <p:transition/>
  <p:hf hdr="0" dt="0"/>
  <p:txStyles>
    <p:titleStyle>
      <a:lvl1pPr algn="ctr" rtl="0" eaLnBrk="0" fontAlgn="base" hangingPunct="0">
        <a:spcBef>
          <a:spcPct val="0"/>
        </a:spcBef>
        <a:spcAft>
          <a:spcPct val="0"/>
        </a:spcAft>
        <a:defRPr sz="5800">
          <a:solidFill>
            <a:schemeClr val="tx1"/>
          </a:solidFill>
          <a:latin typeface="+mj-lt"/>
          <a:ea typeface="+mj-ea"/>
          <a:cs typeface="+mj-cs"/>
          <a:sym typeface="Gill Sans" pitchFamily="-84"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5pPr>
      <a:lvl6pPr marL="456302"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2713"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6905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5424"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342227" indent="-342227" algn="ctr" rtl="0" eaLnBrk="0" fontAlgn="base" hangingPunct="0">
        <a:spcBef>
          <a:spcPct val="0"/>
        </a:spcBef>
        <a:spcAft>
          <a:spcPct val="0"/>
        </a:spcAft>
        <a:defRPr sz="2400">
          <a:solidFill>
            <a:schemeClr val="tx1"/>
          </a:solidFill>
          <a:latin typeface="+mn-lt"/>
          <a:ea typeface="+mn-ea"/>
          <a:cs typeface="+mn-cs"/>
          <a:sym typeface="Gill Sans" pitchFamily="-84" charset="0"/>
        </a:defRPr>
      </a:lvl1pPr>
      <a:lvl2pPr marL="741599" indent="-285225" algn="ctr" rtl="0" eaLnBrk="0" fontAlgn="base" hangingPunct="0">
        <a:spcBef>
          <a:spcPct val="0"/>
        </a:spcBef>
        <a:spcAft>
          <a:spcPct val="0"/>
        </a:spcAft>
        <a:defRPr sz="2400">
          <a:solidFill>
            <a:schemeClr val="tx1"/>
          </a:solidFill>
          <a:latin typeface="+mn-lt"/>
          <a:ea typeface="+mn-ea"/>
          <a:cs typeface="+mn-cs"/>
          <a:sym typeface="Gill Sans" pitchFamily="-84" charset="0"/>
        </a:defRPr>
      </a:lvl2pPr>
      <a:lvl3pPr marL="1140863" indent="-228150" algn="ctr" rtl="0" eaLnBrk="0" fontAlgn="base" hangingPunct="0">
        <a:spcBef>
          <a:spcPct val="0"/>
        </a:spcBef>
        <a:spcAft>
          <a:spcPct val="0"/>
        </a:spcAft>
        <a:defRPr sz="2400">
          <a:solidFill>
            <a:schemeClr val="tx1"/>
          </a:solidFill>
          <a:latin typeface="+mn-lt"/>
          <a:ea typeface="+mn-ea"/>
          <a:cs typeface="+mn-cs"/>
          <a:sym typeface="Gill Sans" pitchFamily="-84" charset="0"/>
        </a:defRPr>
      </a:lvl3pPr>
      <a:lvl4pPr marL="1597200" indent="-228150" algn="ctr" rtl="0" eaLnBrk="0" fontAlgn="base" hangingPunct="0">
        <a:spcBef>
          <a:spcPct val="0"/>
        </a:spcBef>
        <a:spcAft>
          <a:spcPct val="0"/>
        </a:spcAft>
        <a:defRPr sz="2400">
          <a:solidFill>
            <a:schemeClr val="tx1"/>
          </a:solidFill>
          <a:latin typeface="+mn-lt"/>
          <a:ea typeface="+mn-ea"/>
          <a:cs typeface="+mn-cs"/>
          <a:sym typeface="Gill Sans" pitchFamily="-84" charset="0"/>
        </a:defRPr>
      </a:lvl4pPr>
      <a:lvl5pPr marL="2053574" indent="-228150" algn="ctr" rtl="0" eaLnBrk="0" fontAlgn="base" hangingPunct="0">
        <a:spcBef>
          <a:spcPct val="0"/>
        </a:spcBef>
        <a:spcAft>
          <a:spcPct val="0"/>
        </a:spcAft>
        <a:defRPr sz="2400">
          <a:solidFill>
            <a:schemeClr val="tx1"/>
          </a:solidFill>
          <a:latin typeface="+mn-lt"/>
          <a:ea typeface="+mn-ea"/>
          <a:cs typeface="+mn-cs"/>
          <a:sym typeface="Gill Sans" pitchFamily="-84" charset="0"/>
        </a:defRPr>
      </a:lvl5pPr>
      <a:lvl6pPr marL="456302" algn="ctr" rtl="0" fontAlgn="base">
        <a:spcBef>
          <a:spcPct val="0"/>
        </a:spcBef>
        <a:spcAft>
          <a:spcPct val="0"/>
        </a:spcAft>
        <a:defRPr sz="2400">
          <a:solidFill>
            <a:schemeClr val="tx1"/>
          </a:solidFill>
          <a:latin typeface="+mn-lt"/>
          <a:ea typeface="+mn-ea"/>
          <a:cs typeface="+mn-cs"/>
          <a:sym typeface="Gill Sans" charset="0"/>
        </a:defRPr>
      </a:lvl6pPr>
      <a:lvl7pPr marL="912713" algn="ctr" rtl="0" fontAlgn="base">
        <a:spcBef>
          <a:spcPct val="0"/>
        </a:spcBef>
        <a:spcAft>
          <a:spcPct val="0"/>
        </a:spcAft>
        <a:defRPr sz="2400">
          <a:solidFill>
            <a:schemeClr val="tx1"/>
          </a:solidFill>
          <a:latin typeface="+mn-lt"/>
          <a:ea typeface="+mn-ea"/>
          <a:cs typeface="+mn-cs"/>
          <a:sym typeface="Gill Sans" charset="0"/>
        </a:defRPr>
      </a:lvl7pPr>
      <a:lvl8pPr marL="1369050" algn="ctr" rtl="0" fontAlgn="base">
        <a:spcBef>
          <a:spcPct val="0"/>
        </a:spcBef>
        <a:spcAft>
          <a:spcPct val="0"/>
        </a:spcAft>
        <a:defRPr sz="2400">
          <a:solidFill>
            <a:schemeClr val="tx1"/>
          </a:solidFill>
          <a:latin typeface="+mn-lt"/>
          <a:ea typeface="+mn-ea"/>
          <a:cs typeface="+mn-cs"/>
          <a:sym typeface="Gill Sans" charset="0"/>
        </a:defRPr>
      </a:lvl8pPr>
      <a:lvl9pPr marL="1825424" algn="ctr" rtl="0" fontAlgn="base">
        <a:spcBef>
          <a:spcPct val="0"/>
        </a:spcBef>
        <a:spcAft>
          <a:spcPct val="0"/>
        </a:spcAft>
        <a:defRPr sz="2400">
          <a:solidFill>
            <a:schemeClr val="tx1"/>
          </a:solidFill>
          <a:latin typeface="+mn-lt"/>
          <a:ea typeface="+mn-ea"/>
          <a:cs typeface="+mn-cs"/>
          <a:sym typeface="Gill Sans" charset="0"/>
        </a:defRPr>
      </a:lvl9pPr>
    </p:bodyStyle>
    <p:otherStyle>
      <a:defPPr>
        <a:defRPr lang="es-ES"/>
      </a:defPPr>
      <a:lvl1pPr marL="0" algn="l" defTabSz="456302" rtl="0" eaLnBrk="1" latinLnBrk="0" hangingPunct="1">
        <a:defRPr sz="1800" kern="1200">
          <a:solidFill>
            <a:schemeClr val="tx1"/>
          </a:solidFill>
          <a:latin typeface="+mn-lt"/>
          <a:ea typeface="+mn-ea"/>
          <a:cs typeface="+mn-cs"/>
        </a:defRPr>
      </a:lvl1pPr>
      <a:lvl2pPr marL="456302" algn="l" defTabSz="456302" rtl="0" eaLnBrk="1" latinLnBrk="0" hangingPunct="1">
        <a:defRPr sz="1800" kern="1200">
          <a:solidFill>
            <a:schemeClr val="tx1"/>
          </a:solidFill>
          <a:latin typeface="+mn-lt"/>
          <a:ea typeface="+mn-ea"/>
          <a:cs typeface="+mn-cs"/>
        </a:defRPr>
      </a:lvl2pPr>
      <a:lvl3pPr marL="912713" algn="l" defTabSz="456302" rtl="0" eaLnBrk="1" latinLnBrk="0" hangingPunct="1">
        <a:defRPr sz="1800" kern="1200">
          <a:solidFill>
            <a:schemeClr val="tx1"/>
          </a:solidFill>
          <a:latin typeface="+mn-lt"/>
          <a:ea typeface="+mn-ea"/>
          <a:cs typeface="+mn-cs"/>
        </a:defRPr>
      </a:lvl3pPr>
      <a:lvl4pPr marL="1369050" algn="l" defTabSz="456302" rtl="0" eaLnBrk="1" latinLnBrk="0" hangingPunct="1">
        <a:defRPr sz="1800" kern="1200">
          <a:solidFill>
            <a:schemeClr val="tx1"/>
          </a:solidFill>
          <a:latin typeface="+mn-lt"/>
          <a:ea typeface="+mn-ea"/>
          <a:cs typeface="+mn-cs"/>
        </a:defRPr>
      </a:lvl4pPr>
      <a:lvl5pPr marL="1825424" algn="l" defTabSz="456302" rtl="0" eaLnBrk="1" latinLnBrk="0" hangingPunct="1">
        <a:defRPr sz="1800" kern="1200">
          <a:solidFill>
            <a:schemeClr val="tx1"/>
          </a:solidFill>
          <a:latin typeface="+mn-lt"/>
          <a:ea typeface="+mn-ea"/>
          <a:cs typeface="+mn-cs"/>
        </a:defRPr>
      </a:lvl5pPr>
      <a:lvl6pPr marL="2281725" algn="l" defTabSz="456302" rtl="0" eaLnBrk="1" latinLnBrk="0" hangingPunct="1">
        <a:defRPr sz="1800" kern="1200">
          <a:solidFill>
            <a:schemeClr val="tx1"/>
          </a:solidFill>
          <a:latin typeface="+mn-lt"/>
          <a:ea typeface="+mn-ea"/>
          <a:cs typeface="+mn-cs"/>
        </a:defRPr>
      </a:lvl6pPr>
      <a:lvl7pPr marL="2738027" algn="l" defTabSz="456302" rtl="0" eaLnBrk="1" latinLnBrk="0" hangingPunct="1">
        <a:defRPr sz="1800" kern="1200">
          <a:solidFill>
            <a:schemeClr val="tx1"/>
          </a:solidFill>
          <a:latin typeface="+mn-lt"/>
          <a:ea typeface="+mn-ea"/>
          <a:cs typeface="+mn-cs"/>
        </a:defRPr>
      </a:lvl7pPr>
      <a:lvl8pPr marL="3194403" algn="l" defTabSz="456302" rtl="0" eaLnBrk="1" latinLnBrk="0" hangingPunct="1">
        <a:defRPr sz="1800" kern="1200">
          <a:solidFill>
            <a:schemeClr val="tx1"/>
          </a:solidFill>
          <a:latin typeface="+mn-lt"/>
          <a:ea typeface="+mn-ea"/>
          <a:cs typeface="+mn-cs"/>
        </a:defRPr>
      </a:lvl8pPr>
      <a:lvl9pPr marL="3650761" algn="l" defTabSz="45630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4099" name="Group 4"/>
          <p:cNvGrpSpPr>
            <a:grpSpLocks/>
          </p:cNvGrpSpPr>
          <p:nvPr/>
        </p:nvGrpSpPr>
        <p:grpSpPr bwMode="auto">
          <a:xfrm>
            <a:off x="7630334" y="4828061"/>
            <a:ext cx="1129811" cy="173831"/>
            <a:chOff x="0" y="0"/>
            <a:chExt cx="591" cy="111"/>
          </a:xfrm>
        </p:grpSpPr>
        <p:sp>
          <p:nvSpPr>
            <p:cNvPr id="2056" name="AutoShape 2"/>
            <p:cNvSpPr>
              <a:spLocks/>
            </p:cNvSpPr>
            <p:nvPr/>
          </p:nvSpPr>
          <p:spPr bwMode="auto">
            <a:xfrm>
              <a:off x="0" y="0"/>
              <a:ext cx="54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600"/>
                <a:gd name="T154" fmla="*/ 0 h 21600"/>
                <a:gd name="T155" fmla="*/ 21600 w 21600"/>
                <a:gd name="T156" fmla="*/ 21600 h 216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600" h="21600">
                  <a:moveTo>
                    <a:pt x="2236" y="9904"/>
                  </a:moveTo>
                  <a:cubicBezTo>
                    <a:pt x="2490" y="10359"/>
                    <a:pt x="2636" y="10997"/>
                    <a:pt x="2734" y="11787"/>
                  </a:cubicBezTo>
                  <a:cubicBezTo>
                    <a:pt x="2833" y="12577"/>
                    <a:pt x="2864" y="13428"/>
                    <a:pt x="2864" y="14460"/>
                  </a:cubicBezTo>
                  <a:cubicBezTo>
                    <a:pt x="2864" y="16952"/>
                    <a:pt x="2688" y="18501"/>
                    <a:pt x="2444" y="19473"/>
                  </a:cubicBezTo>
                  <a:cubicBezTo>
                    <a:pt x="2174" y="20567"/>
                    <a:pt x="1764" y="21175"/>
                    <a:pt x="1105" y="21175"/>
                  </a:cubicBezTo>
                  <a:lnTo>
                    <a:pt x="0" y="21175"/>
                  </a:lnTo>
                  <a:lnTo>
                    <a:pt x="623" y="395"/>
                  </a:lnTo>
                  <a:lnTo>
                    <a:pt x="1717" y="395"/>
                  </a:lnTo>
                  <a:cubicBezTo>
                    <a:pt x="2226" y="395"/>
                    <a:pt x="2480" y="942"/>
                    <a:pt x="2636" y="1671"/>
                  </a:cubicBezTo>
                  <a:cubicBezTo>
                    <a:pt x="2823" y="2552"/>
                    <a:pt x="2885" y="3797"/>
                    <a:pt x="2885" y="4982"/>
                  </a:cubicBezTo>
                  <a:cubicBezTo>
                    <a:pt x="2885" y="7017"/>
                    <a:pt x="2703" y="8871"/>
                    <a:pt x="2236" y="9904"/>
                  </a:cubicBezTo>
                  <a:close/>
                  <a:moveTo>
                    <a:pt x="908" y="17742"/>
                  </a:moveTo>
                  <a:lnTo>
                    <a:pt x="1188" y="17742"/>
                  </a:lnTo>
                  <a:cubicBezTo>
                    <a:pt x="1484" y="17742"/>
                    <a:pt x="1645" y="17529"/>
                    <a:pt x="1775" y="17134"/>
                  </a:cubicBezTo>
                  <a:cubicBezTo>
                    <a:pt x="1920" y="16679"/>
                    <a:pt x="2039" y="15919"/>
                    <a:pt x="2039" y="14643"/>
                  </a:cubicBezTo>
                  <a:cubicBezTo>
                    <a:pt x="2039" y="13792"/>
                    <a:pt x="1987" y="13155"/>
                    <a:pt x="1899" y="12760"/>
                  </a:cubicBezTo>
                  <a:cubicBezTo>
                    <a:pt x="1800" y="12304"/>
                    <a:pt x="1650" y="12091"/>
                    <a:pt x="1437" y="12091"/>
                  </a:cubicBezTo>
                  <a:lnTo>
                    <a:pt x="1079" y="12091"/>
                  </a:lnTo>
                  <a:lnTo>
                    <a:pt x="908" y="17742"/>
                  </a:lnTo>
                  <a:close/>
                  <a:moveTo>
                    <a:pt x="1183" y="8658"/>
                  </a:moveTo>
                  <a:lnTo>
                    <a:pt x="1365" y="8658"/>
                  </a:lnTo>
                  <a:cubicBezTo>
                    <a:pt x="1645" y="8658"/>
                    <a:pt x="1800" y="8324"/>
                    <a:pt x="1909" y="7838"/>
                  </a:cubicBezTo>
                  <a:cubicBezTo>
                    <a:pt x="2018" y="7352"/>
                    <a:pt x="2081" y="6623"/>
                    <a:pt x="2081" y="5742"/>
                  </a:cubicBezTo>
                  <a:cubicBezTo>
                    <a:pt x="2081" y="5134"/>
                    <a:pt x="2055" y="4739"/>
                    <a:pt x="1998" y="4405"/>
                  </a:cubicBezTo>
                  <a:cubicBezTo>
                    <a:pt x="1935" y="4071"/>
                    <a:pt x="1831" y="3828"/>
                    <a:pt x="1603" y="3828"/>
                  </a:cubicBezTo>
                  <a:lnTo>
                    <a:pt x="1328" y="3828"/>
                  </a:lnTo>
                  <a:lnTo>
                    <a:pt x="1183" y="8658"/>
                  </a:lnTo>
                  <a:close/>
                  <a:moveTo>
                    <a:pt x="4140" y="17742"/>
                  </a:moveTo>
                  <a:lnTo>
                    <a:pt x="5749" y="17742"/>
                  </a:lnTo>
                  <a:lnTo>
                    <a:pt x="5650" y="21175"/>
                  </a:lnTo>
                  <a:lnTo>
                    <a:pt x="3227" y="21175"/>
                  </a:lnTo>
                  <a:lnTo>
                    <a:pt x="3850" y="395"/>
                  </a:lnTo>
                  <a:lnTo>
                    <a:pt x="6247" y="395"/>
                  </a:lnTo>
                  <a:lnTo>
                    <a:pt x="6081" y="3828"/>
                  </a:lnTo>
                  <a:lnTo>
                    <a:pt x="4556" y="3828"/>
                  </a:lnTo>
                  <a:lnTo>
                    <a:pt x="4405" y="8871"/>
                  </a:lnTo>
                  <a:lnTo>
                    <a:pt x="5624" y="8871"/>
                  </a:lnTo>
                  <a:lnTo>
                    <a:pt x="5515" y="12425"/>
                  </a:lnTo>
                  <a:lnTo>
                    <a:pt x="4296" y="12425"/>
                  </a:lnTo>
                  <a:lnTo>
                    <a:pt x="4140" y="17742"/>
                  </a:lnTo>
                  <a:close/>
                  <a:moveTo>
                    <a:pt x="8540" y="395"/>
                  </a:moveTo>
                  <a:lnTo>
                    <a:pt x="9298" y="11878"/>
                  </a:lnTo>
                  <a:lnTo>
                    <a:pt x="10792" y="395"/>
                  </a:lnTo>
                  <a:lnTo>
                    <a:pt x="11456" y="395"/>
                  </a:lnTo>
                  <a:lnTo>
                    <a:pt x="10834" y="21175"/>
                  </a:lnTo>
                  <a:lnTo>
                    <a:pt x="10092" y="21175"/>
                  </a:lnTo>
                  <a:lnTo>
                    <a:pt x="10450" y="9053"/>
                  </a:lnTo>
                  <a:lnTo>
                    <a:pt x="9495" y="16436"/>
                  </a:lnTo>
                  <a:lnTo>
                    <a:pt x="8872" y="16436"/>
                  </a:lnTo>
                  <a:lnTo>
                    <a:pt x="8354" y="8658"/>
                  </a:lnTo>
                  <a:lnTo>
                    <a:pt x="7975" y="21175"/>
                  </a:lnTo>
                  <a:lnTo>
                    <a:pt x="7295" y="21175"/>
                  </a:lnTo>
                  <a:lnTo>
                    <a:pt x="7918" y="395"/>
                  </a:lnTo>
                  <a:lnTo>
                    <a:pt x="8540" y="395"/>
                  </a:lnTo>
                  <a:close/>
                  <a:moveTo>
                    <a:pt x="11685" y="13640"/>
                  </a:moveTo>
                  <a:cubicBezTo>
                    <a:pt x="11685" y="10451"/>
                    <a:pt x="11820" y="7321"/>
                    <a:pt x="12058" y="4921"/>
                  </a:cubicBezTo>
                  <a:cubicBezTo>
                    <a:pt x="12380" y="1701"/>
                    <a:pt x="12893" y="0"/>
                    <a:pt x="13610" y="0"/>
                  </a:cubicBezTo>
                  <a:cubicBezTo>
                    <a:pt x="14429" y="0"/>
                    <a:pt x="14990" y="2521"/>
                    <a:pt x="14990" y="7959"/>
                  </a:cubicBezTo>
                  <a:cubicBezTo>
                    <a:pt x="14990" y="11149"/>
                    <a:pt x="14855" y="14278"/>
                    <a:pt x="14616" y="16678"/>
                  </a:cubicBezTo>
                  <a:cubicBezTo>
                    <a:pt x="14295" y="19899"/>
                    <a:pt x="13781" y="21600"/>
                    <a:pt x="13065" y="21600"/>
                  </a:cubicBezTo>
                  <a:cubicBezTo>
                    <a:pt x="12245" y="21600"/>
                    <a:pt x="11685" y="19078"/>
                    <a:pt x="11685" y="13640"/>
                  </a:cubicBezTo>
                  <a:close/>
                  <a:moveTo>
                    <a:pt x="12790" y="6775"/>
                  </a:moveTo>
                  <a:cubicBezTo>
                    <a:pt x="12619" y="8688"/>
                    <a:pt x="12520" y="11180"/>
                    <a:pt x="12520" y="13640"/>
                  </a:cubicBezTo>
                  <a:cubicBezTo>
                    <a:pt x="12520" y="16770"/>
                    <a:pt x="12764" y="17894"/>
                    <a:pt x="13127" y="17894"/>
                  </a:cubicBezTo>
                  <a:cubicBezTo>
                    <a:pt x="13469" y="17894"/>
                    <a:pt x="13713" y="16709"/>
                    <a:pt x="13885" y="14825"/>
                  </a:cubicBezTo>
                  <a:cubicBezTo>
                    <a:pt x="14056" y="12912"/>
                    <a:pt x="14154" y="10420"/>
                    <a:pt x="14154" y="7960"/>
                  </a:cubicBezTo>
                  <a:cubicBezTo>
                    <a:pt x="14154" y="4830"/>
                    <a:pt x="13911" y="3706"/>
                    <a:pt x="13547" y="3706"/>
                  </a:cubicBezTo>
                  <a:cubicBezTo>
                    <a:pt x="13205" y="3706"/>
                    <a:pt x="12961" y="4891"/>
                    <a:pt x="12790" y="6775"/>
                  </a:cubicBezTo>
                  <a:close/>
                  <a:moveTo>
                    <a:pt x="18098" y="10177"/>
                  </a:moveTo>
                  <a:cubicBezTo>
                    <a:pt x="17963" y="11271"/>
                    <a:pt x="17745" y="12182"/>
                    <a:pt x="17459" y="12851"/>
                  </a:cubicBezTo>
                  <a:lnTo>
                    <a:pt x="18009" y="21175"/>
                  </a:lnTo>
                  <a:lnTo>
                    <a:pt x="17143" y="21175"/>
                  </a:lnTo>
                  <a:lnTo>
                    <a:pt x="16728" y="13641"/>
                  </a:lnTo>
                  <a:lnTo>
                    <a:pt x="16251" y="13641"/>
                  </a:lnTo>
                  <a:lnTo>
                    <a:pt x="16027" y="21175"/>
                  </a:lnTo>
                  <a:lnTo>
                    <a:pt x="15218" y="21175"/>
                  </a:lnTo>
                  <a:lnTo>
                    <a:pt x="15841" y="395"/>
                  </a:lnTo>
                  <a:lnTo>
                    <a:pt x="17050" y="395"/>
                  </a:lnTo>
                  <a:cubicBezTo>
                    <a:pt x="17491" y="395"/>
                    <a:pt x="17797" y="942"/>
                    <a:pt x="17989" y="1914"/>
                  </a:cubicBezTo>
                  <a:cubicBezTo>
                    <a:pt x="18202" y="2977"/>
                    <a:pt x="18290" y="4526"/>
                    <a:pt x="18290" y="6319"/>
                  </a:cubicBezTo>
                  <a:cubicBezTo>
                    <a:pt x="18290" y="7807"/>
                    <a:pt x="18227" y="9114"/>
                    <a:pt x="18098" y="10177"/>
                  </a:cubicBezTo>
                  <a:close/>
                  <a:moveTo>
                    <a:pt x="16354" y="10208"/>
                  </a:moveTo>
                  <a:lnTo>
                    <a:pt x="16666" y="10208"/>
                  </a:lnTo>
                  <a:cubicBezTo>
                    <a:pt x="16915" y="10208"/>
                    <a:pt x="17138" y="9934"/>
                    <a:pt x="17288" y="9114"/>
                  </a:cubicBezTo>
                  <a:cubicBezTo>
                    <a:pt x="17408" y="8476"/>
                    <a:pt x="17486" y="7443"/>
                    <a:pt x="17486" y="6349"/>
                  </a:cubicBezTo>
                  <a:cubicBezTo>
                    <a:pt x="17486" y="5651"/>
                    <a:pt x="17454" y="5012"/>
                    <a:pt x="17382" y="4587"/>
                  </a:cubicBezTo>
                  <a:cubicBezTo>
                    <a:pt x="17299" y="4101"/>
                    <a:pt x="17169" y="3828"/>
                    <a:pt x="16951" y="3828"/>
                  </a:cubicBezTo>
                  <a:lnTo>
                    <a:pt x="16546" y="3828"/>
                  </a:lnTo>
                  <a:lnTo>
                    <a:pt x="16354" y="10208"/>
                  </a:lnTo>
                  <a:close/>
                  <a:moveTo>
                    <a:pt x="19493" y="17742"/>
                  </a:moveTo>
                  <a:lnTo>
                    <a:pt x="21102" y="17742"/>
                  </a:lnTo>
                  <a:lnTo>
                    <a:pt x="21003" y="21175"/>
                  </a:lnTo>
                  <a:lnTo>
                    <a:pt x="18580" y="21175"/>
                  </a:lnTo>
                  <a:lnTo>
                    <a:pt x="19203" y="395"/>
                  </a:lnTo>
                  <a:lnTo>
                    <a:pt x="21600" y="395"/>
                  </a:lnTo>
                  <a:lnTo>
                    <a:pt x="21434" y="3828"/>
                  </a:lnTo>
                  <a:lnTo>
                    <a:pt x="19909" y="3828"/>
                  </a:lnTo>
                  <a:lnTo>
                    <a:pt x="19758" y="8871"/>
                  </a:lnTo>
                  <a:lnTo>
                    <a:pt x="20977" y="8871"/>
                  </a:lnTo>
                  <a:lnTo>
                    <a:pt x="20868" y="12425"/>
                  </a:lnTo>
                  <a:lnTo>
                    <a:pt x="19649" y="12425"/>
                  </a:lnTo>
                  <a:lnTo>
                    <a:pt x="19493" y="17742"/>
                  </a:lnTo>
                  <a:close/>
                  <a:moveTo>
                    <a:pt x="19493" y="17742"/>
                  </a:moveTo>
                </a:path>
              </a:pathLst>
            </a:custGeom>
            <a:solidFill>
              <a:schemeClr val="accent1"/>
            </a:solidFill>
            <a:ln w="25400">
              <a:noFill/>
              <a:miter lim="800000"/>
              <a:headEnd/>
              <a:tailEnd/>
            </a:ln>
          </p:spPr>
          <p:txBody>
            <a:bodyPr lIns="0" tIns="0" rIns="0" bIns="0"/>
            <a:lstStyle/>
            <a:p>
              <a:pPr defTabSz="912713" fontAlgn="auto">
                <a:spcBef>
                  <a:spcPts val="0"/>
                </a:spcBef>
                <a:spcAft>
                  <a:spcPts val="0"/>
                </a:spcAft>
              </a:pPr>
              <a:endParaRPr lang="es-ES_tradnl" sz="1800" dirty="0">
                <a:solidFill>
                  <a:srgbClr val="003245"/>
                </a:solidFill>
                <a:latin typeface="Trebuchet MS"/>
              </a:endParaRPr>
            </a:p>
          </p:txBody>
        </p:sp>
        <p:sp>
          <p:nvSpPr>
            <p:cNvPr id="2057" name="AutoShape 3"/>
            <p:cNvSpPr>
              <a:spLocks/>
            </p:cNvSpPr>
            <p:nvPr/>
          </p:nvSpPr>
          <p:spPr bwMode="auto">
            <a:xfrm>
              <a:off x="533" y="98"/>
              <a:ext cx="58" cy="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1600"/>
                  </a:moveTo>
                  <a:lnTo>
                    <a:pt x="870" y="0"/>
                  </a:lnTo>
                  <a:lnTo>
                    <a:pt x="21600" y="0"/>
                  </a:lnTo>
                  <a:lnTo>
                    <a:pt x="20730" y="21600"/>
                  </a:lnTo>
                  <a:lnTo>
                    <a:pt x="0" y="21600"/>
                  </a:lnTo>
                  <a:close/>
                  <a:moveTo>
                    <a:pt x="0" y="21600"/>
                  </a:moveTo>
                </a:path>
              </a:pathLst>
            </a:custGeom>
            <a:solidFill>
              <a:srgbClr val="7DFE9D"/>
            </a:solidFill>
            <a:ln w="25400">
              <a:noFill/>
              <a:miter lim="800000"/>
              <a:headEnd/>
              <a:tailEnd/>
            </a:ln>
          </p:spPr>
          <p:txBody>
            <a:bodyPr lIns="0" tIns="0" rIns="0" bIns="0"/>
            <a:lstStyle/>
            <a:p>
              <a:pPr defTabSz="912713" fontAlgn="auto">
                <a:spcBef>
                  <a:spcPts val="0"/>
                </a:spcBef>
                <a:spcAft>
                  <a:spcPts val="0"/>
                </a:spcAft>
              </a:pPr>
              <a:endParaRPr lang="es-ES_tradnl" sz="1800" dirty="0">
                <a:solidFill>
                  <a:srgbClr val="003245"/>
                </a:solidFill>
                <a:latin typeface="Trebuchet MS"/>
              </a:endParaRPr>
            </a:p>
          </p:txBody>
        </p:sp>
      </p:grpSp>
      <p:sp>
        <p:nvSpPr>
          <p:cNvPr id="6" name="Footer Placeholder 1"/>
          <p:cNvSpPr>
            <a:spLocks noGrp="1"/>
          </p:cNvSpPr>
          <p:nvPr>
            <p:ph type="ftr" sz="quarter" idx="3"/>
          </p:nvPr>
        </p:nvSpPr>
        <p:spPr>
          <a:xfrm>
            <a:off x="4788024" y="4900500"/>
            <a:ext cx="3024336" cy="162018"/>
          </a:xfrm>
          <a:prstGeom prst="rect">
            <a:avLst/>
          </a:prstGeom>
        </p:spPr>
        <p:txBody>
          <a:bodyPr vert="horz" lIns="0" tIns="0" rIns="0" bIns="0" rtlCol="0" anchor="t" anchorCtr="0"/>
          <a:lstStyle>
            <a:lvl1pPr algn="l">
              <a:defRPr sz="1000">
                <a:solidFill>
                  <a:schemeClr val="tx1"/>
                </a:solidFill>
              </a:defRPr>
            </a:lvl1pPr>
          </a:lstStyle>
          <a:p>
            <a:pPr defTabSz="912713" fontAlgn="auto">
              <a:spcBef>
                <a:spcPts val="0"/>
              </a:spcBef>
              <a:spcAft>
                <a:spcPts val="0"/>
              </a:spcAft>
            </a:pPr>
            <a:r>
              <a:rPr lang="en-GB">
                <a:solidFill>
                  <a:srgbClr val="003245"/>
                </a:solidFill>
                <a:latin typeface="Trebuchet MS"/>
              </a:rPr>
              <a:t>Internal Use Only</a:t>
            </a:r>
            <a:endParaRPr lang="en-GB" dirty="0">
              <a:solidFill>
                <a:srgbClr val="003245"/>
              </a:solidFill>
              <a:latin typeface="Trebuchet MS"/>
            </a:endParaRPr>
          </a:p>
        </p:txBody>
      </p:sp>
    </p:spTree>
    <p:extLst>
      <p:ext uri="{BB962C8B-B14F-4D97-AF65-F5344CB8AC3E}">
        <p14:creationId xmlns:p14="http://schemas.microsoft.com/office/powerpoint/2010/main" val="2539895177"/>
      </p:ext>
    </p:extLst>
  </p:cSld>
  <p:clrMap bg1="lt1" tx1="dk1" bg2="lt2" tx2="dk2" accent1="accent1" accent2="accent2" accent3="accent3" accent4="accent4" accent5="accent5" accent6="accent6" hlink="hlink" folHlink="folHlink"/>
  <p:sldLayoutIdLst>
    <p:sldLayoutId id="2147485201" r:id="rId1"/>
  </p:sldLayoutIdLst>
  <p:transition/>
  <p:hf hdr="0" dt="0"/>
  <p:txStyles>
    <p:titleStyle>
      <a:lvl1pPr algn="ctr" rtl="0" eaLnBrk="0" fontAlgn="base" hangingPunct="0">
        <a:spcBef>
          <a:spcPct val="0"/>
        </a:spcBef>
        <a:spcAft>
          <a:spcPct val="0"/>
        </a:spcAft>
        <a:defRPr sz="5800">
          <a:solidFill>
            <a:schemeClr val="tx1"/>
          </a:solidFill>
          <a:latin typeface="+mj-lt"/>
          <a:ea typeface="+mj-ea"/>
          <a:cs typeface="+mj-cs"/>
          <a:sym typeface="Gill Sans" pitchFamily="-84"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5pPr>
      <a:lvl6pPr marL="456302"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2713"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6905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5424"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342227" indent="-342227" algn="ctr" rtl="0" eaLnBrk="0" fontAlgn="base" hangingPunct="0">
        <a:spcBef>
          <a:spcPct val="0"/>
        </a:spcBef>
        <a:spcAft>
          <a:spcPct val="0"/>
        </a:spcAft>
        <a:defRPr sz="2400">
          <a:solidFill>
            <a:schemeClr val="tx1"/>
          </a:solidFill>
          <a:latin typeface="+mn-lt"/>
          <a:ea typeface="+mn-ea"/>
          <a:cs typeface="+mn-cs"/>
          <a:sym typeface="Gill Sans" pitchFamily="-84" charset="0"/>
        </a:defRPr>
      </a:lvl1pPr>
      <a:lvl2pPr marL="741599" indent="-285225" algn="ctr" rtl="0" eaLnBrk="0" fontAlgn="base" hangingPunct="0">
        <a:spcBef>
          <a:spcPct val="0"/>
        </a:spcBef>
        <a:spcAft>
          <a:spcPct val="0"/>
        </a:spcAft>
        <a:defRPr sz="2400">
          <a:solidFill>
            <a:schemeClr val="tx1"/>
          </a:solidFill>
          <a:latin typeface="+mn-lt"/>
          <a:ea typeface="+mn-ea"/>
          <a:cs typeface="+mn-cs"/>
          <a:sym typeface="Gill Sans" pitchFamily="-84" charset="0"/>
        </a:defRPr>
      </a:lvl2pPr>
      <a:lvl3pPr marL="1140863" indent="-228150" algn="ctr" rtl="0" eaLnBrk="0" fontAlgn="base" hangingPunct="0">
        <a:spcBef>
          <a:spcPct val="0"/>
        </a:spcBef>
        <a:spcAft>
          <a:spcPct val="0"/>
        </a:spcAft>
        <a:defRPr sz="2400">
          <a:solidFill>
            <a:schemeClr val="tx1"/>
          </a:solidFill>
          <a:latin typeface="+mn-lt"/>
          <a:ea typeface="+mn-ea"/>
          <a:cs typeface="+mn-cs"/>
          <a:sym typeface="Gill Sans" pitchFamily="-84" charset="0"/>
        </a:defRPr>
      </a:lvl3pPr>
      <a:lvl4pPr marL="1597200" indent="-228150" algn="ctr" rtl="0" eaLnBrk="0" fontAlgn="base" hangingPunct="0">
        <a:spcBef>
          <a:spcPct val="0"/>
        </a:spcBef>
        <a:spcAft>
          <a:spcPct val="0"/>
        </a:spcAft>
        <a:defRPr sz="2400">
          <a:solidFill>
            <a:schemeClr val="tx1"/>
          </a:solidFill>
          <a:latin typeface="+mn-lt"/>
          <a:ea typeface="+mn-ea"/>
          <a:cs typeface="+mn-cs"/>
          <a:sym typeface="Gill Sans" pitchFamily="-84" charset="0"/>
        </a:defRPr>
      </a:lvl4pPr>
      <a:lvl5pPr marL="2053574" indent="-228150" algn="ctr" rtl="0" eaLnBrk="0" fontAlgn="base" hangingPunct="0">
        <a:spcBef>
          <a:spcPct val="0"/>
        </a:spcBef>
        <a:spcAft>
          <a:spcPct val="0"/>
        </a:spcAft>
        <a:defRPr sz="2400">
          <a:solidFill>
            <a:schemeClr val="tx1"/>
          </a:solidFill>
          <a:latin typeface="+mn-lt"/>
          <a:ea typeface="+mn-ea"/>
          <a:cs typeface="+mn-cs"/>
          <a:sym typeface="Gill Sans" pitchFamily="-84" charset="0"/>
        </a:defRPr>
      </a:lvl5pPr>
      <a:lvl6pPr marL="456302" algn="ctr" rtl="0" fontAlgn="base">
        <a:spcBef>
          <a:spcPct val="0"/>
        </a:spcBef>
        <a:spcAft>
          <a:spcPct val="0"/>
        </a:spcAft>
        <a:defRPr sz="2400">
          <a:solidFill>
            <a:schemeClr val="tx1"/>
          </a:solidFill>
          <a:latin typeface="+mn-lt"/>
          <a:ea typeface="+mn-ea"/>
          <a:cs typeface="+mn-cs"/>
          <a:sym typeface="Gill Sans" charset="0"/>
        </a:defRPr>
      </a:lvl6pPr>
      <a:lvl7pPr marL="912713" algn="ctr" rtl="0" fontAlgn="base">
        <a:spcBef>
          <a:spcPct val="0"/>
        </a:spcBef>
        <a:spcAft>
          <a:spcPct val="0"/>
        </a:spcAft>
        <a:defRPr sz="2400">
          <a:solidFill>
            <a:schemeClr val="tx1"/>
          </a:solidFill>
          <a:latin typeface="+mn-lt"/>
          <a:ea typeface="+mn-ea"/>
          <a:cs typeface="+mn-cs"/>
          <a:sym typeface="Gill Sans" charset="0"/>
        </a:defRPr>
      </a:lvl7pPr>
      <a:lvl8pPr marL="1369050" algn="ctr" rtl="0" fontAlgn="base">
        <a:spcBef>
          <a:spcPct val="0"/>
        </a:spcBef>
        <a:spcAft>
          <a:spcPct val="0"/>
        </a:spcAft>
        <a:defRPr sz="2400">
          <a:solidFill>
            <a:schemeClr val="tx1"/>
          </a:solidFill>
          <a:latin typeface="+mn-lt"/>
          <a:ea typeface="+mn-ea"/>
          <a:cs typeface="+mn-cs"/>
          <a:sym typeface="Gill Sans" charset="0"/>
        </a:defRPr>
      </a:lvl8pPr>
      <a:lvl9pPr marL="1825424" algn="ctr" rtl="0" fontAlgn="base">
        <a:spcBef>
          <a:spcPct val="0"/>
        </a:spcBef>
        <a:spcAft>
          <a:spcPct val="0"/>
        </a:spcAft>
        <a:defRPr sz="2400">
          <a:solidFill>
            <a:schemeClr val="tx1"/>
          </a:solidFill>
          <a:latin typeface="+mn-lt"/>
          <a:ea typeface="+mn-ea"/>
          <a:cs typeface="+mn-cs"/>
          <a:sym typeface="Gill Sans" charset="0"/>
        </a:defRPr>
      </a:lvl9pPr>
    </p:bodyStyle>
    <p:otherStyle>
      <a:defPPr>
        <a:defRPr lang="es-ES"/>
      </a:defPPr>
      <a:lvl1pPr marL="0" algn="l" defTabSz="456302" rtl="0" eaLnBrk="1" latinLnBrk="0" hangingPunct="1">
        <a:defRPr sz="1800" kern="1200">
          <a:solidFill>
            <a:schemeClr val="tx1"/>
          </a:solidFill>
          <a:latin typeface="+mn-lt"/>
          <a:ea typeface="+mn-ea"/>
          <a:cs typeface="+mn-cs"/>
        </a:defRPr>
      </a:lvl1pPr>
      <a:lvl2pPr marL="456302" algn="l" defTabSz="456302" rtl="0" eaLnBrk="1" latinLnBrk="0" hangingPunct="1">
        <a:defRPr sz="1800" kern="1200">
          <a:solidFill>
            <a:schemeClr val="tx1"/>
          </a:solidFill>
          <a:latin typeface="+mn-lt"/>
          <a:ea typeface="+mn-ea"/>
          <a:cs typeface="+mn-cs"/>
        </a:defRPr>
      </a:lvl2pPr>
      <a:lvl3pPr marL="912713" algn="l" defTabSz="456302" rtl="0" eaLnBrk="1" latinLnBrk="0" hangingPunct="1">
        <a:defRPr sz="1800" kern="1200">
          <a:solidFill>
            <a:schemeClr val="tx1"/>
          </a:solidFill>
          <a:latin typeface="+mn-lt"/>
          <a:ea typeface="+mn-ea"/>
          <a:cs typeface="+mn-cs"/>
        </a:defRPr>
      </a:lvl3pPr>
      <a:lvl4pPr marL="1369050" algn="l" defTabSz="456302" rtl="0" eaLnBrk="1" latinLnBrk="0" hangingPunct="1">
        <a:defRPr sz="1800" kern="1200">
          <a:solidFill>
            <a:schemeClr val="tx1"/>
          </a:solidFill>
          <a:latin typeface="+mn-lt"/>
          <a:ea typeface="+mn-ea"/>
          <a:cs typeface="+mn-cs"/>
        </a:defRPr>
      </a:lvl4pPr>
      <a:lvl5pPr marL="1825424" algn="l" defTabSz="456302" rtl="0" eaLnBrk="1" latinLnBrk="0" hangingPunct="1">
        <a:defRPr sz="1800" kern="1200">
          <a:solidFill>
            <a:schemeClr val="tx1"/>
          </a:solidFill>
          <a:latin typeface="+mn-lt"/>
          <a:ea typeface="+mn-ea"/>
          <a:cs typeface="+mn-cs"/>
        </a:defRPr>
      </a:lvl5pPr>
      <a:lvl6pPr marL="2281725" algn="l" defTabSz="456302" rtl="0" eaLnBrk="1" latinLnBrk="0" hangingPunct="1">
        <a:defRPr sz="1800" kern="1200">
          <a:solidFill>
            <a:schemeClr val="tx1"/>
          </a:solidFill>
          <a:latin typeface="+mn-lt"/>
          <a:ea typeface="+mn-ea"/>
          <a:cs typeface="+mn-cs"/>
        </a:defRPr>
      </a:lvl6pPr>
      <a:lvl7pPr marL="2738027" algn="l" defTabSz="456302" rtl="0" eaLnBrk="1" latinLnBrk="0" hangingPunct="1">
        <a:defRPr sz="1800" kern="1200">
          <a:solidFill>
            <a:schemeClr val="tx1"/>
          </a:solidFill>
          <a:latin typeface="+mn-lt"/>
          <a:ea typeface="+mn-ea"/>
          <a:cs typeface="+mn-cs"/>
        </a:defRPr>
      </a:lvl7pPr>
      <a:lvl8pPr marL="3194403" algn="l" defTabSz="456302" rtl="0" eaLnBrk="1" latinLnBrk="0" hangingPunct="1">
        <a:defRPr sz="1800" kern="1200">
          <a:solidFill>
            <a:schemeClr val="tx1"/>
          </a:solidFill>
          <a:latin typeface="+mn-lt"/>
          <a:ea typeface="+mn-ea"/>
          <a:cs typeface="+mn-cs"/>
        </a:defRPr>
      </a:lvl8pPr>
      <a:lvl9pPr marL="3650761" algn="l" defTabSz="45630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147" name="AutoShape 5"/>
          <p:cNvSpPr>
            <a:spLocks/>
          </p:cNvSpPr>
          <p:nvPr/>
        </p:nvSpPr>
        <p:spPr bwMode="auto">
          <a:xfrm>
            <a:off x="8028920" y="4876875"/>
            <a:ext cx="830873" cy="186929"/>
          </a:xfrm>
          <a:custGeom>
            <a:avLst/>
            <a:gdLst>
              <a:gd name="T0" fmla="*/ 0 w 21600"/>
              <a:gd name="T1" fmla="*/ 892206852 h 21600"/>
              <a:gd name="T2" fmla="*/ 2147483647 w 21600"/>
              <a:gd name="T3" fmla="*/ 141473318 h 21600"/>
              <a:gd name="T4" fmla="*/ 2147483647 w 21600"/>
              <a:gd name="T5" fmla="*/ 96575026 h 21600"/>
              <a:gd name="T6" fmla="*/ 2147483647 w 21600"/>
              <a:gd name="T7" fmla="*/ 275193756 h 21600"/>
              <a:gd name="T8" fmla="*/ 2147483647 w 21600"/>
              <a:gd name="T9" fmla="*/ 59300706 h 21600"/>
              <a:gd name="T10" fmla="*/ 2147483647 w 21600"/>
              <a:gd name="T11" fmla="*/ 702363606 h 21600"/>
              <a:gd name="T12" fmla="*/ 2147483647 w 21600"/>
              <a:gd name="T13" fmla="*/ 341566847 h 21600"/>
              <a:gd name="T14" fmla="*/ 2147483647 w 21600"/>
              <a:gd name="T15" fmla="*/ 6989884 h 21600"/>
              <a:gd name="T16" fmla="*/ 2147483647 w 21600"/>
              <a:gd name="T17" fmla="*/ 12835521 h 21600"/>
              <a:gd name="T18" fmla="*/ 2147483647 w 21600"/>
              <a:gd name="T19" fmla="*/ 406713202 h 21600"/>
              <a:gd name="T20" fmla="*/ 2147483647 w 21600"/>
              <a:gd name="T21" fmla="*/ 446866336 h 21600"/>
              <a:gd name="T22" fmla="*/ 2147483647 w 21600"/>
              <a:gd name="T23" fmla="*/ 193528986 h 21600"/>
              <a:gd name="T24" fmla="*/ 2147483647 w 21600"/>
              <a:gd name="T25" fmla="*/ 592022721 h 21600"/>
              <a:gd name="T26" fmla="*/ 2147483647 w 21600"/>
              <a:gd name="T27" fmla="*/ 635735349 h 21600"/>
              <a:gd name="T28" fmla="*/ 2147483647 w 21600"/>
              <a:gd name="T29" fmla="*/ 421156883 h 21600"/>
              <a:gd name="T30" fmla="*/ 2147483647 w 21600"/>
              <a:gd name="T31" fmla="*/ 88484663 h 21600"/>
              <a:gd name="T32" fmla="*/ 2147483647 w 21600"/>
              <a:gd name="T33" fmla="*/ 232540374 h 21600"/>
              <a:gd name="T34" fmla="*/ 2147483647 w 21600"/>
              <a:gd name="T35" fmla="*/ 232540374 h 21600"/>
              <a:gd name="T36" fmla="*/ 2147483647 w 21600"/>
              <a:gd name="T37" fmla="*/ 528997692 h 21600"/>
              <a:gd name="T38" fmla="*/ 2147483647 w 21600"/>
              <a:gd name="T39" fmla="*/ 523871306 h 21600"/>
              <a:gd name="T40" fmla="*/ 2147483647 w 21600"/>
              <a:gd name="T41" fmla="*/ 493754362 h 21600"/>
              <a:gd name="T42" fmla="*/ 2147483647 w 21600"/>
              <a:gd name="T43" fmla="*/ 631585869 h 21600"/>
              <a:gd name="T44" fmla="*/ 2147483647 w 21600"/>
              <a:gd name="T45" fmla="*/ 201322939 h 21600"/>
              <a:gd name="T46" fmla="*/ 2147483647 w 21600"/>
              <a:gd name="T47" fmla="*/ 482658754 h 21600"/>
              <a:gd name="T48" fmla="*/ 2147483647 w 21600"/>
              <a:gd name="T49" fmla="*/ 231014554 h 21600"/>
              <a:gd name="T50" fmla="*/ 2147483647 w 21600"/>
              <a:gd name="T51" fmla="*/ 318228550 h 21600"/>
              <a:gd name="T52" fmla="*/ 2147483647 w 21600"/>
              <a:gd name="T53" fmla="*/ 277015998 h 21600"/>
              <a:gd name="T54" fmla="*/ 2147483647 w 21600"/>
              <a:gd name="T55" fmla="*/ 522811888 h 21600"/>
              <a:gd name="T56" fmla="*/ 2147483647 w 21600"/>
              <a:gd name="T57" fmla="*/ 219323441 h 21600"/>
              <a:gd name="T58" fmla="*/ 2147483647 w 21600"/>
              <a:gd name="T59" fmla="*/ 536451489 h 21600"/>
              <a:gd name="T60" fmla="*/ 2147483647 w 21600"/>
              <a:gd name="T61" fmla="*/ 359611267 h 21600"/>
              <a:gd name="T62" fmla="*/ 2147483647 w 21600"/>
              <a:gd name="T63" fmla="*/ 245035739 h 21600"/>
              <a:gd name="T64" fmla="*/ 2147483647 w 21600"/>
              <a:gd name="T65" fmla="*/ 482658754 h 21600"/>
              <a:gd name="T66" fmla="*/ 2147483647 w 21600"/>
              <a:gd name="T67" fmla="*/ 710539155 h 21600"/>
              <a:gd name="T68" fmla="*/ 2147483647 w 21600"/>
              <a:gd name="T69" fmla="*/ 238512269 h 21600"/>
              <a:gd name="T70" fmla="*/ 2147483647 w 21600"/>
              <a:gd name="T71" fmla="*/ 386550130 h 21600"/>
              <a:gd name="T72" fmla="*/ 2147483647 w 21600"/>
              <a:gd name="T73" fmla="*/ 290400434 h 21600"/>
              <a:gd name="T74" fmla="*/ 2147483647 w 21600"/>
              <a:gd name="T75" fmla="*/ 415056069 h 21600"/>
              <a:gd name="T76" fmla="*/ 2147483647 w 21600"/>
              <a:gd name="T77" fmla="*/ 544753284 h 21600"/>
              <a:gd name="T78" fmla="*/ 2147483647 w 21600"/>
              <a:gd name="T79" fmla="*/ 589991905 h 21600"/>
              <a:gd name="T80" fmla="*/ 2147483647 w 21600"/>
              <a:gd name="T81" fmla="*/ 201067773 h 21600"/>
              <a:gd name="T82" fmla="*/ 2147483647 w 21600"/>
              <a:gd name="T83" fmla="*/ 231736294 h 21600"/>
              <a:gd name="T84" fmla="*/ 2147483647 w 21600"/>
              <a:gd name="T85" fmla="*/ 241690339 h 21600"/>
              <a:gd name="T86" fmla="*/ 2147483647 w 21600"/>
              <a:gd name="T87" fmla="*/ 501633500 h 21600"/>
              <a:gd name="T88" fmla="*/ 2147483647 w 21600"/>
              <a:gd name="T89" fmla="*/ 202171109 h 21600"/>
              <a:gd name="T90" fmla="*/ 2147483647 w 21600"/>
              <a:gd name="T91" fmla="*/ 34859246 h 21600"/>
              <a:gd name="T92" fmla="*/ 2147483647 w 21600"/>
              <a:gd name="T93" fmla="*/ 161040897 h 21600"/>
              <a:gd name="T94" fmla="*/ 2147483647 w 21600"/>
              <a:gd name="T95" fmla="*/ 209369568 h 21600"/>
              <a:gd name="T96" fmla="*/ 2147483647 w 21600"/>
              <a:gd name="T97" fmla="*/ 245966066 h 21600"/>
              <a:gd name="T98" fmla="*/ 2147483647 w 21600"/>
              <a:gd name="T99" fmla="*/ 501592243 h 21600"/>
              <a:gd name="T100" fmla="*/ 2147483647 w 21600"/>
              <a:gd name="T101" fmla="*/ 239486513 h 21600"/>
              <a:gd name="T102" fmla="*/ 2147483647 w 21600"/>
              <a:gd name="T103" fmla="*/ 497651349 h 21600"/>
              <a:gd name="T104" fmla="*/ 2147483647 w 21600"/>
              <a:gd name="T105" fmla="*/ 415522655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21600" y="21064"/>
                </a:moveTo>
                <a:cubicBezTo>
                  <a:pt x="21600" y="20776"/>
                  <a:pt x="16158" y="20540"/>
                  <a:pt x="10801" y="20540"/>
                </a:cubicBezTo>
                <a:cubicBezTo>
                  <a:pt x="5443" y="20540"/>
                  <a:pt x="0" y="20776"/>
                  <a:pt x="0" y="21064"/>
                </a:cubicBezTo>
                <a:cubicBezTo>
                  <a:pt x="0" y="21350"/>
                  <a:pt x="5443" y="21600"/>
                  <a:pt x="10801" y="21600"/>
                </a:cubicBezTo>
                <a:cubicBezTo>
                  <a:pt x="16158" y="21599"/>
                  <a:pt x="21600" y="21350"/>
                  <a:pt x="21600" y="21064"/>
                </a:cubicBezTo>
                <a:close/>
                <a:moveTo>
                  <a:pt x="16099" y="3340"/>
                </a:moveTo>
                <a:cubicBezTo>
                  <a:pt x="16246" y="3334"/>
                  <a:pt x="16394" y="2835"/>
                  <a:pt x="16425" y="2245"/>
                </a:cubicBezTo>
                <a:cubicBezTo>
                  <a:pt x="16461" y="1634"/>
                  <a:pt x="16365" y="1165"/>
                  <a:pt x="16216" y="1179"/>
                </a:cubicBezTo>
                <a:cubicBezTo>
                  <a:pt x="16070" y="1180"/>
                  <a:pt x="15924" y="1670"/>
                  <a:pt x="15889" y="2280"/>
                </a:cubicBezTo>
                <a:cubicBezTo>
                  <a:pt x="15858" y="2875"/>
                  <a:pt x="15949" y="3352"/>
                  <a:pt x="16099" y="3340"/>
                </a:cubicBezTo>
                <a:close/>
                <a:moveTo>
                  <a:pt x="2148" y="6604"/>
                </a:moveTo>
                <a:lnTo>
                  <a:pt x="2183" y="6497"/>
                </a:lnTo>
                <a:cubicBezTo>
                  <a:pt x="2134" y="6207"/>
                  <a:pt x="2116" y="5697"/>
                  <a:pt x="2119" y="5390"/>
                </a:cubicBezTo>
                <a:cubicBezTo>
                  <a:pt x="2136" y="2842"/>
                  <a:pt x="2874" y="1400"/>
                  <a:pt x="4024" y="1400"/>
                </a:cubicBezTo>
                <a:lnTo>
                  <a:pt x="4661" y="1400"/>
                </a:lnTo>
                <a:cubicBezTo>
                  <a:pt x="4291" y="2185"/>
                  <a:pt x="3981" y="3230"/>
                  <a:pt x="3743" y="5197"/>
                </a:cubicBezTo>
                <a:cubicBezTo>
                  <a:pt x="3640" y="6043"/>
                  <a:pt x="3153" y="10591"/>
                  <a:pt x="2954" y="12638"/>
                </a:cubicBezTo>
                <a:cubicBezTo>
                  <a:pt x="2706" y="15072"/>
                  <a:pt x="2548" y="16177"/>
                  <a:pt x="2352" y="16582"/>
                </a:cubicBezTo>
                <a:lnTo>
                  <a:pt x="2385" y="16802"/>
                </a:lnTo>
                <a:cubicBezTo>
                  <a:pt x="2937" y="16925"/>
                  <a:pt x="3266" y="15896"/>
                  <a:pt x="3478" y="13994"/>
                </a:cubicBezTo>
                <a:cubicBezTo>
                  <a:pt x="3680" y="12197"/>
                  <a:pt x="3947" y="9336"/>
                  <a:pt x="4078" y="8064"/>
                </a:cubicBezTo>
                <a:cubicBezTo>
                  <a:pt x="4502" y="3971"/>
                  <a:pt x="4688" y="2248"/>
                  <a:pt x="5026" y="1400"/>
                </a:cubicBezTo>
                <a:cubicBezTo>
                  <a:pt x="5497" y="1389"/>
                  <a:pt x="5951" y="1389"/>
                  <a:pt x="5951" y="1389"/>
                </a:cubicBezTo>
                <a:cubicBezTo>
                  <a:pt x="6458" y="1340"/>
                  <a:pt x="6674" y="880"/>
                  <a:pt x="6832" y="165"/>
                </a:cubicBezTo>
                <a:lnTo>
                  <a:pt x="6796" y="0"/>
                </a:lnTo>
                <a:cubicBezTo>
                  <a:pt x="6670" y="251"/>
                  <a:pt x="6395" y="302"/>
                  <a:pt x="6162" y="303"/>
                </a:cubicBezTo>
                <a:lnTo>
                  <a:pt x="3875" y="303"/>
                </a:lnTo>
                <a:cubicBezTo>
                  <a:pt x="2588" y="303"/>
                  <a:pt x="1799" y="1846"/>
                  <a:pt x="1671" y="4142"/>
                </a:cubicBezTo>
                <a:cubicBezTo>
                  <a:pt x="1608" y="5253"/>
                  <a:pt x="1777" y="6456"/>
                  <a:pt x="2148" y="6604"/>
                </a:cubicBezTo>
                <a:close/>
                <a:moveTo>
                  <a:pt x="6336" y="9602"/>
                </a:moveTo>
                <a:cubicBezTo>
                  <a:pt x="6013" y="11310"/>
                  <a:pt x="5562" y="12860"/>
                  <a:pt x="5174" y="12860"/>
                </a:cubicBezTo>
                <a:cubicBezTo>
                  <a:pt x="5009" y="12881"/>
                  <a:pt x="4936" y="12535"/>
                  <a:pt x="4940" y="11843"/>
                </a:cubicBezTo>
                <a:cubicBezTo>
                  <a:pt x="4940" y="11428"/>
                  <a:pt x="4966" y="10844"/>
                  <a:pt x="4989" y="10550"/>
                </a:cubicBezTo>
                <a:cubicBezTo>
                  <a:pt x="5355" y="9874"/>
                  <a:pt x="5728" y="9115"/>
                  <a:pt x="6060" y="7863"/>
                </a:cubicBezTo>
                <a:cubicBezTo>
                  <a:pt x="6246" y="7137"/>
                  <a:pt x="6370" y="6407"/>
                  <a:pt x="6376" y="5655"/>
                </a:cubicBezTo>
                <a:cubicBezTo>
                  <a:pt x="6380" y="4944"/>
                  <a:pt x="6257" y="4583"/>
                  <a:pt x="6015" y="4569"/>
                </a:cubicBezTo>
                <a:cubicBezTo>
                  <a:pt x="5664" y="4554"/>
                  <a:pt x="5243" y="5429"/>
                  <a:pt x="4968" y="6495"/>
                </a:cubicBezTo>
                <a:cubicBezTo>
                  <a:pt x="4609" y="7927"/>
                  <a:pt x="4332" y="9949"/>
                  <a:pt x="4325" y="11748"/>
                </a:cubicBezTo>
                <a:cubicBezTo>
                  <a:pt x="4321" y="13024"/>
                  <a:pt x="4487" y="14037"/>
                  <a:pt x="4936" y="13977"/>
                </a:cubicBezTo>
                <a:cubicBezTo>
                  <a:pt x="5417" y="13928"/>
                  <a:pt x="5891" y="12574"/>
                  <a:pt x="6133" y="11593"/>
                </a:cubicBezTo>
                <a:cubicBezTo>
                  <a:pt x="6105" y="12014"/>
                  <a:pt x="6085" y="12408"/>
                  <a:pt x="6085" y="12732"/>
                </a:cubicBezTo>
                <a:cubicBezTo>
                  <a:pt x="6085" y="13864"/>
                  <a:pt x="6239" y="14667"/>
                  <a:pt x="6544" y="15009"/>
                </a:cubicBezTo>
                <a:lnTo>
                  <a:pt x="6605" y="14903"/>
                </a:lnTo>
                <a:cubicBezTo>
                  <a:pt x="6578" y="14599"/>
                  <a:pt x="6571" y="14277"/>
                  <a:pt x="6578" y="13919"/>
                </a:cubicBezTo>
                <a:cubicBezTo>
                  <a:pt x="6599" y="12819"/>
                  <a:pt x="6719" y="11576"/>
                  <a:pt x="6894" y="9943"/>
                </a:cubicBezTo>
                <a:cubicBezTo>
                  <a:pt x="7231" y="6855"/>
                  <a:pt x="7720" y="3323"/>
                  <a:pt x="7934" y="1239"/>
                </a:cubicBezTo>
                <a:lnTo>
                  <a:pt x="7422" y="1596"/>
                </a:lnTo>
                <a:cubicBezTo>
                  <a:pt x="7342" y="1656"/>
                  <a:pt x="7292" y="1877"/>
                  <a:pt x="7265" y="2089"/>
                </a:cubicBezTo>
                <a:cubicBezTo>
                  <a:pt x="7018" y="4008"/>
                  <a:pt x="6764" y="6055"/>
                  <a:pt x="6447" y="8720"/>
                </a:cubicBezTo>
                <a:cubicBezTo>
                  <a:pt x="6410" y="9004"/>
                  <a:pt x="6376" y="9305"/>
                  <a:pt x="6336" y="9602"/>
                </a:cubicBezTo>
                <a:close/>
                <a:moveTo>
                  <a:pt x="5856" y="5490"/>
                </a:moveTo>
                <a:cubicBezTo>
                  <a:pt x="5935" y="5490"/>
                  <a:pt x="5963" y="5689"/>
                  <a:pt x="5963" y="5944"/>
                </a:cubicBezTo>
                <a:cubicBezTo>
                  <a:pt x="5963" y="7146"/>
                  <a:pt x="5556" y="8686"/>
                  <a:pt x="5037" y="9810"/>
                </a:cubicBezTo>
                <a:cubicBezTo>
                  <a:pt x="5167" y="7947"/>
                  <a:pt x="5534" y="5472"/>
                  <a:pt x="5856" y="5490"/>
                </a:cubicBezTo>
                <a:close/>
                <a:moveTo>
                  <a:pt x="14619" y="12665"/>
                </a:moveTo>
                <a:cubicBezTo>
                  <a:pt x="14619" y="13518"/>
                  <a:pt x="14767" y="14043"/>
                  <a:pt x="15050" y="14014"/>
                </a:cubicBezTo>
                <a:cubicBezTo>
                  <a:pt x="15344" y="13993"/>
                  <a:pt x="15642" y="13359"/>
                  <a:pt x="15889" y="12489"/>
                </a:cubicBezTo>
                <a:cubicBezTo>
                  <a:pt x="15936" y="13410"/>
                  <a:pt x="16117" y="14077"/>
                  <a:pt x="16488" y="14028"/>
                </a:cubicBezTo>
                <a:cubicBezTo>
                  <a:pt x="16874" y="13977"/>
                  <a:pt x="17243" y="13095"/>
                  <a:pt x="17499" y="12073"/>
                </a:cubicBezTo>
                <a:lnTo>
                  <a:pt x="17499" y="12368"/>
                </a:lnTo>
                <a:cubicBezTo>
                  <a:pt x="17499" y="13315"/>
                  <a:pt x="17633" y="14021"/>
                  <a:pt x="17929" y="14021"/>
                </a:cubicBezTo>
                <a:cubicBezTo>
                  <a:pt x="18248" y="14021"/>
                  <a:pt x="18615" y="13146"/>
                  <a:pt x="18906" y="11641"/>
                </a:cubicBezTo>
                <a:lnTo>
                  <a:pt x="18914" y="11657"/>
                </a:lnTo>
                <a:cubicBezTo>
                  <a:pt x="18888" y="12014"/>
                  <a:pt x="18856" y="12620"/>
                  <a:pt x="18852" y="13025"/>
                </a:cubicBezTo>
                <a:cubicBezTo>
                  <a:pt x="18847" y="14159"/>
                  <a:pt x="19032" y="14816"/>
                  <a:pt x="19289" y="15003"/>
                </a:cubicBezTo>
                <a:lnTo>
                  <a:pt x="19352" y="14911"/>
                </a:lnTo>
                <a:cubicBezTo>
                  <a:pt x="19258" y="14087"/>
                  <a:pt x="19389" y="12036"/>
                  <a:pt x="19444" y="11353"/>
                </a:cubicBezTo>
                <a:cubicBezTo>
                  <a:pt x="19635" y="9107"/>
                  <a:pt x="19938" y="6540"/>
                  <a:pt x="20114" y="5205"/>
                </a:cubicBezTo>
                <a:cubicBezTo>
                  <a:pt x="20034" y="4955"/>
                  <a:pt x="19847" y="4786"/>
                  <a:pt x="19647" y="4753"/>
                </a:cubicBezTo>
                <a:cubicBezTo>
                  <a:pt x="18983" y="4665"/>
                  <a:pt x="18316" y="5664"/>
                  <a:pt x="17830" y="8808"/>
                </a:cubicBezTo>
                <a:cubicBezTo>
                  <a:pt x="17746" y="9356"/>
                  <a:pt x="17655" y="9985"/>
                  <a:pt x="17587" y="10651"/>
                </a:cubicBezTo>
                <a:cubicBezTo>
                  <a:pt x="17518" y="10987"/>
                  <a:pt x="17445" y="11287"/>
                  <a:pt x="17415" y="11395"/>
                </a:cubicBezTo>
                <a:cubicBezTo>
                  <a:pt x="17239" y="12014"/>
                  <a:pt x="16989" y="12807"/>
                  <a:pt x="16735" y="12819"/>
                </a:cubicBezTo>
                <a:cubicBezTo>
                  <a:pt x="16590" y="12829"/>
                  <a:pt x="16510" y="12458"/>
                  <a:pt x="16514" y="11799"/>
                </a:cubicBezTo>
                <a:cubicBezTo>
                  <a:pt x="16516" y="9284"/>
                  <a:pt x="17124" y="5464"/>
                  <a:pt x="17538" y="5454"/>
                </a:cubicBezTo>
                <a:cubicBezTo>
                  <a:pt x="17650" y="5454"/>
                  <a:pt x="17700" y="5635"/>
                  <a:pt x="17700" y="5987"/>
                </a:cubicBezTo>
                <a:cubicBezTo>
                  <a:pt x="17700" y="6406"/>
                  <a:pt x="17621" y="6981"/>
                  <a:pt x="17510" y="7352"/>
                </a:cubicBezTo>
                <a:lnTo>
                  <a:pt x="17558" y="7513"/>
                </a:lnTo>
                <a:cubicBezTo>
                  <a:pt x="17835" y="7124"/>
                  <a:pt x="18093" y="6420"/>
                  <a:pt x="18095" y="5671"/>
                </a:cubicBezTo>
                <a:cubicBezTo>
                  <a:pt x="18095" y="4817"/>
                  <a:pt x="17825" y="4658"/>
                  <a:pt x="17585" y="4665"/>
                </a:cubicBezTo>
                <a:cubicBezTo>
                  <a:pt x="17262" y="4681"/>
                  <a:pt x="16861" y="5257"/>
                  <a:pt x="16539" y="6540"/>
                </a:cubicBezTo>
                <a:cubicBezTo>
                  <a:pt x="16136" y="8149"/>
                  <a:pt x="15927" y="10079"/>
                  <a:pt x="15886" y="11456"/>
                </a:cubicBezTo>
                <a:cubicBezTo>
                  <a:pt x="15702" y="12240"/>
                  <a:pt x="15496" y="12775"/>
                  <a:pt x="15358" y="12781"/>
                </a:cubicBezTo>
                <a:cubicBezTo>
                  <a:pt x="15281" y="12792"/>
                  <a:pt x="15225" y="12639"/>
                  <a:pt x="15224" y="12343"/>
                </a:cubicBezTo>
                <a:cubicBezTo>
                  <a:pt x="15224" y="12081"/>
                  <a:pt x="15266" y="11546"/>
                  <a:pt x="15336" y="10851"/>
                </a:cubicBezTo>
                <a:cubicBezTo>
                  <a:pt x="15515" y="9231"/>
                  <a:pt x="15772" y="7212"/>
                  <a:pt x="16090" y="4811"/>
                </a:cubicBezTo>
                <a:cubicBezTo>
                  <a:pt x="16090" y="4811"/>
                  <a:pt x="15608" y="5106"/>
                  <a:pt x="15538" y="5178"/>
                </a:cubicBezTo>
                <a:cubicBezTo>
                  <a:pt x="15465" y="5246"/>
                  <a:pt x="15409" y="5421"/>
                  <a:pt x="15377" y="5663"/>
                </a:cubicBezTo>
                <a:cubicBezTo>
                  <a:pt x="15170" y="7261"/>
                  <a:pt x="14925" y="9107"/>
                  <a:pt x="14773" y="10483"/>
                </a:cubicBezTo>
                <a:cubicBezTo>
                  <a:pt x="14677" y="11351"/>
                  <a:pt x="14619" y="12173"/>
                  <a:pt x="14619" y="12665"/>
                </a:cubicBezTo>
                <a:close/>
                <a:moveTo>
                  <a:pt x="19138" y="5785"/>
                </a:moveTo>
                <a:cubicBezTo>
                  <a:pt x="19291" y="5520"/>
                  <a:pt x="19420" y="5503"/>
                  <a:pt x="19529" y="5583"/>
                </a:cubicBezTo>
                <a:cubicBezTo>
                  <a:pt x="19488" y="5895"/>
                  <a:pt x="19302" y="7261"/>
                  <a:pt x="19158" y="8490"/>
                </a:cubicBezTo>
                <a:cubicBezTo>
                  <a:pt x="18929" y="10417"/>
                  <a:pt x="18585" y="12362"/>
                  <a:pt x="18267" y="12639"/>
                </a:cubicBezTo>
                <a:cubicBezTo>
                  <a:pt x="18157" y="12754"/>
                  <a:pt x="18093" y="12583"/>
                  <a:pt x="18095" y="12183"/>
                </a:cubicBezTo>
                <a:cubicBezTo>
                  <a:pt x="18104" y="10478"/>
                  <a:pt x="18619" y="6672"/>
                  <a:pt x="19138" y="5785"/>
                </a:cubicBezTo>
                <a:close/>
                <a:moveTo>
                  <a:pt x="7191" y="11749"/>
                </a:moveTo>
                <a:cubicBezTo>
                  <a:pt x="7187" y="12996"/>
                  <a:pt x="7367" y="14037"/>
                  <a:pt x="7828" y="13977"/>
                </a:cubicBezTo>
                <a:cubicBezTo>
                  <a:pt x="8321" y="13929"/>
                  <a:pt x="8771" y="12887"/>
                  <a:pt x="9160" y="11395"/>
                </a:cubicBezTo>
                <a:cubicBezTo>
                  <a:pt x="9062" y="12352"/>
                  <a:pt x="8978" y="13174"/>
                  <a:pt x="8928" y="13618"/>
                </a:cubicBezTo>
                <a:cubicBezTo>
                  <a:pt x="8784" y="14935"/>
                  <a:pt x="8677" y="15997"/>
                  <a:pt x="8456" y="16614"/>
                </a:cubicBezTo>
                <a:lnTo>
                  <a:pt x="8480" y="16775"/>
                </a:lnTo>
                <a:cubicBezTo>
                  <a:pt x="9130" y="16912"/>
                  <a:pt x="9375" y="15243"/>
                  <a:pt x="9643" y="12520"/>
                </a:cubicBezTo>
                <a:cubicBezTo>
                  <a:pt x="9910" y="9793"/>
                  <a:pt x="10137" y="7425"/>
                  <a:pt x="10313" y="5780"/>
                </a:cubicBezTo>
                <a:cubicBezTo>
                  <a:pt x="10598" y="5780"/>
                  <a:pt x="11002" y="5817"/>
                  <a:pt x="11229" y="5631"/>
                </a:cubicBezTo>
                <a:cubicBezTo>
                  <a:pt x="10638" y="6588"/>
                  <a:pt x="10137" y="10023"/>
                  <a:pt x="10196" y="12286"/>
                </a:cubicBezTo>
                <a:cubicBezTo>
                  <a:pt x="10222" y="13286"/>
                  <a:pt x="10386" y="13978"/>
                  <a:pt x="10736" y="13978"/>
                </a:cubicBezTo>
                <a:cubicBezTo>
                  <a:pt x="11413" y="13978"/>
                  <a:pt x="11982" y="11053"/>
                  <a:pt x="12199" y="9126"/>
                </a:cubicBezTo>
                <a:cubicBezTo>
                  <a:pt x="12324" y="8020"/>
                  <a:pt x="12406" y="7075"/>
                  <a:pt x="12420" y="6128"/>
                </a:cubicBezTo>
                <a:cubicBezTo>
                  <a:pt x="12581" y="6026"/>
                  <a:pt x="12735" y="5923"/>
                  <a:pt x="12812" y="5883"/>
                </a:cubicBezTo>
                <a:cubicBezTo>
                  <a:pt x="12960" y="5808"/>
                  <a:pt x="12931" y="6407"/>
                  <a:pt x="12885" y="6856"/>
                </a:cubicBezTo>
                <a:cubicBezTo>
                  <a:pt x="12608" y="9678"/>
                  <a:pt x="12129" y="13774"/>
                  <a:pt x="12127" y="13838"/>
                </a:cubicBezTo>
                <a:lnTo>
                  <a:pt x="12656" y="13838"/>
                </a:lnTo>
                <a:cubicBezTo>
                  <a:pt x="12885" y="12098"/>
                  <a:pt x="13026" y="10986"/>
                  <a:pt x="13209" y="9799"/>
                </a:cubicBezTo>
                <a:cubicBezTo>
                  <a:pt x="13430" y="8408"/>
                  <a:pt x="13922" y="6112"/>
                  <a:pt x="14117" y="6108"/>
                </a:cubicBezTo>
                <a:cubicBezTo>
                  <a:pt x="14187" y="6108"/>
                  <a:pt x="14205" y="6267"/>
                  <a:pt x="14187" y="6515"/>
                </a:cubicBezTo>
                <a:cubicBezTo>
                  <a:pt x="14153" y="7460"/>
                  <a:pt x="13520" y="11075"/>
                  <a:pt x="13530" y="12861"/>
                </a:cubicBezTo>
                <a:cubicBezTo>
                  <a:pt x="13536" y="14028"/>
                  <a:pt x="13704" y="14735"/>
                  <a:pt x="13999" y="15000"/>
                </a:cubicBezTo>
                <a:lnTo>
                  <a:pt x="14060" y="14874"/>
                </a:lnTo>
                <a:cubicBezTo>
                  <a:pt x="14023" y="14619"/>
                  <a:pt x="14018" y="14302"/>
                  <a:pt x="14017" y="13929"/>
                </a:cubicBezTo>
                <a:cubicBezTo>
                  <a:pt x="14012" y="12738"/>
                  <a:pt x="14278" y="10651"/>
                  <a:pt x="14381" y="9842"/>
                </a:cubicBezTo>
                <a:cubicBezTo>
                  <a:pt x="14544" y="8570"/>
                  <a:pt x="14835" y="6713"/>
                  <a:pt x="14816" y="5696"/>
                </a:cubicBezTo>
                <a:cubicBezTo>
                  <a:pt x="14807" y="5197"/>
                  <a:pt x="14704" y="4753"/>
                  <a:pt x="14471" y="4747"/>
                </a:cubicBezTo>
                <a:cubicBezTo>
                  <a:pt x="14040" y="4739"/>
                  <a:pt x="13611" y="6267"/>
                  <a:pt x="13251" y="8318"/>
                </a:cubicBezTo>
                <a:lnTo>
                  <a:pt x="13241" y="8308"/>
                </a:lnTo>
                <a:cubicBezTo>
                  <a:pt x="13385" y="7116"/>
                  <a:pt x="13498" y="6010"/>
                  <a:pt x="13494" y="5471"/>
                </a:cubicBezTo>
                <a:cubicBezTo>
                  <a:pt x="13491" y="4978"/>
                  <a:pt x="13414" y="4785"/>
                  <a:pt x="13253" y="4785"/>
                </a:cubicBezTo>
                <a:cubicBezTo>
                  <a:pt x="13139" y="4797"/>
                  <a:pt x="12985" y="4954"/>
                  <a:pt x="12832" y="5105"/>
                </a:cubicBezTo>
                <a:cubicBezTo>
                  <a:pt x="12619" y="5306"/>
                  <a:pt x="12395" y="5518"/>
                  <a:pt x="12148" y="5706"/>
                </a:cubicBezTo>
                <a:cubicBezTo>
                  <a:pt x="11998" y="5780"/>
                  <a:pt x="11945" y="5882"/>
                  <a:pt x="11950" y="6080"/>
                </a:cubicBezTo>
                <a:cubicBezTo>
                  <a:pt x="11981" y="9212"/>
                  <a:pt x="11397" y="12892"/>
                  <a:pt x="11007" y="12905"/>
                </a:cubicBezTo>
                <a:cubicBezTo>
                  <a:pt x="10840" y="12905"/>
                  <a:pt x="10802" y="12459"/>
                  <a:pt x="10802" y="11843"/>
                </a:cubicBezTo>
                <a:cubicBezTo>
                  <a:pt x="10801" y="9677"/>
                  <a:pt x="11289" y="6041"/>
                  <a:pt x="11765" y="5463"/>
                </a:cubicBezTo>
                <a:cubicBezTo>
                  <a:pt x="11806" y="5421"/>
                  <a:pt x="11847" y="5389"/>
                  <a:pt x="11874" y="5357"/>
                </a:cubicBezTo>
                <a:lnTo>
                  <a:pt x="11935" y="4773"/>
                </a:lnTo>
                <a:cubicBezTo>
                  <a:pt x="11834" y="4850"/>
                  <a:pt x="11593" y="4863"/>
                  <a:pt x="11467" y="4875"/>
                </a:cubicBezTo>
                <a:lnTo>
                  <a:pt x="10421" y="4875"/>
                </a:lnTo>
                <a:cubicBezTo>
                  <a:pt x="10697" y="2471"/>
                  <a:pt x="11085" y="915"/>
                  <a:pt x="11653" y="823"/>
                </a:cubicBezTo>
                <a:cubicBezTo>
                  <a:pt x="12005" y="779"/>
                  <a:pt x="12243" y="1264"/>
                  <a:pt x="12264" y="2003"/>
                </a:cubicBezTo>
                <a:cubicBezTo>
                  <a:pt x="12278" y="2630"/>
                  <a:pt x="12231" y="3141"/>
                  <a:pt x="12093" y="3660"/>
                </a:cubicBezTo>
                <a:lnTo>
                  <a:pt x="12132" y="3802"/>
                </a:lnTo>
                <a:cubicBezTo>
                  <a:pt x="12443" y="3265"/>
                  <a:pt x="12658" y="2353"/>
                  <a:pt x="12659" y="1732"/>
                </a:cubicBezTo>
                <a:cubicBezTo>
                  <a:pt x="12663" y="767"/>
                  <a:pt x="12345" y="175"/>
                  <a:pt x="11837" y="193"/>
                </a:cubicBezTo>
                <a:cubicBezTo>
                  <a:pt x="11191" y="207"/>
                  <a:pt x="10396" y="739"/>
                  <a:pt x="9840" y="4943"/>
                </a:cubicBezTo>
                <a:cubicBezTo>
                  <a:pt x="9674" y="5036"/>
                  <a:pt x="9524" y="5265"/>
                  <a:pt x="9398" y="5758"/>
                </a:cubicBezTo>
                <a:lnTo>
                  <a:pt x="9421" y="5943"/>
                </a:lnTo>
                <a:cubicBezTo>
                  <a:pt x="9511" y="5825"/>
                  <a:pt x="9618" y="5807"/>
                  <a:pt x="9739" y="5807"/>
                </a:cubicBezTo>
                <a:cubicBezTo>
                  <a:pt x="9662" y="6494"/>
                  <a:pt x="9507" y="7990"/>
                  <a:pt x="9354" y="9529"/>
                </a:cubicBezTo>
                <a:cubicBezTo>
                  <a:pt x="8885" y="11784"/>
                  <a:pt x="8415" y="12859"/>
                  <a:pt x="8071" y="12859"/>
                </a:cubicBezTo>
                <a:cubicBezTo>
                  <a:pt x="7883" y="12880"/>
                  <a:pt x="7808" y="12503"/>
                  <a:pt x="7805" y="11842"/>
                </a:cubicBezTo>
                <a:cubicBezTo>
                  <a:pt x="7803" y="11427"/>
                  <a:pt x="7832" y="10850"/>
                  <a:pt x="7854" y="10549"/>
                </a:cubicBezTo>
                <a:cubicBezTo>
                  <a:pt x="8222" y="9873"/>
                  <a:pt x="8592" y="9114"/>
                  <a:pt x="8926" y="7862"/>
                </a:cubicBezTo>
                <a:cubicBezTo>
                  <a:pt x="9110" y="7136"/>
                  <a:pt x="9238" y="6406"/>
                  <a:pt x="9242" y="5654"/>
                </a:cubicBezTo>
                <a:cubicBezTo>
                  <a:pt x="9245" y="4943"/>
                  <a:pt x="9126" y="4582"/>
                  <a:pt x="8880" y="4568"/>
                </a:cubicBezTo>
                <a:cubicBezTo>
                  <a:pt x="8531" y="4553"/>
                  <a:pt x="8109" y="5428"/>
                  <a:pt x="7834" y="6494"/>
                </a:cubicBezTo>
                <a:cubicBezTo>
                  <a:pt x="7475" y="7927"/>
                  <a:pt x="7197" y="9950"/>
                  <a:pt x="7191" y="11749"/>
                </a:cubicBezTo>
                <a:close/>
                <a:moveTo>
                  <a:pt x="8720" y="5490"/>
                </a:moveTo>
                <a:cubicBezTo>
                  <a:pt x="8799" y="5490"/>
                  <a:pt x="8832" y="5689"/>
                  <a:pt x="8832" y="5944"/>
                </a:cubicBezTo>
                <a:cubicBezTo>
                  <a:pt x="8828" y="7146"/>
                  <a:pt x="8425" y="8686"/>
                  <a:pt x="7901" y="9810"/>
                </a:cubicBezTo>
                <a:cubicBezTo>
                  <a:pt x="8033" y="7947"/>
                  <a:pt x="8400" y="5472"/>
                  <a:pt x="8720" y="5490"/>
                </a:cubicBezTo>
                <a:close/>
                <a:moveTo>
                  <a:pt x="8720" y="5490"/>
                </a:moveTo>
              </a:path>
            </a:pathLst>
          </a:custGeom>
          <a:solidFill>
            <a:srgbClr val="003346"/>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pPr defTabSz="912713" fontAlgn="auto">
              <a:spcBef>
                <a:spcPts val="0"/>
              </a:spcBef>
              <a:spcAft>
                <a:spcPts val="0"/>
              </a:spcAft>
            </a:pPr>
            <a:endParaRPr lang="en-GB" sz="1800" dirty="0">
              <a:solidFill>
                <a:srgbClr val="003245"/>
              </a:solidFill>
              <a:latin typeface="Trebuchet MS"/>
            </a:endParaRPr>
          </a:p>
        </p:txBody>
      </p:sp>
      <p:sp>
        <p:nvSpPr>
          <p:cNvPr id="6148" name="Rectangle 13"/>
          <p:cNvSpPr>
            <a:spLocks/>
          </p:cNvSpPr>
          <p:nvPr/>
        </p:nvSpPr>
        <p:spPr bwMode="auto">
          <a:xfrm rot="10800000">
            <a:off x="7164368" y="4749404"/>
            <a:ext cx="864577" cy="36909"/>
          </a:xfrm>
          <a:prstGeom prst="rect">
            <a:avLst/>
          </a:prstGeom>
          <a:solidFill>
            <a:srgbClr val="156273"/>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pPr defTabSz="912713" fontAlgn="auto">
              <a:spcBef>
                <a:spcPts val="0"/>
              </a:spcBef>
              <a:spcAft>
                <a:spcPts val="0"/>
              </a:spcAft>
            </a:pPr>
            <a:endParaRPr lang="es-ES" sz="1800" dirty="0">
              <a:solidFill>
                <a:srgbClr val="003245"/>
              </a:solidFill>
              <a:latin typeface="Trebuchet MS"/>
            </a:endParaRPr>
          </a:p>
        </p:txBody>
      </p:sp>
      <p:sp>
        <p:nvSpPr>
          <p:cNvPr id="6149" name="Rectangle 12"/>
          <p:cNvSpPr>
            <a:spLocks/>
          </p:cNvSpPr>
          <p:nvPr/>
        </p:nvSpPr>
        <p:spPr bwMode="auto">
          <a:xfrm rot="10800000">
            <a:off x="8015756" y="4749404"/>
            <a:ext cx="1122485" cy="36909"/>
          </a:xfrm>
          <a:prstGeom prst="rect">
            <a:avLst/>
          </a:prstGeom>
          <a:solidFill>
            <a:srgbClr val="115362"/>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pPr defTabSz="912713" fontAlgn="auto">
              <a:spcBef>
                <a:spcPts val="0"/>
              </a:spcBef>
              <a:spcAft>
                <a:spcPts val="0"/>
              </a:spcAft>
            </a:pPr>
            <a:endParaRPr lang="es-ES" sz="1800" dirty="0">
              <a:solidFill>
                <a:srgbClr val="003245"/>
              </a:solidFill>
              <a:latin typeface="Trebuchet MS"/>
            </a:endParaRPr>
          </a:p>
        </p:txBody>
      </p:sp>
      <p:sp>
        <p:nvSpPr>
          <p:cNvPr id="6150" name="Rectangle 14"/>
          <p:cNvSpPr>
            <a:spLocks/>
          </p:cNvSpPr>
          <p:nvPr/>
        </p:nvSpPr>
        <p:spPr bwMode="auto">
          <a:xfrm rot="10800000">
            <a:off x="6268916" y="4749404"/>
            <a:ext cx="895350" cy="36909"/>
          </a:xfrm>
          <a:prstGeom prst="rect">
            <a:avLst/>
          </a:prstGeom>
          <a:solidFill>
            <a:srgbClr val="1C849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pPr defTabSz="912713" fontAlgn="auto">
              <a:spcBef>
                <a:spcPts val="0"/>
              </a:spcBef>
              <a:spcAft>
                <a:spcPts val="0"/>
              </a:spcAft>
            </a:pPr>
            <a:endParaRPr lang="es-ES" sz="1800" dirty="0">
              <a:solidFill>
                <a:srgbClr val="003245"/>
              </a:solidFill>
              <a:latin typeface="Trebuchet MS"/>
            </a:endParaRPr>
          </a:p>
        </p:txBody>
      </p:sp>
      <p:sp>
        <p:nvSpPr>
          <p:cNvPr id="6151" name="Rectangle 15"/>
          <p:cNvSpPr>
            <a:spLocks/>
          </p:cNvSpPr>
          <p:nvPr/>
        </p:nvSpPr>
        <p:spPr bwMode="auto">
          <a:xfrm rot="10800000">
            <a:off x="-5854" y="4749404"/>
            <a:ext cx="6274777" cy="36909"/>
          </a:xfrm>
          <a:prstGeom prst="rect">
            <a:avLst/>
          </a:prstGeom>
          <a:solidFill>
            <a:srgbClr val="29C6D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pPr defTabSz="912713" fontAlgn="auto">
              <a:spcBef>
                <a:spcPts val="0"/>
              </a:spcBef>
              <a:spcAft>
                <a:spcPts val="0"/>
              </a:spcAft>
            </a:pPr>
            <a:endParaRPr lang="es-ES" sz="1800" dirty="0">
              <a:solidFill>
                <a:srgbClr val="003245"/>
              </a:solidFill>
              <a:latin typeface="Trebuchet MS"/>
            </a:endParaRPr>
          </a:p>
        </p:txBody>
      </p:sp>
      <p:sp>
        <p:nvSpPr>
          <p:cNvPr id="14" name="Slide Number Placeholder 2"/>
          <p:cNvSpPr>
            <a:spLocks noGrp="1"/>
          </p:cNvSpPr>
          <p:nvPr>
            <p:ph type="sldNum" sz="quarter" idx="4"/>
          </p:nvPr>
        </p:nvSpPr>
        <p:spPr>
          <a:xfrm>
            <a:off x="4425956" y="4848206"/>
            <a:ext cx="279065" cy="219263"/>
          </a:xfrm>
          <a:prstGeom prst="rect">
            <a:avLst/>
          </a:prstGeom>
          <a:noFill/>
          <a:ln w="9525">
            <a:noFill/>
            <a:miter lim="800000"/>
            <a:headEnd/>
            <a:tailEnd/>
          </a:ln>
          <a:effectLst/>
        </p:spPr>
        <p:txBody>
          <a:bodyPr vert="horz" wrap="none" lIns="91290" tIns="45645" rIns="91290" bIns="45645"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pPr defTabSz="912713" fontAlgn="auto">
              <a:spcBef>
                <a:spcPts val="0"/>
              </a:spcBef>
              <a:spcAft>
                <a:spcPts val="0"/>
              </a:spcAft>
            </a:pPr>
            <a:fld id="{9D9F8B9A-560A-470D-9EA6-79F5999904E6}" type="slidenum">
              <a:rPr lang="en-GB" smtClean="0"/>
              <a:pPr defTabSz="912713" fontAlgn="auto">
                <a:spcBef>
                  <a:spcPts val="0"/>
                </a:spcBef>
                <a:spcAft>
                  <a:spcPts val="0"/>
                </a:spcAft>
              </a:pPr>
              <a:t>‹#›</a:t>
            </a:fld>
            <a:endParaRPr lang="en-GB" dirty="0"/>
          </a:p>
        </p:txBody>
      </p:sp>
      <p:grpSp>
        <p:nvGrpSpPr>
          <p:cNvPr id="11" name="Grupo 10"/>
          <p:cNvGrpSpPr/>
          <p:nvPr/>
        </p:nvGrpSpPr>
        <p:grpSpPr>
          <a:xfrm>
            <a:off x="58865" y="4847847"/>
            <a:ext cx="2103461" cy="331356"/>
            <a:chOff x="58864" y="6464175"/>
            <a:chExt cx="2103461" cy="441807"/>
          </a:xfrm>
        </p:grpSpPr>
        <p:grpSp>
          <p:nvGrpSpPr>
            <p:cNvPr id="12" name="Group 4"/>
            <p:cNvGrpSpPr>
              <a:grpSpLocks/>
            </p:cNvGrpSpPr>
            <p:nvPr userDrawn="1"/>
          </p:nvGrpSpPr>
          <p:grpSpPr bwMode="auto">
            <a:xfrm>
              <a:off x="179512" y="6464175"/>
              <a:ext cx="888250" cy="136799"/>
              <a:chOff x="-14" y="12"/>
              <a:chExt cx="605" cy="99"/>
            </a:xfrm>
          </p:grpSpPr>
          <p:sp>
            <p:nvSpPr>
              <p:cNvPr id="15" name="AutoShape 2"/>
              <p:cNvSpPr>
                <a:spLocks/>
              </p:cNvSpPr>
              <p:nvPr/>
            </p:nvSpPr>
            <p:spPr bwMode="auto">
              <a:xfrm>
                <a:off x="-14" y="12"/>
                <a:ext cx="54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1600" h="21600">
                    <a:moveTo>
                      <a:pt x="2236" y="9904"/>
                    </a:moveTo>
                    <a:cubicBezTo>
                      <a:pt x="2490" y="10359"/>
                      <a:pt x="2636" y="10997"/>
                      <a:pt x="2734" y="11787"/>
                    </a:cubicBezTo>
                    <a:cubicBezTo>
                      <a:pt x="2833" y="12577"/>
                      <a:pt x="2864" y="13428"/>
                      <a:pt x="2864" y="14460"/>
                    </a:cubicBezTo>
                    <a:cubicBezTo>
                      <a:pt x="2864" y="16952"/>
                      <a:pt x="2688" y="18501"/>
                      <a:pt x="2444" y="19473"/>
                    </a:cubicBezTo>
                    <a:cubicBezTo>
                      <a:pt x="2174" y="20567"/>
                      <a:pt x="1764" y="21175"/>
                      <a:pt x="1105" y="21175"/>
                    </a:cubicBezTo>
                    <a:lnTo>
                      <a:pt x="0" y="21175"/>
                    </a:lnTo>
                    <a:lnTo>
                      <a:pt x="623" y="395"/>
                    </a:lnTo>
                    <a:lnTo>
                      <a:pt x="1717" y="395"/>
                    </a:lnTo>
                    <a:cubicBezTo>
                      <a:pt x="2226" y="395"/>
                      <a:pt x="2480" y="942"/>
                      <a:pt x="2636" y="1671"/>
                    </a:cubicBezTo>
                    <a:cubicBezTo>
                      <a:pt x="2823" y="2552"/>
                      <a:pt x="2885" y="3797"/>
                      <a:pt x="2885" y="4982"/>
                    </a:cubicBezTo>
                    <a:cubicBezTo>
                      <a:pt x="2885" y="7017"/>
                      <a:pt x="2703" y="8871"/>
                      <a:pt x="2236" y="9904"/>
                    </a:cubicBezTo>
                    <a:close/>
                    <a:moveTo>
                      <a:pt x="908" y="17742"/>
                    </a:moveTo>
                    <a:lnTo>
                      <a:pt x="1188" y="17742"/>
                    </a:lnTo>
                    <a:cubicBezTo>
                      <a:pt x="1484" y="17742"/>
                      <a:pt x="1645" y="17529"/>
                      <a:pt x="1775" y="17134"/>
                    </a:cubicBezTo>
                    <a:cubicBezTo>
                      <a:pt x="1920" y="16679"/>
                      <a:pt x="2039" y="15919"/>
                      <a:pt x="2039" y="14643"/>
                    </a:cubicBezTo>
                    <a:cubicBezTo>
                      <a:pt x="2039" y="13792"/>
                      <a:pt x="1987" y="13155"/>
                      <a:pt x="1899" y="12760"/>
                    </a:cubicBezTo>
                    <a:cubicBezTo>
                      <a:pt x="1800" y="12304"/>
                      <a:pt x="1650" y="12091"/>
                      <a:pt x="1437" y="12091"/>
                    </a:cubicBezTo>
                    <a:lnTo>
                      <a:pt x="1079" y="12091"/>
                    </a:lnTo>
                    <a:lnTo>
                      <a:pt x="908" y="17742"/>
                    </a:lnTo>
                    <a:close/>
                    <a:moveTo>
                      <a:pt x="1183" y="8658"/>
                    </a:moveTo>
                    <a:lnTo>
                      <a:pt x="1365" y="8658"/>
                    </a:lnTo>
                    <a:cubicBezTo>
                      <a:pt x="1645" y="8658"/>
                      <a:pt x="1800" y="8324"/>
                      <a:pt x="1909" y="7838"/>
                    </a:cubicBezTo>
                    <a:cubicBezTo>
                      <a:pt x="2018" y="7352"/>
                      <a:pt x="2081" y="6623"/>
                      <a:pt x="2081" y="5742"/>
                    </a:cubicBezTo>
                    <a:cubicBezTo>
                      <a:pt x="2081" y="5134"/>
                      <a:pt x="2055" y="4739"/>
                      <a:pt x="1998" y="4405"/>
                    </a:cubicBezTo>
                    <a:cubicBezTo>
                      <a:pt x="1935" y="4071"/>
                      <a:pt x="1831" y="3828"/>
                      <a:pt x="1603" y="3828"/>
                    </a:cubicBezTo>
                    <a:lnTo>
                      <a:pt x="1328" y="3828"/>
                    </a:lnTo>
                    <a:lnTo>
                      <a:pt x="1183" y="8658"/>
                    </a:lnTo>
                    <a:close/>
                    <a:moveTo>
                      <a:pt x="4140" y="17742"/>
                    </a:moveTo>
                    <a:lnTo>
                      <a:pt x="5749" y="17742"/>
                    </a:lnTo>
                    <a:lnTo>
                      <a:pt x="5650" y="21175"/>
                    </a:lnTo>
                    <a:lnTo>
                      <a:pt x="3227" y="21175"/>
                    </a:lnTo>
                    <a:lnTo>
                      <a:pt x="3850" y="395"/>
                    </a:lnTo>
                    <a:lnTo>
                      <a:pt x="6247" y="395"/>
                    </a:lnTo>
                    <a:lnTo>
                      <a:pt x="6081" y="3828"/>
                    </a:lnTo>
                    <a:lnTo>
                      <a:pt x="4556" y="3828"/>
                    </a:lnTo>
                    <a:lnTo>
                      <a:pt x="4405" y="8871"/>
                    </a:lnTo>
                    <a:lnTo>
                      <a:pt x="5624" y="8871"/>
                    </a:lnTo>
                    <a:lnTo>
                      <a:pt x="5515" y="12425"/>
                    </a:lnTo>
                    <a:lnTo>
                      <a:pt x="4296" y="12425"/>
                    </a:lnTo>
                    <a:lnTo>
                      <a:pt x="4140" y="17742"/>
                    </a:lnTo>
                    <a:close/>
                    <a:moveTo>
                      <a:pt x="8540" y="395"/>
                    </a:moveTo>
                    <a:lnTo>
                      <a:pt x="9298" y="11878"/>
                    </a:lnTo>
                    <a:lnTo>
                      <a:pt x="10792" y="395"/>
                    </a:lnTo>
                    <a:lnTo>
                      <a:pt x="11456" y="395"/>
                    </a:lnTo>
                    <a:lnTo>
                      <a:pt x="10834" y="21175"/>
                    </a:lnTo>
                    <a:lnTo>
                      <a:pt x="10092" y="21175"/>
                    </a:lnTo>
                    <a:lnTo>
                      <a:pt x="10450" y="9053"/>
                    </a:lnTo>
                    <a:lnTo>
                      <a:pt x="9495" y="16436"/>
                    </a:lnTo>
                    <a:lnTo>
                      <a:pt x="8872" y="16436"/>
                    </a:lnTo>
                    <a:lnTo>
                      <a:pt x="8354" y="8658"/>
                    </a:lnTo>
                    <a:lnTo>
                      <a:pt x="7975" y="21175"/>
                    </a:lnTo>
                    <a:lnTo>
                      <a:pt x="7295" y="21175"/>
                    </a:lnTo>
                    <a:lnTo>
                      <a:pt x="7918" y="395"/>
                    </a:lnTo>
                    <a:lnTo>
                      <a:pt x="8540" y="395"/>
                    </a:lnTo>
                    <a:close/>
                    <a:moveTo>
                      <a:pt x="11685" y="13640"/>
                    </a:moveTo>
                    <a:cubicBezTo>
                      <a:pt x="11685" y="10451"/>
                      <a:pt x="11820" y="7321"/>
                      <a:pt x="12058" y="4921"/>
                    </a:cubicBezTo>
                    <a:cubicBezTo>
                      <a:pt x="12380" y="1701"/>
                      <a:pt x="12893" y="0"/>
                      <a:pt x="13610" y="0"/>
                    </a:cubicBezTo>
                    <a:cubicBezTo>
                      <a:pt x="14429" y="0"/>
                      <a:pt x="14990" y="2521"/>
                      <a:pt x="14990" y="7959"/>
                    </a:cubicBezTo>
                    <a:cubicBezTo>
                      <a:pt x="14990" y="11149"/>
                      <a:pt x="14855" y="14278"/>
                      <a:pt x="14616" y="16678"/>
                    </a:cubicBezTo>
                    <a:cubicBezTo>
                      <a:pt x="14295" y="19899"/>
                      <a:pt x="13781" y="21600"/>
                      <a:pt x="13065" y="21600"/>
                    </a:cubicBezTo>
                    <a:cubicBezTo>
                      <a:pt x="12245" y="21600"/>
                      <a:pt x="11685" y="19078"/>
                      <a:pt x="11685" y="13640"/>
                    </a:cubicBezTo>
                    <a:close/>
                    <a:moveTo>
                      <a:pt x="12790" y="6775"/>
                    </a:moveTo>
                    <a:cubicBezTo>
                      <a:pt x="12619" y="8688"/>
                      <a:pt x="12520" y="11180"/>
                      <a:pt x="12520" y="13640"/>
                    </a:cubicBezTo>
                    <a:cubicBezTo>
                      <a:pt x="12520" y="16770"/>
                      <a:pt x="12764" y="17894"/>
                      <a:pt x="13127" y="17894"/>
                    </a:cubicBezTo>
                    <a:cubicBezTo>
                      <a:pt x="13469" y="17894"/>
                      <a:pt x="13713" y="16709"/>
                      <a:pt x="13885" y="14825"/>
                    </a:cubicBezTo>
                    <a:cubicBezTo>
                      <a:pt x="14056" y="12912"/>
                      <a:pt x="14154" y="10420"/>
                      <a:pt x="14154" y="7960"/>
                    </a:cubicBezTo>
                    <a:cubicBezTo>
                      <a:pt x="14154" y="4830"/>
                      <a:pt x="13911" y="3706"/>
                      <a:pt x="13547" y="3706"/>
                    </a:cubicBezTo>
                    <a:cubicBezTo>
                      <a:pt x="13205" y="3706"/>
                      <a:pt x="12961" y="4891"/>
                      <a:pt x="12790" y="6775"/>
                    </a:cubicBezTo>
                    <a:close/>
                    <a:moveTo>
                      <a:pt x="18098" y="10177"/>
                    </a:moveTo>
                    <a:cubicBezTo>
                      <a:pt x="17963" y="11271"/>
                      <a:pt x="17745" y="12182"/>
                      <a:pt x="17459" y="12851"/>
                    </a:cubicBezTo>
                    <a:lnTo>
                      <a:pt x="18009" y="21175"/>
                    </a:lnTo>
                    <a:lnTo>
                      <a:pt x="17143" y="21175"/>
                    </a:lnTo>
                    <a:lnTo>
                      <a:pt x="16728" y="13641"/>
                    </a:lnTo>
                    <a:lnTo>
                      <a:pt x="16251" y="13641"/>
                    </a:lnTo>
                    <a:lnTo>
                      <a:pt x="16027" y="21175"/>
                    </a:lnTo>
                    <a:lnTo>
                      <a:pt x="15218" y="21175"/>
                    </a:lnTo>
                    <a:lnTo>
                      <a:pt x="15841" y="395"/>
                    </a:lnTo>
                    <a:lnTo>
                      <a:pt x="17050" y="395"/>
                    </a:lnTo>
                    <a:cubicBezTo>
                      <a:pt x="17491" y="395"/>
                      <a:pt x="17797" y="942"/>
                      <a:pt x="17989" y="1914"/>
                    </a:cubicBezTo>
                    <a:cubicBezTo>
                      <a:pt x="18202" y="2977"/>
                      <a:pt x="18290" y="4526"/>
                      <a:pt x="18290" y="6319"/>
                    </a:cubicBezTo>
                    <a:cubicBezTo>
                      <a:pt x="18290" y="7807"/>
                      <a:pt x="18227" y="9114"/>
                      <a:pt x="18098" y="10177"/>
                    </a:cubicBezTo>
                    <a:close/>
                    <a:moveTo>
                      <a:pt x="16354" y="10208"/>
                    </a:moveTo>
                    <a:lnTo>
                      <a:pt x="16666" y="10208"/>
                    </a:lnTo>
                    <a:cubicBezTo>
                      <a:pt x="16915" y="10208"/>
                      <a:pt x="17138" y="9934"/>
                      <a:pt x="17288" y="9114"/>
                    </a:cubicBezTo>
                    <a:cubicBezTo>
                      <a:pt x="17408" y="8476"/>
                      <a:pt x="17486" y="7443"/>
                      <a:pt x="17486" y="6349"/>
                    </a:cubicBezTo>
                    <a:cubicBezTo>
                      <a:pt x="17486" y="5651"/>
                      <a:pt x="17454" y="5012"/>
                      <a:pt x="17382" y="4587"/>
                    </a:cubicBezTo>
                    <a:cubicBezTo>
                      <a:pt x="17299" y="4101"/>
                      <a:pt x="17169" y="3828"/>
                      <a:pt x="16951" y="3828"/>
                    </a:cubicBezTo>
                    <a:lnTo>
                      <a:pt x="16546" y="3828"/>
                    </a:lnTo>
                    <a:lnTo>
                      <a:pt x="16354" y="10208"/>
                    </a:lnTo>
                    <a:close/>
                    <a:moveTo>
                      <a:pt x="19493" y="17742"/>
                    </a:moveTo>
                    <a:lnTo>
                      <a:pt x="21102" y="17742"/>
                    </a:lnTo>
                    <a:lnTo>
                      <a:pt x="21003" y="21175"/>
                    </a:lnTo>
                    <a:lnTo>
                      <a:pt x="18580" y="21175"/>
                    </a:lnTo>
                    <a:lnTo>
                      <a:pt x="19203" y="395"/>
                    </a:lnTo>
                    <a:lnTo>
                      <a:pt x="21600" y="395"/>
                    </a:lnTo>
                    <a:lnTo>
                      <a:pt x="21434" y="3828"/>
                    </a:lnTo>
                    <a:lnTo>
                      <a:pt x="19909" y="3828"/>
                    </a:lnTo>
                    <a:lnTo>
                      <a:pt x="19758" y="8871"/>
                    </a:lnTo>
                    <a:lnTo>
                      <a:pt x="20977" y="8871"/>
                    </a:lnTo>
                    <a:lnTo>
                      <a:pt x="20868" y="12425"/>
                    </a:lnTo>
                    <a:lnTo>
                      <a:pt x="19649" y="12425"/>
                    </a:lnTo>
                    <a:lnTo>
                      <a:pt x="19493" y="17742"/>
                    </a:lnTo>
                    <a:close/>
                    <a:moveTo>
                      <a:pt x="19493" y="17742"/>
                    </a:moveTo>
                  </a:path>
                </a:pathLst>
              </a:custGeom>
              <a:solidFill>
                <a:schemeClr val="accent1"/>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pPr defTabSz="912713" fontAlgn="auto">
                  <a:spcBef>
                    <a:spcPts val="0"/>
                  </a:spcBef>
                  <a:spcAft>
                    <a:spcPts val="0"/>
                  </a:spcAft>
                </a:pPr>
                <a:endParaRPr lang="en-GB" sz="1800" dirty="0">
                  <a:solidFill>
                    <a:srgbClr val="003245"/>
                  </a:solidFill>
                  <a:latin typeface="Trebuchet MS"/>
                </a:endParaRPr>
              </a:p>
            </p:txBody>
          </p:sp>
          <p:sp>
            <p:nvSpPr>
              <p:cNvPr id="16" name="AutoShape 3"/>
              <p:cNvSpPr>
                <a:spLocks/>
              </p:cNvSpPr>
              <p:nvPr/>
            </p:nvSpPr>
            <p:spPr bwMode="auto">
              <a:xfrm>
                <a:off x="533" y="98"/>
                <a:ext cx="58" cy="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21600"/>
                    </a:moveTo>
                    <a:lnTo>
                      <a:pt x="870" y="0"/>
                    </a:lnTo>
                    <a:lnTo>
                      <a:pt x="21600" y="0"/>
                    </a:lnTo>
                    <a:lnTo>
                      <a:pt x="20730" y="21600"/>
                    </a:lnTo>
                    <a:lnTo>
                      <a:pt x="0" y="21600"/>
                    </a:lnTo>
                    <a:close/>
                    <a:moveTo>
                      <a:pt x="0" y="21600"/>
                    </a:moveTo>
                  </a:path>
                </a:pathLst>
              </a:custGeom>
              <a:solidFill>
                <a:srgbClr val="7DFE9D"/>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pPr defTabSz="912713" fontAlgn="auto">
                  <a:spcBef>
                    <a:spcPts val="0"/>
                  </a:spcBef>
                  <a:spcAft>
                    <a:spcPts val="0"/>
                  </a:spcAft>
                </a:pPr>
                <a:endParaRPr lang="en-GB" sz="1800" dirty="0">
                  <a:solidFill>
                    <a:srgbClr val="003245"/>
                  </a:solidFill>
                  <a:latin typeface="Trebuchet MS"/>
                </a:endParaRPr>
              </a:p>
            </p:txBody>
          </p:sp>
        </p:grpSp>
        <p:sp>
          <p:nvSpPr>
            <p:cNvPr id="13" name="22 CuadroTexto"/>
            <p:cNvSpPr txBox="1"/>
            <p:nvPr userDrawn="1"/>
          </p:nvSpPr>
          <p:spPr>
            <a:xfrm>
              <a:off x="58864" y="6577688"/>
              <a:ext cx="2103461" cy="328294"/>
            </a:xfrm>
            <a:prstGeom prst="rect">
              <a:avLst/>
            </a:prstGeom>
            <a:noFill/>
          </p:spPr>
          <p:txBody>
            <a:bodyPr wrap="none" rtlCol="0">
              <a:spAutoFit/>
            </a:bodyPr>
            <a:lstStyle/>
            <a:p>
              <a:pPr defTabSz="912713" fontAlgn="auto">
                <a:spcBef>
                  <a:spcPts val="0"/>
                </a:spcBef>
                <a:spcAft>
                  <a:spcPts val="0"/>
                </a:spcAft>
              </a:pPr>
              <a:r>
                <a:rPr lang="en-US" sz="1000" i="1" dirty="0">
                  <a:solidFill>
                    <a:srgbClr val="4BACC6">
                      <a:lumMod val="75000"/>
                    </a:srgbClr>
                  </a:solidFill>
                  <a:latin typeface="Arial" panose="020B0604020202020204" pitchFamily="34" charset="0"/>
                  <a:cs typeface="Arial" panose="020B0604020202020204" pitchFamily="34" charset="0"/>
                </a:rPr>
                <a:t>DISCOVER, DISRUPT, DELIVER</a:t>
              </a:r>
            </a:p>
          </p:txBody>
        </p:sp>
      </p:grpSp>
    </p:spTree>
    <p:extLst>
      <p:ext uri="{BB962C8B-B14F-4D97-AF65-F5344CB8AC3E}">
        <p14:creationId xmlns:p14="http://schemas.microsoft.com/office/powerpoint/2010/main" val="319216426"/>
      </p:ext>
    </p:extLst>
  </p:cSld>
  <p:clrMap bg1="lt1" tx1="dk1" bg2="lt2" tx2="dk2" accent1="accent1" accent2="accent2" accent3="accent3" accent4="accent4" accent5="accent5" accent6="accent6" hlink="hlink" folHlink="folHlink"/>
  <p:sldLayoutIdLst>
    <p:sldLayoutId id="2147485207" r:id="rId1"/>
  </p:sldLayoutIdLst>
  <p:transition/>
  <p:hf hdr="0" dt="0"/>
  <p:txStyles>
    <p:titleStyle>
      <a:lvl1pPr algn="l" rtl="0" eaLnBrk="0" fontAlgn="base" hangingPunct="0">
        <a:spcBef>
          <a:spcPct val="0"/>
        </a:spcBef>
        <a:spcAft>
          <a:spcPct val="0"/>
        </a:spcAft>
        <a:defRPr sz="2800">
          <a:solidFill>
            <a:srgbClr val="17B4C6"/>
          </a:solidFill>
          <a:latin typeface="+mj-lt"/>
          <a:ea typeface="+mj-ea"/>
          <a:cs typeface="+mj-cs"/>
          <a:sym typeface="Gill Sans" pitchFamily="122"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5pPr>
      <a:lvl6pPr marL="456302"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2713"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6905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5424"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887350" indent="-57045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1pPr>
      <a:lvl2pPr marL="1331025" indent="-57045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2pPr>
      <a:lvl3pPr marL="1774633" indent="-57045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3pPr>
      <a:lvl4pPr marL="2218337" indent="-57045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4pPr>
      <a:lvl5pPr marL="2662049" indent="-57045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5pPr>
      <a:lvl6pPr marL="3118350" indent="-57045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6pPr>
      <a:lvl7pPr marL="3574655" indent="-57045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7pPr>
      <a:lvl8pPr marL="4031045" indent="-57045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8pPr>
      <a:lvl9pPr marL="4487397" indent="-57045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9pPr>
    </p:bodyStyle>
    <p:otherStyle>
      <a:defPPr>
        <a:defRPr lang="es-ES"/>
      </a:defPPr>
      <a:lvl1pPr marL="0" algn="l" defTabSz="456302" rtl="0" eaLnBrk="1" latinLnBrk="0" hangingPunct="1">
        <a:defRPr sz="1800" kern="1200">
          <a:solidFill>
            <a:schemeClr val="tx1"/>
          </a:solidFill>
          <a:latin typeface="+mn-lt"/>
          <a:ea typeface="+mn-ea"/>
          <a:cs typeface="+mn-cs"/>
        </a:defRPr>
      </a:lvl1pPr>
      <a:lvl2pPr marL="456302" algn="l" defTabSz="456302" rtl="0" eaLnBrk="1" latinLnBrk="0" hangingPunct="1">
        <a:defRPr sz="1800" kern="1200">
          <a:solidFill>
            <a:schemeClr val="tx1"/>
          </a:solidFill>
          <a:latin typeface="+mn-lt"/>
          <a:ea typeface="+mn-ea"/>
          <a:cs typeface="+mn-cs"/>
        </a:defRPr>
      </a:lvl2pPr>
      <a:lvl3pPr marL="912713" algn="l" defTabSz="456302" rtl="0" eaLnBrk="1" latinLnBrk="0" hangingPunct="1">
        <a:defRPr sz="1800" kern="1200">
          <a:solidFill>
            <a:schemeClr val="tx1"/>
          </a:solidFill>
          <a:latin typeface="+mn-lt"/>
          <a:ea typeface="+mn-ea"/>
          <a:cs typeface="+mn-cs"/>
        </a:defRPr>
      </a:lvl3pPr>
      <a:lvl4pPr marL="1369050" algn="l" defTabSz="456302" rtl="0" eaLnBrk="1" latinLnBrk="0" hangingPunct="1">
        <a:defRPr sz="1800" kern="1200">
          <a:solidFill>
            <a:schemeClr val="tx1"/>
          </a:solidFill>
          <a:latin typeface="+mn-lt"/>
          <a:ea typeface="+mn-ea"/>
          <a:cs typeface="+mn-cs"/>
        </a:defRPr>
      </a:lvl4pPr>
      <a:lvl5pPr marL="1825424" algn="l" defTabSz="456302" rtl="0" eaLnBrk="1" latinLnBrk="0" hangingPunct="1">
        <a:defRPr sz="1800" kern="1200">
          <a:solidFill>
            <a:schemeClr val="tx1"/>
          </a:solidFill>
          <a:latin typeface="+mn-lt"/>
          <a:ea typeface="+mn-ea"/>
          <a:cs typeface="+mn-cs"/>
        </a:defRPr>
      </a:lvl5pPr>
      <a:lvl6pPr marL="2281725" algn="l" defTabSz="456302" rtl="0" eaLnBrk="1" latinLnBrk="0" hangingPunct="1">
        <a:defRPr sz="1800" kern="1200">
          <a:solidFill>
            <a:schemeClr val="tx1"/>
          </a:solidFill>
          <a:latin typeface="+mn-lt"/>
          <a:ea typeface="+mn-ea"/>
          <a:cs typeface="+mn-cs"/>
        </a:defRPr>
      </a:lvl6pPr>
      <a:lvl7pPr marL="2738027" algn="l" defTabSz="456302" rtl="0" eaLnBrk="1" latinLnBrk="0" hangingPunct="1">
        <a:defRPr sz="1800" kern="1200">
          <a:solidFill>
            <a:schemeClr val="tx1"/>
          </a:solidFill>
          <a:latin typeface="+mn-lt"/>
          <a:ea typeface="+mn-ea"/>
          <a:cs typeface="+mn-cs"/>
        </a:defRPr>
      </a:lvl7pPr>
      <a:lvl8pPr marL="3194403" algn="l" defTabSz="456302" rtl="0" eaLnBrk="1" latinLnBrk="0" hangingPunct="1">
        <a:defRPr sz="1800" kern="1200">
          <a:solidFill>
            <a:schemeClr val="tx1"/>
          </a:solidFill>
          <a:latin typeface="+mn-lt"/>
          <a:ea typeface="+mn-ea"/>
          <a:cs typeface="+mn-cs"/>
        </a:defRPr>
      </a:lvl8pPr>
      <a:lvl9pPr marL="3650761" algn="l" defTabSz="45630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398" tIns="45699" rIns="91398" bIns="45699"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457200" y="1200151"/>
            <a:ext cx="8229600" cy="3394472"/>
          </a:xfrm>
          <a:prstGeom prst="rect">
            <a:avLst/>
          </a:prstGeom>
        </p:spPr>
        <p:txBody>
          <a:bodyPr vert="horz" lIns="91398" tIns="45699" rIns="91398" bIns="45699" rtlCol="0">
            <a:normAutofit/>
          </a:bodyPr>
          <a:lstStyle/>
          <a:p>
            <a:pPr lvl="0"/>
            <a:r>
              <a:rPr lang="en-US" dirty="0"/>
              <a:t>Click to edit Master text styles</a:t>
            </a:r>
          </a:p>
          <a:p>
            <a:pPr lvl="1"/>
            <a:r>
              <a:rPr lang="en-US" dirty="0"/>
              <a:t>Second level</a:t>
            </a:r>
          </a:p>
          <a:p>
            <a:pPr lvl="2"/>
            <a:r>
              <a:rPr lang="en-US" dirty="0"/>
              <a:t>Third level</a:t>
            </a:r>
          </a:p>
        </p:txBody>
      </p:sp>
      <p:pic>
        <p:nvPicPr>
          <p:cNvPr id="7" name="Picture 6" descr="Gorkana_color_300.png"/>
          <p:cNvPicPr>
            <a:picLocks noChangeAspect="1"/>
          </p:cNvPicPr>
          <p:nvPr userDrawn="1"/>
        </p:nvPicPr>
        <p:blipFill>
          <a:blip r:embed="rId4" cstate="screen"/>
          <a:stretch>
            <a:fillRect/>
          </a:stretch>
        </p:blipFill>
        <p:spPr>
          <a:xfrm>
            <a:off x="7033066" y="4529488"/>
            <a:ext cx="1813554" cy="394345"/>
          </a:xfrm>
          <a:prstGeom prst="rect">
            <a:avLst/>
          </a:prstGeom>
        </p:spPr>
      </p:pic>
    </p:spTree>
    <p:extLst>
      <p:ext uri="{BB962C8B-B14F-4D97-AF65-F5344CB8AC3E}">
        <p14:creationId xmlns:p14="http://schemas.microsoft.com/office/powerpoint/2010/main" val="2105145749"/>
      </p:ext>
    </p:extLst>
  </p:cSld>
  <p:clrMap bg1="lt1" tx1="dk1" bg2="lt2" tx2="dk2" accent1="accent1" accent2="accent2" accent3="accent3" accent4="accent4" accent5="accent5" accent6="accent6" hlink="hlink" folHlink="folHlink"/>
  <p:sldLayoutIdLst>
    <p:sldLayoutId id="2147485320" r:id="rId1"/>
    <p:sldLayoutId id="2147485321" r:id="rId2"/>
  </p:sldLayoutIdLst>
  <p:txStyles>
    <p:titleStyle>
      <a:lvl1pPr algn="l" defTabSz="913928" rtl="0" eaLnBrk="1" latinLnBrk="0" hangingPunct="1">
        <a:spcBef>
          <a:spcPct val="0"/>
        </a:spcBef>
        <a:buNone/>
        <a:defRPr sz="4400" kern="1200">
          <a:solidFill>
            <a:schemeClr val="tx2"/>
          </a:solidFill>
          <a:latin typeface="Arial" pitchFamily="34" charset="0"/>
          <a:ea typeface="+mj-ea"/>
          <a:cs typeface="Arial" pitchFamily="34" charset="0"/>
        </a:defRPr>
      </a:lvl1pPr>
    </p:titleStyle>
    <p:bodyStyle>
      <a:lvl1pPr marL="342713" indent="-342713" algn="l" defTabSz="913928" rtl="0" eaLnBrk="1" latinLnBrk="0" hangingPunct="1">
        <a:spcBef>
          <a:spcPct val="20000"/>
        </a:spcBef>
        <a:buFont typeface="Arial" pitchFamily="34" charset="0"/>
        <a:buChar char="•"/>
        <a:defRPr sz="3200" kern="1200">
          <a:solidFill>
            <a:schemeClr val="tx2"/>
          </a:solidFill>
          <a:latin typeface="Arial" pitchFamily="34" charset="0"/>
          <a:ea typeface="+mn-ea"/>
          <a:cs typeface="Arial" pitchFamily="34" charset="0"/>
        </a:defRPr>
      </a:lvl1pPr>
      <a:lvl2pPr marL="742571" indent="-285603" algn="l" defTabSz="913928" rtl="0" eaLnBrk="1" latinLnBrk="0" hangingPunct="1">
        <a:spcBef>
          <a:spcPct val="20000"/>
        </a:spcBef>
        <a:buFont typeface="Arial" pitchFamily="34" charset="0"/>
        <a:buChar char="–"/>
        <a:defRPr sz="2800" kern="1200">
          <a:solidFill>
            <a:schemeClr val="tx2"/>
          </a:solidFill>
          <a:latin typeface="Arial" pitchFamily="34" charset="0"/>
          <a:ea typeface="+mn-ea"/>
          <a:cs typeface="Arial" pitchFamily="34" charset="0"/>
        </a:defRPr>
      </a:lvl2pPr>
      <a:lvl3pPr marL="1142402" indent="-228474" algn="l" defTabSz="913928" rtl="0" eaLnBrk="1" latinLnBrk="0" hangingPunct="1">
        <a:spcBef>
          <a:spcPct val="20000"/>
        </a:spcBef>
        <a:buFont typeface="Arial" pitchFamily="34" charset="0"/>
        <a:buChar char="•"/>
        <a:defRPr sz="2400" kern="1200">
          <a:solidFill>
            <a:schemeClr val="tx2"/>
          </a:solidFill>
          <a:latin typeface="Arial" pitchFamily="34" charset="0"/>
          <a:ea typeface="+mn-ea"/>
          <a:cs typeface="Arial" pitchFamily="34" charset="0"/>
        </a:defRPr>
      </a:lvl3pPr>
      <a:lvl4pPr marL="1599360" indent="-228474" algn="l" defTabSz="913928" rtl="0" eaLnBrk="1" latinLnBrk="0" hangingPunct="1">
        <a:spcBef>
          <a:spcPct val="20000"/>
        </a:spcBef>
        <a:buFont typeface="Arial" pitchFamily="34" charset="0"/>
        <a:buChar char="–"/>
        <a:defRPr sz="2000" kern="1200">
          <a:solidFill>
            <a:schemeClr val="tx2"/>
          </a:solidFill>
          <a:latin typeface="Arial" pitchFamily="34" charset="0"/>
          <a:ea typeface="+mn-ea"/>
          <a:cs typeface="Arial" pitchFamily="34" charset="0"/>
        </a:defRPr>
      </a:lvl4pPr>
      <a:lvl5pPr marL="2056328" indent="-228474" algn="l" defTabSz="913928" rtl="0" eaLnBrk="1" latinLnBrk="0" hangingPunct="1">
        <a:spcBef>
          <a:spcPct val="20000"/>
        </a:spcBef>
        <a:buFont typeface="Arial" pitchFamily="34" charset="0"/>
        <a:buChar char="»"/>
        <a:defRPr sz="2000" kern="1200">
          <a:solidFill>
            <a:schemeClr val="tx2"/>
          </a:solidFill>
          <a:latin typeface="Arial" pitchFamily="34" charset="0"/>
          <a:ea typeface="+mn-ea"/>
          <a:cs typeface="Arial" pitchFamily="34" charset="0"/>
        </a:defRPr>
      </a:lvl5pPr>
      <a:lvl6pPr marL="2513277" indent="-228474" algn="l" defTabSz="9139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246" indent="-228474" algn="l" defTabSz="9139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205" indent="-228474" algn="l" defTabSz="9139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163" indent="-228474" algn="l" defTabSz="9139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28" rtl="0" eaLnBrk="1" latinLnBrk="0" hangingPunct="1">
        <a:defRPr sz="1800" kern="1200">
          <a:solidFill>
            <a:schemeClr val="tx1"/>
          </a:solidFill>
          <a:latin typeface="+mn-lt"/>
          <a:ea typeface="+mn-ea"/>
          <a:cs typeface="+mn-cs"/>
        </a:defRPr>
      </a:lvl1pPr>
      <a:lvl2pPr marL="456950" algn="l" defTabSz="913928" rtl="0" eaLnBrk="1" latinLnBrk="0" hangingPunct="1">
        <a:defRPr sz="1800" kern="1200">
          <a:solidFill>
            <a:schemeClr val="tx1"/>
          </a:solidFill>
          <a:latin typeface="+mn-lt"/>
          <a:ea typeface="+mn-ea"/>
          <a:cs typeface="+mn-cs"/>
        </a:defRPr>
      </a:lvl2pPr>
      <a:lvl3pPr marL="913928" algn="l" defTabSz="913928" rtl="0" eaLnBrk="1" latinLnBrk="0" hangingPunct="1">
        <a:defRPr sz="1800" kern="1200">
          <a:solidFill>
            <a:schemeClr val="tx1"/>
          </a:solidFill>
          <a:latin typeface="+mn-lt"/>
          <a:ea typeface="+mn-ea"/>
          <a:cs typeface="+mn-cs"/>
        </a:defRPr>
      </a:lvl3pPr>
      <a:lvl4pPr marL="1370886" algn="l" defTabSz="913928" rtl="0" eaLnBrk="1" latinLnBrk="0" hangingPunct="1">
        <a:defRPr sz="1800" kern="1200">
          <a:solidFill>
            <a:schemeClr val="tx1"/>
          </a:solidFill>
          <a:latin typeface="+mn-lt"/>
          <a:ea typeface="+mn-ea"/>
          <a:cs typeface="+mn-cs"/>
        </a:defRPr>
      </a:lvl4pPr>
      <a:lvl5pPr marL="1827854" algn="l" defTabSz="913928" rtl="0" eaLnBrk="1" latinLnBrk="0" hangingPunct="1">
        <a:defRPr sz="1800" kern="1200">
          <a:solidFill>
            <a:schemeClr val="tx1"/>
          </a:solidFill>
          <a:latin typeface="+mn-lt"/>
          <a:ea typeface="+mn-ea"/>
          <a:cs typeface="+mn-cs"/>
        </a:defRPr>
      </a:lvl5pPr>
      <a:lvl6pPr marL="2284803" algn="l" defTabSz="913928" rtl="0" eaLnBrk="1" latinLnBrk="0" hangingPunct="1">
        <a:defRPr sz="1800" kern="1200">
          <a:solidFill>
            <a:schemeClr val="tx1"/>
          </a:solidFill>
          <a:latin typeface="+mn-lt"/>
          <a:ea typeface="+mn-ea"/>
          <a:cs typeface="+mn-cs"/>
        </a:defRPr>
      </a:lvl6pPr>
      <a:lvl7pPr marL="2741753" algn="l" defTabSz="913928" rtl="0" eaLnBrk="1" latinLnBrk="0" hangingPunct="1">
        <a:defRPr sz="1800" kern="1200">
          <a:solidFill>
            <a:schemeClr val="tx1"/>
          </a:solidFill>
          <a:latin typeface="+mn-lt"/>
          <a:ea typeface="+mn-ea"/>
          <a:cs typeface="+mn-cs"/>
        </a:defRPr>
      </a:lvl7pPr>
      <a:lvl8pPr marL="3198720" algn="l" defTabSz="913928" rtl="0" eaLnBrk="1" latinLnBrk="0" hangingPunct="1">
        <a:defRPr sz="1800" kern="1200">
          <a:solidFill>
            <a:schemeClr val="tx1"/>
          </a:solidFill>
          <a:latin typeface="+mn-lt"/>
          <a:ea typeface="+mn-ea"/>
          <a:cs typeface="+mn-cs"/>
        </a:defRPr>
      </a:lvl8pPr>
      <a:lvl9pPr marL="3655679" algn="l" defTabSz="913928"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291841" y="4869180"/>
            <a:ext cx="2560320" cy="137160"/>
          </a:xfrm>
          <a:prstGeom prst="rect">
            <a:avLst/>
          </a:prstGeom>
        </p:spPr>
        <p:txBody>
          <a:bodyPr vert="horz" lIns="0" tIns="45691" rIns="0" bIns="45691" anchor="ctr" anchorCtr="0"/>
          <a:lstStyle>
            <a:lvl1pPr algn="ctr">
              <a:defRPr lang="en-US" sz="800" b="1">
                <a:solidFill>
                  <a:srgbClr val="C00000"/>
                </a:solidFill>
                <a:latin typeface="Arial" pitchFamily="34" charset="0"/>
                <a:cs typeface="Arial" pitchFamily="34" charset="0"/>
              </a:defRPr>
            </a:lvl1pPr>
          </a:lstStyle>
          <a:p>
            <a:pPr defTabSz="685443" fontAlgn="auto">
              <a:spcBef>
                <a:spcPts val="0"/>
              </a:spcBef>
              <a:spcAft>
                <a:spcPts val="0"/>
              </a:spcAft>
            </a:pPr>
            <a:endParaRPr lang="en-GB"/>
          </a:p>
        </p:txBody>
      </p:sp>
      <p:sp>
        <p:nvSpPr>
          <p:cNvPr id="2" name="Title Placeholder 1"/>
          <p:cNvSpPr>
            <a:spLocks noGrp="1"/>
          </p:cNvSpPr>
          <p:nvPr>
            <p:ph type="title"/>
          </p:nvPr>
        </p:nvSpPr>
        <p:spPr>
          <a:xfrm>
            <a:off x="353230" y="411956"/>
            <a:ext cx="8437538" cy="583407"/>
          </a:xfrm>
          <a:prstGeom prst="rect">
            <a:avLst/>
          </a:prstGeom>
        </p:spPr>
        <p:txBody>
          <a:bodyPr vert="horz" lIns="91382" tIns="68549" rIns="0" bIns="0" rtlCol="0" anchor="ctr"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53230" y="1066146"/>
            <a:ext cx="8437538" cy="3566160"/>
          </a:xfrm>
          <a:prstGeom prst="rect">
            <a:avLst/>
          </a:prstGeom>
        </p:spPr>
        <p:txBody>
          <a:bodyPr vert="horz" lIns="137072" tIns="45691"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2"/>
          <p:cNvSpPr txBox="1">
            <a:spLocks noChangeArrowheads="1"/>
          </p:cNvSpPr>
          <p:nvPr/>
        </p:nvSpPr>
        <p:spPr bwMode="auto">
          <a:xfrm>
            <a:off x="522301" y="4869180"/>
            <a:ext cx="3474721" cy="137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vert="horz" lIns="0" tIns="45691" rIns="0" bIns="45691" anchor="ctr" anchorCtr="0"/>
          <a:lstStyle>
            <a:lvl1pPr marL="342900" indent="-342900" algn="l" rtl="0" eaLnBrk="0" fontAlgn="base" hangingPunct="0">
              <a:spcBef>
                <a:spcPts val="2300"/>
              </a:spcBef>
              <a:spcAft>
                <a:spcPct val="0"/>
              </a:spcAft>
              <a:defRPr b="0">
                <a:solidFill>
                  <a:srgbClr val="15B8FF"/>
                </a:solidFill>
                <a:latin typeface="+mn-lt"/>
                <a:ea typeface="+mn-ea"/>
                <a:cs typeface="ヒラギノ角ゴ Pro W3" charset="-128"/>
                <a:sym typeface="Arial" charset="0"/>
              </a:defRPr>
            </a:lvl1pPr>
            <a:lvl2pPr marL="742950" indent="-285750" algn="l" rtl="0" eaLnBrk="0" fontAlgn="base" hangingPunct="0">
              <a:spcBef>
                <a:spcPts val="2300"/>
              </a:spcBef>
              <a:spcAft>
                <a:spcPct val="0"/>
              </a:spcAft>
              <a:defRPr b="0">
                <a:solidFill>
                  <a:srgbClr val="15B8FF"/>
                </a:solidFill>
                <a:latin typeface="+mn-lt"/>
                <a:ea typeface="+mn-ea"/>
                <a:cs typeface="ヒラギノ角ゴ Pro W3" charset="-128"/>
                <a:sym typeface="Arial" charset="0"/>
              </a:defRPr>
            </a:lvl2pPr>
            <a:lvl3pPr marL="1143000" indent="-228600" algn="l" rtl="0" eaLnBrk="0" fontAlgn="base" hangingPunct="0">
              <a:spcBef>
                <a:spcPts val="2300"/>
              </a:spcBef>
              <a:spcAft>
                <a:spcPct val="0"/>
              </a:spcAft>
              <a:defRPr b="0">
                <a:solidFill>
                  <a:srgbClr val="15B8FF"/>
                </a:solidFill>
                <a:latin typeface="+mn-lt"/>
                <a:ea typeface="+mn-ea"/>
                <a:cs typeface="ヒラギノ角ゴ Pro W3" charset="-128"/>
                <a:sym typeface="Arial" charset="0"/>
              </a:defRPr>
            </a:lvl3pPr>
            <a:lvl4pPr marL="1600200" indent="-228600" algn="l" rtl="0" eaLnBrk="0" fontAlgn="base" hangingPunct="0">
              <a:spcBef>
                <a:spcPts val="2300"/>
              </a:spcBef>
              <a:spcAft>
                <a:spcPct val="0"/>
              </a:spcAft>
              <a:defRPr b="0">
                <a:solidFill>
                  <a:srgbClr val="15B8FF"/>
                </a:solidFill>
                <a:latin typeface="+mn-lt"/>
                <a:ea typeface="+mn-ea"/>
                <a:cs typeface="ヒラギノ角ゴ Pro W3" charset="-128"/>
                <a:sym typeface="Arial" charset="0"/>
              </a:defRPr>
            </a:lvl4pPr>
            <a:lvl5pPr marL="2057400" indent="-228600" algn="l" rtl="0" eaLnBrk="0" fontAlgn="base" hangingPunct="0">
              <a:spcBef>
                <a:spcPts val="2300"/>
              </a:spcBef>
              <a:spcAft>
                <a:spcPct val="0"/>
              </a:spcAft>
              <a:defRPr b="0">
                <a:solidFill>
                  <a:srgbClr val="15B8FF"/>
                </a:solidFill>
                <a:latin typeface="+mn-lt"/>
                <a:ea typeface="+mn-ea"/>
                <a:cs typeface="ヒラギノ角ゴ Pro W3" charset="-128"/>
                <a:sym typeface="Arial" charset="0"/>
              </a:defRPr>
            </a:lvl5pPr>
            <a:lvl6pPr marL="457200" algn="l" rtl="0" fontAlgn="base">
              <a:spcBef>
                <a:spcPts val="2300"/>
              </a:spcBef>
              <a:spcAft>
                <a:spcPct val="0"/>
              </a:spcAft>
              <a:defRPr>
                <a:solidFill>
                  <a:srgbClr val="FFCD1C"/>
                </a:solidFill>
                <a:latin typeface="+mn-lt"/>
                <a:ea typeface="+mn-ea"/>
                <a:sym typeface="Arial" charset="0"/>
              </a:defRPr>
            </a:lvl6pPr>
            <a:lvl7pPr marL="914400" algn="l" rtl="0" fontAlgn="base">
              <a:spcBef>
                <a:spcPts val="2300"/>
              </a:spcBef>
              <a:spcAft>
                <a:spcPct val="0"/>
              </a:spcAft>
              <a:defRPr>
                <a:solidFill>
                  <a:srgbClr val="FFCD1C"/>
                </a:solidFill>
                <a:latin typeface="+mn-lt"/>
                <a:ea typeface="+mn-ea"/>
                <a:sym typeface="Arial" charset="0"/>
              </a:defRPr>
            </a:lvl7pPr>
            <a:lvl8pPr marL="1371600" algn="l" rtl="0" fontAlgn="base">
              <a:spcBef>
                <a:spcPts val="2300"/>
              </a:spcBef>
              <a:spcAft>
                <a:spcPct val="0"/>
              </a:spcAft>
              <a:defRPr>
                <a:solidFill>
                  <a:srgbClr val="FFCD1C"/>
                </a:solidFill>
                <a:latin typeface="+mn-lt"/>
                <a:ea typeface="+mn-ea"/>
                <a:sym typeface="Arial" charset="0"/>
              </a:defRPr>
            </a:lvl8pPr>
            <a:lvl9pPr marL="1828800" algn="l" rtl="0" fontAlgn="base">
              <a:spcBef>
                <a:spcPts val="2300"/>
              </a:spcBef>
              <a:spcAft>
                <a:spcPct val="0"/>
              </a:spcAft>
              <a:defRPr>
                <a:solidFill>
                  <a:srgbClr val="FFCD1C"/>
                </a:solidFill>
                <a:latin typeface="+mn-lt"/>
                <a:ea typeface="+mn-ea"/>
                <a:sym typeface="Arial" charset="0"/>
              </a:defRPr>
            </a:lvl9pPr>
          </a:lstStyle>
          <a:p>
            <a:pPr marL="342653" indent="-342653" defTabSz="913767">
              <a:spcBef>
                <a:spcPts val="0"/>
              </a:spcBef>
              <a:defRPr/>
            </a:pPr>
            <a:r>
              <a:rPr lang="en-US" sz="800" dirty="0">
                <a:solidFill>
                  <a:srgbClr val="232323">
                    <a:lumMod val="75000"/>
                    <a:lumOff val="25000"/>
                  </a:srgbClr>
                </a:solidFill>
              </a:rPr>
              <a:t>© 2015 Western Digital Technologies, Inc. All Rights Reserved.</a:t>
            </a:r>
            <a:endParaRPr lang="en-US" sz="800" cap="all" dirty="0">
              <a:solidFill>
                <a:srgbClr val="232323">
                  <a:lumMod val="75000"/>
                  <a:lumOff val="25000"/>
                </a:srgbClr>
              </a:solidFill>
              <a:cs typeface="Arial" pitchFamily="34" charset="0"/>
            </a:endParaRPr>
          </a:p>
        </p:txBody>
      </p:sp>
      <p:sp>
        <p:nvSpPr>
          <p:cNvPr id="12" name="Slide Number Placeholder 5"/>
          <p:cNvSpPr>
            <a:spLocks noGrp="1"/>
          </p:cNvSpPr>
          <p:nvPr>
            <p:ph type="sldNum" sz="quarter" idx="4"/>
          </p:nvPr>
        </p:nvSpPr>
        <p:spPr>
          <a:xfrm>
            <a:off x="183993" y="4869180"/>
            <a:ext cx="274391" cy="137160"/>
          </a:xfrm>
          <a:prstGeom prst="rect">
            <a:avLst/>
          </a:prstGeom>
        </p:spPr>
        <p:txBody>
          <a:bodyPr vert="horz" lIns="0" tIns="45691" rIns="0" bIns="45691" anchor="ctr" anchorCtr="0"/>
          <a:lstStyle>
            <a:lvl1pPr algn="l">
              <a:defRPr sz="800">
                <a:solidFill>
                  <a:schemeClr val="tx2">
                    <a:lumMod val="75000"/>
                    <a:lumOff val="25000"/>
                  </a:schemeClr>
                </a:solidFill>
              </a:defRPr>
            </a:lvl1pPr>
          </a:lstStyle>
          <a:p>
            <a:pPr defTabSz="685443" fontAlgn="auto">
              <a:spcBef>
                <a:spcPts val="0"/>
              </a:spcBef>
              <a:spcAft>
                <a:spcPts val="0"/>
              </a:spcAft>
            </a:pPr>
            <a:fld id="{66154C79-5108-4633-81E3-88A2499DAACB}" type="slidenum">
              <a:rPr lang="en-US" smtClean="0">
                <a:solidFill>
                  <a:srgbClr val="232323">
                    <a:lumMod val="75000"/>
                    <a:lumOff val="25000"/>
                  </a:srgbClr>
                </a:solidFill>
                <a:latin typeface="Arial"/>
                <a:cs typeface="+mn-cs"/>
              </a:rPr>
              <a:pPr defTabSz="685443" fontAlgn="auto">
                <a:spcBef>
                  <a:spcPts val="0"/>
                </a:spcBef>
                <a:spcAft>
                  <a:spcPts val="0"/>
                </a:spcAft>
              </a:pPr>
              <a:t>‹#›</a:t>
            </a:fld>
            <a:endParaRPr lang="en-US">
              <a:solidFill>
                <a:srgbClr val="232323">
                  <a:lumMod val="75000"/>
                  <a:lumOff val="25000"/>
                </a:srgbClr>
              </a:solidFill>
              <a:latin typeface="Arial"/>
              <a:cs typeface="+mn-cs"/>
            </a:endParaRPr>
          </a:p>
        </p:txBody>
      </p:sp>
    </p:spTree>
    <p:extLst>
      <p:ext uri="{BB962C8B-B14F-4D97-AF65-F5344CB8AC3E}">
        <p14:creationId xmlns:p14="http://schemas.microsoft.com/office/powerpoint/2010/main" val="1085209561"/>
      </p:ext>
    </p:extLst>
  </p:cSld>
  <p:clrMap bg1="lt1" tx1="dk1" bg2="lt2" tx2="dk2" accent1="accent1" accent2="accent2" accent3="accent3" accent4="accent4" accent5="accent5" accent6="accent6" hlink="hlink" folHlink="folHlink"/>
  <p:sldLayoutIdLst>
    <p:sldLayoutId id="2147485329" r:id="rId1"/>
    <p:sldLayoutId id="2147485330" r:id="rId2"/>
    <p:sldLayoutId id="2147485331" r:id="rId3"/>
    <p:sldLayoutId id="2147485332" r:id="rId4"/>
    <p:sldLayoutId id="2147485333" r:id="rId5"/>
    <p:sldLayoutId id="2147485334" r:id="rId6"/>
    <p:sldLayoutId id="2147485335" r:id="rId7"/>
    <p:sldLayoutId id="2147485336" r:id="rId8"/>
    <p:sldLayoutId id="2147485337" r:id="rId9"/>
    <p:sldLayoutId id="2147485338" r:id="rId10"/>
  </p:sldLayoutIdLst>
  <p:txStyles>
    <p:titleStyle>
      <a:lvl1pPr algn="l" defTabSz="913767" rtl="0" eaLnBrk="1" latinLnBrk="0" hangingPunct="1">
        <a:lnSpc>
          <a:spcPct val="85000"/>
        </a:lnSpc>
        <a:spcBef>
          <a:spcPct val="0"/>
        </a:spcBef>
        <a:buNone/>
        <a:defRPr sz="2400" b="1" kern="1200">
          <a:solidFill>
            <a:schemeClr val="tx2">
              <a:lumMod val="90000"/>
              <a:lumOff val="10000"/>
            </a:schemeClr>
          </a:solidFill>
          <a:latin typeface="Arial" pitchFamily="34" charset="0"/>
          <a:ea typeface="+mj-ea"/>
          <a:cs typeface="Arial" pitchFamily="34" charset="0"/>
        </a:defRPr>
      </a:lvl1pPr>
    </p:titleStyle>
    <p:bodyStyle>
      <a:lvl1pPr marL="217760" indent="-217760" algn="l" defTabSz="913767" rtl="0" eaLnBrk="1" latinLnBrk="0" hangingPunct="1">
        <a:lnSpc>
          <a:spcPct val="90000"/>
        </a:lnSpc>
        <a:spcBef>
          <a:spcPts val="1125"/>
        </a:spcBef>
        <a:buSzPct val="65000"/>
        <a:buFontTx/>
        <a:buBlip>
          <a:blip r:embed="rId12"/>
        </a:buBlip>
        <a:defRPr sz="2000" kern="1200">
          <a:solidFill>
            <a:schemeClr val="tx2">
              <a:lumMod val="90000"/>
              <a:lumOff val="10000"/>
            </a:schemeClr>
          </a:solidFill>
          <a:latin typeface="Arial" pitchFamily="34" charset="0"/>
          <a:ea typeface="+mn-ea"/>
          <a:cs typeface="Arial" pitchFamily="34" charset="0"/>
        </a:defRPr>
      </a:lvl1pPr>
      <a:lvl2pPr marL="467664" indent="-168985" algn="l" defTabSz="913767" rtl="0" eaLnBrk="1" latinLnBrk="0" hangingPunct="1">
        <a:lnSpc>
          <a:spcPct val="90000"/>
        </a:lnSpc>
        <a:spcBef>
          <a:spcPts val="450"/>
        </a:spcBef>
        <a:buSzPct val="55000"/>
        <a:buFontTx/>
        <a:buBlip>
          <a:blip r:embed="rId13"/>
        </a:buBlip>
        <a:defRPr sz="1800" kern="1200">
          <a:solidFill>
            <a:schemeClr val="tx2">
              <a:lumMod val="90000"/>
              <a:lumOff val="10000"/>
            </a:schemeClr>
          </a:solidFill>
          <a:latin typeface="Arial" pitchFamily="34" charset="0"/>
          <a:ea typeface="+mn-ea"/>
          <a:cs typeface="Arial" pitchFamily="34" charset="0"/>
        </a:defRPr>
      </a:lvl2pPr>
      <a:lvl3pPr marL="725903" indent="-168985" algn="l" defTabSz="913767" rtl="0" eaLnBrk="1" latinLnBrk="0" hangingPunct="1">
        <a:lnSpc>
          <a:spcPct val="90000"/>
        </a:lnSpc>
        <a:spcBef>
          <a:spcPts val="300"/>
        </a:spcBef>
        <a:buSzPct val="55000"/>
        <a:buFontTx/>
        <a:buBlip>
          <a:blip r:embed="rId12"/>
        </a:buBlip>
        <a:defRPr sz="1700" kern="1200">
          <a:solidFill>
            <a:schemeClr val="tx2">
              <a:lumMod val="90000"/>
              <a:lumOff val="10000"/>
            </a:schemeClr>
          </a:solidFill>
          <a:latin typeface="Arial" pitchFamily="34" charset="0"/>
          <a:ea typeface="+mn-ea"/>
          <a:cs typeface="Arial" pitchFamily="34" charset="0"/>
        </a:defRPr>
      </a:lvl3pPr>
      <a:lvl4pPr marL="903212" indent="-128525" algn="l" defTabSz="913767" rtl="0" eaLnBrk="1" latinLnBrk="0" hangingPunct="1">
        <a:lnSpc>
          <a:spcPct val="90000"/>
        </a:lnSpc>
        <a:spcBef>
          <a:spcPts val="300"/>
        </a:spcBef>
        <a:buSzPct val="50000"/>
        <a:buFontTx/>
        <a:buBlip>
          <a:blip r:embed="rId12"/>
        </a:buBlip>
        <a:defRPr sz="1500" kern="1200">
          <a:solidFill>
            <a:schemeClr val="tx2">
              <a:lumMod val="90000"/>
              <a:lumOff val="10000"/>
            </a:schemeClr>
          </a:solidFill>
          <a:latin typeface="Arial" pitchFamily="34" charset="0"/>
          <a:ea typeface="+mn-ea"/>
          <a:cs typeface="Arial" pitchFamily="34" charset="0"/>
        </a:defRPr>
      </a:lvl4pPr>
      <a:lvl5pPr marL="1072187" indent="-128525" algn="l" defTabSz="913767" rtl="0" eaLnBrk="1" latinLnBrk="0" hangingPunct="1">
        <a:lnSpc>
          <a:spcPct val="90000"/>
        </a:lnSpc>
        <a:spcBef>
          <a:spcPts val="300"/>
        </a:spcBef>
        <a:buSzPct val="45000"/>
        <a:buFontTx/>
        <a:buBlip>
          <a:blip r:embed="rId12"/>
        </a:buBlip>
        <a:tabLst/>
        <a:defRPr sz="1400" kern="1200">
          <a:solidFill>
            <a:schemeClr val="tx2">
              <a:lumMod val="90000"/>
              <a:lumOff val="10000"/>
            </a:schemeClr>
          </a:solidFill>
          <a:latin typeface="Arial" pitchFamily="34" charset="0"/>
          <a:ea typeface="+mn-ea"/>
          <a:cs typeface="Arial" pitchFamily="34" charset="0"/>
        </a:defRPr>
      </a:lvl5pPr>
      <a:lvl6pPr marL="2512838" indent="-228434" algn="l" defTabSz="9137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726" indent="-228434" algn="l" defTabSz="9137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605" indent="-228434" algn="l" defTabSz="9137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483" indent="-228434" algn="l" defTabSz="9137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67" rtl="0" eaLnBrk="1" latinLnBrk="0" hangingPunct="1">
        <a:defRPr sz="1800" kern="1200">
          <a:solidFill>
            <a:schemeClr val="tx1"/>
          </a:solidFill>
          <a:latin typeface="+mn-lt"/>
          <a:ea typeface="+mn-ea"/>
          <a:cs typeface="+mn-cs"/>
        </a:defRPr>
      </a:lvl1pPr>
      <a:lvl2pPr marL="456869" algn="l" defTabSz="913767" rtl="0" eaLnBrk="1" latinLnBrk="0" hangingPunct="1">
        <a:defRPr sz="1800" kern="1200">
          <a:solidFill>
            <a:schemeClr val="tx1"/>
          </a:solidFill>
          <a:latin typeface="+mn-lt"/>
          <a:ea typeface="+mn-ea"/>
          <a:cs typeface="+mn-cs"/>
        </a:defRPr>
      </a:lvl2pPr>
      <a:lvl3pPr marL="913767" algn="l" defTabSz="913767" rtl="0" eaLnBrk="1" latinLnBrk="0" hangingPunct="1">
        <a:defRPr sz="1800" kern="1200">
          <a:solidFill>
            <a:schemeClr val="tx1"/>
          </a:solidFill>
          <a:latin typeface="+mn-lt"/>
          <a:ea typeface="+mn-ea"/>
          <a:cs typeface="+mn-cs"/>
        </a:defRPr>
      </a:lvl3pPr>
      <a:lvl4pPr marL="1370646" algn="l" defTabSz="913767" rtl="0" eaLnBrk="1" latinLnBrk="0" hangingPunct="1">
        <a:defRPr sz="1800" kern="1200">
          <a:solidFill>
            <a:schemeClr val="tx1"/>
          </a:solidFill>
          <a:latin typeface="+mn-lt"/>
          <a:ea typeface="+mn-ea"/>
          <a:cs typeface="+mn-cs"/>
        </a:defRPr>
      </a:lvl4pPr>
      <a:lvl5pPr marL="1827533" algn="l" defTabSz="913767" rtl="0" eaLnBrk="1" latinLnBrk="0" hangingPunct="1">
        <a:defRPr sz="1800" kern="1200">
          <a:solidFill>
            <a:schemeClr val="tx1"/>
          </a:solidFill>
          <a:latin typeface="+mn-lt"/>
          <a:ea typeface="+mn-ea"/>
          <a:cs typeface="+mn-cs"/>
        </a:defRPr>
      </a:lvl5pPr>
      <a:lvl6pPr marL="2284403" algn="l" defTabSz="913767" rtl="0" eaLnBrk="1" latinLnBrk="0" hangingPunct="1">
        <a:defRPr sz="1800" kern="1200">
          <a:solidFill>
            <a:schemeClr val="tx1"/>
          </a:solidFill>
          <a:latin typeface="+mn-lt"/>
          <a:ea typeface="+mn-ea"/>
          <a:cs typeface="+mn-cs"/>
        </a:defRPr>
      </a:lvl6pPr>
      <a:lvl7pPr marL="2741273" algn="l" defTabSz="913767" rtl="0" eaLnBrk="1" latinLnBrk="0" hangingPunct="1">
        <a:defRPr sz="1800" kern="1200">
          <a:solidFill>
            <a:schemeClr val="tx1"/>
          </a:solidFill>
          <a:latin typeface="+mn-lt"/>
          <a:ea typeface="+mn-ea"/>
          <a:cs typeface="+mn-cs"/>
        </a:defRPr>
      </a:lvl7pPr>
      <a:lvl8pPr marL="3198160" algn="l" defTabSz="913767" rtl="0" eaLnBrk="1" latinLnBrk="0" hangingPunct="1">
        <a:defRPr sz="1800" kern="1200">
          <a:solidFill>
            <a:schemeClr val="tx1"/>
          </a:solidFill>
          <a:latin typeface="+mn-lt"/>
          <a:ea typeface="+mn-ea"/>
          <a:cs typeface="+mn-cs"/>
        </a:defRPr>
      </a:lvl8pPr>
      <a:lvl9pPr marL="3655039" algn="l" defTabSz="91376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body" idx="1"/>
          </p:nvPr>
        </p:nvSpPr>
        <p:spPr bwMode="auto">
          <a:xfrm>
            <a:off x="323851" y="1221611"/>
            <a:ext cx="8064500" cy="3121819"/>
          </a:xfrm>
          <a:prstGeom prst="rect">
            <a:avLst/>
          </a:prstGeom>
          <a:noFill/>
          <a:ln w="9525">
            <a:noFill/>
            <a:miter lim="800000"/>
            <a:headEnd/>
            <a:tailEnd/>
          </a:ln>
        </p:spPr>
        <p:txBody>
          <a:bodyPr vert="horz" wrap="square" lIns="91919" tIns="45960" rIns="91919" bIns="45960" numCol="1" anchor="t" anchorCtr="0" compatLnSpc="1">
            <a:prstTxWarp prst="textNoShape">
              <a:avLst/>
            </a:prstTxWarp>
          </a:bodyPr>
          <a:lstStyle/>
          <a:p>
            <a:pPr lvl="0"/>
            <a:r>
              <a:rPr lang="en-GB"/>
              <a:t>Click to edit Master text styles</a:t>
            </a:r>
          </a:p>
          <a:p>
            <a:pPr lvl="3"/>
            <a:r>
              <a:rPr lang="en-GB"/>
              <a:t>Second level</a:t>
            </a:r>
          </a:p>
          <a:p>
            <a:pPr lvl="3"/>
            <a:r>
              <a:rPr lang="en-GB"/>
              <a:t>Third level</a:t>
            </a:r>
          </a:p>
          <a:p>
            <a:pPr lvl="3"/>
            <a:r>
              <a:rPr lang="en-GB"/>
              <a:t>Fourth level</a:t>
            </a:r>
          </a:p>
          <a:p>
            <a:pPr lvl="4"/>
            <a:r>
              <a:rPr lang="en-GB"/>
              <a:t>Fifth level</a:t>
            </a:r>
          </a:p>
        </p:txBody>
      </p:sp>
      <p:sp>
        <p:nvSpPr>
          <p:cNvPr id="7171" name="Rectangle 4"/>
          <p:cNvSpPr>
            <a:spLocks noGrp="1" noChangeArrowheads="1"/>
          </p:cNvSpPr>
          <p:nvPr>
            <p:ph type="title"/>
          </p:nvPr>
        </p:nvSpPr>
        <p:spPr bwMode="auto">
          <a:xfrm>
            <a:off x="381001" y="228658"/>
            <a:ext cx="7996238" cy="6155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sv-SE"/>
              <a:t>Click to edit Master style</a:t>
            </a:r>
          </a:p>
        </p:txBody>
      </p:sp>
    </p:spTree>
  </p:cSld>
  <p:clrMap bg1="lt1" tx1="dk1" bg2="lt2" tx2="dk2" accent1="accent1" accent2="accent2" accent3="accent3" accent4="accent4" accent5="accent5" accent6="accent6" hlink="hlink" folHlink="folHlink"/>
  <p:sldLayoutIdLst>
    <p:sldLayoutId id="2147484319" r:id="rId1"/>
  </p:sldLayoutIdLst>
  <p:txStyles>
    <p:titleStyle>
      <a:lvl1pPr algn="l" rtl="0" eaLnBrk="0" fontAlgn="base" hangingPunct="0">
        <a:spcBef>
          <a:spcPct val="0"/>
        </a:spcBef>
        <a:spcAft>
          <a:spcPct val="0"/>
        </a:spcAft>
        <a:defRPr sz="4000">
          <a:solidFill>
            <a:srgbClr val="000000"/>
          </a:solidFill>
          <a:latin typeface="+mj-lt"/>
          <a:ea typeface="+mj-ea"/>
          <a:cs typeface="+mj-cs"/>
        </a:defRPr>
      </a:lvl1pPr>
      <a:lvl2pPr algn="l" rtl="0" eaLnBrk="0" fontAlgn="base" hangingPunct="0">
        <a:spcBef>
          <a:spcPct val="0"/>
        </a:spcBef>
        <a:spcAft>
          <a:spcPct val="0"/>
        </a:spcAft>
        <a:defRPr sz="4000">
          <a:solidFill>
            <a:srgbClr val="000000"/>
          </a:solidFill>
          <a:latin typeface="Calibri" pitchFamily="34" charset="0"/>
          <a:ea typeface="ＭＳ Ｐゴシック" pitchFamily="34" charset="-128"/>
          <a:cs typeface="MS PGothic" pitchFamily="34" charset="-128"/>
        </a:defRPr>
      </a:lvl2pPr>
      <a:lvl3pPr algn="l" rtl="0" eaLnBrk="0" fontAlgn="base" hangingPunct="0">
        <a:spcBef>
          <a:spcPct val="0"/>
        </a:spcBef>
        <a:spcAft>
          <a:spcPct val="0"/>
        </a:spcAft>
        <a:defRPr sz="4000">
          <a:solidFill>
            <a:srgbClr val="000000"/>
          </a:solidFill>
          <a:latin typeface="Calibri" pitchFamily="34" charset="0"/>
          <a:ea typeface="ＭＳ Ｐゴシック" pitchFamily="34" charset="-128"/>
          <a:cs typeface="MS PGothic" pitchFamily="34" charset="-128"/>
        </a:defRPr>
      </a:lvl3pPr>
      <a:lvl4pPr algn="l" rtl="0" eaLnBrk="0" fontAlgn="base" hangingPunct="0">
        <a:spcBef>
          <a:spcPct val="0"/>
        </a:spcBef>
        <a:spcAft>
          <a:spcPct val="0"/>
        </a:spcAft>
        <a:defRPr sz="4000">
          <a:solidFill>
            <a:srgbClr val="000000"/>
          </a:solidFill>
          <a:latin typeface="Calibri" pitchFamily="34" charset="0"/>
          <a:ea typeface="ＭＳ Ｐゴシック" pitchFamily="34" charset="-128"/>
          <a:cs typeface="MS PGothic" pitchFamily="34" charset="-128"/>
        </a:defRPr>
      </a:lvl4pPr>
      <a:lvl5pPr algn="l" rtl="0" eaLnBrk="0" fontAlgn="base" hangingPunct="0">
        <a:spcBef>
          <a:spcPct val="0"/>
        </a:spcBef>
        <a:spcAft>
          <a:spcPct val="0"/>
        </a:spcAft>
        <a:defRPr sz="4000">
          <a:solidFill>
            <a:srgbClr val="000000"/>
          </a:solidFill>
          <a:latin typeface="Calibri" pitchFamily="34" charset="0"/>
          <a:ea typeface="ＭＳ Ｐゴシック" pitchFamily="34" charset="-128"/>
          <a:cs typeface="MS PGothic" pitchFamily="34" charset="-128"/>
        </a:defRPr>
      </a:lvl5pPr>
      <a:lvl6pPr marL="456269" algn="l" rtl="0" eaLnBrk="0" fontAlgn="base" hangingPunct="0">
        <a:spcBef>
          <a:spcPct val="0"/>
        </a:spcBef>
        <a:spcAft>
          <a:spcPct val="0"/>
        </a:spcAft>
        <a:defRPr sz="4000">
          <a:solidFill>
            <a:schemeClr val="tx2"/>
          </a:solidFill>
          <a:latin typeface="Arial" pitchFamily="-108" charset="0"/>
        </a:defRPr>
      </a:lvl6pPr>
      <a:lvl7pPr marL="912644" algn="l" rtl="0" eaLnBrk="0" fontAlgn="base" hangingPunct="0">
        <a:spcBef>
          <a:spcPct val="0"/>
        </a:spcBef>
        <a:spcAft>
          <a:spcPct val="0"/>
        </a:spcAft>
        <a:defRPr sz="4000">
          <a:solidFill>
            <a:schemeClr val="tx2"/>
          </a:solidFill>
          <a:latin typeface="Arial" pitchFamily="-108" charset="0"/>
        </a:defRPr>
      </a:lvl7pPr>
      <a:lvl8pPr marL="1368948" algn="l" rtl="0" eaLnBrk="0" fontAlgn="base" hangingPunct="0">
        <a:spcBef>
          <a:spcPct val="0"/>
        </a:spcBef>
        <a:spcAft>
          <a:spcPct val="0"/>
        </a:spcAft>
        <a:defRPr sz="4000">
          <a:solidFill>
            <a:schemeClr val="tx2"/>
          </a:solidFill>
          <a:latin typeface="Arial" pitchFamily="-108" charset="0"/>
        </a:defRPr>
      </a:lvl8pPr>
      <a:lvl9pPr marL="1825286" algn="l" rtl="0" eaLnBrk="0" fontAlgn="base" hangingPunct="0">
        <a:spcBef>
          <a:spcPct val="0"/>
        </a:spcBef>
        <a:spcAft>
          <a:spcPct val="0"/>
        </a:spcAft>
        <a:defRPr sz="4000">
          <a:solidFill>
            <a:schemeClr val="tx2"/>
          </a:solidFill>
          <a:latin typeface="Arial" pitchFamily="-108" charset="0"/>
        </a:defRPr>
      </a:lvl9pPr>
    </p:titleStyle>
    <p:bodyStyle>
      <a:lvl1pPr marL="339026" indent="-339026" algn="l" defTabSz="1071044" rtl="0" eaLnBrk="0" fontAlgn="base" hangingPunct="0">
        <a:lnSpc>
          <a:spcPts val="2163"/>
        </a:lnSpc>
        <a:spcBef>
          <a:spcPts val="1038"/>
        </a:spcBef>
        <a:spcAft>
          <a:spcPct val="0"/>
        </a:spcAft>
        <a:buClr>
          <a:srgbClr val="0094D2"/>
        </a:buClr>
        <a:buSzPct val="90000"/>
        <a:buChar char="•"/>
        <a:defRPr lang="en-GB" sz="3200" kern="1200" dirty="0">
          <a:solidFill>
            <a:srgbClr val="1C1308"/>
          </a:solidFill>
          <a:latin typeface="+mn-lt"/>
          <a:ea typeface="+mn-ea"/>
          <a:cs typeface="+mn-cs"/>
        </a:defRPr>
      </a:lvl1pPr>
      <a:lvl2pPr marL="339026" indent="-339026" algn="l" defTabSz="1071044" rtl="0" eaLnBrk="0" fontAlgn="base" hangingPunct="0">
        <a:lnSpc>
          <a:spcPts val="2163"/>
        </a:lnSpc>
        <a:spcBef>
          <a:spcPts val="1038"/>
        </a:spcBef>
        <a:spcAft>
          <a:spcPct val="0"/>
        </a:spcAft>
        <a:buClr>
          <a:srgbClr val="0094D2"/>
        </a:buClr>
        <a:buSzPct val="90000"/>
        <a:buFont typeface="Wingdings" pitchFamily="2" charset="2"/>
        <a:buBlip>
          <a:blip r:embed="rId3"/>
        </a:buBlip>
        <a:defRPr lang="en-GB" sz="2800" kern="1200" dirty="0">
          <a:solidFill>
            <a:srgbClr val="1C1308"/>
          </a:solidFill>
          <a:latin typeface="Verdana" pitchFamily="-65" charset="0"/>
          <a:ea typeface="+mn-ea"/>
          <a:cs typeface="+mn-cs"/>
        </a:defRPr>
      </a:lvl2pPr>
      <a:lvl3pPr marL="339026" indent="-339026" algn="l" defTabSz="1071044" rtl="0" eaLnBrk="0" fontAlgn="base" hangingPunct="0">
        <a:lnSpc>
          <a:spcPts val="2163"/>
        </a:lnSpc>
        <a:spcBef>
          <a:spcPts val="1038"/>
        </a:spcBef>
        <a:spcAft>
          <a:spcPct val="0"/>
        </a:spcAft>
        <a:buClr>
          <a:srgbClr val="0094D2"/>
        </a:buClr>
        <a:buSzPct val="90000"/>
        <a:buFont typeface="Wingdings" pitchFamily="2" charset="2"/>
        <a:buBlip>
          <a:blip r:embed="rId3"/>
        </a:buBlip>
        <a:defRPr lang="en-GB" sz="2400" kern="1200" dirty="0">
          <a:solidFill>
            <a:srgbClr val="1C1308"/>
          </a:solidFill>
          <a:latin typeface="Verdana" pitchFamily="-65" charset="0"/>
          <a:ea typeface="+mn-ea"/>
          <a:cs typeface="+mn-cs"/>
        </a:defRPr>
      </a:lvl3pPr>
      <a:lvl4pPr marL="619541" indent="-267815" algn="l" defTabSz="1071044" rtl="0" eaLnBrk="0" fontAlgn="base" hangingPunct="0">
        <a:lnSpc>
          <a:spcPts val="2163"/>
        </a:lnSpc>
        <a:spcBef>
          <a:spcPts val="1038"/>
        </a:spcBef>
        <a:spcAft>
          <a:spcPct val="0"/>
        </a:spcAft>
        <a:buClr>
          <a:srgbClr val="0094D2"/>
        </a:buClr>
        <a:buSzPct val="90000"/>
        <a:buChar char="•"/>
        <a:defRPr lang="en-GB" sz="1600" kern="1200" dirty="0">
          <a:solidFill>
            <a:srgbClr val="1C1308"/>
          </a:solidFill>
          <a:latin typeface="+mn-lt"/>
          <a:ea typeface="+mn-ea"/>
          <a:cs typeface="+mn-cs"/>
        </a:defRPr>
      </a:lvl4pPr>
      <a:lvl5pPr marL="339026" indent="-339026" algn="l" defTabSz="1071044" rtl="0" eaLnBrk="0" fontAlgn="base" hangingPunct="0">
        <a:lnSpc>
          <a:spcPts val="2163"/>
        </a:lnSpc>
        <a:spcBef>
          <a:spcPts val="1038"/>
        </a:spcBef>
        <a:spcAft>
          <a:spcPct val="0"/>
        </a:spcAft>
        <a:buClr>
          <a:srgbClr val="0094D2"/>
        </a:buClr>
        <a:buSzPct val="90000"/>
        <a:buChar char="•"/>
        <a:defRPr lang="en-GB" sz="2000" kern="1200" dirty="0">
          <a:solidFill>
            <a:srgbClr val="1C1308"/>
          </a:solidFill>
          <a:latin typeface="+mn-lt"/>
          <a:ea typeface="+mn-ea"/>
          <a:cs typeface="+mn-cs"/>
        </a:defRPr>
      </a:lvl5pPr>
      <a:lvl6pPr marL="3881809" indent="-378710" algn="l" rtl="0" eaLnBrk="0" fontAlgn="base" hangingPunct="0">
        <a:spcBef>
          <a:spcPct val="0"/>
        </a:spcBef>
        <a:spcAft>
          <a:spcPct val="0"/>
        </a:spcAft>
        <a:buFont typeface="Times New Roman" pitchFamily="-108" charset="0"/>
        <a:buChar char="›"/>
        <a:defRPr sz="2000">
          <a:solidFill>
            <a:schemeClr val="tx1"/>
          </a:solidFill>
          <a:latin typeface="+mn-lt"/>
          <a:ea typeface="+mj-ea"/>
        </a:defRPr>
      </a:lvl6pPr>
      <a:lvl7pPr marL="4338149" indent="-378710" algn="l" rtl="0" eaLnBrk="0" fontAlgn="base" hangingPunct="0">
        <a:spcBef>
          <a:spcPct val="0"/>
        </a:spcBef>
        <a:spcAft>
          <a:spcPct val="0"/>
        </a:spcAft>
        <a:buFont typeface="Times New Roman" pitchFamily="-108" charset="0"/>
        <a:buChar char="›"/>
        <a:defRPr sz="2000">
          <a:solidFill>
            <a:schemeClr val="tx1"/>
          </a:solidFill>
          <a:latin typeface="+mn-lt"/>
          <a:ea typeface="+mj-ea"/>
        </a:defRPr>
      </a:lvl7pPr>
      <a:lvl8pPr marL="4794416" indent="-378710" algn="l" rtl="0" eaLnBrk="0" fontAlgn="base" hangingPunct="0">
        <a:spcBef>
          <a:spcPct val="0"/>
        </a:spcBef>
        <a:spcAft>
          <a:spcPct val="0"/>
        </a:spcAft>
        <a:buFont typeface="Times New Roman" pitchFamily="-108" charset="0"/>
        <a:buChar char="›"/>
        <a:defRPr sz="2000">
          <a:solidFill>
            <a:schemeClr val="tx1"/>
          </a:solidFill>
          <a:latin typeface="+mn-lt"/>
          <a:ea typeface="+mj-ea"/>
        </a:defRPr>
      </a:lvl8pPr>
      <a:lvl9pPr marL="5250715" indent="-378710" algn="l" rtl="0" eaLnBrk="0" fontAlgn="base" hangingPunct="0">
        <a:spcBef>
          <a:spcPct val="0"/>
        </a:spcBef>
        <a:spcAft>
          <a:spcPct val="0"/>
        </a:spcAft>
        <a:buFont typeface="Times New Roman" pitchFamily="-108" charset="0"/>
        <a:buChar char="›"/>
        <a:defRPr sz="2000">
          <a:solidFill>
            <a:schemeClr val="tx1"/>
          </a:solidFill>
          <a:latin typeface="+mn-lt"/>
          <a:ea typeface="+mj-ea"/>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5199712"/>
      </p:ext>
    </p:extLst>
  </p:cSld>
  <p:clrMap bg1="lt1" tx1="dk1" bg2="lt2" tx2="dk2" accent1="accent1" accent2="accent2" accent3="accent3" accent4="accent4" accent5="accent5" accent6="accent6" hlink="hlink" folHlink="folHlink"/>
  <p:sldLayoutIdLst>
    <p:sldLayoutId id="2147485340" r:id="rId1"/>
    <p:sldLayoutId id="2147485341" r:id="rId2"/>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xStyles>
    <p:titleStyle/>
    <p:bodyStyle/>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14" name="Title Placeholder 1"/>
          <p:cNvSpPr>
            <a:spLocks noGrp="1"/>
          </p:cNvSpPr>
          <p:nvPr>
            <p:ph type="title"/>
          </p:nvPr>
        </p:nvSpPr>
        <p:spPr bwMode="black">
          <a:xfrm>
            <a:off x="438193" y="873012"/>
            <a:ext cx="8229600" cy="1080545"/>
          </a:xfrm>
          <a:prstGeom prst="rect">
            <a:avLst/>
          </a:prstGeom>
        </p:spPr>
        <p:txBody>
          <a:bodyPr vert="horz" lIns="91398" tIns="45699" rIns="91398" bIns="45699" rtlCol="0" anchor="t">
            <a:noAutofit/>
          </a:bodyPr>
          <a:lstStyle/>
          <a:p>
            <a:r>
              <a:rPr lang="en-US" dirty="0"/>
              <a:t>Divider Slide - Title Case, Calibri 36 </a:t>
            </a:r>
            <a:r>
              <a:rPr lang="en-US" dirty="0" err="1"/>
              <a:t>pt</a:t>
            </a:r>
            <a:br>
              <a:rPr lang="en-US" dirty="0"/>
            </a:br>
            <a:r>
              <a:rPr lang="en-US" dirty="0"/>
              <a:t>2 Line Max</a:t>
            </a:r>
          </a:p>
        </p:txBody>
      </p:sp>
    </p:spTree>
    <p:extLst>
      <p:ext uri="{BB962C8B-B14F-4D97-AF65-F5344CB8AC3E}">
        <p14:creationId xmlns:p14="http://schemas.microsoft.com/office/powerpoint/2010/main" val="1978283374"/>
      </p:ext>
    </p:extLst>
  </p:cSld>
  <p:clrMap bg1="lt1" tx1="dk1" bg2="lt2" tx2="dk2" accent1="accent1" accent2="accent2" accent3="accent3" accent4="accent4" accent5="accent5" accent6="accent6" hlink="hlink" folHlink="folHlink"/>
  <p:sldLayoutIdLst>
    <p:sldLayoutId id="2147485353" r:id="rId1"/>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xStyles>
    <p:titleStyle>
      <a:lvl1pPr algn="l" defTabSz="456950" rtl="0" eaLnBrk="1" latinLnBrk="0" hangingPunct="1">
        <a:lnSpc>
          <a:spcPct val="90000"/>
        </a:lnSpc>
        <a:spcBef>
          <a:spcPct val="0"/>
        </a:spcBef>
        <a:buFont typeface="Arial" pitchFamily="34" charset="0"/>
        <a:buNone/>
        <a:defRPr kumimoji="0" lang="en-US" sz="3600" b="0" i="0" u="none" strike="noStrike" kern="1200" cap="none" spc="0" normalizeH="0" baseline="0" noProof="0" dirty="0">
          <a:ln>
            <a:noFill/>
          </a:ln>
          <a:solidFill>
            <a:schemeClr val="bg1"/>
          </a:solidFill>
          <a:effectLst/>
          <a:uLnTx/>
          <a:uFillTx/>
          <a:latin typeface="+mn-lt"/>
          <a:ea typeface="+mn-ea"/>
          <a:cs typeface="+mn-cs"/>
        </a:defRPr>
      </a:lvl1pPr>
    </p:titleStyle>
    <p:bodyStyle>
      <a:lvl1pPr marL="342713" indent="-342713" algn="l" defTabSz="456950" rtl="0" eaLnBrk="1" latinLnBrk="0" hangingPunct="1">
        <a:lnSpc>
          <a:spcPts val="2880"/>
        </a:lnSpc>
        <a:spcBef>
          <a:spcPts val="1200"/>
        </a:spcBef>
        <a:spcAft>
          <a:spcPts val="200"/>
        </a:spcAft>
        <a:buClr>
          <a:schemeClr val="bg1"/>
        </a:buClr>
        <a:buFont typeface="Wingdings" charset="2"/>
        <a:buChar char="§"/>
        <a:defRPr sz="2400" b="0" kern="1200">
          <a:solidFill>
            <a:schemeClr val="bg1"/>
          </a:solidFill>
          <a:latin typeface="+mn-lt"/>
          <a:ea typeface="+mn-ea"/>
          <a:cs typeface="+mn-cs"/>
        </a:defRPr>
      </a:lvl1pPr>
      <a:lvl2pPr marL="679093" indent="-285603" algn="l" defTabSz="456950" rtl="0" eaLnBrk="1" latinLnBrk="0" hangingPunct="1">
        <a:lnSpc>
          <a:spcPts val="2200"/>
        </a:lnSpc>
        <a:spcBef>
          <a:spcPts val="0"/>
        </a:spcBef>
        <a:spcAft>
          <a:spcPts val="600"/>
        </a:spcAft>
        <a:buClr>
          <a:schemeClr val="bg1"/>
        </a:buClr>
        <a:buFont typeface="Arial"/>
        <a:buChar char="–"/>
        <a:defRPr sz="2000" b="0" kern="1200">
          <a:solidFill>
            <a:schemeClr val="bg1"/>
          </a:solidFill>
          <a:latin typeface="+mn-lt"/>
          <a:ea typeface="+mn-ea"/>
          <a:cs typeface="+mn-cs"/>
        </a:defRPr>
      </a:lvl2pPr>
      <a:lvl3pPr marL="977396" indent="-228474" algn="l" defTabSz="456950" rtl="0" eaLnBrk="1" latinLnBrk="0" hangingPunct="1">
        <a:lnSpc>
          <a:spcPts val="2200"/>
        </a:lnSpc>
        <a:spcBef>
          <a:spcPts val="0"/>
        </a:spcBef>
        <a:spcAft>
          <a:spcPts val="600"/>
        </a:spcAft>
        <a:buClr>
          <a:schemeClr val="bg1"/>
        </a:buClr>
        <a:buFont typeface="Wingdings" charset="2"/>
        <a:buChar char="§"/>
        <a:defRPr sz="1800" b="0" kern="1200">
          <a:solidFill>
            <a:schemeClr val="bg1"/>
          </a:solidFill>
          <a:latin typeface="+mn-lt"/>
          <a:ea typeface="+mn-ea"/>
          <a:cs typeface="+mn-cs"/>
        </a:defRPr>
      </a:lvl3pPr>
      <a:lvl4pPr marL="1320107" marR="0" indent="-228474" algn="l" defTabSz="456950" rtl="0" eaLnBrk="1" fontAlgn="auto" latinLnBrk="0" hangingPunct="1">
        <a:lnSpc>
          <a:spcPts val="2200"/>
        </a:lnSpc>
        <a:spcBef>
          <a:spcPts val="0"/>
        </a:spcBef>
        <a:spcAft>
          <a:spcPts val="600"/>
        </a:spcAft>
        <a:buClr>
          <a:schemeClr val="bg1"/>
        </a:buClr>
        <a:buSzTx/>
        <a:buFont typeface="Arial"/>
        <a:buChar char="–"/>
        <a:tabLst/>
        <a:defRPr sz="1600" b="0" kern="1200">
          <a:solidFill>
            <a:schemeClr val="bg1"/>
          </a:solidFill>
          <a:latin typeface="+mn-lt"/>
          <a:ea typeface="+mn-ea"/>
          <a:cs typeface="+mn-cs"/>
        </a:defRPr>
      </a:lvl4pPr>
      <a:lvl5pPr marL="1599360" indent="-228474" algn="l" defTabSz="456950" rtl="0" eaLnBrk="1" latinLnBrk="0" hangingPunct="1">
        <a:lnSpc>
          <a:spcPts val="2200"/>
        </a:lnSpc>
        <a:spcBef>
          <a:spcPts val="0"/>
        </a:spcBef>
        <a:spcAft>
          <a:spcPts val="600"/>
        </a:spcAft>
        <a:buClr>
          <a:schemeClr val="bg1"/>
        </a:buClr>
        <a:buFont typeface="Wingdings" charset="2"/>
        <a:buChar char="§"/>
        <a:tabLst/>
        <a:defRPr sz="1600" b="0" kern="1200" baseline="0">
          <a:solidFill>
            <a:schemeClr val="bg1"/>
          </a:solidFill>
          <a:latin typeface="+mn-lt"/>
          <a:ea typeface="+mn-ea"/>
          <a:cs typeface="+mn-cs"/>
        </a:defRPr>
      </a:lvl5pPr>
      <a:lvl6pPr marL="2513277" indent="-228474" algn="l" defTabSz="456950" rtl="0" eaLnBrk="1" latinLnBrk="0" hangingPunct="1">
        <a:spcBef>
          <a:spcPct val="20000"/>
        </a:spcBef>
        <a:buFont typeface="Arial"/>
        <a:buChar char="•"/>
        <a:defRPr sz="2000" kern="1200">
          <a:solidFill>
            <a:schemeClr val="tx1"/>
          </a:solidFill>
          <a:latin typeface="+mn-lt"/>
          <a:ea typeface="+mn-ea"/>
          <a:cs typeface="+mn-cs"/>
        </a:defRPr>
      </a:lvl6pPr>
      <a:lvl7pPr marL="2970246" indent="-228474" algn="l" defTabSz="456950" rtl="0" eaLnBrk="1" latinLnBrk="0" hangingPunct="1">
        <a:spcBef>
          <a:spcPct val="20000"/>
        </a:spcBef>
        <a:buFont typeface="Arial"/>
        <a:buChar char="•"/>
        <a:defRPr sz="2000" kern="1200">
          <a:solidFill>
            <a:schemeClr val="tx1"/>
          </a:solidFill>
          <a:latin typeface="+mn-lt"/>
          <a:ea typeface="+mn-ea"/>
          <a:cs typeface="+mn-cs"/>
        </a:defRPr>
      </a:lvl7pPr>
      <a:lvl8pPr marL="3427205" indent="-228474" algn="l" defTabSz="456950" rtl="0" eaLnBrk="1" latinLnBrk="0" hangingPunct="1">
        <a:spcBef>
          <a:spcPct val="20000"/>
        </a:spcBef>
        <a:buFont typeface="Arial"/>
        <a:buChar char="•"/>
        <a:defRPr sz="2000" kern="1200">
          <a:solidFill>
            <a:schemeClr val="tx1"/>
          </a:solidFill>
          <a:latin typeface="+mn-lt"/>
          <a:ea typeface="+mn-ea"/>
          <a:cs typeface="+mn-cs"/>
        </a:defRPr>
      </a:lvl8pPr>
      <a:lvl9pPr marL="3884163" indent="-228474" algn="l" defTabSz="45695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50" rtl="0" eaLnBrk="1" latinLnBrk="0" hangingPunct="1">
        <a:defRPr sz="1800" kern="1200">
          <a:solidFill>
            <a:schemeClr val="tx1"/>
          </a:solidFill>
          <a:latin typeface="+mn-lt"/>
          <a:ea typeface="+mn-ea"/>
          <a:cs typeface="+mn-cs"/>
        </a:defRPr>
      </a:lvl1pPr>
      <a:lvl2pPr marL="456950" algn="l" defTabSz="456950" rtl="0" eaLnBrk="1" latinLnBrk="0" hangingPunct="1">
        <a:defRPr sz="1800" kern="1200">
          <a:solidFill>
            <a:schemeClr val="tx1"/>
          </a:solidFill>
          <a:latin typeface="+mn-lt"/>
          <a:ea typeface="+mn-ea"/>
          <a:cs typeface="+mn-cs"/>
        </a:defRPr>
      </a:lvl2pPr>
      <a:lvl3pPr marL="913928" algn="l" defTabSz="456950" rtl="0" eaLnBrk="1" latinLnBrk="0" hangingPunct="1">
        <a:defRPr sz="1800" kern="1200">
          <a:solidFill>
            <a:schemeClr val="tx1"/>
          </a:solidFill>
          <a:latin typeface="+mn-lt"/>
          <a:ea typeface="+mn-ea"/>
          <a:cs typeface="+mn-cs"/>
        </a:defRPr>
      </a:lvl3pPr>
      <a:lvl4pPr marL="1370886" algn="l" defTabSz="456950" rtl="0" eaLnBrk="1" latinLnBrk="0" hangingPunct="1">
        <a:defRPr sz="1800" kern="1200">
          <a:solidFill>
            <a:schemeClr val="tx1"/>
          </a:solidFill>
          <a:latin typeface="+mn-lt"/>
          <a:ea typeface="+mn-ea"/>
          <a:cs typeface="+mn-cs"/>
        </a:defRPr>
      </a:lvl4pPr>
      <a:lvl5pPr marL="1827854" algn="l" defTabSz="456950" rtl="0" eaLnBrk="1" latinLnBrk="0" hangingPunct="1">
        <a:defRPr sz="1800" kern="1200">
          <a:solidFill>
            <a:schemeClr val="tx1"/>
          </a:solidFill>
          <a:latin typeface="+mn-lt"/>
          <a:ea typeface="+mn-ea"/>
          <a:cs typeface="+mn-cs"/>
        </a:defRPr>
      </a:lvl5pPr>
      <a:lvl6pPr marL="2284803" algn="l" defTabSz="456950" rtl="0" eaLnBrk="1" latinLnBrk="0" hangingPunct="1">
        <a:defRPr sz="1800" kern="1200">
          <a:solidFill>
            <a:schemeClr val="tx1"/>
          </a:solidFill>
          <a:latin typeface="+mn-lt"/>
          <a:ea typeface="+mn-ea"/>
          <a:cs typeface="+mn-cs"/>
        </a:defRPr>
      </a:lvl6pPr>
      <a:lvl7pPr marL="2741753" algn="l" defTabSz="456950" rtl="0" eaLnBrk="1" latinLnBrk="0" hangingPunct="1">
        <a:defRPr sz="1800" kern="1200">
          <a:solidFill>
            <a:schemeClr val="tx1"/>
          </a:solidFill>
          <a:latin typeface="+mn-lt"/>
          <a:ea typeface="+mn-ea"/>
          <a:cs typeface="+mn-cs"/>
        </a:defRPr>
      </a:lvl7pPr>
      <a:lvl8pPr marL="3198720" algn="l" defTabSz="456950" rtl="0" eaLnBrk="1" latinLnBrk="0" hangingPunct="1">
        <a:defRPr sz="1800" kern="1200">
          <a:solidFill>
            <a:schemeClr val="tx1"/>
          </a:solidFill>
          <a:latin typeface="+mn-lt"/>
          <a:ea typeface="+mn-ea"/>
          <a:cs typeface="+mn-cs"/>
        </a:defRPr>
      </a:lvl8pPr>
      <a:lvl9pPr marL="3655679" algn="l" defTabSz="456950"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67049"/>
      </p:ext>
    </p:extLst>
  </p:cSld>
  <p:clrMap bg1="lt1" tx1="dk1" bg2="lt2" tx2="dk2" accent1="accent1" accent2="accent2" accent3="accent3" accent4="accent4" accent5="accent5" accent6="accent6" hlink="hlink" folHlink="folHlink"/>
  <p:sldLayoutIdLst>
    <p:sldLayoutId id="2147485355" r:id="rId1"/>
    <p:sldLayoutId id="2147485356" r:id="rId2"/>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xStyles>
    <p:titleStyle>
      <a:lvl1pPr algn="l" defTabSz="456950" rtl="0" eaLnBrk="1" latinLnBrk="0" hangingPunct="1">
        <a:lnSpc>
          <a:spcPct val="90000"/>
        </a:lnSpc>
        <a:spcBef>
          <a:spcPct val="0"/>
        </a:spcBef>
        <a:buNone/>
        <a:defRPr lang="en-US" sz="2800" b="0" kern="1200" dirty="0">
          <a:solidFill>
            <a:schemeClr val="bg1"/>
          </a:solidFill>
          <a:latin typeface="+mj-lt"/>
          <a:ea typeface="+mj-ea"/>
          <a:cs typeface="+mj-cs"/>
        </a:defRPr>
      </a:lvl1pPr>
    </p:titleStyle>
    <p:bodyStyle>
      <a:lvl1pPr marL="342713" indent="-342713" algn="l" defTabSz="456950" rtl="0" eaLnBrk="1" latinLnBrk="0" hangingPunct="1">
        <a:lnSpc>
          <a:spcPts val="2880"/>
        </a:lnSpc>
        <a:spcBef>
          <a:spcPts val="1200"/>
        </a:spcBef>
        <a:spcAft>
          <a:spcPts val="200"/>
        </a:spcAft>
        <a:buClr>
          <a:schemeClr val="bg1"/>
        </a:buClr>
        <a:buFont typeface="Wingdings" charset="2"/>
        <a:buChar char="§"/>
        <a:defRPr sz="2400" b="0" kern="1200">
          <a:solidFill>
            <a:schemeClr val="bg1"/>
          </a:solidFill>
          <a:latin typeface="+mn-lt"/>
          <a:ea typeface="+mn-ea"/>
          <a:cs typeface="+mn-cs"/>
        </a:defRPr>
      </a:lvl1pPr>
      <a:lvl2pPr marL="679093" indent="-285603" algn="l" defTabSz="456950" rtl="0" eaLnBrk="1" latinLnBrk="0" hangingPunct="1">
        <a:lnSpc>
          <a:spcPts val="2200"/>
        </a:lnSpc>
        <a:spcBef>
          <a:spcPts val="0"/>
        </a:spcBef>
        <a:spcAft>
          <a:spcPts val="600"/>
        </a:spcAft>
        <a:buClr>
          <a:schemeClr val="bg1"/>
        </a:buClr>
        <a:buFont typeface="Arial"/>
        <a:buChar char="–"/>
        <a:defRPr sz="2000" b="0" kern="1200">
          <a:solidFill>
            <a:schemeClr val="bg1"/>
          </a:solidFill>
          <a:latin typeface="+mn-lt"/>
          <a:ea typeface="+mn-ea"/>
          <a:cs typeface="+mn-cs"/>
        </a:defRPr>
      </a:lvl2pPr>
      <a:lvl3pPr marL="977396" indent="-228474" algn="l" defTabSz="456950" rtl="0" eaLnBrk="1" latinLnBrk="0" hangingPunct="1">
        <a:lnSpc>
          <a:spcPts val="2200"/>
        </a:lnSpc>
        <a:spcBef>
          <a:spcPts val="0"/>
        </a:spcBef>
        <a:spcAft>
          <a:spcPts val="600"/>
        </a:spcAft>
        <a:buClr>
          <a:schemeClr val="bg1"/>
        </a:buClr>
        <a:buFont typeface="Wingdings" charset="2"/>
        <a:buChar char="§"/>
        <a:defRPr sz="1800" b="0" kern="1200">
          <a:solidFill>
            <a:schemeClr val="bg1"/>
          </a:solidFill>
          <a:latin typeface="+mn-lt"/>
          <a:ea typeface="+mn-ea"/>
          <a:cs typeface="+mn-cs"/>
        </a:defRPr>
      </a:lvl3pPr>
      <a:lvl4pPr marL="1320107" marR="0" indent="-228474" algn="l" defTabSz="456950" rtl="0" eaLnBrk="1" fontAlgn="auto" latinLnBrk="0" hangingPunct="1">
        <a:lnSpc>
          <a:spcPts val="2200"/>
        </a:lnSpc>
        <a:spcBef>
          <a:spcPts val="0"/>
        </a:spcBef>
        <a:spcAft>
          <a:spcPts val="600"/>
        </a:spcAft>
        <a:buClr>
          <a:schemeClr val="bg1"/>
        </a:buClr>
        <a:buSzTx/>
        <a:buFont typeface="Arial"/>
        <a:buChar char="–"/>
        <a:tabLst/>
        <a:defRPr sz="1600" b="0" kern="1200">
          <a:solidFill>
            <a:schemeClr val="bg1"/>
          </a:solidFill>
          <a:latin typeface="+mn-lt"/>
          <a:ea typeface="+mn-ea"/>
          <a:cs typeface="+mn-cs"/>
        </a:defRPr>
      </a:lvl4pPr>
      <a:lvl5pPr marL="1599360" indent="-228474" algn="l" defTabSz="456950" rtl="0" eaLnBrk="1" latinLnBrk="0" hangingPunct="1">
        <a:lnSpc>
          <a:spcPts val="2200"/>
        </a:lnSpc>
        <a:spcBef>
          <a:spcPts val="0"/>
        </a:spcBef>
        <a:spcAft>
          <a:spcPts val="600"/>
        </a:spcAft>
        <a:buClr>
          <a:schemeClr val="bg1"/>
        </a:buClr>
        <a:buFont typeface="Wingdings" charset="2"/>
        <a:buChar char="§"/>
        <a:tabLst/>
        <a:defRPr sz="1600" b="0" kern="1200" baseline="0">
          <a:solidFill>
            <a:schemeClr val="bg1"/>
          </a:solidFill>
          <a:latin typeface="+mn-lt"/>
          <a:ea typeface="+mn-ea"/>
          <a:cs typeface="+mn-cs"/>
        </a:defRPr>
      </a:lvl5pPr>
      <a:lvl6pPr marL="2513277" indent="-228474" algn="l" defTabSz="456950" rtl="0" eaLnBrk="1" latinLnBrk="0" hangingPunct="1">
        <a:spcBef>
          <a:spcPct val="20000"/>
        </a:spcBef>
        <a:buFont typeface="Arial"/>
        <a:buChar char="•"/>
        <a:defRPr sz="2000" kern="1200">
          <a:solidFill>
            <a:schemeClr val="tx1"/>
          </a:solidFill>
          <a:latin typeface="+mn-lt"/>
          <a:ea typeface="+mn-ea"/>
          <a:cs typeface="+mn-cs"/>
        </a:defRPr>
      </a:lvl6pPr>
      <a:lvl7pPr marL="2970246" indent="-228474" algn="l" defTabSz="456950" rtl="0" eaLnBrk="1" latinLnBrk="0" hangingPunct="1">
        <a:spcBef>
          <a:spcPct val="20000"/>
        </a:spcBef>
        <a:buFont typeface="Arial"/>
        <a:buChar char="•"/>
        <a:defRPr sz="2000" kern="1200">
          <a:solidFill>
            <a:schemeClr val="tx1"/>
          </a:solidFill>
          <a:latin typeface="+mn-lt"/>
          <a:ea typeface="+mn-ea"/>
          <a:cs typeface="+mn-cs"/>
        </a:defRPr>
      </a:lvl7pPr>
      <a:lvl8pPr marL="3427205" indent="-228474" algn="l" defTabSz="456950" rtl="0" eaLnBrk="1" latinLnBrk="0" hangingPunct="1">
        <a:spcBef>
          <a:spcPct val="20000"/>
        </a:spcBef>
        <a:buFont typeface="Arial"/>
        <a:buChar char="•"/>
        <a:defRPr sz="2000" kern="1200">
          <a:solidFill>
            <a:schemeClr val="tx1"/>
          </a:solidFill>
          <a:latin typeface="+mn-lt"/>
          <a:ea typeface="+mn-ea"/>
          <a:cs typeface="+mn-cs"/>
        </a:defRPr>
      </a:lvl8pPr>
      <a:lvl9pPr marL="3884163" indent="-228474" algn="l" defTabSz="45695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50" rtl="0" eaLnBrk="1" latinLnBrk="0" hangingPunct="1">
        <a:defRPr sz="1800" kern="1200">
          <a:solidFill>
            <a:schemeClr val="tx1"/>
          </a:solidFill>
          <a:latin typeface="+mn-lt"/>
          <a:ea typeface="+mn-ea"/>
          <a:cs typeface="+mn-cs"/>
        </a:defRPr>
      </a:lvl1pPr>
      <a:lvl2pPr marL="456950" algn="l" defTabSz="456950" rtl="0" eaLnBrk="1" latinLnBrk="0" hangingPunct="1">
        <a:defRPr sz="1800" kern="1200">
          <a:solidFill>
            <a:schemeClr val="tx1"/>
          </a:solidFill>
          <a:latin typeface="+mn-lt"/>
          <a:ea typeface="+mn-ea"/>
          <a:cs typeface="+mn-cs"/>
        </a:defRPr>
      </a:lvl2pPr>
      <a:lvl3pPr marL="913928" algn="l" defTabSz="456950" rtl="0" eaLnBrk="1" latinLnBrk="0" hangingPunct="1">
        <a:defRPr sz="1800" kern="1200">
          <a:solidFill>
            <a:schemeClr val="tx1"/>
          </a:solidFill>
          <a:latin typeface="+mn-lt"/>
          <a:ea typeface="+mn-ea"/>
          <a:cs typeface="+mn-cs"/>
        </a:defRPr>
      </a:lvl3pPr>
      <a:lvl4pPr marL="1370886" algn="l" defTabSz="456950" rtl="0" eaLnBrk="1" latinLnBrk="0" hangingPunct="1">
        <a:defRPr sz="1800" kern="1200">
          <a:solidFill>
            <a:schemeClr val="tx1"/>
          </a:solidFill>
          <a:latin typeface="+mn-lt"/>
          <a:ea typeface="+mn-ea"/>
          <a:cs typeface="+mn-cs"/>
        </a:defRPr>
      </a:lvl4pPr>
      <a:lvl5pPr marL="1827854" algn="l" defTabSz="456950" rtl="0" eaLnBrk="1" latinLnBrk="0" hangingPunct="1">
        <a:defRPr sz="1800" kern="1200">
          <a:solidFill>
            <a:schemeClr val="tx1"/>
          </a:solidFill>
          <a:latin typeface="+mn-lt"/>
          <a:ea typeface="+mn-ea"/>
          <a:cs typeface="+mn-cs"/>
        </a:defRPr>
      </a:lvl5pPr>
      <a:lvl6pPr marL="2284803" algn="l" defTabSz="456950" rtl="0" eaLnBrk="1" latinLnBrk="0" hangingPunct="1">
        <a:defRPr sz="1800" kern="1200">
          <a:solidFill>
            <a:schemeClr val="tx1"/>
          </a:solidFill>
          <a:latin typeface="+mn-lt"/>
          <a:ea typeface="+mn-ea"/>
          <a:cs typeface="+mn-cs"/>
        </a:defRPr>
      </a:lvl6pPr>
      <a:lvl7pPr marL="2741753" algn="l" defTabSz="456950" rtl="0" eaLnBrk="1" latinLnBrk="0" hangingPunct="1">
        <a:defRPr sz="1800" kern="1200">
          <a:solidFill>
            <a:schemeClr val="tx1"/>
          </a:solidFill>
          <a:latin typeface="+mn-lt"/>
          <a:ea typeface="+mn-ea"/>
          <a:cs typeface="+mn-cs"/>
        </a:defRPr>
      </a:lvl7pPr>
      <a:lvl8pPr marL="3198720" algn="l" defTabSz="456950" rtl="0" eaLnBrk="1" latinLnBrk="0" hangingPunct="1">
        <a:defRPr sz="1800" kern="1200">
          <a:solidFill>
            <a:schemeClr val="tx1"/>
          </a:solidFill>
          <a:latin typeface="+mn-lt"/>
          <a:ea typeface="+mn-ea"/>
          <a:cs typeface="+mn-cs"/>
        </a:defRPr>
      </a:lvl8pPr>
      <a:lvl9pPr marL="3655679" algn="l" defTabSz="456950"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3562352" y="890588"/>
            <a:ext cx="5324475"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Master title style</a:t>
            </a:r>
          </a:p>
        </p:txBody>
      </p:sp>
      <p:sp>
        <p:nvSpPr>
          <p:cNvPr id="2051" name="Rectangle 3"/>
          <p:cNvSpPr>
            <a:spLocks noGrp="1" noChangeArrowheads="1"/>
          </p:cNvSpPr>
          <p:nvPr>
            <p:ph type="body" idx="1"/>
          </p:nvPr>
        </p:nvSpPr>
        <p:spPr bwMode="auto">
          <a:xfrm>
            <a:off x="3562352" y="1619250"/>
            <a:ext cx="5324475" cy="277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pic>
        <p:nvPicPr>
          <p:cNvPr id="2052" name="Picture 9" descr="H:\000 Clients\lambie nairn\O2_white.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418515" y="184171"/>
            <a:ext cx="4587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11" descr="Telef?nica_White[1].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591425" y="4713289"/>
            <a:ext cx="12954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7657265"/>
      </p:ext>
    </p:extLst>
  </p:cSld>
  <p:clrMap bg1="lt1" tx1="dk1" bg2="lt2" tx2="dk2" accent1="accent1" accent2="accent2" accent3="accent3" accent4="accent4" accent5="accent5" accent6="accent6" hlink="hlink" folHlink="folHlink"/>
  <p:sldLayoutIdLst>
    <p:sldLayoutId id="2147485358" r:id="rId1"/>
    <p:sldLayoutId id="2147485359" r:id="rId2"/>
    <p:sldLayoutId id="2147485360" r:id="rId3"/>
  </p:sldLayoutIdLst>
  <p:hf sldNum="0" hdr="0" dt="0"/>
  <p:txStyles>
    <p:titleStyle>
      <a:lvl1pPr algn="l" rtl="0" eaLnBrk="0" fontAlgn="base" hangingPunct="0">
        <a:spcBef>
          <a:spcPct val="0"/>
        </a:spcBef>
        <a:spcAft>
          <a:spcPct val="0"/>
        </a:spcAft>
        <a:defRPr sz="2400" b="1">
          <a:solidFill>
            <a:schemeClr val="bg1"/>
          </a:solidFill>
          <a:latin typeface="+mj-lt"/>
          <a:ea typeface="ＭＳ Ｐゴシック" charset="-128"/>
          <a:cs typeface="ＭＳ Ｐゴシック" charset="-128"/>
        </a:defRPr>
      </a:lvl1pPr>
      <a:lvl2pPr algn="l" rtl="0" eaLnBrk="0" fontAlgn="base" hangingPunct="0">
        <a:spcBef>
          <a:spcPct val="0"/>
        </a:spcBef>
        <a:spcAft>
          <a:spcPct val="0"/>
        </a:spcAft>
        <a:defRPr sz="2400" b="1">
          <a:solidFill>
            <a:schemeClr val="bg1"/>
          </a:solidFill>
          <a:latin typeface="Arial" charset="0"/>
          <a:ea typeface="ＭＳ Ｐゴシック" charset="-128"/>
          <a:cs typeface="ＭＳ Ｐゴシック" charset="-128"/>
        </a:defRPr>
      </a:lvl2pPr>
      <a:lvl3pPr algn="l" rtl="0" eaLnBrk="0" fontAlgn="base" hangingPunct="0">
        <a:spcBef>
          <a:spcPct val="0"/>
        </a:spcBef>
        <a:spcAft>
          <a:spcPct val="0"/>
        </a:spcAft>
        <a:defRPr sz="2400" b="1">
          <a:solidFill>
            <a:schemeClr val="bg1"/>
          </a:solidFill>
          <a:latin typeface="Arial" charset="0"/>
          <a:ea typeface="ＭＳ Ｐゴシック" charset="-128"/>
          <a:cs typeface="ＭＳ Ｐゴシック" charset="-128"/>
        </a:defRPr>
      </a:lvl3pPr>
      <a:lvl4pPr algn="l" rtl="0" eaLnBrk="0" fontAlgn="base" hangingPunct="0">
        <a:spcBef>
          <a:spcPct val="0"/>
        </a:spcBef>
        <a:spcAft>
          <a:spcPct val="0"/>
        </a:spcAft>
        <a:defRPr sz="2400" b="1">
          <a:solidFill>
            <a:schemeClr val="bg1"/>
          </a:solidFill>
          <a:latin typeface="Arial" charset="0"/>
          <a:ea typeface="ＭＳ Ｐゴシック" charset="-128"/>
          <a:cs typeface="ＭＳ Ｐゴシック" charset="-128"/>
        </a:defRPr>
      </a:lvl4pPr>
      <a:lvl5pPr algn="l" rtl="0" eaLnBrk="0" fontAlgn="base" hangingPunct="0">
        <a:spcBef>
          <a:spcPct val="0"/>
        </a:spcBef>
        <a:spcAft>
          <a:spcPct val="0"/>
        </a:spcAft>
        <a:defRPr sz="2400" b="1">
          <a:solidFill>
            <a:schemeClr val="bg1"/>
          </a:solidFill>
          <a:latin typeface="Arial" charset="0"/>
          <a:ea typeface="ＭＳ Ｐゴシック" charset="-128"/>
          <a:cs typeface="ＭＳ Ｐゴシック" charset="-128"/>
        </a:defRPr>
      </a:lvl5pPr>
      <a:lvl6pPr marL="456950" algn="l" rtl="0" fontAlgn="base">
        <a:spcBef>
          <a:spcPct val="0"/>
        </a:spcBef>
        <a:spcAft>
          <a:spcPct val="0"/>
        </a:spcAft>
        <a:defRPr sz="2400" b="1">
          <a:solidFill>
            <a:schemeClr val="bg1"/>
          </a:solidFill>
          <a:latin typeface="Arial" charset="0"/>
        </a:defRPr>
      </a:lvl6pPr>
      <a:lvl7pPr marL="913928" algn="l" rtl="0" fontAlgn="base">
        <a:spcBef>
          <a:spcPct val="0"/>
        </a:spcBef>
        <a:spcAft>
          <a:spcPct val="0"/>
        </a:spcAft>
        <a:defRPr sz="2400" b="1">
          <a:solidFill>
            <a:schemeClr val="bg1"/>
          </a:solidFill>
          <a:latin typeface="Arial" charset="0"/>
        </a:defRPr>
      </a:lvl7pPr>
      <a:lvl8pPr marL="1370886" algn="l" rtl="0" fontAlgn="base">
        <a:spcBef>
          <a:spcPct val="0"/>
        </a:spcBef>
        <a:spcAft>
          <a:spcPct val="0"/>
        </a:spcAft>
        <a:defRPr sz="2400" b="1">
          <a:solidFill>
            <a:schemeClr val="bg1"/>
          </a:solidFill>
          <a:latin typeface="Arial" charset="0"/>
        </a:defRPr>
      </a:lvl8pPr>
      <a:lvl9pPr marL="1827854" algn="l" rtl="0" fontAlgn="base">
        <a:spcBef>
          <a:spcPct val="0"/>
        </a:spcBef>
        <a:spcAft>
          <a:spcPct val="0"/>
        </a:spcAft>
        <a:defRPr sz="2400" b="1">
          <a:solidFill>
            <a:schemeClr val="bg1"/>
          </a:solidFill>
          <a:latin typeface="Arial" charset="0"/>
        </a:defRPr>
      </a:lvl9pPr>
    </p:titleStyle>
    <p:bodyStyle>
      <a:lvl1pPr marL="304643" indent="-304643" algn="l" rtl="0" eaLnBrk="0" fontAlgn="base" hangingPunct="0">
        <a:spcBef>
          <a:spcPts val="900"/>
        </a:spcBef>
        <a:spcAft>
          <a:spcPts val="300"/>
        </a:spcAft>
        <a:buAutoNum type="arabicPeriod"/>
        <a:defRPr sz="1600">
          <a:solidFill>
            <a:schemeClr val="bg1"/>
          </a:solidFill>
          <a:latin typeface="+mn-lt"/>
          <a:ea typeface="ＭＳ Ｐゴシック" charset="-128"/>
          <a:cs typeface="ＭＳ Ｐゴシック" charset="-128"/>
        </a:defRPr>
      </a:lvl1pPr>
      <a:lvl2pPr marL="767951" indent="-342713" algn="l" rtl="0" eaLnBrk="0" fontAlgn="base" hangingPunct="0">
        <a:spcBef>
          <a:spcPct val="20000"/>
        </a:spcBef>
        <a:spcAft>
          <a:spcPct val="0"/>
        </a:spcAft>
        <a:buFont typeface="Arial" charset="0"/>
        <a:buAutoNum type="alphaLcPeriod"/>
        <a:defRPr sz="1600">
          <a:solidFill>
            <a:schemeClr val="bg1"/>
          </a:solidFill>
          <a:latin typeface="+mn-lt"/>
          <a:ea typeface="ＭＳ Ｐゴシック" charset="-128"/>
        </a:defRPr>
      </a:lvl2pPr>
      <a:lvl3pPr marL="861572" indent="-304643" algn="l" rtl="0" eaLnBrk="0" fontAlgn="base" hangingPunct="0">
        <a:spcBef>
          <a:spcPct val="20000"/>
        </a:spcBef>
        <a:spcAft>
          <a:spcPct val="0"/>
        </a:spcAft>
        <a:buChar char="•"/>
        <a:defRPr sz="1600">
          <a:solidFill>
            <a:schemeClr val="bg1"/>
          </a:solidFill>
          <a:latin typeface="+mn-lt"/>
          <a:ea typeface="ヒラギノ角ゴ Pro W3" charset="-128"/>
          <a:cs typeface="ヒラギノ角ゴ Pro W3" charset="-128"/>
        </a:defRPr>
      </a:lvl3pPr>
      <a:lvl4pPr marL="1001188" indent="-304643" algn="l" rtl="0" eaLnBrk="0" fontAlgn="base" hangingPunct="0">
        <a:spcBef>
          <a:spcPct val="20000"/>
        </a:spcBef>
        <a:spcAft>
          <a:spcPct val="0"/>
        </a:spcAft>
        <a:buChar char="–"/>
        <a:defRPr sz="1600">
          <a:solidFill>
            <a:schemeClr val="bg1"/>
          </a:solidFill>
          <a:latin typeface="+mn-lt"/>
          <a:ea typeface="ヒラギノ角ゴ Pro W3" charset="-128"/>
        </a:defRPr>
      </a:lvl4pPr>
      <a:lvl5pPr marL="1188408" indent="-304643" algn="l" rtl="0" eaLnBrk="0" fontAlgn="base" hangingPunct="0">
        <a:spcBef>
          <a:spcPct val="20000"/>
        </a:spcBef>
        <a:spcAft>
          <a:spcPct val="0"/>
        </a:spcAft>
        <a:buChar char="»"/>
        <a:defRPr sz="1600">
          <a:solidFill>
            <a:schemeClr val="bg1"/>
          </a:solidFill>
          <a:latin typeface="+mn-lt"/>
          <a:ea typeface="ヒラギノ角ゴ Pro W3" charset="-128"/>
        </a:defRPr>
      </a:lvl5pPr>
      <a:lvl6pPr marL="1645377" indent="-304643" algn="l" rtl="0" fontAlgn="base">
        <a:spcBef>
          <a:spcPct val="20000"/>
        </a:spcBef>
        <a:spcAft>
          <a:spcPct val="0"/>
        </a:spcAft>
        <a:buChar char="»"/>
        <a:defRPr sz="1600">
          <a:solidFill>
            <a:schemeClr val="bg1"/>
          </a:solidFill>
          <a:latin typeface="+mn-lt"/>
          <a:ea typeface="ＭＳ Ｐゴシック" charset="-128"/>
        </a:defRPr>
      </a:lvl6pPr>
      <a:lvl7pPr marL="2102336" indent="-304643" algn="l" rtl="0" fontAlgn="base">
        <a:spcBef>
          <a:spcPct val="20000"/>
        </a:spcBef>
        <a:spcAft>
          <a:spcPct val="0"/>
        </a:spcAft>
        <a:buChar char="»"/>
        <a:defRPr sz="1600">
          <a:solidFill>
            <a:schemeClr val="bg1"/>
          </a:solidFill>
          <a:latin typeface="+mn-lt"/>
          <a:ea typeface="ＭＳ Ｐゴシック" charset="-128"/>
        </a:defRPr>
      </a:lvl7pPr>
      <a:lvl8pPr marL="2559294" indent="-304643" algn="l" rtl="0" fontAlgn="base">
        <a:spcBef>
          <a:spcPct val="20000"/>
        </a:spcBef>
        <a:spcAft>
          <a:spcPct val="0"/>
        </a:spcAft>
        <a:buChar char="»"/>
        <a:defRPr sz="1600">
          <a:solidFill>
            <a:schemeClr val="bg1"/>
          </a:solidFill>
          <a:latin typeface="+mn-lt"/>
          <a:ea typeface="ＭＳ Ｐゴシック" charset="-128"/>
        </a:defRPr>
      </a:lvl8pPr>
      <a:lvl9pPr marL="3016262" indent="-304643" algn="l" rtl="0" fontAlgn="base">
        <a:spcBef>
          <a:spcPct val="20000"/>
        </a:spcBef>
        <a:spcAft>
          <a:spcPct val="0"/>
        </a:spcAft>
        <a:buChar char="»"/>
        <a:defRPr sz="1600">
          <a:solidFill>
            <a:schemeClr val="bg1"/>
          </a:solidFill>
          <a:latin typeface="+mn-lt"/>
          <a:ea typeface="ＭＳ Ｐゴシック" charset="-128"/>
        </a:defRPr>
      </a:lvl9pPr>
    </p:bodyStyle>
    <p:otherStyle>
      <a:defPPr>
        <a:defRPr lang="en-US"/>
      </a:defPPr>
      <a:lvl1pPr marL="0" algn="l" defTabSz="456950" rtl="0" eaLnBrk="1" latinLnBrk="0" hangingPunct="1">
        <a:defRPr sz="1800" kern="1200">
          <a:solidFill>
            <a:schemeClr val="tx1"/>
          </a:solidFill>
          <a:latin typeface="+mn-lt"/>
          <a:ea typeface="+mn-ea"/>
          <a:cs typeface="+mn-cs"/>
        </a:defRPr>
      </a:lvl1pPr>
      <a:lvl2pPr marL="456950" algn="l" defTabSz="456950" rtl="0" eaLnBrk="1" latinLnBrk="0" hangingPunct="1">
        <a:defRPr sz="1800" kern="1200">
          <a:solidFill>
            <a:schemeClr val="tx1"/>
          </a:solidFill>
          <a:latin typeface="+mn-lt"/>
          <a:ea typeface="+mn-ea"/>
          <a:cs typeface="+mn-cs"/>
        </a:defRPr>
      </a:lvl2pPr>
      <a:lvl3pPr marL="913928" algn="l" defTabSz="456950" rtl="0" eaLnBrk="1" latinLnBrk="0" hangingPunct="1">
        <a:defRPr sz="1800" kern="1200">
          <a:solidFill>
            <a:schemeClr val="tx1"/>
          </a:solidFill>
          <a:latin typeface="+mn-lt"/>
          <a:ea typeface="+mn-ea"/>
          <a:cs typeface="+mn-cs"/>
        </a:defRPr>
      </a:lvl3pPr>
      <a:lvl4pPr marL="1370886" algn="l" defTabSz="456950" rtl="0" eaLnBrk="1" latinLnBrk="0" hangingPunct="1">
        <a:defRPr sz="1800" kern="1200">
          <a:solidFill>
            <a:schemeClr val="tx1"/>
          </a:solidFill>
          <a:latin typeface="+mn-lt"/>
          <a:ea typeface="+mn-ea"/>
          <a:cs typeface="+mn-cs"/>
        </a:defRPr>
      </a:lvl4pPr>
      <a:lvl5pPr marL="1827854" algn="l" defTabSz="456950" rtl="0" eaLnBrk="1" latinLnBrk="0" hangingPunct="1">
        <a:defRPr sz="1800" kern="1200">
          <a:solidFill>
            <a:schemeClr val="tx1"/>
          </a:solidFill>
          <a:latin typeface="+mn-lt"/>
          <a:ea typeface="+mn-ea"/>
          <a:cs typeface="+mn-cs"/>
        </a:defRPr>
      </a:lvl5pPr>
      <a:lvl6pPr marL="2284803" algn="l" defTabSz="456950" rtl="0" eaLnBrk="1" latinLnBrk="0" hangingPunct="1">
        <a:defRPr sz="1800" kern="1200">
          <a:solidFill>
            <a:schemeClr val="tx1"/>
          </a:solidFill>
          <a:latin typeface="+mn-lt"/>
          <a:ea typeface="+mn-ea"/>
          <a:cs typeface="+mn-cs"/>
        </a:defRPr>
      </a:lvl6pPr>
      <a:lvl7pPr marL="2741753" algn="l" defTabSz="456950" rtl="0" eaLnBrk="1" latinLnBrk="0" hangingPunct="1">
        <a:defRPr sz="1800" kern="1200">
          <a:solidFill>
            <a:schemeClr val="tx1"/>
          </a:solidFill>
          <a:latin typeface="+mn-lt"/>
          <a:ea typeface="+mn-ea"/>
          <a:cs typeface="+mn-cs"/>
        </a:defRPr>
      </a:lvl7pPr>
      <a:lvl8pPr marL="3198720" algn="l" defTabSz="456950" rtl="0" eaLnBrk="1" latinLnBrk="0" hangingPunct="1">
        <a:defRPr sz="1800" kern="1200">
          <a:solidFill>
            <a:schemeClr val="tx1"/>
          </a:solidFill>
          <a:latin typeface="+mn-lt"/>
          <a:ea typeface="+mn-ea"/>
          <a:cs typeface="+mn-cs"/>
        </a:defRPr>
      </a:lvl8pPr>
      <a:lvl9pPr marL="3655679" algn="l" defTabSz="456950"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04814" y="236554"/>
            <a:ext cx="822642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Master title style</a:t>
            </a:r>
          </a:p>
        </p:txBody>
      </p:sp>
      <p:sp>
        <p:nvSpPr>
          <p:cNvPr id="1027" name="Rectangle 3"/>
          <p:cNvSpPr>
            <a:spLocks noGrp="1" noChangeArrowheads="1"/>
          </p:cNvSpPr>
          <p:nvPr>
            <p:ph type="body" idx="1"/>
          </p:nvPr>
        </p:nvSpPr>
        <p:spPr bwMode="auto">
          <a:xfrm>
            <a:off x="304800" y="890588"/>
            <a:ext cx="82296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5365" name="Rectangle 5"/>
          <p:cNvSpPr>
            <a:spLocks noGrp="1" noChangeArrowheads="1"/>
          </p:cNvSpPr>
          <p:nvPr>
            <p:ph type="ftr" sz="quarter" idx="3"/>
          </p:nvPr>
        </p:nvSpPr>
        <p:spPr bwMode="auto">
          <a:xfrm>
            <a:off x="304813" y="4875215"/>
            <a:ext cx="6221413" cy="1619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a:solidFill>
                  <a:schemeClr val="tx1"/>
                </a:solidFill>
                <a:ea typeface="ＭＳ Ｐゴシック" charset="-128"/>
              </a:defRPr>
            </a:lvl1pPr>
          </a:lstStyle>
          <a:p>
            <a:pPr defTabSz="913928">
              <a:defRPr/>
            </a:pPr>
            <a:r>
              <a:rPr lang="en-GB" sz="700">
                <a:solidFill>
                  <a:srgbClr val="000066"/>
                </a:solidFill>
                <a:cs typeface="+mn-cs"/>
              </a:rPr>
              <a:t>Presentation title       Author's name        </a:t>
            </a:r>
            <a:fld id="{3F2C90DE-6C37-43D1-87B9-701FF5B346BB}" type="datetime3">
              <a:rPr lang="en-GB" sz="700" smtClean="0">
                <a:solidFill>
                  <a:srgbClr val="000066"/>
                </a:solidFill>
                <a:cs typeface="+mn-cs"/>
              </a:rPr>
              <a:pPr defTabSz="913928">
                <a:defRPr/>
              </a:pPr>
              <a:t>15 May, 2017</a:t>
            </a:fld>
            <a:r>
              <a:rPr lang="en-GB" sz="700">
                <a:solidFill>
                  <a:srgbClr val="000066"/>
                </a:solidFill>
                <a:cs typeface="+mn-cs"/>
              </a:rPr>
              <a:t>       Confidential</a:t>
            </a:r>
          </a:p>
        </p:txBody>
      </p:sp>
    </p:spTree>
    <p:extLst>
      <p:ext uri="{BB962C8B-B14F-4D97-AF65-F5344CB8AC3E}">
        <p14:creationId xmlns:p14="http://schemas.microsoft.com/office/powerpoint/2010/main" val="3711637520"/>
      </p:ext>
    </p:extLst>
  </p:cSld>
  <p:clrMap bg1="lt1" tx1="dk1" bg2="lt2" tx2="dk2" accent1="accent1" accent2="accent2" accent3="accent3" accent4="accent4" accent5="accent5" accent6="accent6" hlink="hlink" folHlink="folHlink"/>
  <p:sldLayoutIdLst>
    <p:sldLayoutId id="2147485362" r:id="rId1"/>
    <p:sldLayoutId id="2147485363" r:id="rId2"/>
    <p:sldLayoutId id="2147485364" r:id="rId3"/>
    <p:sldLayoutId id="2147485365" r:id="rId4"/>
    <p:sldLayoutId id="2147485366" r:id="rId5"/>
    <p:sldLayoutId id="2147485367" r:id="rId6"/>
    <p:sldLayoutId id="2147485368" r:id="rId7"/>
    <p:sldLayoutId id="2147485369" r:id="rId8"/>
    <p:sldLayoutId id="2147485370" r:id="rId9"/>
  </p:sldLayoutIdLst>
  <p:hf sldNum="0" hdr="0" dt="0"/>
  <p:txStyles>
    <p:titleStyle>
      <a:lvl1pPr algn="l" rtl="0" eaLnBrk="0" fontAlgn="base" hangingPunct="0">
        <a:spcBef>
          <a:spcPct val="0"/>
        </a:spcBef>
        <a:spcAft>
          <a:spcPct val="0"/>
        </a:spcAft>
        <a:defRPr sz="2400" b="1">
          <a:solidFill>
            <a:schemeClr val="tx2"/>
          </a:solidFill>
          <a:latin typeface="+mj-lt"/>
          <a:ea typeface="ＭＳ Ｐゴシック" charset="-128"/>
          <a:cs typeface="ＭＳ Ｐゴシック" charset="-128"/>
        </a:defRPr>
      </a:lvl1pPr>
      <a:lvl2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2pPr>
      <a:lvl3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3pPr>
      <a:lvl4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4pPr>
      <a:lvl5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5pPr>
      <a:lvl6pPr marL="456950" algn="l" rtl="0" fontAlgn="base">
        <a:spcBef>
          <a:spcPct val="0"/>
        </a:spcBef>
        <a:spcAft>
          <a:spcPct val="0"/>
        </a:spcAft>
        <a:defRPr sz="2400" b="1">
          <a:solidFill>
            <a:schemeClr val="tx2"/>
          </a:solidFill>
          <a:latin typeface="Arial" charset="0"/>
        </a:defRPr>
      </a:lvl6pPr>
      <a:lvl7pPr marL="913928" algn="l" rtl="0" fontAlgn="base">
        <a:spcBef>
          <a:spcPct val="0"/>
        </a:spcBef>
        <a:spcAft>
          <a:spcPct val="0"/>
        </a:spcAft>
        <a:defRPr sz="2400" b="1">
          <a:solidFill>
            <a:schemeClr val="tx2"/>
          </a:solidFill>
          <a:latin typeface="Arial" charset="0"/>
        </a:defRPr>
      </a:lvl7pPr>
      <a:lvl8pPr marL="1370886" algn="l" rtl="0" fontAlgn="base">
        <a:spcBef>
          <a:spcPct val="0"/>
        </a:spcBef>
        <a:spcAft>
          <a:spcPct val="0"/>
        </a:spcAft>
        <a:defRPr sz="2400" b="1">
          <a:solidFill>
            <a:schemeClr val="tx2"/>
          </a:solidFill>
          <a:latin typeface="Arial" charset="0"/>
        </a:defRPr>
      </a:lvl8pPr>
      <a:lvl9pPr marL="1827854" algn="l" rtl="0" fontAlgn="base">
        <a:spcBef>
          <a:spcPct val="0"/>
        </a:spcBef>
        <a:spcAft>
          <a:spcPct val="0"/>
        </a:spcAft>
        <a:defRPr sz="2400" b="1">
          <a:solidFill>
            <a:schemeClr val="tx2"/>
          </a:solidFill>
          <a:latin typeface="Arial" charset="0"/>
        </a:defRPr>
      </a:lvl9pPr>
    </p:titleStyle>
    <p:bodyStyle>
      <a:lvl1pPr marL="342713" indent="-342713" algn="l" rtl="0" eaLnBrk="0" fontAlgn="base" hangingPunct="0">
        <a:lnSpc>
          <a:spcPts val="2200"/>
        </a:lnSpc>
        <a:spcBef>
          <a:spcPts val="1200"/>
        </a:spcBef>
        <a:spcAft>
          <a:spcPts val="600"/>
        </a:spcAft>
        <a:defRPr>
          <a:solidFill>
            <a:schemeClr val="tx1"/>
          </a:solidFill>
          <a:latin typeface="+mn-lt"/>
          <a:ea typeface="ＭＳ Ｐゴシック" charset="-128"/>
          <a:cs typeface="ＭＳ Ｐゴシック" charset="-128"/>
        </a:defRPr>
      </a:lvl1pPr>
      <a:lvl2pPr marL="626747" indent="-269747" algn="l" rtl="0" eaLnBrk="0" fontAlgn="base" hangingPunct="0">
        <a:lnSpc>
          <a:spcPts val="2200"/>
        </a:lnSpc>
        <a:spcBef>
          <a:spcPct val="20000"/>
        </a:spcBef>
        <a:spcAft>
          <a:spcPct val="0"/>
        </a:spcAft>
        <a:buChar char="•"/>
        <a:defRPr>
          <a:solidFill>
            <a:schemeClr val="tx1"/>
          </a:solidFill>
          <a:latin typeface="+mn-lt"/>
          <a:ea typeface="ＭＳ Ｐゴシック" charset="-128"/>
        </a:defRPr>
      </a:lvl2pPr>
      <a:lvl3pPr marL="896465" indent="-269747" algn="l" rtl="0" eaLnBrk="0" fontAlgn="base" hangingPunct="0">
        <a:lnSpc>
          <a:spcPts val="2200"/>
        </a:lnSpc>
        <a:spcBef>
          <a:spcPct val="20000"/>
        </a:spcBef>
        <a:spcAft>
          <a:spcPct val="0"/>
        </a:spcAft>
        <a:buChar char="•"/>
        <a:defRPr>
          <a:solidFill>
            <a:schemeClr val="tx1"/>
          </a:solidFill>
          <a:latin typeface="+mn-lt"/>
          <a:ea typeface="ヒラギノ角ゴ Pro W3" charset="-128"/>
          <a:cs typeface="ヒラギノ角ゴ Pro W3" charset="-128"/>
        </a:defRPr>
      </a:lvl3pPr>
      <a:lvl4pPr marL="1166204" indent="-269747" algn="l" rtl="0" eaLnBrk="0" fontAlgn="base" hangingPunct="0">
        <a:lnSpc>
          <a:spcPts val="2200"/>
        </a:lnSpc>
        <a:spcBef>
          <a:spcPct val="20000"/>
        </a:spcBef>
        <a:spcAft>
          <a:spcPct val="0"/>
        </a:spcAft>
        <a:buChar char="•"/>
        <a:defRPr>
          <a:solidFill>
            <a:schemeClr val="tx1"/>
          </a:solidFill>
          <a:latin typeface="+mn-lt"/>
          <a:ea typeface="ヒラギノ角ゴ Pro W3" charset="-128"/>
        </a:defRPr>
      </a:lvl4pPr>
      <a:lvl5pPr marL="1435932" indent="-269747" algn="l" rtl="0" eaLnBrk="0" fontAlgn="base" hangingPunct="0">
        <a:lnSpc>
          <a:spcPts val="2200"/>
        </a:lnSpc>
        <a:spcBef>
          <a:spcPct val="20000"/>
        </a:spcBef>
        <a:spcAft>
          <a:spcPct val="100000"/>
        </a:spcAft>
        <a:buChar char="•"/>
        <a:defRPr>
          <a:solidFill>
            <a:schemeClr val="tx1"/>
          </a:solidFill>
          <a:latin typeface="+mn-lt"/>
          <a:ea typeface="ヒラギノ角ゴ Pro W3" charset="-128"/>
        </a:defRPr>
      </a:lvl5pPr>
      <a:lvl6pPr marL="1001188" indent="-138050" algn="l" rtl="0" fontAlgn="base">
        <a:spcBef>
          <a:spcPct val="20000"/>
        </a:spcBef>
        <a:spcAft>
          <a:spcPct val="100000"/>
        </a:spcAft>
        <a:buChar char="•"/>
        <a:defRPr sz="1600">
          <a:solidFill>
            <a:schemeClr val="tx1"/>
          </a:solidFill>
          <a:latin typeface="+mn-lt"/>
          <a:ea typeface="ＭＳ Ｐゴシック" charset="-128"/>
        </a:defRPr>
      </a:lvl6pPr>
      <a:lvl7pPr marL="1458157" indent="-138050" algn="l" rtl="0" fontAlgn="base">
        <a:spcBef>
          <a:spcPct val="20000"/>
        </a:spcBef>
        <a:spcAft>
          <a:spcPct val="100000"/>
        </a:spcAft>
        <a:buChar char="•"/>
        <a:defRPr sz="1600">
          <a:solidFill>
            <a:schemeClr val="tx1"/>
          </a:solidFill>
          <a:latin typeface="+mn-lt"/>
          <a:ea typeface="ＭＳ Ｐゴシック" charset="-128"/>
        </a:defRPr>
      </a:lvl7pPr>
      <a:lvl8pPr marL="1915105" indent="-138050" algn="l" rtl="0" fontAlgn="base">
        <a:spcBef>
          <a:spcPct val="20000"/>
        </a:spcBef>
        <a:spcAft>
          <a:spcPct val="100000"/>
        </a:spcAft>
        <a:buChar char="•"/>
        <a:defRPr sz="1600">
          <a:solidFill>
            <a:schemeClr val="tx1"/>
          </a:solidFill>
          <a:latin typeface="+mn-lt"/>
          <a:ea typeface="ＭＳ Ｐゴシック" charset="-128"/>
        </a:defRPr>
      </a:lvl8pPr>
      <a:lvl9pPr marL="2372074" indent="-138050" algn="l" rtl="0" fontAlgn="base">
        <a:spcBef>
          <a:spcPct val="20000"/>
        </a:spcBef>
        <a:spcAft>
          <a:spcPct val="100000"/>
        </a:spcAft>
        <a:buChar char="•"/>
        <a:defRPr sz="1600">
          <a:solidFill>
            <a:schemeClr val="tx1"/>
          </a:solidFill>
          <a:latin typeface="+mn-lt"/>
          <a:ea typeface="ＭＳ Ｐゴシック" charset="-128"/>
        </a:defRPr>
      </a:lvl9pPr>
    </p:bodyStyle>
    <p:otherStyle>
      <a:defPPr>
        <a:defRPr lang="en-US"/>
      </a:defPPr>
      <a:lvl1pPr marL="0" algn="l" defTabSz="456950" rtl="0" eaLnBrk="1" latinLnBrk="0" hangingPunct="1">
        <a:defRPr sz="1800" kern="1200">
          <a:solidFill>
            <a:schemeClr val="tx1"/>
          </a:solidFill>
          <a:latin typeface="+mn-lt"/>
          <a:ea typeface="+mn-ea"/>
          <a:cs typeface="+mn-cs"/>
        </a:defRPr>
      </a:lvl1pPr>
      <a:lvl2pPr marL="456950" algn="l" defTabSz="456950" rtl="0" eaLnBrk="1" latinLnBrk="0" hangingPunct="1">
        <a:defRPr sz="1800" kern="1200">
          <a:solidFill>
            <a:schemeClr val="tx1"/>
          </a:solidFill>
          <a:latin typeface="+mn-lt"/>
          <a:ea typeface="+mn-ea"/>
          <a:cs typeface="+mn-cs"/>
        </a:defRPr>
      </a:lvl2pPr>
      <a:lvl3pPr marL="913928" algn="l" defTabSz="456950" rtl="0" eaLnBrk="1" latinLnBrk="0" hangingPunct="1">
        <a:defRPr sz="1800" kern="1200">
          <a:solidFill>
            <a:schemeClr val="tx1"/>
          </a:solidFill>
          <a:latin typeface="+mn-lt"/>
          <a:ea typeface="+mn-ea"/>
          <a:cs typeface="+mn-cs"/>
        </a:defRPr>
      </a:lvl3pPr>
      <a:lvl4pPr marL="1370886" algn="l" defTabSz="456950" rtl="0" eaLnBrk="1" latinLnBrk="0" hangingPunct="1">
        <a:defRPr sz="1800" kern="1200">
          <a:solidFill>
            <a:schemeClr val="tx1"/>
          </a:solidFill>
          <a:latin typeface="+mn-lt"/>
          <a:ea typeface="+mn-ea"/>
          <a:cs typeface="+mn-cs"/>
        </a:defRPr>
      </a:lvl4pPr>
      <a:lvl5pPr marL="1827854" algn="l" defTabSz="456950" rtl="0" eaLnBrk="1" latinLnBrk="0" hangingPunct="1">
        <a:defRPr sz="1800" kern="1200">
          <a:solidFill>
            <a:schemeClr val="tx1"/>
          </a:solidFill>
          <a:latin typeface="+mn-lt"/>
          <a:ea typeface="+mn-ea"/>
          <a:cs typeface="+mn-cs"/>
        </a:defRPr>
      </a:lvl5pPr>
      <a:lvl6pPr marL="2284803" algn="l" defTabSz="456950" rtl="0" eaLnBrk="1" latinLnBrk="0" hangingPunct="1">
        <a:defRPr sz="1800" kern="1200">
          <a:solidFill>
            <a:schemeClr val="tx1"/>
          </a:solidFill>
          <a:latin typeface="+mn-lt"/>
          <a:ea typeface="+mn-ea"/>
          <a:cs typeface="+mn-cs"/>
        </a:defRPr>
      </a:lvl6pPr>
      <a:lvl7pPr marL="2741753" algn="l" defTabSz="456950" rtl="0" eaLnBrk="1" latinLnBrk="0" hangingPunct="1">
        <a:defRPr sz="1800" kern="1200">
          <a:solidFill>
            <a:schemeClr val="tx1"/>
          </a:solidFill>
          <a:latin typeface="+mn-lt"/>
          <a:ea typeface="+mn-ea"/>
          <a:cs typeface="+mn-cs"/>
        </a:defRPr>
      </a:lvl7pPr>
      <a:lvl8pPr marL="3198720" algn="l" defTabSz="456950" rtl="0" eaLnBrk="1" latinLnBrk="0" hangingPunct="1">
        <a:defRPr sz="1800" kern="1200">
          <a:solidFill>
            <a:schemeClr val="tx1"/>
          </a:solidFill>
          <a:latin typeface="+mn-lt"/>
          <a:ea typeface="+mn-ea"/>
          <a:cs typeface="+mn-cs"/>
        </a:defRPr>
      </a:lvl8pPr>
      <a:lvl9pPr marL="3655679" algn="l" defTabSz="456950"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21"/>
          <a:ext cx="146538" cy="119063"/>
        </p:xfrm>
        <a:graphic>
          <a:graphicData uri="http://schemas.openxmlformats.org/presentationml/2006/ole">
            <mc:AlternateContent xmlns:mc="http://schemas.openxmlformats.org/markup-compatibility/2006">
              <mc:Choice xmlns:v="urn:schemas-microsoft-com:vml" Requires="v">
                <p:oleObj spid="_x0000_s30791"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17" y="3"/>
            <a:ext cx="9143999" cy="751601"/>
          </a:xfrm>
          <a:prstGeom prst="rect">
            <a:avLst/>
          </a:prstGeom>
        </p:spPr>
        <p:txBody>
          <a:bodyPr vert="horz" lIns="253428" tIns="28172" rIns="140801" bIns="28172" rtlCol="0" anchor="ctr">
            <a:noAutofit/>
          </a:bodyPr>
          <a:lstStyle/>
          <a:p>
            <a:r>
              <a:rPr lang="en-US" noProof="0" dirty="0"/>
              <a:t>Click to edit Master title style</a:t>
            </a:r>
          </a:p>
        </p:txBody>
      </p:sp>
      <p:sp>
        <p:nvSpPr>
          <p:cNvPr id="3" name="Text Placeholder 2"/>
          <p:cNvSpPr>
            <a:spLocks noGrp="1"/>
          </p:cNvSpPr>
          <p:nvPr>
            <p:ph type="body" idx="1"/>
          </p:nvPr>
        </p:nvSpPr>
        <p:spPr>
          <a:xfrm>
            <a:off x="309490" y="1126484"/>
            <a:ext cx="8525022" cy="3477405"/>
          </a:xfrm>
          <a:prstGeom prst="rect">
            <a:avLst/>
          </a:prstGeom>
        </p:spPr>
        <p:txBody>
          <a:bodyPr vert="horz" lIns="0" tIns="0" rIns="0" bIns="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nvSpPr>
        <p:spPr>
          <a:xfrm>
            <a:off x="8835313" y="4990519"/>
            <a:ext cx="94577" cy="92333"/>
          </a:xfrm>
          <a:prstGeom prst="rect">
            <a:avLst/>
          </a:prstGeom>
          <a:noFill/>
        </p:spPr>
        <p:txBody>
          <a:bodyPr wrap="none" lIns="0" tIns="0" rIns="0" bIns="0" rtlCol="0" anchor="ctr">
            <a:spAutoFit/>
          </a:bodyPr>
          <a:lstStyle/>
          <a:p>
            <a:pPr algn="ctr" defTabSz="815759" fontAlgn="auto">
              <a:spcBef>
                <a:spcPts val="0"/>
              </a:spcBef>
              <a:spcAft>
                <a:spcPts val="0"/>
              </a:spcAft>
            </a:pPr>
            <a:fld id="{6A895693-0027-4F28-9367-92E39A51F51C}" type="slidenum">
              <a:rPr lang="en-US" sz="600" smtClean="0">
                <a:solidFill>
                  <a:srgbClr val="9F958F"/>
                </a:solidFill>
                <a:latin typeface="Arial"/>
                <a:cs typeface="+mn-cs"/>
              </a:rPr>
              <a:pPr algn="ctr" defTabSz="815759" fontAlgn="auto">
                <a:spcBef>
                  <a:spcPts val="0"/>
                </a:spcBef>
                <a:spcAft>
                  <a:spcPts val="0"/>
                </a:spcAft>
              </a:pPr>
              <a:t>‹#›</a:t>
            </a:fld>
            <a:endParaRPr lang="en-US" sz="600" dirty="0">
              <a:solidFill>
                <a:srgbClr val="9F958F"/>
              </a:solidFill>
              <a:latin typeface="Arial"/>
              <a:cs typeface="+mn-cs"/>
            </a:endParaRPr>
          </a:p>
        </p:txBody>
      </p:sp>
      <p:sp>
        <p:nvSpPr>
          <p:cNvPr id="9" name="Freeform 4"/>
          <p:cNvSpPr>
            <a:spLocks/>
          </p:cNvSpPr>
          <p:nvPr/>
        </p:nvSpPr>
        <p:spPr bwMode="auto">
          <a:xfrm>
            <a:off x="17"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06" tIns="42403" rIns="84806" bIns="42403" numCol="1" anchor="t" anchorCtr="0" compatLnSpc="1">
            <a:prstTxWarp prst="textNoShape">
              <a:avLst/>
            </a:prstTxWarp>
          </a:bodyPr>
          <a:lstStyle/>
          <a:p>
            <a:pPr defTabSz="815759" fontAlgn="auto">
              <a:spcBef>
                <a:spcPts val="0"/>
              </a:spcBef>
              <a:spcAft>
                <a:spcPts val="0"/>
              </a:spcAft>
            </a:pPr>
            <a:endParaRPr lang="fr-FR" sz="1600">
              <a:solidFill>
                <a:srgbClr val="00234B"/>
              </a:solidFill>
              <a:latin typeface="Arial"/>
              <a:cs typeface="+mn-cs"/>
            </a:endParaRPr>
          </a:p>
        </p:txBody>
      </p:sp>
      <p:sp>
        <p:nvSpPr>
          <p:cNvPr id="12" name="Rectangle 11"/>
          <p:cNvSpPr>
            <a:spLocks noChangeArrowheads="1"/>
          </p:cNvSpPr>
          <p:nvPr/>
        </p:nvSpPr>
        <p:spPr bwMode="auto">
          <a:xfrm>
            <a:off x="6223250" y="4967575"/>
            <a:ext cx="2455979" cy="137627"/>
          </a:xfrm>
          <a:prstGeom prst="rect">
            <a:avLst/>
          </a:prstGeom>
          <a:noFill/>
          <a:ln w="19050">
            <a:noFill/>
            <a:miter lim="800000"/>
            <a:headEnd/>
            <a:tailEnd/>
          </a:ln>
          <a:effectLst/>
        </p:spPr>
        <p:txBody>
          <a:bodyPr wrap="square" lIns="30677" tIns="30677" rIns="30677" bIns="30677" anchor="b" anchorCtr="0">
            <a:noAutofit/>
          </a:bodyPr>
          <a:lstStyle/>
          <a:p>
            <a:pPr algn="r" defTabSz="847877" eaLnBrk="0" fontAlgn="auto" hangingPunct="0">
              <a:lnSpc>
                <a:spcPct val="90000"/>
              </a:lnSpc>
              <a:spcBef>
                <a:spcPct val="10000"/>
              </a:spcBef>
              <a:spcAft>
                <a:spcPts val="0"/>
              </a:spcAft>
              <a:defRPr/>
            </a:pPr>
            <a:r>
              <a:rPr lang="en-US" altLang="en-US" sz="600" dirty="0">
                <a:solidFill>
                  <a:srgbClr val="9F958F"/>
                </a:solidFill>
                <a:latin typeface="Arial"/>
                <a:cs typeface="Helvetica Light"/>
              </a:rPr>
              <a:t>Copyright © Capgemini 2013. All Rights Reserved</a:t>
            </a:r>
          </a:p>
        </p:txBody>
      </p:sp>
      <p:sp>
        <p:nvSpPr>
          <p:cNvPr id="13" name="Rectangle 12"/>
          <p:cNvSpPr/>
          <p:nvPr/>
        </p:nvSpPr>
        <p:spPr>
          <a:xfrm>
            <a:off x="6911948" y="4820438"/>
            <a:ext cx="1767281" cy="146861"/>
          </a:xfrm>
          <a:prstGeom prst="rect">
            <a:avLst/>
          </a:prstGeom>
        </p:spPr>
        <p:txBody>
          <a:bodyPr wrap="none" lIns="30677" tIns="30677" rIns="30677" bIns="30677" anchor="b" anchorCtr="0">
            <a:noAutofit/>
          </a:bodyPr>
          <a:lstStyle/>
          <a:p>
            <a:pPr algn="r" defTabSz="815759" fontAlgn="auto">
              <a:spcBef>
                <a:spcPts val="0"/>
              </a:spcBef>
              <a:spcAft>
                <a:spcPts val="0"/>
              </a:spcAft>
            </a:pPr>
            <a:r>
              <a:rPr lang="en-US" sz="600" dirty="0">
                <a:solidFill>
                  <a:srgbClr val="9F958F"/>
                </a:solidFill>
                <a:latin typeface="Arial"/>
                <a:cs typeface="+mn-cs"/>
              </a:rPr>
              <a:t>Presentation Title | Date</a:t>
            </a:r>
          </a:p>
        </p:txBody>
      </p:sp>
      <p:cxnSp>
        <p:nvCxnSpPr>
          <p:cNvPr id="15" name="Straight Connector 5"/>
          <p:cNvCxnSpPr/>
          <p:nvPr/>
        </p:nvCxnSpPr>
        <p:spPr>
          <a:xfrm flipH="1">
            <a:off x="17" y="4772025"/>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Capgemini_logo_slides.jpg"/>
          <p:cNvPicPr>
            <a:picLocks noChangeAspect="1"/>
          </p:cNvPicPr>
          <p:nvPr/>
        </p:nvPicPr>
        <p:blipFill>
          <a:blip r:embed="rId15"/>
          <a:stretch>
            <a:fillRect/>
          </a:stretch>
        </p:blipFill>
        <p:spPr>
          <a:xfrm>
            <a:off x="276445" y="4839533"/>
            <a:ext cx="1274533" cy="240030"/>
          </a:xfrm>
          <a:prstGeom prst="rect">
            <a:avLst/>
          </a:prstGeom>
        </p:spPr>
      </p:pic>
    </p:spTree>
    <p:extLst>
      <p:ext uri="{BB962C8B-B14F-4D97-AF65-F5344CB8AC3E}">
        <p14:creationId xmlns:p14="http://schemas.microsoft.com/office/powerpoint/2010/main" val="1877639001"/>
      </p:ext>
    </p:extLst>
  </p:cSld>
  <p:clrMap bg1="lt1" tx1="dk1" bg2="lt2" tx2="dk2" accent1="accent1" accent2="accent2" accent3="accent3" accent4="accent4" accent5="accent5" accent6="accent6" hlink="hlink" folHlink="folHlink"/>
  <p:sldLayoutIdLst>
    <p:sldLayoutId id="2147485390" r:id="rId1"/>
    <p:sldLayoutId id="2147485391" r:id="rId2"/>
    <p:sldLayoutId id="2147485392" r:id="rId3"/>
    <p:sldLayoutId id="2147485393" r:id="rId4"/>
    <p:sldLayoutId id="2147485394" r:id="rId5"/>
    <p:sldLayoutId id="2147485395" r:id="rId6"/>
    <p:sldLayoutId id="2147485396" r:id="rId7"/>
    <p:sldLayoutId id="2147485397" r:id="rId8"/>
    <p:sldLayoutId id="2147485398" r:id="rId9"/>
  </p:sldLayoutIdLst>
  <p:txStyles>
    <p:titleStyle>
      <a:lvl1pPr algn="l" defTabSz="778793"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94718" indent="-194718" algn="l" defTabSz="778793" rtl="0" eaLnBrk="1" latinLnBrk="0" hangingPunct="1">
        <a:spcBef>
          <a:spcPts val="0"/>
        </a:spcBef>
        <a:buClr>
          <a:schemeClr val="accent5"/>
        </a:buClr>
        <a:buFont typeface="Wingdings" pitchFamily="2" charset="2"/>
        <a:buChar char="§"/>
        <a:defRPr sz="1700" b="0" kern="1200">
          <a:solidFill>
            <a:schemeClr val="tx1"/>
          </a:solidFill>
          <a:latin typeface="+mn-lt"/>
          <a:ea typeface="+mn-ea"/>
          <a:cs typeface="+mn-cs"/>
        </a:defRPr>
      </a:lvl1pPr>
      <a:lvl2pPr marL="389435" indent="-194718" algn="l" defTabSz="778793" rtl="0" eaLnBrk="1" latinLnBrk="0" hangingPunct="1">
        <a:spcBef>
          <a:spcPts val="0"/>
        </a:spcBef>
        <a:buClr>
          <a:schemeClr val="accent3"/>
        </a:buClr>
        <a:buFont typeface="Wingdings" pitchFamily="2" charset="2"/>
        <a:buChar char="§"/>
        <a:defRPr sz="1500" kern="1200">
          <a:solidFill>
            <a:schemeClr val="tx1"/>
          </a:solidFill>
          <a:latin typeface="+mn-lt"/>
          <a:ea typeface="+mn-ea"/>
          <a:cs typeface="+mn-cs"/>
        </a:defRPr>
      </a:lvl2pPr>
      <a:lvl3pPr marL="584126" indent="-194718" algn="l" defTabSz="778793" rtl="0" eaLnBrk="1" latinLnBrk="0" hangingPunct="1">
        <a:spcBef>
          <a:spcPts val="0"/>
        </a:spcBef>
        <a:buClr>
          <a:schemeClr val="accent2"/>
        </a:buClr>
        <a:buFont typeface="Arial" pitchFamily="34" charset="0"/>
        <a:buChar char="•"/>
        <a:defRPr sz="1400" kern="1200">
          <a:solidFill>
            <a:schemeClr val="tx1"/>
          </a:solidFill>
          <a:latin typeface="+mn-lt"/>
          <a:ea typeface="+mn-ea"/>
          <a:cs typeface="+mn-cs"/>
        </a:defRPr>
      </a:lvl3pPr>
      <a:lvl4pPr marL="778843" indent="-194718" algn="l" defTabSz="778793" rtl="0" eaLnBrk="1" latinLnBrk="0" hangingPunct="1">
        <a:spcBef>
          <a:spcPts val="0"/>
        </a:spcBef>
        <a:buClr>
          <a:schemeClr val="bg2"/>
        </a:buClr>
        <a:buFont typeface="Arial" pitchFamily="34" charset="0"/>
        <a:buChar char="–"/>
        <a:defRPr sz="1200" kern="1200">
          <a:solidFill>
            <a:schemeClr val="tx1"/>
          </a:solidFill>
          <a:latin typeface="+mn-lt"/>
          <a:ea typeface="+mn-ea"/>
          <a:cs typeface="+mn-cs"/>
        </a:defRPr>
      </a:lvl4pPr>
      <a:lvl5pPr marL="1371008" indent="-164956" algn="l" defTabSz="778793"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1675"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1085"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0476"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09878"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8793" rtl="0" eaLnBrk="1" latinLnBrk="0" hangingPunct="1">
        <a:defRPr sz="1500" kern="1200">
          <a:solidFill>
            <a:schemeClr val="tx1"/>
          </a:solidFill>
          <a:latin typeface="+mn-lt"/>
          <a:ea typeface="+mn-ea"/>
          <a:cs typeface="+mn-cs"/>
        </a:defRPr>
      </a:lvl1pPr>
      <a:lvl2pPr marL="389411" algn="l" defTabSz="778793" rtl="0" eaLnBrk="1" latinLnBrk="0" hangingPunct="1">
        <a:defRPr sz="1500" kern="1200">
          <a:solidFill>
            <a:schemeClr val="tx1"/>
          </a:solidFill>
          <a:latin typeface="+mn-lt"/>
          <a:ea typeface="+mn-ea"/>
          <a:cs typeface="+mn-cs"/>
        </a:defRPr>
      </a:lvl2pPr>
      <a:lvl3pPr marL="778793" algn="l" defTabSz="778793" rtl="0" eaLnBrk="1" latinLnBrk="0" hangingPunct="1">
        <a:defRPr sz="1500" kern="1200">
          <a:solidFill>
            <a:schemeClr val="tx1"/>
          </a:solidFill>
          <a:latin typeface="+mn-lt"/>
          <a:ea typeface="+mn-ea"/>
          <a:cs typeface="+mn-cs"/>
        </a:defRPr>
      </a:lvl3pPr>
      <a:lvl4pPr marL="1168194" algn="l" defTabSz="778793" rtl="0" eaLnBrk="1" latinLnBrk="0" hangingPunct="1">
        <a:defRPr sz="1500" kern="1200">
          <a:solidFill>
            <a:schemeClr val="tx1"/>
          </a:solidFill>
          <a:latin typeface="+mn-lt"/>
          <a:ea typeface="+mn-ea"/>
          <a:cs typeface="+mn-cs"/>
        </a:defRPr>
      </a:lvl4pPr>
      <a:lvl5pPr marL="1557586" algn="l" defTabSz="778793" rtl="0" eaLnBrk="1" latinLnBrk="0" hangingPunct="1">
        <a:defRPr sz="1500" kern="1200">
          <a:solidFill>
            <a:schemeClr val="tx1"/>
          </a:solidFill>
          <a:latin typeface="+mn-lt"/>
          <a:ea typeface="+mn-ea"/>
          <a:cs typeface="+mn-cs"/>
        </a:defRPr>
      </a:lvl5pPr>
      <a:lvl6pPr marL="1946996" algn="l" defTabSz="778793" rtl="0" eaLnBrk="1" latinLnBrk="0" hangingPunct="1">
        <a:defRPr sz="1500" kern="1200">
          <a:solidFill>
            <a:schemeClr val="tx1"/>
          </a:solidFill>
          <a:latin typeface="+mn-lt"/>
          <a:ea typeface="+mn-ea"/>
          <a:cs typeface="+mn-cs"/>
        </a:defRPr>
      </a:lvl6pPr>
      <a:lvl7pPr marL="2336378" algn="l" defTabSz="778793" rtl="0" eaLnBrk="1" latinLnBrk="0" hangingPunct="1">
        <a:defRPr sz="1500" kern="1200">
          <a:solidFill>
            <a:schemeClr val="tx1"/>
          </a:solidFill>
          <a:latin typeface="+mn-lt"/>
          <a:ea typeface="+mn-ea"/>
          <a:cs typeface="+mn-cs"/>
        </a:defRPr>
      </a:lvl7pPr>
      <a:lvl8pPr marL="2725781" algn="l" defTabSz="778793" rtl="0" eaLnBrk="1" latinLnBrk="0" hangingPunct="1">
        <a:defRPr sz="1500" kern="1200">
          <a:solidFill>
            <a:schemeClr val="tx1"/>
          </a:solidFill>
          <a:latin typeface="+mn-lt"/>
          <a:ea typeface="+mn-ea"/>
          <a:cs typeface="+mn-cs"/>
        </a:defRPr>
      </a:lvl8pPr>
      <a:lvl9pPr marL="3115172" algn="l" defTabSz="778793" rtl="0" eaLnBrk="1" latinLnBrk="0" hangingPunct="1">
        <a:defRPr sz="15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21"/>
          <a:ext cx="146538" cy="119063"/>
        </p:xfrm>
        <a:graphic>
          <a:graphicData uri="http://schemas.openxmlformats.org/presentationml/2006/ole">
            <mc:AlternateContent xmlns:mc="http://schemas.openxmlformats.org/markup-compatibility/2006">
              <mc:Choice xmlns:v="urn:schemas-microsoft-com:vml" Requires="v">
                <p:oleObj spid="_x0000_s40007"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17" y="3"/>
            <a:ext cx="9143999" cy="751601"/>
          </a:xfrm>
          <a:prstGeom prst="rect">
            <a:avLst/>
          </a:prstGeom>
        </p:spPr>
        <p:txBody>
          <a:bodyPr vert="horz" lIns="253428" tIns="28172" rIns="140801" bIns="28172" rtlCol="0" anchor="ctr">
            <a:noAutofit/>
          </a:bodyPr>
          <a:lstStyle/>
          <a:p>
            <a:r>
              <a:rPr lang="en-US" noProof="0" dirty="0"/>
              <a:t>Click to edit Master title style</a:t>
            </a:r>
          </a:p>
        </p:txBody>
      </p:sp>
      <p:sp>
        <p:nvSpPr>
          <p:cNvPr id="3" name="Text Placeholder 2"/>
          <p:cNvSpPr>
            <a:spLocks noGrp="1"/>
          </p:cNvSpPr>
          <p:nvPr>
            <p:ph type="body" idx="1"/>
          </p:nvPr>
        </p:nvSpPr>
        <p:spPr>
          <a:xfrm>
            <a:off x="309491" y="1126484"/>
            <a:ext cx="8525022" cy="3477405"/>
          </a:xfrm>
          <a:prstGeom prst="rect">
            <a:avLst/>
          </a:prstGeom>
        </p:spPr>
        <p:txBody>
          <a:bodyPr vert="horz" lIns="0" tIns="0" rIns="0" bIns="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nvSpPr>
        <p:spPr>
          <a:xfrm>
            <a:off x="8835313" y="4990519"/>
            <a:ext cx="94577" cy="92333"/>
          </a:xfrm>
          <a:prstGeom prst="rect">
            <a:avLst/>
          </a:prstGeom>
          <a:noFill/>
        </p:spPr>
        <p:txBody>
          <a:bodyPr wrap="none" lIns="0" tIns="0" rIns="0" bIns="0" rtlCol="0" anchor="ctr">
            <a:spAutoFit/>
          </a:bodyPr>
          <a:lstStyle/>
          <a:p>
            <a:pPr algn="ctr" defTabSz="815759" fontAlgn="auto">
              <a:spcBef>
                <a:spcPts val="0"/>
              </a:spcBef>
              <a:spcAft>
                <a:spcPts val="0"/>
              </a:spcAft>
            </a:pPr>
            <a:fld id="{6A895693-0027-4F28-9367-92E39A51F51C}" type="slidenum">
              <a:rPr lang="en-US" sz="600" smtClean="0">
                <a:solidFill>
                  <a:srgbClr val="9F958F"/>
                </a:solidFill>
                <a:latin typeface="Arial"/>
                <a:cs typeface="+mn-cs"/>
              </a:rPr>
              <a:pPr algn="ctr" defTabSz="815759" fontAlgn="auto">
                <a:spcBef>
                  <a:spcPts val="0"/>
                </a:spcBef>
                <a:spcAft>
                  <a:spcPts val="0"/>
                </a:spcAft>
              </a:pPr>
              <a:t>‹#›</a:t>
            </a:fld>
            <a:endParaRPr lang="en-US" sz="600" dirty="0">
              <a:solidFill>
                <a:srgbClr val="9F958F"/>
              </a:solidFill>
              <a:latin typeface="Arial"/>
              <a:cs typeface="+mn-cs"/>
            </a:endParaRPr>
          </a:p>
        </p:txBody>
      </p:sp>
      <p:sp>
        <p:nvSpPr>
          <p:cNvPr id="9" name="Freeform 4"/>
          <p:cNvSpPr>
            <a:spLocks/>
          </p:cNvSpPr>
          <p:nvPr/>
        </p:nvSpPr>
        <p:spPr bwMode="auto">
          <a:xfrm>
            <a:off x="17"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06" tIns="42403" rIns="84806" bIns="42403" numCol="1" anchor="t" anchorCtr="0" compatLnSpc="1">
            <a:prstTxWarp prst="textNoShape">
              <a:avLst/>
            </a:prstTxWarp>
          </a:bodyPr>
          <a:lstStyle/>
          <a:p>
            <a:pPr defTabSz="815759" fontAlgn="auto">
              <a:spcBef>
                <a:spcPts val="0"/>
              </a:spcBef>
              <a:spcAft>
                <a:spcPts val="0"/>
              </a:spcAft>
            </a:pPr>
            <a:endParaRPr lang="fr-FR" sz="1600">
              <a:solidFill>
                <a:srgbClr val="00234B"/>
              </a:solidFill>
              <a:latin typeface="Arial"/>
              <a:cs typeface="+mn-cs"/>
            </a:endParaRPr>
          </a:p>
        </p:txBody>
      </p:sp>
      <p:sp>
        <p:nvSpPr>
          <p:cNvPr id="12" name="Rectangle 11"/>
          <p:cNvSpPr>
            <a:spLocks noChangeArrowheads="1"/>
          </p:cNvSpPr>
          <p:nvPr/>
        </p:nvSpPr>
        <p:spPr bwMode="auto">
          <a:xfrm>
            <a:off x="6223251" y="4967577"/>
            <a:ext cx="2455979" cy="137627"/>
          </a:xfrm>
          <a:prstGeom prst="rect">
            <a:avLst/>
          </a:prstGeom>
          <a:noFill/>
          <a:ln w="19050">
            <a:noFill/>
            <a:miter lim="800000"/>
            <a:headEnd/>
            <a:tailEnd/>
          </a:ln>
          <a:effectLst/>
        </p:spPr>
        <p:txBody>
          <a:bodyPr wrap="square" lIns="30677" tIns="30677" rIns="30677" bIns="30677" anchor="b" anchorCtr="0">
            <a:noAutofit/>
          </a:bodyPr>
          <a:lstStyle/>
          <a:p>
            <a:pPr algn="r" defTabSz="847877" eaLnBrk="0" fontAlgn="auto" hangingPunct="0">
              <a:lnSpc>
                <a:spcPct val="90000"/>
              </a:lnSpc>
              <a:spcBef>
                <a:spcPct val="10000"/>
              </a:spcBef>
              <a:spcAft>
                <a:spcPts val="0"/>
              </a:spcAft>
              <a:defRPr/>
            </a:pPr>
            <a:r>
              <a:rPr lang="en-US" altLang="en-US" sz="600" dirty="0">
                <a:solidFill>
                  <a:srgbClr val="9F958F"/>
                </a:solidFill>
                <a:latin typeface="Arial"/>
                <a:cs typeface="Helvetica Light"/>
              </a:rPr>
              <a:t>Copyright © Capgemini 2016. All Rights Reserved</a:t>
            </a:r>
          </a:p>
        </p:txBody>
      </p:sp>
      <p:sp>
        <p:nvSpPr>
          <p:cNvPr id="13" name="Rectangle 12"/>
          <p:cNvSpPr/>
          <p:nvPr/>
        </p:nvSpPr>
        <p:spPr>
          <a:xfrm>
            <a:off x="6911949" y="4820438"/>
            <a:ext cx="1767281" cy="146861"/>
          </a:xfrm>
          <a:prstGeom prst="rect">
            <a:avLst/>
          </a:prstGeom>
        </p:spPr>
        <p:txBody>
          <a:bodyPr wrap="none" lIns="30677" tIns="30677" rIns="30677" bIns="30677" anchor="b" anchorCtr="0">
            <a:noAutofit/>
          </a:bodyPr>
          <a:lstStyle/>
          <a:p>
            <a:pPr algn="r" defTabSz="815759" fontAlgn="auto">
              <a:spcBef>
                <a:spcPts val="0"/>
              </a:spcBef>
              <a:spcAft>
                <a:spcPts val="0"/>
              </a:spcAft>
            </a:pPr>
            <a:r>
              <a:rPr lang="en-US" sz="600" dirty="0">
                <a:solidFill>
                  <a:srgbClr val="9F958F"/>
                </a:solidFill>
                <a:latin typeface="Arial"/>
                <a:cs typeface="+mn-cs"/>
              </a:rPr>
              <a:t>PR Moment: PR is Changing – 27 April | 2016</a:t>
            </a:r>
          </a:p>
        </p:txBody>
      </p:sp>
      <p:cxnSp>
        <p:nvCxnSpPr>
          <p:cNvPr id="15" name="Straight Connector 5"/>
          <p:cNvCxnSpPr/>
          <p:nvPr/>
        </p:nvCxnSpPr>
        <p:spPr>
          <a:xfrm flipH="1">
            <a:off x="17" y="4772025"/>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Capgemini_logo_slides.jpg"/>
          <p:cNvPicPr>
            <a:picLocks noChangeAspect="1"/>
          </p:cNvPicPr>
          <p:nvPr/>
        </p:nvPicPr>
        <p:blipFill>
          <a:blip r:embed="rId15"/>
          <a:stretch>
            <a:fillRect/>
          </a:stretch>
        </p:blipFill>
        <p:spPr>
          <a:xfrm>
            <a:off x="276445" y="4839533"/>
            <a:ext cx="1274533" cy="240030"/>
          </a:xfrm>
          <a:prstGeom prst="rect">
            <a:avLst/>
          </a:prstGeom>
        </p:spPr>
      </p:pic>
    </p:spTree>
    <p:extLst>
      <p:ext uri="{BB962C8B-B14F-4D97-AF65-F5344CB8AC3E}">
        <p14:creationId xmlns:p14="http://schemas.microsoft.com/office/powerpoint/2010/main" val="439582118"/>
      </p:ext>
    </p:extLst>
  </p:cSld>
  <p:clrMap bg1="lt1" tx1="dk1" bg2="lt2" tx2="dk2" accent1="accent1" accent2="accent2" accent3="accent3" accent4="accent4" accent5="accent5" accent6="accent6" hlink="hlink" folHlink="folHlink"/>
  <p:sldLayoutIdLst>
    <p:sldLayoutId id="2147485400" r:id="rId1"/>
    <p:sldLayoutId id="2147485401" r:id="rId2"/>
    <p:sldLayoutId id="2147485402" r:id="rId3"/>
    <p:sldLayoutId id="2147485403" r:id="rId4"/>
    <p:sldLayoutId id="2147485404" r:id="rId5"/>
    <p:sldLayoutId id="2147485405" r:id="rId6"/>
    <p:sldLayoutId id="2147485406" r:id="rId7"/>
    <p:sldLayoutId id="2147485407" r:id="rId8"/>
    <p:sldLayoutId id="2147485408" r:id="rId9"/>
  </p:sldLayoutIdLst>
  <p:txStyles>
    <p:titleStyle>
      <a:lvl1pPr algn="l" defTabSz="778793"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94718" indent="-194718" algn="l" defTabSz="778793" rtl="0" eaLnBrk="1" latinLnBrk="0" hangingPunct="1">
        <a:spcBef>
          <a:spcPts val="0"/>
        </a:spcBef>
        <a:buClr>
          <a:schemeClr val="accent5"/>
        </a:buClr>
        <a:buFont typeface="Wingdings" pitchFamily="2" charset="2"/>
        <a:buChar char="§"/>
        <a:defRPr sz="1700" b="0" kern="1200">
          <a:solidFill>
            <a:schemeClr val="tx1"/>
          </a:solidFill>
          <a:latin typeface="+mn-lt"/>
          <a:ea typeface="+mn-ea"/>
          <a:cs typeface="+mn-cs"/>
        </a:defRPr>
      </a:lvl1pPr>
      <a:lvl2pPr marL="389435" indent="-194718" algn="l" defTabSz="778793" rtl="0" eaLnBrk="1" latinLnBrk="0" hangingPunct="1">
        <a:spcBef>
          <a:spcPts val="0"/>
        </a:spcBef>
        <a:buClr>
          <a:schemeClr val="accent3"/>
        </a:buClr>
        <a:buFont typeface="Wingdings" pitchFamily="2" charset="2"/>
        <a:buChar char="§"/>
        <a:defRPr sz="1500" kern="1200">
          <a:solidFill>
            <a:schemeClr val="tx1"/>
          </a:solidFill>
          <a:latin typeface="+mn-lt"/>
          <a:ea typeface="+mn-ea"/>
          <a:cs typeface="+mn-cs"/>
        </a:defRPr>
      </a:lvl2pPr>
      <a:lvl3pPr marL="584126" indent="-194718" algn="l" defTabSz="778793" rtl="0" eaLnBrk="1" latinLnBrk="0" hangingPunct="1">
        <a:spcBef>
          <a:spcPts val="0"/>
        </a:spcBef>
        <a:buClr>
          <a:schemeClr val="accent2"/>
        </a:buClr>
        <a:buFont typeface="Arial" pitchFamily="34" charset="0"/>
        <a:buChar char="•"/>
        <a:defRPr sz="1400" kern="1200">
          <a:solidFill>
            <a:schemeClr val="tx1"/>
          </a:solidFill>
          <a:latin typeface="+mn-lt"/>
          <a:ea typeface="+mn-ea"/>
          <a:cs typeface="+mn-cs"/>
        </a:defRPr>
      </a:lvl3pPr>
      <a:lvl4pPr marL="778843" indent="-194718" algn="l" defTabSz="778793" rtl="0" eaLnBrk="1" latinLnBrk="0" hangingPunct="1">
        <a:spcBef>
          <a:spcPts val="0"/>
        </a:spcBef>
        <a:buClr>
          <a:schemeClr val="bg2"/>
        </a:buClr>
        <a:buFont typeface="Arial" pitchFamily="34" charset="0"/>
        <a:buChar char="–"/>
        <a:defRPr sz="1200" kern="1200">
          <a:solidFill>
            <a:schemeClr val="tx1"/>
          </a:solidFill>
          <a:latin typeface="+mn-lt"/>
          <a:ea typeface="+mn-ea"/>
          <a:cs typeface="+mn-cs"/>
        </a:defRPr>
      </a:lvl4pPr>
      <a:lvl5pPr marL="1371008" indent="-164956" algn="l" defTabSz="778793"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1675"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1085"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0476"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09878"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8793" rtl="0" eaLnBrk="1" latinLnBrk="0" hangingPunct="1">
        <a:defRPr sz="1500" kern="1200">
          <a:solidFill>
            <a:schemeClr val="tx1"/>
          </a:solidFill>
          <a:latin typeface="+mn-lt"/>
          <a:ea typeface="+mn-ea"/>
          <a:cs typeface="+mn-cs"/>
        </a:defRPr>
      </a:lvl1pPr>
      <a:lvl2pPr marL="389411" algn="l" defTabSz="778793" rtl="0" eaLnBrk="1" latinLnBrk="0" hangingPunct="1">
        <a:defRPr sz="1500" kern="1200">
          <a:solidFill>
            <a:schemeClr val="tx1"/>
          </a:solidFill>
          <a:latin typeface="+mn-lt"/>
          <a:ea typeface="+mn-ea"/>
          <a:cs typeface="+mn-cs"/>
        </a:defRPr>
      </a:lvl2pPr>
      <a:lvl3pPr marL="778793" algn="l" defTabSz="778793" rtl="0" eaLnBrk="1" latinLnBrk="0" hangingPunct="1">
        <a:defRPr sz="1500" kern="1200">
          <a:solidFill>
            <a:schemeClr val="tx1"/>
          </a:solidFill>
          <a:latin typeface="+mn-lt"/>
          <a:ea typeface="+mn-ea"/>
          <a:cs typeface="+mn-cs"/>
        </a:defRPr>
      </a:lvl3pPr>
      <a:lvl4pPr marL="1168194" algn="l" defTabSz="778793" rtl="0" eaLnBrk="1" latinLnBrk="0" hangingPunct="1">
        <a:defRPr sz="1500" kern="1200">
          <a:solidFill>
            <a:schemeClr val="tx1"/>
          </a:solidFill>
          <a:latin typeface="+mn-lt"/>
          <a:ea typeface="+mn-ea"/>
          <a:cs typeface="+mn-cs"/>
        </a:defRPr>
      </a:lvl4pPr>
      <a:lvl5pPr marL="1557586" algn="l" defTabSz="778793" rtl="0" eaLnBrk="1" latinLnBrk="0" hangingPunct="1">
        <a:defRPr sz="1500" kern="1200">
          <a:solidFill>
            <a:schemeClr val="tx1"/>
          </a:solidFill>
          <a:latin typeface="+mn-lt"/>
          <a:ea typeface="+mn-ea"/>
          <a:cs typeface="+mn-cs"/>
        </a:defRPr>
      </a:lvl5pPr>
      <a:lvl6pPr marL="1946996" algn="l" defTabSz="778793" rtl="0" eaLnBrk="1" latinLnBrk="0" hangingPunct="1">
        <a:defRPr sz="1500" kern="1200">
          <a:solidFill>
            <a:schemeClr val="tx1"/>
          </a:solidFill>
          <a:latin typeface="+mn-lt"/>
          <a:ea typeface="+mn-ea"/>
          <a:cs typeface="+mn-cs"/>
        </a:defRPr>
      </a:lvl6pPr>
      <a:lvl7pPr marL="2336378" algn="l" defTabSz="778793" rtl="0" eaLnBrk="1" latinLnBrk="0" hangingPunct="1">
        <a:defRPr sz="1500" kern="1200">
          <a:solidFill>
            <a:schemeClr val="tx1"/>
          </a:solidFill>
          <a:latin typeface="+mn-lt"/>
          <a:ea typeface="+mn-ea"/>
          <a:cs typeface="+mn-cs"/>
        </a:defRPr>
      </a:lvl7pPr>
      <a:lvl8pPr marL="2725781" algn="l" defTabSz="778793" rtl="0" eaLnBrk="1" latinLnBrk="0" hangingPunct="1">
        <a:defRPr sz="1500" kern="1200">
          <a:solidFill>
            <a:schemeClr val="tx1"/>
          </a:solidFill>
          <a:latin typeface="+mn-lt"/>
          <a:ea typeface="+mn-ea"/>
          <a:cs typeface="+mn-cs"/>
        </a:defRPr>
      </a:lvl8pPr>
      <a:lvl9pPr marL="3115172" algn="l" defTabSz="778793" rtl="0" eaLnBrk="1" latinLnBrk="0" hangingPunct="1">
        <a:defRPr sz="15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1" y="21"/>
          <a:ext cx="146538" cy="119063"/>
        </p:xfrm>
        <a:graphic>
          <a:graphicData uri="http://schemas.openxmlformats.org/presentationml/2006/ole">
            <mc:AlternateContent xmlns:mc="http://schemas.openxmlformats.org/markup-compatibility/2006">
              <mc:Choice xmlns:v="urn:schemas-microsoft-com:vml" Requires="v">
                <p:oleObj spid="_x0000_s49223"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2"/>
            </p:custDataLst>
          </p:nvPr>
        </p:nvSpPr>
        <p:spPr>
          <a:xfrm>
            <a:off x="17" y="3"/>
            <a:ext cx="9143999" cy="751601"/>
          </a:xfrm>
          <a:prstGeom prst="rect">
            <a:avLst/>
          </a:prstGeom>
        </p:spPr>
        <p:txBody>
          <a:bodyPr vert="horz" lIns="253428" tIns="28172" rIns="140801" bIns="28172" rtlCol="0" anchor="ctr">
            <a:noAutofit/>
          </a:bodyPr>
          <a:lstStyle/>
          <a:p>
            <a:r>
              <a:rPr lang="en-US" noProof="0" dirty="0"/>
              <a:t>Click to edit Master title style</a:t>
            </a:r>
          </a:p>
        </p:txBody>
      </p:sp>
      <p:sp>
        <p:nvSpPr>
          <p:cNvPr id="3" name="Text Placeholder 2"/>
          <p:cNvSpPr>
            <a:spLocks noGrp="1"/>
          </p:cNvSpPr>
          <p:nvPr>
            <p:ph type="body" idx="1"/>
            <p:custDataLst>
              <p:tags r:id="rId13"/>
            </p:custDataLst>
          </p:nvPr>
        </p:nvSpPr>
        <p:spPr>
          <a:xfrm>
            <a:off x="295421" y="1126484"/>
            <a:ext cx="8525022" cy="3477405"/>
          </a:xfrm>
          <a:prstGeom prst="rect">
            <a:avLst/>
          </a:prstGeom>
        </p:spPr>
        <p:txBody>
          <a:bodyPr vert="horz" lIns="0" tIns="0" rIns="0" bIns="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4"/>
            </p:custDataLst>
          </p:nvPr>
        </p:nvSpPr>
        <p:spPr>
          <a:xfrm>
            <a:off x="8835290" y="4990519"/>
            <a:ext cx="94578" cy="92333"/>
          </a:xfrm>
          <a:prstGeom prst="rect">
            <a:avLst/>
          </a:prstGeom>
          <a:noFill/>
        </p:spPr>
        <p:txBody>
          <a:bodyPr wrap="none" lIns="0" tIns="0" rIns="0" bIns="0" rtlCol="0" anchor="ctr">
            <a:spAutoFit/>
          </a:bodyPr>
          <a:lstStyle/>
          <a:p>
            <a:pPr algn="ctr" defTabSz="815759" fontAlgn="auto">
              <a:spcBef>
                <a:spcPts val="0"/>
              </a:spcBef>
              <a:spcAft>
                <a:spcPts val="0"/>
              </a:spcAft>
            </a:pPr>
            <a:fld id="{6A895693-0027-4F28-9367-92E39A51F51C}" type="slidenum">
              <a:rPr lang="en-US" sz="600" smtClean="0">
                <a:solidFill>
                  <a:srgbClr val="998C85"/>
                </a:solidFill>
                <a:latin typeface="Arial"/>
                <a:cs typeface="+mn-cs"/>
              </a:rPr>
              <a:pPr algn="ctr" defTabSz="815759" fontAlgn="auto">
                <a:spcBef>
                  <a:spcPts val="0"/>
                </a:spcBef>
                <a:spcAft>
                  <a:spcPts val="0"/>
                </a:spcAft>
              </a:pPr>
              <a:t>‹#›</a:t>
            </a:fld>
            <a:endParaRPr lang="en-US" sz="600" dirty="0">
              <a:solidFill>
                <a:srgbClr val="998C85"/>
              </a:solidFill>
              <a:latin typeface="Arial"/>
              <a:cs typeface="+mn-cs"/>
            </a:endParaRPr>
          </a:p>
        </p:txBody>
      </p:sp>
      <p:sp>
        <p:nvSpPr>
          <p:cNvPr id="9" name="Freeform 4"/>
          <p:cNvSpPr>
            <a:spLocks/>
          </p:cNvSpPr>
          <p:nvPr>
            <p:custDataLst>
              <p:tags r:id="rId15"/>
            </p:custDataLst>
          </p:nvPr>
        </p:nvSpPr>
        <p:spPr bwMode="auto">
          <a:xfrm>
            <a:off x="17"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06" tIns="42403" rIns="84806" bIns="42403" numCol="1" anchor="t" anchorCtr="0" compatLnSpc="1">
            <a:prstTxWarp prst="textNoShape">
              <a:avLst/>
            </a:prstTxWarp>
          </a:bodyPr>
          <a:lstStyle/>
          <a:p>
            <a:pPr defTabSz="815759" fontAlgn="auto">
              <a:spcBef>
                <a:spcPts val="0"/>
              </a:spcBef>
              <a:spcAft>
                <a:spcPts val="0"/>
              </a:spcAft>
            </a:pPr>
            <a:endParaRPr lang="fr-FR" sz="1600" dirty="0">
              <a:solidFill>
                <a:srgbClr val="00234B"/>
              </a:solidFill>
              <a:latin typeface="Arial"/>
              <a:cs typeface="+mn-cs"/>
            </a:endParaRPr>
          </a:p>
        </p:txBody>
      </p:sp>
      <p:sp>
        <p:nvSpPr>
          <p:cNvPr id="12" name="Rectangle 11"/>
          <p:cNvSpPr>
            <a:spLocks noChangeArrowheads="1"/>
          </p:cNvSpPr>
          <p:nvPr>
            <p:custDataLst>
              <p:tags r:id="rId16"/>
            </p:custDataLst>
          </p:nvPr>
        </p:nvSpPr>
        <p:spPr bwMode="auto">
          <a:xfrm>
            <a:off x="6223249" y="4967574"/>
            <a:ext cx="2455979" cy="137627"/>
          </a:xfrm>
          <a:prstGeom prst="rect">
            <a:avLst/>
          </a:prstGeom>
          <a:noFill/>
          <a:ln w="19050">
            <a:noFill/>
            <a:miter lim="800000"/>
            <a:headEnd/>
            <a:tailEnd/>
          </a:ln>
          <a:effectLst/>
        </p:spPr>
        <p:txBody>
          <a:bodyPr wrap="square" lIns="30677" tIns="30677" rIns="30677" bIns="30677" anchor="b" anchorCtr="0">
            <a:noAutofit/>
          </a:bodyPr>
          <a:lstStyle/>
          <a:p>
            <a:pPr algn="r" defTabSz="847877" eaLnBrk="0" fontAlgn="auto" hangingPunct="0">
              <a:lnSpc>
                <a:spcPct val="90000"/>
              </a:lnSpc>
              <a:spcBef>
                <a:spcPct val="10000"/>
              </a:spcBef>
              <a:spcAft>
                <a:spcPts val="0"/>
              </a:spcAft>
              <a:defRPr/>
            </a:pPr>
            <a:r>
              <a:rPr lang="en-US" altLang="en-US" sz="600" dirty="0">
                <a:solidFill>
                  <a:srgbClr val="998C85"/>
                </a:solidFill>
                <a:latin typeface="Arial"/>
                <a:cs typeface="Helvetica Light"/>
              </a:rPr>
              <a:t>Copyright © Capgemini 2015. All Rights Reserved</a:t>
            </a:r>
          </a:p>
        </p:txBody>
      </p:sp>
      <p:cxnSp>
        <p:nvCxnSpPr>
          <p:cNvPr id="15" name="Straight Connector 5"/>
          <p:cNvCxnSpPr/>
          <p:nvPr>
            <p:custDataLst>
              <p:tags r:id="rId17"/>
            </p:custDataLst>
          </p:nvPr>
        </p:nvCxnSpPr>
        <p:spPr>
          <a:xfrm flipH="1">
            <a:off x="17" y="4772025"/>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Capgemini_logo_slides.jpg"/>
          <p:cNvPicPr>
            <a:picLocks noChangeAspect="1"/>
          </p:cNvPicPr>
          <p:nvPr userDrawn="1"/>
        </p:nvPicPr>
        <p:blipFill>
          <a:blip r:embed="rId21" cstate="email"/>
          <a:stretch>
            <a:fillRect/>
          </a:stretch>
        </p:blipFill>
        <p:spPr>
          <a:xfrm>
            <a:off x="276445" y="4839533"/>
            <a:ext cx="1274533" cy="240030"/>
          </a:xfrm>
          <a:prstGeom prst="rect">
            <a:avLst/>
          </a:prstGeom>
        </p:spPr>
      </p:pic>
      <p:sp>
        <p:nvSpPr>
          <p:cNvPr id="19" name="Rectangle 18"/>
          <p:cNvSpPr/>
          <p:nvPr userDrawn="1">
            <p:custDataLst>
              <p:tags r:id="rId18"/>
            </p:custDataLst>
          </p:nvPr>
        </p:nvSpPr>
        <p:spPr>
          <a:xfrm>
            <a:off x="6301175" y="4820438"/>
            <a:ext cx="2378053" cy="146861"/>
          </a:xfrm>
          <a:prstGeom prst="rect">
            <a:avLst/>
          </a:prstGeom>
          <a:noFill/>
          <a:ln w="9525" cap="rnd">
            <a:noFill/>
            <a:prstDash val="solid"/>
            <a:round/>
            <a:headEnd/>
            <a:tailEnd/>
          </a:ln>
        </p:spPr>
        <p:txBody>
          <a:bodyPr wrap="none" lIns="30677" tIns="30677" rIns="30677" bIns="30677" anchor="b" anchorCtr="0">
            <a:noAutofit/>
          </a:bodyPr>
          <a:lstStyle/>
          <a:p>
            <a:pPr algn="r" defTabSz="815759" fontAlgn="auto">
              <a:spcBef>
                <a:spcPts val="0"/>
              </a:spcBef>
              <a:spcAft>
                <a:spcPts val="0"/>
              </a:spcAft>
              <a:defRPr/>
            </a:pPr>
            <a:r>
              <a:rPr lang="en-US" sz="600" dirty="0">
                <a:solidFill>
                  <a:srgbClr val="998C85"/>
                </a:solidFill>
                <a:latin typeface="Arial"/>
                <a:cs typeface="+mn-cs"/>
              </a:rPr>
              <a:t>Expanding our Brand digital presence with Expert Connect | February 2015</a:t>
            </a:r>
          </a:p>
        </p:txBody>
      </p:sp>
    </p:spTree>
    <p:extLst>
      <p:ext uri="{BB962C8B-B14F-4D97-AF65-F5344CB8AC3E}">
        <p14:creationId xmlns:p14="http://schemas.microsoft.com/office/powerpoint/2010/main" val="2761287548"/>
      </p:ext>
    </p:extLst>
  </p:cSld>
  <p:clrMap bg1="lt1" tx1="dk1" bg2="lt2" tx2="dk2" accent1="accent1" accent2="accent2" accent3="accent3" accent4="accent4" accent5="accent5" accent6="accent6" hlink="hlink" folHlink="folHlink"/>
  <p:sldLayoutIdLst>
    <p:sldLayoutId id="2147485410" r:id="rId1"/>
    <p:sldLayoutId id="2147485411" r:id="rId2"/>
    <p:sldLayoutId id="2147485412" r:id="rId3"/>
    <p:sldLayoutId id="2147485413" r:id="rId4"/>
    <p:sldLayoutId id="2147485414" r:id="rId5"/>
    <p:sldLayoutId id="2147485415" r:id="rId6"/>
    <p:sldLayoutId id="2147485416" r:id="rId7"/>
    <p:sldLayoutId id="2147485417" r:id="rId8"/>
  </p:sldLayoutIdLst>
  <p:hf hdr="0" dt="0"/>
  <p:txStyles>
    <p:titleStyle>
      <a:lvl1pPr algn="l" defTabSz="778793" rtl="0" eaLnBrk="1" latinLnBrk="0" hangingPunct="1">
        <a:lnSpc>
          <a:spcPct val="85000"/>
        </a:lnSpc>
        <a:spcBef>
          <a:spcPct val="0"/>
        </a:spcBef>
        <a:buNone/>
        <a:defRPr sz="2200" b="0" kern="1200">
          <a:solidFill>
            <a:schemeClr val="tx1"/>
          </a:solidFill>
          <a:latin typeface="+mj-lt"/>
          <a:ea typeface="+mj-ea"/>
          <a:cs typeface="+mj-cs"/>
        </a:defRPr>
      </a:lvl1pPr>
    </p:titleStyle>
    <p:bodyStyle>
      <a:lvl1pPr marL="194718" indent="-194718" algn="l" defTabSz="778793" rtl="0" eaLnBrk="1" latinLnBrk="0" hangingPunct="1">
        <a:spcBef>
          <a:spcPts val="0"/>
        </a:spcBef>
        <a:buClr>
          <a:schemeClr val="accent5"/>
        </a:buClr>
        <a:buFont typeface="Wingdings" pitchFamily="2" charset="2"/>
        <a:buChar char="§"/>
        <a:defRPr sz="1700" b="0" kern="1200">
          <a:solidFill>
            <a:schemeClr val="tx1"/>
          </a:solidFill>
          <a:latin typeface="+mn-lt"/>
          <a:ea typeface="+mn-ea"/>
          <a:cs typeface="+mn-cs"/>
        </a:defRPr>
      </a:lvl1pPr>
      <a:lvl2pPr marL="389435" indent="-194718" algn="l" defTabSz="778793" rtl="0" eaLnBrk="1" latinLnBrk="0" hangingPunct="1">
        <a:spcBef>
          <a:spcPts val="0"/>
        </a:spcBef>
        <a:buClr>
          <a:schemeClr val="accent3"/>
        </a:buClr>
        <a:buFont typeface="Wingdings" pitchFamily="2" charset="2"/>
        <a:buChar char="§"/>
        <a:defRPr sz="1500" kern="1200">
          <a:solidFill>
            <a:schemeClr val="tx1"/>
          </a:solidFill>
          <a:latin typeface="+mn-lt"/>
          <a:ea typeface="+mn-ea"/>
          <a:cs typeface="+mn-cs"/>
        </a:defRPr>
      </a:lvl2pPr>
      <a:lvl3pPr marL="584126" indent="-194718" algn="l" defTabSz="778793" rtl="0" eaLnBrk="1" latinLnBrk="0" hangingPunct="1">
        <a:spcBef>
          <a:spcPts val="0"/>
        </a:spcBef>
        <a:buClr>
          <a:schemeClr val="accent2"/>
        </a:buClr>
        <a:buFont typeface="Arial" pitchFamily="34" charset="0"/>
        <a:buChar char="•"/>
        <a:defRPr sz="1400" kern="1200">
          <a:solidFill>
            <a:schemeClr val="tx1"/>
          </a:solidFill>
          <a:latin typeface="+mn-lt"/>
          <a:ea typeface="+mn-ea"/>
          <a:cs typeface="+mn-cs"/>
        </a:defRPr>
      </a:lvl3pPr>
      <a:lvl4pPr marL="778843" indent="-194718" algn="l" defTabSz="778793" rtl="0" eaLnBrk="1" latinLnBrk="0" hangingPunct="1">
        <a:spcBef>
          <a:spcPts val="0"/>
        </a:spcBef>
        <a:buClr>
          <a:schemeClr val="bg2"/>
        </a:buClr>
        <a:buFont typeface="Arial" pitchFamily="34" charset="0"/>
        <a:buChar char="–"/>
        <a:defRPr sz="1200" kern="1200">
          <a:solidFill>
            <a:schemeClr val="tx1"/>
          </a:solidFill>
          <a:latin typeface="+mn-lt"/>
          <a:ea typeface="+mn-ea"/>
          <a:cs typeface="+mn-cs"/>
        </a:defRPr>
      </a:lvl4pPr>
      <a:lvl5pPr marL="1371008" indent="-164956" algn="l" defTabSz="778793"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1675"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1085"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0476"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09878" indent="-194706" algn="l" defTabSz="778793"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8793" rtl="0" eaLnBrk="1" latinLnBrk="0" hangingPunct="1">
        <a:defRPr sz="1500" kern="1200">
          <a:solidFill>
            <a:schemeClr val="tx1"/>
          </a:solidFill>
          <a:latin typeface="+mn-lt"/>
          <a:ea typeface="+mn-ea"/>
          <a:cs typeface="+mn-cs"/>
        </a:defRPr>
      </a:lvl1pPr>
      <a:lvl2pPr marL="389411" algn="l" defTabSz="778793" rtl="0" eaLnBrk="1" latinLnBrk="0" hangingPunct="1">
        <a:defRPr sz="1500" kern="1200">
          <a:solidFill>
            <a:schemeClr val="tx1"/>
          </a:solidFill>
          <a:latin typeface="+mn-lt"/>
          <a:ea typeface="+mn-ea"/>
          <a:cs typeface="+mn-cs"/>
        </a:defRPr>
      </a:lvl2pPr>
      <a:lvl3pPr marL="778793" algn="l" defTabSz="778793" rtl="0" eaLnBrk="1" latinLnBrk="0" hangingPunct="1">
        <a:defRPr sz="1500" kern="1200">
          <a:solidFill>
            <a:schemeClr val="tx1"/>
          </a:solidFill>
          <a:latin typeface="+mn-lt"/>
          <a:ea typeface="+mn-ea"/>
          <a:cs typeface="+mn-cs"/>
        </a:defRPr>
      </a:lvl3pPr>
      <a:lvl4pPr marL="1168194" algn="l" defTabSz="778793" rtl="0" eaLnBrk="1" latinLnBrk="0" hangingPunct="1">
        <a:defRPr sz="1500" kern="1200">
          <a:solidFill>
            <a:schemeClr val="tx1"/>
          </a:solidFill>
          <a:latin typeface="+mn-lt"/>
          <a:ea typeface="+mn-ea"/>
          <a:cs typeface="+mn-cs"/>
        </a:defRPr>
      </a:lvl4pPr>
      <a:lvl5pPr marL="1557586" algn="l" defTabSz="778793" rtl="0" eaLnBrk="1" latinLnBrk="0" hangingPunct="1">
        <a:defRPr sz="1500" kern="1200">
          <a:solidFill>
            <a:schemeClr val="tx1"/>
          </a:solidFill>
          <a:latin typeface="+mn-lt"/>
          <a:ea typeface="+mn-ea"/>
          <a:cs typeface="+mn-cs"/>
        </a:defRPr>
      </a:lvl5pPr>
      <a:lvl6pPr marL="1946996" algn="l" defTabSz="778793" rtl="0" eaLnBrk="1" latinLnBrk="0" hangingPunct="1">
        <a:defRPr sz="1500" kern="1200">
          <a:solidFill>
            <a:schemeClr val="tx1"/>
          </a:solidFill>
          <a:latin typeface="+mn-lt"/>
          <a:ea typeface="+mn-ea"/>
          <a:cs typeface="+mn-cs"/>
        </a:defRPr>
      </a:lvl6pPr>
      <a:lvl7pPr marL="2336378" algn="l" defTabSz="778793" rtl="0" eaLnBrk="1" latinLnBrk="0" hangingPunct="1">
        <a:defRPr sz="1500" kern="1200">
          <a:solidFill>
            <a:schemeClr val="tx1"/>
          </a:solidFill>
          <a:latin typeface="+mn-lt"/>
          <a:ea typeface="+mn-ea"/>
          <a:cs typeface="+mn-cs"/>
        </a:defRPr>
      </a:lvl7pPr>
      <a:lvl8pPr marL="2725781" algn="l" defTabSz="778793" rtl="0" eaLnBrk="1" latinLnBrk="0" hangingPunct="1">
        <a:defRPr sz="1500" kern="1200">
          <a:solidFill>
            <a:schemeClr val="tx1"/>
          </a:solidFill>
          <a:latin typeface="+mn-lt"/>
          <a:ea typeface="+mn-ea"/>
          <a:cs typeface="+mn-cs"/>
        </a:defRPr>
      </a:lvl8pPr>
      <a:lvl9pPr marL="3115172" algn="l" defTabSz="778793" rtl="0" eaLnBrk="1" latinLnBrk="0" hangingPunct="1">
        <a:defRPr sz="15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21"/>
          <a:ext cx="146538" cy="119063"/>
        </p:xfrm>
        <a:graphic>
          <a:graphicData uri="http://schemas.openxmlformats.org/presentationml/2006/ole">
            <mc:AlternateContent xmlns:mc="http://schemas.openxmlformats.org/markup-compatibility/2006">
              <mc:Choice xmlns:v="urn:schemas-microsoft-com:vml" Requires="v">
                <p:oleObj spid="_x0000_s58439"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2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529" y="1258508"/>
            <a:ext cx="9145530" cy="38850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2" tIns="36603" rIns="28172" bIns="36603" rtlCol="0" anchor="ctr"/>
          <a:lstStyle/>
          <a:p>
            <a:pPr algn="ctr" defTabSz="815759" fontAlgn="auto">
              <a:spcBef>
                <a:spcPts val="0"/>
              </a:spcBef>
              <a:spcAft>
                <a:spcPts val="0"/>
              </a:spcAft>
            </a:pPr>
            <a:endParaRPr lang="en-US" sz="900" dirty="0">
              <a:solidFill>
                <a:prstClr val="white"/>
              </a:solidFill>
              <a:latin typeface="Arial"/>
              <a:cs typeface="Arial"/>
            </a:endParaRPr>
          </a:p>
        </p:txBody>
      </p:sp>
      <p:sp>
        <p:nvSpPr>
          <p:cNvPr id="13" name="Rectangle 12"/>
          <p:cNvSpPr/>
          <p:nvPr>
            <p:custDataLst>
              <p:tags r:id="rId7"/>
            </p:custDataLst>
          </p:nvPr>
        </p:nvSpPr>
        <p:spPr>
          <a:xfrm>
            <a:off x="5099004" y="4662536"/>
            <a:ext cx="4045000" cy="333895"/>
          </a:xfrm>
          <a:prstGeom prst="rect">
            <a:avLst/>
          </a:prstGeom>
        </p:spPr>
        <p:txBody>
          <a:bodyPr wrap="square" lIns="28172" tIns="28172" rIns="281580" bIns="28172" anchor="b" anchorCtr="0">
            <a:spAutoFit/>
          </a:bodyPr>
          <a:lstStyle/>
          <a:p>
            <a:pPr algn="r" defTabSz="815759" fontAlgn="auto">
              <a:spcBef>
                <a:spcPts val="0"/>
              </a:spcBef>
              <a:spcAft>
                <a:spcPts val="0"/>
              </a:spcAft>
            </a:pPr>
            <a:r>
              <a:rPr lang="en-US" sz="600" dirty="0">
                <a:solidFill>
                  <a:prstClr val="white"/>
                </a:solidFill>
                <a:latin typeface="Arial"/>
                <a:cs typeface="Arial"/>
              </a:rPr>
              <a:t>The information contained in this presentation is proprietary.</a:t>
            </a:r>
          </a:p>
          <a:p>
            <a:pPr algn="r" defTabSz="815759" fontAlgn="auto">
              <a:spcBef>
                <a:spcPts val="0"/>
              </a:spcBef>
              <a:spcAft>
                <a:spcPts val="0"/>
              </a:spcAft>
            </a:pPr>
            <a:r>
              <a:rPr lang="en-US" sz="600" dirty="0">
                <a:solidFill>
                  <a:prstClr val="white"/>
                </a:solidFill>
                <a:latin typeface="Arial"/>
                <a:cs typeface="Arial"/>
              </a:rPr>
              <a:t>© 2016 Capgemini. All rights reserved.</a:t>
            </a:r>
          </a:p>
          <a:p>
            <a:pPr algn="r" defTabSz="815759" fontAlgn="auto">
              <a:spcBef>
                <a:spcPts val="0"/>
              </a:spcBef>
              <a:spcAft>
                <a:spcPts val="0"/>
              </a:spcAft>
            </a:pPr>
            <a:r>
              <a:rPr lang="en-US" sz="600" i="1" dirty="0" err="1">
                <a:solidFill>
                  <a:prstClr val="white"/>
                </a:solidFill>
                <a:latin typeface="Arial"/>
                <a:cs typeface="Arial"/>
              </a:rPr>
              <a:t>Rightshore</a:t>
            </a:r>
            <a:r>
              <a:rPr lang="en-US" sz="600" i="1" dirty="0">
                <a:solidFill>
                  <a:prstClr val="white"/>
                </a:solidFill>
                <a:latin typeface="Arial"/>
                <a:cs typeface="Arial"/>
              </a:rPr>
              <a:t>® is a trademark belonging to Capgemini.</a:t>
            </a:r>
            <a:endParaRPr lang="en-US" sz="600" dirty="0">
              <a:solidFill>
                <a:prstClr val="white"/>
              </a:solidFill>
              <a:latin typeface="Arial"/>
              <a:cs typeface="Arial"/>
            </a:endParaRPr>
          </a:p>
        </p:txBody>
      </p:sp>
      <p:sp>
        <p:nvSpPr>
          <p:cNvPr id="15" name="Rectangle 14"/>
          <p:cNvSpPr/>
          <p:nvPr>
            <p:custDataLst>
              <p:tags r:id="rId8"/>
            </p:custDataLst>
          </p:nvPr>
        </p:nvSpPr>
        <p:spPr>
          <a:xfrm>
            <a:off x="6626975" y="4051419"/>
            <a:ext cx="2517027" cy="327413"/>
          </a:xfrm>
          <a:prstGeom prst="rect">
            <a:avLst/>
          </a:prstGeom>
        </p:spPr>
        <p:txBody>
          <a:bodyPr wrap="none" lIns="30677" tIns="30677" rIns="306635" bIns="30677" anchor="b" anchorCtr="0">
            <a:spAutoFit/>
          </a:bodyPr>
          <a:lstStyle/>
          <a:p>
            <a:pPr algn="r" defTabSz="815759" fontAlgn="auto">
              <a:spcBef>
                <a:spcPts val="0"/>
              </a:spcBef>
              <a:spcAft>
                <a:spcPts val="0"/>
              </a:spcAft>
            </a:pPr>
            <a:r>
              <a:rPr lang="en-US" sz="17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328543" y="4449412"/>
            <a:ext cx="256821" cy="197828"/>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7638153" y="4449410"/>
            <a:ext cx="259674" cy="200025"/>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218819" y="4449410"/>
            <a:ext cx="259674" cy="200025"/>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531283" y="4449410"/>
            <a:ext cx="259674" cy="200025"/>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7950639" y="4449414"/>
            <a:ext cx="215411" cy="178594"/>
          </a:xfrm>
          <a:prstGeom prst="roundRect">
            <a:avLst/>
          </a:prstGeom>
          <a:effectLst>
            <a:outerShdw blurRad="38100" dist="25400" dir="5400000" sx="98000" sy="98000" algn="t" rotWithShape="0">
              <a:schemeClr val="tx2">
                <a:alpha val="51000"/>
              </a:schemeClr>
            </a:outerShdw>
          </a:effectLst>
        </p:spPr>
      </p:pic>
      <p:pic>
        <p:nvPicPr>
          <p:cNvPr id="22" name="Picture 21" descr="Capgemini_logo_closing.jpg"/>
          <p:cNvPicPr>
            <a:picLocks noChangeAspect="1"/>
          </p:cNvPicPr>
          <p:nvPr/>
        </p:nvPicPr>
        <p:blipFill>
          <a:blip r:embed="rId27"/>
          <a:stretch>
            <a:fillRect/>
          </a:stretch>
        </p:blipFill>
        <p:spPr>
          <a:xfrm>
            <a:off x="637450" y="698082"/>
            <a:ext cx="2912012" cy="548640"/>
          </a:xfrm>
          <a:prstGeom prst="rect">
            <a:avLst/>
          </a:prstGeom>
        </p:spPr>
      </p:pic>
      <p:pic>
        <p:nvPicPr>
          <p:cNvPr id="14" name="Picture 104" descr="C:\Users\UserSim\Desktop\Capgemini\moto.emf"/>
          <p:cNvPicPr>
            <a:picLocks noChangeAspect="1" noChangeArrowheads="1"/>
          </p:cNvPicPr>
          <p:nvPr>
            <p:custDataLst>
              <p:tags r:id="rId14"/>
            </p:custDataLst>
          </p:nvPr>
        </p:nvPicPr>
        <p:blipFill>
          <a:blip r:embed="rId28" cstate="email"/>
          <a:srcRect/>
          <a:stretch>
            <a:fillRect/>
          </a:stretch>
        </p:blipFill>
        <p:spPr bwMode="auto">
          <a:xfrm>
            <a:off x="5069200" y="880222"/>
            <a:ext cx="3364886" cy="217724"/>
          </a:xfrm>
          <a:prstGeom prst="rect">
            <a:avLst/>
          </a:prstGeom>
          <a:noFill/>
        </p:spPr>
      </p:pic>
    </p:spTree>
    <p:extLst>
      <p:ext uri="{BB962C8B-B14F-4D97-AF65-F5344CB8AC3E}">
        <p14:creationId xmlns:p14="http://schemas.microsoft.com/office/powerpoint/2010/main" val="2501504150"/>
      </p:ext>
    </p:extLst>
  </p:cSld>
  <p:clrMap bg1="lt1" tx1="dk1" bg2="lt2" tx2="dk2" accent1="accent1" accent2="accent2" accent3="accent3" accent4="accent4" accent5="accent5" accent6="accent6" hlink="hlink" folHlink="folHlink"/>
  <p:sldLayoutIdLst>
    <p:sldLayoutId id="2147485419" r:id="rId1"/>
    <p:sldLayoutId id="2147485420" r:id="rId2"/>
  </p:sldLayoutIdLst>
  <p:txStyles>
    <p:titleStyle>
      <a:lvl1pPr algn="ctr" defTabSz="715209" rtl="0" eaLnBrk="1" latinLnBrk="0" hangingPunct="1">
        <a:spcBef>
          <a:spcPct val="0"/>
        </a:spcBef>
        <a:buNone/>
        <a:defRPr sz="3400" kern="1200">
          <a:solidFill>
            <a:schemeClr val="tx1"/>
          </a:solidFill>
          <a:latin typeface="+mj-lt"/>
          <a:ea typeface="+mj-ea"/>
          <a:cs typeface="+mj-cs"/>
        </a:defRPr>
      </a:lvl1pPr>
    </p:titleStyle>
    <p:bodyStyle>
      <a:lvl1pPr marL="268217" indent="-268217" algn="l" defTabSz="715209" rtl="0" eaLnBrk="1" latinLnBrk="0" hangingPunct="1">
        <a:spcBef>
          <a:spcPct val="20000"/>
        </a:spcBef>
        <a:buFont typeface="Arial" pitchFamily="34" charset="0"/>
        <a:buChar char="•"/>
        <a:defRPr sz="2500" kern="1200">
          <a:solidFill>
            <a:schemeClr val="tx1"/>
          </a:solidFill>
          <a:latin typeface="+mn-lt"/>
          <a:ea typeface="+mn-ea"/>
          <a:cs typeface="+mn-cs"/>
        </a:defRPr>
      </a:lvl1pPr>
      <a:lvl2pPr marL="581099" indent="-223496" algn="l" defTabSz="715209"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894022" indent="-178802" algn="l" defTabSz="715209" rtl="0" eaLnBrk="1" latinLnBrk="0" hangingPunct="1">
        <a:spcBef>
          <a:spcPct val="20000"/>
        </a:spcBef>
        <a:buFont typeface="Arial" pitchFamily="34" charset="0"/>
        <a:buChar char="•"/>
        <a:defRPr sz="1900" kern="1200">
          <a:solidFill>
            <a:schemeClr val="tx1"/>
          </a:solidFill>
          <a:latin typeface="+mn-lt"/>
          <a:ea typeface="+mn-ea"/>
          <a:cs typeface="+mn-cs"/>
        </a:defRPr>
      </a:lvl3pPr>
      <a:lvl4pPr marL="1251626" indent="-178802" algn="l" defTabSz="715209"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609230" indent="-178802" algn="l" defTabSz="715209"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966835" indent="-178802" algn="l" defTabSz="71520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324439" indent="-178802" algn="l" defTabSz="71520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82044" indent="-178802" algn="l" defTabSz="71520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3039648" indent="-178802" algn="l" defTabSz="71520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715209" rtl="0" eaLnBrk="1" latinLnBrk="0" hangingPunct="1">
        <a:defRPr sz="1400" kern="1200">
          <a:solidFill>
            <a:schemeClr val="tx1"/>
          </a:solidFill>
          <a:latin typeface="+mn-lt"/>
          <a:ea typeface="+mn-ea"/>
          <a:cs typeface="+mn-cs"/>
        </a:defRPr>
      </a:lvl1pPr>
      <a:lvl2pPr marL="357605" algn="l" defTabSz="715209" rtl="0" eaLnBrk="1" latinLnBrk="0" hangingPunct="1">
        <a:defRPr sz="1400" kern="1200">
          <a:solidFill>
            <a:schemeClr val="tx1"/>
          </a:solidFill>
          <a:latin typeface="+mn-lt"/>
          <a:ea typeface="+mn-ea"/>
          <a:cs typeface="+mn-cs"/>
        </a:defRPr>
      </a:lvl2pPr>
      <a:lvl3pPr marL="715209" algn="l" defTabSz="715209" rtl="0" eaLnBrk="1" latinLnBrk="0" hangingPunct="1">
        <a:defRPr sz="1400" kern="1200">
          <a:solidFill>
            <a:schemeClr val="tx1"/>
          </a:solidFill>
          <a:latin typeface="+mn-lt"/>
          <a:ea typeface="+mn-ea"/>
          <a:cs typeface="+mn-cs"/>
        </a:defRPr>
      </a:lvl3pPr>
      <a:lvl4pPr marL="1072814" algn="l" defTabSz="715209" rtl="0" eaLnBrk="1" latinLnBrk="0" hangingPunct="1">
        <a:defRPr sz="1400" kern="1200">
          <a:solidFill>
            <a:schemeClr val="tx1"/>
          </a:solidFill>
          <a:latin typeface="+mn-lt"/>
          <a:ea typeface="+mn-ea"/>
          <a:cs typeface="+mn-cs"/>
        </a:defRPr>
      </a:lvl4pPr>
      <a:lvl5pPr marL="1430418" algn="l" defTabSz="715209" rtl="0" eaLnBrk="1" latinLnBrk="0" hangingPunct="1">
        <a:defRPr sz="1400" kern="1200">
          <a:solidFill>
            <a:schemeClr val="tx1"/>
          </a:solidFill>
          <a:latin typeface="+mn-lt"/>
          <a:ea typeface="+mn-ea"/>
          <a:cs typeface="+mn-cs"/>
        </a:defRPr>
      </a:lvl5pPr>
      <a:lvl6pPr marL="1788023" algn="l" defTabSz="715209" rtl="0" eaLnBrk="1" latinLnBrk="0" hangingPunct="1">
        <a:defRPr sz="1400" kern="1200">
          <a:solidFill>
            <a:schemeClr val="tx1"/>
          </a:solidFill>
          <a:latin typeface="+mn-lt"/>
          <a:ea typeface="+mn-ea"/>
          <a:cs typeface="+mn-cs"/>
        </a:defRPr>
      </a:lvl6pPr>
      <a:lvl7pPr marL="2145627" algn="l" defTabSz="715209" rtl="0" eaLnBrk="1" latinLnBrk="0" hangingPunct="1">
        <a:defRPr sz="1400" kern="1200">
          <a:solidFill>
            <a:schemeClr val="tx1"/>
          </a:solidFill>
          <a:latin typeface="+mn-lt"/>
          <a:ea typeface="+mn-ea"/>
          <a:cs typeface="+mn-cs"/>
        </a:defRPr>
      </a:lvl7pPr>
      <a:lvl8pPr marL="2503232" algn="l" defTabSz="715209" rtl="0" eaLnBrk="1" latinLnBrk="0" hangingPunct="1">
        <a:defRPr sz="1400" kern="1200">
          <a:solidFill>
            <a:schemeClr val="tx1"/>
          </a:solidFill>
          <a:latin typeface="+mn-lt"/>
          <a:ea typeface="+mn-ea"/>
          <a:cs typeface="+mn-cs"/>
        </a:defRPr>
      </a:lvl8pPr>
      <a:lvl9pPr marL="2860835" algn="l" defTabSz="715209" rtl="0" eaLnBrk="1" latinLnBrk="0" hangingPunct="1">
        <a:defRPr sz="14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4404" y="355439"/>
            <a:ext cx="6034974" cy="342900"/>
          </a:xfrm>
          <a:prstGeom prst="rect">
            <a:avLst/>
          </a:prstGeom>
        </p:spPr>
        <p:txBody>
          <a:bodyPr vert="horz" lIns="0" tIns="34289" rIns="0" bIns="34289" rtlCol="0" anchor="ctr">
            <a:noAutofit/>
          </a:bodyPr>
          <a:lstStyle/>
          <a:p>
            <a:endParaRPr lang="en-US" dirty="0"/>
          </a:p>
        </p:txBody>
      </p:sp>
      <p:sp>
        <p:nvSpPr>
          <p:cNvPr id="3" name="Text Placeholder 2"/>
          <p:cNvSpPr>
            <a:spLocks noGrp="1"/>
          </p:cNvSpPr>
          <p:nvPr>
            <p:ph type="body" idx="1"/>
          </p:nvPr>
        </p:nvSpPr>
        <p:spPr>
          <a:xfrm>
            <a:off x="594136" y="1063229"/>
            <a:ext cx="8092633" cy="3565923"/>
          </a:xfrm>
          <a:prstGeom prst="rect">
            <a:avLst/>
          </a:prstGeom>
        </p:spPr>
        <p:txBody>
          <a:bodyPr vert="horz" lIns="0" tIns="34289" rIns="0" bIns="34289" rtlCol="0">
            <a:normAutofit/>
          </a:bodyPr>
          <a:lstStyle/>
          <a:p>
            <a:pPr lvl="0"/>
            <a:endParaRPr lang="en-US" dirty="0"/>
          </a:p>
        </p:txBody>
      </p:sp>
      <p:sp>
        <p:nvSpPr>
          <p:cNvPr id="4" name="Date Placeholder 3"/>
          <p:cNvSpPr>
            <a:spLocks noGrp="1"/>
          </p:cNvSpPr>
          <p:nvPr>
            <p:ph type="dt" sz="half" idx="2"/>
          </p:nvPr>
        </p:nvSpPr>
        <p:spPr>
          <a:xfrm>
            <a:off x="594128" y="4767267"/>
            <a:ext cx="1920499" cy="273844"/>
          </a:xfrm>
          <a:prstGeom prst="rect">
            <a:avLst/>
          </a:prstGeom>
        </p:spPr>
        <p:txBody>
          <a:bodyPr vert="horz" lIns="0" tIns="34289" rIns="0" bIns="34289" rtlCol="0" anchor="ctr"/>
          <a:lstStyle>
            <a:lvl1pPr algn="l">
              <a:defRPr sz="900">
                <a:solidFill>
                  <a:schemeClr val="tx1"/>
                </a:solidFill>
              </a:defRPr>
            </a:lvl1pPr>
          </a:lstStyle>
          <a:p>
            <a:pPr defTabSz="685648" fontAlgn="auto">
              <a:spcBef>
                <a:spcPts val="0"/>
              </a:spcBef>
              <a:spcAft>
                <a:spcPts val="0"/>
              </a:spcAft>
            </a:pPr>
            <a:endParaRPr lang="en-US" dirty="0">
              <a:solidFill>
                <a:srgbClr val="4F4F52"/>
              </a:solidFill>
              <a:latin typeface="Roboto Light"/>
              <a:cs typeface="+mn-cs"/>
            </a:endParaRPr>
          </a:p>
        </p:txBody>
      </p:sp>
      <p:sp>
        <p:nvSpPr>
          <p:cNvPr id="5" name="Footer Placeholder 4"/>
          <p:cNvSpPr>
            <a:spLocks noGrp="1"/>
          </p:cNvSpPr>
          <p:nvPr>
            <p:ph type="ftr" sz="quarter" idx="3"/>
          </p:nvPr>
        </p:nvSpPr>
        <p:spPr>
          <a:xfrm>
            <a:off x="3028950" y="4767267"/>
            <a:ext cx="3086100" cy="273844"/>
          </a:xfrm>
          <a:prstGeom prst="rect">
            <a:avLst/>
          </a:prstGeom>
        </p:spPr>
        <p:txBody>
          <a:bodyPr vert="horz" lIns="68564" tIns="34289" rIns="68564" bIns="34289" rtlCol="0" anchor="ctr"/>
          <a:lstStyle>
            <a:lvl1pPr algn="ctr">
              <a:defRPr sz="900">
                <a:solidFill>
                  <a:schemeClr val="tx1"/>
                </a:solidFill>
              </a:defRPr>
            </a:lvl1pPr>
          </a:lstStyle>
          <a:p>
            <a:pPr defTabSz="685648" fontAlgn="auto">
              <a:spcBef>
                <a:spcPts val="0"/>
              </a:spcBef>
              <a:spcAft>
                <a:spcPts val="0"/>
              </a:spcAft>
            </a:pPr>
            <a:endParaRPr lang="en-US" dirty="0">
              <a:solidFill>
                <a:srgbClr val="4F4F52"/>
              </a:solidFill>
              <a:latin typeface="Roboto Light"/>
              <a:cs typeface="+mn-cs"/>
            </a:endParaRPr>
          </a:p>
        </p:txBody>
      </p:sp>
      <p:sp>
        <p:nvSpPr>
          <p:cNvPr id="6" name="Slide Number Placeholder 5"/>
          <p:cNvSpPr>
            <a:spLocks noGrp="1"/>
          </p:cNvSpPr>
          <p:nvPr>
            <p:ph type="sldNum" sz="quarter" idx="4"/>
          </p:nvPr>
        </p:nvSpPr>
        <p:spPr>
          <a:xfrm>
            <a:off x="6629380" y="4767267"/>
            <a:ext cx="2057378" cy="273844"/>
          </a:xfrm>
          <a:prstGeom prst="rect">
            <a:avLst/>
          </a:prstGeom>
        </p:spPr>
        <p:txBody>
          <a:bodyPr vert="horz" lIns="0" tIns="34289" rIns="0" bIns="34289" rtlCol="0" anchor="ctr"/>
          <a:lstStyle>
            <a:lvl1pPr algn="r">
              <a:defRPr sz="900">
                <a:solidFill>
                  <a:schemeClr val="tx1"/>
                </a:solidFill>
              </a:defRPr>
            </a:lvl1pPr>
          </a:lstStyle>
          <a:p>
            <a:pPr defTabSz="685648" fontAlgn="auto">
              <a:spcBef>
                <a:spcPts val="0"/>
              </a:spcBef>
              <a:spcAft>
                <a:spcPts val="0"/>
              </a:spcAft>
            </a:pPr>
            <a:fld id="{74BF5506-DA29-4FA5-9E54-004F6EB4D2CB}" type="slidenum">
              <a:rPr lang="en-US" smtClean="0">
                <a:solidFill>
                  <a:srgbClr val="4F4F52"/>
                </a:solidFill>
                <a:latin typeface="Roboto Light"/>
                <a:cs typeface="+mn-cs"/>
              </a:rPr>
              <a:pPr defTabSz="685648" fontAlgn="auto">
                <a:spcBef>
                  <a:spcPts val="0"/>
                </a:spcBef>
                <a:spcAft>
                  <a:spcPts val="0"/>
                </a:spcAft>
              </a:pPr>
              <a:t>‹#›</a:t>
            </a:fld>
            <a:endParaRPr lang="en-US" dirty="0">
              <a:solidFill>
                <a:srgbClr val="4F4F52"/>
              </a:solidFill>
              <a:latin typeface="Roboto Light"/>
              <a:cs typeface="+mn-cs"/>
            </a:endParaRPr>
          </a:p>
        </p:txBody>
      </p:sp>
    </p:spTree>
    <p:extLst>
      <p:ext uri="{BB962C8B-B14F-4D97-AF65-F5344CB8AC3E}">
        <p14:creationId xmlns:p14="http://schemas.microsoft.com/office/powerpoint/2010/main" val="1249408799"/>
      </p:ext>
    </p:extLst>
  </p:cSld>
  <p:clrMap bg1="lt1" tx1="dk1" bg2="lt2" tx2="dk2" accent1="accent1" accent2="accent2" accent3="accent3" accent4="accent4" accent5="accent5" accent6="accent6" hlink="hlink" folHlink="folHlink"/>
  <p:sldLayoutIdLst>
    <p:sldLayoutId id="2147485442" r:id="rId1"/>
    <p:sldLayoutId id="2147485443" r:id="rId2"/>
    <p:sldLayoutId id="2147485444" r:id="rId3"/>
    <p:sldLayoutId id="2147485445" r:id="rId4"/>
    <p:sldLayoutId id="2147485446" r:id="rId5"/>
    <p:sldLayoutId id="2147485447" r:id="rId6"/>
    <p:sldLayoutId id="2147485448" r:id="rId7"/>
    <p:sldLayoutId id="2147485449" r:id="rId8"/>
    <p:sldLayoutId id="2147485450" r:id="rId9"/>
    <p:sldLayoutId id="2147485451" r:id="rId10"/>
    <p:sldLayoutId id="2147485452" r:id="rId11"/>
    <p:sldLayoutId id="2147485453" r:id="rId12"/>
    <p:sldLayoutId id="2147485454" r:id="rId13"/>
    <p:sldLayoutId id="2147485455" r:id="rId14"/>
    <p:sldLayoutId id="2147485456" r:id="rId15"/>
    <p:sldLayoutId id="2147485457" r:id="rId16"/>
    <p:sldLayoutId id="2147485458" r:id="rId17"/>
    <p:sldLayoutId id="2147485459" r:id="rId18"/>
    <p:sldLayoutId id="2147485460" r:id="rId19"/>
    <p:sldLayoutId id="2147485461" r:id="rId20"/>
    <p:sldLayoutId id="2147485462" r:id="rId21"/>
    <p:sldLayoutId id="2147485463" r:id="rId22"/>
    <p:sldLayoutId id="2147485464" r:id="rId23"/>
    <p:sldLayoutId id="2147485465" r:id="rId24"/>
    <p:sldLayoutId id="2147485466" r:id="rId25"/>
    <p:sldLayoutId id="2147485467" r:id="rId26"/>
    <p:sldLayoutId id="2147485468" r:id="rId27"/>
    <p:sldLayoutId id="2147485469" r:id="rId28"/>
    <p:sldLayoutId id="2147485470" r:id="rId29"/>
    <p:sldLayoutId id="2147485471" r:id="rId30"/>
    <p:sldLayoutId id="2147485472" r:id="rId31"/>
    <p:sldLayoutId id="2147485473" r:id="rId32"/>
    <p:sldLayoutId id="2147485474" r:id="rId33"/>
    <p:sldLayoutId id="2147485475" r:id="rId34"/>
    <p:sldLayoutId id="2147485476" r:id="rId35"/>
    <p:sldLayoutId id="2147485477" r:id="rId36"/>
    <p:sldLayoutId id="2147485478" r:id="rId37"/>
    <p:sldLayoutId id="2147485479" r:id="rId38"/>
    <p:sldLayoutId id="2147485480" r:id="rId39"/>
    <p:sldLayoutId id="2147485481" r:id="rId40"/>
    <p:sldLayoutId id="2147485482" r:id="rId41"/>
    <p:sldLayoutId id="2147485483" r:id="rId42"/>
    <p:sldLayoutId id="2147485484" r:id="rId43"/>
    <p:sldLayoutId id="2147485485" r:id="rId44"/>
    <p:sldLayoutId id="2147485486" r:id="rId45"/>
    <p:sldLayoutId id="2147485487" r:id="rId46"/>
    <p:sldLayoutId id="2147485488" r:id="rId47"/>
    <p:sldLayoutId id="2147485489" r:id="rId48"/>
    <p:sldLayoutId id="2147485490" r:id="rId49"/>
    <p:sldLayoutId id="2147485491" r:id="rId50"/>
    <p:sldLayoutId id="2147485492" r:id="rId51"/>
    <p:sldLayoutId id="2147485493" r:id="rId52"/>
    <p:sldLayoutId id="2147485494" r:id="rId53"/>
    <p:sldLayoutId id="2147485495" r:id="rId54"/>
    <p:sldLayoutId id="2147485496" r:id="rId55"/>
    <p:sldLayoutId id="2147485497" r:id="rId56"/>
    <p:sldLayoutId id="2147485498" r:id="rId57"/>
    <p:sldLayoutId id="2147485499" r:id="rId58"/>
    <p:sldLayoutId id="2147485500" r:id="rId59"/>
    <p:sldLayoutId id="2147485501" r:id="rId60"/>
    <p:sldLayoutId id="2147485502" r:id="rId61"/>
    <p:sldLayoutId id="2147485503" r:id="rId62"/>
    <p:sldLayoutId id="2147485504" r:id="rId63"/>
    <p:sldLayoutId id="2147485505" r:id="rId64"/>
    <p:sldLayoutId id="2147485506" r:id="rId65"/>
    <p:sldLayoutId id="2147485507" r:id="rId66"/>
    <p:sldLayoutId id="2147485508" r:id="rId67"/>
    <p:sldLayoutId id="2147485509" r:id="rId68"/>
    <p:sldLayoutId id="2147485510" r:id="rId69"/>
    <p:sldLayoutId id="2147485511" r:id="rId70"/>
    <p:sldLayoutId id="2147485512" r:id="rId71"/>
    <p:sldLayoutId id="2147485513" r:id="rId72"/>
    <p:sldLayoutId id="2147485514" r:id="rId73"/>
    <p:sldLayoutId id="2147485515" r:id="rId74"/>
    <p:sldLayoutId id="2147485516" r:id="rId75"/>
    <p:sldLayoutId id="2147485517" r:id="rId76"/>
    <p:sldLayoutId id="2147485518" r:id="rId77"/>
    <p:sldLayoutId id="2147485519" r:id="rId78"/>
    <p:sldLayoutId id="2147485520" r:id="rId79"/>
    <p:sldLayoutId id="2147485521" r:id="rId80"/>
    <p:sldLayoutId id="2147485522" r:id="rId81"/>
    <p:sldLayoutId id="2147485523" r:id="rId82"/>
    <p:sldLayoutId id="2147485524" r:id="rId83"/>
    <p:sldLayoutId id="2147485525" r:id="rId84"/>
    <p:sldLayoutId id="2147485526" r:id="rId85"/>
    <p:sldLayoutId id="2147485527" r:id="rId86"/>
    <p:sldLayoutId id="2147485528" r:id="rId87"/>
    <p:sldLayoutId id="2147485529" r:id="rId88"/>
    <p:sldLayoutId id="2147485530" r:id="rId89"/>
    <p:sldLayoutId id="2147485531" r:id="rId90"/>
    <p:sldLayoutId id="2147485532" r:id="rId91"/>
    <p:sldLayoutId id="2147485533" r:id="rId92"/>
    <p:sldLayoutId id="2147485534" r:id="rId93"/>
  </p:sldLayoutIdLst>
  <p:hf hdr="0" ftr="0" dt="0"/>
  <p:txStyles>
    <p:titleStyle>
      <a:lvl1pPr algn="l" defTabSz="685751" rtl="0" eaLnBrk="1" latinLnBrk="0" hangingPunct="1">
        <a:lnSpc>
          <a:spcPct val="90000"/>
        </a:lnSpc>
        <a:spcBef>
          <a:spcPct val="0"/>
        </a:spcBef>
        <a:buNone/>
        <a:defRPr sz="2100" kern="1200" cap="none" baseline="0">
          <a:solidFill>
            <a:schemeClr val="bg1"/>
          </a:solidFill>
          <a:latin typeface="+mj-lt"/>
          <a:ea typeface="+mj-ea"/>
          <a:cs typeface="+mj-cs"/>
        </a:defRPr>
      </a:lvl1pPr>
    </p:titleStyle>
    <p:bodyStyle>
      <a:lvl1pPr marL="0" indent="0" algn="l" defTabSz="685751" rtl="0" eaLnBrk="1" latinLnBrk="0" hangingPunct="1">
        <a:lnSpc>
          <a:spcPct val="90000"/>
        </a:lnSpc>
        <a:spcBef>
          <a:spcPts val="750"/>
        </a:spcBef>
        <a:buFont typeface="Arial" panose="020B0604020202020204" pitchFamily="34" charset="0"/>
        <a:buNone/>
        <a:defRPr sz="900" kern="1200">
          <a:solidFill>
            <a:schemeClr val="tx1"/>
          </a:solidFill>
          <a:latin typeface="+mn-lt"/>
          <a:ea typeface="+mn-ea"/>
          <a:cs typeface="+mn-cs"/>
        </a:defRPr>
      </a:lvl1pPr>
      <a:lvl2pPr marL="342872" indent="0" algn="l" defTabSz="685751"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51" indent="0" algn="l" defTabSz="685751"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27" indent="0" algn="l" defTabSz="685751" rtl="0" eaLnBrk="1" latinLnBrk="0" hangingPunct="1">
        <a:lnSpc>
          <a:spcPct val="90000"/>
        </a:lnSpc>
        <a:spcBef>
          <a:spcPts val="375"/>
        </a:spcBef>
        <a:buFont typeface="Arial" panose="020B0604020202020204" pitchFamily="34" charset="0"/>
        <a:buNone/>
        <a:defRPr sz="900" kern="1200">
          <a:solidFill>
            <a:schemeClr val="tx1"/>
          </a:solidFill>
          <a:latin typeface="+mn-lt"/>
          <a:ea typeface="+mn-ea"/>
          <a:cs typeface="+mn-cs"/>
        </a:defRPr>
      </a:lvl4pPr>
      <a:lvl5pPr marL="1371501" indent="0" algn="l" defTabSz="685751" rtl="0" eaLnBrk="1" latinLnBrk="0" hangingPunct="1">
        <a:lnSpc>
          <a:spcPct val="90000"/>
        </a:lnSpc>
        <a:spcBef>
          <a:spcPts val="375"/>
        </a:spcBef>
        <a:buFont typeface="Arial" panose="020B0604020202020204" pitchFamily="34" charset="0"/>
        <a:buNone/>
        <a:defRPr sz="900" kern="1200">
          <a:solidFill>
            <a:schemeClr val="tx1"/>
          </a:solidFill>
          <a:latin typeface="+mn-lt"/>
          <a:ea typeface="+mn-ea"/>
          <a:cs typeface="+mn-cs"/>
        </a:defRPr>
      </a:lvl5pPr>
      <a:lvl6pPr marL="1885811" indent="-171441" algn="l" defTabSz="685751"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7" indent="-171441" algn="l" defTabSz="685751"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61" indent="-171441" algn="l" defTabSz="685751"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6" indent="-171441" algn="l" defTabSz="685751"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751" rtl="0" eaLnBrk="1" latinLnBrk="0" hangingPunct="1">
        <a:defRPr sz="1400" kern="1200">
          <a:solidFill>
            <a:schemeClr val="tx1"/>
          </a:solidFill>
          <a:latin typeface="+mn-lt"/>
          <a:ea typeface="+mn-ea"/>
          <a:cs typeface="+mn-cs"/>
        </a:defRPr>
      </a:lvl1pPr>
      <a:lvl2pPr marL="342872" algn="l" defTabSz="685751" rtl="0" eaLnBrk="1" latinLnBrk="0" hangingPunct="1">
        <a:defRPr sz="1400" kern="1200">
          <a:solidFill>
            <a:schemeClr val="tx1"/>
          </a:solidFill>
          <a:latin typeface="+mn-lt"/>
          <a:ea typeface="+mn-ea"/>
          <a:cs typeface="+mn-cs"/>
        </a:defRPr>
      </a:lvl2pPr>
      <a:lvl3pPr marL="685751" algn="l" defTabSz="685751" rtl="0" eaLnBrk="1" latinLnBrk="0" hangingPunct="1">
        <a:defRPr sz="1400" kern="1200">
          <a:solidFill>
            <a:schemeClr val="tx1"/>
          </a:solidFill>
          <a:latin typeface="+mn-lt"/>
          <a:ea typeface="+mn-ea"/>
          <a:cs typeface="+mn-cs"/>
        </a:defRPr>
      </a:lvl3pPr>
      <a:lvl4pPr marL="1028627" algn="l" defTabSz="685751" rtl="0" eaLnBrk="1" latinLnBrk="0" hangingPunct="1">
        <a:defRPr sz="1400" kern="1200">
          <a:solidFill>
            <a:schemeClr val="tx1"/>
          </a:solidFill>
          <a:latin typeface="+mn-lt"/>
          <a:ea typeface="+mn-ea"/>
          <a:cs typeface="+mn-cs"/>
        </a:defRPr>
      </a:lvl4pPr>
      <a:lvl5pPr marL="1371501" algn="l" defTabSz="685751" rtl="0" eaLnBrk="1" latinLnBrk="0" hangingPunct="1">
        <a:defRPr sz="1400" kern="1200">
          <a:solidFill>
            <a:schemeClr val="tx1"/>
          </a:solidFill>
          <a:latin typeface="+mn-lt"/>
          <a:ea typeface="+mn-ea"/>
          <a:cs typeface="+mn-cs"/>
        </a:defRPr>
      </a:lvl5pPr>
      <a:lvl6pPr marL="1714379" algn="l" defTabSz="685751" rtl="0" eaLnBrk="1" latinLnBrk="0" hangingPunct="1">
        <a:defRPr sz="1400" kern="1200">
          <a:solidFill>
            <a:schemeClr val="tx1"/>
          </a:solidFill>
          <a:latin typeface="+mn-lt"/>
          <a:ea typeface="+mn-ea"/>
          <a:cs typeface="+mn-cs"/>
        </a:defRPr>
      </a:lvl6pPr>
      <a:lvl7pPr marL="2057252" algn="l" defTabSz="685751" rtl="0" eaLnBrk="1" latinLnBrk="0" hangingPunct="1">
        <a:defRPr sz="1400" kern="1200">
          <a:solidFill>
            <a:schemeClr val="tx1"/>
          </a:solidFill>
          <a:latin typeface="+mn-lt"/>
          <a:ea typeface="+mn-ea"/>
          <a:cs typeface="+mn-cs"/>
        </a:defRPr>
      </a:lvl7pPr>
      <a:lvl8pPr marL="2400120" algn="l" defTabSz="685751" rtl="0" eaLnBrk="1" latinLnBrk="0" hangingPunct="1">
        <a:defRPr sz="1400" kern="1200">
          <a:solidFill>
            <a:schemeClr val="tx1"/>
          </a:solidFill>
          <a:latin typeface="+mn-lt"/>
          <a:ea typeface="+mn-ea"/>
          <a:cs typeface="+mn-cs"/>
        </a:defRPr>
      </a:lvl8pPr>
      <a:lvl9pPr marL="2742992" algn="l" defTabSz="685751"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3"/>
          <p:cNvSpPr>
            <a:spLocks noGrp="1" noChangeArrowheads="1"/>
          </p:cNvSpPr>
          <p:nvPr>
            <p:ph type="body" idx="1"/>
          </p:nvPr>
        </p:nvSpPr>
        <p:spPr bwMode="auto">
          <a:xfrm>
            <a:off x="304801" y="1200188"/>
            <a:ext cx="8064500" cy="3121819"/>
          </a:xfrm>
          <a:prstGeom prst="rect">
            <a:avLst/>
          </a:prstGeom>
          <a:noFill/>
          <a:ln w="9525">
            <a:noFill/>
            <a:miter lim="800000"/>
            <a:headEnd/>
            <a:tailEnd/>
          </a:ln>
        </p:spPr>
        <p:txBody>
          <a:bodyPr vert="horz" wrap="square" lIns="91284" tIns="45642" rIns="91284" bIns="45642"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195" name="Rectangle 4"/>
          <p:cNvSpPr>
            <a:spLocks noGrp="1" noChangeArrowheads="1"/>
          </p:cNvSpPr>
          <p:nvPr>
            <p:ph type="title"/>
          </p:nvPr>
        </p:nvSpPr>
        <p:spPr bwMode="auto">
          <a:xfrm>
            <a:off x="381001" y="228658"/>
            <a:ext cx="7996238" cy="6155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sv-SE"/>
              <a:t>Click to edit Master style</a:t>
            </a:r>
          </a:p>
        </p:txBody>
      </p:sp>
    </p:spTree>
  </p:cSld>
  <p:clrMap bg1="lt1" tx1="dk1" bg2="lt2" tx2="dk2" accent1="accent1" accent2="accent2" accent3="accent3" accent4="accent4" accent5="accent5" accent6="accent6" hlink="hlink" folHlink="folHlink"/>
  <p:sldLayoutIdLst>
    <p:sldLayoutId id="2147484320" r:id="rId1"/>
  </p:sldLayoutIdLst>
  <p:txStyles>
    <p:titleStyle>
      <a:lvl1pPr algn="l" rtl="0" eaLnBrk="0" fontAlgn="base" hangingPunct="0">
        <a:spcBef>
          <a:spcPct val="0"/>
        </a:spcBef>
        <a:spcAft>
          <a:spcPct val="0"/>
        </a:spcAft>
        <a:defRPr sz="4000">
          <a:solidFill>
            <a:schemeClr val="tx2"/>
          </a:solidFill>
          <a:latin typeface="Arial" charset="0"/>
          <a:ea typeface="+mj-ea"/>
          <a:cs typeface="+mj-cs"/>
        </a:defRPr>
      </a:lvl1pPr>
      <a:lvl2pPr algn="l" rtl="0" eaLnBrk="0" fontAlgn="base" hangingPunct="0">
        <a:spcBef>
          <a:spcPct val="0"/>
        </a:spcBef>
        <a:spcAft>
          <a:spcPct val="0"/>
        </a:spcAft>
        <a:defRPr sz="4000">
          <a:solidFill>
            <a:schemeClr val="tx2"/>
          </a:solidFill>
          <a:latin typeface="Arial" pitchFamily="-65" charset="0"/>
          <a:ea typeface="ＭＳ Ｐゴシック" pitchFamily="34" charset="-128"/>
          <a:cs typeface="MS PGothic" pitchFamily="34" charset="-128"/>
        </a:defRPr>
      </a:lvl2pPr>
      <a:lvl3pPr algn="l" rtl="0" eaLnBrk="0" fontAlgn="base" hangingPunct="0">
        <a:spcBef>
          <a:spcPct val="0"/>
        </a:spcBef>
        <a:spcAft>
          <a:spcPct val="0"/>
        </a:spcAft>
        <a:defRPr sz="4000">
          <a:solidFill>
            <a:schemeClr val="tx2"/>
          </a:solidFill>
          <a:latin typeface="Arial" pitchFamily="-65" charset="0"/>
          <a:ea typeface="ＭＳ Ｐゴシック" pitchFamily="34" charset="-128"/>
          <a:cs typeface="MS PGothic" pitchFamily="34" charset="-128"/>
        </a:defRPr>
      </a:lvl3pPr>
      <a:lvl4pPr algn="l" rtl="0" eaLnBrk="0" fontAlgn="base" hangingPunct="0">
        <a:spcBef>
          <a:spcPct val="0"/>
        </a:spcBef>
        <a:spcAft>
          <a:spcPct val="0"/>
        </a:spcAft>
        <a:defRPr sz="4000">
          <a:solidFill>
            <a:schemeClr val="tx2"/>
          </a:solidFill>
          <a:latin typeface="Arial" pitchFamily="-65" charset="0"/>
          <a:ea typeface="ＭＳ Ｐゴシック" pitchFamily="34" charset="-128"/>
          <a:cs typeface="MS PGothic" pitchFamily="34" charset="-128"/>
        </a:defRPr>
      </a:lvl4pPr>
      <a:lvl5pPr algn="l" rtl="0" eaLnBrk="0" fontAlgn="base" hangingPunct="0">
        <a:spcBef>
          <a:spcPct val="0"/>
        </a:spcBef>
        <a:spcAft>
          <a:spcPct val="0"/>
        </a:spcAft>
        <a:defRPr sz="4000">
          <a:solidFill>
            <a:schemeClr val="tx2"/>
          </a:solidFill>
          <a:latin typeface="Arial" pitchFamily="-65" charset="0"/>
          <a:ea typeface="ＭＳ Ｐゴシック" pitchFamily="34" charset="-128"/>
          <a:cs typeface="MS PGothic" pitchFamily="34" charset="-128"/>
        </a:defRPr>
      </a:lvl5pPr>
      <a:lvl6pPr marL="456269" algn="l" rtl="0" eaLnBrk="0" fontAlgn="base" hangingPunct="0">
        <a:spcBef>
          <a:spcPct val="0"/>
        </a:spcBef>
        <a:spcAft>
          <a:spcPct val="0"/>
        </a:spcAft>
        <a:defRPr sz="4000">
          <a:solidFill>
            <a:schemeClr val="tx2"/>
          </a:solidFill>
          <a:latin typeface="Arial" pitchFamily="-65" charset="0"/>
        </a:defRPr>
      </a:lvl6pPr>
      <a:lvl7pPr marL="912644" algn="l" rtl="0" eaLnBrk="0" fontAlgn="base" hangingPunct="0">
        <a:spcBef>
          <a:spcPct val="0"/>
        </a:spcBef>
        <a:spcAft>
          <a:spcPct val="0"/>
        </a:spcAft>
        <a:defRPr sz="4000">
          <a:solidFill>
            <a:schemeClr val="tx2"/>
          </a:solidFill>
          <a:latin typeface="Arial" pitchFamily="-65" charset="0"/>
        </a:defRPr>
      </a:lvl7pPr>
      <a:lvl8pPr marL="1368948" algn="l" rtl="0" eaLnBrk="0" fontAlgn="base" hangingPunct="0">
        <a:spcBef>
          <a:spcPct val="0"/>
        </a:spcBef>
        <a:spcAft>
          <a:spcPct val="0"/>
        </a:spcAft>
        <a:defRPr sz="4000">
          <a:solidFill>
            <a:schemeClr val="tx2"/>
          </a:solidFill>
          <a:latin typeface="Arial" pitchFamily="-65" charset="0"/>
        </a:defRPr>
      </a:lvl8pPr>
      <a:lvl9pPr marL="1825286" algn="l" rtl="0" eaLnBrk="0" fontAlgn="base" hangingPunct="0">
        <a:spcBef>
          <a:spcPct val="0"/>
        </a:spcBef>
        <a:spcAft>
          <a:spcPct val="0"/>
        </a:spcAft>
        <a:defRPr sz="4000">
          <a:solidFill>
            <a:schemeClr val="tx2"/>
          </a:solidFill>
          <a:latin typeface="Arial" pitchFamily="-65" charset="0"/>
        </a:defRPr>
      </a:lvl9pPr>
    </p:titleStyle>
    <p:bodyStyle>
      <a:lvl1pPr marL="380297" indent="-380297" algn="l" rtl="0" eaLnBrk="0" fontAlgn="base" hangingPunct="0">
        <a:spcBef>
          <a:spcPct val="20000"/>
        </a:spcBef>
        <a:spcAft>
          <a:spcPct val="0"/>
        </a:spcAft>
        <a:buClr>
          <a:srgbClr val="0094D2"/>
        </a:buClr>
        <a:buFont typeface="Wingdings" pitchFamily="2" charset="2"/>
        <a:buChar char="§"/>
        <a:defRPr sz="2400">
          <a:solidFill>
            <a:schemeClr val="tx1"/>
          </a:solidFill>
          <a:latin typeface="Arial" charset="0"/>
          <a:ea typeface="+mn-ea"/>
          <a:cs typeface="+mn-cs"/>
        </a:defRPr>
      </a:lvl1pPr>
      <a:lvl2pPr marL="1145538" indent="-389819" algn="l" rtl="0" eaLnBrk="0" fontAlgn="base" hangingPunct="0">
        <a:spcBef>
          <a:spcPct val="10000"/>
        </a:spcBef>
        <a:spcAft>
          <a:spcPct val="0"/>
        </a:spcAft>
        <a:buChar char="–"/>
        <a:defRPr sz="2000">
          <a:solidFill>
            <a:schemeClr val="tx1"/>
          </a:solidFill>
          <a:latin typeface="Arial" charset="0"/>
          <a:ea typeface="+mn-ea"/>
        </a:defRPr>
      </a:lvl2pPr>
      <a:lvl3pPr marL="1901258" indent="-377123" algn="l" rtl="0" eaLnBrk="0" fontAlgn="base" hangingPunct="0">
        <a:spcBef>
          <a:spcPct val="0"/>
        </a:spcBef>
        <a:spcAft>
          <a:spcPct val="0"/>
        </a:spcAft>
        <a:buFont typeface="Wingdings" pitchFamily="2" charset="2"/>
        <a:buChar char="§"/>
        <a:defRPr sz="2000">
          <a:solidFill>
            <a:schemeClr val="tx1"/>
          </a:solidFill>
          <a:latin typeface="Arial" charset="0"/>
          <a:ea typeface="+mn-ea"/>
          <a:cs typeface="ＭＳ Ｐゴシック" charset="-128"/>
        </a:defRPr>
      </a:lvl3pPr>
      <a:lvl4pPr marL="2657090" indent="-378710" algn="l" rtl="0" eaLnBrk="0" fontAlgn="base" hangingPunct="0">
        <a:spcBef>
          <a:spcPct val="0"/>
        </a:spcBef>
        <a:spcAft>
          <a:spcPct val="0"/>
        </a:spcAft>
        <a:buFont typeface="Times New Roman" pitchFamily="18" charset="0"/>
        <a:buChar char="-"/>
        <a:defRPr sz="2000">
          <a:solidFill>
            <a:schemeClr val="tx1"/>
          </a:solidFill>
          <a:latin typeface="Arial" charset="0"/>
          <a:ea typeface="+mn-ea"/>
        </a:defRPr>
      </a:lvl4pPr>
      <a:lvl5pPr marL="3425504" indent="-378710" algn="l" rtl="0" eaLnBrk="0" fontAlgn="base" hangingPunct="0">
        <a:spcBef>
          <a:spcPct val="0"/>
        </a:spcBef>
        <a:spcAft>
          <a:spcPct val="0"/>
        </a:spcAft>
        <a:buFont typeface="Times New Roman" pitchFamily="18" charset="0"/>
        <a:buChar char="›"/>
        <a:defRPr sz="2000">
          <a:solidFill>
            <a:schemeClr val="tx1"/>
          </a:solidFill>
          <a:latin typeface="Arial" charset="0"/>
          <a:ea typeface="+mn-ea"/>
        </a:defRPr>
      </a:lvl5pPr>
      <a:lvl6pPr marL="3881809" indent="-378710" algn="l" rtl="0" eaLnBrk="0" fontAlgn="base" hangingPunct="0">
        <a:spcBef>
          <a:spcPct val="0"/>
        </a:spcBef>
        <a:spcAft>
          <a:spcPct val="0"/>
        </a:spcAft>
        <a:buFont typeface="Times New Roman" pitchFamily="-65" charset="0"/>
        <a:buChar char="›"/>
        <a:defRPr sz="2000">
          <a:solidFill>
            <a:schemeClr val="tx1"/>
          </a:solidFill>
          <a:latin typeface="+mn-lt"/>
          <a:ea typeface="+mn-ea"/>
        </a:defRPr>
      </a:lvl6pPr>
      <a:lvl7pPr marL="4338149" indent="-378710" algn="l" rtl="0" eaLnBrk="0" fontAlgn="base" hangingPunct="0">
        <a:spcBef>
          <a:spcPct val="0"/>
        </a:spcBef>
        <a:spcAft>
          <a:spcPct val="0"/>
        </a:spcAft>
        <a:buFont typeface="Times New Roman" pitchFamily="-65" charset="0"/>
        <a:buChar char="›"/>
        <a:defRPr sz="2000">
          <a:solidFill>
            <a:schemeClr val="tx1"/>
          </a:solidFill>
          <a:latin typeface="+mn-lt"/>
          <a:ea typeface="+mn-ea"/>
        </a:defRPr>
      </a:lvl7pPr>
      <a:lvl8pPr marL="4794416" indent="-378710" algn="l" rtl="0" eaLnBrk="0" fontAlgn="base" hangingPunct="0">
        <a:spcBef>
          <a:spcPct val="0"/>
        </a:spcBef>
        <a:spcAft>
          <a:spcPct val="0"/>
        </a:spcAft>
        <a:buFont typeface="Times New Roman" pitchFamily="-65" charset="0"/>
        <a:buChar char="›"/>
        <a:defRPr sz="2000">
          <a:solidFill>
            <a:schemeClr val="tx1"/>
          </a:solidFill>
          <a:latin typeface="+mn-lt"/>
          <a:ea typeface="+mn-ea"/>
        </a:defRPr>
      </a:lvl8pPr>
      <a:lvl9pPr marL="5250715" indent="-378710" algn="l" rtl="0" eaLnBrk="0" fontAlgn="base" hangingPunct="0">
        <a:spcBef>
          <a:spcPct val="0"/>
        </a:spcBef>
        <a:spcAft>
          <a:spcPct val="0"/>
        </a:spcAft>
        <a:buFont typeface="Times New Roman" pitchFamily="-65" charset="0"/>
        <a:buChar char="›"/>
        <a:defRPr sz="2000">
          <a:solidFill>
            <a:schemeClr val="tx1"/>
          </a:solidFill>
          <a:latin typeface="+mn-lt"/>
          <a:ea typeface="+mn-ea"/>
        </a:defRPr>
      </a:lvl9pPr>
    </p:bodyStyle>
    <p:otherStyle>
      <a:defPPr>
        <a:defRPr lang="en-US"/>
      </a:defPPr>
      <a:lvl1pPr marL="0" algn="l" defTabSz="912644" rtl="0" eaLnBrk="1" latinLnBrk="0" hangingPunct="1">
        <a:defRPr sz="1800" kern="1200">
          <a:solidFill>
            <a:schemeClr val="tx1"/>
          </a:solidFill>
          <a:latin typeface="+mn-lt"/>
          <a:ea typeface="+mn-ea"/>
          <a:cs typeface="+mn-cs"/>
        </a:defRPr>
      </a:lvl1pPr>
      <a:lvl2pPr marL="456269" algn="l" defTabSz="912644" rtl="0" eaLnBrk="1" latinLnBrk="0" hangingPunct="1">
        <a:defRPr sz="1800" kern="1200">
          <a:solidFill>
            <a:schemeClr val="tx1"/>
          </a:solidFill>
          <a:latin typeface="+mn-lt"/>
          <a:ea typeface="+mn-ea"/>
          <a:cs typeface="+mn-cs"/>
        </a:defRPr>
      </a:lvl2pPr>
      <a:lvl3pPr marL="912644" algn="l" defTabSz="912644" rtl="0" eaLnBrk="1" latinLnBrk="0" hangingPunct="1">
        <a:defRPr sz="1800" kern="1200">
          <a:solidFill>
            <a:schemeClr val="tx1"/>
          </a:solidFill>
          <a:latin typeface="+mn-lt"/>
          <a:ea typeface="+mn-ea"/>
          <a:cs typeface="+mn-cs"/>
        </a:defRPr>
      </a:lvl3pPr>
      <a:lvl4pPr marL="1368948" algn="l" defTabSz="912644" rtl="0" eaLnBrk="1" latinLnBrk="0" hangingPunct="1">
        <a:defRPr sz="1800" kern="1200">
          <a:solidFill>
            <a:schemeClr val="tx1"/>
          </a:solidFill>
          <a:latin typeface="+mn-lt"/>
          <a:ea typeface="+mn-ea"/>
          <a:cs typeface="+mn-cs"/>
        </a:defRPr>
      </a:lvl4pPr>
      <a:lvl5pPr marL="1825286" algn="l" defTabSz="912644" rtl="0" eaLnBrk="1" latinLnBrk="0" hangingPunct="1">
        <a:defRPr sz="1800" kern="1200">
          <a:solidFill>
            <a:schemeClr val="tx1"/>
          </a:solidFill>
          <a:latin typeface="+mn-lt"/>
          <a:ea typeface="+mn-ea"/>
          <a:cs typeface="+mn-cs"/>
        </a:defRPr>
      </a:lvl5pPr>
      <a:lvl6pPr marL="2281554" algn="l" defTabSz="912644" rtl="0" eaLnBrk="1" latinLnBrk="0" hangingPunct="1">
        <a:defRPr sz="1800" kern="1200">
          <a:solidFill>
            <a:schemeClr val="tx1"/>
          </a:solidFill>
          <a:latin typeface="+mn-lt"/>
          <a:ea typeface="+mn-ea"/>
          <a:cs typeface="+mn-cs"/>
        </a:defRPr>
      </a:lvl6pPr>
      <a:lvl7pPr marL="2737820" algn="l" defTabSz="912644" rtl="0" eaLnBrk="1" latinLnBrk="0" hangingPunct="1">
        <a:defRPr sz="1800" kern="1200">
          <a:solidFill>
            <a:schemeClr val="tx1"/>
          </a:solidFill>
          <a:latin typeface="+mn-lt"/>
          <a:ea typeface="+mn-ea"/>
          <a:cs typeface="+mn-cs"/>
        </a:defRPr>
      </a:lvl7pPr>
      <a:lvl8pPr marL="3194165" algn="l" defTabSz="912644" rtl="0" eaLnBrk="1" latinLnBrk="0" hangingPunct="1">
        <a:defRPr sz="1800" kern="1200">
          <a:solidFill>
            <a:schemeClr val="tx1"/>
          </a:solidFill>
          <a:latin typeface="+mn-lt"/>
          <a:ea typeface="+mn-ea"/>
          <a:cs typeface="+mn-cs"/>
        </a:defRPr>
      </a:lvl8pPr>
      <a:lvl9pPr marL="3650488" algn="l" defTabSz="912644"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4404" y="355439"/>
            <a:ext cx="6034974" cy="342900"/>
          </a:xfrm>
          <a:prstGeom prst="rect">
            <a:avLst/>
          </a:prstGeom>
        </p:spPr>
        <p:txBody>
          <a:bodyPr vert="horz" lIns="0" tIns="34289" rIns="0" bIns="34289" rtlCol="0" anchor="ctr">
            <a:noAutofit/>
          </a:bodyPr>
          <a:lstStyle/>
          <a:p>
            <a:endParaRPr lang="en-US" dirty="0"/>
          </a:p>
        </p:txBody>
      </p:sp>
      <p:sp>
        <p:nvSpPr>
          <p:cNvPr id="3" name="Text Placeholder 2"/>
          <p:cNvSpPr>
            <a:spLocks noGrp="1"/>
          </p:cNvSpPr>
          <p:nvPr>
            <p:ph type="body" idx="1"/>
          </p:nvPr>
        </p:nvSpPr>
        <p:spPr>
          <a:xfrm>
            <a:off x="594137" y="1063229"/>
            <a:ext cx="8092633" cy="3565923"/>
          </a:xfrm>
          <a:prstGeom prst="rect">
            <a:avLst/>
          </a:prstGeom>
        </p:spPr>
        <p:txBody>
          <a:bodyPr vert="horz" lIns="0" tIns="34289" rIns="0" bIns="34289" rtlCol="0">
            <a:normAutofit/>
          </a:bodyPr>
          <a:lstStyle/>
          <a:p>
            <a:pPr lvl="0"/>
            <a:endParaRPr lang="en-US" dirty="0"/>
          </a:p>
        </p:txBody>
      </p:sp>
      <p:sp>
        <p:nvSpPr>
          <p:cNvPr id="4" name="Date Placeholder 3"/>
          <p:cNvSpPr>
            <a:spLocks noGrp="1"/>
          </p:cNvSpPr>
          <p:nvPr>
            <p:ph type="dt" sz="half" idx="2"/>
          </p:nvPr>
        </p:nvSpPr>
        <p:spPr>
          <a:xfrm>
            <a:off x="594128" y="4767267"/>
            <a:ext cx="1920499" cy="273844"/>
          </a:xfrm>
          <a:prstGeom prst="rect">
            <a:avLst/>
          </a:prstGeom>
        </p:spPr>
        <p:txBody>
          <a:bodyPr vert="horz" lIns="0" tIns="34289" rIns="0" bIns="34289" rtlCol="0" anchor="ctr"/>
          <a:lstStyle>
            <a:lvl1pPr algn="l">
              <a:defRPr sz="900">
                <a:solidFill>
                  <a:schemeClr val="tx1"/>
                </a:solidFill>
              </a:defRPr>
            </a:lvl1pPr>
          </a:lstStyle>
          <a:p>
            <a:pPr defTabSz="685631" fontAlgn="auto">
              <a:spcBef>
                <a:spcPts val="0"/>
              </a:spcBef>
              <a:spcAft>
                <a:spcPts val="0"/>
              </a:spcAft>
            </a:pPr>
            <a:endParaRPr lang="en-US" dirty="0">
              <a:solidFill>
                <a:prstClr val="black"/>
              </a:solidFill>
              <a:latin typeface="Roboto Light"/>
              <a:cs typeface="+mn-cs"/>
            </a:endParaRPr>
          </a:p>
        </p:txBody>
      </p:sp>
      <p:sp>
        <p:nvSpPr>
          <p:cNvPr id="5" name="Footer Placeholder 4"/>
          <p:cNvSpPr>
            <a:spLocks noGrp="1"/>
          </p:cNvSpPr>
          <p:nvPr>
            <p:ph type="ftr" sz="quarter" idx="3"/>
          </p:nvPr>
        </p:nvSpPr>
        <p:spPr>
          <a:xfrm>
            <a:off x="3028950" y="4767267"/>
            <a:ext cx="3086100" cy="273844"/>
          </a:xfrm>
          <a:prstGeom prst="rect">
            <a:avLst/>
          </a:prstGeom>
        </p:spPr>
        <p:txBody>
          <a:bodyPr vert="horz" lIns="68562" tIns="34289" rIns="68562" bIns="34289" rtlCol="0" anchor="ctr"/>
          <a:lstStyle>
            <a:lvl1pPr algn="ctr">
              <a:defRPr sz="900">
                <a:solidFill>
                  <a:schemeClr val="tx1"/>
                </a:solidFill>
              </a:defRPr>
            </a:lvl1pPr>
          </a:lstStyle>
          <a:p>
            <a:pPr defTabSz="685631" fontAlgn="auto">
              <a:spcBef>
                <a:spcPts val="0"/>
              </a:spcBef>
              <a:spcAft>
                <a:spcPts val="0"/>
              </a:spcAft>
            </a:pPr>
            <a:endParaRPr lang="en-US" dirty="0">
              <a:solidFill>
                <a:prstClr val="black"/>
              </a:solidFill>
              <a:latin typeface="Roboto Light"/>
              <a:cs typeface="+mn-cs"/>
            </a:endParaRPr>
          </a:p>
        </p:txBody>
      </p:sp>
      <p:sp>
        <p:nvSpPr>
          <p:cNvPr id="6" name="Slide Number Placeholder 5"/>
          <p:cNvSpPr>
            <a:spLocks noGrp="1"/>
          </p:cNvSpPr>
          <p:nvPr>
            <p:ph type="sldNum" sz="quarter" idx="4"/>
          </p:nvPr>
        </p:nvSpPr>
        <p:spPr>
          <a:xfrm>
            <a:off x="6629380" y="4767267"/>
            <a:ext cx="2057378" cy="273844"/>
          </a:xfrm>
          <a:prstGeom prst="rect">
            <a:avLst/>
          </a:prstGeom>
        </p:spPr>
        <p:txBody>
          <a:bodyPr vert="horz" lIns="0" tIns="34289" rIns="0" bIns="34289" rtlCol="0" anchor="ctr"/>
          <a:lstStyle>
            <a:lvl1pPr algn="r">
              <a:defRPr sz="900">
                <a:solidFill>
                  <a:schemeClr val="tx1"/>
                </a:solidFill>
              </a:defRPr>
            </a:lvl1pPr>
          </a:lstStyle>
          <a:p>
            <a:pPr defTabSz="685631" fontAlgn="auto">
              <a:spcBef>
                <a:spcPts val="0"/>
              </a:spcBef>
              <a:spcAft>
                <a:spcPts val="0"/>
              </a:spcAft>
            </a:pPr>
            <a:fld id="{74BF5506-DA29-4FA5-9E54-004F6EB4D2CB}" type="slidenum">
              <a:rPr lang="en-US" smtClean="0">
                <a:solidFill>
                  <a:prstClr val="black"/>
                </a:solidFill>
                <a:latin typeface="Roboto Light"/>
                <a:cs typeface="+mn-cs"/>
              </a:rPr>
              <a:pPr defTabSz="685631" fontAlgn="auto">
                <a:spcBef>
                  <a:spcPts val="0"/>
                </a:spcBef>
                <a:spcAft>
                  <a:spcPts val="0"/>
                </a:spcAft>
              </a:pPr>
              <a:t>‹#›</a:t>
            </a:fld>
            <a:endParaRPr lang="en-US" dirty="0">
              <a:solidFill>
                <a:prstClr val="black"/>
              </a:solidFill>
              <a:latin typeface="Roboto Light"/>
              <a:cs typeface="+mn-cs"/>
            </a:endParaRPr>
          </a:p>
        </p:txBody>
      </p:sp>
    </p:spTree>
    <p:extLst>
      <p:ext uri="{BB962C8B-B14F-4D97-AF65-F5344CB8AC3E}">
        <p14:creationId xmlns:p14="http://schemas.microsoft.com/office/powerpoint/2010/main" val="3763377353"/>
      </p:ext>
    </p:extLst>
  </p:cSld>
  <p:clrMap bg1="lt1" tx1="dk1" bg2="lt2" tx2="dk2" accent1="accent1" accent2="accent2" accent3="accent3" accent4="accent4" accent5="accent5" accent6="accent6" hlink="hlink" folHlink="folHlink"/>
  <p:sldLayoutIdLst>
    <p:sldLayoutId id="2147485626" r:id="rId1"/>
    <p:sldLayoutId id="2147485627" r:id="rId2"/>
    <p:sldLayoutId id="2147485628" r:id="rId3"/>
    <p:sldLayoutId id="2147485629" r:id="rId4"/>
    <p:sldLayoutId id="2147485630" r:id="rId5"/>
    <p:sldLayoutId id="2147485631" r:id="rId6"/>
    <p:sldLayoutId id="2147485632" r:id="rId7"/>
    <p:sldLayoutId id="2147485633" r:id="rId8"/>
    <p:sldLayoutId id="2147485634" r:id="rId9"/>
    <p:sldLayoutId id="2147485635" r:id="rId10"/>
    <p:sldLayoutId id="2147485636" r:id="rId11"/>
    <p:sldLayoutId id="2147485637" r:id="rId12"/>
    <p:sldLayoutId id="2147485638" r:id="rId13"/>
    <p:sldLayoutId id="2147485639" r:id="rId14"/>
    <p:sldLayoutId id="2147485640" r:id="rId15"/>
    <p:sldLayoutId id="2147485641" r:id="rId16"/>
    <p:sldLayoutId id="2147485642" r:id="rId17"/>
    <p:sldLayoutId id="2147485643" r:id="rId18"/>
    <p:sldLayoutId id="2147485644" r:id="rId19"/>
    <p:sldLayoutId id="2147485645" r:id="rId20"/>
    <p:sldLayoutId id="2147485646" r:id="rId21"/>
    <p:sldLayoutId id="2147485647" r:id="rId22"/>
    <p:sldLayoutId id="2147485648" r:id="rId23"/>
    <p:sldLayoutId id="2147485649" r:id="rId24"/>
    <p:sldLayoutId id="2147485650" r:id="rId25"/>
    <p:sldLayoutId id="2147485651" r:id="rId26"/>
    <p:sldLayoutId id="2147485652" r:id="rId27"/>
    <p:sldLayoutId id="2147485653" r:id="rId28"/>
    <p:sldLayoutId id="2147485654" r:id="rId29"/>
    <p:sldLayoutId id="2147485655" r:id="rId30"/>
    <p:sldLayoutId id="2147485656" r:id="rId31"/>
    <p:sldLayoutId id="2147485657" r:id="rId32"/>
    <p:sldLayoutId id="2147485658" r:id="rId33"/>
    <p:sldLayoutId id="2147485659" r:id="rId34"/>
    <p:sldLayoutId id="2147485660" r:id="rId35"/>
    <p:sldLayoutId id="2147485661" r:id="rId36"/>
    <p:sldLayoutId id="2147485662" r:id="rId37"/>
    <p:sldLayoutId id="2147485663" r:id="rId38"/>
    <p:sldLayoutId id="2147485664" r:id="rId39"/>
    <p:sldLayoutId id="2147485665" r:id="rId40"/>
    <p:sldLayoutId id="2147485666" r:id="rId41"/>
    <p:sldLayoutId id="2147485667" r:id="rId42"/>
    <p:sldLayoutId id="2147485668" r:id="rId43"/>
    <p:sldLayoutId id="2147485669" r:id="rId44"/>
    <p:sldLayoutId id="2147485670" r:id="rId45"/>
    <p:sldLayoutId id="2147485671" r:id="rId46"/>
    <p:sldLayoutId id="2147485672" r:id="rId47"/>
    <p:sldLayoutId id="2147485673" r:id="rId48"/>
    <p:sldLayoutId id="2147485674" r:id="rId49"/>
    <p:sldLayoutId id="2147485675" r:id="rId50"/>
    <p:sldLayoutId id="2147485676" r:id="rId51"/>
    <p:sldLayoutId id="2147485677" r:id="rId52"/>
    <p:sldLayoutId id="2147485678" r:id="rId53"/>
    <p:sldLayoutId id="2147485679" r:id="rId54"/>
    <p:sldLayoutId id="2147485680" r:id="rId55"/>
    <p:sldLayoutId id="2147485681" r:id="rId56"/>
    <p:sldLayoutId id="2147485682" r:id="rId57"/>
    <p:sldLayoutId id="2147485683" r:id="rId58"/>
    <p:sldLayoutId id="2147485684" r:id="rId59"/>
    <p:sldLayoutId id="2147485685" r:id="rId60"/>
    <p:sldLayoutId id="2147485686" r:id="rId61"/>
    <p:sldLayoutId id="2147485687" r:id="rId62"/>
    <p:sldLayoutId id="2147485688" r:id="rId63"/>
    <p:sldLayoutId id="2147485689" r:id="rId64"/>
    <p:sldLayoutId id="2147485690" r:id="rId65"/>
    <p:sldLayoutId id="2147485691" r:id="rId66"/>
    <p:sldLayoutId id="2147485692" r:id="rId67"/>
    <p:sldLayoutId id="2147485693" r:id="rId68"/>
    <p:sldLayoutId id="2147485694" r:id="rId69"/>
    <p:sldLayoutId id="2147485695" r:id="rId70"/>
    <p:sldLayoutId id="2147485696" r:id="rId71"/>
    <p:sldLayoutId id="2147485697" r:id="rId72"/>
    <p:sldLayoutId id="2147485698" r:id="rId73"/>
    <p:sldLayoutId id="2147485699" r:id="rId74"/>
    <p:sldLayoutId id="2147485700" r:id="rId75"/>
    <p:sldLayoutId id="2147485701" r:id="rId76"/>
    <p:sldLayoutId id="2147485702" r:id="rId77"/>
    <p:sldLayoutId id="2147485703" r:id="rId78"/>
    <p:sldLayoutId id="2147485704" r:id="rId79"/>
    <p:sldLayoutId id="2147485705" r:id="rId80"/>
    <p:sldLayoutId id="2147485706" r:id="rId81"/>
    <p:sldLayoutId id="2147485707" r:id="rId82"/>
    <p:sldLayoutId id="2147485708" r:id="rId83"/>
    <p:sldLayoutId id="2147485709" r:id="rId84"/>
    <p:sldLayoutId id="2147485710" r:id="rId85"/>
    <p:sldLayoutId id="2147485711" r:id="rId86"/>
    <p:sldLayoutId id="2147485712" r:id="rId87"/>
    <p:sldLayoutId id="2147485713" r:id="rId88"/>
    <p:sldLayoutId id="2147485714" r:id="rId89"/>
    <p:sldLayoutId id="2147485715" r:id="rId90"/>
    <p:sldLayoutId id="2147485716" r:id="rId91"/>
    <p:sldLayoutId id="2147485717" r:id="rId92"/>
    <p:sldLayoutId id="2147485718" r:id="rId93"/>
  </p:sldLayoutIdLst>
  <p:hf hdr="0" ftr="0" dt="0"/>
  <p:txStyles>
    <p:titleStyle>
      <a:lvl1pPr algn="l" defTabSz="685734" rtl="0" eaLnBrk="1" latinLnBrk="0" hangingPunct="1">
        <a:lnSpc>
          <a:spcPct val="90000"/>
        </a:lnSpc>
        <a:spcBef>
          <a:spcPct val="0"/>
        </a:spcBef>
        <a:buNone/>
        <a:defRPr sz="2100" kern="1200" cap="none" baseline="0">
          <a:solidFill>
            <a:schemeClr val="bg1"/>
          </a:solidFill>
          <a:latin typeface="+mj-lt"/>
          <a:ea typeface="+mj-ea"/>
          <a:cs typeface="+mj-cs"/>
        </a:defRPr>
      </a:lvl1pPr>
    </p:titleStyle>
    <p:bodyStyle>
      <a:lvl1pPr marL="0" indent="0" algn="l" defTabSz="685734" rtl="0" eaLnBrk="1" latinLnBrk="0" hangingPunct="1">
        <a:lnSpc>
          <a:spcPct val="90000"/>
        </a:lnSpc>
        <a:spcBef>
          <a:spcPts val="750"/>
        </a:spcBef>
        <a:buFont typeface="Arial" panose="020B0604020202020204" pitchFamily="34" charset="0"/>
        <a:buNone/>
        <a:defRPr sz="900" kern="1200">
          <a:solidFill>
            <a:schemeClr val="tx1"/>
          </a:solidFill>
          <a:latin typeface="+mn-lt"/>
          <a:ea typeface="+mn-ea"/>
          <a:cs typeface="+mn-cs"/>
        </a:defRPr>
      </a:lvl1pPr>
      <a:lvl2pPr marL="342863" indent="0" algn="l" defTabSz="685734"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34" indent="0" algn="l" defTabSz="685734"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01" indent="0" algn="l" defTabSz="685734" rtl="0" eaLnBrk="1" latinLnBrk="0" hangingPunct="1">
        <a:lnSpc>
          <a:spcPct val="90000"/>
        </a:lnSpc>
        <a:spcBef>
          <a:spcPts val="375"/>
        </a:spcBef>
        <a:buFont typeface="Arial" panose="020B0604020202020204" pitchFamily="34" charset="0"/>
        <a:buNone/>
        <a:defRPr sz="900" kern="1200">
          <a:solidFill>
            <a:schemeClr val="tx1"/>
          </a:solidFill>
          <a:latin typeface="+mn-lt"/>
          <a:ea typeface="+mn-ea"/>
          <a:cs typeface="+mn-cs"/>
        </a:defRPr>
      </a:lvl4pPr>
      <a:lvl5pPr marL="1371467" indent="0" algn="l" defTabSz="685734" rtl="0" eaLnBrk="1" latinLnBrk="0" hangingPunct="1">
        <a:lnSpc>
          <a:spcPct val="90000"/>
        </a:lnSpc>
        <a:spcBef>
          <a:spcPts val="375"/>
        </a:spcBef>
        <a:buFont typeface="Arial" panose="020B0604020202020204" pitchFamily="34" charset="0"/>
        <a:buNone/>
        <a:defRPr sz="900" kern="1200">
          <a:solidFill>
            <a:schemeClr val="tx1"/>
          </a:solidFill>
          <a:latin typeface="+mn-lt"/>
          <a:ea typeface="+mn-ea"/>
          <a:cs typeface="+mn-cs"/>
        </a:defRPr>
      </a:lvl5pPr>
      <a:lvl6pPr marL="1885764" indent="-171437" algn="l" defTabSz="68573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31" indent="-171437" algn="l" defTabSz="68573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497" indent="-171437" algn="l" defTabSz="68573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364" indent="-171437" algn="l" defTabSz="68573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734" rtl="0" eaLnBrk="1" latinLnBrk="0" hangingPunct="1">
        <a:defRPr sz="1400" kern="1200">
          <a:solidFill>
            <a:schemeClr val="tx1"/>
          </a:solidFill>
          <a:latin typeface="+mn-lt"/>
          <a:ea typeface="+mn-ea"/>
          <a:cs typeface="+mn-cs"/>
        </a:defRPr>
      </a:lvl1pPr>
      <a:lvl2pPr marL="342863" algn="l" defTabSz="685734" rtl="0" eaLnBrk="1" latinLnBrk="0" hangingPunct="1">
        <a:defRPr sz="1400" kern="1200">
          <a:solidFill>
            <a:schemeClr val="tx1"/>
          </a:solidFill>
          <a:latin typeface="+mn-lt"/>
          <a:ea typeface="+mn-ea"/>
          <a:cs typeface="+mn-cs"/>
        </a:defRPr>
      </a:lvl2pPr>
      <a:lvl3pPr marL="685734" algn="l" defTabSz="685734" rtl="0" eaLnBrk="1" latinLnBrk="0" hangingPunct="1">
        <a:defRPr sz="1400" kern="1200">
          <a:solidFill>
            <a:schemeClr val="tx1"/>
          </a:solidFill>
          <a:latin typeface="+mn-lt"/>
          <a:ea typeface="+mn-ea"/>
          <a:cs typeface="+mn-cs"/>
        </a:defRPr>
      </a:lvl3pPr>
      <a:lvl4pPr marL="1028601" algn="l" defTabSz="685734" rtl="0" eaLnBrk="1" latinLnBrk="0" hangingPunct="1">
        <a:defRPr sz="1400" kern="1200">
          <a:solidFill>
            <a:schemeClr val="tx1"/>
          </a:solidFill>
          <a:latin typeface="+mn-lt"/>
          <a:ea typeface="+mn-ea"/>
          <a:cs typeface="+mn-cs"/>
        </a:defRPr>
      </a:lvl4pPr>
      <a:lvl5pPr marL="1371467" algn="l" defTabSz="685734" rtl="0" eaLnBrk="1" latinLnBrk="0" hangingPunct="1">
        <a:defRPr sz="1400" kern="1200">
          <a:solidFill>
            <a:schemeClr val="tx1"/>
          </a:solidFill>
          <a:latin typeface="+mn-lt"/>
          <a:ea typeface="+mn-ea"/>
          <a:cs typeface="+mn-cs"/>
        </a:defRPr>
      </a:lvl5pPr>
      <a:lvl6pPr marL="1714337" algn="l" defTabSz="685734" rtl="0" eaLnBrk="1" latinLnBrk="0" hangingPunct="1">
        <a:defRPr sz="1400" kern="1200">
          <a:solidFill>
            <a:schemeClr val="tx1"/>
          </a:solidFill>
          <a:latin typeface="+mn-lt"/>
          <a:ea typeface="+mn-ea"/>
          <a:cs typeface="+mn-cs"/>
        </a:defRPr>
      </a:lvl6pPr>
      <a:lvl7pPr marL="2057201" algn="l" defTabSz="685734" rtl="0" eaLnBrk="1" latinLnBrk="0" hangingPunct="1">
        <a:defRPr sz="1400" kern="1200">
          <a:solidFill>
            <a:schemeClr val="tx1"/>
          </a:solidFill>
          <a:latin typeface="+mn-lt"/>
          <a:ea typeface="+mn-ea"/>
          <a:cs typeface="+mn-cs"/>
        </a:defRPr>
      </a:lvl7pPr>
      <a:lvl8pPr marL="2400060" algn="l" defTabSz="685734" rtl="0" eaLnBrk="1" latinLnBrk="0" hangingPunct="1">
        <a:defRPr sz="1400" kern="1200">
          <a:solidFill>
            <a:schemeClr val="tx1"/>
          </a:solidFill>
          <a:latin typeface="+mn-lt"/>
          <a:ea typeface="+mn-ea"/>
          <a:cs typeface="+mn-cs"/>
        </a:defRPr>
      </a:lvl8pPr>
      <a:lvl9pPr marL="2742923" algn="l" defTabSz="685734"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4404" y="355439"/>
            <a:ext cx="6034974" cy="342900"/>
          </a:xfrm>
          <a:prstGeom prst="rect">
            <a:avLst/>
          </a:prstGeom>
        </p:spPr>
        <p:txBody>
          <a:bodyPr vert="horz" lIns="0" tIns="34289" rIns="0" bIns="34289" rtlCol="0" anchor="ctr">
            <a:noAutofit/>
          </a:bodyPr>
          <a:lstStyle/>
          <a:p>
            <a:endParaRPr lang="en-US" dirty="0"/>
          </a:p>
        </p:txBody>
      </p:sp>
      <p:sp>
        <p:nvSpPr>
          <p:cNvPr id="3" name="Text Placeholder 2"/>
          <p:cNvSpPr>
            <a:spLocks noGrp="1"/>
          </p:cNvSpPr>
          <p:nvPr>
            <p:ph type="body" idx="1"/>
          </p:nvPr>
        </p:nvSpPr>
        <p:spPr>
          <a:xfrm>
            <a:off x="594135" y="1063229"/>
            <a:ext cx="8092633" cy="3565923"/>
          </a:xfrm>
          <a:prstGeom prst="rect">
            <a:avLst/>
          </a:prstGeom>
        </p:spPr>
        <p:txBody>
          <a:bodyPr vert="horz" lIns="0" tIns="34289" rIns="0" bIns="34289" rtlCol="0">
            <a:normAutofit/>
          </a:bodyPr>
          <a:lstStyle/>
          <a:p>
            <a:pPr lvl="0"/>
            <a:endParaRPr lang="en-US" dirty="0"/>
          </a:p>
        </p:txBody>
      </p:sp>
      <p:sp>
        <p:nvSpPr>
          <p:cNvPr id="4" name="Date Placeholder 3"/>
          <p:cNvSpPr>
            <a:spLocks noGrp="1"/>
          </p:cNvSpPr>
          <p:nvPr>
            <p:ph type="dt" sz="half" idx="2"/>
          </p:nvPr>
        </p:nvSpPr>
        <p:spPr>
          <a:xfrm>
            <a:off x="594128" y="4767267"/>
            <a:ext cx="1920499" cy="273844"/>
          </a:xfrm>
          <a:prstGeom prst="rect">
            <a:avLst/>
          </a:prstGeom>
        </p:spPr>
        <p:txBody>
          <a:bodyPr vert="horz" lIns="0" tIns="34289" rIns="0" bIns="34289" rtlCol="0" anchor="ctr"/>
          <a:lstStyle>
            <a:lvl1pPr algn="l">
              <a:defRPr sz="900">
                <a:solidFill>
                  <a:schemeClr val="tx1"/>
                </a:solidFill>
              </a:defRPr>
            </a:lvl1pPr>
          </a:lstStyle>
          <a:p>
            <a:pPr defTabSz="685665" fontAlgn="auto">
              <a:spcBef>
                <a:spcPts val="0"/>
              </a:spcBef>
              <a:spcAft>
                <a:spcPts val="0"/>
              </a:spcAft>
            </a:pPr>
            <a:endParaRPr lang="en-US" dirty="0">
              <a:solidFill>
                <a:srgbClr val="4F4F52"/>
              </a:solidFill>
              <a:latin typeface="Roboto Light"/>
              <a:cs typeface="+mn-cs"/>
            </a:endParaRPr>
          </a:p>
        </p:txBody>
      </p:sp>
      <p:sp>
        <p:nvSpPr>
          <p:cNvPr id="5" name="Footer Placeholder 4"/>
          <p:cNvSpPr>
            <a:spLocks noGrp="1"/>
          </p:cNvSpPr>
          <p:nvPr>
            <p:ph type="ftr" sz="quarter" idx="3"/>
          </p:nvPr>
        </p:nvSpPr>
        <p:spPr>
          <a:xfrm>
            <a:off x="3028950" y="4767267"/>
            <a:ext cx="3086100" cy="273844"/>
          </a:xfrm>
          <a:prstGeom prst="rect">
            <a:avLst/>
          </a:prstGeom>
        </p:spPr>
        <p:txBody>
          <a:bodyPr vert="horz" lIns="68565" tIns="34289" rIns="68565" bIns="34289" rtlCol="0" anchor="ctr"/>
          <a:lstStyle>
            <a:lvl1pPr algn="ctr">
              <a:defRPr sz="900">
                <a:solidFill>
                  <a:schemeClr val="tx1"/>
                </a:solidFill>
              </a:defRPr>
            </a:lvl1pPr>
          </a:lstStyle>
          <a:p>
            <a:pPr defTabSz="685665" fontAlgn="auto">
              <a:spcBef>
                <a:spcPts val="0"/>
              </a:spcBef>
              <a:spcAft>
                <a:spcPts val="0"/>
              </a:spcAft>
            </a:pPr>
            <a:endParaRPr lang="en-US" dirty="0">
              <a:solidFill>
                <a:srgbClr val="4F4F52"/>
              </a:solidFill>
              <a:latin typeface="Roboto Light"/>
              <a:cs typeface="+mn-cs"/>
            </a:endParaRPr>
          </a:p>
        </p:txBody>
      </p:sp>
      <p:sp>
        <p:nvSpPr>
          <p:cNvPr id="6" name="Slide Number Placeholder 5"/>
          <p:cNvSpPr>
            <a:spLocks noGrp="1"/>
          </p:cNvSpPr>
          <p:nvPr>
            <p:ph type="sldNum" sz="quarter" idx="4"/>
          </p:nvPr>
        </p:nvSpPr>
        <p:spPr>
          <a:xfrm>
            <a:off x="6629380" y="4767267"/>
            <a:ext cx="2057378" cy="273844"/>
          </a:xfrm>
          <a:prstGeom prst="rect">
            <a:avLst/>
          </a:prstGeom>
        </p:spPr>
        <p:txBody>
          <a:bodyPr vert="horz" lIns="0" tIns="34289" rIns="0" bIns="34289" rtlCol="0" anchor="ctr"/>
          <a:lstStyle>
            <a:lvl1pPr algn="r">
              <a:defRPr sz="900">
                <a:solidFill>
                  <a:schemeClr val="tx1"/>
                </a:solidFill>
              </a:defRPr>
            </a:lvl1pPr>
          </a:lstStyle>
          <a:p>
            <a:pPr defTabSz="685665" fontAlgn="auto">
              <a:spcBef>
                <a:spcPts val="0"/>
              </a:spcBef>
              <a:spcAft>
                <a:spcPts val="0"/>
              </a:spcAft>
            </a:pPr>
            <a:fld id="{74BF5506-DA29-4FA5-9E54-004F6EB4D2CB}" type="slidenum">
              <a:rPr lang="en-US" smtClean="0">
                <a:solidFill>
                  <a:srgbClr val="4F4F52"/>
                </a:solidFill>
                <a:latin typeface="Roboto Light"/>
                <a:cs typeface="+mn-cs"/>
              </a:rPr>
              <a:pPr defTabSz="685665" fontAlgn="auto">
                <a:spcBef>
                  <a:spcPts val="0"/>
                </a:spcBef>
                <a:spcAft>
                  <a:spcPts val="0"/>
                </a:spcAft>
              </a:pPr>
              <a:t>‹#›</a:t>
            </a:fld>
            <a:endParaRPr lang="en-US" dirty="0">
              <a:solidFill>
                <a:srgbClr val="4F4F52"/>
              </a:solidFill>
              <a:latin typeface="Roboto Light"/>
              <a:cs typeface="+mn-cs"/>
            </a:endParaRPr>
          </a:p>
        </p:txBody>
      </p:sp>
    </p:spTree>
    <p:extLst>
      <p:ext uri="{BB962C8B-B14F-4D97-AF65-F5344CB8AC3E}">
        <p14:creationId xmlns:p14="http://schemas.microsoft.com/office/powerpoint/2010/main" val="3071250247"/>
      </p:ext>
    </p:extLst>
  </p:cSld>
  <p:clrMap bg1="lt1" tx1="dk1" bg2="lt2" tx2="dk2" accent1="accent1" accent2="accent2" accent3="accent3" accent4="accent4" accent5="accent5" accent6="accent6" hlink="hlink" folHlink="folHlink"/>
  <p:sldLayoutIdLst>
    <p:sldLayoutId id="2147485732" r:id="rId1"/>
    <p:sldLayoutId id="2147485733" r:id="rId2"/>
    <p:sldLayoutId id="2147485734" r:id="rId3"/>
    <p:sldLayoutId id="2147485735" r:id="rId4"/>
    <p:sldLayoutId id="2147485736" r:id="rId5"/>
    <p:sldLayoutId id="2147485737" r:id="rId6"/>
    <p:sldLayoutId id="2147485738" r:id="rId7"/>
    <p:sldLayoutId id="2147485739" r:id="rId8"/>
    <p:sldLayoutId id="2147485740" r:id="rId9"/>
    <p:sldLayoutId id="2147485741" r:id="rId10"/>
    <p:sldLayoutId id="2147485742" r:id="rId11"/>
    <p:sldLayoutId id="2147485743" r:id="rId12"/>
    <p:sldLayoutId id="2147485744" r:id="rId13"/>
    <p:sldLayoutId id="2147485745" r:id="rId14"/>
    <p:sldLayoutId id="2147485746" r:id="rId15"/>
    <p:sldLayoutId id="2147485747" r:id="rId16"/>
    <p:sldLayoutId id="2147485748" r:id="rId17"/>
    <p:sldLayoutId id="2147485749" r:id="rId18"/>
    <p:sldLayoutId id="2147485750" r:id="rId19"/>
    <p:sldLayoutId id="2147485751" r:id="rId20"/>
    <p:sldLayoutId id="2147485752" r:id="rId21"/>
    <p:sldLayoutId id="2147485753" r:id="rId22"/>
    <p:sldLayoutId id="2147485754" r:id="rId23"/>
    <p:sldLayoutId id="2147485755" r:id="rId24"/>
    <p:sldLayoutId id="2147485756" r:id="rId25"/>
    <p:sldLayoutId id="2147485757" r:id="rId26"/>
    <p:sldLayoutId id="2147485758" r:id="rId27"/>
    <p:sldLayoutId id="2147485759" r:id="rId28"/>
    <p:sldLayoutId id="2147485760" r:id="rId29"/>
    <p:sldLayoutId id="2147485761" r:id="rId30"/>
    <p:sldLayoutId id="2147485762" r:id="rId31"/>
    <p:sldLayoutId id="2147485763" r:id="rId32"/>
    <p:sldLayoutId id="2147485764" r:id="rId33"/>
    <p:sldLayoutId id="2147485765" r:id="rId34"/>
    <p:sldLayoutId id="2147485766" r:id="rId35"/>
    <p:sldLayoutId id="2147485767" r:id="rId36"/>
    <p:sldLayoutId id="2147485768" r:id="rId37"/>
    <p:sldLayoutId id="2147485769" r:id="rId38"/>
    <p:sldLayoutId id="2147485770" r:id="rId39"/>
    <p:sldLayoutId id="2147485771" r:id="rId40"/>
    <p:sldLayoutId id="2147485772" r:id="rId41"/>
    <p:sldLayoutId id="2147485773" r:id="rId42"/>
    <p:sldLayoutId id="2147485774" r:id="rId43"/>
    <p:sldLayoutId id="2147485775" r:id="rId44"/>
    <p:sldLayoutId id="2147485776" r:id="rId45"/>
    <p:sldLayoutId id="2147485777" r:id="rId46"/>
    <p:sldLayoutId id="2147485778" r:id="rId47"/>
    <p:sldLayoutId id="2147485779" r:id="rId48"/>
    <p:sldLayoutId id="2147485780" r:id="rId49"/>
    <p:sldLayoutId id="2147485781" r:id="rId50"/>
    <p:sldLayoutId id="2147485782" r:id="rId51"/>
    <p:sldLayoutId id="2147485783" r:id="rId52"/>
    <p:sldLayoutId id="2147485784" r:id="rId53"/>
    <p:sldLayoutId id="2147485785" r:id="rId54"/>
    <p:sldLayoutId id="2147485786" r:id="rId55"/>
    <p:sldLayoutId id="2147485787" r:id="rId56"/>
    <p:sldLayoutId id="2147485788" r:id="rId57"/>
    <p:sldLayoutId id="2147485789" r:id="rId58"/>
    <p:sldLayoutId id="2147485790" r:id="rId59"/>
    <p:sldLayoutId id="2147485791" r:id="rId60"/>
    <p:sldLayoutId id="2147485792" r:id="rId61"/>
    <p:sldLayoutId id="2147485793" r:id="rId62"/>
    <p:sldLayoutId id="2147485794" r:id="rId63"/>
    <p:sldLayoutId id="2147485795" r:id="rId64"/>
    <p:sldLayoutId id="2147485796" r:id="rId65"/>
    <p:sldLayoutId id="2147485797" r:id="rId66"/>
    <p:sldLayoutId id="2147485798" r:id="rId67"/>
    <p:sldLayoutId id="2147485799" r:id="rId68"/>
    <p:sldLayoutId id="2147485800" r:id="rId69"/>
    <p:sldLayoutId id="2147485801" r:id="rId70"/>
    <p:sldLayoutId id="2147485802" r:id="rId71"/>
    <p:sldLayoutId id="2147485803" r:id="rId72"/>
    <p:sldLayoutId id="2147485804" r:id="rId73"/>
    <p:sldLayoutId id="2147485805" r:id="rId74"/>
    <p:sldLayoutId id="2147485806" r:id="rId75"/>
    <p:sldLayoutId id="2147485807" r:id="rId76"/>
    <p:sldLayoutId id="2147485808" r:id="rId77"/>
    <p:sldLayoutId id="2147485809" r:id="rId78"/>
    <p:sldLayoutId id="2147485810" r:id="rId79"/>
    <p:sldLayoutId id="2147485811" r:id="rId80"/>
    <p:sldLayoutId id="2147485812" r:id="rId81"/>
    <p:sldLayoutId id="2147485813" r:id="rId82"/>
    <p:sldLayoutId id="2147485814" r:id="rId83"/>
    <p:sldLayoutId id="2147485815" r:id="rId84"/>
    <p:sldLayoutId id="2147485816" r:id="rId85"/>
    <p:sldLayoutId id="2147485817" r:id="rId86"/>
    <p:sldLayoutId id="2147485818" r:id="rId87"/>
    <p:sldLayoutId id="2147485819" r:id="rId88"/>
    <p:sldLayoutId id="2147485820" r:id="rId89"/>
    <p:sldLayoutId id="2147485821" r:id="rId90"/>
    <p:sldLayoutId id="2147485822" r:id="rId91"/>
    <p:sldLayoutId id="2147485823" r:id="rId92"/>
    <p:sldLayoutId id="2147485824" r:id="rId93"/>
  </p:sldLayoutIdLst>
  <p:hf hdr="0" ftr="0" dt="0"/>
  <p:txStyles>
    <p:titleStyle>
      <a:lvl1pPr algn="l" defTabSz="685768" rtl="0" eaLnBrk="1" latinLnBrk="0" hangingPunct="1">
        <a:lnSpc>
          <a:spcPct val="90000"/>
        </a:lnSpc>
        <a:spcBef>
          <a:spcPct val="0"/>
        </a:spcBef>
        <a:buNone/>
        <a:defRPr sz="2100" kern="1200" cap="none" baseline="0">
          <a:solidFill>
            <a:schemeClr val="bg1"/>
          </a:solidFill>
          <a:latin typeface="+mj-lt"/>
          <a:ea typeface="+mj-ea"/>
          <a:cs typeface="+mj-cs"/>
        </a:defRPr>
      </a:lvl1pPr>
    </p:titleStyle>
    <p:bodyStyle>
      <a:lvl1pPr marL="0" indent="0" algn="l" defTabSz="685768" rtl="0" eaLnBrk="1" latinLnBrk="0" hangingPunct="1">
        <a:lnSpc>
          <a:spcPct val="90000"/>
        </a:lnSpc>
        <a:spcBef>
          <a:spcPts val="750"/>
        </a:spcBef>
        <a:buFont typeface="Arial" panose="020B0604020202020204" pitchFamily="34" charset="0"/>
        <a:buNone/>
        <a:defRPr sz="900" kern="1200">
          <a:solidFill>
            <a:schemeClr val="tx1"/>
          </a:solidFill>
          <a:latin typeface="+mn-lt"/>
          <a:ea typeface="+mn-ea"/>
          <a:cs typeface="+mn-cs"/>
        </a:defRPr>
      </a:lvl1pPr>
      <a:lvl2pPr marL="342881" indent="0" algn="l" defTabSz="685768"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68" indent="0" algn="l" defTabSz="685768"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52" indent="0" algn="l" defTabSz="685768" rtl="0" eaLnBrk="1" latinLnBrk="0" hangingPunct="1">
        <a:lnSpc>
          <a:spcPct val="90000"/>
        </a:lnSpc>
        <a:spcBef>
          <a:spcPts val="375"/>
        </a:spcBef>
        <a:buFont typeface="Arial" panose="020B0604020202020204" pitchFamily="34" charset="0"/>
        <a:buNone/>
        <a:defRPr sz="900" kern="1200">
          <a:solidFill>
            <a:schemeClr val="tx1"/>
          </a:solidFill>
          <a:latin typeface="+mn-lt"/>
          <a:ea typeface="+mn-ea"/>
          <a:cs typeface="+mn-cs"/>
        </a:defRPr>
      </a:lvl4pPr>
      <a:lvl5pPr marL="1371535" indent="0" algn="l" defTabSz="685768" rtl="0" eaLnBrk="1" latinLnBrk="0" hangingPunct="1">
        <a:lnSpc>
          <a:spcPct val="90000"/>
        </a:lnSpc>
        <a:spcBef>
          <a:spcPts val="375"/>
        </a:spcBef>
        <a:buFont typeface="Arial" panose="020B0604020202020204" pitchFamily="34" charset="0"/>
        <a:buNone/>
        <a:defRPr sz="900" kern="1200">
          <a:solidFill>
            <a:schemeClr val="tx1"/>
          </a:solidFill>
          <a:latin typeface="+mn-lt"/>
          <a:ea typeface="+mn-ea"/>
          <a:cs typeface="+mn-cs"/>
        </a:defRPr>
      </a:lvl5pPr>
      <a:lvl6pPr marL="1885858" indent="-171445" algn="l" defTabSz="685768"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42" indent="-171445" algn="l" defTabSz="685768"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5" indent="-171445" algn="l" defTabSz="685768"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8" indent="-171445" algn="l" defTabSz="685768"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768" rtl="0" eaLnBrk="1" latinLnBrk="0" hangingPunct="1">
        <a:defRPr sz="1400" kern="1200">
          <a:solidFill>
            <a:schemeClr val="tx1"/>
          </a:solidFill>
          <a:latin typeface="+mn-lt"/>
          <a:ea typeface="+mn-ea"/>
          <a:cs typeface="+mn-cs"/>
        </a:defRPr>
      </a:lvl1pPr>
      <a:lvl2pPr marL="342881" algn="l" defTabSz="685768" rtl="0" eaLnBrk="1" latinLnBrk="0" hangingPunct="1">
        <a:defRPr sz="1400" kern="1200">
          <a:solidFill>
            <a:schemeClr val="tx1"/>
          </a:solidFill>
          <a:latin typeface="+mn-lt"/>
          <a:ea typeface="+mn-ea"/>
          <a:cs typeface="+mn-cs"/>
        </a:defRPr>
      </a:lvl2pPr>
      <a:lvl3pPr marL="685768" algn="l" defTabSz="685768" rtl="0" eaLnBrk="1" latinLnBrk="0" hangingPunct="1">
        <a:defRPr sz="1400" kern="1200">
          <a:solidFill>
            <a:schemeClr val="tx1"/>
          </a:solidFill>
          <a:latin typeface="+mn-lt"/>
          <a:ea typeface="+mn-ea"/>
          <a:cs typeface="+mn-cs"/>
        </a:defRPr>
      </a:lvl3pPr>
      <a:lvl4pPr marL="1028652" algn="l" defTabSz="685768" rtl="0" eaLnBrk="1" latinLnBrk="0" hangingPunct="1">
        <a:defRPr sz="1400" kern="1200">
          <a:solidFill>
            <a:schemeClr val="tx1"/>
          </a:solidFill>
          <a:latin typeface="+mn-lt"/>
          <a:ea typeface="+mn-ea"/>
          <a:cs typeface="+mn-cs"/>
        </a:defRPr>
      </a:lvl4pPr>
      <a:lvl5pPr marL="1371535" algn="l" defTabSz="685768" rtl="0" eaLnBrk="1" latinLnBrk="0" hangingPunct="1">
        <a:defRPr sz="1400" kern="1200">
          <a:solidFill>
            <a:schemeClr val="tx1"/>
          </a:solidFill>
          <a:latin typeface="+mn-lt"/>
          <a:ea typeface="+mn-ea"/>
          <a:cs typeface="+mn-cs"/>
        </a:defRPr>
      </a:lvl5pPr>
      <a:lvl6pPr marL="1714421" algn="l" defTabSz="685768" rtl="0" eaLnBrk="1" latinLnBrk="0" hangingPunct="1">
        <a:defRPr sz="1400" kern="1200">
          <a:solidFill>
            <a:schemeClr val="tx1"/>
          </a:solidFill>
          <a:latin typeface="+mn-lt"/>
          <a:ea typeface="+mn-ea"/>
          <a:cs typeface="+mn-cs"/>
        </a:defRPr>
      </a:lvl6pPr>
      <a:lvl7pPr marL="2057303" algn="l" defTabSz="685768" rtl="0" eaLnBrk="1" latinLnBrk="0" hangingPunct="1">
        <a:defRPr sz="1400" kern="1200">
          <a:solidFill>
            <a:schemeClr val="tx1"/>
          </a:solidFill>
          <a:latin typeface="+mn-lt"/>
          <a:ea typeface="+mn-ea"/>
          <a:cs typeface="+mn-cs"/>
        </a:defRPr>
      </a:lvl7pPr>
      <a:lvl8pPr marL="2400180" algn="l" defTabSz="685768" rtl="0" eaLnBrk="1" latinLnBrk="0" hangingPunct="1">
        <a:defRPr sz="1400" kern="1200">
          <a:solidFill>
            <a:schemeClr val="tx1"/>
          </a:solidFill>
          <a:latin typeface="+mn-lt"/>
          <a:ea typeface="+mn-ea"/>
          <a:cs typeface="+mn-cs"/>
        </a:defRPr>
      </a:lvl8pPr>
      <a:lvl9pPr marL="2743061" algn="l" defTabSz="685768"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685800"/>
          </a:xfrm>
          <a:prstGeom prst="rect">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400">
              <a:solidFill>
                <a:srgbClr val="FFFFFF"/>
              </a:solidFill>
            </a:endParaRPr>
          </a:p>
        </p:txBody>
      </p:sp>
      <p:sp>
        <p:nvSpPr>
          <p:cNvPr id="2" name="Title Placeholder 1"/>
          <p:cNvSpPr>
            <a:spLocks noGrp="1"/>
          </p:cNvSpPr>
          <p:nvPr>
            <p:ph type="title"/>
          </p:nvPr>
        </p:nvSpPr>
        <p:spPr>
          <a:xfrm>
            <a:off x="171450" y="171450"/>
            <a:ext cx="7943850" cy="342900"/>
          </a:xfrm>
          <a:prstGeom prst="rect">
            <a:avLst/>
          </a:prstGeom>
        </p:spPr>
        <p:txBody>
          <a:bodyPr vert="horz" lIns="68580" tIns="34290" rIns="68580" bIns="34290" rtlCol="0" anchor="ctr">
            <a:normAutofit/>
          </a:bodyPr>
          <a:lstStyle/>
          <a:p>
            <a:r>
              <a:rPr lang="en-GB" dirty="0"/>
              <a:t>Click To Edit Master Title Style</a:t>
            </a:r>
            <a:endParaRPr lang="en-US" dirty="0"/>
          </a:p>
        </p:txBody>
      </p:sp>
      <p:sp>
        <p:nvSpPr>
          <p:cNvPr id="5" name="Footer Placeholder 4"/>
          <p:cNvSpPr>
            <a:spLocks noGrp="1"/>
          </p:cNvSpPr>
          <p:nvPr>
            <p:ph type="ftr" sz="quarter" idx="3"/>
          </p:nvPr>
        </p:nvSpPr>
        <p:spPr>
          <a:xfrm>
            <a:off x="5479676" y="4859673"/>
            <a:ext cx="3086100" cy="112378"/>
          </a:xfrm>
          <a:prstGeom prst="rect">
            <a:avLst/>
          </a:prstGeom>
        </p:spPr>
        <p:txBody>
          <a:bodyPr vert="horz" lIns="68580" tIns="34290" rIns="68580" bIns="34290" rtlCol="0" anchor="ctr"/>
          <a:lstStyle>
            <a:lvl1pPr algn="r">
              <a:defRPr sz="900">
                <a:solidFill>
                  <a:schemeClr val="tx1">
                    <a:tint val="75000"/>
                  </a:schemeClr>
                </a:solidFill>
              </a:defRPr>
            </a:lvl1pPr>
          </a:lstStyle>
          <a:p>
            <a:pPr defTabSz="685800" fontAlgn="auto">
              <a:spcBef>
                <a:spcPts val="0"/>
              </a:spcBef>
              <a:spcAft>
                <a:spcPts val="0"/>
              </a:spcAft>
            </a:pPr>
            <a:endParaRPr lang="en-US">
              <a:solidFill>
                <a:srgbClr val="000000">
                  <a:tint val="75000"/>
                </a:srgbClr>
              </a:solidFill>
              <a:latin typeface="Arial"/>
              <a:cs typeface="+mn-cs"/>
            </a:endParaRPr>
          </a:p>
        </p:txBody>
      </p:sp>
      <p:sp>
        <p:nvSpPr>
          <p:cNvPr id="6" name="Slide Number Placeholder 5"/>
          <p:cNvSpPr>
            <a:spLocks noGrp="1"/>
          </p:cNvSpPr>
          <p:nvPr>
            <p:ph type="sldNum" sz="quarter" idx="4"/>
          </p:nvPr>
        </p:nvSpPr>
        <p:spPr>
          <a:xfrm>
            <a:off x="8687826" y="4862054"/>
            <a:ext cx="372129" cy="109997"/>
          </a:xfrm>
          <a:prstGeom prst="rect">
            <a:avLst/>
          </a:prstGeom>
        </p:spPr>
        <p:txBody>
          <a:bodyPr vert="horz" lIns="68580" tIns="34290" rIns="68580" bIns="34290" rtlCol="0" anchor="ctr"/>
          <a:lstStyle>
            <a:lvl1pPr algn="r">
              <a:defRPr sz="900">
                <a:solidFill>
                  <a:schemeClr val="tx1">
                    <a:tint val="75000"/>
                  </a:schemeClr>
                </a:solidFill>
              </a:defRPr>
            </a:lvl1pPr>
          </a:lstStyle>
          <a:p>
            <a:pPr defTabSz="685800" fontAlgn="auto">
              <a:spcBef>
                <a:spcPts val="0"/>
              </a:spcBef>
              <a:spcAft>
                <a:spcPts val="0"/>
              </a:spcAft>
            </a:pPr>
            <a:fld id="{D842CEBD-3D97-1444-92B6-DB2DBE1B8E7B}" type="slidenum">
              <a:rPr lang="en-US" smtClean="0">
                <a:solidFill>
                  <a:srgbClr val="000000">
                    <a:tint val="75000"/>
                  </a:srgbClr>
                </a:solidFill>
                <a:latin typeface="Arial"/>
                <a:cs typeface="+mn-cs"/>
              </a:rPr>
              <a:pPr defTabSz="685800" fontAlgn="auto">
                <a:spcBef>
                  <a:spcPts val="0"/>
                </a:spcBef>
                <a:spcAft>
                  <a:spcPts val="0"/>
                </a:spcAft>
              </a:pPr>
              <a:t>‹#›</a:t>
            </a:fld>
            <a:endParaRPr lang="en-US">
              <a:solidFill>
                <a:srgbClr val="000000">
                  <a:tint val="75000"/>
                </a:srgbClr>
              </a:solidFill>
              <a:latin typeface="Arial"/>
              <a:cs typeface="+mn-cs"/>
            </a:endParaRPr>
          </a:p>
        </p:txBody>
      </p:sp>
      <p:sp>
        <p:nvSpPr>
          <p:cNvPr id="11" name="Text Placeholder 10"/>
          <p:cNvSpPr>
            <a:spLocks noGrp="1"/>
          </p:cNvSpPr>
          <p:nvPr>
            <p:ph type="body" idx="1"/>
          </p:nvPr>
        </p:nvSpPr>
        <p:spPr>
          <a:xfrm>
            <a:off x="171449" y="942975"/>
            <a:ext cx="8801100" cy="3771900"/>
          </a:xfrm>
          <a:prstGeom prst="rect">
            <a:avLst/>
          </a:prstGeom>
        </p:spPr>
        <p:txBody>
          <a:bodyPr vert="horz" lIns="68580" tIns="34290" rIns="68580" bIns="3429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4" name="Picture 3"/>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8509693" y="49468"/>
            <a:ext cx="550262" cy="579182"/>
          </a:xfrm>
          <a:prstGeom prst="rect">
            <a:avLst/>
          </a:prstGeom>
        </p:spPr>
      </p:pic>
    </p:spTree>
    <p:extLst>
      <p:ext uri="{BB962C8B-B14F-4D97-AF65-F5344CB8AC3E}">
        <p14:creationId xmlns:p14="http://schemas.microsoft.com/office/powerpoint/2010/main" val="684021603"/>
      </p:ext>
    </p:extLst>
  </p:cSld>
  <p:clrMap bg1="lt1" tx1="dk1" bg2="lt2" tx2="dk2" accent1="accent1" accent2="accent2" accent3="accent3" accent4="accent4" accent5="accent5" accent6="accent6" hlink="hlink" folHlink="folHlink"/>
  <p:sldLayoutIdLst>
    <p:sldLayoutId id="2147485857" r:id="rId1"/>
    <p:sldLayoutId id="2147485858" r:id="rId2"/>
    <p:sldLayoutId id="2147485859" r:id="rId3"/>
    <p:sldLayoutId id="2147485860" r:id="rId4"/>
    <p:sldLayoutId id="2147485861" r:id="rId5"/>
    <p:sldLayoutId id="2147485862" r:id="rId6"/>
    <p:sldLayoutId id="2147485863" r:id="rId7"/>
    <p:sldLayoutId id="2147485864" r:id="rId8"/>
    <p:sldLayoutId id="2147485865" r:id="rId9"/>
    <p:sldLayoutId id="2147485866" r:id="rId10"/>
    <p:sldLayoutId id="2147485867" r:id="rId11"/>
    <p:sldLayoutId id="2147485868" r:id="rId12"/>
    <p:sldLayoutId id="2147485869" r:id="rId13"/>
    <p:sldLayoutId id="2147485870" r:id="rId14"/>
    <p:sldLayoutId id="2147485871" r:id="rId15"/>
    <p:sldLayoutId id="2147485872" r:id="rId16"/>
    <p:sldLayoutId id="2147485873" r:id="rId17"/>
    <p:sldLayoutId id="2147485874" r:id="rId18"/>
    <p:sldLayoutId id="2147485875" r:id="rId19"/>
    <p:sldLayoutId id="2147485876" r:id="rId20"/>
    <p:sldLayoutId id="2147485877" r:id="rId21"/>
    <p:sldLayoutId id="2147485878" r:id="rId22"/>
    <p:sldLayoutId id="2147485879" r:id="rId23"/>
    <p:sldLayoutId id="2147485880" r:id="rId24"/>
    <p:sldLayoutId id="2147485881" r:id="rId25"/>
  </p:sldLayoutIdLst>
  <p:hf hdr="0" dt="0"/>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Clr>
          <a:schemeClr val="accent1"/>
        </a:buClr>
        <a:buFont typeface="Wingdings" charset="2"/>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1"/>
        </a:buClr>
        <a:buFont typeface="Wingdings" charset="2"/>
        <a:buChar char="§"/>
        <a:defRPr sz="1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1"/>
        </a:buClr>
        <a:buFont typeface="Wingdings" charset="2"/>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1"/>
        </a:buClr>
        <a:buFont typeface="Wingdings" charset="2"/>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1"/>
        </a:buClr>
        <a:buFont typeface="Wingdings"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1992">
          <p15:clr>
            <a:srgbClr val="F26B43"/>
          </p15:clr>
        </p15:guide>
        <p15:guide id="3" pos="144">
          <p15:clr>
            <a:srgbClr val="F26B43"/>
          </p15:clr>
        </p15:guide>
        <p15:guide id="10" orient="horz">
          <p15:clr>
            <a:srgbClr val="F26B43"/>
          </p15:clr>
        </p15:guide>
        <p15:guide id="12" orient="horz" pos="4320">
          <p15:clr>
            <a:srgbClr val="F26B43"/>
          </p15:clr>
        </p15:guide>
        <p15:guide id="16" pos="7680">
          <p15:clr>
            <a:srgbClr val="F26B43"/>
          </p15:clr>
        </p15:guide>
        <p15:guide id="17" pos="7536">
          <p15:clr>
            <a:srgbClr val="F26B43"/>
          </p15:clr>
        </p15:guide>
        <p15:guide id="23" pos="5688">
          <p15:clr>
            <a:srgbClr val="F26B43"/>
          </p15:clr>
        </p15:guide>
        <p15:guide id="26">
          <p15:clr>
            <a:srgbClr val="F26B43"/>
          </p15:clr>
        </p15:guide>
        <p15:guide id="27" pos="3840">
          <p15:clr>
            <a:srgbClr val="F26B43"/>
          </p15:clr>
        </p15:guide>
        <p15:guide id="30" orient="horz" pos="144">
          <p15:clr>
            <a:srgbClr val="F26B43"/>
          </p15:clr>
        </p15:guide>
        <p15:guide id="32" orient="horz" pos="4176">
          <p15:clr>
            <a:srgbClr val="F26B43"/>
          </p15:clr>
        </p15:guide>
        <p15:guide id="33" orient="horz" pos="2160">
          <p15:clr>
            <a:srgbClr val="F26B43"/>
          </p15:clr>
        </p15:guide>
        <p15:guide id="34" orient="horz" pos="792">
          <p15:clr>
            <a:srgbClr val="F26B43"/>
          </p15:clr>
        </p15:guide>
        <p15:guide id="35" orient="horz" pos="3960">
          <p15:clr>
            <a:srgbClr val="F26B43"/>
          </p15:clr>
        </p15:guide>
        <p15:guide id="36" pos="3696">
          <p15:clr>
            <a:srgbClr val="F26B43"/>
          </p15:clr>
        </p15:guide>
        <p15:guide id="37" pos="39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3562358" y="890588"/>
            <a:ext cx="5324475" cy="60126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itle style</a:t>
            </a:r>
          </a:p>
        </p:txBody>
      </p:sp>
      <p:sp>
        <p:nvSpPr>
          <p:cNvPr id="2051" name="Rectangle 3"/>
          <p:cNvSpPr>
            <a:spLocks noGrp="1" noChangeArrowheads="1"/>
          </p:cNvSpPr>
          <p:nvPr>
            <p:ph type="body" idx="1"/>
          </p:nvPr>
        </p:nvSpPr>
        <p:spPr bwMode="auto">
          <a:xfrm>
            <a:off x="3562358" y="1619255"/>
            <a:ext cx="5324475" cy="27693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2052" name="Picture 9" descr="H:\000 Clients\lambie nairn\O2_white.png"/>
          <p:cNvPicPr>
            <a:picLocks noChangeAspect="1" noChangeArrowheads="1"/>
          </p:cNvPicPr>
          <p:nvPr/>
        </p:nvPicPr>
        <p:blipFill>
          <a:blip r:embed="rId6"/>
          <a:srcRect/>
          <a:stretch>
            <a:fillRect/>
          </a:stretch>
        </p:blipFill>
        <p:spPr bwMode="auto">
          <a:xfrm>
            <a:off x="8418521" y="184548"/>
            <a:ext cx="458787" cy="339328"/>
          </a:xfrm>
          <a:prstGeom prst="rect">
            <a:avLst/>
          </a:prstGeom>
          <a:noFill/>
          <a:ln w="9525">
            <a:noFill/>
            <a:miter lim="800000"/>
            <a:headEnd/>
            <a:tailEnd/>
          </a:ln>
        </p:spPr>
      </p:pic>
      <p:pic>
        <p:nvPicPr>
          <p:cNvPr id="2053" name="Picture 11" descr="Telef?nica_White[1].png"/>
          <p:cNvPicPr>
            <a:picLocks noChangeAspect="1"/>
          </p:cNvPicPr>
          <p:nvPr/>
        </p:nvPicPr>
        <p:blipFill>
          <a:blip r:embed="rId7"/>
          <a:srcRect/>
          <a:stretch>
            <a:fillRect/>
          </a:stretch>
        </p:blipFill>
        <p:spPr bwMode="auto">
          <a:xfrm>
            <a:off x="7591425" y="4712502"/>
            <a:ext cx="1295400" cy="29289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50" r:id="rId1"/>
    <p:sldLayoutId id="2147484351" r:id="rId2"/>
    <p:sldLayoutId id="2147484352" r:id="rId3"/>
  </p:sldLayoutIdLst>
  <p:hf sldNum="0" hdr="0" dt="0"/>
  <p:txStyles>
    <p:titleStyle>
      <a:lvl1pPr algn="l" rtl="0" eaLnBrk="0" fontAlgn="base" hangingPunct="0">
        <a:spcBef>
          <a:spcPct val="0"/>
        </a:spcBef>
        <a:spcAft>
          <a:spcPct val="0"/>
        </a:spcAft>
        <a:defRPr sz="2400" b="1">
          <a:solidFill>
            <a:schemeClr val="bg1"/>
          </a:solidFill>
          <a:latin typeface="+mj-lt"/>
          <a:ea typeface="ＭＳ Ｐゴシック" charset="-128"/>
          <a:cs typeface="ＭＳ Ｐゴシック" charset="-128"/>
        </a:defRPr>
      </a:lvl1pPr>
      <a:lvl2pPr algn="l" rtl="0" eaLnBrk="0" fontAlgn="base" hangingPunct="0">
        <a:spcBef>
          <a:spcPct val="0"/>
        </a:spcBef>
        <a:spcAft>
          <a:spcPct val="0"/>
        </a:spcAft>
        <a:defRPr sz="2400" b="1">
          <a:solidFill>
            <a:schemeClr val="bg1"/>
          </a:solidFill>
          <a:latin typeface="Arial" charset="0"/>
          <a:ea typeface="ＭＳ Ｐゴシック" charset="-128"/>
          <a:cs typeface="ＭＳ Ｐゴシック" charset="-128"/>
        </a:defRPr>
      </a:lvl2pPr>
      <a:lvl3pPr algn="l" rtl="0" eaLnBrk="0" fontAlgn="base" hangingPunct="0">
        <a:spcBef>
          <a:spcPct val="0"/>
        </a:spcBef>
        <a:spcAft>
          <a:spcPct val="0"/>
        </a:spcAft>
        <a:defRPr sz="2400" b="1">
          <a:solidFill>
            <a:schemeClr val="bg1"/>
          </a:solidFill>
          <a:latin typeface="Arial" charset="0"/>
          <a:ea typeface="ＭＳ Ｐゴシック" charset="-128"/>
          <a:cs typeface="ＭＳ Ｐゴシック" charset="-128"/>
        </a:defRPr>
      </a:lvl3pPr>
      <a:lvl4pPr algn="l" rtl="0" eaLnBrk="0" fontAlgn="base" hangingPunct="0">
        <a:spcBef>
          <a:spcPct val="0"/>
        </a:spcBef>
        <a:spcAft>
          <a:spcPct val="0"/>
        </a:spcAft>
        <a:defRPr sz="2400" b="1">
          <a:solidFill>
            <a:schemeClr val="bg1"/>
          </a:solidFill>
          <a:latin typeface="Arial" charset="0"/>
          <a:ea typeface="ＭＳ Ｐゴシック" charset="-128"/>
          <a:cs typeface="ＭＳ Ｐゴシック" charset="-128"/>
        </a:defRPr>
      </a:lvl4pPr>
      <a:lvl5pPr algn="l" rtl="0" eaLnBrk="0" fontAlgn="base" hangingPunct="0">
        <a:spcBef>
          <a:spcPct val="0"/>
        </a:spcBef>
        <a:spcAft>
          <a:spcPct val="0"/>
        </a:spcAft>
        <a:defRPr sz="2400" b="1">
          <a:solidFill>
            <a:schemeClr val="bg1"/>
          </a:solidFill>
          <a:latin typeface="Arial" charset="0"/>
          <a:ea typeface="ＭＳ Ｐゴシック" charset="-128"/>
          <a:cs typeface="ＭＳ Ｐゴシック" charset="-128"/>
        </a:defRPr>
      </a:lvl5pPr>
      <a:lvl6pPr marL="456269" algn="l" rtl="0" fontAlgn="base">
        <a:spcBef>
          <a:spcPct val="0"/>
        </a:spcBef>
        <a:spcAft>
          <a:spcPct val="0"/>
        </a:spcAft>
        <a:defRPr sz="2400" b="1">
          <a:solidFill>
            <a:schemeClr val="bg1"/>
          </a:solidFill>
          <a:latin typeface="Arial" charset="0"/>
        </a:defRPr>
      </a:lvl6pPr>
      <a:lvl7pPr marL="912644" algn="l" rtl="0" fontAlgn="base">
        <a:spcBef>
          <a:spcPct val="0"/>
        </a:spcBef>
        <a:spcAft>
          <a:spcPct val="0"/>
        </a:spcAft>
        <a:defRPr sz="2400" b="1">
          <a:solidFill>
            <a:schemeClr val="bg1"/>
          </a:solidFill>
          <a:latin typeface="Arial" charset="0"/>
        </a:defRPr>
      </a:lvl7pPr>
      <a:lvl8pPr marL="1368948" algn="l" rtl="0" fontAlgn="base">
        <a:spcBef>
          <a:spcPct val="0"/>
        </a:spcBef>
        <a:spcAft>
          <a:spcPct val="0"/>
        </a:spcAft>
        <a:defRPr sz="2400" b="1">
          <a:solidFill>
            <a:schemeClr val="bg1"/>
          </a:solidFill>
          <a:latin typeface="Arial" charset="0"/>
        </a:defRPr>
      </a:lvl8pPr>
      <a:lvl9pPr marL="1825286" algn="l" rtl="0" fontAlgn="base">
        <a:spcBef>
          <a:spcPct val="0"/>
        </a:spcBef>
        <a:spcAft>
          <a:spcPct val="0"/>
        </a:spcAft>
        <a:defRPr sz="2400" b="1">
          <a:solidFill>
            <a:schemeClr val="bg1"/>
          </a:solidFill>
          <a:latin typeface="Arial" charset="0"/>
        </a:defRPr>
      </a:lvl9pPr>
    </p:titleStyle>
    <p:bodyStyle>
      <a:lvl1pPr marL="304216" indent="-304216" algn="l" rtl="0" eaLnBrk="0" fontAlgn="base" hangingPunct="0">
        <a:spcBef>
          <a:spcPts val="900"/>
        </a:spcBef>
        <a:spcAft>
          <a:spcPts val="300"/>
        </a:spcAft>
        <a:buAutoNum type="arabicPeriod"/>
        <a:defRPr sz="1600">
          <a:solidFill>
            <a:schemeClr val="bg1"/>
          </a:solidFill>
          <a:latin typeface="+mn-lt"/>
          <a:ea typeface="ＭＳ Ｐゴシック" charset="-128"/>
          <a:cs typeface="ＭＳ Ｐゴシック" charset="-128"/>
        </a:defRPr>
      </a:lvl1pPr>
      <a:lvl2pPr marL="766868" indent="-342200" algn="l" rtl="0" eaLnBrk="0" fontAlgn="base" hangingPunct="0">
        <a:spcBef>
          <a:spcPct val="20000"/>
        </a:spcBef>
        <a:spcAft>
          <a:spcPct val="0"/>
        </a:spcAft>
        <a:buFont typeface="Arial" pitchFamily="34" charset="0"/>
        <a:buAutoNum type="alphaLcPeriod"/>
        <a:defRPr sz="1600">
          <a:solidFill>
            <a:schemeClr val="bg1"/>
          </a:solidFill>
          <a:latin typeface="+mn-lt"/>
          <a:ea typeface="ＭＳ Ｐゴシック" charset="-128"/>
        </a:defRPr>
      </a:lvl2pPr>
      <a:lvl3pPr marL="860375" indent="-304216" algn="l" rtl="0" eaLnBrk="0" fontAlgn="base" hangingPunct="0">
        <a:spcBef>
          <a:spcPct val="20000"/>
        </a:spcBef>
        <a:spcAft>
          <a:spcPct val="0"/>
        </a:spcAft>
        <a:buChar char="•"/>
        <a:defRPr sz="1600">
          <a:solidFill>
            <a:schemeClr val="bg1"/>
          </a:solidFill>
          <a:latin typeface="+mn-lt"/>
          <a:ea typeface="ヒラギノ角ゴ Pro W3" charset="-128"/>
          <a:cs typeface="ヒラギノ角ゴ Pro W3" charset="-128"/>
        </a:defRPr>
      </a:lvl3pPr>
      <a:lvl4pPr marL="999763" indent="-304216" algn="l" rtl="0" eaLnBrk="0" fontAlgn="base" hangingPunct="0">
        <a:spcBef>
          <a:spcPct val="20000"/>
        </a:spcBef>
        <a:spcAft>
          <a:spcPct val="0"/>
        </a:spcAft>
        <a:buChar char="–"/>
        <a:defRPr sz="1600">
          <a:solidFill>
            <a:schemeClr val="bg1"/>
          </a:solidFill>
          <a:latin typeface="+mn-lt"/>
          <a:ea typeface="ヒラギノ角ゴ Pro W3" charset="-128"/>
        </a:defRPr>
      </a:lvl4pPr>
      <a:lvl5pPr marL="1186698" indent="-304216" algn="l" rtl="0" eaLnBrk="0" fontAlgn="base" hangingPunct="0">
        <a:spcBef>
          <a:spcPct val="20000"/>
        </a:spcBef>
        <a:spcAft>
          <a:spcPct val="0"/>
        </a:spcAft>
        <a:buChar char="»"/>
        <a:defRPr sz="1600">
          <a:solidFill>
            <a:schemeClr val="bg1"/>
          </a:solidFill>
          <a:latin typeface="+mn-lt"/>
          <a:ea typeface="ヒラギノ角ゴ Pro W3" charset="-128"/>
        </a:defRPr>
      </a:lvl5pPr>
      <a:lvl6pPr marL="1643040" indent="-304216" algn="l" rtl="0" fontAlgn="base">
        <a:spcBef>
          <a:spcPct val="20000"/>
        </a:spcBef>
        <a:spcAft>
          <a:spcPct val="0"/>
        </a:spcAft>
        <a:buChar char="»"/>
        <a:defRPr sz="1600">
          <a:solidFill>
            <a:schemeClr val="bg1"/>
          </a:solidFill>
          <a:latin typeface="+mn-lt"/>
          <a:ea typeface="ＭＳ Ｐゴシック" charset="-128"/>
        </a:defRPr>
      </a:lvl6pPr>
      <a:lvl7pPr marL="2099344" indent="-304216" algn="l" rtl="0" fontAlgn="base">
        <a:spcBef>
          <a:spcPct val="20000"/>
        </a:spcBef>
        <a:spcAft>
          <a:spcPct val="0"/>
        </a:spcAft>
        <a:buChar char="»"/>
        <a:defRPr sz="1600">
          <a:solidFill>
            <a:schemeClr val="bg1"/>
          </a:solidFill>
          <a:latin typeface="+mn-lt"/>
          <a:ea typeface="ＭＳ Ｐゴシック" charset="-128"/>
        </a:defRPr>
      </a:lvl7pPr>
      <a:lvl8pPr marL="2555646" indent="-304216" algn="l" rtl="0" fontAlgn="base">
        <a:spcBef>
          <a:spcPct val="20000"/>
        </a:spcBef>
        <a:spcAft>
          <a:spcPct val="0"/>
        </a:spcAft>
        <a:buChar char="»"/>
        <a:defRPr sz="1600">
          <a:solidFill>
            <a:schemeClr val="bg1"/>
          </a:solidFill>
          <a:latin typeface="+mn-lt"/>
          <a:ea typeface="ＭＳ Ｐゴシック" charset="-128"/>
        </a:defRPr>
      </a:lvl8pPr>
      <a:lvl9pPr marL="3011987" indent="-304216" algn="l" rtl="0" fontAlgn="base">
        <a:spcBef>
          <a:spcPct val="20000"/>
        </a:spcBef>
        <a:spcAft>
          <a:spcPct val="0"/>
        </a:spcAft>
        <a:buChar char="»"/>
        <a:defRPr sz="1600">
          <a:solidFill>
            <a:schemeClr val="bg1"/>
          </a:solidFill>
          <a:latin typeface="+mn-lt"/>
          <a:ea typeface="ＭＳ Ｐゴシック" charset="-128"/>
        </a:defRPr>
      </a:lvl9pPr>
    </p:bodyStyle>
    <p:otherStyle>
      <a:defPPr>
        <a:defRPr lang="en-US"/>
      </a:defPPr>
      <a:lvl1pPr marL="0" algn="l" defTabSz="456269" rtl="0" eaLnBrk="1" latinLnBrk="0" hangingPunct="1">
        <a:defRPr sz="1800" kern="1200">
          <a:solidFill>
            <a:schemeClr val="tx1"/>
          </a:solidFill>
          <a:latin typeface="+mn-lt"/>
          <a:ea typeface="+mn-ea"/>
          <a:cs typeface="+mn-cs"/>
        </a:defRPr>
      </a:lvl1pPr>
      <a:lvl2pPr marL="456269" algn="l" defTabSz="456269" rtl="0" eaLnBrk="1" latinLnBrk="0" hangingPunct="1">
        <a:defRPr sz="1800" kern="1200">
          <a:solidFill>
            <a:schemeClr val="tx1"/>
          </a:solidFill>
          <a:latin typeface="+mn-lt"/>
          <a:ea typeface="+mn-ea"/>
          <a:cs typeface="+mn-cs"/>
        </a:defRPr>
      </a:lvl2pPr>
      <a:lvl3pPr marL="912644" algn="l" defTabSz="456269" rtl="0" eaLnBrk="1" latinLnBrk="0" hangingPunct="1">
        <a:defRPr sz="1800" kern="1200">
          <a:solidFill>
            <a:schemeClr val="tx1"/>
          </a:solidFill>
          <a:latin typeface="+mn-lt"/>
          <a:ea typeface="+mn-ea"/>
          <a:cs typeface="+mn-cs"/>
        </a:defRPr>
      </a:lvl3pPr>
      <a:lvl4pPr marL="1368948" algn="l" defTabSz="456269" rtl="0" eaLnBrk="1" latinLnBrk="0" hangingPunct="1">
        <a:defRPr sz="1800" kern="1200">
          <a:solidFill>
            <a:schemeClr val="tx1"/>
          </a:solidFill>
          <a:latin typeface="+mn-lt"/>
          <a:ea typeface="+mn-ea"/>
          <a:cs typeface="+mn-cs"/>
        </a:defRPr>
      </a:lvl4pPr>
      <a:lvl5pPr marL="1825286" algn="l" defTabSz="456269" rtl="0" eaLnBrk="1" latinLnBrk="0" hangingPunct="1">
        <a:defRPr sz="1800" kern="1200">
          <a:solidFill>
            <a:schemeClr val="tx1"/>
          </a:solidFill>
          <a:latin typeface="+mn-lt"/>
          <a:ea typeface="+mn-ea"/>
          <a:cs typeface="+mn-cs"/>
        </a:defRPr>
      </a:lvl5pPr>
      <a:lvl6pPr marL="2281554" algn="l" defTabSz="456269" rtl="0" eaLnBrk="1" latinLnBrk="0" hangingPunct="1">
        <a:defRPr sz="1800" kern="1200">
          <a:solidFill>
            <a:schemeClr val="tx1"/>
          </a:solidFill>
          <a:latin typeface="+mn-lt"/>
          <a:ea typeface="+mn-ea"/>
          <a:cs typeface="+mn-cs"/>
        </a:defRPr>
      </a:lvl6pPr>
      <a:lvl7pPr marL="2737820" algn="l" defTabSz="456269" rtl="0" eaLnBrk="1" latinLnBrk="0" hangingPunct="1">
        <a:defRPr sz="1800" kern="1200">
          <a:solidFill>
            <a:schemeClr val="tx1"/>
          </a:solidFill>
          <a:latin typeface="+mn-lt"/>
          <a:ea typeface="+mn-ea"/>
          <a:cs typeface="+mn-cs"/>
        </a:defRPr>
      </a:lvl7pPr>
      <a:lvl8pPr marL="3194165" algn="l" defTabSz="456269" rtl="0" eaLnBrk="1" latinLnBrk="0" hangingPunct="1">
        <a:defRPr sz="1800" kern="1200">
          <a:solidFill>
            <a:schemeClr val="tx1"/>
          </a:solidFill>
          <a:latin typeface="+mn-lt"/>
          <a:ea typeface="+mn-ea"/>
          <a:cs typeface="+mn-cs"/>
        </a:defRPr>
      </a:lvl8pPr>
      <a:lvl9pPr marL="3650488" algn="l" defTabSz="45626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Title"/>
          <p:cNvSpPr>
            <a:spLocks noGrp="1" noChangeArrowheads="1"/>
          </p:cNvSpPr>
          <p:nvPr>
            <p:ph type="title"/>
          </p:nvPr>
        </p:nvSpPr>
        <p:spPr bwMode="auto">
          <a:xfrm>
            <a:off x="349304" y="205984"/>
            <a:ext cx="8397875" cy="534368"/>
          </a:xfrm>
          <a:prstGeom prst="rect">
            <a:avLst/>
          </a:prstGeom>
          <a:noFill/>
          <a:ln w="9525">
            <a:noFill/>
            <a:miter lim="800000"/>
            <a:headEnd/>
            <a:tailEnd/>
          </a:ln>
        </p:spPr>
        <p:txBody>
          <a:bodyPr vert="horz" wrap="square" lIns="0" tIns="35922" rIns="35922" bIns="35922" numCol="1" anchor="t" anchorCtr="0" compatLnSpc="1">
            <a:prstTxWarp prst="textNoShape">
              <a:avLst/>
            </a:prstTxWarp>
            <a:spAutoFit/>
          </a:bodyPr>
          <a:lstStyle/>
          <a:p>
            <a:pPr lvl="0"/>
            <a:r>
              <a:rPr lang="en-US"/>
              <a:t>Click to edit Master title style</a:t>
            </a:r>
            <a:endParaRPr lang="en-GB"/>
          </a:p>
        </p:txBody>
      </p:sp>
      <p:sp>
        <p:nvSpPr>
          <p:cNvPr id="3075" name="BodyText"/>
          <p:cNvSpPr>
            <a:spLocks noGrp="1" noChangeArrowheads="1"/>
          </p:cNvSpPr>
          <p:nvPr>
            <p:ph type="body" idx="1"/>
          </p:nvPr>
        </p:nvSpPr>
        <p:spPr bwMode="auto">
          <a:xfrm>
            <a:off x="349304" y="1032278"/>
            <a:ext cx="8397875" cy="3459956"/>
          </a:xfrm>
          <a:prstGeom prst="rect">
            <a:avLst/>
          </a:prstGeom>
          <a:noFill/>
          <a:ln w="9525">
            <a:noFill/>
            <a:miter lim="800000"/>
            <a:headEnd/>
            <a:tailEnd/>
          </a:ln>
        </p:spPr>
        <p:txBody>
          <a:bodyPr vert="horz" wrap="square" lIns="0" tIns="0" rIns="91284" bIns="4564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44804" name="Rectangle 4"/>
          <p:cNvSpPr>
            <a:spLocks noGrp="1" noChangeArrowheads="1"/>
          </p:cNvSpPr>
          <p:nvPr>
            <p:ph type="sldNum" sz="quarter" idx="4"/>
          </p:nvPr>
        </p:nvSpPr>
        <p:spPr bwMode="auto">
          <a:xfrm>
            <a:off x="4354551" y="4858942"/>
            <a:ext cx="434975" cy="213122"/>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ctr" eaLnBrk="0" hangingPunct="0">
              <a:defRPr sz="1100" b="0">
                <a:solidFill>
                  <a:srgbClr val="003F52"/>
                </a:solidFill>
                <a:latin typeface="+mn-lt"/>
                <a:ea typeface="ＭＳ Ｐゴシック" charset="-128"/>
              </a:defRPr>
            </a:lvl1pPr>
          </a:lstStyle>
          <a:p>
            <a:pPr>
              <a:defRPr/>
            </a:pPr>
            <a:fld id="{A3ACDD3C-DCC1-4120-A162-BE4EC7436D30}" type="slidenum">
              <a:rPr lang="es-ES"/>
              <a:pPr>
                <a:defRPr/>
              </a:pPr>
              <a:t>‹#›</a:t>
            </a:fld>
            <a:endParaRPr lang="es-ES" dirty="0"/>
          </a:p>
        </p:txBody>
      </p:sp>
      <p:sp>
        <p:nvSpPr>
          <p:cNvPr id="3077" name="Line 17"/>
          <p:cNvSpPr>
            <a:spLocks noChangeShapeType="1"/>
          </p:cNvSpPr>
          <p:nvPr/>
        </p:nvSpPr>
        <p:spPr bwMode="auto">
          <a:xfrm>
            <a:off x="0" y="4786313"/>
            <a:ext cx="9144000" cy="0"/>
          </a:xfrm>
          <a:prstGeom prst="line">
            <a:avLst/>
          </a:prstGeom>
          <a:noFill/>
          <a:ln w="9525">
            <a:solidFill>
              <a:schemeClr val="accent1"/>
            </a:solidFill>
            <a:round/>
            <a:headEnd/>
            <a:tailEnd/>
          </a:ln>
        </p:spPr>
        <p:txBody>
          <a:bodyPr wrap="none" lIns="0" tIns="0" rIns="0" bIns="0" anchor="ctr"/>
          <a:lstStyle/>
          <a:p>
            <a:endParaRPr lang="en-GB"/>
          </a:p>
        </p:txBody>
      </p:sp>
      <p:pic>
        <p:nvPicPr>
          <p:cNvPr id="3078" name="Imagen 6" descr="TFN_Logo Port_Azul.png"/>
          <p:cNvPicPr>
            <a:picLocks noChangeAspect="1"/>
          </p:cNvPicPr>
          <p:nvPr/>
        </p:nvPicPr>
        <p:blipFill>
          <a:blip r:embed="rId9"/>
          <a:srcRect/>
          <a:stretch>
            <a:fillRect/>
          </a:stretch>
        </p:blipFill>
        <p:spPr bwMode="auto">
          <a:xfrm>
            <a:off x="7899407" y="4882840"/>
            <a:ext cx="847725" cy="173831"/>
          </a:xfrm>
          <a:prstGeom prst="rect">
            <a:avLst/>
          </a:prstGeom>
          <a:noFill/>
          <a:ln w="9525">
            <a:noFill/>
            <a:miter lim="800000"/>
            <a:headEnd/>
            <a:tailEnd/>
          </a:ln>
        </p:spPr>
      </p:pic>
      <p:sp>
        <p:nvSpPr>
          <p:cNvPr id="8" name="Footer Placeholder 7"/>
          <p:cNvSpPr>
            <a:spLocks noGrp="1"/>
          </p:cNvSpPr>
          <p:nvPr>
            <p:ph type="ftr" sz="quarter" idx="3"/>
          </p:nvPr>
        </p:nvSpPr>
        <p:spPr>
          <a:xfrm>
            <a:off x="349251" y="4823550"/>
            <a:ext cx="3784600" cy="283906"/>
          </a:xfrm>
          <a:prstGeom prst="rect">
            <a:avLst/>
          </a:prstGeom>
          <a:noFill/>
          <a:ln w="9525">
            <a:noFill/>
            <a:miter lim="800000"/>
            <a:headEnd/>
            <a:tailEnd/>
          </a:ln>
        </p:spPr>
        <p:txBody>
          <a:bodyPr wrap="square" lIns="0" tIns="71882" rIns="71882" bIns="71882" anchor="ctr" anchorCtr="0">
            <a:spAutoFit/>
          </a:bodyPr>
          <a:lstStyle>
            <a:lvl1pPr algn="l" defTabSz="456269" rtl="0" eaLnBrk="1" fontAlgn="base" hangingPunct="1">
              <a:lnSpc>
                <a:spcPct val="90000"/>
              </a:lnSpc>
              <a:spcBef>
                <a:spcPct val="0"/>
              </a:spcBef>
              <a:spcAft>
                <a:spcPct val="0"/>
              </a:spcAft>
              <a:defRPr lang="en-GB" sz="1000" b="0" kern="1200">
                <a:solidFill>
                  <a:srgbClr val="003F52"/>
                </a:solidFill>
                <a:latin typeface="Arial" charset="0"/>
                <a:ea typeface="+mn-ea"/>
                <a:cs typeface="+mn-cs"/>
              </a:defRPr>
            </a:lvl1pPr>
          </a:lstStyle>
          <a:p>
            <a:pPr>
              <a:defRPr/>
            </a:pPr>
            <a:endParaRPr/>
          </a:p>
        </p:txBody>
      </p:sp>
    </p:spTree>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Lst>
  <p:transition/>
  <p:hf hdr="0" dt="0"/>
  <p:txStyles>
    <p:titleStyle>
      <a:lvl1pPr algn="l" defTabSz="456269" rtl="0" eaLnBrk="0" fontAlgn="base" hangingPunct="0">
        <a:spcBef>
          <a:spcPct val="0"/>
        </a:spcBef>
        <a:spcAft>
          <a:spcPct val="0"/>
        </a:spcAft>
        <a:defRPr sz="3000">
          <a:solidFill>
            <a:srgbClr val="61B8CD"/>
          </a:solidFill>
          <a:latin typeface="Arial" pitchFamily="34" charset="0"/>
          <a:ea typeface="+mj-ea"/>
          <a:cs typeface="+mj-cs"/>
        </a:defRPr>
      </a:lvl1pPr>
      <a:lvl2pPr algn="l" defTabSz="456269" rtl="0" eaLnBrk="0" fontAlgn="base" hangingPunct="0">
        <a:spcBef>
          <a:spcPct val="0"/>
        </a:spcBef>
        <a:spcAft>
          <a:spcPct val="0"/>
        </a:spcAft>
        <a:defRPr sz="3000">
          <a:solidFill>
            <a:srgbClr val="61B8CD"/>
          </a:solidFill>
          <a:latin typeface="Arial" pitchFamily="34" charset="0"/>
          <a:ea typeface="Arial Unicode MS" charset="0"/>
          <a:cs typeface="Arial Unicode MS" charset="0"/>
        </a:defRPr>
      </a:lvl2pPr>
      <a:lvl3pPr algn="l" defTabSz="456269" rtl="0" eaLnBrk="0" fontAlgn="base" hangingPunct="0">
        <a:spcBef>
          <a:spcPct val="0"/>
        </a:spcBef>
        <a:spcAft>
          <a:spcPct val="0"/>
        </a:spcAft>
        <a:defRPr sz="3000">
          <a:solidFill>
            <a:srgbClr val="61B8CD"/>
          </a:solidFill>
          <a:latin typeface="Arial" pitchFamily="34" charset="0"/>
          <a:ea typeface="Arial Unicode MS" charset="0"/>
          <a:cs typeface="Arial Unicode MS" charset="0"/>
        </a:defRPr>
      </a:lvl3pPr>
      <a:lvl4pPr algn="l" defTabSz="456269" rtl="0" eaLnBrk="0" fontAlgn="base" hangingPunct="0">
        <a:spcBef>
          <a:spcPct val="0"/>
        </a:spcBef>
        <a:spcAft>
          <a:spcPct val="0"/>
        </a:spcAft>
        <a:defRPr sz="3000">
          <a:solidFill>
            <a:srgbClr val="61B8CD"/>
          </a:solidFill>
          <a:latin typeface="Arial" pitchFamily="34" charset="0"/>
          <a:ea typeface="Arial Unicode MS" charset="0"/>
          <a:cs typeface="Arial Unicode MS" charset="0"/>
        </a:defRPr>
      </a:lvl4pPr>
      <a:lvl5pPr algn="l" defTabSz="456269" rtl="0" eaLnBrk="0" fontAlgn="base" hangingPunct="0">
        <a:spcBef>
          <a:spcPct val="0"/>
        </a:spcBef>
        <a:spcAft>
          <a:spcPct val="0"/>
        </a:spcAft>
        <a:defRPr sz="3000">
          <a:solidFill>
            <a:srgbClr val="61B8CD"/>
          </a:solidFill>
          <a:latin typeface="Arial" pitchFamily="34" charset="0"/>
          <a:ea typeface="Arial Unicode MS" charset="0"/>
          <a:cs typeface="Arial Unicode MS" charset="0"/>
        </a:defRPr>
      </a:lvl5pPr>
      <a:lvl6pPr marL="456269" algn="l" defTabSz="456269" rtl="0" fontAlgn="base">
        <a:spcBef>
          <a:spcPct val="0"/>
        </a:spcBef>
        <a:spcAft>
          <a:spcPct val="0"/>
        </a:spcAft>
        <a:defRPr sz="3000" b="1">
          <a:solidFill>
            <a:srgbClr val="61B8CD"/>
          </a:solidFill>
          <a:latin typeface="Telefonica Headline Light" charset="0"/>
          <a:ea typeface="Arial Unicode MS" charset="0"/>
          <a:cs typeface="Arial Unicode MS" charset="0"/>
        </a:defRPr>
      </a:lvl6pPr>
      <a:lvl7pPr marL="912644" algn="l" defTabSz="456269" rtl="0" fontAlgn="base">
        <a:spcBef>
          <a:spcPct val="0"/>
        </a:spcBef>
        <a:spcAft>
          <a:spcPct val="0"/>
        </a:spcAft>
        <a:defRPr sz="3000" b="1">
          <a:solidFill>
            <a:srgbClr val="61B8CD"/>
          </a:solidFill>
          <a:latin typeface="Telefonica Headline Light" charset="0"/>
          <a:ea typeface="Arial Unicode MS" charset="0"/>
          <a:cs typeface="Arial Unicode MS" charset="0"/>
        </a:defRPr>
      </a:lvl7pPr>
      <a:lvl8pPr marL="1368948" algn="l" defTabSz="456269" rtl="0" fontAlgn="base">
        <a:spcBef>
          <a:spcPct val="0"/>
        </a:spcBef>
        <a:spcAft>
          <a:spcPct val="0"/>
        </a:spcAft>
        <a:defRPr sz="3000" b="1">
          <a:solidFill>
            <a:srgbClr val="61B8CD"/>
          </a:solidFill>
          <a:latin typeface="Telefonica Headline Light" charset="0"/>
          <a:ea typeface="Arial Unicode MS" charset="0"/>
          <a:cs typeface="Arial Unicode MS" charset="0"/>
        </a:defRPr>
      </a:lvl8pPr>
      <a:lvl9pPr marL="1825286" algn="l" defTabSz="456269" rtl="0" fontAlgn="base">
        <a:spcBef>
          <a:spcPct val="0"/>
        </a:spcBef>
        <a:spcAft>
          <a:spcPct val="0"/>
        </a:spcAft>
        <a:defRPr sz="3000" b="1">
          <a:solidFill>
            <a:srgbClr val="61B8CD"/>
          </a:solidFill>
          <a:latin typeface="Telefonica Headline Light" charset="0"/>
          <a:ea typeface="Arial Unicode MS" charset="0"/>
          <a:cs typeface="Arial Unicode MS" charset="0"/>
        </a:defRPr>
      </a:lvl9pPr>
    </p:titleStyle>
    <p:bodyStyle>
      <a:lvl1pPr marL="269402" indent="-269402" algn="just" defTabSz="456269" rtl="0" eaLnBrk="0" fontAlgn="base" hangingPunct="0">
        <a:spcBef>
          <a:spcPct val="0"/>
        </a:spcBef>
        <a:spcAft>
          <a:spcPts val="600"/>
        </a:spcAft>
        <a:buClr>
          <a:srgbClr val="65C3D4"/>
        </a:buClr>
        <a:buSzPct val="150000"/>
        <a:buFont typeface="Wingdings" pitchFamily="2" charset="2"/>
        <a:buChar char="§"/>
        <a:defRPr sz="2400">
          <a:solidFill>
            <a:schemeClr val="tx1"/>
          </a:solidFill>
          <a:latin typeface="+mn-lt"/>
          <a:ea typeface="+mn-ea"/>
          <a:cs typeface="+mn-cs"/>
        </a:defRPr>
      </a:lvl1pPr>
      <a:lvl2pPr marL="629063" indent="-269402" algn="just" defTabSz="456269" rtl="0" eaLnBrk="0" fontAlgn="base" hangingPunct="0">
        <a:spcBef>
          <a:spcPct val="0"/>
        </a:spcBef>
        <a:spcAft>
          <a:spcPts val="600"/>
        </a:spcAft>
        <a:buSzPct val="150000"/>
        <a:buChar char="•"/>
        <a:defRPr sz="2000">
          <a:solidFill>
            <a:schemeClr val="tx1"/>
          </a:solidFill>
          <a:latin typeface="+mn-lt"/>
          <a:ea typeface="+mn-ea"/>
        </a:defRPr>
      </a:lvl2pPr>
      <a:lvl3pPr marL="898358" indent="-180625" algn="just" defTabSz="456269" rtl="0" eaLnBrk="0" fontAlgn="base" hangingPunct="0">
        <a:spcBef>
          <a:spcPct val="0"/>
        </a:spcBef>
        <a:spcAft>
          <a:spcPts val="600"/>
        </a:spcAft>
        <a:buSzPct val="150000"/>
        <a:buFont typeface="Lucida Grande"/>
        <a:buChar char="›"/>
        <a:defRPr>
          <a:solidFill>
            <a:schemeClr val="tx1"/>
          </a:solidFill>
          <a:latin typeface="+mn-lt"/>
          <a:ea typeface="+mn-ea"/>
        </a:defRPr>
      </a:lvl3pPr>
      <a:lvl4pPr marL="1167726" indent="-180625" algn="just" defTabSz="456269" rtl="0" eaLnBrk="0" fontAlgn="base" hangingPunct="0">
        <a:spcBef>
          <a:spcPct val="0"/>
        </a:spcBef>
        <a:spcAft>
          <a:spcPts val="600"/>
        </a:spcAft>
        <a:buSzPct val="150000"/>
        <a:buFont typeface="Lucida Grande"/>
        <a:buChar char="›"/>
        <a:defRPr>
          <a:solidFill>
            <a:schemeClr val="tx1"/>
          </a:solidFill>
          <a:latin typeface="+mn-lt"/>
          <a:ea typeface="+mn-ea"/>
        </a:defRPr>
      </a:lvl4pPr>
      <a:lvl5pPr marL="1435467" indent="-179038" algn="just" defTabSz="456269" rtl="0" eaLnBrk="0" fontAlgn="base" hangingPunct="0">
        <a:spcBef>
          <a:spcPct val="0"/>
        </a:spcBef>
        <a:spcAft>
          <a:spcPts val="600"/>
        </a:spcAft>
        <a:buSzPct val="150000"/>
        <a:buFont typeface="Lucida Grande"/>
        <a:buChar char="›"/>
        <a:defRPr>
          <a:solidFill>
            <a:schemeClr val="tx1"/>
          </a:solidFill>
          <a:latin typeface="+mn-lt"/>
          <a:ea typeface="+mn-ea"/>
        </a:defRPr>
      </a:lvl5pPr>
      <a:lvl6pPr marL="2067707" indent="-177449" algn="just" defTabSz="456269" rtl="0" fontAlgn="base">
        <a:spcBef>
          <a:spcPct val="0"/>
        </a:spcBef>
        <a:spcAft>
          <a:spcPts val="600"/>
        </a:spcAft>
        <a:buSzPct val="150000"/>
        <a:buFont typeface="Lucida Grande" charset="0"/>
        <a:buChar char="›"/>
        <a:defRPr sz="1200">
          <a:solidFill>
            <a:schemeClr val="tx1"/>
          </a:solidFill>
          <a:latin typeface="+mn-lt"/>
          <a:ea typeface="+mn-ea"/>
        </a:defRPr>
      </a:lvl6pPr>
      <a:lvl7pPr marL="2523974" indent="-177449" algn="just" defTabSz="456269" rtl="0" fontAlgn="base">
        <a:spcBef>
          <a:spcPct val="0"/>
        </a:spcBef>
        <a:spcAft>
          <a:spcPts val="600"/>
        </a:spcAft>
        <a:buSzPct val="150000"/>
        <a:buFont typeface="Lucida Grande" charset="0"/>
        <a:buChar char="›"/>
        <a:defRPr sz="1200">
          <a:solidFill>
            <a:schemeClr val="tx1"/>
          </a:solidFill>
          <a:latin typeface="+mn-lt"/>
          <a:ea typeface="+mn-ea"/>
        </a:defRPr>
      </a:lvl7pPr>
      <a:lvl8pPr marL="2980238" indent="-177449" algn="just" defTabSz="456269" rtl="0" fontAlgn="base">
        <a:spcBef>
          <a:spcPct val="0"/>
        </a:spcBef>
        <a:spcAft>
          <a:spcPts val="600"/>
        </a:spcAft>
        <a:buSzPct val="150000"/>
        <a:buFont typeface="Lucida Grande" charset="0"/>
        <a:buChar char="›"/>
        <a:defRPr sz="1200">
          <a:solidFill>
            <a:schemeClr val="tx1"/>
          </a:solidFill>
          <a:latin typeface="+mn-lt"/>
          <a:ea typeface="+mn-ea"/>
        </a:defRPr>
      </a:lvl8pPr>
      <a:lvl9pPr marL="3436580" indent="-177449" algn="just" defTabSz="456269" rtl="0" fontAlgn="base">
        <a:spcBef>
          <a:spcPct val="0"/>
        </a:spcBef>
        <a:spcAft>
          <a:spcPts val="600"/>
        </a:spcAft>
        <a:buSzPct val="150000"/>
        <a:buFont typeface="Lucida Grande" charset="0"/>
        <a:buChar char="›"/>
        <a:defRPr sz="1200">
          <a:solidFill>
            <a:schemeClr val="tx1"/>
          </a:solidFill>
          <a:latin typeface="+mn-lt"/>
          <a:ea typeface="+mn-ea"/>
        </a:defRPr>
      </a:lvl9pPr>
    </p:bodyStyle>
    <p:otherStyle>
      <a:defPPr>
        <a:defRPr lang="en-US"/>
      </a:defPPr>
      <a:lvl1pPr marL="0" algn="l" defTabSz="456269" rtl="0" eaLnBrk="1" latinLnBrk="0" hangingPunct="1">
        <a:defRPr sz="1800" kern="1200">
          <a:solidFill>
            <a:schemeClr val="tx1"/>
          </a:solidFill>
          <a:latin typeface="+mn-lt"/>
          <a:ea typeface="+mn-ea"/>
          <a:cs typeface="+mn-cs"/>
        </a:defRPr>
      </a:lvl1pPr>
      <a:lvl2pPr marL="456269" algn="l" defTabSz="456269" rtl="0" eaLnBrk="1" latinLnBrk="0" hangingPunct="1">
        <a:defRPr sz="1800" kern="1200">
          <a:solidFill>
            <a:schemeClr val="tx1"/>
          </a:solidFill>
          <a:latin typeface="+mn-lt"/>
          <a:ea typeface="+mn-ea"/>
          <a:cs typeface="+mn-cs"/>
        </a:defRPr>
      </a:lvl2pPr>
      <a:lvl3pPr marL="912644" algn="l" defTabSz="456269" rtl="0" eaLnBrk="1" latinLnBrk="0" hangingPunct="1">
        <a:defRPr sz="1800" kern="1200">
          <a:solidFill>
            <a:schemeClr val="tx1"/>
          </a:solidFill>
          <a:latin typeface="+mn-lt"/>
          <a:ea typeface="+mn-ea"/>
          <a:cs typeface="+mn-cs"/>
        </a:defRPr>
      </a:lvl3pPr>
      <a:lvl4pPr marL="1368948" algn="l" defTabSz="456269" rtl="0" eaLnBrk="1" latinLnBrk="0" hangingPunct="1">
        <a:defRPr sz="1800" kern="1200">
          <a:solidFill>
            <a:schemeClr val="tx1"/>
          </a:solidFill>
          <a:latin typeface="+mn-lt"/>
          <a:ea typeface="+mn-ea"/>
          <a:cs typeface="+mn-cs"/>
        </a:defRPr>
      </a:lvl4pPr>
      <a:lvl5pPr marL="1825286" algn="l" defTabSz="456269" rtl="0" eaLnBrk="1" latinLnBrk="0" hangingPunct="1">
        <a:defRPr sz="1800" kern="1200">
          <a:solidFill>
            <a:schemeClr val="tx1"/>
          </a:solidFill>
          <a:latin typeface="+mn-lt"/>
          <a:ea typeface="+mn-ea"/>
          <a:cs typeface="+mn-cs"/>
        </a:defRPr>
      </a:lvl5pPr>
      <a:lvl6pPr marL="2281554" algn="l" defTabSz="456269" rtl="0" eaLnBrk="1" latinLnBrk="0" hangingPunct="1">
        <a:defRPr sz="1800" kern="1200">
          <a:solidFill>
            <a:schemeClr val="tx1"/>
          </a:solidFill>
          <a:latin typeface="+mn-lt"/>
          <a:ea typeface="+mn-ea"/>
          <a:cs typeface="+mn-cs"/>
        </a:defRPr>
      </a:lvl6pPr>
      <a:lvl7pPr marL="2737820" algn="l" defTabSz="456269" rtl="0" eaLnBrk="1" latinLnBrk="0" hangingPunct="1">
        <a:defRPr sz="1800" kern="1200">
          <a:solidFill>
            <a:schemeClr val="tx1"/>
          </a:solidFill>
          <a:latin typeface="+mn-lt"/>
          <a:ea typeface="+mn-ea"/>
          <a:cs typeface="+mn-cs"/>
        </a:defRPr>
      </a:lvl7pPr>
      <a:lvl8pPr marL="3194165" algn="l" defTabSz="456269" rtl="0" eaLnBrk="1" latinLnBrk="0" hangingPunct="1">
        <a:defRPr sz="1800" kern="1200">
          <a:solidFill>
            <a:schemeClr val="tx1"/>
          </a:solidFill>
          <a:latin typeface="+mn-lt"/>
          <a:ea typeface="+mn-ea"/>
          <a:cs typeface="+mn-cs"/>
        </a:defRPr>
      </a:lvl8pPr>
      <a:lvl9pPr marL="3650488" algn="l" defTabSz="456269"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Title"/>
          <p:cNvSpPr>
            <a:spLocks noGrp="1" noChangeArrowheads="1"/>
          </p:cNvSpPr>
          <p:nvPr>
            <p:ph type="title"/>
          </p:nvPr>
        </p:nvSpPr>
        <p:spPr bwMode="auto">
          <a:xfrm>
            <a:off x="349304" y="205984"/>
            <a:ext cx="8397875" cy="534368"/>
          </a:xfrm>
          <a:prstGeom prst="rect">
            <a:avLst/>
          </a:prstGeom>
          <a:noFill/>
          <a:ln w="9525">
            <a:noFill/>
            <a:miter lim="800000"/>
            <a:headEnd/>
            <a:tailEnd/>
          </a:ln>
        </p:spPr>
        <p:txBody>
          <a:bodyPr vert="horz" wrap="square" lIns="0" tIns="35922" rIns="35922" bIns="35922" numCol="1" anchor="t" anchorCtr="0" compatLnSpc="1">
            <a:prstTxWarp prst="textNoShape">
              <a:avLst/>
            </a:prstTxWarp>
            <a:spAutoFit/>
          </a:bodyPr>
          <a:lstStyle/>
          <a:p>
            <a:pPr lvl="0"/>
            <a:r>
              <a:rPr lang="en-GB"/>
              <a:t>Haga clic para cambiar el estilo de título	</a:t>
            </a:r>
          </a:p>
        </p:txBody>
      </p:sp>
      <p:sp>
        <p:nvSpPr>
          <p:cNvPr id="5123" name="BodyText"/>
          <p:cNvSpPr>
            <a:spLocks noGrp="1" noChangeArrowheads="1"/>
          </p:cNvSpPr>
          <p:nvPr>
            <p:ph type="body" idx="1"/>
          </p:nvPr>
        </p:nvSpPr>
        <p:spPr bwMode="auto">
          <a:xfrm>
            <a:off x="349304" y="1032278"/>
            <a:ext cx="8397875" cy="3459956"/>
          </a:xfrm>
          <a:prstGeom prst="rect">
            <a:avLst/>
          </a:prstGeom>
          <a:noFill/>
          <a:ln w="9525">
            <a:noFill/>
            <a:miter lim="800000"/>
            <a:headEnd/>
            <a:tailEnd/>
          </a:ln>
        </p:spPr>
        <p:txBody>
          <a:bodyPr vert="horz" wrap="square" lIns="0" tIns="0" rIns="91284" bIns="45642" numCol="1" anchor="t" anchorCtr="0" compatLnSpc="1">
            <a:prstTxWarp prst="textNoShape">
              <a:avLst/>
            </a:prstTxWarp>
          </a:bodyPr>
          <a:lstStyle/>
          <a:p>
            <a:pPr lvl="0"/>
            <a:r>
              <a:rPr lang="en-GB"/>
              <a:t>Haga clic para modificar el estilo de texto del patrón</a:t>
            </a:r>
          </a:p>
          <a:p>
            <a:pPr lvl="1"/>
            <a:r>
              <a:rPr lang="en-GB"/>
              <a:t>Segundo nivel</a:t>
            </a:r>
          </a:p>
          <a:p>
            <a:pPr lvl="2"/>
            <a:r>
              <a:rPr lang="en-GB"/>
              <a:t>Tercer nivel</a:t>
            </a:r>
          </a:p>
          <a:p>
            <a:pPr lvl="3"/>
            <a:r>
              <a:rPr lang="en-GB"/>
              <a:t>Cuarto nivel</a:t>
            </a:r>
          </a:p>
          <a:p>
            <a:pPr lvl="4"/>
            <a:r>
              <a:rPr lang="en-GB"/>
              <a:t>Quinto nivel</a:t>
            </a:r>
          </a:p>
        </p:txBody>
      </p:sp>
      <p:sp>
        <p:nvSpPr>
          <p:cNvPr id="844804" name="Rectangle 4"/>
          <p:cNvSpPr>
            <a:spLocks noGrp="1" noChangeArrowheads="1"/>
          </p:cNvSpPr>
          <p:nvPr>
            <p:ph type="sldNum" sz="quarter" idx="4"/>
          </p:nvPr>
        </p:nvSpPr>
        <p:spPr bwMode="auto">
          <a:xfrm>
            <a:off x="4354551" y="4858942"/>
            <a:ext cx="434975" cy="213122"/>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ctr" eaLnBrk="0" hangingPunct="0">
              <a:defRPr sz="1100" b="0">
                <a:solidFill>
                  <a:srgbClr val="003F52"/>
                </a:solidFill>
                <a:latin typeface="+mn-lt"/>
                <a:ea typeface="ＭＳ Ｐゴシック" charset="-128"/>
              </a:defRPr>
            </a:lvl1pPr>
          </a:lstStyle>
          <a:p>
            <a:pPr>
              <a:defRPr/>
            </a:pPr>
            <a:fld id="{7452EF10-B7F2-49E5-A7D2-46E94912073D}" type="slidenum">
              <a:rPr lang="es-ES"/>
              <a:pPr>
                <a:defRPr/>
              </a:pPr>
              <a:t>‹#›</a:t>
            </a:fld>
            <a:endParaRPr lang="es-ES" dirty="0"/>
          </a:p>
        </p:txBody>
      </p:sp>
      <p:sp>
        <p:nvSpPr>
          <p:cNvPr id="5125" name="Line 17"/>
          <p:cNvSpPr>
            <a:spLocks noChangeShapeType="1"/>
          </p:cNvSpPr>
          <p:nvPr/>
        </p:nvSpPr>
        <p:spPr bwMode="auto">
          <a:xfrm>
            <a:off x="0" y="4786313"/>
            <a:ext cx="9144000" cy="0"/>
          </a:xfrm>
          <a:prstGeom prst="line">
            <a:avLst/>
          </a:prstGeom>
          <a:noFill/>
          <a:ln w="9525">
            <a:solidFill>
              <a:schemeClr val="accent1"/>
            </a:solidFill>
            <a:round/>
            <a:headEnd/>
            <a:tailEnd/>
          </a:ln>
        </p:spPr>
        <p:txBody>
          <a:bodyPr wrap="none" lIns="0" tIns="0" rIns="0" bIns="0" anchor="ctr"/>
          <a:lstStyle/>
          <a:p>
            <a:endParaRPr lang="en-GB"/>
          </a:p>
        </p:txBody>
      </p:sp>
      <p:pic>
        <p:nvPicPr>
          <p:cNvPr id="5126" name="Imagen 6" descr="TFN_Logo Port_Azul.png"/>
          <p:cNvPicPr>
            <a:picLocks noChangeAspect="1"/>
          </p:cNvPicPr>
          <p:nvPr/>
        </p:nvPicPr>
        <p:blipFill>
          <a:blip r:embed="rId9"/>
          <a:srcRect/>
          <a:stretch>
            <a:fillRect/>
          </a:stretch>
        </p:blipFill>
        <p:spPr bwMode="auto">
          <a:xfrm>
            <a:off x="7899407" y="4882840"/>
            <a:ext cx="847725" cy="173831"/>
          </a:xfrm>
          <a:prstGeom prst="rect">
            <a:avLst/>
          </a:prstGeom>
          <a:noFill/>
          <a:ln w="9525">
            <a:noFill/>
            <a:miter lim="800000"/>
            <a:headEnd/>
            <a:tailEnd/>
          </a:ln>
        </p:spPr>
      </p:pic>
      <p:sp>
        <p:nvSpPr>
          <p:cNvPr id="8" name="Footer Placeholder 7"/>
          <p:cNvSpPr>
            <a:spLocks noGrp="1"/>
          </p:cNvSpPr>
          <p:nvPr>
            <p:ph type="ftr" sz="quarter" idx="3"/>
          </p:nvPr>
        </p:nvSpPr>
        <p:spPr>
          <a:xfrm>
            <a:off x="349251" y="4823550"/>
            <a:ext cx="3784600" cy="283906"/>
          </a:xfrm>
          <a:prstGeom prst="rect">
            <a:avLst/>
          </a:prstGeom>
          <a:noFill/>
          <a:ln w="9525">
            <a:noFill/>
            <a:miter lim="800000"/>
            <a:headEnd/>
            <a:tailEnd/>
          </a:ln>
        </p:spPr>
        <p:txBody>
          <a:bodyPr wrap="square" lIns="0" tIns="71882" rIns="71882" bIns="71882" anchor="ctr" anchorCtr="0">
            <a:spAutoFit/>
          </a:bodyPr>
          <a:lstStyle>
            <a:lvl1pPr algn="l" defTabSz="456269" rtl="0" eaLnBrk="1" fontAlgn="base" hangingPunct="1">
              <a:lnSpc>
                <a:spcPct val="90000"/>
              </a:lnSpc>
              <a:spcBef>
                <a:spcPct val="0"/>
              </a:spcBef>
              <a:spcAft>
                <a:spcPct val="0"/>
              </a:spcAft>
              <a:defRPr lang="en-GB" sz="1000" b="0" kern="1200">
                <a:solidFill>
                  <a:srgbClr val="003F52"/>
                </a:solidFill>
                <a:latin typeface="Arial" charset="0"/>
                <a:ea typeface="+mn-ea"/>
                <a:cs typeface="+mn-cs"/>
              </a:defRPr>
            </a:lvl1pPr>
          </a:lstStyle>
          <a:p>
            <a:pPr>
              <a:defRPr/>
            </a:pPr>
            <a:endParaRPr/>
          </a:p>
        </p:txBody>
      </p:sp>
    </p:spTree>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Lst>
  <p:transition/>
  <p:hf hdr="0" dt="0"/>
  <p:txStyles>
    <p:titleStyle>
      <a:lvl1pPr algn="l" defTabSz="456269" rtl="0" eaLnBrk="0" fontAlgn="base" hangingPunct="0">
        <a:spcBef>
          <a:spcPct val="0"/>
        </a:spcBef>
        <a:spcAft>
          <a:spcPct val="0"/>
        </a:spcAft>
        <a:defRPr sz="3000">
          <a:solidFill>
            <a:srgbClr val="61B8CD"/>
          </a:solidFill>
          <a:latin typeface="+mj-lt"/>
          <a:ea typeface="+mj-ea"/>
          <a:cs typeface="+mj-cs"/>
        </a:defRPr>
      </a:lvl1pPr>
      <a:lvl2pPr algn="l" defTabSz="456269" rtl="0" eaLnBrk="0" fontAlgn="base" hangingPunct="0">
        <a:spcBef>
          <a:spcPct val="0"/>
        </a:spcBef>
        <a:spcAft>
          <a:spcPct val="0"/>
        </a:spcAft>
        <a:defRPr sz="3000">
          <a:solidFill>
            <a:srgbClr val="61B8CD"/>
          </a:solidFill>
          <a:latin typeface="Telefonica Headline Light" charset="0"/>
          <a:ea typeface="Arial Unicode MS" charset="0"/>
          <a:cs typeface="Arial Unicode MS" charset="0"/>
        </a:defRPr>
      </a:lvl2pPr>
      <a:lvl3pPr algn="l" defTabSz="456269" rtl="0" eaLnBrk="0" fontAlgn="base" hangingPunct="0">
        <a:spcBef>
          <a:spcPct val="0"/>
        </a:spcBef>
        <a:spcAft>
          <a:spcPct val="0"/>
        </a:spcAft>
        <a:defRPr sz="3000">
          <a:solidFill>
            <a:srgbClr val="61B8CD"/>
          </a:solidFill>
          <a:latin typeface="Telefonica Headline Light" charset="0"/>
          <a:ea typeface="Arial Unicode MS" charset="0"/>
          <a:cs typeface="Arial Unicode MS" charset="0"/>
        </a:defRPr>
      </a:lvl3pPr>
      <a:lvl4pPr algn="l" defTabSz="456269" rtl="0" eaLnBrk="0" fontAlgn="base" hangingPunct="0">
        <a:spcBef>
          <a:spcPct val="0"/>
        </a:spcBef>
        <a:spcAft>
          <a:spcPct val="0"/>
        </a:spcAft>
        <a:defRPr sz="3000">
          <a:solidFill>
            <a:srgbClr val="61B8CD"/>
          </a:solidFill>
          <a:latin typeface="Telefonica Headline Light" charset="0"/>
          <a:ea typeface="Arial Unicode MS" charset="0"/>
          <a:cs typeface="Arial Unicode MS" charset="0"/>
        </a:defRPr>
      </a:lvl4pPr>
      <a:lvl5pPr algn="l" defTabSz="456269" rtl="0" eaLnBrk="0" fontAlgn="base" hangingPunct="0">
        <a:spcBef>
          <a:spcPct val="0"/>
        </a:spcBef>
        <a:spcAft>
          <a:spcPct val="0"/>
        </a:spcAft>
        <a:defRPr sz="3000">
          <a:solidFill>
            <a:srgbClr val="61B8CD"/>
          </a:solidFill>
          <a:latin typeface="Telefonica Headline Light" charset="0"/>
          <a:ea typeface="Arial Unicode MS" charset="0"/>
          <a:cs typeface="Arial Unicode MS" charset="0"/>
        </a:defRPr>
      </a:lvl5pPr>
      <a:lvl6pPr marL="456269" algn="l" defTabSz="456269" rtl="0" fontAlgn="base">
        <a:spcBef>
          <a:spcPct val="0"/>
        </a:spcBef>
        <a:spcAft>
          <a:spcPct val="0"/>
        </a:spcAft>
        <a:defRPr sz="3000" b="1">
          <a:solidFill>
            <a:srgbClr val="61B8CD"/>
          </a:solidFill>
          <a:latin typeface="Telefonica Headline Light" charset="0"/>
          <a:ea typeface="Arial Unicode MS" charset="0"/>
          <a:cs typeface="Arial Unicode MS" charset="0"/>
        </a:defRPr>
      </a:lvl6pPr>
      <a:lvl7pPr marL="912644" algn="l" defTabSz="456269" rtl="0" fontAlgn="base">
        <a:spcBef>
          <a:spcPct val="0"/>
        </a:spcBef>
        <a:spcAft>
          <a:spcPct val="0"/>
        </a:spcAft>
        <a:defRPr sz="3000" b="1">
          <a:solidFill>
            <a:srgbClr val="61B8CD"/>
          </a:solidFill>
          <a:latin typeface="Telefonica Headline Light" charset="0"/>
          <a:ea typeface="Arial Unicode MS" charset="0"/>
          <a:cs typeface="Arial Unicode MS" charset="0"/>
        </a:defRPr>
      </a:lvl7pPr>
      <a:lvl8pPr marL="1368948" algn="l" defTabSz="456269" rtl="0" fontAlgn="base">
        <a:spcBef>
          <a:spcPct val="0"/>
        </a:spcBef>
        <a:spcAft>
          <a:spcPct val="0"/>
        </a:spcAft>
        <a:defRPr sz="3000" b="1">
          <a:solidFill>
            <a:srgbClr val="61B8CD"/>
          </a:solidFill>
          <a:latin typeface="Telefonica Headline Light" charset="0"/>
          <a:ea typeface="Arial Unicode MS" charset="0"/>
          <a:cs typeface="Arial Unicode MS" charset="0"/>
        </a:defRPr>
      </a:lvl8pPr>
      <a:lvl9pPr marL="1825286" algn="l" defTabSz="456269" rtl="0" fontAlgn="base">
        <a:spcBef>
          <a:spcPct val="0"/>
        </a:spcBef>
        <a:spcAft>
          <a:spcPct val="0"/>
        </a:spcAft>
        <a:defRPr sz="3000" b="1">
          <a:solidFill>
            <a:srgbClr val="61B8CD"/>
          </a:solidFill>
          <a:latin typeface="Telefonica Headline Light" charset="0"/>
          <a:ea typeface="Arial Unicode MS" charset="0"/>
          <a:cs typeface="Arial Unicode MS" charset="0"/>
        </a:defRPr>
      </a:lvl9pPr>
    </p:titleStyle>
    <p:bodyStyle>
      <a:lvl1pPr marL="269402" indent="-269402" algn="just" defTabSz="456269" rtl="0" eaLnBrk="0" fontAlgn="base" hangingPunct="0">
        <a:spcBef>
          <a:spcPct val="0"/>
        </a:spcBef>
        <a:spcAft>
          <a:spcPts val="600"/>
        </a:spcAft>
        <a:buClr>
          <a:srgbClr val="65C3D4"/>
        </a:buClr>
        <a:buSzPct val="150000"/>
        <a:buFont typeface="Wingdings" pitchFamily="2" charset="2"/>
        <a:buChar char="§"/>
        <a:defRPr sz="2400">
          <a:solidFill>
            <a:schemeClr val="tx1"/>
          </a:solidFill>
          <a:latin typeface="+mn-lt"/>
          <a:ea typeface="+mn-ea"/>
          <a:cs typeface="+mn-cs"/>
        </a:defRPr>
      </a:lvl1pPr>
      <a:lvl2pPr marL="629063" indent="-269402" algn="just" defTabSz="456269" rtl="0" eaLnBrk="0" fontAlgn="base" hangingPunct="0">
        <a:spcBef>
          <a:spcPct val="0"/>
        </a:spcBef>
        <a:spcAft>
          <a:spcPts val="600"/>
        </a:spcAft>
        <a:buSzPct val="150000"/>
        <a:buChar char="•"/>
        <a:defRPr sz="2000">
          <a:solidFill>
            <a:schemeClr val="tx1"/>
          </a:solidFill>
          <a:latin typeface="+mn-lt"/>
          <a:ea typeface="+mn-ea"/>
        </a:defRPr>
      </a:lvl2pPr>
      <a:lvl3pPr marL="898358" indent="-180625" algn="just" defTabSz="456269" rtl="0" eaLnBrk="0" fontAlgn="base" hangingPunct="0">
        <a:spcBef>
          <a:spcPct val="0"/>
        </a:spcBef>
        <a:spcAft>
          <a:spcPts val="600"/>
        </a:spcAft>
        <a:buSzPct val="150000"/>
        <a:buFont typeface="Lucida Grande"/>
        <a:buChar char="›"/>
        <a:defRPr>
          <a:solidFill>
            <a:schemeClr val="tx1"/>
          </a:solidFill>
          <a:latin typeface="+mn-lt"/>
          <a:ea typeface="+mn-ea"/>
        </a:defRPr>
      </a:lvl3pPr>
      <a:lvl4pPr marL="1167726" indent="-180625" algn="just" defTabSz="456269" rtl="0" eaLnBrk="0" fontAlgn="base" hangingPunct="0">
        <a:spcBef>
          <a:spcPct val="0"/>
        </a:spcBef>
        <a:spcAft>
          <a:spcPts val="600"/>
        </a:spcAft>
        <a:buSzPct val="150000"/>
        <a:buFont typeface="Lucida Grande"/>
        <a:buChar char="›"/>
        <a:defRPr>
          <a:solidFill>
            <a:schemeClr val="tx1"/>
          </a:solidFill>
          <a:latin typeface="+mn-lt"/>
          <a:ea typeface="+mn-ea"/>
        </a:defRPr>
      </a:lvl4pPr>
      <a:lvl5pPr marL="1435467" indent="-179038" algn="just" defTabSz="456269" rtl="0" eaLnBrk="0" fontAlgn="base" hangingPunct="0">
        <a:spcBef>
          <a:spcPct val="0"/>
        </a:spcBef>
        <a:spcAft>
          <a:spcPts val="600"/>
        </a:spcAft>
        <a:buSzPct val="150000"/>
        <a:buFont typeface="Lucida Grande"/>
        <a:buChar char="›"/>
        <a:defRPr>
          <a:solidFill>
            <a:schemeClr val="tx1"/>
          </a:solidFill>
          <a:latin typeface="+mn-lt"/>
          <a:ea typeface="+mn-ea"/>
        </a:defRPr>
      </a:lvl5pPr>
      <a:lvl6pPr marL="2067707" indent="-177449" algn="just" defTabSz="456269" rtl="0" fontAlgn="base">
        <a:spcBef>
          <a:spcPct val="0"/>
        </a:spcBef>
        <a:spcAft>
          <a:spcPts val="600"/>
        </a:spcAft>
        <a:buSzPct val="150000"/>
        <a:buFont typeface="Lucida Grande" charset="0"/>
        <a:buChar char="›"/>
        <a:defRPr sz="1200">
          <a:solidFill>
            <a:schemeClr val="tx1"/>
          </a:solidFill>
          <a:latin typeface="+mn-lt"/>
          <a:ea typeface="+mn-ea"/>
        </a:defRPr>
      </a:lvl6pPr>
      <a:lvl7pPr marL="2523974" indent="-177449" algn="just" defTabSz="456269" rtl="0" fontAlgn="base">
        <a:spcBef>
          <a:spcPct val="0"/>
        </a:spcBef>
        <a:spcAft>
          <a:spcPts val="600"/>
        </a:spcAft>
        <a:buSzPct val="150000"/>
        <a:buFont typeface="Lucida Grande" charset="0"/>
        <a:buChar char="›"/>
        <a:defRPr sz="1200">
          <a:solidFill>
            <a:schemeClr val="tx1"/>
          </a:solidFill>
          <a:latin typeface="+mn-lt"/>
          <a:ea typeface="+mn-ea"/>
        </a:defRPr>
      </a:lvl7pPr>
      <a:lvl8pPr marL="2980238" indent="-177449" algn="just" defTabSz="456269" rtl="0" fontAlgn="base">
        <a:spcBef>
          <a:spcPct val="0"/>
        </a:spcBef>
        <a:spcAft>
          <a:spcPts val="600"/>
        </a:spcAft>
        <a:buSzPct val="150000"/>
        <a:buFont typeface="Lucida Grande" charset="0"/>
        <a:buChar char="›"/>
        <a:defRPr sz="1200">
          <a:solidFill>
            <a:schemeClr val="tx1"/>
          </a:solidFill>
          <a:latin typeface="+mn-lt"/>
          <a:ea typeface="+mn-ea"/>
        </a:defRPr>
      </a:lvl8pPr>
      <a:lvl9pPr marL="3436580" indent="-177449" algn="just" defTabSz="456269" rtl="0" fontAlgn="base">
        <a:spcBef>
          <a:spcPct val="0"/>
        </a:spcBef>
        <a:spcAft>
          <a:spcPts val="600"/>
        </a:spcAft>
        <a:buSzPct val="150000"/>
        <a:buFont typeface="Lucida Grande" charset="0"/>
        <a:buChar char="›"/>
        <a:defRPr sz="1200">
          <a:solidFill>
            <a:schemeClr val="tx1"/>
          </a:solidFill>
          <a:latin typeface="+mn-lt"/>
          <a:ea typeface="+mn-ea"/>
        </a:defRPr>
      </a:lvl9pPr>
    </p:bodyStyle>
    <p:otherStyle>
      <a:defPPr>
        <a:defRPr lang="en-US"/>
      </a:defPPr>
      <a:lvl1pPr marL="0" algn="l" defTabSz="456269" rtl="0" eaLnBrk="1" latinLnBrk="0" hangingPunct="1">
        <a:defRPr sz="1800" kern="1200">
          <a:solidFill>
            <a:schemeClr val="tx1"/>
          </a:solidFill>
          <a:latin typeface="+mn-lt"/>
          <a:ea typeface="+mn-ea"/>
          <a:cs typeface="+mn-cs"/>
        </a:defRPr>
      </a:lvl1pPr>
      <a:lvl2pPr marL="456269" algn="l" defTabSz="456269" rtl="0" eaLnBrk="1" latinLnBrk="0" hangingPunct="1">
        <a:defRPr sz="1800" kern="1200">
          <a:solidFill>
            <a:schemeClr val="tx1"/>
          </a:solidFill>
          <a:latin typeface="+mn-lt"/>
          <a:ea typeface="+mn-ea"/>
          <a:cs typeface="+mn-cs"/>
        </a:defRPr>
      </a:lvl2pPr>
      <a:lvl3pPr marL="912644" algn="l" defTabSz="456269" rtl="0" eaLnBrk="1" latinLnBrk="0" hangingPunct="1">
        <a:defRPr sz="1800" kern="1200">
          <a:solidFill>
            <a:schemeClr val="tx1"/>
          </a:solidFill>
          <a:latin typeface="+mn-lt"/>
          <a:ea typeface="+mn-ea"/>
          <a:cs typeface="+mn-cs"/>
        </a:defRPr>
      </a:lvl3pPr>
      <a:lvl4pPr marL="1368948" algn="l" defTabSz="456269" rtl="0" eaLnBrk="1" latinLnBrk="0" hangingPunct="1">
        <a:defRPr sz="1800" kern="1200">
          <a:solidFill>
            <a:schemeClr val="tx1"/>
          </a:solidFill>
          <a:latin typeface="+mn-lt"/>
          <a:ea typeface="+mn-ea"/>
          <a:cs typeface="+mn-cs"/>
        </a:defRPr>
      </a:lvl4pPr>
      <a:lvl5pPr marL="1825286" algn="l" defTabSz="456269" rtl="0" eaLnBrk="1" latinLnBrk="0" hangingPunct="1">
        <a:defRPr sz="1800" kern="1200">
          <a:solidFill>
            <a:schemeClr val="tx1"/>
          </a:solidFill>
          <a:latin typeface="+mn-lt"/>
          <a:ea typeface="+mn-ea"/>
          <a:cs typeface="+mn-cs"/>
        </a:defRPr>
      </a:lvl5pPr>
      <a:lvl6pPr marL="2281554" algn="l" defTabSz="456269" rtl="0" eaLnBrk="1" latinLnBrk="0" hangingPunct="1">
        <a:defRPr sz="1800" kern="1200">
          <a:solidFill>
            <a:schemeClr val="tx1"/>
          </a:solidFill>
          <a:latin typeface="+mn-lt"/>
          <a:ea typeface="+mn-ea"/>
          <a:cs typeface="+mn-cs"/>
        </a:defRPr>
      </a:lvl6pPr>
      <a:lvl7pPr marL="2737820" algn="l" defTabSz="456269" rtl="0" eaLnBrk="1" latinLnBrk="0" hangingPunct="1">
        <a:defRPr sz="1800" kern="1200">
          <a:solidFill>
            <a:schemeClr val="tx1"/>
          </a:solidFill>
          <a:latin typeface="+mn-lt"/>
          <a:ea typeface="+mn-ea"/>
          <a:cs typeface="+mn-cs"/>
        </a:defRPr>
      </a:lvl7pPr>
      <a:lvl8pPr marL="3194165" algn="l" defTabSz="456269" rtl="0" eaLnBrk="1" latinLnBrk="0" hangingPunct="1">
        <a:defRPr sz="1800" kern="1200">
          <a:solidFill>
            <a:schemeClr val="tx1"/>
          </a:solidFill>
          <a:latin typeface="+mn-lt"/>
          <a:ea typeface="+mn-ea"/>
          <a:cs typeface="+mn-cs"/>
        </a:defRPr>
      </a:lvl8pPr>
      <a:lvl9pPr marL="3650488" algn="l" defTabSz="45626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88.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4" name="Group 13"/>
          <p:cNvGrpSpPr/>
          <p:nvPr/>
        </p:nvGrpSpPr>
        <p:grpSpPr>
          <a:xfrm>
            <a:off x="128422" y="115479"/>
            <a:ext cx="4804464" cy="4728186"/>
            <a:chOff x="2860723" y="617065"/>
            <a:chExt cx="6249812" cy="6150587"/>
          </a:xfrm>
        </p:grpSpPr>
        <p:grpSp>
          <p:nvGrpSpPr>
            <p:cNvPr id="46" name="Group 45"/>
            <p:cNvGrpSpPr/>
            <p:nvPr/>
          </p:nvGrpSpPr>
          <p:grpSpPr>
            <a:xfrm>
              <a:off x="3352488" y="1027120"/>
              <a:ext cx="5176728" cy="5244714"/>
              <a:chOff x="4577226" y="1482842"/>
              <a:chExt cx="4309785" cy="4366388"/>
            </a:xfrm>
          </p:grpSpPr>
          <p:sp>
            <p:nvSpPr>
              <p:cNvPr id="47" name="Freeform 46"/>
              <p:cNvSpPr/>
              <p:nvPr/>
            </p:nvSpPr>
            <p:spPr>
              <a:xfrm rot="16763522">
                <a:off x="5199064" y="1693213"/>
                <a:ext cx="1946265" cy="1525524"/>
              </a:xfrm>
              <a:custGeom>
                <a:avLst/>
                <a:gdLst>
                  <a:gd name="connsiteX0" fmla="*/ 1946265 w 1946265"/>
                  <a:gd name="connsiteY0" fmla="*/ 1203600 h 1525524"/>
                  <a:gd name="connsiteX1" fmla="*/ 0 w 1946265"/>
                  <a:gd name="connsiteY1" fmla="*/ 1525524 h 1525524"/>
                  <a:gd name="connsiteX2" fmla="*/ 1279645 w 1946265"/>
                  <a:gd name="connsiteY2" fmla="*/ 0 h 1525524"/>
                  <a:gd name="connsiteX3" fmla="*/ 1400526 w 1946265"/>
                  <a:gd name="connsiteY3" fmla="*/ 115998 h 1525524"/>
                  <a:gd name="connsiteX4" fmla="*/ 1905076 w 1946265"/>
                  <a:gd name="connsiteY4" fmla="*/ 1014419 h 1525524"/>
                  <a:gd name="connsiteX5" fmla="*/ 1946265 w 1946265"/>
                  <a:gd name="connsiteY5" fmla="*/ 1203600 h 152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265" h="1525524">
                    <a:moveTo>
                      <a:pt x="1946265" y="1203600"/>
                    </a:moveTo>
                    <a:lnTo>
                      <a:pt x="0" y="1525524"/>
                    </a:lnTo>
                    <a:lnTo>
                      <a:pt x="1279645" y="0"/>
                    </a:lnTo>
                    <a:lnTo>
                      <a:pt x="1400526" y="115998"/>
                    </a:lnTo>
                    <a:cubicBezTo>
                      <a:pt x="1634513" y="363136"/>
                      <a:pt x="1811207" y="668703"/>
                      <a:pt x="1905076" y="1014419"/>
                    </a:cubicBezTo>
                    <a:lnTo>
                      <a:pt x="1946265" y="1203600"/>
                    </a:lnTo>
                    <a:close/>
                  </a:path>
                </a:pathLst>
              </a:custGeom>
              <a:solidFill>
                <a:srgbClr val="A02BC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800">
                  <a:solidFill>
                    <a:srgbClr val="FFFFFF"/>
                  </a:solidFill>
                </a:endParaRPr>
              </a:p>
            </p:txBody>
          </p:sp>
          <p:sp>
            <p:nvSpPr>
              <p:cNvPr id="48" name="Freeform 47"/>
              <p:cNvSpPr/>
              <p:nvPr/>
            </p:nvSpPr>
            <p:spPr>
              <a:xfrm rot="16763522">
                <a:off x="6341280" y="1960849"/>
                <a:ext cx="1965065" cy="1332375"/>
              </a:xfrm>
              <a:custGeom>
                <a:avLst/>
                <a:gdLst>
                  <a:gd name="connsiteX0" fmla="*/ 1943772 w 1965065"/>
                  <a:gd name="connsiteY0" fmla="*/ 0 h 1332375"/>
                  <a:gd name="connsiteX1" fmla="*/ 1960892 w 1965065"/>
                  <a:gd name="connsiteY1" fmla="*/ 150230 h 1332375"/>
                  <a:gd name="connsiteX2" fmla="*/ 1772508 w 1965065"/>
                  <a:gd name="connsiteY2" fmla="*/ 1163266 h 1332375"/>
                  <a:gd name="connsiteX3" fmla="*/ 1684862 w 1965065"/>
                  <a:gd name="connsiteY3" fmla="*/ 1332375 h 1332375"/>
                  <a:gd name="connsiteX4" fmla="*/ 0 w 1965065"/>
                  <a:gd name="connsiteY4" fmla="*/ 321511 h 1332375"/>
                  <a:gd name="connsiteX5" fmla="*/ 1943772 w 1965065"/>
                  <a:gd name="connsiteY5" fmla="*/ 0 h 133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065" h="1332375">
                    <a:moveTo>
                      <a:pt x="1943772" y="0"/>
                    </a:moveTo>
                    <a:lnTo>
                      <a:pt x="1960892" y="150230"/>
                    </a:lnTo>
                    <a:cubicBezTo>
                      <a:pt x="1983343" y="507759"/>
                      <a:pt x="1914454" y="853947"/>
                      <a:pt x="1772508" y="1163266"/>
                    </a:cubicBezTo>
                    <a:lnTo>
                      <a:pt x="1684862" y="1332375"/>
                    </a:lnTo>
                    <a:lnTo>
                      <a:pt x="0" y="321511"/>
                    </a:lnTo>
                    <a:lnTo>
                      <a:pt x="1943772" y="0"/>
                    </a:lnTo>
                    <a:close/>
                  </a:path>
                </a:pathLst>
              </a:custGeom>
              <a:solidFill>
                <a:srgbClr val="E625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800">
                  <a:solidFill>
                    <a:srgbClr val="FFFFFF"/>
                  </a:solidFill>
                </a:endParaRPr>
              </a:p>
            </p:txBody>
          </p:sp>
          <p:sp>
            <p:nvSpPr>
              <p:cNvPr id="49" name="Freeform 48"/>
              <p:cNvSpPr/>
              <p:nvPr/>
            </p:nvSpPr>
            <p:spPr>
              <a:xfrm rot="16763522">
                <a:off x="5168703" y="1795239"/>
                <a:ext cx="1287302" cy="2023256"/>
              </a:xfrm>
              <a:custGeom>
                <a:avLst/>
                <a:gdLst>
                  <a:gd name="connsiteX0" fmla="*/ 1287302 w 1287302"/>
                  <a:gd name="connsiteY0" fmla="*/ 488604 h 2023256"/>
                  <a:gd name="connsiteX1" fmla="*/ 0 w 1287302"/>
                  <a:gd name="connsiteY1" fmla="*/ 2023256 h 2023256"/>
                  <a:gd name="connsiteX2" fmla="*/ 0 w 1287302"/>
                  <a:gd name="connsiteY2" fmla="*/ 217 h 2023256"/>
                  <a:gd name="connsiteX3" fmla="*/ 17367 w 1287302"/>
                  <a:gd name="connsiteY3" fmla="*/ 0 h 2023256"/>
                  <a:gd name="connsiteX4" fmla="*/ 1169301 w 1287302"/>
                  <a:gd name="connsiteY4" fmla="*/ 395274 h 2023256"/>
                  <a:gd name="connsiteX5" fmla="*/ 1287302 w 1287302"/>
                  <a:gd name="connsiteY5" fmla="*/ 488604 h 202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7302" h="2023256">
                    <a:moveTo>
                      <a:pt x="1287302" y="488604"/>
                    </a:moveTo>
                    <a:lnTo>
                      <a:pt x="0" y="2023256"/>
                    </a:lnTo>
                    <a:lnTo>
                      <a:pt x="0" y="217"/>
                    </a:lnTo>
                    <a:lnTo>
                      <a:pt x="17367" y="0"/>
                    </a:lnTo>
                    <a:cubicBezTo>
                      <a:pt x="439732" y="16024"/>
                      <a:pt x="838416" y="158313"/>
                      <a:pt x="1169301" y="395274"/>
                    </a:cubicBezTo>
                    <a:lnTo>
                      <a:pt x="1287302" y="488604"/>
                    </a:lnTo>
                    <a:close/>
                  </a:path>
                </a:pathLst>
              </a:custGeom>
              <a:solidFill>
                <a:srgbClr val="005A9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800">
                  <a:solidFill>
                    <a:srgbClr val="FFFFFF"/>
                  </a:solidFill>
                </a:endParaRPr>
              </a:p>
            </p:txBody>
          </p:sp>
          <p:sp>
            <p:nvSpPr>
              <p:cNvPr id="50" name="Freeform 49"/>
              <p:cNvSpPr/>
              <p:nvPr/>
            </p:nvSpPr>
            <p:spPr>
              <a:xfrm rot="16763522">
                <a:off x="7106476" y="1985203"/>
                <a:ext cx="1687499" cy="1873570"/>
              </a:xfrm>
              <a:custGeom>
                <a:avLst/>
                <a:gdLst>
                  <a:gd name="connsiteX0" fmla="*/ 1687499 w 1687499"/>
                  <a:gd name="connsiteY0" fmla="*/ 1012445 h 1873570"/>
                  <a:gd name="connsiteX1" fmla="*/ 1618267 w 1687499"/>
                  <a:gd name="connsiteY1" fmla="*/ 1119566 h 1873570"/>
                  <a:gd name="connsiteX2" fmla="*/ 654965 w 1687499"/>
                  <a:gd name="connsiteY2" fmla="*/ 1864712 h 1873570"/>
                  <a:gd name="connsiteX3" fmla="*/ 627815 w 1687499"/>
                  <a:gd name="connsiteY3" fmla="*/ 1873570 h 1873570"/>
                  <a:gd name="connsiteX4" fmla="*/ 0 w 1687499"/>
                  <a:gd name="connsiteY4" fmla="*/ 0 h 1873570"/>
                  <a:gd name="connsiteX5" fmla="*/ 1687499 w 1687499"/>
                  <a:gd name="connsiteY5" fmla="*/ 1012445 h 187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7499" h="1873570">
                    <a:moveTo>
                      <a:pt x="1687499" y="1012445"/>
                    </a:moveTo>
                    <a:lnTo>
                      <a:pt x="1618267" y="1119566"/>
                    </a:lnTo>
                    <a:cubicBezTo>
                      <a:pt x="1381307" y="1450451"/>
                      <a:pt x="1049675" y="1713539"/>
                      <a:pt x="654965" y="1864712"/>
                    </a:cubicBezTo>
                    <a:lnTo>
                      <a:pt x="627815" y="1873570"/>
                    </a:lnTo>
                    <a:lnTo>
                      <a:pt x="0" y="0"/>
                    </a:lnTo>
                    <a:lnTo>
                      <a:pt x="1687499" y="1012445"/>
                    </a:lnTo>
                    <a:close/>
                  </a:path>
                </a:pathLst>
              </a:custGeom>
              <a:solidFill>
                <a:srgbClr val="E625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800">
                  <a:solidFill>
                    <a:srgbClr val="FFFFFF"/>
                  </a:solidFill>
                </a:endParaRPr>
              </a:p>
            </p:txBody>
          </p:sp>
          <p:sp>
            <p:nvSpPr>
              <p:cNvPr id="51" name="Freeform 50"/>
              <p:cNvSpPr/>
              <p:nvPr/>
            </p:nvSpPr>
            <p:spPr>
              <a:xfrm rot="16763522">
                <a:off x="4931820" y="3165019"/>
                <a:ext cx="1291385" cy="2000573"/>
              </a:xfrm>
              <a:custGeom>
                <a:avLst/>
                <a:gdLst>
                  <a:gd name="connsiteX0" fmla="*/ 1291385 w 1291385"/>
                  <a:gd name="connsiteY0" fmla="*/ 0 h 2000573"/>
                  <a:gd name="connsiteX1" fmla="*/ 1291385 w 1291385"/>
                  <a:gd name="connsiteY1" fmla="*/ 2000573 h 2000573"/>
                  <a:gd name="connsiteX2" fmla="*/ 0 w 1291385"/>
                  <a:gd name="connsiteY2" fmla="*/ 455319 h 2000573"/>
                  <a:gd name="connsiteX3" fmla="*/ 13962 w 1291385"/>
                  <a:gd name="connsiteY3" fmla="*/ 443322 h 2000573"/>
                  <a:gd name="connsiteX4" fmla="*/ 969335 w 1291385"/>
                  <a:gd name="connsiteY4" fmla="*/ 25905 h 2000573"/>
                  <a:gd name="connsiteX5" fmla="*/ 1185009 w 1291385"/>
                  <a:gd name="connsiteY5" fmla="*/ 1327 h 2000573"/>
                  <a:gd name="connsiteX6" fmla="*/ 1291385 w 1291385"/>
                  <a:gd name="connsiteY6" fmla="*/ 0 h 200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385" h="2000573">
                    <a:moveTo>
                      <a:pt x="1291385" y="0"/>
                    </a:moveTo>
                    <a:lnTo>
                      <a:pt x="1291385" y="2000573"/>
                    </a:lnTo>
                    <a:lnTo>
                      <a:pt x="0" y="455319"/>
                    </a:lnTo>
                    <a:lnTo>
                      <a:pt x="13962" y="443322"/>
                    </a:lnTo>
                    <a:cubicBezTo>
                      <a:pt x="283740" y="233272"/>
                      <a:pt x="608292" y="85624"/>
                      <a:pt x="969335" y="25905"/>
                    </a:cubicBezTo>
                    <a:cubicBezTo>
                      <a:pt x="1041544" y="13961"/>
                      <a:pt x="1113503" y="5817"/>
                      <a:pt x="1185009" y="1327"/>
                    </a:cubicBezTo>
                    <a:lnTo>
                      <a:pt x="1291385" y="0"/>
                    </a:lnTo>
                    <a:close/>
                  </a:path>
                </a:pathLst>
              </a:custGeom>
              <a:solidFill>
                <a:srgbClr val="005A9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800">
                  <a:solidFill>
                    <a:srgbClr val="FFFFFF"/>
                  </a:solidFill>
                </a:endParaRPr>
              </a:p>
            </p:txBody>
          </p:sp>
          <p:sp>
            <p:nvSpPr>
              <p:cNvPr id="52" name="Freeform 51"/>
              <p:cNvSpPr/>
              <p:nvPr/>
            </p:nvSpPr>
            <p:spPr>
              <a:xfrm rot="16763522">
                <a:off x="7210554" y="2915722"/>
                <a:ext cx="1350815" cy="1966609"/>
              </a:xfrm>
              <a:custGeom>
                <a:avLst/>
                <a:gdLst>
                  <a:gd name="connsiteX0" fmla="*/ 1350815 w 1350815"/>
                  <a:gd name="connsiteY0" fmla="*/ 1862152 h 1966609"/>
                  <a:gd name="connsiteX1" fmla="*/ 1260312 w 1350815"/>
                  <a:gd name="connsiteY1" fmla="*/ 1891680 h 1966609"/>
                  <a:gd name="connsiteX2" fmla="*/ 1048211 w 1350815"/>
                  <a:gd name="connsiteY2" fmla="*/ 1937858 h 1966609"/>
                  <a:gd name="connsiteX3" fmla="*/ 9313 w 1350815"/>
                  <a:gd name="connsiteY3" fmla="*/ 1850306 h 1966609"/>
                  <a:gd name="connsiteX4" fmla="*/ 0 w 1350815"/>
                  <a:gd name="connsiteY4" fmla="*/ 1846565 h 1966609"/>
                  <a:gd name="connsiteX5" fmla="*/ 726827 w 1350815"/>
                  <a:gd name="connsiteY5" fmla="*/ 0 h 1966609"/>
                  <a:gd name="connsiteX6" fmla="*/ 1350815 w 1350815"/>
                  <a:gd name="connsiteY6" fmla="*/ 1862152 h 196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15" h="1966609">
                    <a:moveTo>
                      <a:pt x="1350815" y="1862152"/>
                    </a:moveTo>
                    <a:lnTo>
                      <a:pt x="1260312" y="1891680"/>
                    </a:lnTo>
                    <a:cubicBezTo>
                      <a:pt x="1191169" y="1910453"/>
                      <a:pt x="1120420" y="1925914"/>
                      <a:pt x="1048211" y="1937858"/>
                    </a:cubicBezTo>
                    <a:cubicBezTo>
                      <a:pt x="687168" y="1997577"/>
                      <a:pt x="332359" y="1962299"/>
                      <a:pt x="9313" y="1850306"/>
                    </a:cubicBezTo>
                    <a:lnTo>
                      <a:pt x="0" y="1846565"/>
                    </a:lnTo>
                    <a:lnTo>
                      <a:pt x="726827" y="0"/>
                    </a:lnTo>
                    <a:lnTo>
                      <a:pt x="1350815" y="1862152"/>
                    </a:lnTo>
                    <a:close/>
                  </a:path>
                </a:pathLst>
              </a:custGeom>
              <a:solidFill>
                <a:srgbClr val="FF981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800">
                  <a:solidFill>
                    <a:srgbClr val="FFFFFF"/>
                  </a:solidFill>
                </a:endParaRPr>
              </a:p>
            </p:txBody>
          </p:sp>
          <p:sp>
            <p:nvSpPr>
              <p:cNvPr id="53" name="Freeform 52"/>
              <p:cNvSpPr/>
              <p:nvPr/>
            </p:nvSpPr>
            <p:spPr>
              <a:xfrm rot="16763522">
                <a:off x="4800684" y="3837566"/>
                <a:ext cx="1997270" cy="1558710"/>
              </a:xfrm>
              <a:custGeom>
                <a:avLst/>
                <a:gdLst>
                  <a:gd name="connsiteX0" fmla="*/ 1997270 w 1997270"/>
                  <a:gd name="connsiteY0" fmla="*/ 1558710 h 1558710"/>
                  <a:gd name="connsiteX1" fmla="*/ 0 w 1997270"/>
                  <a:gd name="connsiteY1" fmla="*/ 1190569 h 1558710"/>
                  <a:gd name="connsiteX2" fmla="*/ 15444 w 1997270"/>
                  <a:gd name="connsiteY2" fmla="*/ 1108920 h 1558710"/>
                  <a:gd name="connsiteX3" fmla="*/ 621122 w 1997270"/>
                  <a:gd name="connsiteY3" fmla="*/ 63171 h 1558710"/>
                  <a:gd name="connsiteX4" fmla="*/ 694640 w 1997270"/>
                  <a:gd name="connsiteY4" fmla="*/ 0 h 1558710"/>
                  <a:gd name="connsiteX5" fmla="*/ 1997270 w 1997270"/>
                  <a:gd name="connsiteY5" fmla="*/ 1558710 h 1558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7270" h="1558710">
                    <a:moveTo>
                      <a:pt x="1997270" y="1558710"/>
                    </a:moveTo>
                    <a:lnTo>
                      <a:pt x="0" y="1190569"/>
                    </a:lnTo>
                    <a:lnTo>
                      <a:pt x="15444" y="1108920"/>
                    </a:lnTo>
                    <a:cubicBezTo>
                      <a:pt x="112134" y="707245"/>
                      <a:pt x="324558" y="343956"/>
                      <a:pt x="621122" y="63171"/>
                    </a:cubicBezTo>
                    <a:lnTo>
                      <a:pt x="694640" y="0"/>
                    </a:lnTo>
                    <a:lnTo>
                      <a:pt x="1997270" y="1558710"/>
                    </a:lnTo>
                    <a:close/>
                  </a:path>
                </a:pathLst>
              </a:custGeom>
              <a:solidFill>
                <a:srgbClr val="0070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800">
                  <a:solidFill>
                    <a:srgbClr val="FFFFFF"/>
                  </a:solidFill>
                </a:endParaRPr>
              </a:p>
            </p:txBody>
          </p:sp>
          <p:sp>
            <p:nvSpPr>
              <p:cNvPr id="54" name="Freeform 53"/>
              <p:cNvSpPr/>
              <p:nvPr/>
            </p:nvSpPr>
            <p:spPr>
              <a:xfrm rot="16763522">
                <a:off x="6765158" y="3854619"/>
                <a:ext cx="1757272" cy="1850384"/>
              </a:xfrm>
              <a:custGeom>
                <a:avLst/>
                <a:gdLst>
                  <a:gd name="connsiteX0" fmla="*/ 1757272 w 1757272"/>
                  <a:gd name="connsiteY0" fmla="*/ 0 h 1850384"/>
                  <a:gd name="connsiteX1" fmla="*/ 1028943 w 1757272"/>
                  <a:gd name="connsiteY1" fmla="*/ 1850384 h 1850384"/>
                  <a:gd name="connsiteX2" fmla="*/ 931226 w 1757272"/>
                  <a:gd name="connsiteY2" fmla="*/ 1811127 h 1850384"/>
                  <a:gd name="connsiteX3" fmla="*/ 21073 w 1757272"/>
                  <a:gd name="connsiteY3" fmla="*/ 1016105 h 1850384"/>
                  <a:gd name="connsiteX4" fmla="*/ 0 w 1757272"/>
                  <a:gd name="connsiteY4" fmla="*/ 978852 h 1850384"/>
                  <a:gd name="connsiteX5" fmla="*/ 1757272 w 1757272"/>
                  <a:gd name="connsiteY5" fmla="*/ 0 h 1850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7272" h="1850384">
                    <a:moveTo>
                      <a:pt x="1757272" y="0"/>
                    </a:moveTo>
                    <a:lnTo>
                      <a:pt x="1028943" y="1850384"/>
                    </a:lnTo>
                    <a:lnTo>
                      <a:pt x="931226" y="1811127"/>
                    </a:lnTo>
                    <a:cubicBezTo>
                      <a:pt x="560044" y="1640791"/>
                      <a:pt x="241954" y="1365253"/>
                      <a:pt x="21073" y="1016105"/>
                    </a:cubicBezTo>
                    <a:lnTo>
                      <a:pt x="0" y="978852"/>
                    </a:lnTo>
                    <a:lnTo>
                      <a:pt x="1757272" y="0"/>
                    </a:lnTo>
                    <a:close/>
                  </a:path>
                </a:pathLst>
              </a:custGeom>
              <a:solidFill>
                <a:srgbClr val="FF981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800">
                  <a:solidFill>
                    <a:srgbClr val="FFFFFF"/>
                  </a:solidFill>
                </a:endParaRPr>
              </a:p>
            </p:txBody>
          </p:sp>
          <p:sp>
            <p:nvSpPr>
              <p:cNvPr id="55" name="Freeform 54"/>
              <p:cNvSpPr/>
              <p:nvPr/>
            </p:nvSpPr>
            <p:spPr>
              <a:xfrm rot="16763522">
                <a:off x="5940574" y="4168354"/>
                <a:ext cx="2017417" cy="1344335"/>
              </a:xfrm>
              <a:custGeom>
                <a:avLst/>
                <a:gdLst>
                  <a:gd name="connsiteX0" fmla="*/ 2017417 w 2017417"/>
                  <a:gd name="connsiteY0" fmla="*/ 366980 h 1344335"/>
                  <a:gd name="connsiteX1" fmla="*/ 262835 w 2017417"/>
                  <a:gd name="connsiteY1" fmla="*/ 1344335 h 1344335"/>
                  <a:gd name="connsiteX2" fmla="*/ 225695 w 2017417"/>
                  <a:gd name="connsiteY2" fmla="*/ 1278676 h 1344335"/>
                  <a:gd name="connsiteX3" fmla="*/ 28751 w 2017417"/>
                  <a:gd name="connsiteY3" fmla="*/ 672157 h 1344335"/>
                  <a:gd name="connsiteX4" fmla="*/ 19905 w 2017417"/>
                  <a:gd name="connsiteY4" fmla="*/ 34526 h 1344335"/>
                  <a:gd name="connsiteX5" fmla="*/ 26436 w 2017417"/>
                  <a:gd name="connsiteY5" fmla="*/ 0 h 1344335"/>
                  <a:gd name="connsiteX6" fmla="*/ 2017417 w 2017417"/>
                  <a:gd name="connsiteY6" fmla="*/ 366980 h 134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7417" h="1344335">
                    <a:moveTo>
                      <a:pt x="2017417" y="366980"/>
                    </a:moveTo>
                    <a:lnTo>
                      <a:pt x="262835" y="1344335"/>
                    </a:lnTo>
                    <a:lnTo>
                      <a:pt x="225695" y="1278676"/>
                    </a:lnTo>
                    <a:cubicBezTo>
                      <a:pt x="132068" y="1092272"/>
                      <a:pt x="64582" y="888783"/>
                      <a:pt x="28751" y="672157"/>
                    </a:cubicBezTo>
                    <a:cubicBezTo>
                      <a:pt x="-7080" y="455532"/>
                      <a:pt x="-8713" y="241150"/>
                      <a:pt x="19905" y="34526"/>
                    </a:cubicBezTo>
                    <a:lnTo>
                      <a:pt x="26436" y="0"/>
                    </a:lnTo>
                    <a:lnTo>
                      <a:pt x="2017417" y="366980"/>
                    </a:lnTo>
                    <a:close/>
                  </a:path>
                </a:pathLst>
              </a:custGeom>
              <a:solidFill>
                <a:srgbClr val="00CBA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800">
                  <a:solidFill>
                    <a:srgbClr val="FFFFFF"/>
                  </a:solidFill>
                </a:endParaRPr>
              </a:p>
            </p:txBody>
          </p:sp>
        </p:grpSp>
        <p:sp>
          <p:nvSpPr>
            <p:cNvPr id="64" name="Rectangle 63"/>
            <p:cNvSpPr/>
            <p:nvPr/>
          </p:nvSpPr>
          <p:spPr>
            <a:xfrm rot="1353428">
              <a:off x="3873033" y="1538947"/>
              <a:ext cx="4056996" cy="4269515"/>
            </a:xfrm>
            <a:prstGeom prst="rect">
              <a:avLst/>
            </a:prstGeom>
          </p:spPr>
          <p:txBody>
            <a:bodyPr>
              <a:prstTxWarp prst="textArchUp">
                <a:avLst/>
              </a:prstTxWarp>
              <a:spAutoFit/>
            </a:bodyPr>
            <a:lstStyle/>
            <a:p>
              <a:pPr algn="ctr" defTabSz="533387" fontAlgn="auto">
                <a:spcAft>
                  <a:spcPct val="35000"/>
                </a:spcAft>
              </a:pPr>
              <a:r>
                <a:rPr lang="en-US" sz="800" b="1" cap="all" dirty="0">
                  <a:solidFill>
                    <a:srgbClr val="FFFFFF"/>
                  </a:solidFill>
                  <a:latin typeface="Arial"/>
                  <a:cs typeface="+mn-cs"/>
                </a:rPr>
                <a:t>ORGANIZATIONAL</a:t>
              </a:r>
            </a:p>
            <a:p>
              <a:pPr algn="ctr" defTabSz="533387" fontAlgn="auto">
                <a:spcAft>
                  <a:spcPct val="35000"/>
                </a:spcAft>
              </a:pPr>
              <a:r>
                <a:rPr lang="en-US" sz="800" b="1" cap="all" dirty="0">
                  <a:solidFill>
                    <a:srgbClr val="FFFFFF"/>
                  </a:solidFill>
                  <a:latin typeface="Arial"/>
                  <a:cs typeface="+mn-cs"/>
                </a:rPr>
                <a:t>OBJECTIVES</a:t>
              </a:r>
              <a:endParaRPr lang="en-US" sz="800" b="1" dirty="0">
                <a:solidFill>
                  <a:srgbClr val="FFFFFF"/>
                </a:solidFill>
                <a:latin typeface="Arial"/>
                <a:cs typeface="+mn-cs"/>
              </a:endParaRPr>
            </a:p>
          </p:txBody>
        </p:sp>
        <p:sp>
          <p:nvSpPr>
            <p:cNvPr id="65" name="Rectangle 64"/>
            <p:cNvSpPr/>
            <p:nvPr/>
          </p:nvSpPr>
          <p:spPr>
            <a:xfrm rot="3617141">
              <a:off x="3918885" y="1566195"/>
              <a:ext cx="4056995" cy="4269515"/>
            </a:xfrm>
            <a:prstGeom prst="rect">
              <a:avLst/>
            </a:prstGeom>
          </p:spPr>
          <p:txBody>
            <a:bodyPr>
              <a:prstTxWarp prst="textArchUp">
                <a:avLst/>
              </a:prstTxWarp>
              <a:spAutoFit/>
            </a:bodyPr>
            <a:lstStyle/>
            <a:p>
              <a:pPr algn="ctr" defTabSz="533387" fontAlgn="auto">
                <a:spcAft>
                  <a:spcPct val="35000"/>
                </a:spcAft>
              </a:pPr>
              <a:r>
                <a:rPr lang="en-US" sz="800" b="1" cap="all" dirty="0">
                  <a:solidFill>
                    <a:srgbClr val="FFFFFF"/>
                  </a:solidFill>
                  <a:latin typeface="Arial"/>
                  <a:cs typeface="+mn-cs"/>
                </a:rPr>
                <a:t>COMMUNICATIONS</a:t>
              </a:r>
            </a:p>
            <a:p>
              <a:pPr algn="ctr" defTabSz="533387" fontAlgn="auto">
                <a:spcAft>
                  <a:spcPct val="35000"/>
                </a:spcAft>
              </a:pPr>
              <a:r>
                <a:rPr lang="en-US" sz="800" b="1" cap="all" dirty="0">
                  <a:solidFill>
                    <a:srgbClr val="FFFFFF"/>
                  </a:solidFill>
                  <a:latin typeface="Arial"/>
                  <a:cs typeface="+mn-cs"/>
                </a:rPr>
                <a:t>OBJECTIVES</a:t>
              </a:r>
              <a:endParaRPr lang="en-US" sz="800" b="1" dirty="0">
                <a:solidFill>
                  <a:srgbClr val="FFFFFF"/>
                </a:solidFill>
                <a:latin typeface="Arial"/>
                <a:cs typeface="+mn-cs"/>
              </a:endParaRPr>
            </a:p>
          </p:txBody>
        </p:sp>
        <p:sp>
          <p:nvSpPr>
            <p:cNvPr id="66" name="Rectangle 65"/>
            <p:cNvSpPr/>
            <p:nvPr/>
          </p:nvSpPr>
          <p:spPr>
            <a:xfrm rot="16896906">
              <a:off x="4046731" y="1499940"/>
              <a:ext cx="4056995" cy="4269515"/>
            </a:xfrm>
            <a:prstGeom prst="rect">
              <a:avLst/>
            </a:prstGeom>
          </p:spPr>
          <p:txBody>
            <a:bodyPr>
              <a:prstTxWarp prst="textArchDown">
                <a:avLst/>
              </a:prstTxWarp>
              <a:spAutoFit/>
            </a:bodyPr>
            <a:lstStyle/>
            <a:p>
              <a:pPr algn="ctr" defTabSz="533387" fontAlgn="auto">
                <a:spcAft>
                  <a:spcPct val="35000"/>
                </a:spcAft>
              </a:pPr>
              <a:r>
                <a:rPr lang="en-US" sz="800" b="1" cap="all" dirty="0">
                  <a:solidFill>
                    <a:srgbClr val="FFFFFF"/>
                  </a:solidFill>
                  <a:latin typeface="Arial"/>
                  <a:cs typeface="+mn-cs"/>
                </a:rPr>
                <a:t>TARGET</a:t>
              </a:r>
            </a:p>
            <a:p>
              <a:pPr algn="ctr" defTabSz="533387" fontAlgn="auto">
                <a:spcAft>
                  <a:spcPct val="35000"/>
                </a:spcAft>
              </a:pPr>
              <a:r>
                <a:rPr lang="en-US" sz="800" b="1" cap="all" dirty="0">
                  <a:solidFill>
                    <a:srgbClr val="FFFFFF"/>
                  </a:solidFill>
                  <a:latin typeface="Arial"/>
                  <a:cs typeface="+mn-cs"/>
                </a:rPr>
                <a:t>AUDIENCE</a:t>
              </a:r>
              <a:endParaRPr lang="en-US" sz="800" b="1" dirty="0">
                <a:solidFill>
                  <a:srgbClr val="FFFFFF"/>
                </a:solidFill>
                <a:latin typeface="Arial"/>
                <a:cs typeface="+mn-cs"/>
              </a:endParaRPr>
            </a:p>
          </p:txBody>
        </p:sp>
        <p:sp>
          <p:nvSpPr>
            <p:cNvPr id="67" name="Rectangle 66"/>
            <p:cNvSpPr/>
            <p:nvPr/>
          </p:nvSpPr>
          <p:spPr>
            <a:xfrm rot="19053910">
              <a:off x="4132578" y="1771986"/>
              <a:ext cx="4056996" cy="4269514"/>
            </a:xfrm>
            <a:prstGeom prst="rect">
              <a:avLst/>
            </a:prstGeom>
          </p:spPr>
          <p:txBody>
            <a:bodyPr>
              <a:prstTxWarp prst="textArchDown">
                <a:avLst/>
              </a:prstTxWarp>
              <a:spAutoFit/>
            </a:bodyPr>
            <a:lstStyle/>
            <a:p>
              <a:pPr algn="ctr" defTabSz="533387" fontAlgn="auto">
                <a:spcAft>
                  <a:spcPct val="35000"/>
                </a:spcAft>
              </a:pPr>
              <a:r>
                <a:rPr lang="en-US" sz="800" b="1" cap="all" dirty="0">
                  <a:solidFill>
                    <a:srgbClr val="FFFFFF"/>
                  </a:solidFill>
                  <a:latin typeface="Arial"/>
                  <a:cs typeface="+mn-cs"/>
                </a:rPr>
                <a:t>STRATEGY</a:t>
              </a:r>
              <a:endParaRPr lang="en-US" sz="800" b="1" dirty="0">
                <a:solidFill>
                  <a:srgbClr val="FFFFFF"/>
                </a:solidFill>
                <a:latin typeface="Arial"/>
                <a:cs typeface="+mn-cs"/>
              </a:endParaRPr>
            </a:p>
          </p:txBody>
        </p:sp>
        <p:sp>
          <p:nvSpPr>
            <p:cNvPr id="68" name="Rectangle 67"/>
            <p:cNvSpPr/>
            <p:nvPr/>
          </p:nvSpPr>
          <p:spPr>
            <a:xfrm>
              <a:off x="4029081" y="1806485"/>
              <a:ext cx="4056996" cy="4269514"/>
            </a:xfrm>
            <a:prstGeom prst="rect">
              <a:avLst/>
            </a:prstGeom>
          </p:spPr>
          <p:txBody>
            <a:bodyPr>
              <a:prstTxWarp prst="textArchDown">
                <a:avLst/>
              </a:prstTxWarp>
              <a:spAutoFit/>
            </a:bodyPr>
            <a:lstStyle/>
            <a:p>
              <a:pPr algn="ctr" defTabSz="533387" fontAlgn="auto">
                <a:spcAft>
                  <a:spcPct val="35000"/>
                </a:spcAft>
              </a:pPr>
              <a:r>
                <a:rPr lang="en-US" sz="800" b="1" cap="all" dirty="0">
                  <a:solidFill>
                    <a:srgbClr val="FFFFFF"/>
                  </a:solidFill>
                  <a:latin typeface="Arial"/>
                  <a:cs typeface="+mn-cs"/>
                </a:rPr>
                <a:t>Activity</a:t>
              </a:r>
              <a:endParaRPr lang="en-US" sz="800" b="1" dirty="0">
                <a:solidFill>
                  <a:srgbClr val="FFFFFF"/>
                </a:solidFill>
                <a:latin typeface="Arial"/>
                <a:cs typeface="+mn-cs"/>
              </a:endParaRPr>
            </a:p>
          </p:txBody>
        </p:sp>
        <p:sp>
          <p:nvSpPr>
            <p:cNvPr id="69" name="Rectangle 68"/>
            <p:cNvSpPr/>
            <p:nvPr/>
          </p:nvSpPr>
          <p:spPr>
            <a:xfrm rot="2446556">
              <a:off x="3845086" y="1725987"/>
              <a:ext cx="4056996" cy="4269514"/>
            </a:xfrm>
            <a:prstGeom prst="rect">
              <a:avLst/>
            </a:prstGeom>
          </p:spPr>
          <p:txBody>
            <a:bodyPr>
              <a:prstTxWarp prst="textArchDown">
                <a:avLst/>
              </a:prstTxWarp>
              <a:spAutoFit/>
            </a:bodyPr>
            <a:lstStyle/>
            <a:p>
              <a:pPr algn="ctr" defTabSz="533387" fontAlgn="auto">
                <a:spcAft>
                  <a:spcPct val="35000"/>
                </a:spcAft>
              </a:pPr>
              <a:r>
                <a:rPr lang="en-US" sz="800" b="1" cap="all" dirty="0">
                  <a:solidFill>
                    <a:srgbClr val="FFFFFF"/>
                  </a:solidFill>
                  <a:latin typeface="Arial"/>
                  <a:cs typeface="+mn-cs"/>
                </a:rPr>
                <a:t>Output</a:t>
              </a:r>
              <a:endParaRPr lang="en-US" sz="800" b="1" dirty="0">
                <a:solidFill>
                  <a:srgbClr val="FFFFFF"/>
                </a:solidFill>
                <a:latin typeface="Arial"/>
                <a:cs typeface="+mn-cs"/>
              </a:endParaRPr>
            </a:p>
          </p:txBody>
        </p:sp>
        <p:sp>
          <p:nvSpPr>
            <p:cNvPr id="70" name="Rectangle 69"/>
            <p:cNvSpPr/>
            <p:nvPr/>
          </p:nvSpPr>
          <p:spPr>
            <a:xfrm rot="4665292">
              <a:off x="3707090" y="1507495"/>
              <a:ext cx="4056995" cy="4269515"/>
            </a:xfrm>
            <a:prstGeom prst="rect">
              <a:avLst/>
            </a:prstGeom>
          </p:spPr>
          <p:txBody>
            <a:bodyPr>
              <a:prstTxWarp prst="textArchDown">
                <a:avLst/>
              </a:prstTxWarp>
              <a:spAutoFit/>
            </a:bodyPr>
            <a:lstStyle/>
            <a:p>
              <a:pPr algn="ctr" defTabSz="533387" fontAlgn="auto">
                <a:spcAft>
                  <a:spcPct val="35000"/>
                </a:spcAft>
              </a:pPr>
              <a:r>
                <a:rPr lang="en-US" sz="800" b="1" cap="all" dirty="0">
                  <a:solidFill>
                    <a:srgbClr val="FFFFFF"/>
                  </a:solidFill>
                  <a:latin typeface="Arial"/>
                  <a:cs typeface="+mn-cs"/>
                </a:rPr>
                <a:t>Out-takes</a:t>
              </a:r>
              <a:endParaRPr lang="en-US" sz="800" b="1" dirty="0">
                <a:solidFill>
                  <a:srgbClr val="FFFFFF"/>
                </a:solidFill>
                <a:latin typeface="Arial"/>
                <a:cs typeface="+mn-cs"/>
              </a:endParaRPr>
            </a:p>
          </p:txBody>
        </p:sp>
        <p:sp>
          <p:nvSpPr>
            <p:cNvPr id="71" name="Rectangle 70"/>
            <p:cNvSpPr/>
            <p:nvPr/>
          </p:nvSpPr>
          <p:spPr>
            <a:xfrm rot="20324477">
              <a:off x="3979278" y="1369569"/>
              <a:ext cx="4056996" cy="4269514"/>
            </a:xfrm>
            <a:prstGeom prst="rect">
              <a:avLst/>
            </a:prstGeom>
          </p:spPr>
          <p:txBody>
            <a:bodyPr>
              <a:prstTxWarp prst="textArchUp">
                <a:avLst/>
              </a:prstTxWarp>
              <a:spAutoFit/>
            </a:bodyPr>
            <a:lstStyle/>
            <a:p>
              <a:pPr algn="ctr" defTabSz="533387" fontAlgn="auto">
                <a:spcAft>
                  <a:spcPct val="35000"/>
                </a:spcAft>
              </a:pPr>
              <a:r>
                <a:rPr lang="en-US" sz="800" b="1" cap="all">
                  <a:solidFill>
                    <a:srgbClr val="FFFFFF"/>
                  </a:solidFill>
                  <a:latin typeface="Arial"/>
                  <a:cs typeface="+mn-cs"/>
                </a:rPr>
                <a:t>impact</a:t>
              </a:r>
              <a:endParaRPr lang="en-US" sz="800" b="1" dirty="0">
                <a:solidFill>
                  <a:srgbClr val="FFFFFF"/>
                </a:solidFill>
                <a:latin typeface="Arial"/>
                <a:cs typeface="+mn-cs"/>
              </a:endParaRPr>
            </a:p>
          </p:txBody>
        </p:sp>
        <p:sp>
          <p:nvSpPr>
            <p:cNvPr id="72" name="Rectangle 71"/>
            <p:cNvSpPr/>
            <p:nvPr/>
          </p:nvSpPr>
          <p:spPr>
            <a:xfrm rot="17864203">
              <a:off x="3887281" y="1369570"/>
              <a:ext cx="4056995" cy="4269515"/>
            </a:xfrm>
            <a:prstGeom prst="rect">
              <a:avLst/>
            </a:prstGeom>
          </p:spPr>
          <p:txBody>
            <a:bodyPr>
              <a:prstTxWarp prst="textArchUp">
                <a:avLst/>
              </a:prstTxWarp>
              <a:spAutoFit/>
            </a:bodyPr>
            <a:lstStyle/>
            <a:p>
              <a:pPr algn="ctr" defTabSz="533387" fontAlgn="auto">
                <a:spcAft>
                  <a:spcPct val="35000"/>
                </a:spcAft>
              </a:pPr>
              <a:r>
                <a:rPr lang="en-US" sz="800" b="1" cap="all" dirty="0">
                  <a:solidFill>
                    <a:srgbClr val="FFFFFF"/>
                  </a:solidFill>
                  <a:latin typeface="Arial"/>
                  <a:cs typeface="+mn-cs"/>
                </a:rPr>
                <a:t>outcomes</a:t>
              </a:r>
              <a:endParaRPr lang="en-US" sz="800" b="1" dirty="0">
                <a:solidFill>
                  <a:srgbClr val="FFFFFF"/>
                </a:solidFill>
                <a:latin typeface="Arial"/>
                <a:cs typeface="+mn-cs"/>
              </a:endParaRPr>
            </a:p>
          </p:txBody>
        </p:sp>
        <p:sp>
          <p:nvSpPr>
            <p:cNvPr id="10" name="Block Arc 9"/>
            <p:cNvSpPr/>
            <p:nvPr/>
          </p:nvSpPr>
          <p:spPr>
            <a:xfrm rot="13789657">
              <a:off x="2945463" y="617064"/>
              <a:ext cx="6110914" cy="6110916"/>
            </a:xfrm>
            <a:prstGeom prst="blockArc">
              <a:avLst>
                <a:gd name="adj1" fmla="val 14388580"/>
                <a:gd name="adj2" fmla="val 2361103"/>
                <a:gd name="adj3" fmla="val 6815"/>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400">
                <a:solidFill>
                  <a:srgbClr val="FFFFFF"/>
                </a:solidFill>
              </a:endParaRPr>
            </a:p>
          </p:txBody>
        </p:sp>
        <p:sp>
          <p:nvSpPr>
            <p:cNvPr id="73" name="Block Arc 72"/>
            <p:cNvSpPr/>
            <p:nvPr/>
          </p:nvSpPr>
          <p:spPr>
            <a:xfrm rot="13913674">
              <a:off x="3009900" y="660402"/>
              <a:ext cx="6083298" cy="6083299"/>
            </a:xfrm>
            <a:prstGeom prst="blockArc">
              <a:avLst>
                <a:gd name="adj1" fmla="val 11967572"/>
                <a:gd name="adj2" fmla="val 14257669"/>
                <a:gd name="adj3" fmla="val 7087"/>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400">
                <a:solidFill>
                  <a:srgbClr val="FFFFFF"/>
                </a:solidFill>
              </a:endParaRPr>
            </a:p>
          </p:txBody>
        </p:sp>
        <p:sp>
          <p:nvSpPr>
            <p:cNvPr id="74" name="Block Arc 73"/>
            <p:cNvSpPr/>
            <p:nvPr/>
          </p:nvSpPr>
          <p:spPr>
            <a:xfrm rot="13789657">
              <a:off x="2896605" y="617369"/>
              <a:ext cx="6150282" cy="6150283"/>
            </a:xfrm>
            <a:prstGeom prst="blockArc">
              <a:avLst>
                <a:gd name="adj1" fmla="val 2534675"/>
                <a:gd name="adj2" fmla="val 11872773"/>
                <a:gd name="adj3" fmla="val 6885"/>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400">
                <a:solidFill>
                  <a:srgbClr val="FFFFFF"/>
                </a:solidFill>
              </a:endParaRPr>
            </a:p>
          </p:txBody>
        </p:sp>
        <p:sp>
          <p:nvSpPr>
            <p:cNvPr id="79" name="Rectangle 78"/>
            <p:cNvSpPr/>
            <p:nvPr/>
          </p:nvSpPr>
          <p:spPr>
            <a:xfrm>
              <a:off x="3200949" y="748412"/>
              <a:ext cx="5635347" cy="5829685"/>
            </a:xfrm>
            <a:prstGeom prst="rect">
              <a:avLst/>
            </a:prstGeom>
          </p:spPr>
          <p:txBody>
            <a:bodyPr>
              <a:prstTxWarp prst="textArchDown">
                <a:avLst/>
              </a:prstTxWarp>
              <a:spAutoFit/>
            </a:bodyPr>
            <a:lstStyle/>
            <a:p>
              <a:pPr algn="ctr" defTabSz="533387" fontAlgn="auto">
                <a:spcAft>
                  <a:spcPct val="35000"/>
                </a:spcAft>
              </a:pPr>
              <a:r>
                <a:rPr lang="en-US" sz="900" b="1" cap="all" dirty="0">
                  <a:solidFill>
                    <a:srgbClr val="FFFFFF"/>
                  </a:solidFill>
                  <a:latin typeface="Arial"/>
                  <a:cs typeface="+mn-cs"/>
                </a:rPr>
                <a:t>implementation</a:t>
              </a:r>
              <a:endParaRPr lang="en-US" sz="900" b="1" dirty="0">
                <a:solidFill>
                  <a:srgbClr val="FFFFFF"/>
                </a:solidFill>
                <a:latin typeface="Arial"/>
                <a:cs typeface="+mn-cs"/>
              </a:endParaRPr>
            </a:p>
          </p:txBody>
        </p:sp>
        <p:sp>
          <p:nvSpPr>
            <p:cNvPr id="76" name="Rectangle 75"/>
            <p:cNvSpPr/>
            <p:nvPr/>
          </p:nvSpPr>
          <p:spPr>
            <a:xfrm rot="16652142">
              <a:off x="3375401" y="761339"/>
              <a:ext cx="5588756" cy="5881512"/>
            </a:xfrm>
            <a:prstGeom prst="rect">
              <a:avLst/>
            </a:prstGeom>
          </p:spPr>
          <p:txBody>
            <a:bodyPr>
              <a:prstTxWarp prst="textArchUp">
                <a:avLst/>
              </a:prstTxWarp>
              <a:spAutoFit/>
            </a:bodyPr>
            <a:lstStyle/>
            <a:p>
              <a:pPr algn="ctr" defTabSz="533387" fontAlgn="auto">
                <a:spcAft>
                  <a:spcPct val="35000"/>
                </a:spcAft>
              </a:pPr>
              <a:r>
                <a:rPr lang="en-US" sz="900" b="1" cap="all" dirty="0">
                  <a:solidFill>
                    <a:srgbClr val="FFFFFF"/>
                  </a:solidFill>
                  <a:latin typeface="Arial"/>
                  <a:cs typeface="+mn-cs"/>
                </a:rPr>
                <a:t>Measurements </a:t>
              </a:r>
              <a:r>
                <a:rPr lang="en-US" sz="900" b="1" cap="all">
                  <a:solidFill>
                    <a:srgbClr val="FFFFFF"/>
                  </a:solidFill>
                  <a:latin typeface="Arial"/>
                  <a:cs typeface="+mn-cs"/>
                </a:rPr>
                <a:t>and insights</a:t>
              </a:r>
              <a:endParaRPr lang="en-US" sz="900" b="1" dirty="0">
                <a:solidFill>
                  <a:srgbClr val="FFFFFF"/>
                </a:solidFill>
                <a:latin typeface="Arial"/>
                <a:cs typeface="+mn-cs"/>
              </a:endParaRPr>
            </a:p>
          </p:txBody>
        </p:sp>
        <p:sp>
          <p:nvSpPr>
            <p:cNvPr id="77" name="Rectangle 76"/>
            <p:cNvSpPr/>
            <p:nvPr/>
          </p:nvSpPr>
          <p:spPr>
            <a:xfrm rot="4383233">
              <a:off x="3007101" y="736692"/>
              <a:ext cx="5588756" cy="5881512"/>
            </a:xfrm>
            <a:prstGeom prst="rect">
              <a:avLst/>
            </a:prstGeom>
          </p:spPr>
          <p:txBody>
            <a:bodyPr>
              <a:prstTxWarp prst="textArchUp">
                <a:avLst/>
              </a:prstTxWarp>
              <a:spAutoFit/>
            </a:bodyPr>
            <a:lstStyle/>
            <a:p>
              <a:pPr algn="ctr" defTabSz="533387" fontAlgn="auto">
                <a:spcAft>
                  <a:spcPct val="35000"/>
                </a:spcAft>
              </a:pPr>
              <a:r>
                <a:rPr lang="en-US" sz="900" b="1" cap="all">
                  <a:solidFill>
                    <a:srgbClr val="FFFFFF"/>
                  </a:solidFill>
                  <a:latin typeface="Arial"/>
                  <a:cs typeface="+mn-cs"/>
                </a:rPr>
                <a:t>preparation</a:t>
              </a:r>
              <a:endParaRPr lang="en-US" sz="900" b="1" dirty="0">
                <a:solidFill>
                  <a:srgbClr val="FFFFFF"/>
                </a:solidFill>
                <a:latin typeface="Arial"/>
                <a:cs typeface="+mn-cs"/>
              </a:endParaRPr>
            </a:p>
          </p:txBody>
        </p:sp>
        <p:sp>
          <p:nvSpPr>
            <p:cNvPr id="85" name="Block Arc 84"/>
            <p:cNvSpPr/>
            <p:nvPr/>
          </p:nvSpPr>
          <p:spPr>
            <a:xfrm rot="14558996">
              <a:off x="4121598" y="1788719"/>
              <a:ext cx="3848822" cy="3848822"/>
            </a:xfrm>
            <a:prstGeom prst="blockArc">
              <a:avLst>
                <a:gd name="adj1" fmla="val 11325786"/>
                <a:gd name="adj2" fmla="val 13598120"/>
                <a:gd name="adj3" fmla="val 33693"/>
              </a:avLst>
            </a:prstGeom>
            <a:solidFill>
              <a:srgbClr val="00846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400">
                <a:solidFill>
                  <a:srgbClr val="FFFFFF"/>
                </a:solidFill>
              </a:endParaRPr>
            </a:p>
          </p:txBody>
        </p:sp>
        <p:sp>
          <p:nvSpPr>
            <p:cNvPr id="86" name="Block Arc 85"/>
            <p:cNvSpPr/>
            <p:nvPr/>
          </p:nvSpPr>
          <p:spPr>
            <a:xfrm rot="14558996">
              <a:off x="4129909" y="1772095"/>
              <a:ext cx="3848822" cy="3848822"/>
            </a:xfrm>
            <a:prstGeom prst="blockArc">
              <a:avLst>
                <a:gd name="adj1" fmla="val 6494057"/>
                <a:gd name="adj2" fmla="val 11184465"/>
                <a:gd name="adj3" fmla="val 36063"/>
              </a:avLst>
            </a:prstGeom>
            <a:solidFill>
              <a:srgbClr val="9D590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400">
                <a:solidFill>
                  <a:srgbClr val="FFFFFF"/>
                </a:solidFill>
              </a:endParaRPr>
            </a:p>
          </p:txBody>
        </p:sp>
        <p:sp>
          <p:nvSpPr>
            <p:cNvPr id="84" name="Rectangle 83"/>
            <p:cNvSpPr/>
            <p:nvPr/>
          </p:nvSpPr>
          <p:spPr>
            <a:xfrm rot="17852314">
              <a:off x="4204219" y="1956717"/>
              <a:ext cx="3249870" cy="3420110"/>
            </a:xfrm>
            <a:prstGeom prst="rect">
              <a:avLst/>
            </a:prstGeom>
          </p:spPr>
          <p:txBody>
            <a:bodyPr>
              <a:prstTxWarp prst="textArchDown">
                <a:avLst/>
              </a:prstTxWarp>
              <a:spAutoFit/>
            </a:bodyPr>
            <a:lstStyle/>
            <a:p>
              <a:pPr algn="ctr" defTabSz="533387" fontAlgn="auto">
                <a:spcAft>
                  <a:spcPct val="35000"/>
                </a:spcAft>
              </a:pPr>
              <a:r>
                <a:rPr lang="en-US" sz="700" b="1" cap="all" dirty="0">
                  <a:solidFill>
                    <a:srgbClr val="FFFFFF"/>
                  </a:solidFill>
                  <a:latin typeface="Arial"/>
                  <a:cs typeface="+mn-cs"/>
                </a:rPr>
                <a:t>PLAN, SET TARGETS</a:t>
              </a:r>
            </a:p>
            <a:p>
              <a:pPr algn="ctr" defTabSz="533387" fontAlgn="auto">
                <a:spcAft>
                  <a:spcPct val="35000"/>
                </a:spcAft>
              </a:pPr>
              <a:r>
                <a:rPr lang="en-US" sz="700" b="1" cap="all" dirty="0">
                  <a:solidFill>
                    <a:srgbClr val="FFFFFF"/>
                  </a:solidFill>
                  <a:latin typeface="Arial"/>
                  <a:cs typeface="+mn-cs"/>
                </a:rPr>
                <a:t> &amp; OTHER INPUTS</a:t>
              </a:r>
              <a:endParaRPr lang="en-US" sz="700" b="1" dirty="0">
                <a:solidFill>
                  <a:srgbClr val="FFFFFF"/>
                </a:solidFill>
                <a:latin typeface="Arial"/>
                <a:cs typeface="+mn-cs"/>
              </a:endParaRPr>
            </a:p>
          </p:txBody>
        </p:sp>
        <p:sp>
          <p:nvSpPr>
            <p:cNvPr id="87" name="Block Arc 86"/>
            <p:cNvSpPr/>
            <p:nvPr/>
          </p:nvSpPr>
          <p:spPr>
            <a:xfrm rot="14558996">
              <a:off x="4104969" y="1738843"/>
              <a:ext cx="3848822" cy="3848822"/>
            </a:xfrm>
            <a:prstGeom prst="blockArc">
              <a:avLst>
                <a:gd name="adj1" fmla="val 1695667"/>
                <a:gd name="adj2" fmla="val 6350231"/>
                <a:gd name="adj3" fmla="val 30810"/>
              </a:avLst>
            </a:prstGeom>
            <a:solidFill>
              <a:srgbClr val="9413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400">
                <a:solidFill>
                  <a:srgbClr val="FFFFFF"/>
                </a:solidFill>
              </a:endParaRPr>
            </a:p>
          </p:txBody>
        </p:sp>
        <p:sp>
          <p:nvSpPr>
            <p:cNvPr id="83" name="Rectangle 82"/>
            <p:cNvSpPr/>
            <p:nvPr/>
          </p:nvSpPr>
          <p:spPr>
            <a:xfrm rot="2617631">
              <a:off x="4092890" y="2148189"/>
              <a:ext cx="3249870" cy="3420110"/>
            </a:xfrm>
            <a:prstGeom prst="rect">
              <a:avLst/>
            </a:prstGeom>
          </p:spPr>
          <p:txBody>
            <a:bodyPr>
              <a:prstTxWarp prst="textArchUp">
                <a:avLst/>
              </a:prstTxWarp>
              <a:spAutoFit/>
            </a:bodyPr>
            <a:lstStyle/>
            <a:p>
              <a:pPr algn="ctr" defTabSz="533387" fontAlgn="auto">
                <a:spcAft>
                  <a:spcPct val="35000"/>
                </a:spcAft>
              </a:pPr>
              <a:r>
                <a:rPr lang="en-US" sz="700" b="1" cap="all" dirty="0">
                  <a:solidFill>
                    <a:srgbClr val="FFFFFF"/>
                  </a:solidFill>
                  <a:latin typeface="Arial"/>
                  <a:cs typeface="+mn-cs"/>
                </a:rPr>
                <a:t>ALIGN </a:t>
              </a:r>
            </a:p>
            <a:p>
              <a:pPr algn="ctr" defTabSz="533387" fontAlgn="auto">
                <a:spcAft>
                  <a:spcPct val="35000"/>
                </a:spcAft>
              </a:pPr>
              <a:r>
                <a:rPr lang="en-US" sz="700" b="1" cap="all" dirty="0">
                  <a:solidFill>
                    <a:srgbClr val="FFFFFF"/>
                  </a:solidFill>
                  <a:latin typeface="Arial"/>
                  <a:cs typeface="+mn-cs"/>
                </a:rPr>
                <a:t>OBJECTIVES</a:t>
              </a:r>
              <a:endParaRPr lang="en-US" sz="700" b="1" dirty="0">
                <a:solidFill>
                  <a:srgbClr val="FFFFFF"/>
                </a:solidFill>
                <a:latin typeface="Arial"/>
                <a:cs typeface="+mn-cs"/>
              </a:endParaRPr>
            </a:p>
          </p:txBody>
        </p:sp>
        <p:sp>
          <p:nvSpPr>
            <p:cNvPr id="88" name="Block Arc 87"/>
            <p:cNvSpPr/>
            <p:nvPr/>
          </p:nvSpPr>
          <p:spPr>
            <a:xfrm rot="14558996">
              <a:off x="4096657" y="1747156"/>
              <a:ext cx="3848822" cy="3848822"/>
            </a:xfrm>
            <a:prstGeom prst="blockArc">
              <a:avLst>
                <a:gd name="adj1" fmla="val 16154396"/>
                <a:gd name="adj2" fmla="val 20749056"/>
                <a:gd name="adj3" fmla="val 25264"/>
              </a:avLst>
            </a:prstGeom>
            <a:solidFill>
              <a:srgbClr val="0020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400">
                <a:solidFill>
                  <a:srgbClr val="FFFFFF"/>
                </a:solidFill>
              </a:endParaRPr>
            </a:p>
          </p:txBody>
        </p:sp>
        <p:sp>
          <p:nvSpPr>
            <p:cNvPr id="82" name="Rectangle 81"/>
            <p:cNvSpPr/>
            <p:nvPr/>
          </p:nvSpPr>
          <p:spPr>
            <a:xfrm rot="16904695">
              <a:off x="4745322" y="2152942"/>
              <a:ext cx="2956432" cy="3111300"/>
            </a:xfrm>
            <a:prstGeom prst="rect">
              <a:avLst/>
            </a:prstGeom>
          </p:spPr>
          <p:txBody>
            <a:bodyPr>
              <a:prstTxWarp prst="textArchUp">
                <a:avLst/>
              </a:prstTxWarp>
              <a:spAutoFit/>
            </a:bodyPr>
            <a:lstStyle/>
            <a:p>
              <a:pPr algn="ctr" defTabSz="533387" fontAlgn="auto">
                <a:spcAft>
                  <a:spcPct val="35000"/>
                </a:spcAft>
              </a:pPr>
              <a:r>
                <a:rPr lang="en-US" sz="700" b="1" cap="all" dirty="0">
                  <a:solidFill>
                    <a:srgbClr val="FFFFFF"/>
                  </a:solidFill>
                  <a:latin typeface="Arial"/>
                  <a:cs typeface="+mn-cs"/>
                </a:rPr>
                <a:t>​AUDIENCE RESPONSE </a:t>
              </a:r>
            </a:p>
            <a:p>
              <a:pPr algn="ctr" defTabSz="533387" fontAlgn="auto">
                <a:spcAft>
                  <a:spcPct val="35000"/>
                </a:spcAft>
              </a:pPr>
              <a:r>
                <a:rPr lang="en-US" sz="700" b="1" cap="all" dirty="0">
                  <a:solidFill>
                    <a:srgbClr val="FFFFFF"/>
                  </a:solidFill>
                  <a:latin typeface="Arial"/>
                  <a:cs typeface="+mn-cs"/>
                </a:rPr>
                <a:t>&amp; EFFECTS</a:t>
              </a:r>
              <a:endParaRPr lang="en-US" sz="700" b="1" dirty="0">
                <a:solidFill>
                  <a:srgbClr val="FFFFFF"/>
                </a:solidFill>
                <a:latin typeface="Arial"/>
                <a:cs typeface="+mn-cs"/>
              </a:endParaRPr>
            </a:p>
          </p:txBody>
        </p:sp>
        <p:sp>
          <p:nvSpPr>
            <p:cNvPr id="89" name="Block Arc 88"/>
            <p:cNvSpPr/>
            <p:nvPr/>
          </p:nvSpPr>
          <p:spPr>
            <a:xfrm rot="2516605">
              <a:off x="4121598" y="1730530"/>
              <a:ext cx="3848822" cy="3848822"/>
            </a:xfrm>
            <a:prstGeom prst="blockArc">
              <a:avLst>
                <a:gd name="adj1" fmla="val 11360548"/>
                <a:gd name="adj2" fmla="val 13549058"/>
                <a:gd name="adj3" fmla="val 34118"/>
              </a:avLst>
            </a:prstGeom>
            <a:solidFill>
              <a:srgbClr val="6429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400">
                <a:solidFill>
                  <a:srgbClr val="FFFFFF"/>
                </a:solidFill>
              </a:endParaRPr>
            </a:p>
          </p:txBody>
        </p:sp>
        <p:sp>
          <p:nvSpPr>
            <p:cNvPr id="90" name="Rectangle 89"/>
            <p:cNvSpPr/>
            <p:nvPr/>
          </p:nvSpPr>
          <p:spPr>
            <a:xfrm rot="20342646">
              <a:off x="4670504" y="2269320"/>
              <a:ext cx="2956432" cy="3111300"/>
            </a:xfrm>
            <a:prstGeom prst="rect">
              <a:avLst/>
            </a:prstGeom>
          </p:spPr>
          <p:txBody>
            <a:bodyPr>
              <a:prstTxWarp prst="textArchUp">
                <a:avLst/>
              </a:prstTxWarp>
              <a:spAutoFit/>
            </a:bodyPr>
            <a:lstStyle/>
            <a:p>
              <a:pPr algn="ctr" defTabSz="533387" fontAlgn="auto">
                <a:spcAft>
                  <a:spcPct val="35000"/>
                </a:spcAft>
              </a:pPr>
              <a:r>
                <a:rPr lang="en-US" sz="700" b="1" cap="all" dirty="0">
                  <a:solidFill>
                    <a:srgbClr val="FFFFFF"/>
                  </a:solidFill>
                  <a:latin typeface="Arial"/>
                  <a:cs typeface="+mn-cs"/>
                </a:rPr>
                <a:t>ORGANIZATION &amp; </a:t>
              </a:r>
            </a:p>
            <a:p>
              <a:pPr algn="ctr" defTabSz="533387" fontAlgn="auto">
                <a:spcAft>
                  <a:spcPct val="35000"/>
                </a:spcAft>
              </a:pPr>
              <a:r>
                <a:rPr lang="en-US" sz="700" b="1" cap="all" dirty="0">
                  <a:solidFill>
                    <a:srgbClr val="FFFFFF"/>
                  </a:solidFill>
                  <a:latin typeface="Arial"/>
                  <a:cs typeface="+mn-cs"/>
                </a:rPr>
                <a:t>STAKEHOLDER</a:t>
              </a:r>
            </a:p>
            <a:p>
              <a:pPr algn="ctr" defTabSz="533387" fontAlgn="auto">
                <a:spcAft>
                  <a:spcPct val="35000"/>
                </a:spcAft>
              </a:pPr>
              <a:r>
                <a:rPr lang="en-US" sz="700" b="1" cap="all" dirty="0">
                  <a:solidFill>
                    <a:srgbClr val="FFFFFF"/>
                  </a:solidFill>
                  <a:latin typeface="Arial"/>
                  <a:cs typeface="+mn-cs"/>
                </a:rPr>
                <a:t> EFFECTS</a:t>
              </a:r>
              <a:endParaRPr lang="en-US" sz="700" b="1" dirty="0">
                <a:solidFill>
                  <a:srgbClr val="FFFFFF"/>
                </a:solidFill>
                <a:latin typeface="Arial"/>
                <a:cs typeface="+mn-cs"/>
              </a:endParaRPr>
            </a:p>
          </p:txBody>
        </p:sp>
        <p:sp>
          <p:nvSpPr>
            <p:cNvPr id="92" name="Rectangle 91"/>
            <p:cNvSpPr/>
            <p:nvPr/>
          </p:nvSpPr>
          <p:spPr>
            <a:xfrm>
              <a:off x="4004143" y="1183031"/>
              <a:ext cx="4056996" cy="4269514"/>
            </a:xfrm>
            <a:prstGeom prst="rect">
              <a:avLst/>
            </a:prstGeom>
          </p:spPr>
          <p:txBody>
            <a:bodyPr>
              <a:prstTxWarp prst="textArchDown">
                <a:avLst/>
              </a:prstTxWarp>
              <a:spAutoFit/>
            </a:bodyPr>
            <a:lstStyle/>
            <a:p>
              <a:pPr algn="ctr" defTabSz="533387" fontAlgn="auto">
                <a:spcAft>
                  <a:spcPct val="35000"/>
                </a:spcAft>
              </a:pPr>
              <a:r>
                <a:rPr lang="en-US" sz="700" b="1" cap="all" dirty="0">
                  <a:solidFill>
                    <a:srgbClr val="FFFFFF"/>
                  </a:solidFill>
                  <a:latin typeface="Arial"/>
                  <a:cs typeface="+mn-cs"/>
                </a:rPr>
                <a:t>IMPLEMENT</a:t>
              </a:r>
              <a:endParaRPr lang="en-US" sz="700" b="1" dirty="0">
                <a:solidFill>
                  <a:srgbClr val="FFFFFF"/>
                </a:solidFill>
                <a:latin typeface="Arial"/>
                <a:cs typeface="+mn-cs"/>
              </a:endParaRPr>
            </a:p>
          </p:txBody>
        </p:sp>
        <p:sp>
          <p:nvSpPr>
            <p:cNvPr id="93" name="Block Arc 92"/>
            <p:cNvSpPr/>
            <p:nvPr/>
          </p:nvSpPr>
          <p:spPr>
            <a:xfrm rot="16981798">
              <a:off x="4107744" y="1783178"/>
              <a:ext cx="3848822" cy="3848822"/>
            </a:xfrm>
            <a:prstGeom prst="blockArc">
              <a:avLst>
                <a:gd name="adj1" fmla="val 11325786"/>
                <a:gd name="adj2" fmla="val 13598120"/>
                <a:gd name="adj3" fmla="val 33693"/>
              </a:avLst>
            </a:prstGeom>
            <a:solidFill>
              <a:srgbClr val="005A9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400">
                <a:solidFill>
                  <a:srgbClr val="FFFFFF"/>
                </a:solidFill>
              </a:endParaRPr>
            </a:p>
          </p:txBody>
        </p:sp>
        <p:sp>
          <p:nvSpPr>
            <p:cNvPr id="56" name="Oval 55"/>
            <p:cNvSpPr/>
            <p:nvPr/>
          </p:nvSpPr>
          <p:spPr>
            <a:xfrm>
              <a:off x="4919676" y="2686554"/>
              <a:ext cx="2186162" cy="2186160"/>
            </a:xfrm>
            <a:prstGeom prst="ellipse">
              <a:avLst/>
            </a:prstGeom>
            <a:solidFill>
              <a:schemeClr val="accent4">
                <a:lumMod val="20000"/>
                <a:lumOff val="8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400">
                <a:solidFill>
                  <a:srgbClr val="FFFFFF"/>
                </a:solidFill>
              </a:endParaRPr>
            </a:p>
          </p:txBody>
        </p:sp>
        <p:sp>
          <p:nvSpPr>
            <p:cNvPr id="94" name="Rectangle 93"/>
            <p:cNvSpPr/>
            <p:nvPr/>
          </p:nvSpPr>
          <p:spPr>
            <a:xfrm rot="2407706">
              <a:off x="4378216" y="1124842"/>
              <a:ext cx="4056996" cy="4269514"/>
            </a:xfrm>
            <a:prstGeom prst="rect">
              <a:avLst/>
            </a:prstGeom>
          </p:spPr>
          <p:txBody>
            <a:bodyPr>
              <a:prstTxWarp prst="textArchDown">
                <a:avLst/>
              </a:prstTxWarp>
              <a:spAutoFit/>
            </a:bodyPr>
            <a:lstStyle/>
            <a:p>
              <a:pPr algn="ctr" defTabSz="533387" fontAlgn="auto">
                <a:spcAft>
                  <a:spcPct val="35000"/>
                </a:spcAft>
              </a:pPr>
              <a:r>
                <a:rPr lang="en-US" sz="700" b="1" cap="all">
                  <a:solidFill>
                    <a:srgbClr val="FFFFFF"/>
                  </a:solidFill>
                  <a:latin typeface="Arial"/>
                  <a:cs typeface="+mn-cs"/>
                </a:rPr>
                <a:t>​MEASURE</a:t>
              </a:r>
            </a:p>
            <a:p>
              <a:pPr algn="ctr" defTabSz="533387" fontAlgn="auto">
                <a:spcAft>
                  <a:spcPct val="35000"/>
                </a:spcAft>
              </a:pPr>
              <a:r>
                <a:rPr lang="en-US" sz="700" b="1" cap="all" dirty="0">
                  <a:solidFill>
                    <a:srgbClr val="FFFFFF"/>
                  </a:solidFill>
                  <a:latin typeface="Arial"/>
                  <a:cs typeface="+mn-cs"/>
                </a:rPr>
                <a:t>ACTIVITY</a:t>
              </a:r>
            </a:p>
            <a:p>
              <a:pPr algn="ctr" defTabSz="533387" fontAlgn="auto">
                <a:spcAft>
                  <a:spcPct val="35000"/>
                </a:spcAft>
              </a:pPr>
              <a:br>
                <a:rPr lang="en-US" sz="700" b="1" cap="all" dirty="0">
                  <a:solidFill>
                    <a:srgbClr val="FFFFFF"/>
                  </a:solidFill>
                  <a:latin typeface="Arial"/>
                  <a:cs typeface="+mn-cs"/>
                </a:rPr>
              </a:br>
              <a:endParaRPr lang="en-US" sz="700" b="1" cap="all" dirty="0">
                <a:solidFill>
                  <a:srgbClr val="FFFFFF"/>
                </a:solidFill>
                <a:latin typeface="Arial"/>
                <a:cs typeface="+mn-cs"/>
              </a:endParaRPr>
            </a:p>
          </p:txBody>
        </p:sp>
      </p:grpSp>
      <p:sp>
        <p:nvSpPr>
          <p:cNvPr id="3" name="TextBox 2"/>
          <p:cNvSpPr txBox="1"/>
          <p:nvPr/>
        </p:nvSpPr>
        <p:spPr>
          <a:xfrm>
            <a:off x="1807228" y="2274456"/>
            <a:ext cx="1458760" cy="484748"/>
          </a:xfrm>
          <a:prstGeom prst="rect">
            <a:avLst/>
          </a:prstGeom>
          <a:noFill/>
        </p:spPr>
        <p:txBody>
          <a:bodyPr wrap="square" lIns="68579" tIns="34289" rIns="68579" bIns="34289" rtlCol="0">
            <a:spAutoFit/>
          </a:bodyPr>
          <a:lstStyle/>
          <a:p>
            <a:pPr algn="ctr" defTabSz="685783" fontAlgn="auto">
              <a:spcBef>
                <a:spcPts val="0"/>
              </a:spcBef>
              <a:spcAft>
                <a:spcPts val="0"/>
              </a:spcAft>
            </a:pPr>
            <a:r>
              <a:rPr lang="en-US" sz="2700" dirty="0">
                <a:solidFill>
                  <a:srgbClr val="000000"/>
                </a:solidFill>
                <a:latin typeface="Arial"/>
                <a:cs typeface="+mn-cs"/>
              </a:rPr>
              <a:t>CLIENT</a:t>
            </a:r>
          </a:p>
        </p:txBody>
      </p:sp>
      <p:pic>
        <p:nvPicPr>
          <p:cNvPr id="61444" name="Picture 4" descr="Image result for Lewis PR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99295" y="-6717"/>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5775727" y="2022318"/>
            <a:ext cx="1905000" cy="2154436"/>
          </a:xfrm>
          <a:prstGeom prst="rect">
            <a:avLst/>
          </a:prstGeom>
          <a:noFill/>
        </p:spPr>
        <p:txBody>
          <a:bodyPr wrap="square" rtlCol="0">
            <a:spAutoFit/>
          </a:bodyPr>
          <a:lstStyle/>
          <a:p>
            <a:r>
              <a:rPr lang="en-GB" sz="1400" dirty="0">
                <a:solidFill>
                  <a:schemeClr val="bg1"/>
                </a:solidFill>
              </a:rPr>
              <a:t>Lewis gets great benefit by putting each of its squarely at the heart of the Integrated Evaluation Framework. We urge you to do </a:t>
            </a:r>
            <a:r>
              <a:rPr lang="en-GB" sz="1400">
                <a:solidFill>
                  <a:schemeClr val="bg1"/>
                </a:solidFill>
              </a:rPr>
              <a:t>the same.</a:t>
            </a:r>
          </a:p>
          <a:p>
            <a:endParaRPr lang="en-GB" sz="1400" dirty="0">
              <a:solidFill>
                <a:schemeClr val="bg1"/>
              </a:solidFill>
            </a:endParaRPr>
          </a:p>
          <a:p>
            <a:r>
              <a:rPr lang="en-GB" sz="1100" dirty="0">
                <a:solidFill>
                  <a:schemeClr val="bg1"/>
                </a:solidFill>
              </a:rPr>
              <a:t>Image use courtesy of Lewis.</a:t>
            </a:r>
          </a:p>
        </p:txBody>
      </p:sp>
    </p:spTree>
    <p:extLst>
      <p:ext uri="{BB962C8B-B14F-4D97-AF65-F5344CB8AC3E}">
        <p14:creationId xmlns:p14="http://schemas.microsoft.com/office/powerpoint/2010/main" val="3159704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CLASSNAME" val="CustFormCol001RoundSingleCornerRectangle"/>
  <p:tag name="COLORSETCLASSNAME" val="ColorSet1"/>
  <p:tag name="COLORS" val="-1;Scheme9;-2;-2;-1;-2"/>
</p:tagLst>
</file>

<file path=ppt/tags/tag13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35.xml><?xml version="1.0" encoding="utf-8"?>
<p:tagLst xmlns:a="http://schemas.openxmlformats.org/drawingml/2006/main" xmlns:r="http://schemas.openxmlformats.org/officeDocument/2006/relationships" xmlns:p="http://schemas.openxmlformats.org/presentationml/2006/main">
  <p:tag name="SHAPECLASSNAME" val="CustFormCol001RoundSingleCornerRectangle"/>
  <p:tag name="COLORSETCLASSNAME" val="ColorSet1"/>
  <p:tag name="COLORS" val="-1;Scheme9;-2;-2;-1;-2"/>
</p:tagLst>
</file>

<file path=ppt/tags/tag13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3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3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3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4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4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43.xml><?xml version="1.0" encoding="utf-8"?>
<p:tagLst xmlns:a="http://schemas.openxmlformats.org/drawingml/2006/main" xmlns:r="http://schemas.openxmlformats.org/officeDocument/2006/relationships" xmlns:p="http://schemas.openxmlformats.org/presentationml/2006/main">
  <p:tag name="COLORS" val="-2;-2;-2;-2;SlideTextFontColorLight;-2"/>
  <p:tag name="COLORSETCLASSNAME" val="ColorSet1"/>
  <p:tag name="MLI" val="1"/>
  <p:tag name="SHAPESETGROUPCLASSNAME" val="ShapeSetGroup2"/>
  <p:tag name="SHAPESETCLASSNAME" val="TITLETWOCONTENTTWOTEXT01"/>
  <p:tag name="COLORSETGROUPCLASSNAME" val="ColorSetGroupLight"/>
  <p:tag name="FONTSETGROUPCLASSNAME" val="FontSetGroup1"/>
  <p:tag name="SHAPECLASSNAME" val="ContentRightTopG3S3"/>
  <p:tag name="SHAPECLASSPROTECTIONTYPE" val="3"/>
</p:tagLst>
</file>

<file path=ppt/tags/tag144.xml><?xml version="1.0" encoding="utf-8"?>
<p:tagLst xmlns:a="http://schemas.openxmlformats.org/drawingml/2006/main" xmlns:r="http://schemas.openxmlformats.org/officeDocument/2006/relationships" xmlns:p="http://schemas.openxmlformats.org/presentationml/2006/main">
  <p:tag name="COLORS" val="-2;-2;-2;-2;SlideTextFontColorLight;-2"/>
  <p:tag name="COLORSETCLASSNAME" val="ColorSet1"/>
  <p:tag name="MLI" val="1"/>
  <p:tag name="SHAPESETGROUPCLASSNAME" val="ShapeSetGroup2"/>
  <p:tag name="SHAPESETCLASSNAME" val="TITLETWOCONTENTTWOTEXT01"/>
  <p:tag name="COLORSETGROUPCLASSNAME" val="ColorSetGroupLight"/>
  <p:tag name="FONTSETGROUPCLASSNAME" val="FontSetGroup1"/>
  <p:tag name="SHAPECLASSNAME" val="ContentLeftTopG3S3"/>
  <p:tag name="SHAPECLASSPROTECTIONTYPE" val="3"/>
</p:tagLst>
</file>

<file path=ppt/tags/tag14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4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47.xml><?xml version="1.0" encoding="utf-8"?>
<p:tagLst xmlns:a="http://schemas.openxmlformats.org/drawingml/2006/main" xmlns:r="http://schemas.openxmlformats.org/officeDocument/2006/relationships" xmlns:p="http://schemas.openxmlformats.org/presentationml/2006/main">
  <p:tag name="COLORS" val="-2;-2;-2;-2;SlideTextFontColorLight;-2"/>
  <p:tag name="COLORSETCLASSNAME" val="ColorSet1"/>
  <p:tag name="MLI" val="1"/>
  <p:tag name="SHAPESETGROUPCLASSNAME" val="ShapeSetGroup2"/>
  <p:tag name="SHAPESETCLASSNAME" val="TITLEBIGCONTENTTEXT01"/>
  <p:tag name="COLORSETGROUPCLASSNAME" val="ColorSetGroupLight"/>
  <p:tag name="FONTSETGROUPCLASSNAME" val="FontSetGroup1"/>
  <p:tag name="SHAPECLASSNAME" val="ContentBigRightG3S4"/>
  <p:tag name="SHAPECLASSPROTECTIONTYPE" val="3"/>
</p:tagLst>
</file>

<file path=ppt/tags/tag14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49.xml><?xml version="1.0" encoding="utf-8"?>
<p:tagLst xmlns:a="http://schemas.openxmlformats.org/drawingml/2006/main" xmlns:r="http://schemas.openxmlformats.org/officeDocument/2006/relationships" xmlns:p="http://schemas.openxmlformats.org/presentationml/2006/main">
  <p:tag name="COLORS" val="-2;-2;-2;-2;SlideTextFontColorLight;-2"/>
  <p:tag name="COLORSETCLASSNAME" val="ColorSet1"/>
  <p:tag name="MLI" val="1"/>
  <p:tag name="SHAPESETGROUPCLASSNAME" val="ShapeSetGroup2"/>
  <p:tag name="SHAPESETCLASSNAME" val="CONTENTTITLETEXT01"/>
  <p:tag name="COLORSETGROUPCLASSNAME" val="ColorSetGroupLight"/>
  <p:tag name="FONTSETGROUPCLASSNAME" val="FontSetGroup1"/>
  <p:tag name="SHAPECLASSNAME" val="ContentSmalLeftG3S1"/>
  <p:tag name="SHAPECLASSPROTECTIONTYPE" val="3"/>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51.xml><?xml version="1.0" encoding="utf-8"?>
<p:tagLst xmlns:a="http://schemas.openxmlformats.org/drawingml/2006/main" xmlns:r="http://schemas.openxmlformats.org/officeDocument/2006/relationships" xmlns:p="http://schemas.openxmlformats.org/presentationml/2006/main">
  <p:tag name="SHAPECLASSNAME" val="CustFormCol001RoundSingleCornerRectangle"/>
  <p:tag name="COLORSETCLASSNAME" val="ColorSet1"/>
  <p:tag name="COLORS" val="-1;Scheme9;-2;-2;-1;-2"/>
</p:tagLst>
</file>

<file path=ppt/tags/tag15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53.xml><?xml version="1.0" encoding="utf-8"?>
<p:tagLst xmlns:a="http://schemas.openxmlformats.org/drawingml/2006/main" xmlns:r="http://schemas.openxmlformats.org/officeDocument/2006/relationships" xmlns:p="http://schemas.openxmlformats.org/presentationml/2006/main">
  <p:tag name="SHAPECLASSNAME" val="CustFormCol001RoundSingleCornerRectangle"/>
  <p:tag name="COLORSETCLASSNAME" val="ColorSet1"/>
  <p:tag name="COLORS" val="-1;Scheme9;-2;-2;-1;-2"/>
</p:tagLst>
</file>

<file path=ppt/tags/tag15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55.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56.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heme/_rels/theme45.xml.rels><?xml version="1.0" encoding="UTF-8" standalone="yes"?>
<Relationships xmlns="http://schemas.openxmlformats.org/package/2006/relationships"><Relationship Id="rId1" Type="http://schemas.openxmlformats.org/officeDocument/2006/relationships/image" Target="../media/image59.jpeg"/></Relationships>
</file>

<file path=ppt/theme/_rels/theme46.xml.rels><?xml version="1.0" encoding="UTF-8" standalone="yes"?>
<Relationships xmlns="http://schemas.openxmlformats.org/package/2006/relationships"><Relationship Id="rId1" Type="http://schemas.openxmlformats.org/officeDocument/2006/relationships/image" Target="../media/image59.jpeg"/></Relationships>
</file>

<file path=ppt/theme/_rels/theme47.xml.rels><?xml version="1.0" encoding="UTF-8" standalone="yes"?>
<Relationships xmlns="http://schemas.openxmlformats.org/package/2006/relationships"><Relationship Id="rId1" Type="http://schemas.openxmlformats.org/officeDocument/2006/relationships/image" Target="../media/image59.jpeg"/></Relationships>
</file>

<file path=ppt/theme/theme1.xml><?xml version="1.0" encoding="utf-8"?>
<a:theme xmlns:a="http://schemas.openxmlformats.org/drawingml/2006/main" name="PPT template, 04.2010">
  <a:themeElements>
    <a:clrScheme name="PPT template, 04.2010 2">
      <a:dk1>
        <a:srgbClr val="000000"/>
      </a:dk1>
      <a:lt1>
        <a:srgbClr val="FFFFFF"/>
      </a:lt1>
      <a:dk2>
        <a:srgbClr val="B9DCEA"/>
      </a:dk2>
      <a:lt2>
        <a:srgbClr val="69B8D6"/>
      </a:lt2>
      <a:accent1>
        <a:srgbClr val="C3C3C3"/>
      </a:accent1>
      <a:accent2>
        <a:srgbClr val="FF7507"/>
      </a:accent2>
      <a:accent3>
        <a:srgbClr val="FFFFFF"/>
      </a:accent3>
      <a:accent4>
        <a:srgbClr val="000000"/>
      </a:accent4>
      <a:accent5>
        <a:srgbClr val="DEDEDE"/>
      </a:accent5>
      <a:accent6>
        <a:srgbClr val="E76906"/>
      </a:accent6>
      <a:hlink>
        <a:srgbClr val="434343"/>
      </a:hlink>
      <a:folHlink>
        <a:srgbClr val="FCB91C"/>
      </a:folHlink>
    </a:clrScheme>
    <a:fontScheme name="PPT template, 04.2010">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1" i="0" u="none" strike="noStrike" cap="none" normalizeH="0" baseline="0">
            <a:ln>
              <a:noFill/>
            </a:ln>
            <a:solidFill>
              <a:schemeClr val="tx1"/>
            </a:solidFill>
            <a:effectLst/>
            <a:latin typeface="Verdana"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1" i="0" u="none" strike="noStrike" cap="none" normalizeH="0" baseline="0">
            <a:ln>
              <a:noFill/>
            </a:ln>
            <a:solidFill>
              <a:schemeClr val="tx1"/>
            </a:solidFill>
            <a:effectLst/>
            <a:latin typeface="Verdana" charset="0"/>
          </a:defRPr>
        </a:defPPr>
      </a:lstStyle>
    </a:lnDef>
  </a:objectDefaults>
  <a:extraClrSchemeLst>
    <a:extraClrScheme>
      <a:clrScheme name="PPT template, 04.2010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clrMap bg1="lt1" tx1="dk1" bg2="lt2" tx2="dk2" accent1="accent1" accent2="accent2" accent3="accent3" accent4="accent4" accent5="accent5" accent6="accent6" hlink="hlink" folHlink="folHlink"/>
    </a:extraClrScheme>
    <a:extraClrScheme>
      <a:clrScheme name="PPT template, 04.2010 2">
        <a:dk1>
          <a:srgbClr val="000000"/>
        </a:dk1>
        <a:lt1>
          <a:srgbClr val="FFFFFF"/>
        </a:lt1>
        <a:dk2>
          <a:srgbClr val="B9DCEA"/>
        </a:dk2>
        <a:lt2>
          <a:srgbClr val="69B8D6"/>
        </a:lt2>
        <a:accent1>
          <a:srgbClr val="C3C3C3"/>
        </a:accent1>
        <a:accent2>
          <a:srgbClr val="FF7507"/>
        </a:accent2>
        <a:accent3>
          <a:srgbClr val="FFFFFF"/>
        </a:accent3>
        <a:accent4>
          <a:srgbClr val="000000"/>
        </a:accent4>
        <a:accent5>
          <a:srgbClr val="DEDEDE"/>
        </a:accent5>
        <a:accent6>
          <a:srgbClr val="E76906"/>
        </a:accent6>
        <a:hlink>
          <a:srgbClr val="434343"/>
        </a:hlink>
        <a:folHlink>
          <a:srgbClr val="FCB91C"/>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1.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2.xml><?xml version="1.0" encoding="utf-8"?>
<a:theme xmlns:a="http://schemas.openxmlformats.org/drawingml/2006/main" name="Kantar Media Fluidity">
  <a:themeElements>
    <a:clrScheme name="KantarMedia SpherePrint 2">
      <a:dk1>
        <a:srgbClr val="000000"/>
      </a:dk1>
      <a:lt1>
        <a:srgbClr val="FFFFFF"/>
      </a:lt1>
      <a:dk2>
        <a:srgbClr val="717171"/>
      </a:dk2>
      <a:lt2>
        <a:srgbClr val="C0C0C0"/>
      </a:lt2>
      <a:accent1>
        <a:srgbClr val="FF6400"/>
      </a:accent1>
      <a:accent2>
        <a:srgbClr val="FFBE00"/>
      </a:accent2>
      <a:accent3>
        <a:srgbClr val="FFFFFF"/>
      </a:accent3>
      <a:accent4>
        <a:srgbClr val="000000"/>
      </a:accent4>
      <a:accent5>
        <a:srgbClr val="FFB8AA"/>
      </a:accent5>
      <a:accent6>
        <a:srgbClr val="E7AC00"/>
      </a:accent6>
      <a:hlink>
        <a:srgbClr val="BE0000"/>
      </a:hlink>
      <a:folHlink>
        <a:srgbClr val="6EBE00"/>
      </a:folHlink>
    </a:clrScheme>
    <a:fontScheme name="KantarMedia Sphere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sng"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sng" strike="noStrike" cap="none" normalizeH="0" baseline="0" smtClean="0">
            <a:ln>
              <a:noFill/>
            </a:ln>
            <a:solidFill>
              <a:schemeClr val="tx1"/>
            </a:solidFill>
            <a:effectLst/>
            <a:latin typeface="Arial" charset="0"/>
          </a:defRPr>
        </a:defPPr>
      </a:lstStyle>
    </a:lnDef>
  </a:objectDefaults>
  <a:extraClrSchemeLst>
    <a:extraClrScheme>
      <a:clrScheme name="KantarMedia SpherePrint 1">
        <a:dk1>
          <a:srgbClr val="717171"/>
        </a:dk1>
        <a:lt1>
          <a:srgbClr val="E7E7E7"/>
        </a:lt1>
        <a:dk2>
          <a:srgbClr val="989898"/>
        </a:dk2>
        <a:lt2>
          <a:srgbClr val="C0C0C0"/>
        </a:lt2>
        <a:accent1>
          <a:srgbClr val="FF6400"/>
        </a:accent1>
        <a:accent2>
          <a:srgbClr val="FFBE00"/>
        </a:accent2>
        <a:accent3>
          <a:srgbClr val="F1F1F1"/>
        </a:accent3>
        <a:accent4>
          <a:srgbClr val="5F5F5F"/>
        </a:accent4>
        <a:accent5>
          <a:srgbClr val="FFB8AA"/>
        </a:accent5>
        <a:accent6>
          <a:srgbClr val="E7AC00"/>
        </a:accent6>
        <a:hlink>
          <a:srgbClr val="BE0000"/>
        </a:hlink>
        <a:folHlink>
          <a:srgbClr val="6EBE00"/>
        </a:folHlink>
      </a:clrScheme>
      <a:clrMap bg1="lt1" tx1="dk1" bg2="lt2" tx2="dk2" accent1="accent1" accent2="accent2" accent3="accent3" accent4="accent4" accent5="accent5" accent6="accent6" hlink="hlink" folHlink="folHlink"/>
    </a:extraClrScheme>
    <a:extraClrScheme>
      <a:clrScheme name="KantarMedia SpherePrint 2">
        <a:dk1>
          <a:srgbClr val="000000"/>
        </a:dk1>
        <a:lt1>
          <a:srgbClr val="FFFFFF"/>
        </a:lt1>
        <a:dk2>
          <a:srgbClr val="717171"/>
        </a:dk2>
        <a:lt2>
          <a:srgbClr val="C0C0C0"/>
        </a:lt2>
        <a:accent1>
          <a:srgbClr val="FF6400"/>
        </a:accent1>
        <a:accent2>
          <a:srgbClr val="FFBE00"/>
        </a:accent2>
        <a:accent3>
          <a:srgbClr val="FFFFFF"/>
        </a:accent3>
        <a:accent4>
          <a:srgbClr val="000000"/>
        </a:accent4>
        <a:accent5>
          <a:srgbClr val="FFB8AA"/>
        </a:accent5>
        <a:accent6>
          <a:srgbClr val="E7AC00"/>
        </a:accent6>
        <a:hlink>
          <a:srgbClr val="BE0000"/>
        </a:hlink>
        <a:folHlink>
          <a:srgbClr val="6EBE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LAN039_Barclays_Template_blue_021612_7c">
  <a:themeElements>
    <a:clrScheme name="Barclays blue bkgd colors">
      <a:dk1>
        <a:srgbClr val="FFFFFF"/>
      </a:dk1>
      <a:lt1>
        <a:srgbClr val="006991"/>
      </a:lt1>
      <a:dk2>
        <a:srgbClr val="969696"/>
      </a:dk2>
      <a:lt2>
        <a:srgbClr val="00AEEF"/>
      </a:lt2>
      <a:accent1>
        <a:srgbClr val="FBDB81"/>
      </a:accent1>
      <a:accent2>
        <a:srgbClr val="EC8A40"/>
      </a:accent2>
      <a:accent3>
        <a:srgbClr val="CB5151"/>
      </a:accent3>
      <a:accent4>
        <a:srgbClr val="00395C"/>
      </a:accent4>
      <a:accent5>
        <a:srgbClr val="FFFFFF"/>
      </a:accent5>
      <a:accent6>
        <a:srgbClr val="809CAE"/>
      </a:accent6>
      <a:hlink>
        <a:srgbClr val="007882"/>
      </a:hlink>
      <a:folHlink>
        <a:srgbClr val="143C78"/>
      </a:folHlink>
    </a:clrScheme>
    <a:fontScheme name="Barclays_template_fonts">
      <a:majorFont>
        <a:latin typeface="Expert Sans Regular"/>
        <a:ea typeface=""/>
        <a:cs typeface=""/>
      </a:majorFont>
      <a:minorFont>
        <a:latin typeface="Expert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3600" b="0" i="0" u="none" strike="noStrike" cap="none" normalizeH="0" baseline="0" smtClean="0">
            <a:ln>
              <a:noFill/>
            </a:ln>
            <a:solidFill>
              <a:schemeClr val="bg2"/>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bg2"/>
            </a:solidFill>
            <a:effectLst/>
            <a:latin typeface="Arial" pitchFamily="34" charset="0"/>
          </a:defRPr>
        </a:defPPr>
      </a:lstStyle>
    </a:lnDef>
    <a:txDef>
      <a:spPr>
        <a:noFill/>
      </a:spPr>
      <a:bodyPr wrap="square" rtlCol="0">
        <a:spAutoFit/>
      </a:bodyPr>
      <a:lstStyle>
        <a:defPPr>
          <a:defRPr sz="2000" dirty="0" err="1" smtClean="0">
            <a:solidFill>
              <a:schemeClr val="tx1"/>
            </a:solidFill>
            <a:latin typeface="+mn-lt"/>
          </a:defRPr>
        </a:defPPr>
      </a:lstStyle>
    </a:txDef>
  </a:objectDefaults>
  <a:extraClrSchemeLst>
    <a:extraClrScheme>
      <a:clrScheme name="Slide master 1 1">
        <a:dk1>
          <a:srgbClr val="000000"/>
        </a:dk1>
        <a:lt1>
          <a:srgbClr val="FFFFFF"/>
        </a:lt1>
        <a:dk2>
          <a:srgbClr val="0F90C3"/>
        </a:dk2>
        <a:lt2>
          <a:srgbClr val="00AEEF"/>
        </a:lt2>
        <a:accent1>
          <a:srgbClr val="4D595F"/>
        </a:accent1>
        <a:accent2>
          <a:srgbClr val="00A9B1"/>
        </a:accent2>
        <a:accent3>
          <a:srgbClr val="FFFFFF"/>
        </a:accent3>
        <a:accent4>
          <a:srgbClr val="000000"/>
        </a:accent4>
        <a:accent5>
          <a:srgbClr val="B2B5B6"/>
        </a:accent5>
        <a:accent6>
          <a:srgbClr val="0099A0"/>
        </a:accent6>
        <a:hlink>
          <a:srgbClr val="007882"/>
        </a:hlink>
        <a:folHlink>
          <a:srgbClr val="143C7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A4 Non-Message Driven HSBC">
  <a:themeElements>
    <a:clrScheme name="A4 Non-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Non-Message Drive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Non-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_Kantar Media Fluidity">
  <a:themeElements>
    <a:clrScheme name="KantarMedia SpherePrint 2">
      <a:dk1>
        <a:srgbClr val="000000"/>
      </a:dk1>
      <a:lt1>
        <a:srgbClr val="FFFFFF"/>
      </a:lt1>
      <a:dk2>
        <a:srgbClr val="717171"/>
      </a:dk2>
      <a:lt2>
        <a:srgbClr val="C0C0C0"/>
      </a:lt2>
      <a:accent1>
        <a:srgbClr val="FF6400"/>
      </a:accent1>
      <a:accent2>
        <a:srgbClr val="FFBE00"/>
      </a:accent2>
      <a:accent3>
        <a:srgbClr val="FFFFFF"/>
      </a:accent3>
      <a:accent4>
        <a:srgbClr val="000000"/>
      </a:accent4>
      <a:accent5>
        <a:srgbClr val="FFB8AA"/>
      </a:accent5>
      <a:accent6>
        <a:srgbClr val="E7AC00"/>
      </a:accent6>
      <a:hlink>
        <a:srgbClr val="BE0000"/>
      </a:hlink>
      <a:folHlink>
        <a:srgbClr val="6EBE00"/>
      </a:folHlink>
    </a:clrScheme>
    <a:fontScheme name="KantarMedia Sphere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sng"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sng" strike="noStrike" cap="none" normalizeH="0" baseline="0" smtClean="0">
            <a:ln>
              <a:noFill/>
            </a:ln>
            <a:solidFill>
              <a:schemeClr val="tx1"/>
            </a:solidFill>
            <a:effectLst/>
            <a:latin typeface="Arial" charset="0"/>
          </a:defRPr>
        </a:defPPr>
      </a:lstStyle>
    </a:lnDef>
  </a:objectDefaults>
  <a:extraClrSchemeLst>
    <a:extraClrScheme>
      <a:clrScheme name="KantarMedia SpherePrint 1">
        <a:dk1>
          <a:srgbClr val="717171"/>
        </a:dk1>
        <a:lt1>
          <a:srgbClr val="E7E7E7"/>
        </a:lt1>
        <a:dk2>
          <a:srgbClr val="989898"/>
        </a:dk2>
        <a:lt2>
          <a:srgbClr val="C0C0C0"/>
        </a:lt2>
        <a:accent1>
          <a:srgbClr val="FF6400"/>
        </a:accent1>
        <a:accent2>
          <a:srgbClr val="FFBE00"/>
        </a:accent2>
        <a:accent3>
          <a:srgbClr val="F1F1F1"/>
        </a:accent3>
        <a:accent4>
          <a:srgbClr val="5F5F5F"/>
        </a:accent4>
        <a:accent5>
          <a:srgbClr val="FFB8AA"/>
        </a:accent5>
        <a:accent6>
          <a:srgbClr val="E7AC00"/>
        </a:accent6>
        <a:hlink>
          <a:srgbClr val="BE0000"/>
        </a:hlink>
        <a:folHlink>
          <a:srgbClr val="6EBE00"/>
        </a:folHlink>
      </a:clrScheme>
      <a:clrMap bg1="lt1" tx1="dk1" bg2="lt2" tx2="dk2" accent1="accent1" accent2="accent2" accent3="accent3" accent4="accent4" accent5="accent5" accent6="accent6" hlink="hlink" folHlink="folHlink"/>
    </a:extraClrScheme>
    <a:extraClrScheme>
      <a:clrScheme name="KantarMedia SpherePrint 2">
        <a:dk1>
          <a:srgbClr val="000000"/>
        </a:dk1>
        <a:lt1>
          <a:srgbClr val="FFFFFF"/>
        </a:lt1>
        <a:dk2>
          <a:srgbClr val="717171"/>
        </a:dk2>
        <a:lt2>
          <a:srgbClr val="C0C0C0"/>
        </a:lt2>
        <a:accent1>
          <a:srgbClr val="FF6400"/>
        </a:accent1>
        <a:accent2>
          <a:srgbClr val="FFBE00"/>
        </a:accent2>
        <a:accent3>
          <a:srgbClr val="FFFFFF"/>
        </a:accent3>
        <a:accent4>
          <a:srgbClr val="000000"/>
        </a:accent4>
        <a:accent5>
          <a:srgbClr val="FFB8AA"/>
        </a:accent5>
        <a:accent6>
          <a:srgbClr val="E7AC00"/>
        </a:accent6>
        <a:hlink>
          <a:srgbClr val="BE0000"/>
        </a:hlink>
        <a:folHlink>
          <a:srgbClr val="6EBE0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MaerskWhite">
  <a:themeElements>
    <a:clrScheme name="">
      <a:dk1>
        <a:srgbClr val="000000"/>
      </a:dk1>
      <a:lt1>
        <a:srgbClr val="FFFFFF"/>
      </a:lt1>
      <a:dk2>
        <a:srgbClr val="B9DCEA"/>
      </a:dk2>
      <a:lt2>
        <a:srgbClr val="69B8D6"/>
      </a:lt2>
      <a:accent1>
        <a:srgbClr val="C3C3C3"/>
      </a:accent1>
      <a:accent2>
        <a:srgbClr val="EDEDED"/>
      </a:accent2>
      <a:accent3>
        <a:srgbClr val="FFFFFF"/>
      </a:accent3>
      <a:accent4>
        <a:srgbClr val="000000"/>
      </a:accent4>
      <a:accent5>
        <a:srgbClr val="DEDEDE"/>
      </a:accent5>
      <a:accent6>
        <a:srgbClr val="D7D7D7"/>
      </a:accent6>
      <a:hlink>
        <a:srgbClr val="2F454E"/>
      </a:hlink>
      <a:folHlink>
        <a:srgbClr val="64747B"/>
      </a:folHlink>
    </a:clrScheme>
    <a:fontScheme name="Maersk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MaerskWhite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Calibri"/>
        <a:ea typeface="MS PGothic"/>
        <a:cs typeface=""/>
      </a:majorFont>
      <a:minorFont>
        <a:latin typeface="Calibri"/>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ea typeface="MS PGothic" pitchFamily="34" charset="-128"/>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51_Blank Presentation">
  <a:themeElements>
    <a:clrScheme name="">
      <a:dk1>
        <a:srgbClr val="000000"/>
      </a:dk1>
      <a:lt1>
        <a:srgbClr val="FFFFFF"/>
      </a:lt1>
      <a:dk2>
        <a:srgbClr val="000000"/>
      </a:dk2>
      <a:lt2>
        <a:srgbClr val="E2007A"/>
      </a:lt2>
      <a:accent1>
        <a:srgbClr val="E53517"/>
      </a:accent1>
      <a:accent2>
        <a:srgbClr val="89BA17"/>
      </a:accent2>
      <a:accent3>
        <a:srgbClr val="FFFFFF"/>
      </a:accent3>
      <a:accent4>
        <a:srgbClr val="000000"/>
      </a:accent4>
      <a:accent5>
        <a:srgbClr val="F0AEAB"/>
      </a:accent5>
      <a:accent6>
        <a:srgbClr val="7CA814"/>
      </a:accent6>
      <a:hlink>
        <a:srgbClr val="EBBD00"/>
      </a:hlink>
      <a:folHlink>
        <a:srgbClr val="13235B"/>
      </a:folHlink>
    </a:clrScheme>
    <a:fontScheme name="51_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Gill Sans"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Gill Sans" pitchFamily="34" charset="0"/>
            <a:ea typeface="ＭＳ Ｐゴシック" pitchFamily="34" charset="-128"/>
          </a:defRPr>
        </a:defPPr>
      </a:lstStyle>
    </a:lnDef>
  </a:objectDefaults>
  <a:extraClrSchemeLst>
    <a:extraClrScheme>
      <a:clrScheme name="51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1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1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1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1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1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1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1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1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1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1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1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51_Blank Presentation 13">
        <a:dk1>
          <a:srgbClr val="000000"/>
        </a:dk1>
        <a:lt1>
          <a:srgbClr val="FFFFFF"/>
        </a:lt1>
        <a:dk2>
          <a:srgbClr val="000000"/>
        </a:dk2>
        <a:lt2>
          <a:srgbClr val="808080"/>
        </a:lt2>
        <a:accent1>
          <a:srgbClr val="003F2D"/>
        </a:accent1>
        <a:accent2>
          <a:srgbClr val="008080"/>
        </a:accent2>
        <a:accent3>
          <a:srgbClr val="FFFFFF"/>
        </a:accent3>
        <a:accent4>
          <a:srgbClr val="000000"/>
        </a:accent4>
        <a:accent5>
          <a:srgbClr val="AAAFAD"/>
        </a:accent5>
        <a:accent6>
          <a:srgbClr val="007373"/>
        </a:accent6>
        <a:hlink>
          <a:srgbClr val="99CC00"/>
        </a:hlink>
        <a:folHlink>
          <a:srgbClr val="FFCC00"/>
        </a:folHlink>
      </a:clrScheme>
      <a:clrMap bg1="lt1" tx1="dk1" bg2="lt2" tx2="dk2" accent1="accent1" accent2="accent2" accent3="accent3" accent4="accent4" accent5="accent5" accent6="accent6" hlink="hlink" folHlink="folHlink"/>
    </a:extraClrScheme>
    <a:extraClrScheme>
      <a:clrScheme name="51_Blank Presentation 14">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1_Blank Presentation 15">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1_Blank Presentation 16">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1_Blank Presentation 17">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1_Blank Presentation 18">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1_Blank Presentation 19">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1_Blank Presentation 20">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1_Blank Presentation 21">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1_Blank Presentation 22">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1_Blank Presentation 23">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1_Blank Presentation 24">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1_Blank Presentation 25">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51_Blank Presentation 26">
        <a:dk1>
          <a:srgbClr val="000000"/>
        </a:dk1>
        <a:lt1>
          <a:srgbClr val="FFFFFF"/>
        </a:lt1>
        <a:dk2>
          <a:srgbClr val="000000"/>
        </a:dk2>
        <a:lt2>
          <a:srgbClr val="808080"/>
        </a:lt2>
        <a:accent1>
          <a:srgbClr val="003F2D"/>
        </a:accent1>
        <a:accent2>
          <a:srgbClr val="008080"/>
        </a:accent2>
        <a:accent3>
          <a:srgbClr val="FFFFFF"/>
        </a:accent3>
        <a:accent4>
          <a:srgbClr val="000000"/>
        </a:accent4>
        <a:accent5>
          <a:srgbClr val="AAAFAD"/>
        </a:accent5>
        <a:accent6>
          <a:srgbClr val="007373"/>
        </a:accent6>
        <a:hlink>
          <a:srgbClr val="99CC00"/>
        </a:hlink>
        <a:folHlink>
          <a:srgbClr val="FFCC00"/>
        </a:folHlink>
      </a:clrScheme>
      <a:clrMap bg1="lt1" tx1="dk1" bg2="lt2" tx2="dk2" accent1="accent1" accent2="accent2" accent3="accent3" accent4="accent4" accent5="accent5" accent6="accent6" hlink="hlink" folHlink="folHlink"/>
    </a:extraClrScheme>
    <a:extraClrScheme>
      <a:clrScheme name="51_Blank Presentation 27">
        <a:dk1>
          <a:srgbClr val="000000"/>
        </a:dk1>
        <a:lt1>
          <a:srgbClr val="FFFFFF"/>
        </a:lt1>
        <a:dk2>
          <a:srgbClr val="000000"/>
        </a:dk2>
        <a:lt2>
          <a:srgbClr val="808080"/>
        </a:lt2>
        <a:accent1>
          <a:srgbClr val="305243"/>
        </a:accent1>
        <a:accent2>
          <a:srgbClr val="98CB00"/>
        </a:accent2>
        <a:accent3>
          <a:srgbClr val="FFFFFF"/>
        </a:accent3>
        <a:accent4>
          <a:srgbClr val="000000"/>
        </a:accent4>
        <a:accent5>
          <a:srgbClr val="ADB3B0"/>
        </a:accent5>
        <a:accent6>
          <a:srgbClr val="89B800"/>
        </a:accent6>
        <a:hlink>
          <a:srgbClr val="99CC00"/>
        </a:hlink>
        <a:folHlink>
          <a:srgbClr val="FFCC00"/>
        </a:folHlink>
      </a:clrScheme>
      <a:clrMap bg1="lt1" tx1="dk1" bg2="lt2" tx2="dk2" accent1="accent1" accent2="accent2" accent3="accent3" accent4="accent4" accent5="accent5" accent6="accent6" hlink="hlink" folHlink="folHlink"/>
    </a:extraClrScheme>
    <a:extraClrScheme>
      <a:clrScheme name="51_Blank Presentation 28">
        <a:dk1>
          <a:srgbClr val="000000"/>
        </a:dk1>
        <a:lt1>
          <a:srgbClr val="FFFFFF"/>
        </a:lt1>
        <a:dk2>
          <a:srgbClr val="000000"/>
        </a:dk2>
        <a:lt2>
          <a:srgbClr val="808080"/>
        </a:lt2>
        <a:accent1>
          <a:srgbClr val="305243"/>
        </a:accent1>
        <a:accent2>
          <a:srgbClr val="98CB00"/>
        </a:accent2>
        <a:accent3>
          <a:srgbClr val="FFFFFF"/>
        </a:accent3>
        <a:accent4>
          <a:srgbClr val="000000"/>
        </a:accent4>
        <a:accent5>
          <a:srgbClr val="ADB3B0"/>
        </a:accent5>
        <a:accent6>
          <a:srgbClr val="89B800"/>
        </a:accent6>
        <a:hlink>
          <a:srgbClr val="FFCC00"/>
        </a:hlink>
        <a:folHlink>
          <a:srgbClr val="FFCC00"/>
        </a:folHlink>
      </a:clrScheme>
      <a:clrMap bg1="lt1" tx1="dk1" bg2="lt2" tx2="dk2" accent1="accent1" accent2="accent2" accent3="accent3" accent4="accent4" accent5="accent5" accent6="accent6" hlink="hlink" folHlink="folHlink"/>
    </a:extraClrScheme>
    <a:extraClrScheme>
      <a:clrScheme name="51_Blank Presentation 29">
        <a:dk1>
          <a:srgbClr val="000000"/>
        </a:dk1>
        <a:lt1>
          <a:srgbClr val="FFFFFF"/>
        </a:lt1>
        <a:dk2>
          <a:srgbClr val="000000"/>
        </a:dk2>
        <a:lt2>
          <a:srgbClr val="808080"/>
        </a:lt2>
        <a:accent1>
          <a:srgbClr val="1B553F"/>
        </a:accent1>
        <a:accent2>
          <a:srgbClr val="73AD49"/>
        </a:accent2>
        <a:accent3>
          <a:srgbClr val="FFFFFF"/>
        </a:accent3>
        <a:accent4>
          <a:srgbClr val="000000"/>
        </a:accent4>
        <a:accent5>
          <a:srgbClr val="ABB4AF"/>
        </a:accent5>
        <a:accent6>
          <a:srgbClr val="689C41"/>
        </a:accent6>
        <a:hlink>
          <a:srgbClr val="FAC924"/>
        </a:hlink>
        <a:folHlink>
          <a:srgbClr val="5E9188"/>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35_Blank Presentation">
  <a:themeElements>
    <a:clrScheme name="">
      <a:dk1>
        <a:srgbClr val="000000"/>
      </a:dk1>
      <a:lt1>
        <a:srgbClr val="FFFFFF"/>
      </a:lt1>
      <a:dk2>
        <a:srgbClr val="000000"/>
      </a:dk2>
      <a:lt2>
        <a:srgbClr val="E2007A"/>
      </a:lt2>
      <a:accent1>
        <a:srgbClr val="E53517"/>
      </a:accent1>
      <a:accent2>
        <a:srgbClr val="89BA17"/>
      </a:accent2>
      <a:accent3>
        <a:srgbClr val="FFFFFF"/>
      </a:accent3>
      <a:accent4>
        <a:srgbClr val="000000"/>
      </a:accent4>
      <a:accent5>
        <a:srgbClr val="F0AEAB"/>
      </a:accent5>
      <a:accent6>
        <a:srgbClr val="7CA814"/>
      </a:accent6>
      <a:hlink>
        <a:srgbClr val="EBBD00"/>
      </a:hlink>
      <a:folHlink>
        <a:srgbClr val="13235B"/>
      </a:folHlink>
    </a:clrScheme>
    <a:fontScheme name="35_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Gill Sans"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Gill Sans" pitchFamily="34" charset="0"/>
            <a:ea typeface="ＭＳ Ｐゴシック" pitchFamily="34" charset="-128"/>
          </a:defRPr>
        </a:defPPr>
      </a:lstStyle>
    </a:lnDef>
  </a:objectDefaults>
  <a:extraClrSchemeLst>
    <a:extraClrScheme>
      <a:clrScheme name="35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5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5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5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5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5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5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5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5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5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5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5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35_Blank Presentation 13">
        <a:dk1>
          <a:srgbClr val="000000"/>
        </a:dk1>
        <a:lt1>
          <a:srgbClr val="FFFFFF"/>
        </a:lt1>
        <a:dk2>
          <a:srgbClr val="000000"/>
        </a:dk2>
        <a:lt2>
          <a:srgbClr val="808080"/>
        </a:lt2>
        <a:accent1>
          <a:srgbClr val="003F2D"/>
        </a:accent1>
        <a:accent2>
          <a:srgbClr val="008080"/>
        </a:accent2>
        <a:accent3>
          <a:srgbClr val="FFFFFF"/>
        </a:accent3>
        <a:accent4>
          <a:srgbClr val="000000"/>
        </a:accent4>
        <a:accent5>
          <a:srgbClr val="AAAFAD"/>
        </a:accent5>
        <a:accent6>
          <a:srgbClr val="007373"/>
        </a:accent6>
        <a:hlink>
          <a:srgbClr val="99CC00"/>
        </a:hlink>
        <a:folHlink>
          <a:srgbClr val="FFCC00"/>
        </a:folHlink>
      </a:clrScheme>
      <a:clrMap bg1="lt1" tx1="dk1" bg2="lt2" tx2="dk2" accent1="accent1" accent2="accent2" accent3="accent3" accent4="accent4" accent5="accent5" accent6="accent6" hlink="hlink" folHlink="folHlink"/>
    </a:extraClrScheme>
    <a:extraClrScheme>
      <a:clrScheme name="35_Blank Presentation 14">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5_Blank Presentation 15">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5_Blank Presentation 16">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5_Blank Presentation 17">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5_Blank Presentation 18">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5_Blank Presentation 19">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5_Blank Presentation 20">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5_Blank Presentation 21">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5_Blank Presentation 22">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5_Blank Presentation 23">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5_Blank Presentation 24">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5_Blank Presentation 25">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35_Blank Presentation 26">
        <a:dk1>
          <a:srgbClr val="000000"/>
        </a:dk1>
        <a:lt1>
          <a:srgbClr val="FFFFFF"/>
        </a:lt1>
        <a:dk2>
          <a:srgbClr val="000000"/>
        </a:dk2>
        <a:lt2>
          <a:srgbClr val="808080"/>
        </a:lt2>
        <a:accent1>
          <a:srgbClr val="003F2D"/>
        </a:accent1>
        <a:accent2>
          <a:srgbClr val="008080"/>
        </a:accent2>
        <a:accent3>
          <a:srgbClr val="FFFFFF"/>
        </a:accent3>
        <a:accent4>
          <a:srgbClr val="000000"/>
        </a:accent4>
        <a:accent5>
          <a:srgbClr val="AAAFAD"/>
        </a:accent5>
        <a:accent6>
          <a:srgbClr val="007373"/>
        </a:accent6>
        <a:hlink>
          <a:srgbClr val="99CC00"/>
        </a:hlink>
        <a:folHlink>
          <a:srgbClr val="FFCC00"/>
        </a:folHlink>
      </a:clrScheme>
      <a:clrMap bg1="lt1" tx1="dk1" bg2="lt2" tx2="dk2" accent1="accent1" accent2="accent2" accent3="accent3" accent4="accent4" accent5="accent5" accent6="accent6" hlink="hlink" folHlink="folHlink"/>
    </a:extraClrScheme>
    <a:extraClrScheme>
      <a:clrScheme name="35_Blank Presentation 27">
        <a:dk1>
          <a:srgbClr val="000000"/>
        </a:dk1>
        <a:lt1>
          <a:srgbClr val="FFFFFF"/>
        </a:lt1>
        <a:dk2>
          <a:srgbClr val="000000"/>
        </a:dk2>
        <a:lt2>
          <a:srgbClr val="808080"/>
        </a:lt2>
        <a:accent1>
          <a:srgbClr val="305243"/>
        </a:accent1>
        <a:accent2>
          <a:srgbClr val="98CB00"/>
        </a:accent2>
        <a:accent3>
          <a:srgbClr val="FFFFFF"/>
        </a:accent3>
        <a:accent4>
          <a:srgbClr val="000000"/>
        </a:accent4>
        <a:accent5>
          <a:srgbClr val="ADB3B0"/>
        </a:accent5>
        <a:accent6>
          <a:srgbClr val="89B800"/>
        </a:accent6>
        <a:hlink>
          <a:srgbClr val="99CC00"/>
        </a:hlink>
        <a:folHlink>
          <a:srgbClr val="FFCC00"/>
        </a:folHlink>
      </a:clrScheme>
      <a:clrMap bg1="lt1" tx1="dk1" bg2="lt2" tx2="dk2" accent1="accent1" accent2="accent2" accent3="accent3" accent4="accent4" accent5="accent5" accent6="accent6" hlink="hlink" folHlink="folHlink"/>
    </a:extraClrScheme>
    <a:extraClrScheme>
      <a:clrScheme name="35_Blank Presentation 28">
        <a:dk1>
          <a:srgbClr val="000000"/>
        </a:dk1>
        <a:lt1>
          <a:srgbClr val="FFFFFF"/>
        </a:lt1>
        <a:dk2>
          <a:srgbClr val="000000"/>
        </a:dk2>
        <a:lt2>
          <a:srgbClr val="808080"/>
        </a:lt2>
        <a:accent1>
          <a:srgbClr val="305243"/>
        </a:accent1>
        <a:accent2>
          <a:srgbClr val="98CB00"/>
        </a:accent2>
        <a:accent3>
          <a:srgbClr val="FFFFFF"/>
        </a:accent3>
        <a:accent4>
          <a:srgbClr val="000000"/>
        </a:accent4>
        <a:accent5>
          <a:srgbClr val="ADB3B0"/>
        </a:accent5>
        <a:accent6>
          <a:srgbClr val="89B800"/>
        </a:accent6>
        <a:hlink>
          <a:srgbClr val="FFCC00"/>
        </a:hlink>
        <a:folHlink>
          <a:srgbClr val="FFCC00"/>
        </a:folHlink>
      </a:clrScheme>
      <a:clrMap bg1="lt1" tx1="dk1" bg2="lt2" tx2="dk2" accent1="accent1" accent2="accent2" accent3="accent3" accent4="accent4" accent5="accent5" accent6="accent6" hlink="hlink" folHlink="folHlink"/>
    </a:extraClrScheme>
    <a:extraClrScheme>
      <a:clrScheme name="35_Blank Presentation 29">
        <a:dk1>
          <a:srgbClr val="000000"/>
        </a:dk1>
        <a:lt1>
          <a:srgbClr val="FFFFFF"/>
        </a:lt1>
        <a:dk2>
          <a:srgbClr val="000000"/>
        </a:dk2>
        <a:lt2>
          <a:srgbClr val="808080"/>
        </a:lt2>
        <a:accent1>
          <a:srgbClr val="1B553F"/>
        </a:accent1>
        <a:accent2>
          <a:srgbClr val="73AD49"/>
        </a:accent2>
        <a:accent3>
          <a:srgbClr val="FFFFFF"/>
        </a:accent3>
        <a:accent4>
          <a:srgbClr val="000000"/>
        </a:accent4>
        <a:accent5>
          <a:srgbClr val="ABB4AF"/>
        </a:accent5>
        <a:accent6>
          <a:srgbClr val="689C41"/>
        </a:accent6>
        <a:hlink>
          <a:srgbClr val="FAC924"/>
        </a:hlink>
        <a:folHlink>
          <a:srgbClr val="5E9188"/>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7_LAN039_Barclays_Template_013012_1b_ft">
  <a:themeElements>
    <a:clrScheme name="">
      <a:dk1>
        <a:srgbClr val="00AEEF"/>
      </a:dk1>
      <a:lt1>
        <a:srgbClr val="FFFFFF"/>
      </a:lt1>
      <a:dk2>
        <a:srgbClr val="006991"/>
      </a:dk2>
      <a:lt2>
        <a:srgbClr val="969696"/>
      </a:lt2>
      <a:accent1>
        <a:srgbClr val="FBDB81"/>
      </a:accent1>
      <a:accent2>
        <a:srgbClr val="EC8A40"/>
      </a:accent2>
      <a:accent3>
        <a:srgbClr val="AAB9C7"/>
      </a:accent3>
      <a:accent4>
        <a:srgbClr val="DADADA"/>
      </a:accent4>
      <a:accent5>
        <a:srgbClr val="FDEAC1"/>
      </a:accent5>
      <a:accent6>
        <a:srgbClr val="D67D39"/>
      </a:accent6>
      <a:hlink>
        <a:srgbClr val="CB5151"/>
      </a:hlink>
      <a:folHlink>
        <a:srgbClr val="00395C"/>
      </a:folHlink>
    </a:clrScheme>
    <a:fontScheme name="7_LAN039_Barclays_Template_013012_1b_ft">
      <a:majorFont>
        <a:latin typeface="Expert Sans Regular"/>
        <a:ea typeface=""/>
        <a:cs typeface=""/>
      </a:majorFont>
      <a:minorFont>
        <a:latin typeface="Expert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7_LAN039_Barclays_Template_013012_1b_ft 1">
        <a:dk1>
          <a:srgbClr val="00AEEF"/>
        </a:dk1>
        <a:lt1>
          <a:srgbClr val="FFFFFF"/>
        </a:lt1>
        <a:dk2>
          <a:srgbClr val="006991"/>
        </a:dk2>
        <a:lt2>
          <a:srgbClr val="969696"/>
        </a:lt2>
        <a:accent1>
          <a:srgbClr val="FBDB81"/>
        </a:accent1>
        <a:accent2>
          <a:srgbClr val="EC8A40"/>
        </a:accent2>
        <a:accent3>
          <a:srgbClr val="AAB9C7"/>
        </a:accent3>
        <a:accent4>
          <a:srgbClr val="DADADA"/>
        </a:accent4>
        <a:accent5>
          <a:srgbClr val="FDEAC1"/>
        </a:accent5>
        <a:accent6>
          <a:srgbClr val="D67D39"/>
        </a:accent6>
        <a:hlink>
          <a:srgbClr val="007882"/>
        </a:hlink>
        <a:folHlink>
          <a:srgbClr val="143C78"/>
        </a:folHlink>
      </a:clrScheme>
      <a:clrMap bg1="dk2" tx1="lt1" bg2="dk1" tx2="lt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LAN039_Barclays_Template_013012_1b_ft">
  <a:themeElements>
    <a:clrScheme name="">
      <a:dk1>
        <a:srgbClr val="00AEEF"/>
      </a:dk1>
      <a:lt1>
        <a:srgbClr val="FFFFFF"/>
      </a:lt1>
      <a:dk2>
        <a:srgbClr val="006991"/>
      </a:dk2>
      <a:lt2>
        <a:srgbClr val="969696"/>
      </a:lt2>
      <a:accent1>
        <a:srgbClr val="FBDB81"/>
      </a:accent1>
      <a:accent2>
        <a:srgbClr val="EC8A40"/>
      </a:accent2>
      <a:accent3>
        <a:srgbClr val="AAB9C7"/>
      </a:accent3>
      <a:accent4>
        <a:srgbClr val="DADADA"/>
      </a:accent4>
      <a:accent5>
        <a:srgbClr val="FDEAC1"/>
      </a:accent5>
      <a:accent6>
        <a:srgbClr val="D67D39"/>
      </a:accent6>
      <a:hlink>
        <a:srgbClr val="CB5151"/>
      </a:hlink>
      <a:folHlink>
        <a:srgbClr val="00395C"/>
      </a:folHlink>
    </a:clrScheme>
    <a:fontScheme name="Barclays_template_fonts">
      <a:majorFont>
        <a:latin typeface="Expert Sans Regular"/>
        <a:ea typeface=""/>
        <a:cs typeface=""/>
      </a:majorFont>
      <a:minorFont>
        <a:latin typeface="Expert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3600" b="0" i="0" u="none" strike="noStrike" cap="none" normalizeH="0" baseline="0" smtClean="0">
            <a:ln>
              <a:noFill/>
            </a:ln>
            <a:solidFill>
              <a:schemeClr val="bg2"/>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bg2"/>
            </a:solidFill>
            <a:effectLst/>
            <a:latin typeface="Arial" pitchFamily="34" charset="0"/>
          </a:defRPr>
        </a:defPPr>
      </a:lstStyle>
    </a:lnDef>
    <a:txDef>
      <a:spPr>
        <a:noFill/>
      </a:spPr>
      <a:bodyPr wrap="square" lIns="0" tIns="0" rIns="0" bIns="0" rtlCol="0">
        <a:spAutoFit/>
      </a:bodyPr>
      <a:lstStyle>
        <a:defPPr>
          <a:defRPr sz="2000" dirty="0" err="1" smtClean="0">
            <a:solidFill>
              <a:schemeClr val="tx1"/>
            </a:solidFill>
            <a:latin typeface="+mn-lt"/>
          </a:defRPr>
        </a:defPPr>
      </a:lstStyle>
    </a:txDef>
  </a:objectDefaults>
  <a:extraClrSchemeLst>
    <a:extraClrScheme>
      <a:clrScheme name="LAN039_Barclays_Template_013012_1b_ft 1">
        <a:dk1>
          <a:srgbClr val="00AEEF"/>
        </a:dk1>
        <a:lt1>
          <a:srgbClr val="FFFFFF"/>
        </a:lt1>
        <a:dk2>
          <a:srgbClr val="006991"/>
        </a:dk2>
        <a:lt2>
          <a:srgbClr val="969696"/>
        </a:lt2>
        <a:accent1>
          <a:srgbClr val="FBDB81"/>
        </a:accent1>
        <a:accent2>
          <a:srgbClr val="EC8A40"/>
        </a:accent2>
        <a:accent3>
          <a:srgbClr val="AAB9C7"/>
        </a:accent3>
        <a:accent4>
          <a:srgbClr val="DADADA"/>
        </a:accent4>
        <a:accent5>
          <a:srgbClr val="FDEAC1"/>
        </a:accent5>
        <a:accent6>
          <a:srgbClr val="D67D39"/>
        </a:accent6>
        <a:hlink>
          <a:srgbClr val="007882"/>
        </a:hlink>
        <a:folHlink>
          <a:srgbClr val="143C78"/>
        </a:folHlink>
      </a:clrScheme>
      <a:clrMap bg1="dk2" tx1="lt1" bg2="dk1" tx2="lt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Kantar25cm">
  <a:themeElements>
    <a:clrScheme name="KantarMedia Sphere">
      <a:dk1>
        <a:srgbClr val="000000"/>
      </a:dk1>
      <a:lt1>
        <a:srgbClr val="FFFFFF"/>
      </a:lt1>
      <a:dk2>
        <a:srgbClr val="717171"/>
      </a:dk2>
      <a:lt2>
        <a:srgbClr val="C0C0C0"/>
      </a:lt2>
      <a:accent1>
        <a:srgbClr val="FF6400"/>
      </a:accent1>
      <a:accent2>
        <a:srgbClr val="FFBE00"/>
      </a:accent2>
      <a:accent3>
        <a:srgbClr val="FFFFFF"/>
      </a:accent3>
      <a:accent4>
        <a:srgbClr val="000000"/>
      </a:accent4>
      <a:accent5>
        <a:srgbClr val="BE0000"/>
      </a:accent5>
      <a:accent6>
        <a:srgbClr val="6EBE00"/>
      </a:accent6>
      <a:hlink>
        <a:srgbClr val="BE0000"/>
      </a:hlink>
      <a:folHlink>
        <a:srgbClr val="6EBE00"/>
      </a:folHlink>
    </a:clrScheme>
    <a:fontScheme name="KantarMedia Sphere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sng"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sng" strike="noStrike" cap="none" normalizeH="0" baseline="0" smtClean="0">
            <a:ln>
              <a:noFill/>
            </a:ln>
            <a:solidFill>
              <a:schemeClr val="tx1"/>
            </a:solidFill>
            <a:effectLst/>
            <a:latin typeface="Arial" charset="0"/>
          </a:defRPr>
        </a:defPPr>
      </a:lstStyle>
    </a:lnDef>
  </a:objectDefaults>
  <a:extraClrSchemeLst>
    <a:extraClrScheme>
      <a:clrScheme name="KantarMedia SpherePrint 1">
        <a:dk1>
          <a:srgbClr val="717171"/>
        </a:dk1>
        <a:lt1>
          <a:srgbClr val="E7E7E7"/>
        </a:lt1>
        <a:dk2>
          <a:srgbClr val="989898"/>
        </a:dk2>
        <a:lt2>
          <a:srgbClr val="C0C0C0"/>
        </a:lt2>
        <a:accent1>
          <a:srgbClr val="FF6400"/>
        </a:accent1>
        <a:accent2>
          <a:srgbClr val="FFBE00"/>
        </a:accent2>
        <a:accent3>
          <a:srgbClr val="F1F1F1"/>
        </a:accent3>
        <a:accent4>
          <a:srgbClr val="5F5F5F"/>
        </a:accent4>
        <a:accent5>
          <a:srgbClr val="FFB8AA"/>
        </a:accent5>
        <a:accent6>
          <a:srgbClr val="E7AC00"/>
        </a:accent6>
        <a:hlink>
          <a:srgbClr val="BE0000"/>
        </a:hlink>
        <a:folHlink>
          <a:srgbClr val="6EBE00"/>
        </a:folHlink>
      </a:clrScheme>
      <a:clrMap bg1="lt1" tx1="dk1" bg2="lt2" tx2="dk2" accent1="accent1" accent2="accent2" accent3="accent3" accent4="accent4" accent5="accent5" accent6="accent6" hlink="hlink" folHlink="folHlink"/>
    </a:extraClrScheme>
    <a:extraClrScheme>
      <a:clrScheme name="KantarMedia SpherePrint 2">
        <a:dk1>
          <a:srgbClr val="000000"/>
        </a:dk1>
        <a:lt1>
          <a:srgbClr val="FFFFFF"/>
        </a:lt1>
        <a:dk2>
          <a:srgbClr val="717171"/>
        </a:dk2>
        <a:lt2>
          <a:srgbClr val="C0C0C0"/>
        </a:lt2>
        <a:accent1>
          <a:srgbClr val="FF6400"/>
        </a:accent1>
        <a:accent2>
          <a:srgbClr val="FFBE00"/>
        </a:accent2>
        <a:accent3>
          <a:srgbClr val="FFFFFF"/>
        </a:accent3>
        <a:accent4>
          <a:srgbClr val="000000"/>
        </a:accent4>
        <a:accent5>
          <a:srgbClr val="FFB8AA"/>
        </a:accent5>
        <a:accent6>
          <a:srgbClr val="E7AC00"/>
        </a:accent6>
        <a:hlink>
          <a:srgbClr val="BE0000"/>
        </a:hlink>
        <a:folHlink>
          <a:srgbClr val="6EBE0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1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4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2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17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9_PPT template, 04.2010">
  <a:themeElements>
    <a:clrScheme name="9_PPT template, 04.2010 2">
      <a:dk1>
        <a:srgbClr val="000000"/>
      </a:dk1>
      <a:lt1>
        <a:srgbClr val="FFFFFF"/>
      </a:lt1>
      <a:dk2>
        <a:srgbClr val="B9DCEA"/>
      </a:dk2>
      <a:lt2>
        <a:srgbClr val="69B8D6"/>
      </a:lt2>
      <a:accent1>
        <a:srgbClr val="C3C3C3"/>
      </a:accent1>
      <a:accent2>
        <a:srgbClr val="FF7507"/>
      </a:accent2>
      <a:accent3>
        <a:srgbClr val="FFFFFF"/>
      </a:accent3>
      <a:accent4>
        <a:srgbClr val="000000"/>
      </a:accent4>
      <a:accent5>
        <a:srgbClr val="DEDEDE"/>
      </a:accent5>
      <a:accent6>
        <a:srgbClr val="E76906"/>
      </a:accent6>
      <a:hlink>
        <a:srgbClr val="434343"/>
      </a:hlink>
      <a:folHlink>
        <a:srgbClr val="FCB91C"/>
      </a:folHlink>
    </a:clrScheme>
    <a:fontScheme name="9_PPT template, 04.2010">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9_PPT template, 04.2010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clrMap bg1="lt1" tx1="dk1" bg2="lt2" tx2="dk2" accent1="accent1" accent2="accent2" accent3="accent3" accent4="accent4" accent5="accent5" accent6="accent6" hlink="hlink" folHlink="folHlink"/>
    </a:extraClrScheme>
    <a:extraClrScheme>
      <a:clrScheme name="9_PPT template, 04.2010 2">
        <a:dk1>
          <a:srgbClr val="000000"/>
        </a:dk1>
        <a:lt1>
          <a:srgbClr val="FFFFFF"/>
        </a:lt1>
        <a:dk2>
          <a:srgbClr val="B9DCEA"/>
        </a:dk2>
        <a:lt2>
          <a:srgbClr val="69B8D6"/>
        </a:lt2>
        <a:accent1>
          <a:srgbClr val="C3C3C3"/>
        </a:accent1>
        <a:accent2>
          <a:srgbClr val="FF7507"/>
        </a:accent2>
        <a:accent3>
          <a:srgbClr val="FFFFFF"/>
        </a:accent3>
        <a:accent4>
          <a:srgbClr val="000000"/>
        </a:accent4>
        <a:accent5>
          <a:srgbClr val="DEDEDE"/>
        </a:accent5>
        <a:accent6>
          <a:srgbClr val="E76906"/>
        </a:accent6>
        <a:hlink>
          <a:srgbClr val="434343"/>
        </a:hlink>
        <a:folHlink>
          <a:srgbClr val="FCB91C"/>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9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15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10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14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21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20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13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18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7_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eBay_powerpoint_template-Primary">
  <a:themeElements>
    <a:clrScheme name="Ebay_palette">
      <a:dk1>
        <a:srgbClr val="000000"/>
      </a:dk1>
      <a:lt1>
        <a:sysClr val="window" lastClr="FFFFFF"/>
      </a:lt1>
      <a:dk2>
        <a:srgbClr val="796E65"/>
      </a:dk2>
      <a:lt2>
        <a:srgbClr val="E9E9E8"/>
      </a:lt2>
      <a:accent1>
        <a:srgbClr val="E53238"/>
      </a:accent1>
      <a:accent2>
        <a:srgbClr val="0064D2"/>
      </a:accent2>
      <a:accent3>
        <a:srgbClr val="F5AF02"/>
      </a:accent3>
      <a:accent4>
        <a:srgbClr val="86B817"/>
      </a:accent4>
      <a:accent5>
        <a:srgbClr val="BFB8AF"/>
      </a:accent5>
      <a:accent6>
        <a:srgbClr val="3D3935"/>
      </a:accent6>
      <a:hlink>
        <a:srgbClr val="573B94"/>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Custom Design">
  <a:themeElements>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Custom Design">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1_Office Theme">
  <a:themeElements>
    <a:clrScheme name="M&amp;S">
      <a:dk1>
        <a:sysClr val="windowText" lastClr="000000"/>
      </a:dk1>
      <a:lt1>
        <a:sysClr val="window" lastClr="FFFFFF"/>
      </a:lt1>
      <a:dk2>
        <a:srgbClr val="1F497D"/>
      </a:dk2>
      <a:lt2>
        <a:srgbClr val="EEECE1"/>
      </a:lt2>
      <a:accent1>
        <a:srgbClr val="4F81BD"/>
      </a:accent1>
      <a:accent2>
        <a:srgbClr val="C0504D"/>
      </a:accent2>
      <a:accent3>
        <a:srgbClr val="C1D82F"/>
      </a:accent3>
      <a:accent4>
        <a:srgbClr val="B5FF02"/>
      </a:accent4>
      <a:accent5>
        <a:srgbClr val="99CC01"/>
      </a:accent5>
      <a:accent6>
        <a:srgbClr val="F79646"/>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1.xml><?xml version="1.0" encoding="utf-8"?>
<a:theme xmlns:a="http://schemas.openxmlformats.org/drawingml/2006/main" name="Cohn &amp; Wolfe">
  <a:themeElements>
    <a:clrScheme name="CohnWolfe">
      <a:dk1>
        <a:srgbClr val="3F3F41"/>
      </a:dk1>
      <a:lt1>
        <a:srgbClr val="FFFFFF"/>
      </a:lt1>
      <a:dk2>
        <a:srgbClr val="000000"/>
      </a:dk2>
      <a:lt2>
        <a:srgbClr val="7E7E81"/>
      </a:lt2>
      <a:accent1>
        <a:srgbClr val="0174AE"/>
      </a:accent1>
      <a:accent2>
        <a:srgbClr val="7CC144"/>
      </a:accent2>
      <a:accent3>
        <a:srgbClr val="9E1D81"/>
      </a:accent3>
      <a:accent4>
        <a:srgbClr val="CD8B00"/>
      </a:accent4>
      <a:accent5>
        <a:srgbClr val="00827F"/>
      </a:accent5>
      <a:accent6>
        <a:srgbClr val="BC1111"/>
      </a:accent6>
      <a:hlink>
        <a:srgbClr val="252D6D"/>
      </a:hlink>
      <a:folHlink>
        <a:srgbClr val="7E7F7E"/>
      </a:folHlink>
    </a:clrScheme>
    <a:fontScheme name="Cohn &amp; Wolfe">
      <a:majorFont>
        <a:latin typeface="Rockwell"/>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2.xml><?xml version="1.0" encoding="utf-8"?>
<a:theme xmlns:a="http://schemas.openxmlformats.org/drawingml/2006/main" name="Corporate">
  <a:themeElements>
    <a:clrScheme name="Inmarsat">
      <a:dk1>
        <a:sysClr val="windowText" lastClr="000000"/>
      </a:dk1>
      <a:lt1>
        <a:sysClr val="window" lastClr="FFFFFF"/>
      </a:lt1>
      <a:dk2>
        <a:srgbClr val="000000"/>
      </a:dk2>
      <a:lt2>
        <a:srgbClr val="18C1EC"/>
      </a:lt2>
      <a:accent1>
        <a:srgbClr val="002150"/>
      </a:accent1>
      <a:accent2>
        <a:srgbClr val="7DB61C"/>
      </a:accent2>
      <a:accent3>
        <a:srgbClr val="18B4CE"/>
      </a:accent3>
      <a:accent4>
        <a:srgbClr val="B7006E"/>
      </a:accent4>
      <a:accent5>
        <a:srgbClr val="C78B11"/>
      </a:accent5>
      <a:accent6>
        <a:srgbClr val="6473B7"/>
      </a:accent6>
      <a:hlink>
        <a:srgbClr val="0563C1"/>
      </a:hlink>
      <a:folHlink>
        <a:srgbClr val="954F72"/>
      </a:folHlink>
    </a:clrScheme>
    <a:fontScheme name="Inmarsat">
      <a:majorFont>
        <a:latin typeface="tahoma"/>
        <a:ea typeface=""/>
        <a:cs typeface=""/>
      </a:majorFont>
      <a:minorFont>
        <a:latin typeface="tahom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3.xml><?xml version="1.0" encoding="utf-8"?>
<a:theme xmlns:a="http://schemas.openxmlformats.org/drawingml/2006/main" name="8_Office Theme">
  <a:themeElements>
    <a:clrScheme name="Mastercard">
      <a:dk1>
        <a:sysClr val="windowText" lastClr="000000"/>
      </a:dk1>
      <a:lt1>
        <a:sysClr val="window" lastClr="FFFFFF"/>
      </a:lt1>
      <a:dk2>
        <a:srgbClr val="1F497D"/>
      </a:dk2>
      <a:lt2>
        <a:srgbClr val="EEECE1"/>
      </a:lt2>
      <a:accent1>
        <a:srgbClr val="FF9900"/>
      </a:accent1>
      <a:accent2>
        <a:srgbClr val="E9302B"/>
      </a:accent2>
      <a:accent3>
        <a:srgbClr val="3D3D3D"/>
      </a:accent3>
      <a:accent4>
        <a:srgbClr val="ECECEC"/>
      </a:accent4>
      <a:accent5>
        <a:srgbClr val="FCC63E"/>
      </a:accent5>
      <a:accent6>
        <a:srgbClr val="4F4F4F"/>
      </a:accent6>
      <a:hlink>
        <a:srgbClr val="0000FF"/>
      </a:hlink>
      <a:folHlink>
        <a:srgbClr val="800080"/>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4.xml><?xml version="1.0" encoding="utf-8"?>
<a:theme xmlns:a="http://schemas.openxmlformats.org/drawingml/2006/main" name="Group Blue layouts">
  <a:themeElements>
    <a:clrScheme name="OneVoice Connect">
      <a:dk1>
        <a:srgbClr val="5D5D5D"/>
      </a:dk1>
      <a:lt1>
        <a:srgbClr val="FFFFFF"/>
      </a:lt1>
      <a:dk2>
        <a:srgbClr val="5D5D5D"/>
      </a:dk2>
      <a:lt2>
        <a:srgbClr val="FFFFFF"/>
      </a:lt2>
      <a:accent1>
        <a:srgbClr val="005A8B"/>
      </a:accent1>
      <a:accent2>
        <a:srgbClr val="1E9D8B"/>
      </a:accent2>
      <a:accent3>
        <a:srgbClr val="5B8F22"/>
      </a:accent3>
      <a:accent4>
        <a:srgbClr val="E98300"/>
      </a:accent4>
      <a:accent5>
        <a:srgbClr val="CD202C"/>
      </a:accent5>
      <a:accent6>
        <a:srgbClr val="7D0063"/>
      </a:accent6>
      <a:hlink>
        <a:srgbClr val="0B5ED7"/>
      </a:hlink>
      <a:folHlink>
        <a:srgbClr val="0B5ED7"/>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hilips_presentation_template_nov13.pptx" id="{6219C8AF-650B-4FE9-973F-1669F7AB164A}" vid="{0FEA75D1-DAF6-4EC9-A456-BB5B59A250AB}"/>
    </a:ext>
  </a:extLst>
</a:theme>
</file>

<file path=ppt/theme/theme45.xml><?xml version="1.0" encoding="utf-8"?>
<a:theme xmlns:a="http://schemas.openxmlformats.org/drawingml/2006/main" name="Telefonica Front page">
  <a:themeElements>
    <a:clrScheme name="Telefónica">
      <a:dk1>
        <a:srgbClr val="003245"/>
      </a:dk1>
      <a:lt1>
        <a:srgbClr val="FFFFFF"/>
      </a:lt1>
      <a:dk2>
        <a:srgbClr val="003245"/>
      </a:dk2>
      <a:lt2>
        <a:srgbClr val="FFFFFF"/>
      </a:lt2>
      <a:accent1>
        <a:srgbClr val="003245"/>
      </a:accent1>
      <a:accent2>
        <a:srgbClr val="006476"/>
      </a:accent2>
      <a:accent3>
        <a:srgbClr val="008597"/>
      </a:accent3>
      <a:accent4>
        <a:srgbClr val="0095A7"/>
      </a:accent4>
      <a:accent5>
        <a:srgbClr val="4BACC6"/>
      </a:accent5>
      <a:accent6>
        <a:srgbClr val="00C6DA"/>
      </a:accent6>
      <a:hlink>
        <a:srgbClr val="00C6DA"/>
      </a:hlink>
      <a:folHlink>
        <a:srgbClr val="00C6DA"/>
      </a:folHlink>
    </a:clrScheme>
    <a:fontScheme name="Telefónica">
      <a:majorFont>
        <a:latin typeface="Trebuchet MS"/>
        <a:ea typeface="ヒラギノ角ゴ ProN W3"/>
        <a:cs typeface="ヒラギノ角ゴ ProN W3"/>
      </a:majorFont>
      <a:minorFont>
        <a:latin typeface="Trebuchet M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90000"/>
            <a:lumOff val="10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ítulo y subtítul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1_Cierre Telefonica">
  <a:themeElements>
    <a:clrScheme name="Telefónica">
      <a:dk1>
        <a:srgbClr val="003245"/>
      </a:dk1>
      <a:lt1>
        <a:srgbClr val="FFFFFF"/>
      </a:lt1>
      <a:dk2>
        <a:srgbClr val="003245"/>
      </a:dk2>
      <a:lt2>
        <a:srgbClr val="FFFFFF"/>
      </a:lt2>
      <a:accent1>
        <a:srgbClr val="003245"/>
      </a:accent1>
      <a:accent2>
        <a:srgbClr val="006476"/>
      </a:accent2>
      <a:accent3>
        <a:srgbClr val="008597"/>
      </a:accent3>
      <a:accent4>
        <a:srgbClr val="0095A7"/>
      </a:accent4>
      <a:accent5>
        <a:srgbClr val="4BACC6"/>
      </a:accent5>
      <a:accent6>
        <a:srgbClr val="00C6DA"/>
      </a:accent6>
      <a:hlink>
        <a:srgbClr val="00C6DA"/>
      </a:hlink>
      <a:folHlink>
        <a:srgbClr val="00C6DA"/>
      </a:folHlink>
    </a:clrScheme>
    <a:fontScheme name="Telefónica">
      <a:majorFont>
        <a:latin typeface="Trebuchet MS"/>
        <a:ea typeface="ヒラギノ角ゴ ProN W3"/>
        <a:cs typeface="ヒラギノ角ゴ ProN W3"/>
      </a:majorFont>
      <a:minorFont>
        <a:latin typeface="Trebuchet M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90000"/>
            <a:lumOff val="10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ítulo y subtítul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Telefónica">
  <a:themeElements>
    <a:clrScheme name="Telefónica">
      <a:dk1>
        <a:srgbClr val="003245"/>
      </a:dk1>
      <a:lt1>
        <a:srgbClr val="FFFFFF"/>
      </a:lt1>
      <a:dk2>
        <a:srgbClr val="003245"/>
      </a:dk2>
      <a:lt2>
        <a:srgbClr val="FFFFFF"/>
      </a:lt2>
      <a:accent1>
        <a:srgbClr val="003245"/>
      </a:accent1>
      <a:accent2>
        <a:srgbClr val="006476"/>
      </a:accent2>
      <a:accent3>
        <a:srgbClr val="008597"/>
      </a:accent3>
      <a:accent4>
        <a:srgbClr val="0095A7"/>
      </a:accent4>
      <a:accent5>
        <a:srgbClr val="4BACC6"/>
      </a:accent5>
      <a:accent6>
        <a:srgbClr val="00C6DA"/>
      </a:accent6>
      <a:hlink>
        <a:srgbClr val="00C6DA"/>
      </a:hlink>
      <a:folHlink>
        <a:srgbClr val="00C6DA"/>
      </a:folHlink>
    </a:clrScheme>
    <a:fontScheme name="Telefónica">
      <a:majorFont>
        <a:latin typeface="Trebuchet MS"/>
        <a:ea typeface="ヒラギノ角ゴ ProN W3"/>
        <a:cs typeface="ヒラギノ角ゴ ProN W3"/>
      </a:majorFont>
      <a:minorFont>
        <a:latin typeface="Trebuchet M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90000"/>
            <a:lumOff val="10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SeparataAzu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GK Title and Partitions">
  <a:themeElements>
    <a:clrScheme name="Gorkana Colour Pallet">
      <a:dk1>
        <a:srgbClr val="1F325E"/>
      </a:dk1>
      <a:lt1>
        <a:srgbClr val="FFFFFF"/>
      </a:lt1>
      <a:dk2>
        <a:srgbClr val="1F325E"/>
      </a:dk2>
      <a:lt2>
        <a:srgbClr val="352C30"/>
      </a:lt2>
      <a:accent1>
        <a:srgbClr val="7A2482"/>
      </a:accent1>
      <a:accent2>
        <a:srgbClr val="38AAE1"/>
      </a:accent2>
      <a:accent3>
        <a:srgbClr val="000000"/>
      </a:accent3>
      <a:accent4>
        <a:srgbClr val="7F7F7F"/>
      </a:accent4>
      <a:accent5>
        <a:srgbClr val="FFFFFF"/>
      </a:accent5>
      <a:accent6>
        <a:srgbClr val="FFFFFF"/>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9.xml><?xml version="1.0" encoding="utf-8"?>
<a:theme xmlns:a="http://schemas.openxmlformats.org/drawingml/2006/main" name="WD White Master 2015">
  <a:themeElements>
    <a:clrScheme name="2014 WD Palette">
      <a:dk1>
        <a:srgbClr val="000000"/>
      </a:dk1>
      <a:lt1>
        <a:srgbClr val="FFFFFF"/>
      </a:lt1>
      <a:dk2>
        <a:srgbClr val="232323"/>
      </a:dk2>
      <a:lt2>
        <a:srgbClr val="EAEAEA"/>
      </a:lt2>
      <a:accent1>
        <a:srgbClr val="0070C0"/>
      </a:accent1>
      <a:accent2>
        <a:srgbClr val="1C7D15"/>
      </a:accent2>
      <a:accent3>
        <a:srgbClr val="7454D0"/>
      </a:accent3>
      <a:accent4>
        <a:srgbClr val="199DF0"/>
      </a:accent4>
      <a:accent5>
        <a:srgbClr val="A9C422"/>
      </a:accent5>
      <a:accent6>
        <a:srgbClr val="EE7B08"/>
      </a:accent6>
      <a:hlink>
        <a:srgbClr val="5DD3FF"/>
      </a:hlink>
      <a:folHlink>
        <a:srgbClr val="9F94D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6350">
          <a:solidFill>
            <a:schemeClr val="bg2">
              <a:lumMod val="10000"/>
            </a:schemeClr>
          </a:solidFill>
        </a:ln>
      </a:spPr>
      <a:bodyPr rtlCol="0" anchor="ctr"/>
      <a:lstStyle>
        <a:defPPr algn="ctr">
          <a:defRPr>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lumMod val="1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tIns="45720" rIns="45720" bIns="45720" rtlCol="0">
        <a:spAutoFit/>
      </a:bodyPr>
      <a:lstStyle>
        <a:defPPr>
          <a:lnSpc>
            <a:spcPct val="90000"/>
          </a:lnSpc>
          <a:spcAft>
            <a:spcPts val="600"/>
          </a:spcAft>
          <a:defRPr sz="1800" dirty="0" err="1" smtClean="0">
            <a:solidFill>
              <a:schemeClr val="bg2">
                <a:lumMod val="10000"/>
              </a:schemeClr>
            </a:solidFill>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7_Landscape2004">
  <a:themeElements>
    <a:clrScheme name="1_Landscape2004 1">
      <a:dk1>
        <a:srgbClr val="003258"/>
      </a:dk1>
      <a:lt1>
        <a:srgbClr val="FFFFFF"/>
      </a:lt1>
      <a:dk2>
        <a:srgbClr val="A09487"/>
      </a:dk2>
      <a:lt2>
        <a:srgbClr val="DAD3C5"/>
      </a:lt2>
      <a:accent1>
        <a:srgbClr val="4E9793"/>
      </a:accent1>
      <a:accent2>
        <a:srgbClr val="FF4500"/>
      </a:accent2>
      <a:accent3>
        <a:srgbClr val="FFFFFF"/>
      </a:accent3>
      <a:accent4>
        <a:srgbClr val="00294A"/>
      </a:accent4>
      <a:accent5>
        <a:srgbClr val="B2C9C8"/>
      </a:accent5>
      <a:accent6>
        <a:srgbClr val="E73E00"/>
      </a:accent6>
      <a:hlink>
        <a:srgbClr val="0094D2"/>
      </a:hlink>
      <a:folHlink>
        <a:srgbClr val="026A65"/>
      </a:folHlink>
    </a:clrScheme>
    <a:fontScheme name="7_Landscape2004">
      <a:majorFont>
        <a:latin typeface="Calibri"/>
        <a:ea typeface="ＭＳ Ｐゴシック"/>
        <a:cs typeface="MS PGothic"/>
      </a:majorFont>
      <a:minorFont>
        <a:latin typeface="Calibri"/>
        <a:ea typeface="Times New Roman"/>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1" i="0" u="none" strike="noStrike" cap="none" normalizeH="0" baseline="0">
            <a:ln>
              <a:noFill/>
            </a:ln>
            <a:solidFill>
              <a:schemeClr val="tx1"/>
            </a:solidFill>
            <a:effectLst/>
            <a:latin typeface="Arial" pitchFamily="-108" charset="0"/>
            <a:ea typeface="Times New Roman" pitchFamily="-108" charset="0"/>
            <a:cs typeface="Times New Roman" pitchFamily="-10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1" i="0" u="none" strike="noStrike" cap="none" normalizeH="0" baseline="0">
            <a:ln>
              <a:noFill/>
            </a:ln>
            <a:solidFill>
              <a:schemeClr val="tx1"/>
            </a:solidFill>
            <a:effectLst/>
            <a:latin typeface="Arial" pitchFamily="-108" charset="0"/>
            <a:ea typeface="Times New Roman" pitchFamily="-108" charset="0"/>
            <a:cs typeface="Times New Roman" pitchFamily="-108" charset="0"/>
          </a:defRPr>
        </a:defPPr>
      </a:lstStyle>
    </a:lnDef>
  </a:objectDefaults>
  <a:extraClrSchemeLst>
    <a:extraClrScheme>
      <a:clrScheme name="1_Landscape2004 1">
        <a:dk1>
          <a:srgbClr val="003258"/>
        </a:dk1>
        <a:lt1>
          <a:srgbClr val="FFFFFF"/>
        </a:lt1>
        <a:dk2>
          <a:srgbClr val="A09487"/>
        </a:dk2>
        <a:lt2>
          <a:srgbClr val="DAD3C5"/>
        </a:lt2>
        <a:accent1>
          <a:srgbClr val="4E9793"/>
        </a:accent1>
        <a:accent2>
          <a:srgbClr val="FF4500"/>
        </a:accent2>
        <a:accent3>
          <a:srgbClr val="FFFFFF"/>
        </a:accent3>
        <a:accent4>
          <a:srgbClr val="00294A"/>
        </a:accent4>
        <a:accent5>
          <a:srgbClr val="B2C9C8"/>
        </a:accent5>
        <a:accent6>
          <a:srgbClr val="E73E00"/>
        </a:accent6>
        <a:hlink>
          <a:srgbClr val="0094D2"/>
        </a:hlink>
        <a:folHlink>
          <a:srgbClr val="026A65"/>
        </a:folHlink>
      </a:clrScheme>
      <a:clrMap bg1="lt1" tx1="dk1" bg2="lt2" tx2="dk2" accent1="accent1" accent2="accent2" accent3="accent3" accent4="accent4" accent5="accent5" accent6="accent6" hlink="hlink" folHlink="folHlink"/>
    </a:extraClrScheme>
    <a:extraClrScheme>
      <a:clrScheme name="1_Landscape2004 2">
        <a:dk1>
          <a:srgbClr val="DAD3C5"/>
        </a:dk1>
        <a:lt1>
          <a:srgbClr val="FFFFFF"/>
        </a:lt1>
        <a:dk2>
          <a:srgbClr val="003258"/>
        </a:dk2>
        <a:lt2>
          <a:srgbClr val="C9C2BB"/>
        </a:lt2>
        <a:accent1>
          <a:srgbClr val="4E9793"/>
        </a:accent1>
        <a:accent2>
          <a:srgbClr val="FF4500"/>
        </a:accent2>
        <a:accent3>
          <a:srgbClr val="AAADB4"/>
        </a:accent3>
        <a:accent4>
          <a:srgbClr val="DADADA"/>
        </a:accent4>
        <a:accent5>
          <a:srgbClr val="B2C9C8"/>
        </a:accent5>
        <a:accent6>
          <a:srgbClr val="E73E00"/>
        </a:accent6>
        <a:hlink>
          <a:srgbClr val="0094D2"/>
        </a:hlink>
        <a:folHlink>
          <a:srgbClr val="026A65"/>
        </a:folHlink>
      </a:clrScheme>
      <a:clrMap bg1="dk2" tx1="lt1" bg2="dk1" tx2="lt2" accent1="accent1" accent2="accent2" accent3="accent3" accent4="accent4" accent5="accent5" accent6="accent6" hlink="hlink" folHlink="folHlink"/>
    </a:extraClrScheme>
  </a:extraClrSchemeLst>
</a:theme>
</file>

<file path=ppt/theme/theme50.xml><?xml version="1.0" encoding="utf-8"?>
<a:theme xmlns:a="http://schemas.openxmlformats.org/drawingml/2006/main" name="Corp and Event Title">
  <a:themeElements>
    <a:clrScheme name="CA Event color palette 2014">
      <a:dk1>
        <a:srgbClr val="FFFFFF"/>
      </a:dk1>
      <a:lt1>
        <a:srgbClr val="FFFFFF"/>
      </a:lt1>
      <a:dk2>
        <a:srgbClr val="19272C"/>
      </a:dk2>
      <a:lt2>
        <a:srgbClr val="22343A"/>
      </a:lt2>
      <a:accent1>
        <a:srgbClr val="53BBD4"/>
      </a:accent1>
      <a:accent2>
        <a:srgbClr val="D0D8D8"/>
      </a:accent2>
      <a:accent3>
        <a:srgbClr val="57C1B4"/>
      </a:accent3>
      <a:accent4>
        <a:srgbClr val="FFC91C"/>
      </a:accent4>
      <a:accent5>
        <a:srgbClr val="BD66A9"/>
      </a:accent5>
      <a:accent6>
        <a:srgbClr val="58676D"/>
      </a:accent6>
      <a:hlink>
        <a:srgbClr val="D0D8D8"/>
      </a:hlink>
      <a:folHlink>
        <a:srgbClr val="D0D8D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1.xml><?xml version="1.0" encoding="utf-8"?>
<a:theme xmlns:a="http://schemas.openxmlformats.org/drawingml/2006/main" name="Corp and Event Divider">
  <a:themeElements>
    <a:clrScheme name="CA Event color palette 2014">
      <a:dk1>
        <a:srgbClr val="FFFFFF"/>
      </a:dk1>
      <a:lt1>
        <a:srgbClr val="FFFFFF"/>
      </a:lt1>
      <a:dk2>
        <a:srgbClr val="19272C"/>
      </a:dk2>
      <a:lt2>
        <a:srgbClr val="22343A"/>
      </a:lt2>
      <a:accent1>
        <a:srgbClr val="53BBD4"/>
      </a:accent1>
      <a:accent2>
        <a:srgbClr val="D0D8D8"/>
      </a:accent2>
      <a:accent3>
        <a:srgbClr val="57C1B4"/>
      </a:accent3>
      <a:accent4>
        <a:srgbClr val="FFC91C"/>
      </a:accent4>
      <a:accent5>
        <a:srgbClr val="BD66A9"/>
      </a:accent5>
      <a:accent6>
        <a:srgbClr val="58676D"/>
      </a:accent6>
      <a:hlink>
        <a:srgbClr val="D0D8D8"/>
      </a:hlink>
      <a:folHlink>
        <a:srgbClr val="D0D8D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rgbClr val="FFFFFF"/>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tx2"/>
        </a:solidFill>
      </a:spPr>
      <a:bodyPr wrap="none" tIns="91440" bIns="91440" rtlCol="0" anchor="ctr" anchorCtr="0">
        <a:noAutofit/>
      </a:bodyPr>
      <a:lstStyle>
        <a:defPPr algn="ctr">
          <a:defRPr sz="1200" dirty="0" err="1" smtClean="0"/>
        </a:defPPr>
      </a:lstStyle>
    </a:txDef>
  </a:objectDefaults>
  <a:extraClrSchemeLst/>
</a:theme>
</file>

<file path=ppt/theme/theme52.xml><?xml version="1.0" encoding="utf-8"?>
<a:theme xmlns:a="http://schemas.openxmlformats.org/drawingml/2006/main" name="Corp and Event Closing">
  <a:themeElements>
    <a:clrScheme name="CA Event color palette 2014">
      <a:dk1>
        <a:srgbClr val="FFFFFF"/>
      </a:dk1>
      <a:lt1>
        <a:srgbClr val="FFFFFF"/>
      </a:lt1>
      <a:dk2>
        <a:srgbClr val="19272C"/>
      </a:dk2>
      <a:lt2>
        <a:srgbClr val="22343A"/>
      </a:lt2>
      <a:accent1>
        <a:srgbClr val="53BBD4"/>
      </a:accent1>
      <a:accent2>
        <a:srgbClr val="D0D8D8"/>
      </a:accent2>
      <a:accent3>
        <a:srgbClr val="57C1B4"/>
      </a:accent3>
      <a:accent4>
        <a:srgbClr val="FFC91C"/>
      </a:accent4>
      <a:accent5>
        <a:srgbClr val="BD66A9"/>
      </a:accent5>
      <a:accent6>
        <a:srgbClr val="58676D"/>
      </a:accent6>
      <a:hlink>
        <a:srgbClr val="D0D8D8"/>
      </a:hlink>
      <a:folHlink>
        <a:srgbClr val="D0D8D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rgbClr val="FFFFFF"/>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tx2"/>
        </a:solidFill>
      </a:spPr>
      <a:bodyPr wrap="none" tIns="91440" bIns="91440" rtlCol="0" anchor="ctr" anchorCtr="0">
        <a:noAutofit/>
      </a:bodyPr>
      <a:lstStyle>
        <a:defPPr algn="ctr">
          <a:defRPr sz="1200" dirty="0" err="1" smtClean="0"/>
        </a:defPPr>
      </a:lstStyle>
    </a:txDef>
  </a:objectDefaults>
  <a:extraClrSchemeLst/>
</a:theme>
</file>

<file path=ppt/theme/theme53.xml><?xml version="1.0" encoding="utf-8"?>
<a:theme xmlns:a="http://schemas.openxmlformats.org/drawingml/2006/main" name="4_Custom Design">
  <a:themeElements>
    <a:clrScheme name="1_Custom Design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700" b="0" i="0" u="none" strike="noStrike" cap="none" normalizeH="0" baseline="0">
            <a:ln>
              <a:noFill/>
            </a:ln>
            <a:solidFill>
              <a:srgbClr val="003883"/>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700" b="0" i="0" u="none" strike="noStrike" cap="none" normalizeH="0" baseline="0">
            <a:ln>
              <a:noFill/>
            </a:ln>
            <a:solidFill>
              <a:srgbClr val="003883"/>
            </a:solidFill>
            <a:effectLst/>
            <a:latin typeface="Arial" charset="0"/>
          </a:defRPr>
        </a:defPPr>
      </a:lstStyle>
    </a:lnDef>
  </a:objectDefaults>
  <a:extraClrSchemeLst>
    <a:extraClrScheme>
      <a:clrScheme name="1_Custom Design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clrMap bg1="lt1" tx1="dk1" bg2="lt2" tx2="dk2" accent1="accent1" accent2="accent2" accent3="accent3" accent4="accent4" accent5="accent5" accent6="accent6" hlink="hlink" folHlink="folHlink"/>
    </a:extraClrScheme>
  </a:extraClrSchemeLst>
</a:theme>
</file>

<file path=ppt/theme/theme54.xml><?xml version="1.0" encoding="utf-8"?>
<a:theme xmlns:a="http://schemas.openxmlformats.org/drawingml/2006/main" name="02 Powerpoint template no dividers[1]">
  <a:themeElements>
    <a:clrScheme name="Custom Design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700" b="0" i="0" u="none" strike="noStrike" cap="none" normalizeH="0" baseline="0">
            <a:ln>
              <a:noFill/>
            </a:ln>
            <a:solidFill>
              <a:srgbClr val="003883"/>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700" b="0" i="0" u="none" strike="noStrike" cap="none" normalizeH="0" baseline="0">
            <a:ln>
              <a:noFill/>
            </a:ln>
            <a:solidFill>
              <a:srgbClr val="003883"/>
            </a:solidFill>
            <a:effectLst/>
            <a:latin typeface="Arial" charset="0"/>
          </a:defRPr>
        </a:defPPr>
      </a:lstStyle>
    </a:lnDef>
  </a:objectDefaults>
  <a:extraClrSchemeLst>
    <a:extraClrScheme>
      <a:clrScheme name="Custom Design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clrMap bg1="lt1" tx1="dk1" bg2="lt2" tx2="dk2" accent1="accent1" accent2="accent2" accent3="accent3" accent4="accent4" accent5="accent5" accent6="accent6" hlink="hlink" folHlink="folHlink"/>
    </a:extraClrScheme>
  </a:extraClrSchemeLst>
</a:theme>
</file>

<file path=ppt/theme/theme55.xml><?xml version="1.0" encoding="utf-8"?>
<a:theme xmlns:a="http://schemas.openxmlformats.org/drawingml/2006/main" name="1_Capgemini template">
  <a:themeElements>
    <a:clrScheme name="Capgemini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Capgemini template">
  <a:themeElements>
    <a:clrScheme name="Capgemini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2_Capgemini template">
  <a:themeElements>
    <a:clrScheme name="ExpertConnect">
      <a:dk1>
        <a:srgbClr val="00234B"/>
      </a:dk1>
      <a:lt1>
        <a:sysClr val="window" lastClr="FFFFFF"/>
      </a:lt1>
      <a:dk2>
        <a:srgbClr val="998C85"/>
      </a:dk2>
      <a:lt2>
        <a:srgbClr val="909090"/>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2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9.xml><?xml version="1.0" encoding="utf-8"?>
<a:theme xmlns:a="http://schemas.openxmlformats.org/drawingml/2006/main" name="5_Creative">
  <a:themeElements>
    <a:clrScheme name="Diffusion Brand 2016">
      <a:dk1>
        <a:srgbClr val="3F3F3F"/>
      </a:dk1>
      <a:lt1>
        <a:sysClr val="window" lastClr="FFFFFF"/>
      </a:lt1>
      <a:dk2>
        <a:srgbClr val="44546A"/>
      </a:dk2>
      <a:lt2>
        <a:srgbClr val="E7E6E6"/>
      </a:lt2>
      <a:accent1>
        <a:srgbClr val="4D8C8C"/>
      </a:accent1>
      <a:accent2>
        <a:srgbClr val="56616B"/>
      </a:accent2>
      <a:accent3>
        <a:srgbClr val="506BA3"/>
      </a:accent3>
      <a:accent4>
        <a:srgbClr val="FF444F"/>
      </a:accent4>
      <a:accent5>
        <a:srgbClr val="B65877"/>
      </a:accent5>
      <a:accent6>
        <a:srgbClr val="284344"/>
      </a:accent6>
      <a:hlink>
        <a:srgbClr val="506BA3"/>
      </a:hlink>
      <a:folHlink>
        <a:srgbClr val="FF444F"/>
      </a:folHlink>
    </a:clrScheme>
    <a:fontScheme name="Roboto">
      <a:majorFont>
        <a:latin typeface="Roboto Condense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8_Landscape2004">
  <a:themeElements>
    <a:clrScheme name="1_Landscape2004 1">
      <a:dk1>
        <a:srgbClr val="003258"/>
      </a:dk1>
      <a:lt1>
        <a:srgbClr val="FFFFFF"/>
      </a:lt1>
      <a:dk2>
        <a:srgbClr val="A09487"/>
      </a:dk2>
      <a:lt2>
        <a:srgbClr val="DAD3C5"/>
      </a:lt2>
      <a:accent1>
        <a:srgbClr val="4E9793"/>
      </a:accent1>
      <a:accent2>
        <a:srgbClr val="FF4500"/>
      </a:accent2>
      <a:accent3>
        <a:srgbClr val="FFFFFF"/>
      </a:accent3>
      <a:accent4>
        <a:srgbClr val="00294A"/>
      </a:accent4>
      <a:accent5>
        <a:srgbClr val="B2C9C8"/>
      </a:accent5>
      <a:accent6>
        <a:srgbClr val="E73E00"/>
      </a:accent6>
      <a:hlink>
        <a:srgbClr val="0094D2"/>
      </a:hlink>
      <a:folHlink>
        <a:srgbClr val="026A65"/>
      </a:folHlink>
    </a:clrScheme>
    <a:fontScheme name="8_Landscape2004">
      <a:majorFont>
        <a:latin typeface=""/>
        <a:ea typeface="ＭＳ Ｐゴシック"/>
        <a:cs typeface="MS PGothic"/>
      </a:majorFont>
      <a:minorFont>
        <a:latin typeface=""/>
        <a:ea typeface="ＭＳ Ｐゴシック"/>
        <a:cs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1" i="0" u="none" strike="noStrike" cap="none" normalizeH="0" baseline="0">
            <a:ln>
              <a:noFill/>
            </a:ln>
            <a:solidFill>
              <a:schemeClr val="tx1"/>
            </a:solidFill>
            <a:effectLst/>
            <a:latin typeface="Arial" pitchFamily="-65" charset="0"/>
            <a:ea typeface="Times New Roman" pitchFamily="-65" charset="0"/>
            <a:cs typeface="Times New Roman" pitchFamily="-65"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1" i="0" u="none" strike="noStrike" cap="none" normalizeH="0" baseline="0">
            <a:ln>
              <a:noFill/>
            </a:ln>
            <a:solidFill>
              <a:schemeClr val="tx1"/>
            </a:solidFill>
            <a:effectLst/>
            <a:latin typeface="Arial" pitchFamily="-65" charset="0"/>
            <a:ea typeface="Times New Roman" pitchFamily="-65" charset="0"/>
            <a:cs typeface="Times New Roman" pitchFamily="-65" charset="0"/>
          </a:defRPr>
        </a:defPPr>
      </a:lstStyle>
    </a:lnDef>
  </a:objectDefaults>
  <a:extraClrSchemeLst>
    <a:extraClrScheme>
      <a:clrScheme name="1_Landscape2004 1">
        <a:dk1>
          <a:srgbClr val="003258"/>
        </a:dk1>
        <a:lt1>
          <a:srgbClr val="FFFFFF"/>
        </a:lt1>
        <a:dk2>
          <a:srgbClr val="A09487"/>
        </a:dk2>
        <a:lt2>
          <a:srgbClr val="DAD3C5"/>
        </a:lt2>
        <a:accent1>
          <a:srgbClr val="4E9793"/>
        </a:accent1>
        <a:accent2>
          <a:srgbClr val="FF4500"/>
        </a:accent2>
        <a:accent3>
          <a:srgbClr val="FFFFFF"/>
        </a:accent3>
        <a:accent4>
          <a:srgbClr val="00294A"/>
        </a:accent4>
        <a:accent5>
          <a:srgbClr val="B2C9C8"/>
        </a:accent5>
        <a:accent6>
          <a:srgbClr val="E73E00"/>
        </a:accent6>
        <a:hlink>
          <a:srgbClr val="0094D2"/>
        </a:hlink>
        <a:folHlink>
          <a:srgbClr val="026A65"/>
        </a:folHlink>
      </a:clrScheme>
      <a:clrMap bg1="lt1" tx1="dk1" bg2="lt2" tx2="dk2" accent1="accent1" accent2="accent2" accent3="accent3" accent4="accent4" accent5="accent5" accent6="accent6" hlink="hlink" folHlink="folHlink"/>
    </a:extraClrScheme>
    <a:extraClrScheme>
      <a:clrScheme name="1_Landscape2004 2">
        <a:dk1>
          <a:srgbClr val="DAD3C5"/>
        </a:dk1>
        <a:lt1>
          <a:srgbClr val="FFFFFF"/>
        </a:lt1>
        <a:dk2>
          <a:srgbClr val="003258"/>
        </a:dk2>
        <a:lt2>
          <a:srgbClr val="C9C2BB"/>
        </a:lt2>
        <a:accent1>
          <a:srgbClr val="4E9793"/>
        </a:accent1>
        <a:accent2>
          <a:srgbClr val="FF4500"/>
        </a:accent2>
        <a:accent3>
          <a:srgbClr val="AAADB4"/>
        </a:accent3>
        <a:accent4>
          <a:srgbClr val="DADADA"/>
        </a:accent4>
        <a:accent5>
          <a:srgbClr val="B2C9C8"/>
        </a:accent5>
        <a:accent6>
          <a:srgbClr val="E73E00"/>
        </a:accent6>
        <a:hlink>
          <a:srgbClr val="0094D2"/>
        </a:hlink>
        <a:folHlink>
          <a:srgbClr val="026A65"/>
        </a:folHlink>
      </a:clrScheme>
      <a:clrMap bg1="dk2" tx1="lt1" bg2="dk1" tx2="lt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Creative">
  <a:themeElements>
    <a:clrScheme name="Diffusion Brand 2015">
      <a:dk1>
        <a:sysClr val="windowText" lastClr="000000"/>
      </a:dk1>
      <a:lt1>
        <a:sysClr val="window" lastClr="FFFFFF"/>
      </a:lt1>
      <a:dk2>
        <a:srgbClr val="44546A"/>
      </a:dk2>
      <a:lt2>
        <a:srgbClr val="E7E6E6"/>
      </a:lt2>
      <a:accent1>
        <a:srgbClr val="506BA3"/>
      </a:accent1>
      <a:accent2>
        <a:srgbClr val="56616B"/>
      </a:accent2>
      <a:accent3>
        <a:srgbClr val="4D8C8C"/>
      </a:accent3>
      <a:accent4>
        <a:srgbClr val="FF444F"/>
      </a:accent4>
      <a:accent5>
        <a:srgbClr val="B65877"/>
      </a:accent5>
      <a:accent6>
        <a:srgbClr val="FFFFFF"/>
      </a:accent6>
      <a:hlink>
        <a:srgbClr val="506BA3"/>
      </a:hlink>
      <a:folHlink>
        <a:srgbClr val="FF444F"/>
      </a:folHlink>
    </a:clrScheme>
    <a:fontScheme name="Roboto">
      <a:majorFont>
        <a:latin typeface="Roboto Condense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1.xml><?xml version="1.0" encoding="utf-8"?>
<a:theme xmlns:a="http://schemas.openxmlformats.org/drawingml/2006/main" name="4_Creative">
  <a:themeElements>
    <a:clrScheme name="Diffusion Brand 2016">
      <a:dk1>
        <a:srgbClr val="3F3F3F"/>
      </a:dk1>
      <a:lt1>
        <a:sysClr val="window" lastClr="FFFFFF"/>
      </a:lt1>
      <a:dk2>
        <a:srgbClr val="44546A"/>
      </a:dk2>
      <a:lt2>
        <a:srgbClr val="E7E6E6"/>
      </a:lt2>
      <a:accent1>
        <a:srgbClr val="4D8C8C"/>
      </a:accent1>
      <a:accent2>
        <a:srgbClr val="56616B"/>
      </a:accent2>
      <a:accent3>
        <a:srgbClr val="506BA3"/>
      </a:accent3>
      <a:accent4>
        <a:srgbClr val="FF444F"/>
      </a:accent4>
      <a:accent5>
        <a:srgbClr val="B65877"/>
      </a:accent5>
      <a:accent6>
        <a:srgbClr val="284344"/>
      </a:accent6>
      <a:hlink>
        <a:srgbClr val="506BA3"/>
      </a:hlink>
      <a:folHlink>
        <a:srgbClr val="FF444F"/>
      </a:folHlink>
    </a:clrScheme>
    <a:fontScheme name="Roboto">
      <a:majorFont>
        <a:latin typeface="Roboto Condense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2.xml><?xml version="1.0" encoding="utf-8"?>
<a:theme xmlns:a="http://schemas.openxmlformats.org/drawingml/2006/main" name="4_Office Theme">
  <a:themeElements>
    <a:clrScheme name="Custom 3">
      <a:dk1>
        <a:srgbClr val="000000"/>
      </a:dk1>
      <a:lt1>
        <a:srgbClr val="FFFFFF"/>
      </a:lt1>
      <a:dk2>
        <a:srgbClr val="000000"/>
      </a:dk2>
      <a:lt2>
        <a:srgbClr val="FFFFFF"/>
      </a:lt2>
      <a:accent1>
        <a:srgbClr val="EC008C"/>
      </a:accent1>
      <a:accent2>
        <a:srgbClr val="F05023"/>
      </a:accent2>
      <a:accent3>
        <a:srgbClr val="000000"/>
      </a:accent3>
      <a:accent4>
        <a:srgbClr val="AAA9AA"/>
      </a:accent4>
      <a:accent5>
        <a:srgbClr val="78787A"/>
      </a:accent5>
      <a:accent6>
        <a:srgbClr val="EC008C"/>
      </a:accent6>
      <a:hlink>
        <a:srgbClr val="EC008C"/>
      </a:hlink>
      <a:folHlink>
        <a:srgbClr val="F0502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3_Custom Design">
  <a:themeElements>
    <a:clrScheme name="1_Custom Design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700" b="0" i="0" u="none" strike="noStrike" cap="none" normalizeH="0" baseline="0">
            <a:ln>
              <a:noFill/>
            </a:ln>
            <a:solidFill>
              <a:srgbClr val="003883"/>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700" b="0" i="0" u="none" strike="noStrike" cap="none" normalizeH="0" baseline="0">
            <a:ln>
              <a:noFill/>
            </a:ln>
            <a:solidFill>
              <a:srgbClr val="003883"/>
            </a:solidFill>
            <a:effectLst/>
            <a:latin typeface="Arial" charset="0"/>
          </a:defRPr>
        </a:defPPr>
      </a:lstStyle>
    </a:lnDef>
  </a:objectDefaults>
  <a:extraClrSchemeLst>
    <a:extraClrScheme>
      <a:clrScheme name="1_Custom Design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ption for viva template">
  <a:themeElements>
    <a:clrScheme name="Telefonica">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61B8CD"/>
      </a:hlink>
      <a:folHlink>
        <a:srgbClr val="7B8389"/>
      </a:folHlink>
    </a:clrScheme>
    <a:fontScheme name="TF_template">
      <a:majorFont>
        <a:latin typeface="Telefonica Headline Light"/>
        <a:ea typeface="Arial Unicode MS"/>
        <a:cs typeface="Arial Unicode MS"/>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1200" b="1" i="0" u="none" strike="noStrike" cap="none" normalizeH="0" baseline="0">
            <a:ln>
              <a:noFill/>
            </a:ln>
            <a:solidFill>
              <a:schemeClr val="tx1"/>
            </a:solidFill>
            <a:effectLst/>
            <a:latin typeface="TheSansCorrespondence"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1200" b="1" i="0" u="none" strike="noStrike" cap="none" normalizeH="0" baseline="0">
            <a:ln>
              <a:noFill/>
            </a:ln>
            <a:solidFill>
              <a:schemeClr val="tx1"/>
            </a:solidFill>
            <a:effectLst/>
            <a:latin typeface="TheSansCorrespondence" pitchFamily="34" charset="0"/>
          </a:defRPr>
        </a:defPPr>
      </a:lstStyle>
    </a:lnDef>
  </a:objectDefaults>
  <a:extraClrSchemeLst>
    <a:extraClrScheme>
      <a:clrScheme name="TF_template 1">
        <a:dk1>
          <a:srgbClr val="000000"/>
        </a:dk1>
        <a:lt1>
          <a:srgbClr val="FFFFFF"/>
        </a:lt1>
        <a:dk2>
          <a:srgbClr val="FFF2AF"/>
        </a:dk2>
        <a:lt2>
          <a:srgbClr val="A9A49F"/>
        </a:lt2>
        <a:accent1>
          <a:srgbClr val="B2D1B2"/>
        </a:accent1>
        <a:accent2>
          <a:srgbClr val="FFCC66"/>
        </a:accent2>
        <a:accent3>
          <a:srgbClr val="FFFFFF"/>
        </a:accent3>
        <a:accent4>
          <a:srgbClr val="000000"/>
        </a:accent4>
        <a:accent5>
          <a:srgbClr val="D5E5D5"/>
        </a:accent5>
        <a:accent6>
          <a:srgbClr val="E7B95C"/>
        </a:accent6>
        <a:hlink>
          <a:srgbClr val="DBE9DB"/>
        </a:hlink>
        <a:folHlink>
          <a:srgbClr val="CC99FF"/>
        </a:folHlink>
      </a:clrScheme>
      <a:clrMap bg1="lt1" tx1="dk1" bg2="lt2" tx2="dk2" accent1="accent1" accent2="accent2" accent3="accent3" accent4="accent4" accent5="accent5" accent6="accent6" hlink="hlink" folHlink="folHlink"/>
    </a:extraClrScheme>
    <a:extraClrScheme>
      <a:clrScheme name="TF_template 2">
        <a:dk1>
          <a:srgbClr val="000000"/>
        </a:dk1>
        <a:lt1>
          <a:srgbClr val="FFFFFF"/>
        </a:lt1>
        <a:dk2>
          <a:srgbClr val="FFF2AF"/>
        </a:dk2>
        <a:lt2>
          <a:srgbClr val="A9A49F"/>
        </a:lt2>
        <a:accent1>
          <a:srgbClr val="B2D1B2"/>
        </a:accent1>
        <a:accent2>
          <a:srgbClr val="FFCC66"/>
        </a:accent2>
        <a:accent3>
          <a:srgbClr val="FFFFFF"/>
        </a:accent3>
        <a:accent4>
          <a:srgbClr val="000000"/>
        </a:accent4>
        <a:accent5>
          <a:srgbClr val="D5E5D5"/>
        </a:accent5>
        <a:accent6>
          <a:srgbClr val="E7B95C"/>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TF_template 3">
        <a:dk1>
          <a:srgbClr val="000000"/>
        </a:dk1>
        <a:lt1>
          <a:srgbClr val="FFFFFF"/>
        </a:lt1>
        <a:dk2>
          <a:srgbClr val="003399"/>
        </a:dk2>
        <a:lt2>
          <a:srgbClr val="B2B2B2"/>
        </a:lt2>
        <a:accent1>
          <a:srgbClr val="D0F500"/>
        </a:accent1>
        <a:accent2>
          <a:srgbClr val="FFA000"/>
        </a:accent2>
        <a:accent3>
          <a:srgbClr val="FFFFFF"/>
        </a:accent3>
        <a:accent4>
          <a:srgbClr val="000000"/>
        </a:accent4>
        <a:accent5>
          <a:srgbClr val="E4F9AA"/>
        </a:accent5>
        <a:accent6>
          <a:srgbClr val="E79100"/>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TF_template 4">
        <a:dk1>
          <a:srgbClr val="003399"/>
        </a:dk1>
        <a:lt1>
          <a:srgbClr val="FFFFFF"/>
        </a:lt1>
        <a:dk2>
          <a:srgbClr val="003399"/>
        </a:dk2>
        <a:lt2>
          <a:srgbClr val="B2B2B2"/>
        </a:lt2>
        <a:accent1>
          <a:srgbClr val="D0F500"/>
        </a:accent1>
        <a:accent2>
          <a:srgbClr val="FFA000"/>
        </a:accent2>
        <a:accent3>
          <a:srgbClr val="FFFFFF"/>
        </a:accent3>
        <a:accent4>
          <a:srgbClr val="002A82"/>
        </a:accent4>
        <a:accent5>
          <a:srgbClr val="E4F9AA"/>
        </a:accent5>
        <a:accent6>
          <a:srgbClr val="E79100"/>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TF_template 5">
        <a:dk1>
          <a:srgbClr val="003399"/>
        </a:dk1>
        <a:lt1>
          <a:srgbClr val="FFFFFF"/>
        </a:lt1>
        <a:dk2>
          <a:srgbClr val="003399"/>
        </a:dk2>
        <a:lt2>
          <a:srgbClr val="B2B2B2"/>
        </a:lt2>
        <a:accent1>
          <a:srgbClr val="D0F500"/>
        </a:accent1>
        <a:accent2>
          <a:srgbClr val="B2B2B2"/>
        </a:accent2>
        <a:accent3>
          <a:srgbClr val="FFFFFF"/>
        </a:accent3>
        <a:accent4>
          <a:srgbClr val="002A82"/>
        </a:accent4>
        <a:accent5>
          <a:srgbClr val="E4F9AA"/>
        </a:accent5>
        <a:accent6>
          <a:srgbClr val="A1A1A1"/>
        </a:accent6>
        <a:hlink>
          <a:srgbClr val="003399"/>
        </a:hlink>
        <a:folHlink>
          <a:srgbClr val="5598C9"/>
        </a:folHlink>
      </a:clrScheme>
      <a:clrMap bg1="lt1" tx1="dk1" bg2="lt2" tx2="dk2" accent1="accent1" accent2="accent2" accent3="accent3" accent4="accent4" accent5="accent5" accent6="accent6" hlink="hlink" folHlink="folHlink"/>
    </a:extraClrScheme>
    <a:extraClrScheme>
      <a:clrScheme name="TF_template 6">
        <a:dk1>
          <a:srgbClr val="003399"/>
        </a:dk1>
        <a:lt1>
          <a:srgbClr val="FFFFFF"/>
        </a:lt1>
        <a:dk2>
          <a:srgbClr val="003399"/>
        </a:dk2>
        <a:lt2>
          <a:srgbClr val="B2B2B2"/>
        </a:lt2>
        <a:accent1>
          <a:srgbClr val="D0F500"/>
        </a:accent1>
        <a:accent2>
          <a:srgbClr val="B2B2B2"/>
        </a:accent2>
        <a:accent3>
          <a:srgbClr val="FFFFFF"/>
        </a:accent3>
        <a:accent4>
          <a:srgbClr val="002A82"/>
        </a:accent4>
        <a:accent5>
          <a:srgbClr val="E4F9AA"/>
        </a:accent5>
        <a:accent6>
          <a:srgbClr val="A1A1A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TF_template 7">
        <a:dk1>
          <a:srgbClr val="000000"/>
        </a:dk1>
        <a:lt1>
          <a:srgbClr val="FFFFFF"/>
        </a:lt1>
        <a:dk2>
          <a:srgbClr val="003F52"/>
        </a:dk2>
        <a:lt2>
          <a:srgbClr val="EEECE1"/>
        </a:lt2>
        <a:accent1>
          <a:srgbClr val="003F52"/>
        </a:accent1>
        <a:accent2>
          <a:srgbClr val="65C3D5"/>
        </a:accent2>
        <a:accent3>
          <a:srgbClr val="FFFFFF"/>
        </a:accent3>
        <a:accent4>
          <a:srgbClr val="000000"/>
        </a:accent4>
        <a:accent5>
          <a:srgbClr val="AAAFB3"/>
        </a:accent5>
        <a:accent6>
          <a:srgbClr val="5BB0C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TF_template 8">
        <a:dk1>
          <a:srgbClr val="000000"/>
        </a:dk1>
        <a:lt1>
          <a:srgbClr val="FFFFFF"/>
        </a:lt1>
        <a:dk2>
          <a:srgbClr val="003F52"/>
        </a:dk2>
        <a:lt2>
          <a:srgbClr val="EEECE1"/>
        </a:lt2>
        <a:accent1>
          <a:srgbClr val="003F52"/>
        </a:accent1>
        <a:accent2>
          <a:srgbClr val="54B4CC"/>
        </a:accent2>
        <a:accent3>
          <a:srgbClr val="FFFFFF"/>
        </a:accent3>
        <a:accent4>
          <a:srgbClr val="000000"/>
        </a:accent4>
        <a:accent5>
          <a:srgbClr val="AAAFB3"/>
        </a:accent5>
        <a:accent6>
          <a:srgbClr val="4BA3B9"/>
        </a:accent6>
        <a:hlink>
          <a:srgbClr val="800080"/>
        </a:hlink>
        <a:folHlink>
          <a:srgbClr val="65C3D5"/>
        </a:folHlink>
      </a:clrScheme>
      <a:clrMap bg1="lt1" tx1="dk1" bg2="lt2" tx2="dk2" accent1="accent1" accent2="accent2" accent3="accent3" accent4="accent4" accent5="accent5" accent6="accent6" hlink="hlink" folHlink="folHlink"/>
    </a:extraClrScheme>
    <a:extraClrScheme>
      <a:clrScheme name="TF_template 9">
        <a:dk1>
          <a:srgbClr val="000000"/>
        </a:dk1>
        <a:lt1>
          <a:srgbClr val="FFFFFF"/>
        </a:lt1>
        <a:dk2>
          <a:srgbClr val="003F52"/>
        </a:dk2>
        <a:lt2>
          <a:srgbClr val="EEECE1"/>
        </a:lt2>
        <a:accent1>
          <a:srgbClr val="003F52"/>
        </a:accent1>
        <a:accent2>
          <a:srgbClr val="61B8CD"/>
        </a:accent2>
        <a:accent3>
          <a:srgbClr val="FFFFFF"/>
        </a:accent3>
        <a:accent4>
          <a:srgbClr val="000000"/>
        </a:accent4>
        <a:accent5>
          <a:srgbClr val="AAAFB3"/>
        </a:accent5>
        <a:accent6>
          <a:srgbClr val="57A6BA"/>
        </a:accent6>
        <a:hlink>
          <a:srgbClr val="0000E1"/>
        </a:hlink>
        <a:folHlink>
          <a:srgbClr val="800080"/>
        </a:folHlink>
      </a:clrScheme>
      <a:clrMap bg1="lt1" tx1="dk1" bg2="lt2" tx2="dk2" accent1="accent1" accent2="accent2" accent3="accent3" accent4="accent4" accent5="accent5" accent6="accent6" hlink="hlink" folHlink="folHlink"/>
    </a:extraClrScheme>
    <a:extraClrScheme>
      <a:clrScheme name="TF_template 10">
        <a:dk1>
          <a:srgbClr val="003F52"/>
        </a:dk1>
        <a:lt1>
          <a:srgbClr val="FFFFFF"/>
        </a:lt1>
        <a:dk2>
          <a:srgbClr val="65C3D5"/>
        </a:dk2>
        <a:lt2>
          <a:srgbClr val="EEECE1"/>
        </a:lt2>
        <a:accent1>
          <a:srgbClr val="003F52"/>
        </a:accent1>
        <a:accent2>
          <a:srgbClr val="65C3D5"/>
        </a:accent2>
        <a:accent3>
          <a:srgbClr val="FFFFFF"/>
        </a:accent3>
        <a:accent4>
          <a:srgbClr val="003445"/>
        </a:accent4>
        <a:accent5>
          <a:srgbClr val="AAAFB3"/>
        </a:accent5>
        <a:accent6>
          <a:srgbClr val="5BB0C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TF_template 11">
        <a:dk1>
          <a:srgbClr val="043F52"/>
        </a:dk1>
        <a:lt1>
          <a:srgbClr val="FFFFFF"/>
        </a:lt1>
        <a:dk2>
          <a:srgbClr val="61B8CD"/>
        </a:dk2>
        <a:lt2>
          <a:srgbClr val="EEECE1"/>
        </a:lt2>
        <a:accent1>
          <a:srgbClr val="043F52"/>
        </a:accent1>
        <a:accent2>
          <a:srgbClr val="DDDDDD"/>
        </a:accent2>
        <a:accent3>
          <a:srgbClr val="FFFFFF"/>
        </a:accent3>
        <a:accent4>
          <a:srgbClr val="033445"/>
        </a:accent4>
        <a:accent5>
          <a:srgbClr val="AAAFB3"/>
        </a:accent5>
        <a:accent6>
          <a:srgbClr val="C8C8C8"/>
        </a:accent6>
        <a:hlink>
          <a:srgbClr val="7AB51D"/>
        </a:hlink>
        <a:folHlink>
          <a:srgbClr val="D2A85D"/>
        </a:folHlink>
      </a:clrScheme>
      <a:clrMap bg1="lt1" tx1="dk1" bg2="lt2" tx2="dk2" accent1="accent1" accent2="accent2" accent3="accent3" accent4="accent4" accent5="accent5" accent6="accent6" hlink="hlink" folHlink="folHlink"/>
    </a:extraClrScheme>
    <a:extraClrScheme>
      <a:clrScheme name="TF_template 12">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7AB51D"/>
        </a:hlink>
        <a:folHlink>
          <a:srgbClr val="D2A85D"/>
        </a:folHlink>
      </a:clrScheme>
      <a:clrMap bg1="lt1" tx1="dk1" bg2="lt2" tx2="dk2" accent1="accent1" accent2="accent2" accent3="accent3" accent4="accent4" accent5="accent5" accent6="accent6" hlink="hlink" folHlink="folHlink"/>
    </a:extraClrScheme>
    <a:extraClrScheme>
      <a:clrScheme name="TF_template 13">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CB"/>
        </a:hlink>
        <a:folHlink>
          <a:srgbClr val="D2A85D"/>
        </a:folHlink>
      </a:clrScheme>
      <a:clrMap bg1="lt1" tx1="dk1" bg2="lt2" tx2="dk2" accent1="accent1" accent2="accent2" accent3="accent3" accent4="accent4" accent5="accent5" accent6="accent6" hlink="hlink" folHlink="folHlink"/>
    </a:extraClrScheme>
    <a:extraClrScheme>
      <a:clrScheme name="TF_template 14">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99"/>
        </a:hlink>
        <a:folHlink>
          <a:srgbClr val="D2A85D"/>
        </a:folHlink>
      </a:clrScheme>
      <a:clrMap bg1="lt1" tx1="dk1" bg2="lt2" tx2="dk2" accent1="accent1" accent2="accent2" accent3="accent3" accent4="accent4" accent5="accent5" accent6="accent6" hlink="hlink" folHlink="folHlink"/>
    </a:extraClrScheme>
    <a:extraClrScheme>
      <a:clrScheme name="TF_template 15">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CC"/>
        </a:hlink>
        <a:folHlink>
          <a:srgbClr val="D2A85D"/>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option for viva template">
  <a:themeElements>
    <a:clrScheme name="TF_template 15">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CC"/>
      </a:hlink>
      <a:folHlink>
        <a:srgbClr val="D2A85D"/>
      </a:folHlink>
    </a:clrScheme>
    <a:fontScheme name="TF_template">
      <a:majorFont>
        <a:latin typeface="Telefonica Headline Light"/>
        <a:ea typeface="Arial Unicode MS"/>
        <a:cs typeface="Arial Unicode MS"/>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1200" b="1" i="0" u="none" strike="noStrike" cap="none" normalizeH="0" baseline="0">
            <a:ln>
              <a:noFill/>
            </a:ln>
            <a:solidFill>
              <a:schemeClr val="tx1"/>
            </a:solidFill>
            <a:effectLst/>
            <a:latin typeface="TheSansCorrespondence"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1200" b="1" i="0" u="none" strike="noStrike" cap="none" normalizeH="0" baseline="0">
            <a:ln>
              <a:noFill/>
            </a:ln>
            <a:solidFill>
              <a:schemeClr val="tx1"/>
            </a:solidFill>
            <a:effectLst/>
            <a:latin typeface="TheSansCorrespondence" pitchFamily="34" charset="0"/>
          </a:defRPr>
        </a:defPPr>
      </a:lstStyle>
    </a:lnDef>
  </a:objectDefaults>
  <a:extraClrSchemeLst>
    <a:extraClrScheme>
      <a:clrScheme name="TF_template 1">
        <a:dk1>
          <a:srgbClr val="000000"/>
        </a:dk1>
        <a:lt1>
          <a:srgbClr val="FFFFFF"/>
        </a:lt1>
        <a:dk2>
          <a:srgbClr val="FFF2AF"/>
        </a:dk2>
        <a:lt2>
          <a:srgbClr val="A9A49F"/>
        </a:lt2>
        <a:accent1>
          <a:srgbClr val="B2D1B2"/>
        </a:accent1>
        <a:accent2>
          <a:srgbClr val="FFCC66"/>
        </a:accent2>
        <a:accent3>
          <a:srgbClr val="FFFFFF"/>
        </a:accent3>
        <a:accent4>
          <a:srgbClr val="000000"/>
        </a:accent4>
        <a:accent5>
          <a:srgbClr val="D5E5D5"/>
        </a:accent5>
        <a:accent6>
          <a:srgbClr val="E7B95C"/>
        </a:accent6>
        <a:hlink>
          <a:srgbClr val="DBE9DB"/>
        </a:hlink>
        <a:folHlink>
          <a:srgbClr val="CC99FF"/>
        </a:folHlink>
      </a:clrScheme>
      <a:clrMap bg1="lt1" tx1="dk1" bg2="lt2" tx2="dk2" accent1="accent1" accent2="accent2" accent3="accent3" accent4="accent4" accent5="accent5" accent6="accent6" hlink="hlink" folHlink="folHlink"/>
    </a:extraClrScheme>
    <a:extraClrScheme>
      <a:clrScheme name="TF_template 2">
        <a:dk1>
          <a:srgbClr val="000000"/>
        </a:dk1>
        <a:lt1>
          <a:srgbClr val="FFFFFF"/>
        </a:lt1>
        <a:dk2>
          <a:srgbClr val="FFF2AF"/>
        </a:dk2>
        <a:lt2>
          <a:srgbClr val="A9A49F"/>
        </a:lt2>
        <a:accent1>
          <a:srgbClr val="B2D1B2"/>
        </a:accent1>
        <a:accent2>
          <a:srgbClr val="FFCC66"/>
        </a:accent2>
        <a:accent3>
          <a:srgbClr val="FFFFFF"/>
        </a:accent3>
        <a:accent4>
          <a:srgbClr val="000000"/>
        </a:accent4>
        <a:accent5>
          <a:srgbClr val="D5E5D5"/>
        </a:accent5>
        <a:accent6>
          <a:srgbClr val="E7B95C"/>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TF_template 3">
        <a:dk1>
          <a:srgbClr val="000000"/>
        </a:dk1>
        <a:lt1>
          <a:srgbClr val="FFFFFF"/>
        </a:lt1>
        <a:dk2>
          <a:srgbClr val="003399"/>
        </a:dk2>
        <a:lt2>
          <a:srgbClr val="B2B2B2"/>
        </a:lt2>
        <a:accent1>
          <a:srgbClr val="D0F500"/>
        </a:accent1>
        <a:accent2>
          <a:srgbClr val="FFA000"/>
        </a:accent2>
        <a:accent3>
          <a:srgbClr val="FFFFFF"/>
        </a:accent3>
        <a:accent4>
          <a:srgbClr val="000000"/>
        </a:accent4>
        <a:accent5>
          <a:srgbClr val="E4F9AA"/>
        </a:accent5>
        <a:accent6>
          <a:srgbClr val="E79100"/>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TF_template 4">
        <a:dk1>
          <a:srgbClr val="003399"/>
        </a:dk1>
        <a:lt1>
          <a:srgbClr val="FFFFFF"/>
        </a:lt1>
        <a:dk2>
          <a:srgbClr val="003399"/>
        </a:dk2>
        <a:lt2>
          <a:srgbClr val="B2B2B2"/>
        </a:lt2>
        <a:accent1>
          <a:srgbClr val="D0F500"/>
        </a:accent1>
        <a:accent2>
          <a:srgbClr val="FFA000"/>
        </a:accent2>
        <a:accent3>
          <a:srgbClr val="FFFFFF"/>
        </a:accent3>
        <a:accent4>
          <a:srgbClr val="002A82"/>
        </a:accent4>
        <a:accent5>
          <a:srgbClr val="E4F9AA"/>
        </a:accent5>
        <a:accent6>
          <a:srgbClr val="E79100"/>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TF_template 5">
        <a:dk1>
          <a:srgbClr val="003399"/>
        </a:dk1>
        <a:lt1>
          <a:srgbClr val="FFFFFF"/>
        </a:lt1>
        <a:dk2>
          <a:srgbClr val="003399"/>
        </a:dk2>
        <a:lt2>
          <a:srgbClr val="B2B2B2"/>
        </a:lt2>
        <a:accent1>
          <a:srgbClr val="D0F500"/>
        </a:accent1>
        <a:accent2>
          <a:srgbClr val="B2B2B2"/>
        </a:accent2>
        <a:accent3>
          <a:srgbClr val="FFFFFF"/>
        </a:accent3>
        <a:accent4>
          <a:srgbClr val="002A82"/>
        </a:accent4>
        <a:accent5>
          <a:srgbClr val="E4F9AA"/>
        </a:accent5>
        <a:accent6>
          <a:srgbClr val="A1A1A1"/>
        </a:accent6>
        <a:hlink>
          <a:srgbClr val="003399"/>
        </a:hlink>
        <a:folHlink>
          <a:srgbClr val="5598C9"/>
        </a:folHlink>
      </a:clrScheme>
      <a:clrMap bg1="lt1" tx1="dk1" bg2="lt2" tx2="dk2" accent1="accent1" accent2="accent2" accent3="accent3" accent4="accent4" accent5="accent5" accent6="accent6" hlink="hlink" folHlink="folHlink"/>
    </a:extraClrScheme>
    <a:extraClrScheme>
      <a:clrScheme name="TF_template 6">
        <a:dk1>
          <a:srgbClr val="003399"/>
        </a:dk1>
        <a:lt1>
          <a:srgbClr val="FFFFFF"/>
        </a:lt1>
        <a:dk2>
          <a:srgbClr val="003399"/>
        </a:dk2>
        <a:lt2>
          <a:srgbClr val="B2B2B2"/>
        </a:lt2>
        <a:accent1>
          <a:srgbClr val="D0F500"/>
        </a:accent1>
        <a:accent2>
          <a:srgbClr val="B2B2B2"/>
        </a:accent2>
        <a:accent3>
          <a:srgbClr val="FFFFFF"/>
        </a:accent3>
        <a:accent4>
          <a:srgbClr val="002A82"/>
        </a:accent4>
        <a:accent5>
          <a:srgbClr val="E4F9AA"/>
        </a:accent5>
        <a:accent6>
          <a:srgbClr val="A1A1A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TF_template 7">
        <a:dk1>
          <a:srgbClr val="000000"/>
        </a:dk1>
        <a:lt1>
          <a:srgbClr val="FFFFFF"/>
        </a:lt1>
        <a:dk2>
          <a:srgbClr val="003F52"/>
        </a:dk2>
        <a:lt2>
          <a:srgbClr val="EEECE1"/>
        </a:lt2>
        <a:accent1>
          <a:srgbClr val="003F52"/>
        </a:accent1>
        <a:accent2>
          <a:srgbClr val="65C3D5"/>
        </a:accent2>
        <a:accent3>
          <a:srgbClr val="FFFFFF"/>
        </a:accent3>
        <a:accent4>
          <a:srgbClr val="000000"/>
        </a:accent4>
        <a:accent5>
          <a:srgbClr val="AAAFB3"/>
        </a:accent5>
        <a:accent6>
          <a:srgbClr val="5BB0C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TF_template 8">
        <a:dk1>
          <a:srgbClr val="000000"/>
        </a:dk1>
        <a:lt1>
          <a:srgbClr val="FFFFFF"/>
        </a:lt1>
        <a:dk2>
          <a:srgbClr val="003F52"/>
        </a:dk2>
        <a:lt2>
          <a:srgbClr val="EEECE1"/>
        </a:lt2>
        <a:accent1>
          <a:srgbClr val="003F52"/>
        </a:accent1>
        <a:accent2>
          <a:srgbClr val="54B4CC"/>
        </a:accent2>
        <a:accent3>
          <a:srgbClr val="FFFFFF"/>
        </a:accent3>
        <a:accent4>
          <a:srgbClr val="000000"/>
        </a:accent4>
        <a:accent5>
          <a:srgbClr val="AAAFB3"/>
        </a:accent5>
        <a:accent6>
          <a:srgbClr val="4BA3B9"/>
        </a:accent6>
        <a:hlink>
          <a:srgbClr val="800080"/>
        </a:hlink>
        <a:folHlink>
          <a:srgbClr val="65C3D5"/>
        </a:folHlink>
      </a:clrScheme>
      <a:clrMap bg1="lt1" tx1="dk1" bg2="lt2" tx2="dk2" accent1="accent1" accent2="accent2" accent3="accent3" accent4="accent4" accent5="accent5" accent6="accent6" hlink="hlink" folHlink="folHlink"/>
    </a:extraClrScheme>
    <a:extraClrScheme>
      <a:clrScheme name="TF_template 9">
        <a:dk1>
          <a:srgbClr val="000000"/>
        </a:dk1>
        <a:lt1>
          <a:srgbClr val="FFFFFF"/>
        </a:lt1>
        <a:dk2>
          <a:srgbClr val="003F52"/>
        </a:dk2>
        <a:lt2>
          <a:srgbClr val="EEECE1"/>
        </a:lt2>
        <a:accent1>
          <a:srgbClr val="003F52"/>
        </a:accent1>
        <a:accent2>
          <a:srgbClr val="61B8CD"/>
        </a:accent2>
        <a:accent3>
          <a:srgbClr val="FFFFFF"/>
        </a:accent3>
        <a:accent4>
          <a:srgbClr val="000000"/>
        </a:accent4>
        <a:accent5>
          <a:srgbClr val="AAAFB3"/>
        </a:accent5>
        <a:accent6>
          <a:srgbClr val="57A6BA"/>
        </a:accent6>
        <a:hlink>
          <a:srgbClr val="0000E1"/>
        </a:hlink>
        <a:folHlink>
          <a:srgbClr val="800080"/>
        </a:folHlink>
      </a:clrScheme>
      <a:clrMap bg1="lt1" tx1="dk1" bg2="lt2" tx2="dk2" accent1="accent1" accent2="accent2" accent3="accent3" accent4="accent4" accent5="accent5" accent6="accent6" hlink="hlink" folHlink="folHlink"/>
    </a:extraClrScheme>
    <a:extraClrScheme>
      <a:clrScheme name="TF_template 10">
        <a:dk1>
          <a:srgbClr val="003F52"/>
        </a:dk1>
        <a:lt1>
          <a:srgbClr val="FFFFFF"/>
        </a:lt1>
        <a:dk2>
          <a:srgbClr val="65C3D5"/>
        </a:dk2>
        <a:lt2>
          <a:srgbClr val="EEECE1"/>
        </a:lt2>
        <a:accent1>
          <a:srgbClr val="003F52"/>
        </a:accent1>
        <a:accent2>
          <a:srgbClr val="65C3D5"/>
        </a:accent2>
        <a:accent3>
          <a:srgbClr val="FFFFFF"/>
        </a:accent3>
        <a:accent4>
          <a:srgbClr val="003445"/>
        </a:accent4>
        <a:accent5>
          <a:srgbClr val="AAAFB3"/>
        </a:accent5>
        <a:accent6>
          <a:srgbClr val="5BB0C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TF_template 11">
        <a:dk1>
          <a:srgbClr val="043F52"/>
        </a:dk1>
        <a:lt1>
          <a:srgbClr val="FFFFFF"/>
        </a:lt1>
        <a:dk2>
          <a:srgbClr val="61B8CD"/>
        </a:dk2>
        <a:lt2>
          <a:srgbClr val="EEECE1"/>
        </a:lt2>
        <a:accent1>
          <a:srgbClr val="043F52"/>
        </a:accent1>
        <a:accent2>
          <a:srgbClr val="DDDDDD"/>
        </a:accent2>
        <a:accent3>
          <a:srgbClr val="FFFFFF"/>
        </a:accent3>
        <a:accent4>
          <a:srgbClr val="033445"/>
        </a:accent4>
        <a:accent5>
          <a:srgbClr val="AAAFB3"/>
        </a:accent5>
        <a:accent6>
          <a:srgbClr val="C8C8C8"/>
        </a:accent6>
        <a:hlink>
          <a:srgbClr val="7AB51D"/>
        </a:hlink>
        <a:folHlink>
          <a:srgbClr val="D2A85D"/>
        </a:folHlink>
      </a:clrScheme>
      <a:clrMap bg1="lt1" tx1="dk1" bg2="lt2" tx2="dk2" accent1="accent1" accent2="accent2" accent3="accent3" accent4="accent4" accent5="accent5" accent6="accent6" hlink="hlink" folHlink="folHlink"/>
    </a:extraClrScheme>
    <a:extraClrScheme>
      <a:clrScheme name="TF_template 12">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7AB51D"/>
        </a:hlink>
        <a:folHlink>
          <a:srgbClr val="D2A85D"/>
        </a:folHlink>
      </a:clrScheme>
      <a:clrMap bg1="lt1" tx1="dk1" bg2="lt2" tx2="dk2" accent1="accent1" accent2="accent2" accent3="accent3" accent4="accent4" accent5="accent5" accent6="accent6" hlink="hlink" folHlink="folHlink"/>
    </a:extraClrScheme>
    <a:extraClrScheme>
      <a:clrScheme name="TF_template 13">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CB"/>
        </a:hlink>
        <a:folHlink>
          <a:srgbClr val="D2A85D"/>
        </a:folHlink>
      </a:clrScheme>
      <a:clrMap bg1="lt1" tx1="dk1" bg2="lt2" tx2="dk2" accent1="accent1" accent2="accent2" accent3="accent3" accent4="accent4" accent5="accent5" accent6="accent6" hlink="hlink" folHlink="folHlink"/>
    </a:extraClrScheme>
    <a:extraClrScheme>
      <a:clrScheme name="TF_template 14">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99"/>
        </a:hlink>
        <a:folHlink>
          <a:srgbClr val="D2A85D"/>
        </a:folHlink>
      </a:clrScheme>
      <a:clrMap bg1="lt1" tx1="dk1" bg2="lt2" tx2="dk2" accent1="accent1" accent2="accent2" accent3="accent3" accent4="accent4" accent5="accent5" accent6="accent6" hlink="hlink" folHlink="folHlink"/>
    </a:extraClrScheme>
    <a:extraClrScheme>
      <a:clrScheme name="TF_template 15">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CC"/>
        </a:hlink>
        <a:folHlink>
          <a:srgbClr val="D2A85D"/>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MaerskWhite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themeOverride>
</file>

<file path=docProps/app.xml><?xml version="1.0" encoding="utf-8"?>
<Properties xmlns="http://schemas.openxmlformats.org/officeDocument/2006/extended-properties" xmlns:vt="http://schemas.openxmlformats.org/officeDocument/2006/docPropsVTypes">
  <TotalTime>6695</TotalTime>
  <Words>75</Words>
  <Application>Microsoft Office PowerPoint</Application>
  <PresentationFormat>On-screen Show (16:9)</PresentationFormat>
  <Paragraphs>32</Paragraphs>
  <Slides>1</Slides>
  <Notes>0</Notes>
  <HiddenSlides>0</HiddenSlides>
  <MMClips>0</MMClips>
  <ScaleCrop>false</ScaleCrop>
  <HeadingPairs>
    <vt:vector size="8" baseType="variant">
      <vt:variant>
        <vt:lpstr>Fonts Used</vt:lpstr>
      </vt:variant>
      <vt:variant>
        <vt:i4>26</vt:i4>
      </vt:variant>
      <vt:variant>
        <vt:lpstr>Theme</vt:lpstr>
      </vt:variant>
      <vt:variant>
        <vt:i4>62</vt:i4>
      </vt:variant>
      <vt:variant>
        <vt:lpstr>Embedded OLE Servers</vt:lpstr>
      </vt:variant>
      <vt:variant>
        <vt:i4>1</vt:i4>
      </vt:variant>
      <vt:variant>
        <vt:lpstr>Slide Titles</vt:lpstr>
      </vt:variant>
      <vt:variant>
        <vt:i4>1</vt:i4>
      </vt:variant>
    </vt:vector>
  </HeadingPairs>
  <TitlesOfParts>
    <vt:vector size="90" baseType="lpstr">
      <vt:lpstr>Arial Unicode MS</vt:lpstr>
      <vt:lpstr>ＭＳ Ｐゴシック</vt:lpstr>
      <vt:lpstr>ＭＳ Ｐゴシック</vt:lpstr>
      <vt:lpstr>Arial</vt:lpstr>
      <vt:lpstr>Arial Bold</vt:lpstr>
      <vt:lpstr>Calibri</vt:lpstr>
      <vt:lpstr>Expert Sans Regular</vt:lpstr>
      <vt:lpstr>Gill Sans</vt:lpstr>
      <vt:lpstr>Gill Sans Light</vt:lpstr>
      <vt:lpstr>Helvetica Light</vt:lpstr>
      <vt:lpstr>Lucida Grande</vt:lpstr>
      <vt:lpstr>Roboto Condensed</vt:lpstr>
      <vt:lpstr>Roboto Light</vt:lpstr>
      <vt:lpstr>Segoe UI</vt:lpstr>
      <vt:lpstr>Segoe UI Light</vt:lpstr>
      <vt:lpstr>Segoe UI Symbol</vt:lpstr>
      <vt:lpstr>Symbol</vt:lpstr>
      <vt:lpstr>tahoma</vt:lpstr>
      <vt:lpstr>tahoma</vt:lpstr>
      <vt:lpstr>Telefonica Headline Light</vt:lpstr>
      <vt:lpstr>Times New Roman</vt:lpstr>
      <vt:lpstr>Trebuchet MS</vt:lpstr>
      <vt:lpstr>Verdana</vt:lpstr>
      <vt:lpstr>Wingdings</vt:lpstr>
      <vt:lpstr>ヒラギノ角ゴ Pro W3</vt:lpstr>
      <vt:lpstr>ヒラギノ角ゴ ProN W3</vt:lpstr>
      <vt:lpstr>PPT template, 04.2010</vt:lpstr>
      <vt:lpstr>1_Custom Design</vt:lpstr>
      <vt:lpstr>9_PPT template, 04.2010</vt:lpstr>
      <vt:lpstr>2_Custom Design</vt:lpstr>
      <vt:lpstr>7_Landscape2004</vt:lpstr>
      <vt:lpstr>8_Landscape2004</vt:lpstr>
      <vt:lpstr>3_Custom Design</vt:lpstr>
      <vt:lpstr>option for viva template</vt:lpstr>
      <vt:lpstr>2_option for viva template</vt:lpstr>
      <vt:lpstr>Metro Template Light 16x9</vt:lpstr>
      <vt:lpstr>Metro Template Colored Titles Segoe UI 16x9</vt:lpstr>
      <vt:lpstr>Kantar Media Fluidity</vt:lpstr>
      <vt:lpstr>LAN039_Barclays_Template_blue_021612_7c</vt:lpstr>
      <vt:lpstr>A4 Message Driven HSBC</vt:lpstr>
      <vt:lpstr>A4 Non-Message Driven HSBC</vt:lpstr>
      <vt:lpstr>1_Kantar Media Fluidity</vt:lpstr>
      <vt:lpstr>MaerskWhite</vt:lpstr>
      <vt:lpstr>ppt_Template_Capgemini</vt:lpstr>
      <vt:lpstr>Closing slides</vt:lpstr>
      <vt:lpstr>51_Blank Presentation</vt:lpstr>
      <vt:lpstr>35_Blank Presentation</vt:lpstr>
      <vt:lpstr>7_LAN039_Barclays_Template_013012_1b_ft</vt:lpstr>
      <vt:lpstr>LAN039_Barclays_Template_013012_1b_ft</vt:lpstr>
      <vt:lpstr>Kantar25cm</vt:lpstr>
      <vt:lpstr>1_ppt_Template_Capgemini</vt:lpstr>
      <vt:lpstr>1_Closing slides</vt:lpstr>
      <vt:lpstr>4_Diseño personalizado</vt:lpstr>
      <vt:lpstr>2_Diseño personalizado</vt:lpstr>
      <vt:lpstr>17_Diseño personalizado</vt:lpstr>
      <vt:lpstr>9_Diseño personalizado</vt:lpstr>
      <vt:lpstr>15_Diseño personalizado</vt:lpstr>
      <vt:lpstr>10_Diseño personalizado</vt:lpstr>
      <vt:lpstr>14_Diseño personalizado</vt:lpstr>
      <vt:lpstr>21_Diseño personalizado</vt:lpstr>
      <vt:lpstr>20_Diseño personalizado</vt:lpstr>
      <vt:lpstr>13_Diseño personalizado</vt:lpstr>
      <vt:lpstr>18_Diseño personalizado</vt:lpstr>
      <vt:lpstr>7_Diseño personalizado</vt:lpstr>
      <vt:lpstr>eBay_powerpoint_template-Primary</vt:lpstr>
      <vt:lpstr>1_Office Theme</vt:lpstr>
      <vt:lpstr>Cohn &amp; Wolfe</vt:lpstr>
      <vt:lpstr>Corporate</vt:lpstr>
      <vt:lpstr>8_Office Theme</vt:lpstr>
      <vt:lpstr>Group Blue layouts</vt:lpstr>
      <vt:lpstr>Telefonica Front page</vt:lpstr>
      <vt:lpstr>1_Cierre Telefonica</vt:lpstr>
      <vt:lpstr>Telefónica</vt:lpstr>
      <vt:lpstr>GK Title and Partitions</vt:lpstr>
      <vt:lpstr>WD White Master 2015</vt:lpstr>
      <vt:lpstr>Corp and Event Title</vt:lpstr>
      <vt:lpstr>Corp and Event Divider</vt:lpstr>
      <vt:lpstr>Corp and Event Closing</vt:lpstr>
      <vt:lpstr>4_Custom Design</vt:lpstr>
      <vt:lpstr>02 Powerpoint template no dividers[1]</vt:lpstr>
      <vt:lpstr>1_Capgemini template</vt:lpstr>
      <vt:lpstr>Capgemini template</vt:lpstr>
      <vt:lpstr>2_Capgemini template</vt:lpstr>
      <vt:lpstr>2_Closing slides</vt:lpstr>
      <vt:lpstr>5_Creative</vt:lpstr>
      <vt:lpstr>Creative</vt:lpstr>
      <vt:lpstr>4_Creative</vt:lpstr>
      <vt:lpstr>4_Office Theme</vt:lpstr>
      <vt:lpstr>think-cell Slide</vt:lpstr>
      <vt:lpstr>PowerPoint Presentation</vt:lpstr>
    </vt:vector>
  </TitlesOfParts>
  <Company>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lice dalton</dc:creator>
  <cp:lastModifiedBy>Richard Bagnall</cp:lastModifiedBy>
  <cp:revision>417</cp:revision>
  <cp:lastPrinted>2010-11-03T23:24:48Z</cp:lastPrinted>
  <dcterms:created xsi:type="dcterms:W3CDTF">2011-10-19T09:12:17Z</dcterms:created>
  <dcterms:modified xsi:type="dcterms:W3CDTF">2017-05-15T10:48:45Z</dcterms:modified>
</cp:coreProperties>
</file>